
<file path=[Content_Types].xml><?xml version="1.0" encoding="utf-8"?>
<Types xmlns="http://schemas.openxmlformats.org/package/2006/content-types">
  <Default Extension="bin" ContentType="application/vnd.openxmlformats-officedocument.oleObject"/>
  <Default Extension="fntdata" ContentType="application/x-fontdata"/>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58" r:id="rId1"/>
  </p:sldMasterIdLst>
  <p:notesMasterIdLst>
    <p:notesMasterId r:id="rId36"/>
  </p:notesMasterIdLst>
  <p:sldIdLst>
    <p:sldId id="256" r:id="rId2"/>
    <p:sldId id="676" r:id="rId3"/>
    <p:sldId id="666" r:id="rId4"/>
    <p:sldId id="257" r:id="rId5"/>
    <p:sldId id="258" r:id="rId6"/>
    <p:sldId id="524" r:id="rId7"/>
    <p:sldId id="679" r:id="rId8"/>
    <p:sldId id="673" r:id="rId9"/>
    <p:sldId id="659" r:id="rId10"/>
    <p:sldId id="272" r:id="rId11"/>
    <p:sldId id="268" r:id="rId12"/>
    <p:sldId id="528" r:id="rId13"/>
    <p:sldId id="678" r:id="rId14"/>
    <p:sldId id="527" r:id="rId15"/>
    <p:sldId id="674" r:id="rId16"/>
    <p:sldId id="529" r:id="rId17"/>
    <p:sldId id="531" r:id="rId18"/>
    <p:sldId id="530" r:id="rId19"/>
    <p:sldId id="658" r:id="rId20"/>
    <p:sldId id="660" r:id="rId21"/>
    <p:sldId id="661" r:id="rId22"/>
    <p:sldId id="662" r:id="rId23"/>
    <p:sldId id="677" r:id="rId24"/>
    <p:sldId id="663" r:id="rId25"/>
    <p:sldId id="665" r:id="rId26"/>
    <p:sldId id="664" r:id="rId27"/>
    <p:sldId id="672" r:id="rId28"/>
    <p:sldId id="667" r:id="rId29"/>
    <p:sldId id="668" r:id="rId30"/>
    <p:sldId id="669" r:id="rId31"/>
    <p:sldId id="671" r:id="rId32"/>
    <p:sldId id="670" r:id="rId33"/>
    <p:sldId id="675" r:id="rId34"/>
    <p:sldId id="680" r:id="rId35"/>
  </p:sldIdLst>
  <p:sldSz cx="9144000" cy="5143500" type="screen16x9"/>
  <p:notesSz cx="6858000" cy="9144000"/>
  <p:embeddedFontLst>
    <p:embeddedFont>
      <p:font typeface="Calibri" panose="020F0502020204030204" pitchFamily="34" charset="0"/>
      <p:regular r:id="rId37"/>
      <p:bold r:id="rId38"/>
      <p:italic r:id="rId39"/>
      <p:boldItalic r:id="rId40"/>
    </p:embeddedFont>
    <p:embeddedFont>
      <p:font typeface="Cambria Math" panose="02040503050406030204" pitchFamily="18" charset="0"/>
      <p:regular r:id="rId41"/>
    </p:embeddedFont>
    <p:embeddedFont>
      <p:font typeface="Fira Sans Extra Condensed Medium" panose="020B0604020202020204" charset="0"/>
      <p:regular r:id="rId42"/>
      <p:bold r:id="rId43"/>
      <p:italic r:id="rId44"/>
      <p:boldItalic r:id="rId45"/>
    </p:embeddedFont>
    <p:embeddedFont>
      <p:font typeface="Inter-Regular" panose="020B0604020202020204" charset="0"/>
      <p:regular r:id="rId46"/>
      <p:bold r:id="rId47"/>
    </p:embeddedFont>
    <p:embeddedFont>
      <p:font typeface="Open Sans" panose="020B0606030504020204" pitchFamily="34" charset="0"/>
      <p:regular r:id="rId48"/>
      <p:bold r:id="rId49"/>
      <p:italic r:id="rId50"/>
      <p:boldItalic r:id="rId51"/>
    </p:embeddedFont>
    <p:embeddedFont>
      <p:font typeface="Roboto" panose="020B0604020202020204" charset="0"/>
      <p:regular r:id="rId52"/>
      <p:bold r:id="rId53"/>
      <p:italic r:id="rId54"/>
      <p:boldItalic r:id="rId55"/>
    </p:embeddedFont>
  </p:embeddedFontLst>
  <p:custDataLst>
    <p:tags r:id="rId5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4B8CE54-D7E4-4D6C-B30F-6A91B47CCFBE}">
  <a:tblStyle styleId="{E4B8CE54-D7E4-4D6C-B30F-6A91B47CCFBE}"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E1A51BF6-B60F-430B-B708-1F52C015F517}"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70" autoAdjust="0"/>
    <p:restoredTop sz="94660"/>
  </p:normalViewPr>
  <p:slideViewPr>
    <p:cSldViewPr snapToGrid="0">
      <p:cViewPr varScale="1">
        <p:scale>
          <a:sx n="108" d="100"/>
          <a:sy n="108" d="100"/>
        </p:scale>
        <p:origin x="571" y="9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3.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55" Type="http://schemas.openxmlformats.org/officeDocument/2006/relationships/font" Target="fonts/font19.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font" Target="fonts/font17.fntdata"/><Relationship Id="rId58" Type="http://schemas.openxmlformats.org/officeDocument/2006/relationships/viewProps" Target="viewProps.xml"/><Relationship Id="rId5" Type="http://schemas.openxmlformats.org/officeDocument/2006/relationships/slide" Target="slides/slide4.xml"/><Relationship Id="rId61" Type="http://schemas.microsoft.com/office/2016/11/relationships/changesInfo" Target="changesInfos/changesInfo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7.fntdata"/><Relationship Id="rId48" Type="http://schemas.openxmlformats.org/officeDocument/2006/relationships/font" Target="fonts/font12.fntdata"/><Relationship Id="rId56"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font" Target="fonts/font15.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2.fntdata"/><Relationship Id="rId46" Type="http://schemas.openxmlformats.org/officeDocument/2006/relationships/font" Target="fonts/font10.fntdata"/><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font" Target="fonts/font5.fntdata"/><Relationship Id="rId54" Type="http://schemas.openxmlformats.org/officeDocument/2006/relationships/font" Target="fonts/font18.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49" Type="http://schemas.openxmlformats.org/officeDocument/2006/relationships/font" Target="fonts/font13.fntdata"/><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8.fntdata"/><Relationship Id="rId52" Type="http://schemas.openxmlformats.org/officeDocument/2006/relationships/font" Target="fonts/font16.fntdata"/><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DAY PASPULE" userId="6160879af42c01e5" providerId="LiveId" clId="{AA95173D-B2F3-476D-85CE-74136E9EECFA}"/>
    <pc:docChg chg="undo custSel addSld modSld sldOrd">
      <pc:chgData name="UDAY PASPULE" userId="6160879af42c01e5" providerId="LiveId" clId="{AA95173D-B2F3-476D-85CE-74136E9EECFA}" dt="2021-06-13T05:34:22.145" v="1571" actId="20577"/>
      <pc:docMkLst>
        <pc:docMk/>
      </pc:docMkLst>
      <pc:sldChg chg="modSp mod">
        <pc:chgData name="UDAY PASPULE" userId="6160879af42c01e5" providerId="LiveId" clId="{AA95173D-B2F3-476D-85CE-74136E9EECFA}" dt="2021-06-07T17:16:20.547" v="104" actId="403"/>
        <pc:sldMkLst>
          <pc:docMk/>
          <pc:sldMk cId="0" sldId="257"/>
        </pc:sldMkLst>
        <pc:spChg chg="mod">
          <ac:chgData name="UDAY PASPULE" userId="6160879af42c01e5" providerId="LiveId" clId="{AA95173D-B2F3-476D-85CE-74136E9EECFA}" dt="2021-06-07T17:16:20.547" v="104" actId="403"/>
          <ac:spMkLst>
            <pc:docMk/>
            <pc:sldMk cId="0" sldId="257"/>
            <ac:spMk id="7" creationId="{CC3EEEA2-E0BA-4FA7-B2AA-53CAB44ECE88}"/>
          </ac:spMkLst>
        </pc:spChg>
      </pc:sldChg>
      <pc:sldChg chg="modSp mod">
        <pc:chgData name="UDAY PASPULE" userId="6160879af42c01e5" providerId="LiveId" clId="{AA95173D-B2F3-476D-85CE-74136E9EECFA}" dt="2021-06-13T04:59:23.203" v="1550" actId="21"/>
        <pc:sldMkLst>
          <pc:docMk/>
          <pc:sldMk cId="0" sldId="258"/>
        </pc:sldMkLst>
        <pc:spChg chg="mod">
          <ac:chgData name="UDAY PASPULE" userId="6160879af42c01e5" providerId="LiveId" clId="{AA95173D-B2F3-476D-85CE-74136E9EECFA}" dt="2021-06-11T16:45:07.041" v="1174" actId="1076"/>
          <ac:spMkLst>
            <pc:docMk/>
            <pc:sldMk cId="0" sldId="258"/>
            <ac:spMk id="72" creationId="{00000000-0000-0000-0000-000000000000}"/>
          </ac:spMkLst>
        </pc:spChg>
        <pc:spChg chg="mod">
          <ac:chgData name="UDAY PASPULE" userId="6160879af42c01e5" providerId="LiveId" clId="{AA95173D-B2F3-476D-85CE-74136E9EECFA}" dt="2021-06-13T04:59:23.203" v="1550" actId="21"/>
          <ac:spMkLst>
            <pc:docMk/>
            <pc:sldMk cId="0" sldId="258"/>
            <ac:spMk id="73" creationId="{00000000-0000-0000-0000-000000000000}"/>
          </ac:spMkLst>
        </pc:spChg>
      </pc:sldChg>
      <pc:sldChg chg="modSp mod">
        <pc:chgData name="UDAY PASPULE" userId="6160879af42c01e5" providerId="LiveId" clId="{AA95173D-B2F3-476D-85CE-74136E9EECFA}" dt="2021-06-07T17:18:15.716" v="117" actId="688"/>
        <pc:sldMkLst>
          <pc:docMk/>
          <pc:sldMk cId="3827296069" sldId="268"/>
        </pc:sldMkLst>
        <pc:spChg chg="mod">
          <ac:chgData name="UDAY PASPULE" userId="6160879af42c01e5" providerId="LiveId" clId="{AA95173D-B2F3-476D-85CE-74136E9EECFA}" dt="2021-06-07T16:52:28.967" v="94" actId="688"/>
          <ac:spMkLst>
            <pc:docMk/>
            <pc:sldMk cId="3827296069" sldId="268"/>
            <ac:spMk id="42" creationId="{D2C6B137-4F51-4BDA-95E5-BE1C0EDF3EF5}"/>
          </ac:spMkLst>
        </pc:spChg>
        <pc:spChg chg="mod">
          <ac:chgData name="UDAY PASPULE" userId="6160879af42c01e5" providerId="LiveId" clId="{AA95173D-B2F3-476D-85CE-74136E9EECFA}" dt="2021-06-07T17:17:52.044" v="115" actId="688"/>
          <ac:spMkLst>
            <pc:docMk/>
            <pc:sldMk cId="3827296069" sldId="268"/>
            <ac:spMk id="43" creationId="{2543658A-F395-4D21-90C1-69F04F86F462}"/>
          </ac:spMkLst>
        </pc:spChg>
        <pc:spChg chg="mod">
          <ac:chgData name="UDAY PASPULE" userId="6160879af42c01e5" providerId="LiveId" clId="{AA95173D-B2F3-476D-85CE-74136E9EECFA}" dt="2021-06-07T17:18:15.716" v="117" actId="688"/>
          <ac:spMkLst>
            <pc:docMk/>
            <pc:sldMk cId="3827296069" sldId="268"/>
            <ac:spMk id="79" creationId="{ABD2C041-DABB-4F01-AF3F-B22D521697F6}"/>
          </ac:spMkLst>
        </pc:spChg>
        <pc:grpChg chg="mod">
          <ac:chgData name="UDAY PASPULE" userId="6160879af42c01e5" providerId="LiveId" clId="{AA95173D-B2F3-476D-85CE-74136E9EECFA}" dt="2021-06-07T16:52:44.005" v="97" actId="1076"/>
          <ac:grpSpMkLst>
            <pc:docMk/>
            <pc:sldMk cId="3827296069" sldId="268"/>
            <ac:grpSpMk id="4" creationId="{E1E86A5E-5CB2-4081-9298-20B59B03A63E}"/>
          </ac:grpSpMkLst>
        </pc:grpChg>
        <pc:grpChg chg="mod">
          <ac:chgData name="UDAY PASPULE" userId="6160879af42c01e5" providerId="LiveId" clId="{AA95173D-B2F3-476D-85CE-74136E9EECFA}" dt="2021-06-07T14:32:59.050" v="40" actId="1076"/>
          <ac:grpSpMkLst>
            <pc:docMk/>
            <pc:sldMk cId="3827296069" sldId="268"/>
            <ac:grpSpMk id="17" creationId="{522541E3-2B9B-438A-AB7C-C8152A272E4B}"/>
          </ac:grpSpMkLst>
        </pc:grpChg>
        <pc:grpChg chg="mod">
          <ac:chgData name="UDAY PASPULE" userId="6160879af42c01e5" providerId="LiveId" clId="{AA95173D-B2F3-476D-85CE-74136E9EECFA}" dt="2021-06-07T14:33:08.505" v="42" actId="1076"/>
          <ac:grpSpMkLst>
            <pc:docMk/>
            <pc:sldMk cId="3827296069" sldId="268"/>
            <ac:grpSpMk id="32" creationId="{5288F1B6-FFC5-409F-862A-7FEBCB107ADA}"/>
          </ac:grpSpMkLst>
        </pc:grpChg>
        <pc:grpChg chg="mod">
          <ac:chgData name="UDAY PASPULE" userId="6160879af42c01e5" providerId="LiveId" clId="{AA95173D-B2F3-476D-85CE-74136E9EECFA}" dt="2021-06-07T15:36:23.163" v="67" actId="688"/>
          <ac:grpSpMkLst>
            <pc:docMk/>
            <pc:sldMk cId="3827296069" sldId="268"/>
            <ac:grpSpMk id="35" creationId="{E6E79D0D-31F3-4EA0-9E22-8208FF8B581E}"/>
          </ac:grpSpMkLst>
        </pc:grpChg>
        <pc:grpChg chg="mod">
          <ac:chgData name="UDAY PASPULE" userId="6160879af42c01e5" providerId="LiveId" clId="{AA95173D-B2F3-476D-85CE-74136E9EECFA}" dt="2021-06-07T17:17:56.348" v="116" actId="688"/>
          <ac:grpSpMkLst>
            <pc:docMk/>
            <pc:sldMk cId="3827296069" sldId="268"/>
            <ac:grpSpMk id="45" creationId="{BD81F41E-0AA7-402B-B51D-BFBA11183AB3}"/>
          </ac:grpSpMkLst>
        </pc:grpChg>
      </pc:sldChg>
      <pc:sldChg chg="modSp mod">
        <pc:chgData name="UDAY PASPULE" userId="6160879af42c01e5" providerId="LiveId" clId="{AA95173D-B2F3-476D-85CE-74136E9EECFA}" dt="2021-06-07T14:32:09.769" v="38" actId="14100"/>
        <pc:sldMkLst>
          <pc:docMk/>
          <pc:sldMk cId="0" sldId="272"/>
        </pc:sldMkLst>
        <pc:graphicFrameChg chg="mod">
          <ac:chgData name="UDAY PASPULE" userId="6160879af42c01e5" providerId="LiveId" clId="{AA95173D-B2F3-476D-85CE-74136E9EECFA}" dt="2021-06-07T14:32:09.769" v="38" actId="14100"/>
          <ac:graphicFrameMkLst>
            <pc:docMk/>
            <pc:sldMk cId="0" sldId="272"/>
            <ac:graphicFrameMk id="29" creationId="{614B6F50-8F7F-4B6A-8E92-E5530B19C8B2}"/>
          </ac:graphicFrameMkLst>
        </pc:graphicFrameChg>
      </pc:sldChg>
      <pc:sldChg chg="modSp mod ord">
        <pc:chgData name="UDAY PASPULE" userId="6160879af42c01e5" providerId="LiveId" clId="{AA95173D-B2F3-476D-85CE-74136E9EECFA}" dt="2021-06-09T13:07:36.414" v="930"/>
        <pc:sldMkLst>
          <pc:docMk/>
          <pc:sldMk cId="3094477184" sldId="528"/>
        </pc:sldMkLst>
        <pc:picChg chg="mod">
          <ac:chgData name="UDAY PASPULE" userId="6160879af42c01e5" providerId="LiveId" clId="{AA95173D-B2F3-476D-85CE-74136E9EECFA}" dt="2021-06-07T15:38:17.034" v="68" actId="14100"/>
          <ac:picMkLst>
            <pc:docMk/>
            <pc:sldMk cId="3094477184" sldId="528"/>
            <ac:picMk id="5" creationId="{1758ABB0-5FE9-4F06-8D68-0F167D668BC5}"/>
          </ac:picMkLst>
        </pc:picChg>
      </pc:sldChg>
      <pc:sldChg chg="modSp mod">
        <pc:chgData name="UDAY PASPULE" userId="6160879af42c01e5" providerId="LiveId" clId="{AA95173D-B2F3-476D-85CE-74136E9EECFA}" dt="2021-06-09T12:13:45.413" v="487" actId="20577"/>
        <pc:sldMkLst>
          <pc:docMk/>
          <pc:sldMk cId="2827124869" sldId="529"/>
        </pc:sldMkLst>
        <pc:spChg chg="mod">
          <ac:chgData name="UDAY PASPULE" userId="6160879af42c01e5" providerId="LiveId" clId="{AA95173D-B2F3-476D-85CE-74136E9EECFA}" dt="2021-06-09T12:13:45.413" v="487" actId="20577"/>
          <ac:spMkLst>
            <pc:docMk/>
            <pc:sldMk cId="2827124869" sldId="529"/>
            <ac:spMk id="3" creationId="{F1E7045A-8556-4973-86E2-84A5CF0F2546}"/>
          </ac:spMkLst>
        </pc:spChg>
        <pc:picChg chg="mod">
          <ac:chgData name="UDAY PASPULE" userId="6160879af42c01e5" providerId="LiveId" clId="{AA95173D-B2F3-476D-85CE-74136E9EECFA}" dt="2021-06-07T15:39:41.460" v="70" actId="14100"/>
          <ac:picMkLst>
            <pc:docMk/>
            <pc:sldMk cId="2827124869" sldId="529"/>
            <ac:picMk id="5" creationId="{D3AB61C0-4840-4209-B4CD-86EB81737089}"/>
          </ac:picMkLst>
        </pc:picChg>
      </pc:sldChg>
      <pc:sldChg chg="delSp modSp mod ord">
        <pc:chgData name="UDAY PASPULE" userId="6160879af42c01e5" providerId="LiveId" clId="{AA95173D-B2F3-476D-85CE-74136E9EECFA}" dt="2021-06-09T12:18:34.049" v="514"/>
        <pc:sldMkLst>
          <pc:docMk/>
          <pc:sldMk cId="4135232952" sldId="530"/>
        </pc:sldMkLst>
        <pc:spChg chg="del">
          <ac:chgData name="UDAY PASPULE" userId="6160879af42c01e5" providerId="LiveId" clId="{AA95173D-B2F3-476D-85CE-74136E9EECFA}" dt="2021-06-09T12:18:10.837" v="511" actId="21"/>
          <ac:spMkLst>
            <pc:docMk/>
            <pc:sldMk cId="4135232952" sldId="530"/>
            <ac:spMk id="7" creationId="{449EF6DF-82A0-42A0-ADAA-DD3BA28A8431}"/>
          </ac:spMkLst>
        </pc:spChg>
        <pc:graphicFrameChg chg="mod">
          <ac:chgData name="UDAY PASPULE" userId="6160879af42c01e5" providerId="LiveId" clId="{AA95173D-B2F3-476D-85CE-74136E9EECFA}" dt="2021-06-09T12:18:17.445" v="512" actId="1076"/>
          <ac:graphicFrameMkLst>
            <pc:docMk/>
            <pc:sldMk cId="4135232952" sldId="530"/>
            <ac:graphicFrameMk id="5" creationId="{55599149-2B23-4AD6-861E-29842C03CEBE}"/>
          </ac:graphicFrameMkLst>
        </pc:graphicFrameChg>
      </pc:sldChg>
      <pc:sldChg chg="addSp modSp mod">
        <pc:chgData name="UDAY PASPULE" userId="6160879af42c01e5" providerId="LiveId" clId="{AA95173D-B2F3-476D-85CE-74136E9EECFA}" dt="2021-06-09T12:17:25.029" v="508" actId="14100"/>
        <pc:sldMkLst>
          <pc:docMk/>
          <pc:sldMk cId="2813989872" sldId="531"/>
        </pc:sldMkLst>
        <pc:spChg chg="mod">
          <ac:chgData name="UDAY PASPULE" userId="6160879af42c01e5" providerId="LiveId" clId="{AA95173D-B2F3-476D-85CE-74136E9EECFA}" dt="2021-06-09T12:17:08.356" v="502" actId="1076"/>
          <ac:spMkLst>
            <pc:docMk/>
            <pc:sldMk cId="2813989872" sldId="531"/>
            <ac:spMk id="2" creationId="{10F0C4CF-F9A0-46BE-8A44-E22C5BE364A2}"/>
          </ac:spMkLst>
        </pc:spChg>
        <pc:graphicFrameChg chg="add mod">
          <ac:chgData name="UDAY PASPULE" userId="6160879af42c01e5" providerId="LiveId" clId="{AA95173D-B2F3-476D-85CE-74136E9EECFA}" dt="2021-06-09T12:17:20.391" v="507" actId="14100"/>
          <ac:graphicFrameMkLst>
            <pc:docMk/>
            <pc:sldMk cId="2813989872" sldId="531"/>
            <ac:graphicFrameMk id="6" creationId="{9CD3F7C5-9B6A-44E6-BB05-6890CD641E6C}"/>
          </ac:graphicFrameMkLst>
        </pc:graphicFrameChg>
        <pc:graphicFrameChg chg="mod">
          <ac:chgData name="UDAY PASPULE" userId="6160879af42c01e5" providerId="LiveId" clId="{AA95173D-B2F3-476D-85CE-74136E9EECFA}" dt="2021-06-09T12:17:12.532" v="503" actId="1076"/>
          <ac:graphicFrameMkLst>
            <pc:docMk/>
            <pc:sldMk cId="2813989872" sldId="531"/>
            <ac:graphicFrameMk id="9" creationId="{6E83C238-EE10-4213-AED3-FD159A2962B4}"/>
          </ac:graphicFrameMkLst>
        </pc:graphicFrameChg>
        <pc:graphicFrameChg chg="mod">
          <ac:chgData name="UDAY PASPULE" userId="6160879af42c01e5" providerId="LiveId" clId="{AA95173D-B2F3-476D-85CE-74136E9EECFA}" dt="2021-06-09T12:17:16.717" v="505" actId="1076"/>
          <ac:graphicFrameMkLst>
            <pc:docMk/>
            <pc:sldMk cId="2813989872" sldId="531"/>
            <ac:graphicFrameMk id="10" creationId="{7DC66864-5F48-4ADA-91D3-C7B5EFE848AF}"/>
          </ac:graphicFrameMkLst>
        </pc:graphicFrameChg>
        <pc:graphicFrameChg chg="mod">
          <ac:chgData name="UDAY PASPULE" userId="6160879af42c01e5" providerId="LiveId" clId="{AA95173D-B2F3-476D-85CE-74136E9EECFA}" dt="2021-06-09T12:17:25.029" v="508" actId="14100"/>
          <ac:graphicFrameMkLst>
            <pc:docMk/>
            <pc:sldMk cId="2813989872" sldId="531"/>
            <ac:graphicFrameMk id="11" creationId="{013E89CE-FB1A-4DEF-BA6C-F9844976105B}"/>
          </ac:graphicFrameMkLst>
        </pc:graphicFrameChg>
      </pc:sldChg>
      <pc:sldChg chg="modSp mod modNotesTx">
        <pc:chgData name="UDAY PASPULE" userId="6160879af42c01e5" providerId="LiveId" clId="{AA95173D-B2F3-476D-85CE-74136E9EECFA}" dt="2021-06-07T17:18:45.740" v="121" actId="1076"/>
        <pc:sldMkLst>
          <pc:docMk/>
          <pc:sldMk cId="2398759478" sldId="658"/>
        </pc:sldMkLst>
        <pc:spChg chg="mod">
          <ac:chgData name="UDAY PASPULE" userId="6160879af42c01e5" providerId="LiveId" clId="{AA95173D-B2F3-476D-85CE-74136E9EECFA}" dt="2021-06-07T17:18:45.740" v="121" actId="1076"/>
          <ac:spMkLst>
            <pc:docMk/>
            <pc:sldMk cId="2398759478" sldId="658"/>
            <ac:spMk id="12" creationId="{00000000-0000-0000-0000-000000000000}"/>
          </ac:spMkLst>
        </pc:spChg>
        <pc:picChg chg="mod">
          <ac:chgData name="UDAY PASPULE" userId="6160879af42c01e5" providerId="LiveId" clId="{AA95173D-B2F3-476D-85CE-74136E9EECFA}" dt="2021-06-07T17:18:43.564" v="120" actId="1076"/>
          <ac:picMkLst>
            <pc:docMk/>
            <pc:sldMk cId="2398759478" sldId="658"/>
            <ac:picMk id="2050" creationId="{A4037B85-2F20-4FCB-B90D-46EFC51C5F0B}"/>
          </ac:picMkLst>
        </pc:picChg>
      </pc:sldChg>
      <pc:sldChg chg="modSp mod">
        <pc:chgData name="UDAY PASPULE" userId="6160879af42c01e5" providerId="LiveId" clId="{AA95173D-B2F3-476D-85CE-74136E9EECFA}" dt="2021-06-07T17:21:59.868" v="136" actId="20577"/>
        <pc:sldMkLst>
          <pc:docMk/>
          <pc:sldMk cId="2632143905" sldId="659"/>
        </pc:sldMkLst>
        <pc:spChg chg="mod">
          <ac:chgData name="UDAY PASPULE" userId="6160879af42c01e5" providerId="LiveId" clId="{AA95173D-B2F3-476D-85CE-74136E9EECFA}" dt="2021-06-07T17:21:59.868" v="136" actId="20577"/>
          <ac:spMkLst>
            <pc:docMk/>
            <pc:sldMk cId="2632143905" sldId="659"/>
            <ac:spMk id="8" creationId="{A24A026E-E0FB-40A5-A488-8829EDEEAE9F}"/>
          </ac:spMkLst>
        </pc:spChg>
        <pc:graphicFrameChg chg="mod">
          <ac:chgData name="UDAY PASPULE" userId="6160879af42c01e5" providerId="LiveId" clId="{AA95173D-B2F3-476D-85CE-74136E9EECFA}" dt="2021-06-07T17:17:39.092" v="114" actId="1076"/>
          <ac:graphicFrameMkLst>
            <pc:docMk/>
            <pc:sldMk cId="2632143905" sldId="659"/>
            <ac:graphicFrameMk id="6" creationId="{1ACE3971-2083-45E9-8340-F2C8C71C63E3}"/>
          </ac:graphicFrameMkLst>
        </pc:graphicFrameChg>
      </pc:sldChg>
      <pc:sldChg chg="modSp mod">
        <pc:chgData name="UDAY PASPULE" userId="6160879af42c01e5" providerId="LiveId" clId="{AA95173D-B2F3-476D-85CE-74136E9EECFA}" dt="2021-06-09T12:31:53.483" v="908" actId="255"/>
        <pc:sldMkLst>
          <pc:docMk/>
          <pc:sldMk cId="2582573892" sldId="660"/>
        </pc:sldMkLst>
        <pc:spChg chg="mod">
          <ac:chgData name="UDAY PASPULE" userId="6160879af42c01e5" providerId="LiveId" clId="{AA95173D-B2F3-476D-85CE-74136E9EECFA}" dt="2021-06-09T12:31:53.483" v="908" actId="255"/>
          <ac:spMkLst>
            <pc:docMk/>
            <pc:sldMk cId="2582573892" sldId="660"/>
            <ac:spMk id="3" creationId="{33DD2F4B-91B0-4507-ABE7-233FA90A750A}"/>
          </ac:spMkLst>
        </pc:spChg>
      </pc:sldChg>
      <pc:sldChg chg="modSp mod">
        <pc:chgData name="UDAY PASPULE" userId="6160879af42c01e5" providerId="LiveId" clId="{AA95173D-B2F3-476D-85CE-74136E9EECFA}" dt="2021-06-09T12:32:23.876" v="911" actId="1076"/>
        <pc:sldMkLst>
          <pc:docMk/>
          <pc:sldMk cId="3039927108" sldId="661"/>
        </pc:sldMkLst>
        <pc:spChg chg="mod">
          <ac:chgData name="UDAY PASPULE" userId="6160879af42c01e5" providerId="LiveId" clId="{AA95173D-B2F3-476D-85CE-74136E9EECFA}" dt="2021-06-09T12:32:04.335" v="909" actId="113"/>
          <ac:spMkLst>
            <pc:docMk/>
            <pc:sldMk cId="3039927108" sldId="661"/>
            <ac:spMk id="3" creationId="{640AAF18-B26C-4A49-9D8E-CD88FD53A0D8}"/>
          </ac:spMkLst>
        </pc:spChg>
        <pc:spChg chg="mod">
          <ac:chgData name="UDAY PASPULE" userId="6160879af42c01e5" providerId="LiveId" clId="{AA95173D-B2F3-476D-85CE-74136E9EECFA}" dt="2021-06-09T12:32:23.876" v="911" actId="1076"/>
          <ac:spMkLst>
            <pc:docMk/>
            <pc:sldMk cId="3039927108" sldId="661"/>
            <ac:spMk id="13" creationId="{736289C0-4D80-49EA-8E2B-1FC24F161B6C}"/>
          </ac:spMkLst>
        </pc:spChg>
      </pc:sldChg>
      <pc:sldChg chg="modSp mod ord">
        <pc:chgData name="UDAY PASPULE" userId="6160879af42c01e5" providerId="LiveId" clId="{AA95173D-B2F3-476D-85CE-74136E9EECFA}" dt="2021-06-09T12:32:32.748" v="913" actId="113"/>
        <pc:sldMkLst>
          <pc:docMk/>
          <pc:sldMk cId="3141879698" sldId="662"/>
        </pc:sldMkLst>
        <pc:spChg chg="mod">
          <ac:chgData name="UDAY PASPULE" userId="6160879af42c01e5" providerId="LiveId" clId="{AA95173D-B2F3-476D-85CE-74136E9EECFA}" dt="2021-06-09T12:32:32.748" v="913" actId="113"/>
          <ac:spMkLst>
            <pc:docMk/>
            <pc:sldMk cId="3141879698" sldId="662"/>
            <ac:spMk id="9" creationId="{7FB90EA6-E4F7-40BC-AA16-6CC38D102799}"/>
          </ac:spMkLst>
        </pc:spChg>
      </pc:sldChg>
      <pc:sldChg chg="modSp mod">
        <pc:chgData name="UDAY PASPULE" userId="6160879af42c01e5" providerId="LiveId" clId="{AA95173D-B2F3-476D-85CE-74136E9EECFA}" dt="2021-06-09T12:29:43.708" v="891" actId="113"/>
        <pc:sldMkLst>
          <pc:docMk/>
          <pc:sldMk cId="2336097559" sldId="663"/>
        </pc:sldMkLst>
        <pc:spChg chg="mod">
          <ac:chgData name="UDAY PASPULE" userId="6160879af42c01e5" providerId="LiveId" clId="{AA95173D-B2F3-476D-85CE-74136E9EECFA}" dt="2021-06-09T12:29:43.708" v="891" actId="113"/>
          <ac:spMkLst>
            <pc:docMk/>
            <pc:sldMk cId="2336097559" sldId="663"/>
            <ac:spMk id="3" creationId="{58A4B0A8-3D6E-41C4-A5DD-D3C4C66B7AA5}"/>
          </ac:spMkLst>
        </pc:spChg>
        <pc:graphicFrameChg chg="modGraphic">
          <ac:chgData name="UDAY PASPULE" userId="6160879af42c01e5" providerId="LiveId" clId="{AA95173D-B2F3-476D-85CE-74136E9EECFA}" dt="2021-06-09T12:19:40.801" v="523" actId="20577"/>
          <ac:graphicFrameMkLst>
            <pc:docMk/>
            <pc:sldMk cId="2336097559" sldId="663"/>
            <ac:graphicFrameMk id="7" creationId="{85B22161-4115-4173-9D30-A3681FE2B3D2}"/>
          </ac:graphicFrameMkLst>
        </pc:graphicFrameChg>
      </pc:sldChg>
      <pc:sldChg chg="modSp mod">
        <pc:chgData name="UDAY PASPULE" userId="6160879af42c01e5" providerId="LiveId" clId="{AA95173D-B2F3-476D-85CE-74136E9EECFA}" dt="2021-06-09T12:32:53.939" v="914" actId="113"/>
        <pc:sldMkLst>
          <pc:docMk/>
          <pc:sldMk cId="2606174466" sldId="665"/>
        </pc:sldMkLst>
        <pc:spChg chg="mod">
          <ac:chgData name="UDAY PASPULE" userId="6160879af42c01e5" providerId="LiveId" clId="{AA95173D-B2F3-476D-85CE-74136E9EECFA}" dt="2021-06-09T12:32:53.939" v="914" actId="113"/>
          <ac:spMkLst>
            <pc:docMk/>
            <pc:sldMk cId="2606174466" sldId="665"/>
            <ac:spMk id="6" creationId="{45717BAD-6090-4C00-956D-FFBED345809B}"/>
          </ac:spMkLst>
        </pc:spChg>
      </pc:sldChg>
      <pc:sldChg chg="delSp modSp mod">
        <pc:chgData name="UDAY PASPULE" userId="6160879af42c01e5" providerId="LiveId" clId="{AA95173D-B2F3-476D-85CE-74136E9EECFA}" dt="2021-06-09T13:13:25.039" v="950" actId="12"/>
        <pc:sldMkLst>
          <pc:docMk/>
          <pc:sldMk cId="2851060855" sldId="666"/>
        </pc:sldMkLst>
        <pc:spChg chg="mod">
          <ac:chgData name="UDAY PASPULE" userId="6160879af42c01e5" providerId="LiveId" clId="{AA95173D-B2F3-476D-85CE-74136E9EECFA}" dt="2021-06-09T13:13:25.039" v="950" actId="12"/>
          <ac:spMkLst>
            <pc:docMk/>
            <pc:sldMk cId="2851060855" sldId="666"/>
            <ac:spMk id="3" creationId="{754D64A6-CC38-492E-8010-B9EA7D2A7E2A}"/>
          </ac:spMkLst>
        </pc:spChg>
        <pc:spChg chg="mod">
          <ac:chgData name="UDAY PASPULE" userId="6160879af42c01e5" providerId="LiveId" clId="{AA95173D-B2F3-476D-85CE-74136E9EECFA}" dt="2021-06-09T13:13:19.142" v="949" actId="1076"/>
          <ac:spMkLst>
            <pc:docMk/>
            <pc:sldMk cId="2851060855" sldId="666"/>
            <ac:spMk id="5" creationId="{84E2E359-34F8-4DFC-BDFB-A1E1AC533806}"/>
          </ac:spMkLst>
        </pc:spChg>
        <pc:spChg chg="del">
          <ac:chgData name="UDAY PASPULE" userId="6160879af42c01e5" providerId="LiveId" clId="{AA95173D-B2F3-476D-85CE-74136E9EECFA}" dt="2021-06-07T14:31:09.723" v="1" actId="21"/>
          <ac:spMkLst>
            <pc:docMk/>
            <pc:sldMk cId="2851060855" sldId="666"/>
            <ac:spMk id="7" creationId="{2A5F8DCB-A2AF-41EA-A224-8F949C151EE0}"/>
          </ac:spMkLst>
        </pc:spChg>
      </pc:sldChg>
      <pc:sldChg chg="modSp mod">
        <pc:chgData name="UDAY PASPULE" userId="6160879af42c01e5" providerId="LiveId" clId="{AA95173D-B2F3-476D-85CE-74136E9EECFA}" dt="2021-06-07T17:22:58.002" v="138" actId="115"/>
        <pc:sldMkLst>
          <pc:docMk/>
          <pc:sldMk cId="1130811506" sldId="667"/>
        </pc:sldMkLst>
        <pc:spChg chg="mod">
          <ac:chgData name="UDAY PASPULE" userId="6160879af42c01e5" providerId="LiveId" clId="{AA95173D-B2F3-476D-85CE-74136E9EECFA}" dt="2021-06-07T17:22:58.002" v="138" actId="115"/>
          <ac:spMkLst>
            <pc:docMk/>
            <pc:sldMk cId="1130811506" sldId="667"/>
            <ac:spMk id="3" creationId="{8F52F042-ECD1-4616-8EE9-DF5DEC1914D7}"/>
          </ac:spMkLst>
        </pc:spChg>
      </pc:sldChg>
      <pc:sldChg chg="modSp mod">
        <pc:chgData name="UDAY PASPULE" userId="6160879af42c01e5" providerId="LiveId" clId="{AA95173D-B2F3-476D-85CE-74136E9EECFA}" dt="2021-06-07T17:23:07.589" v="139" actId="20577"/>
        <pc:sldMkLst>
          <pc:docMk/>
          <pc:sldMk cId="861550748" sldId="668"/>
        </pc:sldMkLst>
        <pc:spChg chg="mod">
          <ac:chgData name="UDAY PASPULE" userId="6160879af42c01e5" providerId="LiveId" clId="{AA95173D-B2F3-476D-85CE-74136E9EECFA}" dt="2021-06-07T17:23:07.589" v="139" actId="20577"/>
          <ac:spMkLst>
            <pc:docMk/>
            <pc:sldMk cId="861550748" sldId="668"/>
            <ac:spMk id="3" creationId="{2DE5AA10-181E-43DF-9422-D021769C59A3}"/>
          </ac:spMkLst>
        </pc:spChg>
      </pc:sldChg>
      <pc:sldChg chg="modSp mod">
        <pc:chgData name="UDAY PASPULE" userId="6160879af42c01e5" providerId="LiveId" clId="{AA95173D-B2F3-476D-85CE-74136E9EECFA}" dt="2021-06-07T15:51:52.666" v="80" actId="113"/>
        <pc:sldMkLst>
          <pc:docMk/>
          <pc:sldMk cId="2858506063" sldId="669"/>
        </pc:sldMkLst>
        <pc:spChg chg="mod">
          <ac:chgData name="UDAY PASPULE" userId="6160879af42c01e5" providerId="LiveId" clId="{AA95173D-B2F3-476D-85CE-74136E9EECFA}" dt="2021-06-07T15:51:52.666" v="80" actId="113"/>
          <ac:spMkLst>
            <pc:docMk/>
            <pc:sldMk cId="2858506063" sldId="669"/>
            <ac:spMk id="6" creationId="{4C534EB3-D388-4D57-AE8A-F3430B0F2216}"/>
          </ac:spMkLst>
        </pc:spChg>
      </pc:sldChg>
      <pc:sldChg chg="addSp modSp mod">
        <pc:chgData name="UDAY PASPULE" userId="6160879af42c01e5" providerId="LiveId" clId="{AA95173D-B2F3-476D-85CE-74136E9EECFA}" dt="2021-06-13T05:34:22.145" v="1571" actId="20577"/>
        <pc:sldMkLst>
          <pc:docMk/>
          <pc:sldMk cId="134959566" sldId="670"/>
        </pc:sldMkLst>
        <pc:spChg chg="mod">
          <ac:chgData name="UDAY PASPULE" userId="6160879af42c01e5" providerId="LiveId" clId="{AA95173D-B2F3-476D-85CE-74136E9EECFA}" dt="2021-06-13T05:34:22.145" v="1571" actId="20577"/>
          <ac:spMkLst>
            <pc:docMk/>
            <pc:sldMk cId="134959566" sldId="670"/>
            <ac:spMk id="3" creationId="{15993D36-608E-40D7-A858-90451730B97E}"/>
          </ac:spMkLst>
        </pc:spChg>
        <pc:picChg chg="add mod">
          <ac:chgData name="UDAY PASPULE" userId="6160879af42c01e5" providerId="LiveId" clId="{AA95173D-B2F3-476D-85CE-74136E9EECFA}" dt="2021-06-13T03:51:00.975" v="1548" actId="14100"/>
          <ac:picMkLst>
            <pc:docMk/>
            <pc:sldMk cId="134959566" sldId="670"/>
            <ac:picMk id="2" creationId="{C15B5D6E-A729-4C43-B42D-108714CF7AE2}"/>
          </ac:picMkLst>
        </pc:picChg>
      </pc:sldChg>
      <pc:sldChg chg="modSp mod">
        <pc:chgData name="UDAY PASPULE" userId="6160879af42c01e5" providerId="LiveId" clId="{AA95173D-B2F3-476D-85CE-74136E9EECFA}" dt="2021-06-13T05:31:30.191" v="1552" actId="20577"/>
        <pc:sldMkLst>
          <pc:docMk/>
          <pc:sldMk cId="2299027961" sldId="671"/>
        </pc:sldMkLst>
        <pc:spChg chg="mod">
          <ac:chgData name="UDAY PASPULE" userId="6160879af42c01e5" providerId="LiveId" clId="{AA95173D-B2F3-476D-85CE-74136E9EECFA}" dt="2021-06-13T05:31:30.191" v="1552" actId="20577"/>
          <ac:spMkLst>
            <pc:docMk/>
            <pc:sldMk cId="2299027961" sldId="671"/>
            <ac:spMk id="3" creationId="{C6DCEEFA-48E7-4B53-9743-D2413CA682CE}"/>
          </ac:spMkLst>
        </pc:spChg>
      </pc:sldChg>
      <pc:sldChg chg="modSp mod">
        <pc:chgData name="UDAY PASPULE" userId="6160879af42c01e5" providerId="LiveId" clId="{AA95173D-B2F3-476D-85CE-74136E9EECFA}" dt="2021-06-08T05:35:38.616" v="147" actId="20577"/>
        <pc:sldMkLst>
          <pc:docMk/>
          <pc:sldMk cId="451273821" sldId="673"/>
        </pc:sldMkLst>
        <pc:spChg chg="mod">
          <ac:chgData name="UDAY PASPULE" userId="6160879af42c01e5" providerId="LiveId" clId="{AA95173D-B2F3-476D-85CE-74136E9EECFA}" dt="2021-06-08T05:35:38.616" v="147" actId="20577"/>
          <ac:spMkLst>
            <pc:docMk/>
            <pc:sldMk cId="451273821" sldId="673"/>
            <ac:spMk id="4" creationId="{A6142C9B-E9CB-4669-A169-920CCF4CCBEB}"/>
          </ac:spMkLst>
        </pc:spChg>
        <pc:picChg chg="mod">
          <ac:chgData name="UDAY PASPULE" userId="6160879af42c01e5" providerId="LiveId" clId="{AA95173D-B2F3-476D-85CE-74136E9EECFA}" dt="2021-06-07T17:16:44.396" v="107" actId="14100"/>
          <ac:picMkLst>
            <pc:docMk/>
            <pc:sldMk cId="451273821" sldId="673"/>
            <ac:picMk id="6" creationId="{C6468930-F093-44D7-8C63-650E70C8045A}"/>
          </ac:picMkLst>
        </pc:picChg>
      </pc:sldChg>
      <pc:sldChg chg="modSp mod">
        <pc:chgData name="UDAY PASPULE" userId="6160879af42c01e5" providerId="LiveId" clId="{AA95173D-B2F3-476D-85CE-74136E9EECFA}" dt="2021-06-13T03:44:10.072" v="1534" actId="20577"/>
        <pc:sldMkLst>
          <pc:docMk/>
          <pc:sldMk cId="0" sldId="675"/>
        </pc:sldMkLst>
        <pc:spChg chg="mod">
          <ac:chgData name="UDAY PASPULE" userId="6160879af42c01e5" providerId="LiveId" clId="{AA95173D-B2F3-476D-85CE-74136E9EECFA}" dt="2021-06-13T03:44:02.072" v="1514" actId="20577"/>
          <ac:spMkLst>
            <pc:docMk/>
            <pc:sldMk cId="0" sldId="675"/>
            <ac:spMk id="61" creationId="{00000000-0000-0000-0000-000000000000}"/>
          </ac:spMkLst>
        </pc:spChg>
        <pc:spChg chg="mod">
          <ac:chgData name="UDAY PASPULE" userId="6160879af42c01e5" providerId="LiveId" clId="{AA95173D-B2F3-476D-85CE-74136E9EECFA}" dt="2021-06-07T14:33:55.577" v="45" actId="1076"/>
          <ac:spMkLst>
            <pc:docMk/>
            <pc:sldMk cId="0" sldId="675"/>
            <ac:spMk id="75" creationId="{00000000-0000-0000-0000-000000000000}"/>
          </ac:spMkLst>
        </pc:spChg>
        <pc:spChg chg="mod">
          <ac:chgData name="UDAY PASPULE" userId="6160879af42c01e5" providerId="LiveId" clId="{AA95173D-B2F3-476D-85CE-74136E9EECFA}" dt="2021-06-13T03:44:10.072" v="1534" actId="20577"/>
          <ac:spMkLst>
            <pc:docMk/>
            <pc:sldMk cId="0" sldId="675"/>
            <ac:spMk id="83" creationId="{00000000-0000-0000-0000-000000000000}"/>
          </ac:spMkLst>
        </pc:spChg>
        <pc:grpChg chg="mod">
          <ac:chgData name="UDAY PASPULE" userId="6160879af42c01e5" providerId="LiveId" clId="{AA95173D-B2F3-476D-85CE-74136E9EECFA}" dt="2021-06-07T15:54:01.661" v="82" actId="14100"/>
          <ac:grpSpMkLst>
            <pc:docMk/>
            <pc:sldMk cId="0" sldId="675"/>
            <ac:grpSpMk id="55" creationId="{00000000-0000-0000-0000-000000000000}"/>
          </ac:grpSpMkLst>
        </pc:grpChg>
        <pc:grpChg chg="mod">
          <ac:chgData name="UDAY PASPULE" userId="6160879af42c01e5" providerId="LiveId" clId="{AA95173D-B2F3-476D-85CE-74136E9EECFA}" dt="2021-06-07T15:53:58.052" v="81" actId="14100"/>
          <ac:grpSpMkLst>
            <pc:docMk/>
            <pc:sldMk cId="0" sldId="675"/>
            <ac:grpSpMk id="62" creationId="{00000000-0000-0000-0000-000000000000}"/>
          </ac:grpSpMkLst>
        </pc:grpChg>
        <pc:grpChg chg="mod">
          <ac:chgData name="UDAY PASPULE" userId="6160879af42c01e5" providerId="LiveId" clId="{AA95173D-B2F3-476D-85CE-74136E9EECFA}" dt="2021-06-07T15:54:05.805" v="83" actId="14100"/>
          <ac:grpSpMkLst>
            <pc:docMk/>
            <pc:sldMk cId="0" sldId="675"/>
            <ac:grpSpMk id="69" creationId="{00000000-0000-0000-0000-000000000000}"/>
          </ac:grpSpMkLst>
        </pc:grpChg>
        <pc:grpChg chg="mod">
          <ac:chgData name="UDAY PASPULE" userId="6160879af42c01e5" providerId="LiveId" clId="{AA95173D-B2F3-476D-85CE-74136E9EECFA}" dt="2021-06-07T15:54:19.581" v="87" actId="1076"/>
          <ac:grpSpMkLst>
            <pc:docMk/>
            <pc:sldMk cId="0" sldId="675"/>
            <ac:grpSpMk id="77" creationId="{00000000-0000-0000-0000-000000000000}"/>
          </ac:grpSpMkLst>
        </pc:grpChg>
        <pc:grpChg chg="mod">
          <ac:chgData name="UDAY PASPULE" userId="6160879af42c01e5" providerId="LiveId" clId="{AA95173D-B2F3-476D-85CE-74136E9EECFA}" dt="2021-06-07T15:54:25.459" v="88" actId="1076"/>
          <ac:grpSpMkLst>
            <pc:docMk/>
            <pc:sldMk cId="0" sldId="675"/>
            <ac:grpSpMk id="90" creationId="{00000000-0000-0000-0000-000000000000}"/>
          </ac:grpSpMkLst>
        </pc:grpChg>
        <pc:picChg chg="mod">
          <ac:chgData name="UDAY PASPULE" userId="6160879af42c01e5" providerId="LiveId" clId="{AA95173D-B2F3-476D-85CE-74136E9EECFA}" dt="2021-06-07T15:54:14.852" v="85" actId="1076"/>
          <ac:picMkLst>
            <pc:docMk/>
            <pc:sldMk cId="0" sldId="675"/>
            <ac:picMk id="3" creationId="{AE2455DE-C6D9-497A-9843-F907AF84B8CE}"/>
          </ac:picMkLst>
        </pc:picChg>
        <pc:picChg chg="mod">
          <ac:chgData name="UDAY PASPULE" userId="6160879af42c01e5" providerId="LiveId" clId="{AA95173D-B2F3-476D-85CE-74136E9EECFA}" dt="2021-06-07T17:15:48.604" v="103" actId="1076"/>
          <ac:picMkLst>
            <pc:docMk/>
            <pc:sldMk cId="0" sldId="675"/>
            <ac:picMk id="4" creationId="{65CC731C-AC33-4629-AAC5-3330826AFB0A}"/>
          </ac:picMkLst>
        </pc:picChg>
        <pc:picChg chg="mod">
          <ac:chgData name="UDAY PASPULE" userId="6160879af42c01e5" providerId="LiveId" clId="{AA95173D-B2F3-476D-85CE-74136E9EECFA}" dt="2021-06-07T15:54:33.995" v="90" actId="1076"/>
          <ac:picMkLst>
            <pc:docMk/>
            <pc:sldMk cId="0" sldId="675"/>
            <ac:picMk id="5" creationId="{F453B6CE-9014-40A2-B56E-CBD718D63F01}"/>
          </ac:picMkLst>
        </pc:picChg>
      </pc:sldChg>
      <pc:sldChg chg="modSp mod">
        <pc:chgData name="UDAY PASPULE" userId="6160879af42c01e5" providerId="LiveId" clId="{AA95173D-B2F3-476D-85CE-74136E9EECFA}" dt="2021-06-07T17:25:40.295" v="144" actId="12"/>
        <pc:sldMkLst>
          <pc:docMk/>
          <pc:sldMk cId="1031544785" sldId="676"/>
        </pc:sldMkLst>
        <pc:spChg chg="mod">
          <ac:chgData name="UDAY PASPULE" userId="6160879af42c01e5" providerId="LiveId" clId="{AA95173D-B2F3-476D-85CE-74136E9EECFA}" dt="2021-06-07T17:25:30.407" v="141" actId="12"/>
          <ac:spMkLst>
            <pc:docMk/>
            <pc:sldMk cId="1031544785" sldId="676"/>
            <ac:spMk id="2" creationId="{67314003-7A2E-45A4-B8D3-74FB55394C25}"/>
          </ac:spMkLst>
        </pc:spChg>
        <pc:spChg chg="mod">
          <ac:chgData name="UDAY PASPULE" userId="6160879af42c01e5" providerId="LiveId" clId="{AA95173D-B2F3-476D-85CE-74136E9EECFA}" dt="2021-06-07T17:25:40.295" v="144" actId="12"/>
          <ac:spMkLst>
            <pc:docMk/>
            <pc:sldMk cId="1031544785" sldId="676"/>
            <ac:spMk id="3" creationId="{6B56FDFF-0C29-4CE9-B418-732BDFACF873}"/>
          </ac:spMkLst>
        </pc:spChg>
      </pc:sldChg>
      <pc:sldChg chg="addSp delSp modSp new mod ord">
        <pc:chgData name="UDAY PASPULE" userId="6160879af42c01e5" providerId="LiveId" clId="{AA95173D-B2F3-476D-85CE-74136E9EECFA}" dt="2021-06-09T12:29:30.580" v="890" actId="14100"/>
        <pc:sldMkLst>
          <pc:docMk/>
          <pc:sldMk cId="4087145995" sldId="677"/>
        </pc:sldMkLst>
        <pc:spChg chg="mod">
          <ac:chgData name="UDAY PASPULE" userId="6160879af42c01e5" providerId="LiveId" clId="{AA95173D-B2F3-476D-85CE-74136E9EECFA}" dt="2021-06-09T12:20:58.940" v="545" actId="1076"/>
          <ac:spMkLst>
            <pc:docMk/>
            <pc:sldMk cId="4087145995" sldId="677"/>
            <ac:spMk id="2" creationId="{1626B26A-4D95-4167-A61C-CB9A43991AA2}"/>
          </ac:spMkLst>
        </pc:spChg>
        <pc:spChg chg="mod">
          <ac:chgData name="UDAY PASPULE" userId="6160879af42c01e5" providerId="LiveId" clId="{AA95173D-B2F3-476D-85CE-74136E9EECFA}" dt="2021-06-09T12:29:20.379" v="887" actId="14100"/>
          <ac:spMkLst>
            <pc:docMk/>
            <pc:sldMk cId="4087145995" sldId="677"/>
            <ac:spMk id="3" creationId="{D01E28DB-6FBE-4998-ADD8-CF6ADDCFABD7}"/>
          </ac:spMkLst>
        </pc:spChg>
        <pc:spChg chg="del">
          <ac:chgData name="UDAY PASPULE" userId="6160879af42c01e5" providerId="LiveId" clId="{AA95173D-B2F3-476D-85CE-74136E9EECFA}" dt="2021-06-09T12:23:58.784" v="632" actId="21"/>
          <ac:spMkLst>
            <pc:docMk/>
            <pc:sldMk cId="4087145995" sldId="677"/>
            <ac:spMk id="4" creationId="{F0BCF5EF-2A9D-4FFD-B69C-6D234575FFD2}"/>
          </ac:spMkLst>
        </pc:spChg>
        <pc:graphicFrameChg chg="add mod modGraphic">
          <ac:chgData name="UDAY PASPULE" userId="6160879af42c01e5" providerId="LiveId" clId="{AA95173D-B2F3-476D-85CE-74136E9EECFA}" dt="2021-06-09T12:29:30.580" v="890" actId="14100"/>
          <ac:graphicFrameMkLst>
            <pc:docMk/>
            <pc:sldMk cId="4087145995" sldId="677"/>
            <ac:graphicFrameMk id="5" creationId="{0554C171-D094-4750-BE30-B9670E3C0BDA}"/>
          </ac:graphicFrameMkLst>
        </pc:graphicFrameChg>
      </pc:sldChg>
      <pc:sldChg chg="addSp delSp modSp new mod">
        <pc:chgData name="UDAY PASPULE" userId="6160879af42c01e5" providerId="LiveId" clId="{AA95173D-B2F3-476D-85CE-74136E9EECFA}" dt="2021-06-09T13:08:31.438" v="935" actId="14100"/>
        <pc:sldMkLst>
          <pc:docMk/>
          <pc:sldMk cId="189117585" sldId="678"/>
        </pc:sldMkLst>
        <pc:spChg chg="del">
          <ac:chgData name="UDAY PASPULE" userId="6160879af42c01e5" providerId="LiveId" clId="{AA95173D-B2F3-476D-85CE-74136E9EECFA}" dt="2021-06-09T13:08:20.058" v="933" actId="21"/>
          <ac:spMkLst>
            <pc:docMk/>
            <pc:sldMk cId="189117585" sldId="678"/>
            <ac:spMk id="2" creationId="{20A3D6D7-96D4-4683-A301-9B893D6C74A0}"/>
          </ac:spMkLst>
        </pc:spChg>
        <pc:picChg chg="add mod">
          <ac:chgData name="UDAY PASPULE" userId="6160879af42c01e5" providerId="LiveId" clId="{AA95173D-B2F3-476D-85CE-74136E9EECFA}" dt="2021-06-09T13:08:31.438" v="935" actId="14100"/>
          <ac:picMkLst>
            <pc:docMk/>
            <pc:sldMk cId="189117585" sldId="678"/>
            <ac:picMk id="4" creationId="{189F7C6E-E147-4CD4-B35C-335AA8F33D89}"/>
          </ac:picMkLst>
        </pc:picChg>
      </pc:sldChg>
      <pc:sldChg chg="addSp delSp modSp mod">
        <pc:chgData name="UDAY PASPULE" userId="6160879af42c01e5" providerId="LiveId" clId="{AA95173D-B2F3-476D-85CE-74136E9EECFA}" dt="2021-06-11T17:11:40.814" v="1497" actId="1076"/>
        <pc:sldMkLst>
          <pc:docMk/>
          <pc:sldMk cId="1618548262" sldId="679"/>
        </pc:sldMkLst>
        <pc:picChg chg="add del mod">
          <ac:chgData name="UDAY PASPULE" userId="6160879af42c01e5" providerId="LiveId" clId="{AA95173D-B2F3-476D-85CE-74136E9EECFA}" dt="2021-06-11T17:06:56.561" v="1409" actId="21"/>
          <ac:picMkLst>
            <pc:docMk/>
            <pc:sldMk cId="1618548262" sldId="679"/>
            <ac:picMk id="2" creationId="{48B3A2A0-8B82-46DA-B118-C691669E17E6}"/>
          </ac:picMkLst>
        </pc:picChg>
        <pc:picChg chg="mod">
          <ac:chgData name="UDAY PASPULE" userId="6160879af42c01e5" providerId="LiveId" clId="{AA95173D-B2F3-476D-85CE-74136E9EECFA}" dt="2021-06-11T17:11:40.814" v="1497" actId="1076"/>
          <ac:picMkLst>
            <pc:docMk/>
            <pc:sldMk cId="1618548262" sldId="679"/>
            <ac:picMk id="4" creationId="{331FC639-0F4B-4ED0-9DF0-868C00236B23}"/>
          </ac:picMkLst>
        </pc:picChg>
        <pc:picChg chg="mod">
          <ac:chgData name="UDAY PASPULE" userId="6160879af42c01e5" providerId="LiveId" clId="{AA95173D-B2F3-476D-85CE-74136E9EECFA}" dt="2021-06-11T17:11:32.661" v="1495" actId="1076"/>
          <ac:picMkLst>
            <pc:docMk/>
            <pc:sldMk cId="1618548262" sldId="679"/>
            <ac:picMk id="5" creationId="{F17269AE-8EDB-496A-A489-DD1B795C7404}"/>
          </ac:picMkLst>
        </pc:picChg>
      </pc:sldChg>
      <pc:sldChg chg="addSp delSp modSp mod">
        <pc:chgData name="UDAY PASPULE" userId="6160879af42c01e5" providerId="LiveId" clId="{AA95173D-B2F3-476D-85CE-74136E9EECFA}" dt="2021-06-11T17:11:11.320" v="1493" actId="14100"/>
        <pc:sldMkLst>
          <pc:docMk/>
          <pc:sldMk cId="11934466" sldId="680"/>
        </pc:sldMkLst>
        <pc:spChg chg="add mod">
          <ac:chgData name="UDAY PASPULE" userId="6160879af42c01e5" providerId="LiveId" clId="{AA95173D-B2F3-476D-85CE-74136E9EECFA}" dt="2021-06-11T17:11:11.320" v="1493" actId="14100"/>
          <ac:spMkLst>
            <pc:docMk/>
            <pc:sldMk cId="11934466" sldId="680"/>
            <ac:spMk id="5" creationId="{AAC68387-694C-4AD4-AAC0-CC63BB3E94D5}"/>
          </ac:spMkLst>
        </pc:spChg>
        <pc:picChg chg="add mod">
          <ac:chgData name="UDAY PASPULE" userId="6160879af42c01e5" providerId="LiveId" clId="{AA95173D-B2F3-476D-85CE-74136E9EECFA}" dt="2021-06-11T17:09:33.669" v="1426" actId="1076"/>
          <ac:picMkLst>
            <pc:docMk/>
            <pc:sldMk cId="11934466" sldId="680"/>
            <ac:picMk id="2" creationId="{6297A573-CE85-47BF-8ED8-1E2141778C85}"/>
          </ac:picMkLst>
        </pc:picChg>
        <pc:picChg chg="del">
          <ac:chgData name="UDAY PASPULE" userId="6160879af42c01e5" providerId="LiveId" clId="{AA95173D-B2F3-476D-85CE-74136E9EECFA}" dt="2021-06-11T17:04:07.670" v="1401" actId="21"/>
          <ac:picMkLst>
            <pc:docMk/>
            <pc:sldMk cId="11934466" sldId="680"/>
            <ac:picMk id="3" creationId="{25038753-8E68-40A0-B532-0E501DAA7AF1}"/>
          </ac:picMkLst>
        </pc:picChg>
        <pc:picChg chg="mod">
          <ac:chgData name="UDAY PASPULE" userId="6160879af42c01e5" providerId="LiveId" clId="{AA95173D-B2F3-476D-85CE-74136E9EECFA}" dt="2021-06-11T17:09:38.670" v="1428" actId="1076"/>
          <ac:picMkLst>
            <pc:docMk/>
            <pc:sldMk cId="11934466" sldId="680"/>
            <ac:picMk id="4" creationId="{B0C11276-07A4-4BC9-9433-65A211669E12}"/>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mn-lt"/>
                <a:ea typeface="+mn-ea"/>
                <a:cs typeface="+mn-cs"/>
              </a:defRPr>
            </a:pPr>
            <a:r>
              <a:rPr lang="en-US" dirty="0"/>
              <a:t>Employment</a:t>
            </a:r>
            <a:r>
              <a:rPr lang="en-US" baseline="0" dirty="0"/>
              <a:t> by Sector for Rural females</a:t>
            </a:r>
            <a:endParaRPr lang="en-US" dirty="0"/>
          </a:p>
        </c:rich>
      </c:tx>
      <c:overlay val="0"/>
      <c:spPr>
        <a:noFill/>
        <a:ln>
          <a:noFill/>
        </a:ln>
        <a:effectLst/>
      </c:spPr>
      <c:txPr>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percentStacked"/>
        <c:varyColors val="0"/>
        <c:ser>
          <c:idx val="0"/>
          <c:order val="0"/>
          <c:tx>
            <c:strRef>
              <c:f>Sheet16!$B$23</c:f>
              <c:strCache>
                <c:ptCount val="1"/>
                <c:pt idx="0">
                  <c:v>Agriculture</c:v>
                </c:pt>
              </c:strCache>
            </c:strRef>
          </c:tx>
          <c:spPr>
            <a:solidFill>
              <a:schemeClr val="accent1"/>
            </a:solidFill>
            <a:ln>
              <a:noFill/>
            </a:ln>
            <a:effectLst/>
            <a:sp3d/>
          </c:spPr>
          <c:invertIfNegative val="0"/>
          <c:cat>
            <c:numRef>
              <c:f>Sheet16!$A$24:$A$32</c:f>
              <c:numCache>
                <c:formatCode>General</c:formatCode>
                <c:ptCount val="9"/>
                <c:pt idx="0">
                  <c:v>1977</c:v>
                </c:pt>
                <c:pt idx="1">
                  <c:v>1983</c:v>
                </c:pt>
                <c:pt idx="2">
                  <c:v>1987</c:v>
                </c:pt>
                <c:pt idx="3">
                  <c:v>1993</c:v>
                </c:pt>
                <c:pt idx="4">
                  <c:v>1999</c:v>
                </c:pt>
                <c:pt idx="5">
                  <c:v>2004</c:v>
                </c:pt>
                <c:pt idx="6">
                  <c:v>2009</c:v>
                </c:pt>
                <c:pt idx="7">
                  <c:v>2011</c:v>
                </c:pt>
                <c:pt idx="8">
                  <c:v>2017</c:v>
                </c:pt>
              </c:numCache>
            </c:numRef>
          </c:cat>
          <c:val>
            <c:numRef>
              <c:f>Sheet16!$B$24:$B$32</c:f>
              <c:numCache>
                <c:formatCode>General</c:formatCode>
                <c:ptCount val="9"/>
                <c:pt idx="0">
                  <c:v>87</c:v>
                </c:pt>
                <c:pt idx="1">
                  <c:v>86</c:v>
                </c:pt>
                <c:pt idx="2">
                  <c:v>84</c:v>
                </c:pt>
                <c:pt idx="3">
                  <c:v>91</c:v>
                </c:pt>
                <c:pt idx="4">
                  <c:v>86</c:v>
                </c:pt>
                <c:pt idx="5">
                  <c:v>83</c:v>
                </c:pt>
                <c:pt idx="6">
                  <c:v>79</c:v>
                </c:pt>
                <c:pt idx="7">
                  <c:v>74</c:v>
                </c:pt>
                <c:pt idx="8">
                  <c:v>73</c:v>
                </c:pt>
              </c:numCache>
            </c:numRef>
          </c:val>
          <c:extLst>
            <c:ext xmlns:c16="http://schemas.microsoft.com/office/drawing/2014/chart" uri="{C3380CC4-5D6E-409C-BE32-E72D297353CC}">
              <c16:uniqueId val="{00000000-B4D0-4404-8143-AC02125E633C}"/>
            </c:ext>
          </c:extLst>
        </c:ser>
        <c:ser>
          <c:idx val="1"/>
          <c:order val="1"/>
          <c:tx>
            <c:strRef>
              <c:f>Sheet16!$C$23</c:f>
              <c:strCache>
                <c:ptCount val="1"/>
                <c:pt idx="0">
                  <c:v>Construction</c:v>
                </c:pt>
              </c:strCache>
            </c:strRef>
          </c:tx>
          <c:spPr>
            <a:solidFill>
              <a:schemeClr val="accent2"/>
            </a:solidFill>
            <a:ln>
              <a:noFill/>
            </a:ln>
            <a:effectLst/>
            <a:sp3d/>
          </c:spPr>
          <c:invertIfNegative val="0"/>
          <c:cat>
            <c:numRef>
              <c:f>Sheet16!$A$24:$A$32</c:f>
              <c:numCache>
                <c:formatCode>General</c:formatCode>
                <c:ptCount val="9"/>
                <c:pt idx="0">
                  <c:v>1977</c:v>
                </c:pt>
                <c:pt idx="1">
                  <c:v>1983</c:v>
                </c:pt>
                <c:pt idx="2">
                  <c:v>1987</c:v>
                </c:pt>
                <c:pt idx="3">
                  <c:v>1993</c:v>
                </c:pt>
                <c:pt idx="4">
                  <c:v>1999</c:v>
                </c:pt>
                <c:pt idx="5">
                  <c:v>2004</c:v>
                </c:pt>
                <c:pt idx="6">
                  <c:v>2009</c:v>
                </c:pt>
                <c:pt idx="7">
                  <c:v>2011</c:v>
                </c:pt>
                <c:pt idx="8">
                  <c:v>2017</c:v>
                </c:pt>
              </c:numCache>
            </c:numRef>
          </c:cat>
          <c:val>
            <c:numRef>
              <c:f>Sheet16!$C$24:$C$32</c:f>
              <c:numCache>
                <c:formatCode>General</c:formatCode>
                <c:ptCount val="9"/>
                <c:pt idx="0">
                  <c:v>1.5</c:v>
                </c:pt>
                <c:pt idx="1">
                  <c:v>1.7</c:v>
                </c:pt>
                <c:pt idx="2">
                  <c:v>3</c:v>
                </c:pt>
                <c:pt idx="3">
                  <c:v>0.6</c:v>
                </c:pt>
                <c:pt idx="4">
                  <c:v>2</c:v>
                </c:pt>
                <c:pt idx="5">
                  <c:v>2</c:v>
                </c:pt>
                <c:pt idx="6">
                  <c:v>5</c:v>
                </c:pt>
                <c:pt idx="7">
                  <c:v>7</c:v>
                </c:pt>
                <c:pt idx="8">
                  <c:v>5</c:v>
                </c:pt>
              </c:numCache>
            </c:numRef>
          </c:val>
          <c:extLst>
            <c:ext xmlns:c16="http://schemas.microsoft.com/office/drawing/2014/chart" uri="{C3380CC4-5D6E-409C-BE32-E72D297353CC}">
              <c16:uniqueId val="{00000001-B4D0-4404-8143-AC02125E633C}"/>
            </c:ext>
          </c:extLst>
        </c:ser>
        <c:ser>
          <c:idx val="2"/>
          <c:order val="2"/>
          <c:tx>
            <c:strRef>
              <c:f>Sheet16!$D$23</c:f>
              <c:strCache>
                <c:ptCount val="1"/>
                <c:pt idx="0">
                  <c:v>Services</c:v>
                </c:pt>
              </c:strCache>
            </c:strRef>
          </c:tx>
          <c:spPr>
            <a:solidFill>
              <a:schemeClr val="accent3"/>
            </a:solidFill>
            <a:ln>
              <a:noFill/>
            </a:ln>
            <a:effectLst/>
            <a:sp3d/>
          </c:spPr>
          <c:invertIfNegative val="0"/>
          <c:cat>
            <c:numRef>
              <c:f>Sheet16!$A$24:$A$32</c:f>
              <c:numCache>
                <c:formatCode>General</c:formatCode>
                <c:ptCount val="9"/>
                <c:pt idx="0">
                  <c:v>1977</c:v>
                </c:pt>
                <c:pt idx="1">
                  <c:v>1983</c:v>
                </c:pt>
                <c:pt idx="2">
                  <c:v>1987</c:v>
                </c:pt>
                <c:pt idx="3">
                  <c:v>1993</c:v>
                </c:pt>
                <c:pt idx="4">
                  <c:v>1999</c:v>
                </c:pt>
                <c:pt idx="5">
                  <c:v>2004</c:v>
                </c:pt>
                <c:pt idx="6">
                  <c:v>2009</c:v>
                </c:pt>
                <c:pt idx="7">
                  <c:v>2011</c:v>
                </c:pt>
                <c:pt idx="8">
                  <c:v>2017</c:v>
                </c:pt>
              </c:numCache>
            </c:numRef>
          </c:cat>
          <c:val>
            <c:numRef>
              <c:f>Sheet16!$D$24:$D$32</c:f>
              <c:numCache>
                <c:formatCode>General</c:formatCode>
                <c:ptCount val="9"/>
                <c:pt idx="0">
                  <c:v>5</c:v>
                </c:pt>
                <c:pt idx="1">
                  <c:v>5.5</c:v>
                </c:pt>
                <c:pt idx="2">
                  <c:v>4</c:v>
                </c:pt>
                <c:pt idx="3">
                  <c:v>7</c:v>
                </c:pt>
                <c:pt idx="4">
                  <c:v>5.5</c:v>
                </c:pt>
                <c:pt idx="5">
                  <c:v>6.8</c:v>
                </c:pt>
                <c:pt idx="6">
                  <c:v>7.8</c:v>
                </c:pt>
                <c:pt idx="7">
                  <c:v>7</c:v>
                </c:pt>
                <c:pt idx="8">
                  <c:v>13</c:v>
                </c:pt>
              </c:numCache>
            </c:numRef>
          </c:val>
          <c:extLst>
            <c:ext xmlns:c16="http://schemas.microsoft.com/office/drawing/2014/chart" uri="{C3380CC4-5D6E-409C-BE32-E72D297353CC}">
              <c16:uniqueId val="{00000002-B4D0-4404-8143-AC02125E633C}"/>
            </c:ext>
          </c:extLst>
        </c:ser>
        <c:ser>
          <c:idx val="3"/>
          <c:order val="3"/>
          <c:tx>
            <c:strRef>
              <c:f>Sheet16!$E$23</c:f>
              <c:strCache>
                <c:ptCount val="1"/>
                <c:pt idx="0">
                  <c:v>Manufacturing</c:v>
                </c:pt>
              </c:strCache>
            </c:strRef>
          </c:tx>
          <c:spPr>
            <a:solidFill>
              <a:schemeClr val="accent4"/>
            </a:solidFill>
            <a:ln>
              <a:noFill/>
            </a:ln>
            <a:effectLst/>
            <a:sp3d/>
          </c:spPr>
          <c:invertIfNegative val="0"/>
          <c:cat>
            <c:numRef>
              <c:f>Sheet16!$A$24:$A$32</c:f>
              <c:numCache>
                <c:formatCode>General</c:formatCode>
                <c:ptCount val="9"/>
                <c:pt idx="0">
                  <c:v>1977</c:v>
                </c:pt>
                <c:pt idx="1">
                  <c:v>1983</c:v>
                </c:pt>
                <c:pt idx="2">
                  <c:v>1987</c:v>
                </c:pt>
                <c:pt idx="3">
                  <c:v>1993</c:v>
                </c:pt>
                <c:pt idx="4">
                  <c:v>1999</c:v>
                </c:pt>
                <c:pt idx="5">
                  <c:v>2004</c:v>
                </c:pt>
                <c:pt idx="6">
                  <c:v>2009</c:v>
                </c:pt>
                <c:pt idx="7">
                  <c:v>2011</c:v>
                </c:pt>
                <c:pt idx="8">
                  <c:v>2017</c:v>
                </c:pt>
              </c:numCache>
            </c:numRef>
          </c:cat>
          <c:val>
            <c:numRef>
              <c:f>Sheet16!$E$24:$E$32</c:f>
              <c:numCache>
                <c:formatCode>General</c:formatCode>
                <c:ptCount val="9"/>
                <c:pt idx="0">
                  <c:v>6</c:v>
                </c:pt>
                <c:pt idx="1">
                  <c:v>6.5</c:v>
                </c:pt>
                <c:pt idx="2">
                  <c:v>8</c:v>
                </c:pt>
                <c:pt idx="3">
                  <c:v>0.8</c:v>
                </c:pt>
                <c:pt idx="4">
                  <c:v>6</c:v>
                </c:pt>
                <c:pt idx="5">
                  <c:v>8</c:v>
                </c:pt>
                <c:pt idx="6">
                  <c:v>8</c:v>
                </c:pt>
                <c:pt idx="7">
                  <c:v>10</c:v>
                </c:pt>
                <c:pt idx="8">
                  <c:v>8</c:v>
                </c:pt>
              </c:numCache>
            </c:numRef>
          </c:val>
          <c:extLst>
            <c:ext xmlns:c16="http://schemas.microsoft.com/office/drawing/2014/chart" uri="{C3380CC4-5D6E-409C-BE32-E72D297353CC}">
              <c16:uniqueId val="{00000003-B4D0-4404-8143-AC02125E633C}"/>
            </c:ext>
          </c:extLst>
        </c:ser>
        <c:ser>
          <c:idx val="4"/>
          <c:order val="4"/>
          <c:tx>
            <c:strRef>
              <c:f>Sheet16!$F$23</c:f>
              <c:strCache>
                <c:ptCount val="1"/>
                <c:pt idx="0">
                  <c:v>Other</c:v>
                </c:pt>
              </c:strCache>
            </c:strRef>
          </c:tx>
          <c:spPr>
            <a:solidFill>
              <a:schemeClr val="accent5"/>
            </a:solidFill>
            <a:ln>
              <a:noFill/>
            </a:ln>
            <a:effectLst/>
            <a:sp3d/>
          </c:spPr>
          <c:invertIfNegative val="0"/>
          <c:cat>
            <c:numRef>
              <c:f>Sheet16!$A$24:$A$32</c:f>
              <c:numCache>
                <c:formatCode>General</c:formatCode>
                <c:ptCount val="9"/>
                <c:pt idx="0">
                  <c:v>1977</c:v>
                </c:pt>
                <c:pt idx="1">
                  <c:v>1983</c:v>
                </c:pt>
                <c:pt idx="2">
                  <c:v>1987</c:v>
                </c:pt>
                <c:pt idx="3">
                  <c:v>1993</c:v>
                </c:pt>
                <c:pt idx="4">
                  <c:v>1999</c:v>
                </c:pt>
                <c:pt idx="5">
                  <c:v>2004</c:v>
                </c:pt>
                <c:pt idx="6">
                  <c:v>2009</c:v>
                </c:pt>
                <c:pt idx="7">
                  <c:v>2011</c:v>
                </c:pt>
                <c:pt idx="8">
                  <c:v>2017</c:v>
                </c:pt>
              </c:numCache>
            </c:numRef>
          </c:cat>
          <c:val>
            <c:numRef>
              <c:f>Sheet16!$F$24:$F$32</c:f>
              <c:numCache>
                <c:formatCode>General</c:formatCode>
                <c:ptCount val="9"/>
                <c:pt idx="0">
                  <c:v>0.5</c:v>
                </c:pt>
                <c:pt idx="1">
                  <c:v>0.3</c:v>
                </c:pt>
                <c:pt idx="2">
                  <c:v>1</c:v>
                </c:pt>
                <c:pt idx="3">
                  <c:v>0.6</c:v>
                </c:pt>
                <c:pt idx="4">
                  <c:v>0.5</c:v>
                </c:pt>
                <c:pt idx="5">
                  <c:v>0.2</c:v>
                </c:pt>
                <c:pt idx="6">
                  <c:v>0.2</c:v>
                </c:pt>
                <c:pt idx="7">
                  <c:v>1</c:v>
                </c:pt>
                <c:pt idx="8">
                  <c:v>1</c:v>
                </c:pt>
              </c:numCache>
            </c:numRef>
          </c:val>
          <c:extLst>
            <c:ext xmlns:c16="http://schemas.microsoft.com/office/drawing/2014/chart" uri="{C3380CC4-5D6E-409C-BE32-E72D297353CC}">
              <c16:uniqueId val="{00000004-B4D0-4404-8143-AC02125E633C}"/>
            </c:ext>
          </c:extLst>
        </c:ser>
        <c:dLbls>
          <c:showLegendKey val="0"/>
          <c:showVal val="0"/>
          <c:showCatName val="0"/>
          <c:showSerName val="0"/>
          <c:showPercent val="0"/>
          <c:showBubbleSize val="0"/>
        </c:dLbls>
        <c:gapWidth val="150"/>
        <c:shape val="box"/>
        <c:axId val="786519248"/>
        <c:axId val="1517156080"/>
        <c:axId val="0"/>
      </c:bar3DChart>
      <c:catAx>
        <c:axId val="78651924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7156080"/>
        <c:crosses val="autoZero"/>
        <c:auto val="1"/>
        <c:lblAlgn val="ctr"/>
        <c:lblOffset val="100"/>
        <c:noMultiLvlLbl val="0"/>
      </c:catAx>
      <c:valAx>
        <c:axId val="15171560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6519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600" b="1" i="0" u="none" strike="noStrike" kern="1200" baseline="0">
                <a:solidFill>
                  <a:schemeClr val="tx1">
                    <a:lumMod val="65000"/>
                    <a:lumOff val="35000"/>
                  </a:schemeClr>
                </a:solidFill>
                <a:latin typeface="+mn-lt"/>
                <a:ea typeface="+mn-ea"/>
                <a:cs typeface="+mn-cs"/>
              </a:defRPr>
            </a:pPr>
            <a:r>
              <a:rPr lang="en-US" dirty="0"/>
              <a:t>Share of India's Female Labour Force</a:t>
            </a:r>
          </a:p>
        </c:rich>
      </c:tx>
      <c:overlay val="0"/>
      <c:spPr>
        <a:noFill/>
        <a:ln>
          <a:noFill/>
        </a:ln>
        <a:effectLst/>
      </c:spPr>
      <c:txPr>
        <a:bodyPr rot="0" spcFirstLastPara="1" vertOverflow="ellipsis" vert="horz" wrap="square" anchor="ctr" anchorCtr="1"/>
        <a:lstStyle/>
        <a:p>
          <a:pPr>
            <a:defRPr lang="en-US"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35C5-477C-B80E-4B6DF472F225}"/>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35C5-477C-B80E-4B6DF472F225}"/>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35C5-477C-B80E-4B6DF472F225}"/>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35C5-477C-B80E-4B6DF472F225}"/>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9-35C5-477C-B80E-4B6DF472F225}"/>
              </c:ext>
            </c:extLst>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B-35C5-477C-B80E-4B6DF472F225}"/>
              </c:ext>
            </c:extLst>
          </c:dPt>
          <c:dLbls>
            <c:dLbl>
              <c:idx val="0"/>
              <c:tx>
                <c:rich>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r>
                      <a:rPr lang="en-US" dirty="0"/>
                      <a:t>63%</a:t>
                    </a:r>
                  </a:p>
                </c:rich>
              </c:tx>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35C5-477C-B80E-4B6DF472F225}"/>
                </c:ext>
              </c:extLst>
            </c:dLbl>
            <c:dLbl>
              <c:idx val="1"/>
              <c:tx>
                <c:rich>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r>
                      <a:rPr lang="en-US" dirty="0"/>
                      <a:t>13%</a:t>
                    </a:r>
                  </a:p>
                </c:rich>
              </c:tx>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35C5-477C-B80E-4B6DF472F225}"/>
                </c:ext>
              </c:extLst>
            </c:dLbl>
            <c:dLbl>
              <c:idx val="2"/>
              <c:tx>
                <c:rich>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r>
                      <a:rPr lang="en-US" dirty="0"/>
                      <a:t>6%</a:t>
                    </a:r>
                  </a:p>
                </c:rich>
              </c:tx>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35C5-477C-B80E-4B6DF472F225}"/>
                </c:ext>
              </c:extLst>
            </c:dLbl>
            <c:dLbl>
              <c:idx val="3"/>
              <c:tx>
                <c:rich>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r>
                      <a:rPr lang="en-US" dirty="0"/>
                      <a:t>5%</a:t>
                    </a:r>
                  </a:p>
                </c:rich>
              </c:tx>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35C5-477C-B80E-4B6DF472F225}"/>
                </c:ext>
              </c:extLst>
            </c:dLbl>
            <c:dLbl>
              <c:idx val="4"/>
              <c:tx>
                <c:rich>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r>
                      <a:rPr lang="en-US" dirty="0"/>
                      <a:t>4%</a:t>
                    </a:r>
                  </a:p>
                </c:rich>
              </c:tx>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35C5-477C-B80E-4B6DF472F225}"/>
                </c:ext>
              </c:extLst>
            </c:dLbl>
            <c:dLbl>
              <c:idx val="5"/>
              <c:tx>
                <c:rich>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r>
                      <a:rPr lang="en-US" dirty="0"/>
                      <a:t>9%</a:t>
                    </a:r>
                  </a:p>
                </c:rich>
              </c:tx>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B-35C5-477C-B80E-4B6DF472F22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5!$A$2:$A$7</c:f>
              <c:strCache>
                <c:ptCount val="6"/>
                <c:pt idx="0">
                  <c:v>Agriculture</c:v>
                </c:pt>
                <c:pt idx="1">
                  <c:v>Manufacturing</c:v>
                </c:pt>
                <c:pt idx="2">
                  <c:v>Construction </c:v>
                </c:pt>
                <c:pt idx="3">
                  <c:v>Education</c:v>
                </c:pt>
                <c:pt idx="4">
                  <c:v>Wholesale and retail </c:v>
                </c:pt>
                <c:pt idx="5">
                  <c:v>Other</c:v>
                </c:pt>
              </c:strCache>
            </c:strRef>
          </c:cat>
          <c:val>
            <c:numRef>
              <c:f>Sheet15!$B$2:$B$7</c:f>
              <c:numCache>
                <c:formatCode>General</c:formatCode>
                <c:ptCount val="6"/>
                <c:pt idx="0">
                  <c:v>63</c:v>
                </c:pt>
                <c:pt idx="1">
                  <c:v>13</c:v>
                </c:pt>
                <c:pt idx="2">
                  <c:v>6</c:v>
                </c:pt>
                <c:pt idx="3">
                  <c:v>5</c:v>
                </c:pt>
                <c:pt idx="4">
                  <c:v>4</c:v>
                </c:pt>
                <c:pt idx="5">
                  <c:v>9</c:v>
                </c:pt>
              </c:numCache>
            </c:numRef>
          </c:val>
          <c:extLst>
            <c:ext xmlns:c16="http://schemas.microsoft.com/office/drawing/2014/chart" uri="{C3380CC4-5D6E-409C-BE32-E72D297353CC}">
              <c16:uniqueId val="{0000000C-35C5-477C-B80E-4B6DF472F225}"/>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IN" sz="1200" dirty="0"/>
              <a:t>Maternal mortality ratio:  Residual Plot</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diamond"/>
            <c:size val="6"/>
            <c:spPr>
              <a:solidFill>
                <a:schemeClr val="accent1"/>
              </a:solidFill>
              <a:ln w="9525">
                <a:solidFill>
                  <a:schemeClr val="accent1"/>
                </a:solidFill>
                <a:round/>
              </a:ln>
              <a:effectLst/>
            </c:spPr>
          </c:marker>
          <c:xVal>
            <c:numRef>
              <c:f>Sheet6!$D$2:$D$48</c:f>
              <c:numCache>
                <c:formatCode>General</c:formatCode>
                <c:ptCount val="47"/>
                <c:pt idx="0">
                  <c:v>35.78</c:v>
                </c:pt>
                <c:pt idx="1">
                  <c:v>34.39</c:v>
                </c:pt>
                <c:pt idx="2">
                  <c:v>33.35</c:v>
                </c:pt>
                <c:pt idx="3">
                  <c:v>32.299999999999997</c:v>
                </c:pt>
                <c:pt idx="4">
                  <c:v>31.25</c:v>
                </c:pt>
                <c:pt idx="5">
                  <c:v>30.21</c:v>
                </c:pt>
                <c:pt idx="6">
                  <c:v>29.16</c:v>
                </c:pt>
                <c:pt idx="7">
                  <c:v>28.67</c:v>
                </c:pt>
                <c:pt idx="8">
                  <c:v>28.18</c:v>
                </c:pt>
                <c:pt idx="9">
                  <c:v>27.69</c:v>
                </c:pt>
                <c:pt idx="10">
                  <c:v>27.2</c:v>
                </c:pt>
                <c:pt idx="11">
                  <c:v>26.72</c:v>
                </c:pt>
                <c:pt idx="12">
                  <c:v>26.44</c:v>
                </c:pt>
                <c:pt idx="13">
                  <c:v>26.18</c:v>
                </c:pt>
                <c:pt idx="14">
                  <c:v>25.92</c:v>
                </c:pt>
                <c:pt idx="15">
                  <c:v>25.65</c:v>
                </c:pt>
                <c:pt idx="16">
                  <c:v>25.39</c:v>
                </c:pt>
                <c:pt idx="17">
                  <c:v>24.83</c:v>
                </c:pt>
                <c:pt idx="18">
                  <c:v>24.27</c:v>
                </c:pt>
                <c:pt idx="19">
                  <c:v>23.72</c:v>
                </c:pt>
                <c:pt idx="20">
                  <c:v>23.16</c:v>
                </c:pt>
                <c:pt idx="21">
                  <c:v>22.6</c:v>
                </c:pt>
                <c:pt idx="22">
                  <c:v>22.1</c:v>
                </c:pt>
                <c:pt idx="23">
                  <c:v>21.6</c:v>
                </c:pt>
                <c:pt idx="24">
                  <c:v>21.13</c:v>
                </c:pt>
                <c:pt idx="25">
                  <c:v>20.64</c:v>
                </c:pt>
                <c:pt idx="26">
                  <c:v>20.14</c:v>
                </c:pt>
                <c:pt idx="27">
                  <c:v>19.87</c:v>
                </c:pt>
                <c:pt idx="28">
                  <c:v>19.59</c:v>
                </c:pt>
                <c:pt idx="29">
                  <c:v>19.309999999999999</c:v>
                </c:pt>
                <c:pt idx="30">
                  <c:v>19.04</c:v>
                </c:pt>
                <c:pt idx="31">
                  <c:v>18.760000000000002</c:v>
                </c:pt>
                <c:pt idx="32">
                  <c:v>18.440000000000001</c:v>
                </c:pt>
                <c:pt idx="33">
                  <c:v>18.12</c:v>
                </c:pt>
                <c:pt idx="34">
                  <c:v>17.809999999999999</c:v>
                </c:pt>
                <c:pt idx="35">
                  <c:v>17.48</c:v>
                </c:pt>
                <c:pt idx="36">
                  <c:v>17.16</c:v>
                </c:pt>
                <c:pt idx="37">
                  <c:v>16.7</c:v>
                </c:pt>
                <c:pt idx="38">
                  <c:v>16.25</c:v>
                </c:pt>
                <c:pt idx="39">
                  <c:v>15.79</c:v>
                </c:pt>
                <c:pt idx="40">
                  <c:v>15.340999999999999</c:v>
                </c:pt>
                <c:pt idx="41">
                  <c:v>14.88</c:v>
                </c:pt>
                <c:pt idx="42">
                  <c:v>14.63</c:v>
                </c:pt>
                <c:pt idx="43">
                  <c:v>14.38</c:v>
                </c:pt>
                <c:pt idx="44">
                  <c:v>14.13</c:v>
                </c:pt>
                <c:pt idx="45">
                  <c:v>13.87</c:v>
                </c:pt>
                <c:pt idx="46">
                  <c:v>13.62</c:v>
                </c:pt>
              </c:numCache>
            </c:numRef>
          </c:xVal>
          <c:yVal>
            <c:numRef>
              <c:f>Sheet6!$I$27:$I$73</c:f>
              <c:numCache>
                <c:formatCode>General</c:formatCode>
                <c:ptCount val="47"/>
                <c:pt idx="0">
                  <c:v>-2.4418556925929309</c:v>
                </c:pt>
                <c:pt idx="1">
                  <c:v>0.45481772305125645</c:v>
                </c:pt>
                <c:pt idx="2">
                  <c:v>1.8951466636086991</c:v>
                </c:pt>
                <c:pt idx="3">
                  <c:v>1.3270381657544661</c:v>
                </c:pt>
                <c:pt idx="4">
                  <c:v>0.47390396062474238</c:v>
                </c:pt>
                <c:pt idx="5">
                  <c:v>-0.89413913917227816</c:v>
                </c:pt>
                <c:pt idx="6">
                  <c:v>-1.3792759159967645</c:v>
                </c:pt>
                <c:pt idx="7">
                  <c:v>-0.94751941087139713</c:v>
                </c:pt>
                <c:pt idx="8">
                  <c:v>-2.2857239065090624</c:v>
                </c:pt>
                <c:pt idx="9">
                  <c:v>-2.1460811693202331</c:v>
                </c:pt>
                <c:pt idx="10">
                  <c:v>-0.75093528370480911</c:v>
                </c:pt>
                <c:pt idx="11">
                  <c:v>-2.5042277482904076</c:v>
                </c:pt>
                <c:pt idx="12">
                  <c:v>-1.7918759373989239</c:v>
                </c:pt>
                <c:pt idx="13">
                  <c:v>-1.9987428872223347</c:v>
                </c:pt>
                <c:pt idx="14">
                  <c:v>-0.70838399621990078</c:v>
                </c:pt>
                <c:pt idx="15">
                  <c:v>0.27994417097235313</c:v>
                </c:pt>
                <c:pt idx="16">
                  <c:v>0.44899222756644974</c:v>
                </c:pt>
                <c:pt idx="17">
                  <c:v>0.80349554945518875</c:v>
                </c:pt>
                <c:pt idx="18">
                  <c:v>0.9863174730603852</c:v>
                </c:pt>
                <c:pt idx="19">
                  <c:v>0.77261698175369631</c:v>
                </c:pt>
                <c:pt idx="20">
                  <c:v>0.36827689439794398</c:v>
                </c:pt>
                <c:pt idx="21">
                  <c:v>0.25066240017611108</c:v>
                </c:pt>
                <c:pt idx="22">
                  <c:v>0.47244823999802321</c:v>
                </c:pt>
                <c:pt idx="23">
                  <c:v>0.51074362352325053</c:v>
                </c:pt>
                <c:pt idx="24">
                  <c:v>0.33508408289397806</c:v>
                </c:pt>
                <c:pt idx="25">
                  <c:v>0.68409301276826184</c:v>
                </c:pt>
                <c:pt idx="26">
                  <c:v>0.76898632969772862</c:v>
                </c:pt>
                <c:pt idx="27">
                  <c:v>0.60876513555011158</c:v>
                </c:pt>
                <c:pt idx="28">
                  <c:v>0.88516918541624179</c:v>
                </c:pt>
                <c:pt idx="29">
                  <c:v>1.7828080953036896</c:v>
                </c:pt>
                <c:pt idx="30">
                  <c:v>2.42746443703982</c:v>
                </c:pt>
                <c:pt idx="31">
                  <c:v>3.0914133046879471</c:v>
                </c:pt>
                <c:pt idx="32">
                  <c:v>4.0188626469831981</c:v>
                </c:pt>
                <c:pt idx="33">
                  <c:v>5.5685346585778603</c:v>
                </c:pt>
                <c:pt idx="34">
                  <c:v>4.3280395553111646</c:v>
                </c:pt>
                <c:pt idx="35">
                  <c:v>3.7504760615395298</c:v>
                </c:pt>
                <c:pt idx="36">
                  <c:v>3.3996789991229832</c:v>
                </c:pt>
                <c:pt idx="37">
                  <c:v>1.5400717891814111</c:v>
                </c:pt>
                <c:pt idx="38">
                  <c:v>-0.21466238894508294</c:v>
                </c:pt>
                <c:pt idx="39">
                  <c:v>-0.57468118608586849</c:v>
                </c:pt>
                <c:pt idx="40">
                  <c:v>-1.1563720959813963</c:v>
                </c:pt>
                <c:pt idx="41">
                  <c:v>-2.1299407520979479</c:v>
                </c:pt>
                <c:pt idx="42">
                  <c:v>-3.4435155341667674</c:v>
                </c:pt>
                <c:pt idx="43">
                  <c:v>-4.2406056031600947</c:v>
                </c:pt>
                <c:pt idx="44">
                  <c:v>-4.0077020152063128</c:v>
                </c:pt>
                <c:pt idx="45">
                  <c:v>-4.359119969192804</c:v>
                </c:pt>
                <c:pt idx="46">
                  <c:v>-4.2584907358811392</c:v>
                </c:pt>
              </c:numCache>
            </c:numRef>
          </c:yVal>
          <c:smooth val="0"/>
          <c:extLst>
            <c:ext xmlns:c16="http://schemas.microsoft.com/office/drawing/2014/chart" uri="{C3380CC4-5D6E-409C-BE32-E72D297353CC}">
              <c16:uniqueId val="{00000000-374C-4B19-BA9F-A79EF5074BA8}"/>
            </c:ext>
          </c:extLst>
        </c:ser>
        <c:dLbls>
          <c:showLegendKey val="0"/>
          <c:showVal val="0"/>
          <c:showCatName val="0"/>
          <c:showSerName val="0"/>
          <c:showPercent val="0"/>
          <c:showBubbleSize val="0"/>
        </c:dLbls>
        <c:axId val="602009199"/>
        <c:axId val="633423535"/>
      </c:scatterChart>
      <c:valAx>
        <c:axId val="60200919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r>
                  <a:rPr lang="en-IN" dirty="0"/>
                  <a:t>Maternal mortality ratio (modelled estimate, per 10000 live births)</a:t>
                </a:r>
              </a:p>
            </c:rich>
          </c:tx>
          <c:overlay val="0"/>
          <c:spPr>
            <a:noFill/>
            <a:ln>
              <a:noFill/>
            </a:ln>
            <a:effectLst/>
          </c:spPr>
          <c:txPr>
            <a:bodyPr rot="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3423535"/>
        <c:crosses val="autoZero"/>
        <c:crossBetween val="midCat"/>
      </c:valAx>
      <c:valAx>
        <c:axId val="6334235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r>
                  <a:rPr lang="en-IN" dirty="0"/>
                  <a:t>Residuals</a:t>
                </a:r>
              </a:p>
            </c:rich>
          </c:tx>
          <c:overlay val="0"/>
          <c:spPr>
            <a:noFill/>
            <a:ln>
              <a:noFill/>
            </a:ln>
            <a:effectLst/>
          </c:spPr>
          <c:txPr>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200919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IN" sz="1200" dirty="0"/>
              <a:t>Fertility rate:  Residual Plot</a:t>
            </a:r>
          </a:p>
        </c:rich>
      </c:tx>
      <c:layout>
        <c:manualLayout>
          <c:xMode val="edge"/>
          <c:yMode val="edge"/>
          <c:x val="0.10506189374341809"/>
          <c:y val="4.5984788294104018E-2"/>
        </c:manualLayout>
      </c:layout>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diamond"/>
            <c:size val="6"/>
            <c:spPr>
              <a:solidFill>
                <a:schemeClr val="accent1"/>
              </a:solidFill>
              <a:ln w="9525">
                <a:solidFill>
                  <a:schemeClr val="accent1"/>
                </a:solidFill>
                <a:round/>
              </a:ln>
              <a:effectLst/>
            </c:spPr>
          </c:marker>
          <c:xVal>
            <c:numRef>
              <c:f>Sheet6!$B$2:$B$48</c:f>
              <c:numCache>
                <c:formatCode>General</c:formatCode>
                <c:ptCount val="47"/>
                <c:pt idx="0">
                  <c:v>5.5190000000000001</c:v>
                </c:pt>
                <c:pt idx="1">
                  <c:v>5.444</c:v>
                </c:pt>
                <c:pt idx="2">
                  <c:v>5.3630000000000004</c:v>
                </c:pt>
                <c:pt idx="3">
                  <c:v>5.2779999999999996</c:v>
                </c:pt>
                <c:pt idx="4">
                  <c:v>5.1920000000000002</c:v>
                </c:pt>
                <c:pt idx="5">
                  <c:v>5.1079999999999997</c:v>
                </c:pt>
                <c:pt idx="6">
                  <c:v>5.0289999999999999</c:v>
                </c:pt>
                <c:pt idx="7">
                  <c:v>4.9560000000000004</c:v>
                </c:pt>
                <c:pt idx="8">
                  <c:v>4.8890000000000002</c:v>
                </c:pt>
                <c:pt idx="9">
                  <c:v>4.827</c:v>
                </c:pt>
                <c:pt idx="10">
                  <c:v>4.766</c:v>
                </c:pt>
                <c:pt idx="11">
                  <c:v>4.7030000000000003</c:v>
                </c:pt>
                <c:pt idx="12">
                  <c:v>4.6360000000000001</c:v>
                </c:pt>
                <c:pt idx="13">
                  <c:v>4.5629999999999997</c:v>
                </c:pt>
                <c:pt idx="14">
                  <c:v>4.484</c:v>
                </c:pt>
                <c:pt idx="15">
                  <c:v>4.399</c:v>
                </c:pt>
                <c:pt idx="16">
                  <c:v>4.3109999999999999</c:v>
                </c:pt>
                <c:pt idx="17">
                  <c:v>4.2220000000000004</c:v>
                </c:pt>
                <c:pt idx="18">
                  <c:v>4.1319999999999997</c:v>
                </c:pt>
                <c:pt idx="19">
                  <c:v>4.0449999999999999</c:v>
                </c:pt>
                <c:pt idx="20">
                  <c:v>3.9590000000000001</c:v>
                </c:pt>
                <c:pt idx="21">
                  <c:v>3.8769999999999998</c:v>
                </c:pt>
                <c:pt idx="22">
                  <c:v>3.7989999999999999</c:v>
                </c:pt>
                <c:pt idx="23">
                  <c:v>3.7229999999999999</c:v>
                </c:pt>
                <c:pt idx="24">
                  <c:v>3.6509999999999998</c:v>
                </c:pt>
                <c:pt idx="25">
                  <c:v>3.5819999999999999</c:v>
                </c:pt>
                <c:pt idx="26">
                  <c:v>3.5139999999999998</c:v>
                </c:pt>
                <c:pt idx="27">
                  <c:v>3.4460000000000002</c:v>
                </c:pt>
                <c:pt idx="28">
                  <c:v>3.379</c:v>
                </c:pt>
                <c:pt idx="29">
                  <c:v>3.3109999999999999</c:v>
                </c:pt>
                <c:pt idx="30">
                  <c:v>3.2440000000000002</c:v>
                </c:pt>
                <c:pt idx="31">
                  <c:v>3.1760000000000002</c:v>
                </c:pt>
                <c:pt idx="32">
                  <c:v>3.109</c:v>
                </c:pt>
                <c:pt idx="33">
                  <c:v>3.0409999999999999</c:v>
                </c:pt>
                <c:pt idx="34">
                  <c:v>2.972</c:v>
                </c:pt>
                <c:pt idx="35">
                  <c:v>2.899</c:v>
                </c:pt>
                <c:pt idx="36">
                  <c:v>2.823</c:v>
                </c:pt>
                <c:pt idx="37">
                  <c:v>2.7429999999999999</c:v>
                </c:pt>
                <c:pt idx="38">
                  <c:v>2.661</c:v>
                </c:pt>
                <c:pt idx="39">
                  <c:v>2.581</c:v>
                </c:pt>
                <c:pt idx="40">
                  <c:v>2.5059999999999998</c:v>
                </c:pt>
                <c:pt idx="41">
                  <c:v>2.4390000000000001</c:v>
                </c:pt>
                <c:pt idx="42">
                  <c:v>2.3809999999999998</c:v>
                </c:pt>
                <c:pt idx="43">
                  <c:v>2.3330000000000002</c:v>
                </c:pt>
                <c:pt idx="44">
                  <c:v>2.2949999999999999</c:v>
                </c:pt>
                <c:pt idx="45">
                  <c:v>2.266</c:v>
                </c:pt>
                <c:pt idx="46">
                  <c:v>2.2429999999999999</c:v>
                </c:pt>
              </c:numCache>
            </c:numRef>
          </c:xVal>
          <c:yVal>
            <c:numRef>
              <c:f>Sheet6!$I$27:$I$73</c:f>
              <c:numCache>
                <c:formatCode>General</c:formatCode>
                <c:ptCount val="47"/>
                <c:pt idx="0">
                  <c:v>-2.4418556925929309</c:v>
                </c:pt>
                <c:pt idx="1">
                  <c:v>0.45481772305125645</c:v>
                </c:pt>
                <c:pt idx="2">
                  <c:v>1.8951466636086991</c:v>
                </c:pt>
                <c:pt idx="3">
                  <c:v>1.3270381657544661</c:v>
                </c:pt>
                <c:pt idx="4">
                  <c:v>0.47390396062474238</c:v>
                </c:pt>
                <c:pt idx="5">
                  <c:v>-0.89413913917227816</c:v>
                </c:pt>
                <c:pt idx="6">
                  <c:v>-1.3792759159967645</c:v>
                </c:pt>
                <c:pt idx="7">
                  <c:v>-0.94751941087139713</c:v>
                </c:pt>
                <c:pt idx="8">
                  <c:v>-2.2857239065090624</c:v>
                </c:pt>
                <c:pt idx="9">
                  <c:v>-2.1460811693202331</c:v>
                </c:pt>
                <c:pt idx="10">
                  <c:v>-0.75093528370480911</c:v>
                </c:pt>
                <c:pt idx="11">
                  <c:v>-2.5042277482904076</c:v>
                </c:pt>
                <c:pt idx="12">
                  <c:v>-1.7918759373989239</c:v>
                </c:pt>
                <c:pt idx="13">
                  <c:v>-1.9987428872223347</c:v>
                </c:pt>
                <c:pt idx="14">
                  <c:v>-0.70838399621990078</c:v>
                </c:pt>
                <c:pt idx="15">
                  <c:v>0.27994417097235313</c:v>
                </c:pt>
                <c:pt idx="16">
                  <c:v>0.44899222756644974</c:v>
                </c:pt>
                <c:pt idx="17">
                  <c:v>0.80349554945518875</c:v>
                </c:pt>
                <c:pt idx="18">
                  <c:v>0.9863174730603852</c:v>
                </c:pt>
                <c:pt idx="19">
                  <c:v>0.77261698175369631</c:v>
                </c:pt>
                <c:pt idx="20">
                  <c:v>0.36827689439794398</c:v>
                </c:pt>
                <c:pt idx="21">
                  <c:v>0.25066240017611108</c:v>
                </c:pt>
                <c:pt idx="22">
                  <c:v>0.47244823999802321</c:v>
                </c:pt>
                <c:pt idx="23">
                  <c:v>0.51074362352325053</c:v>
                </c:pt>
                <c:pt idx="24">
                  <c:v>0.33508408289397806</c:v>
                </c:pt>
                <c:pt idx="25">
                  <c:v>0.68409301276826184</c:v>
                </c:pt>
                <c:pt idx="26">
                  <c:v>0.76898632969772862</c:v>
                </c:pt>
                <c:pt idx="27">
                  <c:v>0.60876513555011158</c:v>
                </c:pt>
                <c:pt idx="28">
                  <c:v>0.88516918541624179</c:v>
                </c:pt>
                <c:pt idx="29">
                  <c:v>1.7828080953036896</c:v>
                </c:pt>
                <c:pt idx="30">
                  <c:v>2.42746443703982</c:v>
                </c:pt>
                <c:pt idx="31">
                  <c:v>3.0914133046879471</c:v>
                </c:pt>
                <c:pt idx="32">
                  <c:v>4.0188626469831981</c:v>
                </c:pt>
                <c:pt idx="33">
                  <c:v>5.5685346585778603</c:v>
                </c:pt>
                <c:pt idx="34">
                  <c:v>4.3280395553111646</c:v>
                </c:pt>
                <c:pt idx="35">
                  <c:v>3.7504760615395298</c:v>
                </c:pt>
                <c:pt idx="36">
                  <c:v>3.3996789991229832</c:v>
                </c:pt>
                <c:pt idx="37">
                  <c:v>1.5400717891814111</c:v>
                </c:pt>
                <c:pt idx="38">
                  <c:v>-0.21466238894508294</c:v>
                </c:pt>
                <c:pt idx="39">
                  <c:v>-0.57468118608586849</c:v>
                </c:pt>
                <c:pt idx="40">
                  <c:v>-1.1563720959813963</c:v>
                </c:pt>
                <c:pt idx="41">
                  <c:v>-2.1299407520979479</c:v>
                </c:pt>
                <c:pt idx="42">
                  <c:v>-3.4435155341667674</c:v>
                </c:pt>
                <c:pt idx="43">
                  <c:v>-4.2406056031600947</c:v>
                </c:pt>
                <c:pt idx="44">
                  <c:v>-4.0077020152063128</c:v>
                </c:pt>
                <c:pt idx="45">
                  <c:v>-4.359119969192804</c:v>
                </c:pt>
                <c:pt idx="46">
                  <c:v>-4.2584907358811392</c:v>
                </c:pt>
              </c:numCache>
            </c:numRef>
          </c:yVal>
          <c:smooth val="0"/>
          <c:extLst>
            <c:ext xmlns:c16="http://schemas.microsoft.com/office/drawing/2014/chart" uri="{C3380CC4-5D6E-409C-BE32-E72D297353CC}">
              <c16:uniqueId val="{00000000-B29D-444F-B785-63343FC74416}"/>
            </c:ext>
          </c:extLst>
        </c:ser>
        <c:dLbls>
          <c:showLegendKey val="0"/>
          <c:showVal val="0"/>
          <c:showCatName val="0"/>
          <c:showSerName val="0"/>
          <c:showPercent val="0"/>
          <c:showBubbleSize val="0"/>
        </c:dLbls>
        <c:axId val="623465103"/>
        <c:axId val="633413551"/>
      </c:scatterChart>
      <c:valAx>
        <c:axId val="623465103"/>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r>
                  <a:rPr lang="en-IN" dirty="0"/>
                  <a:t>Fertility rate, total (births per woman)</a:t>
                </a:r>
              </a:p>
            </c:rich>
          </c:tx>
          <c:overlay val="0"/>
          <c:spPr>
            <a:noFill/>
            <a:ln>
              <a:noFill/>
            </a:ln>
            <a:effectLst/>
          </c:spPr>
          <c:txPr>
            <a:bodyPr rot="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3413551"/>
        <c:crosses val="autoZero"/>
        <c:crossBetween val="midCat"/>
      </c:valAx>
      <c:valAx>
        <c:axId val="63341355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r>
                  <a:rPr lang="en-IN" dirty="0"/>
                  <a:t>Residuals</a:t>
                </a:r>
              </a:p>
            </c:rich>
          </c:tx>
          <c:overlay val="0"/>
          <c:spPr>
            <a:noFill/>
            <a:ln>
              <a:noFill/>
            </a:ln>
            <a:effectLst/>
          </c:spPr>
          <c:txPr>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346510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IN" sz="1200" dirty="0"/>
              <a:t>Literacy Rate: Residual Plot</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5666967410323709"/>
          <c:y val="0.28979035161927075"/>
          <c:w val="0.78058727034120734"/>
          <c:h val="0.5297341706253661"/>
        </c:manualLayout>
      </c:layout>
      <c:scatterChart>
        <c:scatterStyle val="lineMarker"/>
        <c:varyColors val="0"/>
        <c:ser>
          <c:idx val="0"/>
          <c:order val="0"/>
          <c:spPr>
            <a:ln w="25400" cap="rnd">
              <a:noFill/>
              <a:round/>
            </a:ln>
            <a:effectLst/>
          </c:spPr>
          <c:marker>
            <c:symbol val="diamond"/>
            <c:size val="6"/>
            <c:spPr>
              <a:solidFill>
                <a:schemeClr val="accent1"/>
              </a:solidFill>
              <a:ln w="9525">
                <a:solidFill>
                  <a:schemeClr val="accent1"/>
                </a:solidFill>
                <a:round/>
              </a:ln>
              <a:effectLst/>
            </c:spPr>
          </c:marker>
          <c:xVal>
            <c:numRef>
              <c:f>Sheet6!$C$2:$C$48</c:f>
              <c:numCache>
                <c:formatCode>General</c:formatCode>
                <c:ptCount val="47"/>
                <c:pt idx="0">
                  <c:v>21.97</c:v>
                </c:pt>
                <c:pt idx="1">
                  <c:v>22.09</c:v>
                </c:pt>
                <c:pt idx="2">
                  <c:v>22.78</c:v>
                </c:pt>
                <c:pt idx="3">
                  <c:v>23.84</c:v>
                </c:pt>
                <c:pt idx="4">
                  <c:v>24.8</c:v>
                </c:pt>
                <c:pt idx="5">
                  <c:v>25.26</c:v>
                </c:pt>
                <c:pt idx="6">
                  <c:v>25.98</c:v>
                </c:pt>
                <c:pt idx="7">
                  <c:v>26.7</c:v>
                </c:pt>
                <c:pt idx="8">
                  <c:v>27.81</c:v>
                </c:pt>
                <c:pt idx="9">
                  <c:v>28.3</c:v>
                </c:pt>
                <c:pt idx="10">
                  <c:v>29.76</c:v>
                </c:pt>
                <c:pt idx="11">
                  <c:v>30.15</c:v>
                </c:pt>
                <c:pt idx="12">
                  <c:v>31.24</c:v>
                </c:pt>
                <c:pt idx="13">
                  <c:v>31.89</c:v>
                </c:pt>
                <c:pt idx="14">
                  <c:v>33.24</c:v>
                </c:pt>
                <c:pt idx="15">
                  <c:v>34.380000000000003</c:v>
                </c:pt>
                <c:pt idx="16">
                  <c:v>35.9</c:v>
                </c:pt>
                <c:pt idx="17">
                  <c:v>37.07</c:v>
                </c:pt>
                <c:pt idx="18">
                  <c:v>38.159999999999997</c:v>
                </c:pt>
                <c:pt idx="19">
                  <c:v>38.9</c:v>
                </c:pt>
                <c:pt idx="20">
                  <c:v>39.299999999999997</c:v>
                </c:pt>
                <c:pt idx="21">
                  <c:v>40.020000000000003</c:v>
                </c:pt>
                <c:pt idx="22">
                  <c:v>41.3</c:v>
                </c:pt>
                <c:pt idx="23">
                  <c:v>42.4</c:v>
                </c:pt>
                <c:pt idx="24">
                  <c:v>43.3</c:v>
                </c:pt>
                <c:pt idx="25">
                  <c:v>45.3</c:v>
                </c:pt>
                <c:pt idx="26">
                  <c:v>46.7</c:v>
                </c:pt>
                <c:pt idx="27">
                  <c:v>48.35</c:v>
                </c:pt>
                <c:pt idx="28">
                  <c:v>50.75</c:v>
                </c:pt>
                <c:pt idx="29">
                  <c:v>52.31</c:v>
                </c:pt>
                <c:pt idx="30">
                  <c:v>53.79</c:v>
                </c:pt>
                <c:pt idx="31">
                  <c:v>54.7</c:v>
                </c:pt>
                <c:pt idx="32">
                  <c:v>56.02</c:v>
                </c:pt>
                <c:pt idx="33">
                  <c:v>58.3</c:v>
                </c:pt>
                <c:pt idx="34">
                  <c:v>59.45</c:v>
                </c:pt>
                <c:pt idx="35">
                  <c:v>61.2</c:v>
                </c:pt>
                <c:pt idx="36">
                  <c:v>62.2</c:v>
                </c:pt>
                <c:pt idx="37">
                  <c:v>63.82</c:v>
                </c:pt>
                <c:pt idx="38">
                  <c:v>64.33</c:v>
                </c:pt>
                <c:pt idx="39">
                  <c:v>65.2</c:v>
                </c:pt>
                <c:pt idx="40">
                  <c:v>65.78</c:v>
                </c:pt>
                <c:pt idx="41">
                  <c:v>66.72</c:v>
                </c:pt>
                <c:pt idx="42">
                  <c:v>67.319999999999993</c:v>
                </c:pt>
                <c:pt idx="43">
                  <c:v>68.12</c:v>
                </c:pt>
                <c:pt idx="44">
                  <c:v>69.44</c:v>
                </c:pt>
                <c:pt idx="45">
                  <c:v>70.209999999999994</c:v>
                </c:pt>
                <c:pt idx="46">
                  <c:v>71.22</c:v>
                </c:pt>
              </c:numCache>
            </c:numRef>
          </c:xVal>
          <c:yVal>
            <c:numRef>
              <c:f>Sheet6!$I$27:$I$73</c:f>
              <c:numCache>
                <c:formatCode>General</c:formatCode>
                <c:ptCount val="47"/>
                <c:pt idx="0">
                  <c:v>-2.4418556925929309</c:v>
                </c:pt>
                <c:pt idx="1">
                  <c:v>0.45481772305125645</c:v>
                </c:pt>
                <c:pt idx="2">
                  <c:v>1.8951466636086991</c:v>
                </c:pt>
                <c:pt idx="3">
                  <c:v>1.3270381657544661</c:v>
                </c:pt>
                <c:pt idx="4">
                  <c:v>0.47390396062474238</c:v>
                </c:pt>
                <c:pt idx="5">
                  <c:v>-0.89413913917227816</c:v>
                </c:pt>
                <c:pt idx="6">
                  <c:v>-1.3792759159967645</c:v>
                </c:pt>
                <c:pt idx="7">
                  <c:v>-0.94751941087139713</c:v>
                </c:pt>
                <c:pt idx="8">
                  <c:v>-2.2857239065090624</c:v>
                </c:pt>
                <c:pt idx="9">
                  <c:v>-2.1460811693202331</c:v>
                </c:pt>
                <c:pt idx="10">
                  <c:v>-0.75093528370480911</c:v>
                </c:pt>
                <c:pt idx="11">
                  <c:v>-2.5042277482904076</c:v>
                </c:pt>
                <c:pt idx="12">
                  <c:v>-1.7918759373989239</c:v>
                </c:pt>
                <c:pt idx="13">
                  <c:v>-1.9987428872223347</c:v>
                </c:pt>
                <c:pt idx="14">
                  <c:v>-0.70838399621990078</c:v>
                </c:pt>
                <c:pt idx="15">
                  <c:v>0.27994417097235313</c:v>
                </c:pt>
                <c:pt idx="16">
                  <c:v>0.44899222756644974</c:v>
                </c:pt>
                <c:pt idx="17">
                  <c:v>0.80349554945518875</c:v>
                </c:pt>
                <c:pt idx="18">
                  <c:v>0.9863174730603852</c:v>
                </c:pt>
                <c:pt idx="19">
                  <c:v>0.77261698175369631</c:v>
                </c:pt>
                <c:pt idx="20">
                  <c:v>0.36827689439794398</c:v>
                </c:pt>
                <c:pt idx="21">
                  <c:v>0.25066240017611108</c:v>
                </c:pt>
                <c:pt idx="22">
                  <c:v>0.47244823999802321</c:v>
                </c:pt>
                <c:pt idx="23">
                  <c:v>0.51074362352325053</c:v>
                </c:pt>
                <c:pt idx="24">
                  <c:v>0.33508408289397806</c:v>
                </c:pt>
                <c:pt idx="25">
                  <c:v>0.68409301276826184</c:v>
                </c:pt>
                <c:pt idx="26">
                  <c:v>0.76898632969772862</c:v>
                </c:pt>
                <c:pt idx="27">
                  <c:v>0.60876513555011158</c:v>
                </c:pt>
                <c:pt idx="28">
                  <c:v>0.88516918541624179</c:v>
                </c:pt>
                <c:pt idx="29">
                  <c:v>1.7828080953036896</c:v>
                </c:pt>
                <c:pt idx="30">
                  <c:v>2.42746443703982</c:v>
                </c:pt>
                <c:pt idx="31">
                  <c:v>3.0914133046879471</c:v>
                </c:pt>
                <c:pt idx="32">
                  <c:v>4.0188626469831981</c:v>
                </c:pt>
                <c:pt idx="33">
                  <c:v>5.5685346585778603</c:v>
                </c:pt>
                <c:pt idx="34">
                  <c:v>4.3280395553111646</c:v>
                </c:pt>
                <c:pt idx="35">
                  <c:v>3.7504760615395298</c:v>
                </c:pt>
                <c:pt idx="36">
                  <c:v>3.3996789991229832</c:v>
                </c:pt>
                <c:pt idx="37">
                  <c:v>1.5400717891814111</c:v>
                </c:pt>
                <c:pt idx="38">
                  <c:v>-0.21466238894508294</c:v>
                </c:pt>
                <c:pt idx="39">
                  <c:v>-0.57468118608586849</c:v>
                </c:pt>
                <c:pt idx="40">
                  <c:v>-1.1563720959813963</c:v>
                </c:pt>
                <c:pt idx="41">
                  <c:v>-2.1299407520979479</c:v>
                </c:pt>
                <c:pt idx="42">
                  <c:v>-3.4435155341667674</c:v>
                </c:pt>
                <c:pt idx="43">
                  <c:v>-4.2406056031600947</c:v>
                </c:pt>
                <c:pt idx="44">
                  <c:v>-4.0077020152063128</c:v>
                </c:pt>
                <c:pt idx="45">
                  <c:v>-4.359119969192804</c:v>
                </c:pt>
                <c:pt idx="46">
                  <c:v>-4.2584907358811392</c:v>
                </c:pt>
              </c:numCache>
            </c:numRef>
          </c:yVal>
          <c:smooth val="0"/>
          <c:extLst>
            <c:ext xmlns:c16="http://schemas.microsoft.com/office/drawing/2014/chart" uri="{C3380CC4-5D6E-409C-BE32-E72D297353CC}">
              <c16:uniqueId val="{00000000-F63A-4AF0-B111-F88700CF9EF7}"/>
            </c:ext>
          </c:extLst>
        </c:ser>
        <c:dLbls>
          <c:showLegendKey val="0"/>
          <c:showVal val="0"/>
          <c:showCatName val="0"/>
          <c:showSerName val="0"/>
          <c:showPercent val="0"/>
          <c:showBubbleSize val="0"/>
        </c:dLbls>
        <c:axId val="607033279"/>
        <c:axId val="633433103"/>
      </c:scatterChart>
      <c:valAx>
        <c:axId val="60703327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r>
                  <a:rPr lang="en-IN" dirty="0"/>
                  <a:t>Literacy Rate</a:t>
                </a:r>
              </a:p>
            </c:rich>
          </c:tx>
          <c:overlay val="0"/>
          <c:spPr>
            <a:noFill/>
            <a:ln>
              <a:noFill/>
            </a:ln>
            <a:effectLst/>
          </c:spPr>
          <c:txPr>
            <a:bodyPr rot="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3433103"/>
        <c:crosses val="autoZero"/>
        <c:crossBetween val="midCat"/>
      </c:valAx>
      <c:valAx>
        <c:axId val="6334331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r>
                  <a:rPr lang="en-IN" dirty="0"/>
                  <a:t>Residuals</a:t>
                </a:r>
              </a:p>
            </c:rich>
          </c:tx>
          <c:overlay val="0"/>
          <c:spPr>
            <a:noFill/>
            <a:ln>
              <a:noFill/>
            </a:ln>
            <a:effectLst/>
          </c:spPr>
          <c:txPr>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703327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sz="1600" dirty="0"/>
              <a:t>(X1+X2+X3)/3 : Residual Plot</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72663043795997"/>
          <c:y val="0.26807297235993643"/>
          <c:w val="0.77219635284581079"/>
          <c:h val="0.53100083168616263"/>
        </c:manualLayout>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New Regression.xlsx]Sheet1'!$F$2:$F$25</c:f>
              <c:numCache>
                <c:formatCode>General</c:formatCode>
                <c:ptCount val="24"/>
                <c:pt idx="0">
                  <c:v>23.173999999999996</c:v>
                </c:pt>
                <c:pt idx="1">
                  <c:v>23.451333333333334</c:v>
                </c:pt>
                <c:pt idx="2">
                  <c:v>23.888666666666666</c:v>
                </c:pt>
                <c:pt idx="3">
                  <c:v>24.573000000000004</c:v>
                </c:pt>
                <c:pt idx="4">
                  <c:v>24.977000000000004</c:v>
                </c:pt>
                <c:pt idx="5">
                  <c:v>25.358000000000001</c:v>
                </c:pt>
                <c:pt idx="6">
                  <c:v>25.545333333333335</c:v>
                </c:pt>
                <c:pt idx="7">
                  <c:v>25.856333333333335</c:v>
                </c:pt>
                <c:pt idx="8">
                  <c:v>26.486999999999998</c:v>
                </c:pt>
                <c:pt idx="9">
                  <c:v>26.744</c:v>
                </c:pt>
                <c:pt idx="10">
                  <c:v>27.193000000000001</c:v>
                </c:pt>
                <c:pt idx="11">
                  <c:v>27.394333333333332</c:v>
                </c:pt>
                <c:pt idx="12">
                  <c:v>27.754333333333332</c:v>
                </c:pt>
                <c:pt idx="13">
                  <c:v>27.747</c:v>
                </c:pt>
                <c:pt idx="14">
                  <c:v>27.857000000000003</c:v>
                </c:pt>
                <c:pt idx="15">
                  <c:v>27.875666666666664</c:v>
                </c:pt>
                <c:pt idx="16">
                  <c:v>28.012999999999995</c:v>
                </c:pt>
                <c:pt idx="17">
                  <c:v>28.11033333333333</c:v>
                </c:pt>
                <c:pt idx="18">
                  <c:v>28.277666666666665</c:v>
                </c:pt>
                <c:pt idx="19">
                  <c:v>28.621666666666666</c:v>
                </c:pt>
                <c:pt idx="20">
                  <c:v>28.782</c:v>
                </c:pt>
                <c:pt idx="21">
                  <c:v>29.027666666666665</c:v>
                </c:pt>
                <c:pt idx="22">
                  <c:v>30.053999999999998</c:v>
                </c:pt>
                <c:pt idx="23">
                  <c:v>29.941993412384715</c:v>
                </c:pt>
              </c:numCache>
            </c:numRef>
          </c:xVal>
          <c:yVal>
            <c:numRef>
              <c:f>'[New Regression.xlsx]Sheet2'!$C$25:$C$48</c:f>
              <c:numCache>
                <c:formatCode>General</c:formatCode>
                <c:ptCount val="24"/>
                <c:pt idx="0">
                  <c:v>-3.2511425679709376</c:v>
                </c:pt>
                <c:pt idx="1">
                  <c:v>-2.7608847288214946</c:v>
                </c:pt>
                <c:pt idx="2">
                  <c:v>-1.9778231598385148</c:v>
                </c:pt>
                <c:pt idx="3">
                  <c:v>-0.73820267153304542</c:v>
                </c:pt>
                <c:pt idx="4">
                  <c:v>-8.3487709765144302E-3</c:v>
                </c:pt>
                <c:pt idx="5">
                  <c:v>0.97826880140898709</c:v>
                </c:pt>
                <c:pt idx="6">
                  <c:v>1.6162658915566865</c:v>
                </c:pt>
                <c:pt idx="7">
                  <c:v>2.4853461593799935</c:v>
                </c:pt>
                <c:pt idx="8">
                  <c:v>3.9464179516960556</c:v>
                </c:pt>
                <c:pt idx="9">
                  <c:v>4.7283406836925579</c:v>
                </c:pt>
                <c:pt idx="10">
                  <c:v>4.1628264693700032</c:v>
                </c:pt>
                <c:pt idx="11">
                  <c:v>3.1895283928666451</c:v>
                </c:pt>
                <c:pt idx="12">
                  <c:v>2.5515838553043828</c:v>
                </c:pt>
                <c:pt idx="13">
                  <c:v>1.2801184560313565</c:v>
                </c:pt>
                <c:pt idx="14">
                  <c:v>0.26410773064953119</c:v>
                </c:pt>
                <c:pt idx="15">
                  <c:v>-1.1556137972972991</c:v>
                </c:pt>
                <c:pt idx="16">
                  <c:v>-2.2924326729849689</c:v>
                </c:pt>
                <c:pt idx="17">
                  <c:v>-2.4997039917512041</c:v>
                </c:pt>
                <c:pt idx="18">
                  <c:v>-2.5514340844464272</c:v>
                </c:pt>
                <c:pt idx="19">
                  <c:v>-2.2537568801238876</c:v>
                </c:pt>
                <c:pt idx="20">
                  <c:v>-2.2683416249062311</c:v>
                </c:pt>
                <c:pt idx="21">
                  <c:v>-2.1052314316321947</c:v>
                </c:pt>
                <c:pt idx="22">
                  <c:v>-0.49060690437096</c:v>
                </c:pt>
                <c:pt idx="23">
                  <c:v>-0.84928110530209722</c:v>
                </c:pt>
              </c:numCache>
            </c:numRef>
          </c:yVal>
          <c:smooth val="0"/>
          <c:extLst>
            <c:ext xmlns:c16="http://schemas.microsoft.com/office/drawing/2014/chart" uri="{C3380CC4-5D6E-409C-BE32-E72D297353CC}">
              <c16:uniqueId val="{00000000-FB08-476F-AEEB-A1AA315C7011}"/>
            </c:ext>
          </c:extLst>
        </c:ser>
        <c:dLbls>
          <c:showLegendKey val="0"/>
          <c:showVal val="0"/>
          <c:showCatName val="0"/>
          <c:showSerName val="0"/>
          <c:showPercent val="0"/>
          <c:showBubbleSize val="0"/>
        </c:dLbls>
        <c:axId val="1292405663"/>
        <c:axId val="293728847"/>
      </c:scatterChart>
      <c:valAx>
        <c:axId val="1292405663"/>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a:t>(X1+X2+X3)/3</a:t>
                </a:r>
              </a:p>
            </c:rich>
          </c:tx>
          <c:layout>
            <c:manualLayout>
              <c:xMode val="edge"/>
              <c:yMode val="edge"/>
              <c:x val="0.36540244969378827"/>
              <c:y val="0.84708477798299908"/>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3728847"/>
        <c:crosses val="autoZero"/>
        <c:crossBetween val="midCat"/>
      </c:valAx>
      <c:valAx>
        <c:axId val="29372884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dirty="0"/>
                  <a:t>Residual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9240566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41">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41">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41">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1T06:41:03.186"/>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1,'0'13,"0"8,0 4,0 1,0-1,0 2,0 0,4-4,0 6,7 16,1 3,-1 1,4-2,-1-6,-2-5,-4-7,-2-7</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0T12:39:16.485"/>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0T12:39:16.931"/>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9,'0'-4,"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0T12:39:17.453"/>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0T12:39:17.716"/>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1T06:41:07.816"/>
    </inkml:context>
    <inkml:brush xml:id="br0">
      <inkml:brushProperty name="width" value="0.1" units="cm"/>
      <inkml:brushProperty name="height" value="0.6" units="cm"/>
      <inkml:brushProperty name="color" value="#FFFFFF"/>
      <inkml:brushProperty name="ignorePressure" value="1"/>
      <inkml:brushProperty name="inkEffects" value="pencil"/>
    </inkml:brush>
  </inkml:definitions>
  <inkml:trace contextRef="#ctx0" brushRef="#br0">1362 211,'-7'0,"-12"0,-10 0,-3 3,1 2,1-1,7 2,4 5,-2 2,-1 4,-9 7,-11 5,0 3,-4-1,3-1,5 0,3 5,0 0,6-2,8-14,8-20,16-23,17-18,16-12,5 1,-1 8,-5 13,-7 8,-6 4,-6 13,-6 18,-18 33,-24 36,-34 25,-43 28,-28 11,-13-2,1-15,18-26,28-26,31-30,32-32,33-33,23-31,13-25,19-16,10-13,3-1,4 3,1 7,-1 9,-4 9,0 11,7 11,-1 8,-3 2,-1 2,-2 2,-8 4,-6 7,-5 3,-9 5,-7 2,-4 4,-3 6,-5 21,-4 23,-11 15,-8 3,-10 6,-12 11,-6 0,-5 8,-1 2,-4 4,0-5,-3-6,2-11,4-10,7-9,10-19,9-16,8-20,5-17,18-20,12-11,16-16,8-7,5 0,7 1,-3 12,-9 18,-9 15,-11 11,-7 10,-8 11,-6 10,-4 9,-4 4,0 11,-2 3,-2 14,-5 20,-8 21,-3 14,-3 3,0-2,0-11,2-18,3-28,8-31,10-27,11-22,4-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1T06:41:10.129"/>
    </inkml:context>
    <inkml:brush xml:id="br0">
      <inkml:brushProperty name="width" value="0.1" units="cm"/>
      <inkml:brushProperty name="height" value="0.6" units="cm"/>
      <inkml:brushProperty name="color" value="#FFFFFF"/>
      <inkml:brushProperty name="ignorePressure" value="1"/>
      <inkml:brushProperty name="inkEffects" value="pencil"/>
    </inkml:brush>
  </inkml:definitions>
  <inkml:trace contextRef="#ctx0" brushRef="#br0">1236 81,'0'-4,"0"3,0 8,0 6,0 8,0 6,0 13,0 12,-7 15,-12 12,-6 13,-2 4,-1-4,2-11,6-16,5-25,9-31,12-25,16-25,10-15,10-11,7-4,13-4,-1 4,-1 5,0 3,-8 12,-8 12,-13 19,-11 23,-9 21,-13 16,-16 15,-9 5,-9 6,-6-3,-5-4,-2-6,1-8,5-9,7-7,6-9,5-7,-1-3,5-6,6-7,5-7,8-8,8-8,5-3,9-3,0 1,4-2,0 3,1-2,2-1,3 1,7-4,0 1,1 0,-4 6,-3 4,-14 13,-30 19,-36 25,-47 17,-40 23,-37 14,-37 5,-5-7,17-16,32-21,37-18,41-18,42-13,49-24,31-17,16-1,16-4,17-6,12-8,2 0,5 0,-1 5,-11 11,-1 8,-16 6,-10 5,-9 4,-7 6,-8 6,-8 5,-15 6,-31 18,-26 14,-29 10,-20 7,-12 2,-1-4,14-10,7-12,16-6,21-7,33-8,31-19,39-30,30-24,23-21,7-1,-1 5,-13 13,-24 16,-23 21,-20 26,-31 29,-35 15,-45 17,-38 17,-17 5,-8 2,7-5,22-14,26-16,27-13,23-19,27-23,18-14,16-13,10-6,9-1,-4 1,0 5,-7 6,-9 1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1T06:41:35.890"/>
    </inkml:context>
    <inkml:brush xml:id="br0">
      <inkml:brushProperty name="width" value="0.35" units="cm"/>
      <inkml:brushProperty name="height" value="2.1" units="cm"/>
      <inkml:brushProperty name="color" value="#FFFFFF"/>
      <inkml:brushProperty name="ignorePressure" value="1"/>
      <inkml:brushProperty name="inkEffects" value="pencil"/>
    </inkml:brush>
  </inkml:definitions>
  <inkml:trace contextRef="#ctx0" brushRef="#br0">259 811,'3'0,"5"0,11 0,5 0,10-3,1-2,2-2,1-5,8-2,-5-3,2 1,0 1,-1 2,-4 4,-2 3,0 0,0-7,4-3,-1 0,-8-1,-5 0,0 3,-6 0,-1-1,-2 2,-3 1,-1 4,-3 18,-12 17,-27 21,-25 9,-23 7,-19 8,-6-3,4-10,15-14,19-8,16-11,14-13,12-16,17-26,12-20,18-27,9-8,2 4,-2 5,-1 9,6 6,1 6,1 8,-2 7,-2 2,-1 4,1 5,-13 14,-20 15,-22 29,-23 18,-6 5,2-7,3-8,7-6,8-10,3-4,4 0,2 2,10-7,16-15,14-21,17-20,8-9,6 1,1 5,-2 5,-10 2,-12 11,-18 17,-17 20,-19 12,-11 3,0 0,-1 3,3-3,0-2,2-2,3 3,4-3,8-5,11-8,12-15,13-14,12-12,11-7,8-4,-1-1,-6 8,-7 7,-23 15,-38 24,-30 20,-31 20,-21 14,-5 10,-1 3,6-1,13-10,17-9,24-14,24-14,24-11,22-16,22-14,18-15,25-19,32-21,24-20,17-10,14-3,-3-1,-10 11,-18 15,-22 16,-35 29,-51 37,-51 31,-53 22,-33 15,-23 12,-19-2,-11-2,8-10,23-16,23-12,26-14,27-9,18-8,19-5,18-5,23-9,33-19,23-20,15-11,11-14,3 0,0-3,-8 9,-10 6,-6 8,-18 10,-18 13,-20 13,-27 20,-29 22,-41 24,-40 16,-35 17,-17 11,-5-1,12-9,24-17,38-18,37-26,48-40,34-30,15-11,11-13,5-4,-4 7,-8 5,-7 6,1 3,-4 10,-6 12,-4 9,-5 8,-2 6,-5 7,-6 8,-4 13,-7 12,-14 15,-17 13,-18 12,-6 1,-1-8,6-12,14-16,21-13,26-14,21-16,28-17,15-8,-6-1,-5 0,-13 3,-11 6,-10 4,-14 5,-8 8,-10 9,-7 10,-6 7,-4 3,-2 7,3 3,4 1,5 0,3-1,4-2,1 1,1 1,1 2,3 5,5 2,0-2,3-8,5-10,11-8,16-11,28-25,32-32,35-34,20-19,-2-1,-23 11,-33 25,-41 32,-43 33,-36 24,-24 12,-11 12,-14 15,-4 5,-1 6,-2 4,-3 4,3-7,15-13,15-15,14-17,13-17,10-16,5-16,8-7,2-1,3 1,1 4,-9 6,-22 18,-16 12,-10 9,-3 8,6 3,7-2,14-6,10-20,13-16,11-5,6-9,1-2,-1 0,1 0,0 5,-3 1,3-5,0-1,2-1,0 2,-4 10,-8 21,-8 12,-12 20,-7 12,-10 11,-11 11,-12 1,-8-2,4-7,7-11,15-12,20-23,19-20,15-21,18-19,12-12,3-8,7-10,6-1,-1 6,-16 26,-26 38,-34 34,-32 32,-29 25,-22 14,-3-2,12-16,18-19,15-19,14-16,13-25,24-26,25-24,36-25,27-11,12 1,9 10,3 15,-11 13,-19 16,-21 17,-20 21,-20 16,-28 15,-26 18,-14 10,-12 4,1-6,-4-8,5-5,7-8,11-14,18-19,21-20,20-22,16-15,12-10,-1 3,-17 17,-29 32,-35 30,-39 29,-26 15,-14 6,-8 1,-13 4,3-7,10-13,19-16,30-15,41-13,39-14,28-12,22-6,13-7,3-3,1 0,-2 5,-6 3,-9 5,-6 5,10-3,2 2,-7 1,-9 4,-10 2,-8 2,-16 1,-13 1,-14 7,-18 9,-11 2,-7-2,-3-1,-3 1,-1 1,2-2,13-1,17-3,33-2,31-7,43-7,44-13,27-3,10-1,-5 3,-16 4,-30 6,-40 3,-50 3,-45 3,-46 0,-34 1,-14 0,3 0,7 0,-4-1,-2 0,10 0,14 0,20 0,24 0,33 0,32 4,19 0,9 0,10 3,-1 0,-8-2,-13 3,-11 2,-12 4,-20-1,-17 1,-14-3,-10 1,-9 2,0-2,2-3,8-3,14 1,26-1,24 2,13 0,14-2,2-2,8 3,4-1,-5-1,-5 1,-7 1,-8-1,1-3,4 0,6-2,8 0,3-1,-13 0,-26-1,-20 1,-19 0,-13 0,-7 0,1-1,3 1,2 0,3 0,5 0,6-6,11-10,10-5,6-2,5-1,4 1,3 0,-1-2,0 0,0 4,-2 12,-3 18,2 14,0 10,-3 2,-3-14,-2-18,-3-19,2-14,1-8,-1-5,2-5,0 3,-1-2,-1 1,-1 5,-2 3,0 4,-1 5,0 3,-4 7,-4 17,-4 11,0 8,-2 8,-4 0,-4-5,-3-6,-9-5,-1-3,-2-11,-4-11,-2-8,6-5,3-3,7-4,8 2,8 3,5 3,4 3,5-1,13-9,6-2,7-2,2 3,-2 4,5 8,0 7,4 7,9 5,3 3,0 3,-5 0,-4 4,-2 8,-8 5,-9 5,-11 7,-22 11,-21 5,-13 2,-15 2,-17 7,-16-4,-6-4,8-9,15-13,18-10,16-12,14-17,12-9,9-11,5-4,4-6,1-2,0-1,-1 1,0-2,6 4,12 4,19-3,13 1,11 8,8 5,-4 9,-4 6,-3 5,-1 14,-11 10,-13 8,-13 3,-10 7,-7 8,-5 6,-5 9,-5-3,-8-4,-8 0,-12-3,-13-2,-5-9,-6-8,4-8,8-8,10-7,2-3,3-4,5 0,4-1,2-2,3-5,5-11,5-8,4-7,4 0,1-4,3 0,-1-2,8-1,16-7,16-2,22 4,7 4,-4 9,-8 10,-2 10,-5 6,-6 9,-9 10,-9 8,-10 6,-7 6,-5 4,-4 0,-4 0,-6 2,-11 0,-15-2,-21 3,-15-2,-12-7,-2-9,8-7,13-6,15-4,12-3,9-1,6-1,-2 1,-5 0,-3-10,4-10,3-8,3-5,2-4,5-3,5 4,4 0,3-4,3 3,1 1,8-1,5 4,14 6,19 10,19 6,15 7,10 3,4 2,-2 1,-11 1,-18-1,-16 0,-15 7,-7 11,-1 10,-4 3,0 9,-2 5,-5-2,-7-6,-16-2,-12-4,-9-4,-3-7,-2-3,-2-6,2-3,5-5,3-2,0-2,-2-1,1 1,5-5,7-3,6-8,5-4,4-2,5 2,6 2,8 3,11-2,14-1,23-1,15-1,3 3,-9 4,-11-2,-8 8,-12 12,-11 9,-13 8,-5 1,-6-1,-7-4,-10-4,-18-6,-13-3,-15-3,0-2,6 0,7-1,11-4,12-7,7-5,7-6,5-3,4 0,3 1,6 1,1 2,1-3,2 4,-2 11,-3 22,-8 21,-4 15,-12 17,-5 0,-1-10,-6-19,-1-25,-1-21,5-16,3-16,4-15,4-8,4-3,10 1,4 4,4 10,1 11,0 5,6 10,-2 5,-2 13,-12 29,-15 34,-6 15,-4 15,-1 1,4-2,-3-4,0-12,4-28,4-24,5-17,4-12,6-11,3-4,1 0,7 4,3 7,4 6,1 12,-3 23,-3 21,-5 19,-4 16,-13 25,-18 18,-11-2,-17-1,-8-4,-2-18,8-23,10-23,9-21,8-18,5-15,7-11,6-5,5-4,4-1,1-2,2-12,1-5,-1-8,0-3,0 1,-1 0,0 5,1 8,-1 7,0 2,-1 4,1 3,4-2,0 1,1 1,-2 1,3 2,4 3,9 10,6 8,1 11,0 11,-1 8,-5 2,-2 6,2 6,-2 6,-1 5,-4 2,1 3,-4-7,-6-15,-7-27,-3-20,-1-14,2-7,0-8,2-1,2 3,0 3,1 5,0 1,7 0,5 3,5 1,2 2,1 4,1 5,0 4,0 4,3 3,1 1,-1 1,-4 30,-2 10,-1-9,-1-16,2-21,0-13,-3-7,4-3,-3 1,-3 1,-5 2,1-2,1-3,0 6,-3 15,-2 18,-8 17,-8 15,-8 13,-8 7,1-3,5-9,3-5,4-5,1 2,3-10,3-14,3-13,2-15,8-8,6-8,5-3,2 3,2 4,1 4,-1 3,0 3,-1 4,-6 7,-6 7,-11 5,-9 2,-5-3,-9 2,-15-2,-17-3,-4-1,-10-4,-22 0,-11-2,8 3,17 1,29 0,44-1,53-1,38-1,42 0,20-1,8 0,9 10,-1 6,-11 1,-21 1,-19-3,-32-4,-43-3,-37-4,-29-2,-26-1,-33-2,-19 0,-7 1,5-1,12 0,12 1,18 0,10 0,8 0,-4 0,1 0,2 0,10-7,12-9,11-8,15-3,25-1,25-6,19 0,7 6,-1 4,-10 6,-22 6,-29 9,-31 11,-31 8,-29 4,-11 6,6-2,12-1,7-5,12-5,12-5,13-8,18-10,17-9,19-6,11 1,6 3,9 3,3 3,-1-1,4 0,2 2,8 4,2 0,-6 2,-12 2,-13 9,-14 7,-21 13,-18 8,-19 9,-18 1,-6-6,2-9,6-13,10-11,12-10,11-7,12-7,10-3,4-2,10 2,6 1,8 1,3 5,-3 5,-6 9,-8 7,-7 8,-12 1,-17-1,-14-2,-10-4,-4-1,-1-2,-3-5,0-5,5-5,11-3,10-2,9-2,7-4,5-1,3 0,0-2,2 3</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1T06:42:48.438"/>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0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0T12:38:10.149"/>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0T12:38:27.268"/>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19 1024,'3'0,"1"0</inkml:trace>
  <inkml:trace contextRef="#ctx0" brushRef="#br0" timeOffset="1">20 1,'0'0</inkml:trace>
  <inkml:trace contextRef="#ctx0" brushRef="#br0" timeOffset="2">1 2777,'0'-4,"0"0</inkml:trace>
  <inkml:trace contextRef="#ctx0" brushRef="#br0" timeOffset="3">1 2738,'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0T12:38:28.756"/>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30T12:39:07.461"/>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Google Shape;54;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 name="Google Shape;55;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
        <p:cNvGrpSpPr/>
        <p:nvPr/>
      </p:nvGrpSpPr>
      <p:grpSpPr>
        <a:xfrm>
          <a:off x="0" y="0"/>
          <a:ext cx="0" cy="0"/>
          <a:chOff x="0" y="0"/>
          <a:chExt cx="0" cy="0"/>
        </a:xfrm>
      </p:grpSpPr>
      <p:sp>
        <p:nvSpPr>
          <p:cNvPr id="59" name="Google Shape;59;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 name="Google Shape;60;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35f391192_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35f391192_0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FCC8D5-6D68-A443-97C0-91AE5977134B}" type="slidenum">
              <a:rPr lang="en-US" smtClean="0"/>
              <a:pPr/>
              <a:t>6</a:t>
            </a:fld>
            <a:endParaRPr lang="en-US" dirty="0"/>
          </a:p>
        </p:txBody>
      </p:sp>
    </p:spTree>
    <p:extLst>
      <p:ext uri="{BB962C8B-B14F-4D97-AF65-F5344CB8AC3E}">
        <p14:creationId xmlns:p14="http://schemas.microsoft.com/office/powerpoint/2010/main" val="3576938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Google Shape;217;g35ed75ccf_0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8" name="Google Shape;218;g35ed75ccf_0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g92a8583979_0_8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7" name="Google Shape;117;g92a8583979_0_89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734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p:cNvGrpSpPr/>
        <p:nvPr/>
      </p:nvGrpSpPr>
      <p:grpSpPr>
        <a:xfrm>
          <a:off x="0" y="0"/>
          <a:ext cx="0" cy="0"/>
          <a:chOff x="0" y="0"/>
          <a:chExt cx="0" cy="0"/>
        </a:xfrm>
      </p:grpSpPr>
      <p:sp>
        <p:nvSpPr>
          <p:cNvPr id="52" name="Google Shape;52;g88e4ee22ba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 name="Google Shape;53;g88e4ee22ba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bg>
      <p:bgPr>
        <a:gradFill>
          <a:gsLst>
            <a:gs pos="0">
              <a:schemeClr val="accent2"/>
            </a:gs>
            <a:gs pos="100000">
              <a:schemeClr val="dk1"/>
            </a:gs>
          </a:gsLst>
          <a:lin ang="8100019" scaled="0"/>
        </a:gradFill>
        <a:effectLst/>
      </p:bgPr>
    </p:bg>
    <p:spTree>
      <p:nvGrpSpPr>
        <p:cNvPr id="1" name="Shape 9"/>
        <p:cNvGrpSpPr/>
        <p:nvPr/>
      </p:nvGrpSpPr>
      <p:grpSpPr>
        <a:xfrm>
          <a:off x="0" y="0"/>
          <a:ext cx="0" cy="0"/>
          <a:chOff x="0" y="0"/>
          <a:chExt cx="0" cy="0"/>
        </a:xfrm>
      </p:grpSpPr>
      <p:sp>
        <p:nvSpPr>
          <p:cNvPr id="10" name="Google Shape;10;p2"/>
          <p:cNvSpPr/>
          <p:nvPr/>
        </p:nvSpPr>
        <p:spPr>
          <a:xfrm>
            <a:off x="-1" y="234877"/>
            <a:ext cx="9144000" cy="4673746"/>
          </a:xfrm>
          <a:custGeom>
            <a:avLst/>
            <a:gdLst/>
            <a:ahLst/>
            <a:cxnLst/>
            <a:rect l="l" t="t" r="r" b="b"/>
            <a:pathLst>
              <a:path w="12192000" h="6231661" extrusionOk="0">
                <a:moveTo>
                  <a:pt x="7054215" y="5030816"/>
                </a:moveTo>
                <a:cubicBezTo>
                  <a:pt x="7070725" y="5002241"/>
                  <a:pt x="7025640" y="4976206"/>
                  <a:pt x="7009131" y="5005416"/>
                </a:cubicBezTo>
                <a:cubicBezTo>
                  <a:pt x="6992620" y="5034626"/>
                  <a:pt x="7037706" y="5060661"/>
                  <a:pt x="7054215" y="5030816"/>
                </a:cubicBezTo>
                <a:close/>
                <a:moveTo>
                  <a:pt x="7033260" y="4776181"/>
                </a:moveTo>
                <a:cubicBezTo>
                  <a:pt x="7054850" y="4776816"/>
                  <a:pt x="7061835" y="4745066"/>
                  <a:pt x="7042150" y="4736176"/>
                </a:cubicBezTo>
                <a:cubicBezTo>
                  <a:pt x="7011035" y="4722841"/>
                  <a:pt x="6999606" y="4775546"/>
                  <a:pt x="7033260" y="4776181"/>
                </a:cubicBezTo>
                <a:close/>
                <a:moveTo>
                  <a:pt x="6729731" y="4597111"/>
                </a:moveTo>
                <a:cubicBezTo>
                  <a:pt x="6715760" y="4620606"/>
                  <a:pt x="6752590" y="4641561"/>
                  <a:pt x="6765925" y="4618066"/>
                </a:cubicBezTo>
                <a:cubicBezTo>
                  <a:pt x="6779260" y="4594571"/>
                  <a:pt x="6742431" y="4572981"/>
                  <a:pt x="6729731" y="4597111"/>
                </a:cubicBezTo>
                <a:close/>
                <a:moveTo>
                  <a:pt x="6717665" y="4788246"/>
                </a:moveTo>
                <a:cubicBezTo>
                  <a:pt x="6690360" y="4768561"/>
                  <a:pt x="6660515" y="4811741"/>
                  <a:pt x="6688456" y="4830156"/>
                </a:cubicBezTo>
                <a:cubicBezTo>
                  <a:pt x="6715125" y="4850476"/>
                  <a:pt x="6745606" y="4807296"/>
                  <a:pt x="6717665" y="4788246"/>
                </a:cubicBezTo>
                <a:close/>
                <a:moveTo>
                  <a:pt x="7188200" y="4799676"/>
                </a:moveTo>
                <a:cubicBezTo>
                  <a:pt x="7163435" y="4789516"/>
                  <a:pt x="7147560" y="4828886"/>
                  <a:pt x="7172960" y="4838411"/>
                </a:cubicBezTo>
                <a:cubicBezTo>
                  <a:pt x="7197725" y="4848571"/>
                  <a:pt x="7213600" y="4809201"/>
                  <a:pt x="7188200" y="4799676"/>
                </a:cubicBezTo>
                <a:close/>
                <a:moveTo>
                  <a:pt x="6718300" y="4929851"/>
                </a:moveTo>
                <a:cubicBezTo>
                  <a:pt x="6689725" y="4906991"/>
                  <a:pt x="6654800" y="4952711"/>
                  <a:pt x="6684010" y="4974936"/>
                </a:cubicBezTo>
                <a:lnTo>
                  <a:pt x="6684010" y="4974936"/>
                </a:lnTo>
                <a:cubicBezTo>
                  <a:pt x="6712585" y="4997796"/>
                  <a:pt x="6747510" y="4952076"/>
                  <a:pt x="6718300" y="4929851"/>
                </a:cubicBezTo>
                <a:close/>
                <a:moveTo>
                  <a:pt x="7124700" y="4922231"/>
                </a:moveTo>
                <a:cubicBezTo>
                  <a:pt x="7111365" y="4949536"/>
                  <a:pt x="7154545" y="4969221"/>
                  <a:pt x="7167245" y="4941916"/>
                </a:cubicBezTo>
                <a:cubicBezTo>
                  <a:pt x="7179945" y="4914611"/>
                  <a:pt x="7136765" y="4894926"/>
                  <a:pt x="7124700" y="4922231"/>
                </a:cubicBezTo>
                <a:close/>
                <a:moveTo>
                  <a:pt x="7180581" y="5097491"/>
                </a:moveTo>
                <a:cubicBezTo>
                  <a:pt x="7165975" y="5127336"/>
                  <a:pt x="7212965" y="5150196"/>
                  <a:pt x="7226935" y="5119716"/>
                </a:cubicBezTo>
                <a:cubicBezTo>
                  <a:pt x="7242175" y="5089871"/>
                  <a:pt x="7195185" y="5067011"/>
                  <a:pt x="7180581" y="5097491"/>
                </a:cubicBezTo>
                <a:close/>
                <a:moveTo>
                  <a:pt x="7085965" y="5362286"/>
                </a:moveTo>
                <a:cubicBezTo>
                  <a:pt x="7040881" y="5336251"/>
                  <a:pt x="7018020" y="5417531"/>
                  <a:pt x="7069456" y="5418801"/>
                </a:cubicBezTo>
                <a:cubicBezTo>
                  <a:pt x="7099300" y="5420071"/>
                  <a:pt x="7112635" y="5377526"/>
                  <a:pt x="7085965" y="5362286"/>
                </a:cubicBezTo>
                <a:close/>
                <a:moveTo>
                  <a:pt x="7025640" y="5177501"/>
                </a:moveTo>
                <a:cubicBezTo>
                  <a:pt x="7001510" y="5247986"/>
                  <a:pt x="7118350" y="5218776"/>
                  <a:pt x="7064375" y="5167976"/>
                </a:cubicBezTo>
                <a:cubicBezTo>
                  <a:pt x="7064375" y="5167976"/>
                  <a:pt x="7064375" y="5167976"/>
                  <a:pt x="7064375" y="5167976"/>
                </a:cubicBezTo>
                <a:cubicBezTo>
                  <a:pt x="7051040" y="5160356"/>
                  <a:pt x="7033260" y="5164166"/>
                  <a:pt x="7025640" y="5177501"/>
                </a:cubicBezTo>
                <a:close/>
                <a:moveTo>
                  <a:pt x="7226935" y="4991446"/>
                </a:moveTo>
                <a:cubicBezTo>
                  <a:pt x="7251065" y="4992081"/>
                  <a:pt x="7259320" y="4955886"/>
                  <a:pt x="7235825" y="4946361"/>
                </a:cubicBezTo>
                <a:cubicBezTo>
                  <a:pt x="7208520" y="4934296"/>
                  <a:pt x="7189470" y="4977476"/>
                  <a:pt x="7217410" y="4989541"/>
                </a:cubicBezTo>
                <a:lnTo>
                  <a:pt x="7217410" y="4989541"/>
                </a:lnTo>
                <a:cubicBezTo>
                  <a:pt x="7220585" y="4990811"/>
                  <a:pt x="7223760" y="4991446"/>
                  <a:pt x="7226935" y="4991446"/>
                </a:cubicBezTo>
                <a:close/>
                <a:moveTo>
                  <a:pt x="6997065" y="5580726"/>
                </a:moveTo>
                <a:cubicBezTo>
                  <a:pt x="7031990" y="5605491"/>
                  <a:pt x="7070090" y="5549611"/>
                  <a:pt x="7034531" y="5525481"/>
                </a:cubicBezTo>
                <a:cubicBezTo>
                  <a:pt x="6998970" y="5501351"/>
                  <a:pt x="6961506" y="5557231"/>
                  <a:pt x="6997065" y="5580726"/>
                </a:cubicBezTo>
                <a:close/>
                <a:moveTo>
                  <a:pt x="6925310" y="4955886"/>
                </a:moveTo>
                <a:cubicBezTo>
                  <a:pt x="6903085" y="5020021"/>
                  <a:pt x="7010400" y="4993351"/>
                  <a:pt x="6960870" y="4946996"/>
                </a:cubicBezTo>
                <a:cubicBezTo>
                  <a:pt x="6960870" y="4946996"/>
                  <a:pt x="6960870" y="4946996"/>
                  <a:pt x="6960870" y="4946996"/>
                </a:cubicBezTo>
                <a:cubicBezTo>
                  <a:pt x="6948806" y="4940011"/>
                  <a:pt x="6932931" y="4943821"/>
                  <a:pt x="6925310" y="4955886"/>
                </a:cubicBezTo>
                <a:close/>
                <a:moveTo>
                  <a:pt x="6798310" y="5432136"/>
                </a:moveTo>
                <a:cubicBezTo>
                  <a:pt x="6831331" y="5460076"/>
                  <a:pt x="6873875" y="5407371"/>
                  <a:pt x="6840220" y="5380701"/>
                </a:cubicBezTo>
                <a:cubicBezTo>
                  <a:pt x="6807200" y="5353396"/>
                  <a:pt x="6764020" y="5406101"/>
                  <a:pt x="6798310" y="5432136"/>
                </a:cubicBezTo>
                <a:close/>
                <a:moveTo>
                  <a:pt x="7155181" y="5220681"/>
                </a:moveTo>
                <a:cubicBezTo>
                  <a:pt x="7123431" y="5202901"/>
                  <a:pt x="7095490" y="5253066"/>
                  <a:pt x="7127875" y="5270211"/>
                </a:cubicBezTo>
                <a:cubicBezTo>
                  <a:pt x="7159625" y="5287991"/>
                  <a:pt x="7187565" y="5237826"/>
                  <a:pt x="7155181" y="5220681"/>
                </a:cubicBezTo>
                <a:close/>
                <a:moveTo>
                  <a:pt x="6863081" y="5284181"/>
                </a:moveTo>
                <a:cubicBezTo>
                  <a:pt x="6894831" y="5308311"/>
                  <a:pt x="6931660" y="5258146"/>
                  <a:pt x="6899275" y="5234651"/>
                </a:cubicBezTo>
                <a:cubicBezTo>
                  <a:pt x="6867525" y="5211156"/>
                  <a:pt x="6830060" y="5261321"/>
                  <a:pt x="6863081" y="5284181"/>
                </a:cubicBezTo>
                <a:close/>
                <a:moveTo>
                  <a:pt x="6896100" y="5508971"/>
                </a:moveTo>
                <a:cubicBezTo>
                  <a:pt x="6929756" y="5535006"/>
                  <a:pt x="6971031" y="5481031"/>
                  <a:pt x="6936106" y="5455631"/>
                </a:cubicBezTo>
                <a:cubicBezTo>
                  <a:pt x="6901815" y="5429596"/>
                  <a:pt x="6861175" y="5483571"/>
                  <a:pt x="6896100" y="5508971"/>
                </a:cubicBezTo>
                <a:close/>
                <a:moveTo>
                  <a:pt x="6936106" y="5120986"/>
                </a:moveTo>
                <a:cubicBezTo>
                  <a:pt x="6915785" y="5151466"/>
                  <a:pt x="6964045" y="5182581"/>
                  <a:pt x="6983731" y="5151466"/>
                </a:cubicBezTo>
                <a:cubicBezTo>
                  <a:pt x="7004050" y="5120986"/>
                  <a:pt x="6955790" y="5089871"/>
                  <a:pt x="6936106" y="5120986"/>
                </a:cubicBezTo>
                <a:close/>
                <a:moveTo>
                  <a:pt x="6771006" y="5214331"/>
                </a:moveTo>
                <a:cubicBezTo>
                  <a:pt x="6801485" y="5239096"/>
                  <a:pt x="6840856" y="5190201"/>
                  <a:pt x="6809106" y="5166071"/>
                </a:cubicBezTo>
                <a:cubicBezTo>
                  <a:pt x="6777990" y="5141306"/>
                  <a:pt x="6739256" y="5190836"/>
                  <a:pt x="6771006" y="5214331"/>
                </a:cubicBezTo>
                <a:close/>
                <a:moveTo>
                  <a:pt x="6701156" y="5149561"/>
                </a:moveTo>
                <a:cubicBezTo>
                  <a:pt x="6729095" y="5150831"/>
                  <a:pt x="6743065" y="5112096"/>
                  <a:pt x="6720840" y="5094951"/>
                </a:cubicBezTo>
                <a:cubicBezTo>
                  <a:pt x="6676390" y="5061931"/>
                  <a:pt x="6645910" y="5147021"/>
                  <a:pt x="6701156" y="5149561"/>
                </a:cubicBezTo>
                <a:close/>
                <a:moveTo>
                  <a:pt x="6957060" y="5351491"/>
                </a:moveTo>
                <a:cubicBezTo>
                  <a:pt x="6989445" y="5374351"/>
                  <a:pt x="7025006" y="5322916"/>
                  <a:pt x="6991985" y="5300691"/>
                </a:cubicBezTo>
                <a:cubicBezTo>
                  <a:pt x="6958965" y="5277831"/>
                  <a:pt x="6923406" y="5329266"/>
                  <a:pt x="6957060" y="5351491"/>
                </a:cubicBezTo>
                <a:close/>
                <a:moveTo>
                  <a:pt x="8018781" y="4742526"/>
                </a:moveTo>
                <a:cubicBezTo>
                  <a:pt x="8039735" y="4742526"/>
                  <a:pt x="8039100" y="4709506"/>
                  <a:pt x="8017510" y="4710776"/>
                </a:cubicBezTo>
                <a:cubicBezTo>
                  <a:pt x="7997825" y="4712046"/>
                  <a:pt x="7999095" y="4743161"/>
                  <a:pt x="8018781" y="4742526"/>
                </a:cubicBezTo>
                <a:close/>
                <a:moveTo>
                  <a:pt x="6724650" y="5361016"/>
                </a:moveTo>
                <a:cubicBezTo>
                  <a:pt x="6753860" y="5362286"/>
                  <a:pt x="6769735" y="5321646"/>
                  <a:pt x="6746240" y="5302596"/>
                </a:cubicBezTo>
                <a:cubicBezTo>
                  <a:pt x="6697981" y="5266401"/>
                  <a:pt x="6664325" y="5357206"/>
                  <a:pt x="6724650" y="5361016"/>
                </a:cubicBezTo>
                <a:close/>
                <a:moveTo>
                  <a:pt x="7102475" y="5648036"/>
                </a:moveTo>
                <a:cubicBezTo>
                  <a:pt x="7138670" y="5670896"/>
                  <a:pt x="7173595" y="5612476"/>
                  <a:pt x="7136765" y="5590886"/>
                </a:cubicBezTo>
                <a:cubicBezTo>
                  <a:pt x="7099935" y="5568026"/>
                  <a:pt x="7065010" y="5626446"/>
                  <a:pt x="7102475" y="5648036"/>
                </a:cubicBezTo>
                <a:close/>
                <a:moveTo>
                  <a:pt x="6951345" y="4739351"/>
                </a:moveTo>
                <a:cubicBezTo>
                  <a:pt x="6975475" y="4751416"/>
                  <a:pt x="6994525" y="4713316"/>
                  <a:pt x="6969760" y="4701886"/>
                </a:cubicBezTo>
                <a:cubicBezTo>
                  <a:pt x="6945631" y="4689821"/>
                  <a:pt x="6927215" y="4727921"/>
                  <a:pt x="6951345" y="4739351"/>
                </a:cubicBezTo>
                <a:close/>
                <a:moveTo>
                  <a:pt x="6957695" y="4619336"/>
                </a:moveTo>
                <a:cubicBezTo>
                  <a:pt x="6948170" y="4640926"/>
                  <a:pt x="6981825" y="4656166"/>
                  <a:pt x="6991350" y="4633941"/>
                </a:cubicBezTo>
                <a:cubicBezTo>
                  <a:pt x="7000875" y="4612986"/>
                  <a:pt x="6966585" y="4597746"/>
                  <a:pt x="6957695" y="4619336"/>
                </a:cubicBezTo>
                <a:close/>
                <a:moveTo>
                  <a:pt x="7018656" y="4577426"/>
                </a:moveTo>
                <a:cubicBezTo>
                  <a:pt x="7037706" y="4585046"/>
                  <a:pt x="7049135" y="4554566"/>
                  <a:pt x="7030085" y="4547581"/>
                </a:cubicBezTo>
                <a:cubicBezTo>
                  <a:pt x="7010400" y="4540596"/>
                  <a:pt x="6998970" y="4570441"/>
                  <a:pt x="7018656" y="4577426"/>
                </a:cubicBezTo>
                <a:close/>
                <a:moveTo>
                  <a:pt x="7094220" y="5053041"/>
                </a:moveTo>
                <a:cubicBezTo>
                  <a:pt x="7078345" y="5082251"/>
                  <a:pt x="7124700" y="5107016"/>
                  <a:pt x="7139940" y="5077171"/>
                </a:cubicBezTo>
                <a:cubicBezTo>
                  <a:pt x="7155815" y="5047326"/>
                  <a:pt x="7109460" y="5023196"/>
                  <a:pt x="7094220" y="5053041"/>
                </a:cubicBezTo>
                <a:close/>
                <a:moveTo>
                  <a:pt x="6965950" y="4842221"/>
                </a:moveTo>
                <a:cubicBezTo>
                  <a:pt x="6951345" y="4868891"/>
                  <a:pt x="6993256" y="4891116"/>
                  <a:pt x="7007225" y="4863811"/>
                </a:cubicBezTo>
                <a:cubicBezTo>
                  <a:pt x="7021831" y="4837141"/>
                  <a:pt x="6979920" y="4814916"/>
                  <a:pt x="6965950" y="4842221"/>
                </a:cubicBezTo>
                <a:close/>
                <a:moveTo>
                  <a:pt x="7078345" y="4599651"/>
                </a:moveTo>
                <a:cubicBezTo>
                  <a:pt x="7097395" y="4606636"/>
                  <a:pt x="7108825" y="4576156"/>
                  <a:pt x="7089140" y="4569806"/>
                </a:cubicBezTo>
                <a:cubicBezTo>
                  <a:pt x="7069456" y="4562186"/>
                  <a:pt x="7059295" y="4592666"/>
                  <a:pt x="7078345" y="4599651"/>
                </a:cubicBezTo>
                <a:close/>
                <a:moveTo>
                  <a:pt x="7023735" y="4648546"/>
                </a:moveTo>
                <a:cubicBezTo>
                  <a:pt x="7014210" y="4670136"/>
                  <a:pt x="7048500" y="4684741"/>
                  <a:pt x="7057390" y="4662516"/>
                </a:cubicBezTo>
                <a:cubicBezTo>
                  <a:pt x="7066915" y="4640291"/>
                  <a:pt x="7031990" y="4626321"/>
                  <a:pt x="7023735" y="4648546"/>
                </a:cubicBezTo>
                <a:close/>
                <a:moveTo>
                  <a:pt x="7044690" y="4883496"/>
                </a:moveTo>
                <a:cubicBezTo>
                  <a:pt x="7030720" y="4910166"/>
                  <a:pt x="7073265" y="4931756"/>
                  <a:pt x="7086600" y="4904451"/>
                </a:cubicBezTo>
                <a:cubicBezTo>
                  <a:pt x="7100570" y="4877146"/>
                  <a:pt x="7058025" y="4856191"/>
                  <a:pt x="7044690" y="4883496"/>
                </a:cubicBezTo>
                <a:close/>
                <a:moveTo>
                  <a:pt x="6841490" y="4504401"/>
                </a:moveTo>
                <a:cubicBezTo>
                  <a:pt x="6859906" y="4513291"/>
                  <a:pt x="6873240" y="4483446"/>
                  <a:pt x="6854190" y="4475191"/>
                </a:cubicBezTo>
                <a:cubicBezTo>
                  <a:pt x="6835775" y="4466936"/>
                  <a:pt x="6822440" y="4496781"/>
                  <a:pt x="6841490" y="4504401"/>
                </a:cubicBezTo>
                <a:close/>
                <a:moveTo>
                  <a:pt x="6799581" y="4636481"/>
                </a:moveTo>
                <a:cubicBezTo>
                  <a:pt x="6786245" y="4659976"/>
                  <a:pt x="6823075" y="4680296"/>
                  <a:pt x="6836410" y="4656801"/>
                </a:cubicBezTo>
                <a:cubicBezTo>
                  <a:pt x="6849110" y="4633306"/>
                  <a:pt x="6812281" y="4612351"/>
                  <a:pt x="6799581" y="4636481"/>
                </a:cubicBezTo>
                <a:close/>
                <a:moveTo>
                  <a:pt x="6835775" y="4582506"/>
                </a:moveTo>
                <a:cubicBezTo>
                  <a:pt x="6856731" y="4593301"/>
                  <a:pt x="6873240" y="4559646"/>
                  <a:pt x="6851650" y="4549486"/>
                </a:cubicBezTo>
                <a:cubicBezTo>
                  <a:pt x="6830695" y="4539326"/>
                  <a:pt x="6814185" y="4572981"/>
                  <a:pt x="6835775" y="4582506"/>
                </a:cubicBezTo>
                <a:close/>
                <a:moveTo>
                  <a:pt x="6920231" y="4790151"/>
                </a:moveTo>
                <a:cubicBezTo>
                  <a:pt x="6894195" y="4774911"/>
                  <a:pt x="6870700" y="4816186"/>
                  <a:pt x="6897370" y="4830791"/>
                </a:cubicBezTo>
                <a:cubicBezTo>
                  <a:pt x="6922770" y="4845396"/>
                  <a:pt x="6946900" y="4804121"/>
                  <a:pt x="6920231" y="4790151"/>
                </a:cubicBezTo>
                <a:close/>
                <a:moveTo>
                  <a:pt x="6783706" y="4477731"/>
                </a:moveTo>
                <a:lnTo>
                  <a:pt x="6783706" y="4477731"/>
                </a:lnTo>
                <a:cubicBezTo>
                  <a:pt x="6802120" y="4486621"/>
                  <a:pt x="6816090" y="4457411"/>
                  <a:pt x="6797040" y="4449156"/>
                </a:cubicBezTo>
                <a:cubicBezTo>
                  <a:pt x="6778625" y="4440266"/>
                  <a:pt x="6764656" y="4469476"/>
                  <a:pt x="6783706" y="4477731"/>
                </a:cubicBezTo>
                <a:close/>
                <a:moveTo>
                  <a:pt x="7090410" y="4675216"/>
                </a:moveTo>
                <a:cubicBezTo>
                  <a:pt x="7081520" y="4697441"/>
                  <a:pt x="7116445" y="4710776"/>
                  <a:pt x="7124700" y="4688551"/>
                </a:cubicBezTo>
                <a:cubicBezTo>
                  <a:pt x="7132956" y="4666326"/>
                  <a:pt x="7098031" y="4652991"/>
                  <a:pt x="7090410" y="4675216"/>
                </a:cubicBezTo>
                <a:close/>
                <a:moveTo>
                  <a:pt x="6899910" y="4529801"/>
                </a:moveTo>
                <a:cubicBezTo>
                  <a:pt x="6918325" y="4538056"/>
                  <a:pt x="6931660" y="4508211"/>
                  <a:pt x="6911975" y="4500591"/>
                </a:cubicBezTo>
                <a:cubicBezTo>
                  <a:pt x="6893560" y="4492336"/>
                  <a:pt x="6880860" y="4522181"/>
                  <a:pt x="6899910" y="4529801"/>
                </a:cubicBezTo>
                <a:close/>
                <a:moveTo>
                  <a:pt x="6878956" y="4703156"/>
                </a:moveTo>
                <a:cubicBezTo>
                  <a:pt x="6902450" y="4715856"/>
                  <a:pt x="6922135" y="4678391"/>
                  <a:pt x="6898006" y="4666326"/>
                </a:cubicBezTo>
                <a:cubicBezTo>
                  <a:pt x="6874510" y="4652991"/>
                  <a:pt x="6854825" y="4690456"/>
                  <a:pt x="6878956" y="4703156"/>
                </a:cubicBezTo>
                <a:close/>
                <a:moveTo>
                  <a:pt x="6925310" y="4605366"/>
                </a:moveTo>
                <a:cubicBezTo>
                  <a:pt x="6935470" y="4583776"/>
                  <a:pt x="6901815" y="4567901"/>
                  <a:pt x="6892290" y="4590126"/>
                </a:cubicBezTo>
                <a:cubicBezTo>
                  <a:pt x="6881495" y="4611081"/>
                  <a:pt x="6915785" y="4626956"/>
                  <a:pt x="6925310" y="4605366"/>
                </a:cubicBezTo>
                <a:close/>
                <a:moveTo>
                  <a:pt x="6958965" y="4554566"/>
                </a:moveTo>
                <a:cubicBezTo>
                  <a:pt x="6978015" y="4562821"/>
                  <a:pt x="6990081" y="4532341"/>
                  <a:pt x="6971031" y="4525356"/>
                </a:cubicBezTo>
                <a:cubicBezTo>
                  <a:pt x="6951981" y="4517101"/>
                  <a:pt x="6939915" y="4546946"/>
                  <a:pt x="6958965" y="4554566"/>
                </a:cubicBezTo>
                <a:close/>
                <a:moveTo>
                  <a:pt x="7275195" y="4854921"/>
                </a:moveTo>
                <a:cubicBezTo>
                  <a:pt x="7283450" y="4800946"/>
                  <a:pt x="7201535" y="4838411"/>
                  <a:pt x="7248525" y="4866986"/>
                </a:cubicBezTo>
                <a:lnTo>
                  <a:pt x="7248525" y="4866986"/>
                </a:lnTo>
                <a:cubicBezTo>
                  <a:pt x="7259320" y="4871431"/>
                  <a:pt x="7271385" y="4865716"/>
                  <a:pt x="7275195" y="4854921"/>
                </a:cubicBezTo>
                <a:close/>
                <a:moveTo>
                  <a:pt x="7282815" y="5172421"/>
                </a:moveTo>
                <a:cubicBezTo>
                  <a:pt x="7313295" y="5186391"/>
                  <a:pt x="7334250" y="5138131"/>
                  <a:pt x="7303135" y="5124796"/>
                </a:cubicBezTo>
                <a:cubicBezTo>
                  <a:pt x="7272656" y="5111461"/>
                  <a:pt x="7251700" y="5159721"/>
                  <a:pt x="7282815" y="5172421"/>
                </a:cubicBezTo>
                <a:close/>
                <a:moveTo>
                  <a:pt x="7260590" y="5306406"/>
                </a:moveTo>
                <a:cubicBezTo>
                  <a:pt x="7277100" y="5274021"/>
                  <a:pt x="7225665" y="5248621"/>
                  <a:pt x="7209790" y="5281641"/>
                </a:cubicBezTo>
                <a:cubicBezTo>
                  <a:pt x="7193281" y="5314026"/>
                  <a:pt x="7244715" y="5340061"/>
                  <a:pt x="7260590" y="5306406"/>
                </a:cubicBezTo>
                <a:close/>
                <a:moveTo>
                  <a:pt x="7322820" y="4673311"/>
                </a:moveTo>
                <a:cubicBezTo>
                  <a:pt x="7342506" y="4678391"/>
                  <a:pt x="7350760" y="4647276"/>
                  <a:pt x="7330440" y="4642196"/>
                </a:cubicBezTo>
                <a:cubicBezTo>
                  <a:pt x="7310756" y="4637116"/>
                  <a:pt x="7303135" y="4668231"/>
                  <a:pt x="7322820" y="4673311"/>
                </a:cubicBezTo>
                <a:close/>
                <a:moveTo>
                  <a:pt x="7312025" y="4867621"/>
                </a:moveTo>
                <a:cubicBezTo>
                  <a:pt x="7303135" y="4893021"/>
                  <a:pt x="7343140" y="4906356"/>
                  <a:pt x="7351395" y="4880956"/>
                </a:cubicBezTo>
                <a:cubicBezTo>
                  <a:pt x="7360285" y="4855556"/>
                  <a:pt x="7320281" y="4842221"/>
                  <a:pt x="7312025" y="4867621"/>
                </a:cubicBezTo>
                <a:close/>
                <a:moveTo>
                  <a:pt x="6767831" y="4699346"/>
                </a:moveTo>
                <a:cubicBezTo>
                  <a:pt x="6742431" y="4682836"/>
                  <a:pt x="6717665" y="4723476"/>
                  <a:pt x="6743065" y="4738716"/>
                </a:cubicBezTo>
                <a:cubicBezTo>
                  <a:pt x="6769100" y="4755226"/>
                  <a:pt x="6793865" y="4715221"/>
                  <a:pt x="6767831" y="4699346"/>
                </a:cubicBezTo>
                <a:close/>
                <a:moveTo>
                  <a:pt x="7183120" y="5419436"/>
                </a:moveTo>
                <a:cubicBezTo>
                  <a:pt x="7138035" y="5395941"/>
                  <a:pt x="7117715" y="5475951"/>
                  <a:pt x="7167881" y="5477221"/>
                </a:cubicBezTo>
                <a:cubicBezTo>
                  <a:pt x="7198995" y="5478491"/>
                  <a:pt x="7211060" y="5434041"/>
                  <a:pt x="7183120" y="5419436"/>
                </a:cubicBezTo>
                <a:close/>
                <a:moveTo>
                  <a:pt x="7211695" y="5708361"/>
                </a:moveTo>
                <a:cubicBezTo>
                  <a:pt x="7249795" y="5728046"/>
                  <a:pt x="7280275" y="5668356"/>
                  <a:pt x="7241540" y="5649306"/>
                </a:cubicBezTo>
                <a:cubicBezTo>
                  <a:pt x="7203440" y="5628986"/>
                  <a:pt x="7172960" y="5689311"/>
                  <a:pt x="7211695" y="5708361"/>
                </a:cubicBezTo>
                <a:close/>
                <a:moveTo>
                  <a:pt x="7199631" y="4639021"/>
                </a:moveTo>
                <a:cubicBezTo>
                  <a:pt x="7219315" y="4645371"/>
                  <a:pt x="7228840" y="4614256"/>
                  <a:pt x="7208520" y="4608541"/>
                </a:cubicBezTo>
                <a:cubicBezTo>
                  <a:pt x="7189470" y="4602191"/>
                  <a:pt x="7179945" y="4633306"/>
                  <a:pt x="7199631" y="4639021"/>
                </a:cubicBezTo>
                <a:close/>
                <a:moveTo>
                  <a:pt x="7168515" y="4724111"/>
                </a:moveTo>
                <a:cubicBezTo>
                  <a:pt x="7190740" y="4732366"/>
                  <a:pt x="7203440" y="4697441"/>
                  <a:pt x="7180581" y="4689821"/>
                </a:cubicBezTo>
                <a:cubicBezTo>
                  <a:pt x="7158356" y="4681566"/>
                  <a:pt x="7146290" y="4716491"/>
                  <a:pt x="7168515" y="4724111"/>
                </a:cubicBezTo>
                <a:close/>
                <a:moveTo>
                  <a:pt x="7138670" y="4619971"/>
                </a:moveTo>
                <a:cubicBezTo>
                  <a:pt x="7157720" y="4626321"/>
                  <a:pt x="7168515" y="4595841"/>
                  <a:pt x="7148831" y="4589491"/>
                </a:cubicBezTo>
                <a:cubicBezTo>
                  <a:pt x="7129145" y="4583141"/>
                  <a:pt x="7118985" y="4613621"/>
                  <a:pt x="7138670" y="4619971"/>
                </a:cubicBezTo>
                <a:close/>
                <a:moveTo>
                  <a:pt x="7114540" y="4769196"/>
                </a:moveTo>
                <a:cubicBezTo>
                  <a:pt x="7089775" y="4758401"/>
                  <a:pt x="7073265" y="4797136"/>
                  <a:pt x="7098031" y="4807296"/>
                </a:cubicBezTo>
                <a:cubicBezTo>
                  <a:pt x="7122795" y="4818726"/>
                  <a:pt x="7139940" y="4779356"/>
                  <a:pt x="7114540" y="4769196"/>
                </a:cubicBezTo>
                <a:close/>
                <a:moveTo>
                  <a:pt x="7261225" y="4656801"/>
                </a:moveTo>
                <a:cubicBezTo>
                  <a:pt x="7280910" y="4662516"/>
                  <a:pt x="7289800" y="4631401"/>
                  <a:pt x="7269481" y="4626321"/>
                </a:cubicBezTo>
                <a:cubicBezTo>
                  <a:pt x="7249795" y="4620606"/>
                  <a:pt x="7241540" y="4651721"/>
                  <a:pt x="7261225" y="4656801"/>
                </a:cubicBezTo>
                <a:close/>
                <a:moveTo>
                  <a:pt x="7301231" y="5023196"/>
                </a:moveTo>
                <a:cubicBezTo>
                  <a:pt x="7329170" y="5034626"/>
                  <a:pt x="7346315" y="4990176"/>
                  <a:pt x="7317740" y="4979381"/>
                </a:cubicBezTo>
                <a:cubicBezTo>
                  <a:pt x="7289800" y="4968586"/>
                  <a:pt x="7272656" y="5013036"/>
                  <a:pt x="7301231" y="5023196"/>
                </a:cubicBezTo>
                <a:close/>
                <a:moveTo>
                  <a:pt x="7306310" y="4769196"/>
                </a:moveTo>
                <a:cubicBezTo>
                  <a:pt x="7328535" y="4776181"/>
                  <a:pt x="7339965" y="4740621"/>
                  <a:pt x="7316470" y="4734271"/>
                </a:cubicBezTo>
                <a:cubicBezTo>
                  <a:pt x="7294245" y="4727286"/>
                  <a:pt x="7283450" y="4762846"/>
                  <a:pt x="7306310" y="4769196"/>
                </a:cubicBezTo>
                <a:close/>
                <a:moveTo>
                  <a:pt x="7237095" y="4747606"/>
                </a:moveTo>
                <a:cubicBezTo>
                  <a:pt x="7259320" y="4755226"/>
                  <a:pt x="7271385" y="4719666"/>
                  <a:pt x="7248525" y="4712681"/>
                </a:cubicBezTo>
                <a:cubicBezTo>
                  <a:pt x="7226300" y="4705061"/>
                  <a:pt x="7214235" y="4740621"/>
                  <a:pt x="7237095" y="4747606"/>
                </a:cubicBezTo>
                <a:close/>
                <a:moveTo>
                  <a:pt x="6635115" y="4865081"/>
                </a:moveTo>
                <a:cubicBezTo>
                  <a:pt x="6606540" y="4841586"/>
                  <a:pt x="6570981" y="4886671"/>
                  <a:pt x="6600190" y="4909531"/>
                </a:cubicBezTo>
                <a:cubicBezTo>
                  <a:pt x="6628131" y="4932391"/>
                  <a:pt x="6664325" y="4887941"/>
                  <a:pt x="6635115" y="4865081"/>
                </a:cubicBezTo>
                <a:close/>
                <a:moveTo>
                  <a:pt x="7674610" y="5627081"/>
                </a:moveTo>
                <a:cubicBezTo>
                  <a:pt x="7669531" y="5666451"/>
                  <a:pt x="7731760" y="5673436"/>
                  <a:pt x="7735570" y="5633431"/>
                </a:cubicBezTo>
                <a:cubicBezTo>
                  <a:pt x="7740650" y="5594696"/>
                  <a:pt x="7678420" y="5587711"/>
                  <a:pt x="7674610" y="5627081"/>
                </a:cubicBezTo>
                <a:close/>
                <a:moveTo>
                  <a:pt x="7719695" y="4987001"/>
                </a:moveTo>
                <a:cubicBezTo>
                  <a:pt x="7746365" y="4990811"/>
                  <a:pt x="7752081" y="4948901"/>
                  <a:pt x="7725410" y="4945726"/>
                </a:cubicBezTo>
                <a:cubicBezTo>
                  <a:pt x="7698740" y="4941916"/>
                  <a:pt x="7693025" y="4983826"/>
                  <a:pt x="7719695" y="4987001"/>
                </a:cubicBezTo>
                <a:close/>
                <a:moveTo>
                  <a:pt x="7764145" y="4742526"/>
                </a:moveTo>
                <a:cubicBezTo>
                  <a:pt x="7784465" y="4744431"/>
                  <a:pt x="7786370" y="4712046"/>
                  <a:pt x="7766050" y="4710776"/>
                </a:cubicBezTo>
                <a:cubicBezTo>
                  <a:pt x="7745731" y="4709506"/>
                  <a:pt x="7743825" y="4741256"/>
                  <a:pt x="7764145" y="4742526"/>
                </a:cubicBezTo>
                <a:close/>
                <a:moveTo>
                  <a:pt x="7765415" y="5455631"/>
                </a:moveTo>
                <a:cubicBezTo>
                  <a:pt x="7770495" y="5419436"/>
                  <a:pt x="7713345" y="5412451"/>
                  <a:pt x="7709535" y="5448646"/>
                </a:cubicBezTo>
                <a:cubicBezTo>
                  <a:pt x="7704456" y="5485476"/>
                  <a:pt x="7761606" y="5492461"/>
                  <a:pt x="7765415" y="5455631"/>
                </a:cubicBezTo>
                <a:close/>
                <a:moveTo>
                  <a:pt x="7828281" y="4745066"/>
                </a:moveTo>
                <a:cubicBezTo>
                  <a:pt x="7848600" y="4745701"/>
                  <a:pt x="7849870" y="4713951"/>
                  <a:pt x="7829550" y="4713316"/>
                </a:cubicBezTo>
                <a:cubicBezTo>
                  <a:pt x="7808595" y="4712681"/>
                  <a:pt x="7807960" y="4745066"/>
                  <a:pt x="7828281" y="4745066"/>
                </a:cubicBezTo>
                <a:close/>
                <a:moveTo>
                  <a:pt x="7741285" y="5093046"/>
                </a:moveTo>
                <a:cubicBezTo>
                  <a:pt x="7709535" y="5087966"/>
                  <a:pt x="7705725" y="5139401"/>
                  <a:pt x="7738110" y="5139401"/>
                </a:cubicBezTo>
                <a:cubicBezTo>
                  <a:pt x="7766050" y="5140036"/>
                  <a:pt x="7769225" y="5096221"/>
                  <a:pt x="7741285" y="5093046"/>
                </a:cubicBezTo>
                <a:close/>
                <a:moveTo>
                  <a:pt x="7804150" y="4861906"/>
                </a:moveTo>
                <a:cubicBezTo>
                  <a:pt x="7827645" y="4863811"/>
                  <a:pt x="7830820" y="4826346"/>
                  <a:pt x="7806690" y="4825076"/>
                </a:cubicBezTo>
                <a:cubicBezTo>
                  <a:pt x="7783195" y="4823171"/>
                  <a:pt x="7780656" y="4860636"/>
                  <a:pt x="7804150" y="4861906"/>
                </a:cubicBezTo>
                <a:close/>
                <a:moveTo>
                  <a:pt x="7800340" y="4996526"/>
                </a:moveTo>
                <a:cubicBezTo>
                  <a:pt x="7827010" y="4999066"/>
                  <a:pt x="7830820" y="4957156"/>
                  <a:pt x="7804150" y="4955251"/>
                </a:cubicBezTo>
                <a:cubicBezTo>
                  <a:pt x="7777481" y="4952076"/>
                  <a:pt x="7773670" y="4993986"/>
                  <a:pt x="7800340" y="4996526"/>
                </a:cubicBezTo>
                <a:close/>
                <a:moveTo>
                  <a:pt x="7639685" y="4974301"/>
                </a:moveTo>
                <a:cubicBezTo>
                  <a:pt x="7666356" y="4979381"/>
                  <a:pt x="7673975" y="4937471"/>
                  <a:pt x="7646670" y="4933026"/>
                </a:cubicBezTo>
                <a:cubicBezTo>
                  <a:pt x="7620000" y="4928581"/>
                  <a:pt x="7613015" y="4970491"/>
                  <a:pt x="7639685" y="4974301"/>
                </a:cubicBezTo>
                <a:close/>
                <a:moveTo>
                  <a:pt x="7637145" y="4731096"/>
                </a:moveTo>
                <a:cubicBezTo>
                  <a:pt x="7657465" y="4733636"/>
                  <a:pt x="7661275" y="4701886"/>
                  <a:pt x="7640956" y="4699346"/>
                </a:cubicBezTo>
                <a:cubicBezTo>
                  <a:pt x="7620000" y="4696806"/>
                  <a:pt x="7616190" y="4729191"/>
                  <a:pt x="7637145" y="4731096"/>
                </a:cubicBezTo>
                <a:close/>
                <a:moveTo>
                  <a:pt x="7828281" y="5103206"/>
                </a:moveTo>
                <a:cubicBezTo>
                  <a:pt x="7798435" y="5100031"/>
                  <a:pt x="7793990" y="5147656"/>
                  <a:pt x="7824470" y="5149561"/>
                </a:cubicBezTo>
                <a:cubicBezTo>
                  <a:pt x="7853681" y="5152736"/>
                  <a:pt x="7858125" y="5105111"/>
                  <a:pt x="7828281" y="5103206"/>
                </a:cubicBezTo>
                <a:close/>
                <a:moveTo>
                  <a:pt x="7731760" y="4855556"/>
                </a:moveTo>
                <a:cubicBezTo>
                  <a:pt x="7755256" y="4858731"/>
                  <a:pt x="7759065" y="4821266"/>
                  <a:pt x="7735570" y="4818726"/>
                </a:cubicBezTo>
                <a:cubicBezTo>
                  <a:pt x="7712075" y="4816186"/>
                  <a:pt x="7708265" y="4853651"/>
                  <a:pt x="7731760" y="4855556"/>
                </a:cubicBezTo>
                <a:close/>
                <a:moveTo>
                  <a:pt x="7644131" y="4826346"/>
                </a:moveTo>
                <a:cubicBezTo>
                  <a:pt x="7640320" y="4849841"/>
                  <a:pt x="7677785" y="4854921"/>
                  <a:pt x="7680325" y="4831426"/>
                </a:cubicBezTo>
                <a:cubicBezTo>
                  <a:pt x="7684135" y="4807931"/>
                  <a:pt x="7647306" y="4802851"/>
                  <a:pt x="7644131" y="4826346"/>
                </a:cubicBezTo>
                <a:close/>
                <a:moveTo>
                  <a:pt x="7700645" y="4737446"/>
                </a:moveTo>
                <a:cubicBezTo>
                  <a:pt x="7720965" y="4739351"/>
                  <a:pt x="7724140" y="4707601"/>
                  <a:pt x="7703185" y="4705696"/>
                </a:cubicBezTo>
                <a:cubicBezTo>
                  <a:pt x="7682865" y="4703791"/>
                  <a:pt x="7680325" y="4736176"/>
                  <a:pt x="7700645" y="4737446"/>
                </a:cubicBezTo>
                <a:close/>
                <a:moveTo>
                  <a:pt x="7637781" y="5261321"/>
                </a:moveTo>
                <a:cubicBezTo>
                  <a:pt x="7630795" y="5293706"/>
                  <a:pt x="7682231" y="5304501"/>
                  <a:pt x="7688581" y="5270846"/>
                </a:cubicBezTo>
                <a:cubicBezTo>
                  <a:pt x="7695565" y="5238461"/>
                  <a:pt x="7644131" y="5228301"/>
                  <a:pt x="7637781" y="5261321"/>
                </a:cubicBezTo>
                <a:close/>
                <a:moveTo>
                  <a:pt x="7654290" y="5078441"/>
                </a:moveTo>
                <a:cubicBezTo>
                  <a:pt x="7621906" y="5072091"/>
                  <a:pt x="7616825" y="5124796"/>
                  <a:pt x="7649845" y="5124796"/>
                </a:cubicBezTo>
                <a:cubicBezTo>
                  <a:pt x="7677150" y="5125431"/>
                  <a:pt x="7681595" y="5082886"/>
                  <a:pt x="7654290" y="5078441"/>
                </a:cubicBezTo>
                <a:close/>
                <a:moveTo>
                  <a:pt x="7830820" y="5288626"/>
                </a:moveTo>
                <a:cubicBezTo>
                  <a:pt x="7828281" y="5321646"/>
                  <a:pt x="7880985" y="5324821"/>
                  <a:pt x="7882256" y="5291166"/>
                </a:cubicBezTo>
                <a:cubicBezTo>
                  <a:pt x="7884160" y="5258146"/>
                  <a:pt x="7832090" y="5255606"/>
                  <a:pt x="7830820" y="5288626"/>
                </a:cubicBezTo>
                <a:close/>
                <a:moveTo>
                  <a:pt x="7976235" y="5456901"/>
                </a:moveTo>
                <a:cubicBezTo>
                  <a:pt x="7975600" y="5441661"/>
                  <a:pt x="7961631" y="5429596"/>
                  <a:pt x="7946390" y="5430231"/>
                </a:cubicBezTo>
                <a:cubicBezTo>
                  <a:pt x="7910831" y="5432136"/>
                  <a:pt x="7912735" y="5487381"/>
                  <a:pt x="7948295" y="5486746"/>
                </a:cubicBezTo>
                <a:cubicBezTo>
                  <a:pt x="7964170" y="5487381"/>
                  <a:pt x="7977506" y="5472776"/>
                  <a:pt x="7976235" y="5456901"/>
                </a:cubicBezTo>
                <a:close/>
                <a:moveTo>
                  <a:pt x="7929881" y="5600411"/>
                </a:moveTo>
                <a:cubicBezTo>
                  <a:pt x="7889875" y="5604221"/>
                  <a:pt x="7897495" y="5666451"/>
                  <a:pt x="7936865" y="5661371"/>
                </a:cubicBezTo>
                <a:cubicBezTo>
                  <a:pt x="7976235" y="5657561"/>
                  <a:pt x="7969250" y="5595331"/>
                  <a:pt x="7929881" y="5600411"/>
                </a:cubicBezTo>
                <a:close/>
                <a:moveTo>
                  <a:pt x="7952740" y="5265766"/>
                </a:moveTo>
                <a:cubicBezTo>
                  <a:pt x="7919085" y="5265766"/>
                  <a:pt x="7920990" y="5318471"/>
                  <a:pt x="7954010" y="5317201"/>
                </a:cubicBezTo>
                <a:cubicBezTo>
                  <a:pt x="7987665" y="5317201"/>
                  <a:pt x="7986395" y="5264496"/>
                  <a:pt x="7952740" y="5265766"/>
                </a:cubicBezTo>
                <a:close/>
                <a:moveTo>
                  <a:pt x="8021320" y="4865081"/>
                </a:moveTo>
                <a:cubicBezTo>
                  <a:pt x="8045450" y="4865081"/>
                  <a:pt x="8044815" y="4826981"/>
                  <a:pt x="8020685" y="4828251"/>
                </a:cubicBezTo>
                <a:cubicBezTo>
                  <a:pt x="7997190" y="4828886"/>
                  <a:pt x="7997825" y="4865081"/>
                  <a:pt x="8021320" y="4865081"/>
                </a:cubicBezTo>
                <a:close/>
                <a:moveTo>
                  <a:pt x="7955915" y="4745701"/>
                </a:moveTo>
                <a:cubicBezTo>
                  <a:pt x="7976870" y="4745701"/>
                  <a:pt x="7976235" y="4713316"/>
                  <a:pt x="7955281" y="4713951"/>
                </a:cubicBezTo>
                <a:cubicBezTo>
                  <a:pt x="7934960" y="4713951"/>
                  <a:pt x="7935595" y="4745701"/>
                  <a:pt x="7955915" y="4745701"/>
                </a:cubicBezTo>
                <a:close/>
                <a:moveTo>
                  <a:pt x="8003540" y="5154006"/>
                </a:moveTo>
                <a:cubicBezTo>
                  <a:pt x="8034020" y="5154006"/>
                  <a:pt x="8033385" y="5105746"/>
                  <a:pt x="8002906" y="5107651"/>
                </a:cubicBezTo>
                <a:cubicBezTo>
                  <a:pt x="7973060" y="5108286"/>
                  <a:pt x="7974331" y="5154641"/>
                  <a:pt x="8003540" y="5154006"/>
                </a:cubicBezTo>
                <a:close/>
                <a:moveTo>
                  <a:pt x="7942581" y="4982556"/>
                </a:moveTo>
                <a:cubicBezTo>
                  <a:pt x="7941945" y="5009861"/>
                  <a:pt x="7984490" y="5009226"/>
                  <a:pt x="7984490" y="4982556"/>
                </a:cubicBezTo>
                <a:cubicBezTo>
                  <a:pt x="7984490" y="4955886"/>
                  <a:pt x="7941945" y="4955886"/>
                  <a:pt x="7942581" y="4982556"/>
                </a:cubicBezTo>
                <a:close/>
                <a:moveTo>
                  <a:pt x="7891781" y="5130511"/>
                </a:moveTo>
                <a:cubicBezTo>
                  <a:pt x="7890510" y="5160356"/>
                  <a:pt x="7938135" y="5162261"/>
                  <a:pt x="7938135" y="5131781"/>
                </a:cubicBezTo>
                <a:cubicBezTo>
                  <a:pt x="7939406" y="5101301"/>
                  <a:pt x="7891781" y="5100666"/>
                  <a:pt x="7891781" y="5130511"/>
                </a:cubicBezTo>
                <a:close/>
                <a:moveTo>
                  <a:pt x="7573645" y="4814916"/>
                </a:moveTo>
                <a:cubicBezTo>
                  <a:pt x="7569200" y="4838411"/>
                  <a:pt x="7606031" y="4844761"/>
                  <a:pt x="7609840" y="4821266"/>
                </a:cubicBezTo>
                <a:cubicBezTo>
                  <a:pt x="7613650" y="4797771"/>
                  <a:pt x="7576820" y="4790786"/>
                  <a:pt x="7573645" y="4814916"/>
                </a:cubicBezTo>
                <a:close/>
                <a:moveTo>
                  <a:pt x="7877175" y="4865716"/>
                </a:moveTo>
                <a:cubicBezTo>
                  <a:pt x="7900670" y="4866986"/>
                  <a:pt x="7902575" y="4829521"/>
                  <a:pt x="7878445" y="4828886"/>
                </a:cubicBezTo>
                <a:cubicBezTo>
                  <a:pt x="7854315" y="4827616"/>
                  <a:pt x="7853045" y="4865081"/>
                  <a:pt x="7877175" y="4865716"/>
                </a:cubicBezTo>
                <a:close/>
                <a:moveTo>
                  <a:pt x="7870825" y="5461346"/>
                </a:moveTo>
                <a:cubicBezTo>
                  <a:pt x="7872731" y="5424516"/>
                  <a:pt x="7814945" y="5423246"/>
                  <a:pt x="7814310" y="5459441"/>
                </a:cubicBezTo>
                <a:cubicBezTo>
                  <a:pt x="7813040" y="5496271"/>
                  <a:pt x="7870190" y="5498176"/>
                  <a:pt x="7870825" y="5461346"/>
                </a:cubicBezTo>
                <a:close/>
                <a:moveTo>
                  <a:pt x="7883525" y="4960331"/>
                </a:moveTo>
                <a:cubicBezTo>
                  <a:pt x="7856220" y="4958426"/>
                  <a:pt x="7854315" y="5000971"/>
                  <a:pt x="7881620" y="5002241"/>
                </a:cubicBezTo>
                <a:cubicBezTo>
                  <a:pt x="7908290" y="5003511"/>
                  <a:pt x="7910831" y="4960966"/>
                  <a:pt x="7883525" y="4960331"/>
                </a:cubicBezTo>
                <a:close/>
                <a:moveTo>
                  <a:pt x="7818756" y="5606126"/>
                </a:moveTo>
                <a:cubicBezTo>
                  <a:pt x="7778750" y="5605491"/>
                  <a:pt x="7778750" y="5667721"/>
                  <a:pt x="7818756" y="5667721"/>
                </a:cubicBezTo>
                <a:cubicBezTo>
                  <a:pt x="7858760" y="5668356"/>
                  <a:pt x="7858760" y="5605491"/>
                  <a:pt x="7818756" y="5606126"/>
                </a:cubicBezTo>
                <a:close/>
                <a:moveTo>
                  <a:pt x="7949565" y="4866351"/>
                </a:moveTo>
                <a:cubicBezTo>
                  <a:pt x="7949565" y="4866351"/>
                  <a:pt x="7949565" y="4866351"/>
                  <a:pt x="7949565" y="4866351"/>
                </a:cubicBezTo>
                <a:cubicBezTo>
                  <a:pt x="7973695" y="4866351"/>
                  <a:pt x="7973060" y="4829521"/>
                  <a:pt x="7949565" y="4829521"/>
                </a:cubicBezTo>
                <a:cubicBezTo>
                  <a:pt x="7925435" y="4829521"/>
                  <a:pt x="7925435" y="4866986"/>
                  <a:pt x="7949565" y="4866351"/>
                </a:cubicBezTo>
                <a:close/>
                <a:moveTo>
                  <a:pt x="7892415" y="4746336"/>
                </a:moveTo>
                <a:cubicBezTo>
                  <a:pt x="7912735" y="4746971"/>
                  <a:pt x="7913370" y="4714586"/>
                  <a:pt x="7892415" y="4714586"/>
                </a:cubicBezTo>
                <a:cubicBezTo>
                  <a:pt x="7871460" y="4714586"/>
                  <a:pt x="7871460" y="4746336"/>
                  <a:pt x="7892415" y="4746336"/>
                </a:cubicBezTo>
                <a:close/>
                <a:moveTo>
                  <a:pt x="6638925" y="4732366"/>
                </a:moveTo>
                <a:cubicBezTo>
                  <a:pt x="6612256" y="4712046"/>
                  <a:pt x="6581140" y="4754591"/>
                  <a:pt x="6608445" y="4774276"/>
                </a:cubicBezTo>
                <a:cubicBezTo>
                  <a:pt x="6635115" y="4793961"/>
                  <a:pt x="6666231" y="4751416"/>
                  <a:pt x="6638925" y="4732366"/>
                </a:cubicBezTo>
                <a:close/>
                <a:moveTo>
                  <a:pt x="6593840" y="4642196"/>
                </a:moveTo>
                <a:cubicBezTo>
                  <a:pt x="6618606" y="4659341"/>
                  <a:pt x="6645275" y="4619971"/>
                  <a:pt x="6619875" y="4603461"/>
                </a:cubicBezTo>
                <a:cubicBezTo>
                  <a:pt x="6595110" y="4585681"/>
                  <a:pt x="6568440" y="4625051"/>
                  <a:pt x="6593840" y="4642196"/>
                </a:cubicBezTo>
                <a:close/>
                <a:moveTo>
                  <a:pt x="6797675" y="4843491"/>
                </a:moveTo>
                <a:cubicBezTo>
                  <a:pt x="6770370" y="4824441"/>
                  <a:pt x="6741160" y="4868256"/>
                  <a:pt x="6769100" y="4886036"/>
                </a:cubicBezTo>
                <a:cubicBezTo>
                  <a:pt x="6796406" y="4905086"/>
                  <a:pt x="6825615" y="4861271"/>
                  <a:pt x="6797675" y="4843491"/>
                </a:cubicBezTo>
                <a:close/>
                <a:moveTo>
                  <a:pt x="6771006" y="4550121"/>
                </a:moveTo>
                <a:cubicBezTo>
                  <a:pt x="6791960" y="4561551"/>
                  <a:pt x="6809106" y="4527896"/>
                  <a:pt x="6787515" y="4517736"/>
                </a:cubicBezTo>
                <a:cubicBezTo>
                  <a:pt x="6767195" y="4506306"/>
                  <a:pt x="6749415" y="4539961"/>
                  <a:pt x="6771006" y="4550121"/>
                </a:cubicBezTo>
                <a:close/>
                <a:moveTo>
                  <a:pt x="7307581" y="5717251"/>
                </a:moveTo>
                <a:cubicBezTo>
                  <a:pt x="7290435" y="5756621"/>
                  <a:pt x="7352665" y="5782656"/>
                  <a:pt x="7369175" y="5742651"/>
                </a:cubicBezTo>
                <a:cubicBezTo>
                  <a:pt x="7385685" y="5703281"/>
                  <a:pt x="7323456" y="5677246"/>
                  <a:pt x="7307581" y="5717251"/>
                </a:cubicBezTo>
                <a:close/>
                <a:moveTo>
                  <a:pt x="7376160" y="4788881"/>
                </a:moveTo>
                <a:cubicBezTo>
                  <a:pt x="7399020" y="4795231"/>
                  <a:pt x="7408545" y="4759036"/>
                  <a:pt x="7385685" y="4753321"/>
                </a:cubicBezTo>
                <a:cubicBezTo>
                  <a:pt x="7362825" y="4746971"/>
                  <a:pt x="7352665" y="4783166"/>
                  <a:pt x="7376160" y="4788881"/>
                </a:cubicBezTo>
                <a:close/>
                <a:moveTo>
                  <a:pt x="7373620" y="5209251"/>
                </a:moveTo>
                <a:cubicBezTo>
                  <a:pt x="7404735" y="5221316"/>
                  <a:pt x="7423150" y="5172421"/>
                  <a:pt x="7392035" y="5160991"/>
                </a:cubicBezTo>
                <a:cubicBezTo>
                  <a:pt x="7360920" y="5148926"/>
                  <a:pt x="7342506" y="5198456"/>
                  <a:pt x="7373620" y="5209251"/>
                </a:cubicBezTo>
                <a:close/>
                <a:moveTo>
                  <a:pt x="7357110" y="5349586"/>
                </a:moveTo>
                <a:cubicBezTo>
                  <a:pt x="7371081" y="5276561"/>
                  <a:pt x="7259320" y="5321011"/>
                  <a:pt x="7320281" y="5364191"/>
                </a:cubicBezTo>
                <a:lnTo>
                  <a:pt x="7320281" y="5364191"/>
                </a:lnTo>
                <a:cubicBezTo>
                  <a:pt x="7334250" y="5370541"/>
                  <a:pt x="7350760" y="5364191"/>
                  <a:pt x="7357110" y="5349586"/>
                </a:cubicBezTo>
                <a:close/>
                <a:moveTo>
                  <a:pt x="6856095" y="5100666"/>
                </a:moveTo>
                <a:cubicBezTo>
                  <a:pt x="6885940" y="5121621"/>
                  <a:pt x="6918960" y="5074631"/>
                  <a:pt x="6888481" y="5054311"/>
                </a:cubicBezTo>
                <a:cubicBezTo>
                  <a:pt x="6858635" y="5032721"/>
                  <a:pt x="6825615" y="5080346"/>
                  <a:pt x="6856095" y="5100666"/>
                </a:cubicBezTo>
                <a:close/>
                <a:moveTo>
                  <a:pt x="7385050" y="4687916"/>
                </a:moveTo>
                <a:cubicBezTo>
                  <a:pt x="7404735" y="4692996"/>
                  <a:pt x="7412356" y="4661246"/>
                  <a:pt x="7392035" y="4656801"/>
                </a:cubicBezTo>
                <a:cubicBezTo>
                  <a:pt x="7371715" y="4652356"/>
                  <a:pt x="7364731" y="4684106"/>
                  <a:pt x="7385050" y="4687916"/>
                </a:cubicBezTo>
                <a:close/>
                <a:moveTo>
                  <a:pt x="6843395" y="4903816"/>
                </a:moveTo>
                <a:cubicBezTo>
                  <a:pt x="6824981" y="4931756"/>
                  <a:pt x="6868795" y="4959696"/>
                  <a:pt x="6886575" y="4931756"/>
                </a:cubicBezTo>
                <a:cubicBezTo>
                  <a:pt x="6904990" y="4903816"/>
                  <a:pt x="6860540" y="4875876"/>
                  <a:pt x="6843395" y="4903816"/>
                </a:cubicBezTo>
                <a:close/>
                <a:moveTo>
                  <a:pt x="6598285" y="4542501"/>
                </a:moveTo>
                <a:cubicBezTo>
                  <a:pt x="6621145" y="4557106"/>
                  <a:pt x="6643370" y="4520911"/>
                  <a:pt x="6620510" y="4506941"/>
                </a:cubicBezTo>
                <a:cubicBezTo>
                  <a:pt x="6597650" y="4492336"/>
                  <a:pt x="6575425" y="4528531"/>
                  <a:pt x="6598285" y="4542501"/>
                </a:cubicBezTo>
                <a:close/>
                <a:moveTo>
                  <a:pt x="6843395" y="4745701"/>
                </a:moveTo>
                <a:cubicBezTo>
                  <a:pt x="6817360" y="4729826"/>
                  <a:pt x="6793231" y="4770466"/>
                  <a:pt x="6819900" y="4785706"/>
                </a:cubicBezTo>
                <a:lnTo>
                  <a:pt x="6819900" y="4785706"/>
                </a:lnTo>
                <a:cubicBezTo>
                  <a:pt x="6845300" y="4801581"/>
                  <a:pt x="6870065" y="4760941"/>
                  <a:pt x="6843395" y="4745701"/>
                </a:cubicBezTo>
                <a:close/>
                <a:moveTo>
                  <a:pt x="6593840" y="5068281"/>
                </a:moveTo>
                <a:cubicBezTo>
                  <a:pt x="6623685" y="5094951"/>
                  <a:pt x="6664325" y="5047326"/>
                  <a:pt x="6633845" y="5021926"/>
                </a:cubicBezTo>
                <a:cubicBezTo>
                  <a:pt x="6604000" y="4995256"/>
                  <a:pt x="6563360" y="5042881"/>
                  <a:pt x="6593840" y="5068281"/>
                </a:cubicBezTo>
                <a:close/>
                <a:moveTo>
                  <a:pt x="6693535" y="4652356"/>
                </a:moveTo>
                <a:cubicBezTo>
                  <a:pt x="6659245" y="4632036"/>
                  <a:pt x="6641465" y="4694266"/>
                  <a:pt x="6680835" y="4694901"/>
                </a:cubicBezTo>
                <a:cubicBezTo>
                  <a:pt x="6703060" y="4695536"/>
                  <a:pt x="6713220" y="4663786"/>
                  <a:pt x="6693535" y="4652356"/>
                </a:cubicBezTo>
                <a:close/>
                <a:moveTo>
                  <a:pt x="6633210" y="5279101"/>
                </a:moveTo>
                <a:cubicBezTo>
                  <a:pt x="6662420" y="5280371"/>
                  <a:pt x="6678295" y="5240366"/>
                  <a:pt x="6655435" y="5221316"/>
                </a:cubicBezTo>
                <a:cubicBezTo>
                  <a:pt x="6607810" y="5183216"/>
                  <a:pt x="6572250" y="5275291"/>
                  <a:pt x="6633210" y="5279101"/>
                </a:cubicBezTo>
                <a:close/>
                <a:moveTo>
                  <a:pt x="7400290" y="5009861"/>
                </a:moveTo>
                <a:cubicBezTo>
                  <a:pt x="7371715" y="4999701"/>
                  <a:pt x="7356475" y="5044786"/>
                  <a:pt x="7385050" y="5053676"/>
                </a:cubicBezTo>
                <a:cubicBezTo>
                  <a:pt x="7413625" y="5063836"/>
                  <a:pt x="7429500" y="5019386"/>
                  <a:pt x="7400290" y="5009861"/>
                </a:cubicBezTo>
                <a:close/>
                <a:moveTo>
                  <a:pt x="7502525" y="4800946"/>
                </a:moveTo>
                <a:cubicBezTo>
                  <a:pt x="7497445" y="4823806"/>
                  <a:pt x="7534275" y="4831426"/>
                  <a:pt x="7538720" y="4807931"/>
                </a:cubicBezTo>
                <a:cubicBezTo>
                  <a:pt x="7543800" y="4785071"/>
                  <a:pt x="7506970" y="4777451"/>
                  <a:pt x="7502525" y="4800946"/>
                </a:cubicBezTo>
                <a:close/>
                <a:moveTo>
                  <a:pt x="7480935" y="4940011"/>
                </a:moveTo>
                <a:cubicBezTo>
                  <a:pt x="7506970" y="4946996"/>
                  <a:pt x="7517765" y="4906356"/>
                  <a:pt x="7491095" y="4899371"/>
                </a:cubicBezTo>
                <a:cubicBezTo>
                  <a:pt x="7465060" y="4892386"/>
                  <a:pt x="7454265" y="4933661"/>
                  <a:pt x="7480935" y="4940011"/>
                </a:cubicBezTo>
                <a:close/>
                <a:moveTo>
                  <a:pt x="7510781" y="4712681"/>
                </a:moveTo>
                <a:cubicBezTo>
                  <a:pt x="7531100" y="4716491"/>
                  <a:pt x="7536815" y="4684741"/>
                  <a:pt x="7515860" y="4681566"/>
                </a:cubicBezTo>
                <a:cubicBezTo>
                  <a:pt x="7495540" y="4677756"/>
                  <a:pt x="7489825" y="4709506"/>
                  <a:pt x="7510781" y="4712681"/>
                </a:cubicBezTo>
                <a:close/>
                <a:moveTo>
                  <a:pt x="7557770" y="5104476"/>
                </a:moveTo>
                <a:lnTo>
                  <a:pt x="7557770" y="5104476"/>
                </a:lnTo>
                <a:cubicBezTo>
                  <a:pt x="7586981" y="5112096"/>
                  <a:pt x="7598410" y="5066376"/>
                  <a:pt x="7569200" y="5059391"/>
                </a:cubicBezTo>
                <a:cubicBezTo>
                  <a:pt x="7539990" y="5051771"/>
                  <a:pt x="7528560" y="5098126"/>
                  <a:pt x="7557770" y="5104476"/>
                </a:cubicBezTo>
                <a:close/>
                <a:moveTo>
                  <a:pt x="7593331" y="5251161"/>
                </a:moveTo>
                <a:cubicBezTo>
                  <a:pt x="7602220" y="5218776"/>
                  <a:pt x="7551420" y="5205441"/>
                  <a:pt x="7543165" y="5238461"/>
                </a:cubicBezTo>
                <a:cubicBezTo>
                  <a:pt x="7534275" y="5270211"/>
                  <a:pt x="7585075" y="5283546"/>
                  <a:pt x="7593331" y="5251161"/>
                </a:cubicBezTo>
                <a:close/>
                <a:moveTo>
                  <a:pt x="7573645" y="4722841"/>
                </a:moveTo>
                <a:cubicBezTo>
                  <a:pt x="7593965" y="4726016"/>
                  <a:pt x="7598410" y="4694266"/>
                  <a:pt x="7578090" y="4691726"/>
                </a:cubicBezTo>
                <a:cubicBezTo>
                  <a:pt x="7557770" y="4687916"/>
                  <a:pt x="7553325" y="4720301"/>
                  <a:pt x="7573645" y="4722841"/>
                </a:cubicBezTo>
                <a:close/>
                <a:moveTo>
                  <a:pt x="7559675" y="4958426"/>
                </a:moveTo>
                <a:cubicBezTo>
                  <a:pt x="7585710" y="4964776"/>
                  <a:pt x="7595235" y="4922866"/>
                  <a:pt x="7568565" y="4917786"/>
                </a:cubicBezTo>
                <a:cubicBezTo>
                  <a:pt x="7542531" y="4912071"/>
                  <a:pt x="7533640" y="4953346"/>
                  <a:pt x="7559675" y="4958426"/>
                </a:cubicBezTo>
                <a:close/>
                <a:moveTo>
                  <a:pt x="7511415" y="5592156"/>
                </a:moveTo>
                <a:cubicBezTo>
                  <a:pt x="7523481" y="5554056"/>
                  <a:pt x="7463790" y="5535641"/>
                  <a:pt x="7452995" y="5573741"/>
                </a:cubicBezTo>
                <a:cubicBezTo>
                  <a:pt x="7440295" y="5611841"/>
                  <a:pt x="7499985" y="5630891"/>
                  <a:pt x="7511415" y="5592156"/>
                </a:cubicBezTo>
                <a:close/>
                <a:moveTo>
                  <a:pt x="7585710" y="5642321"/>
                </a:moveTo>
                <a:cubicBezTo>
                  <a:pt x="7624445" y="5651211"/>
                  <a:pt x="7637781" y="5590251"/>
                  <a:pt x="7598410" y="5581996"/>
                </a:cubicBezTo>
                <a:cubicBezTo>
                  <a:pt x="7559675" y="5573106"/>
                  <a:pt x="7546975" y="5634701"/>
                  <a:pt x="7585710" y="5642321"/>
                </a:cubicBezTo>
                <a:close/>
                <a:moveTo>
                  <a:pt x="7388225" y="4892386"/>
                </a:moveTo>
                <a:cubicBezTo>
                  <a:pt x="7379970" y="4918421"/>
                  <a:pt x="7420610" y="4930486"/>
                  <a:pt x="7428231" y="4904451"/>
                </a:cubicBezTo>
                <a:cubicBezTo>
                  <a:pt x="7436485" y="4878416"/>
                  <a:pt x="7395845" y="4866351"/>
                  <a:pt x="7388225" y="4892386"/>
                </a:cubicBezTo>
                <a:close/>
                <a:moveTo>
                  <a:pt x="7447281" y="4701251"/>
                </a:moveTo>
                <a:cubicBezTo>
                  <a:pt x="7467600" y="4705696"/>
                  <a:pt x="7473950" y="4673946"/>
                  <a:pt x="7453631" y="4670136"/>
                </a:cubicBezTo>
                <a:cubicBezTo>
                  <a:pt x="7433310" y="4665691"/>
                  <a:pt x="7427595" y="4697441"/>
                  <a:pt x="7447281" y="4701251"/>
                </a:cubicBezTo>
                <a:close/>
                <a:moveTo>
                  <a:pt x="7446010" y="4806661"/>
                </a:moveTo>
                <a:cubicBezTo>
                  <a:pt x="7468870" y="4812376"/>
                  <a:pt x="7477760" y="4776181"/>
                  <a:pt x="7454265" y="4771101"/>
                </a:cubicBezTo>
                <a:cubicBezTo>
                  <a:pt x="7431406" y="4765386"/>
                  <a:pt x="7423150" y="4801581"/>
                  <a:pt x="7446010" y="4806661"/>
                </a:cubicBezTo>
                <a:close/>
                <a:moveTo>
                  <a:pt x="7484110" y="5036531"/>
                </a:moveTo>
                <a:cubicBezTo>
                  <a:pt x="7455535" y="5027641"/>
                  <a:pt x="7441565" y="5072726"/>
                  <a:pt x="7470775" y="5080981"/>
                </a:cubicBezTo>
                <a:cubicBezTo>
                  <a:pt x="7499350" y="5089871"/>
                  <a:pt x="7513320" y="5044786"/>
                  <a:pt x="7484110" y="5036531"/>
                </a:cubicBezTo>
                <a:close/>
                <a:moveTo>
                  <a:pt x="7463156" y="5739476"/>
                </a:moveTo>
                <a:cubicBezTo>
                  <a:pt x="7446010" y="5733761"/>
                  <a:pt x="7426960" y="5743921"/>
                  <a:pt x="7421881" y="5761701"/>
                </a:cubicBezTo>
                <a:cubicBezTo>
                  <a:pt x="7414895" y="5782656"/>
                  <a:pt x="7432040" y="5804881"/>
                  <a:pt x="7453631" y="5804246"/>
                </a:cubicBezTo>
                <a:cubicBezTo>
                  <a:pt x="7490460" y="5805516"/>
                  <a:pt x="7499350" y="5749636"/>
                  <a:pt x="7463156" y="5739476"/>
                </a:cubicBezTo>
                <a:close/>
                <a:moveTo>
                  <a:pt x="7482840" y="5192741"/>
                </a:moveTo>
                <a:cubicBezTo>
                  <a:pt x="7451090" y="5181946"/>
                  <a:pt x="7435215" y="5232111"/>
                  <a:pt x="7466965" y="5241636"/>
                </a:cubicBezTo>
                <a:cubicBezTo>
                  <a:pt x="7498715" y="5252431"/>
                  <a:pt x="7514590" y="5202901"/>
                  <a:pt x="7482840" y="5192741"/>
                </a:cubicBezTo>
                <a:close/>
                <a:moveTo>
                  <a:pt x="6769100" y="5038436"/>
                </a:moveTo>
                <a:cubicBezTo>
                  <a:pt x="6798310" y="5060661"/>
                  <a:pt x="6832600" y="5014306"/>
                  <a:pt x="6802120" y="4992716"/>
                </a:cubicBezTo>
                <a:cubicBezTo>
                  <a:pt x="6773545" y="4971126"/>
                  <a:pt x="6739256" y="5017481"/>
                  <a:pt x="6769100" y="5038436"/>
                </a:cubicBezTo>
                <a:close/>
                <a:moveTo>
                  <a:pt x="4274185" y="4218651"/>
                </a:moveTo>
                <a:cubicBezTo>
                  <a:pt x="4307205" y="4218016"/>
                  <a:pt x="4295775" y="4165311"/>
                  <a:pt x="4265295" y="4179281"/>
                </a:cubicBezTo>
                <a:cubicBezTo>
                  <a:pt x="4245610" y="4187536"/>
                  <a:pt x="4252595" y="4219921"/>
                  <a:pt x="4274185" y="4218651"/>
                </a:cubicBezTo>
                <a:close/>
                <a:moveTo>
                  <a:pt x="4303395" y="3950681"/>
                </a:moveTo>
                <a:cubicBezTo>
                  <a:pt x="4290695" y="3919566"/>
                  <a:pt x="4242435" y="3940521"/>
                  <a:pt x="4256405" y="3971001"/>
                </a:cubicBezTo>
                <a:cubicBezTo>
                  <a:pt x="4269105" y="4002751"/>
                  <a:pt x="4317365" y="3981161"/>
                  <a:pt x="4303395" y="3950681"/>
                </a:cubicBezTo>
                <a:close/>
                <a:moveTo>
                  <a:pt x="4244340" y="4121496"/>
                </a:moveTo>
                <a:cubicBezTo>
                  <a:pt x="4281805" y="4120861"/>
                  <a:pt x="4268470" y="4061806"/>
                  <a:pt x="4234180" y="4077046"/>
                </a:cubicBezTo>
                <a:cubicBezTo>
                  <a:pt x="4211955" y="4087206"/>
                  <a:pt x="4220845" y="4122766"/>
                  <a:pt x="4244340" y="4121496"/>
                </a:cubicBezTo>
                <a:close/>
                <a:moveTo>
                  <a:pt x="4228465" y="3829396"/>
                </a:moveTo>
                <a:cubicBezTo>
                  <a:pt x="4194175" y="3842731"/>
                  <a:pt x="4216400" y="3896071"/>
                  <a:pt x="4250055" y="3881466"/>
                </a:cubicBezTo>
                <a:cubicBezTo>
                  <a:pt x="4284345" y="3868131"/>
                  <a:pt x="4262120" y="3814791"/>
                  <a:pt x="4228465" y="3829396"/>
                </a:cubicBezTo>
                <a:close/>
                <a:moveTo>
                  <a:pt x="4214495" y="3990686"/>
                </a:moveTo>
                <a:cubicBezTo>
                  <a:pt x="4171950" y="3937346"/>
                  <a:pt x="4137025" y="4041486"/>
                  <a:pt x="4203065" y="4024976"/>
                </a:cubicBezTo>
                <a:lnTo>
                  <a:pt x="4203065" y="4024976"/>
                </a:lnTo>
                <a:cubicBezTo>
                  <a:pt x="4215765" y="4019261"/>
                  <a:pt x="4220845" y="4003386"/>
                  <a:pt x="4214495" y="3990686"/>
                </a:cubicBezTo>
                <a:close/>
                <a:moveTo>
                  <a:pt x="4201795" y="4253576"/>
                </a:moveTo>
                <a:cubicBezTo>
                  <a:pt x="4235450" y="4252941"/>
                  <a:pt x="4222750" y="4199601"/>
                  <a:pt x="4192270" y="4214206"/>
                </a:cubicBezTo>
                <a:cubicBezTo>
                  <a:pt x="4172585" y="4223096"/>
                  <a:pt x="4180840" y="4254211"/>
                  <a:pt x="4201795" y="4253576"/>
                </a:cubicBezTo>
                <a:close/>
                <a:moveTo>
                  <a:pt x="4225925" y="3706841"/>
                </a:moveTo>
                <a:cubicBezTo>
                  <a:pt x="4187825" y="3718271"/>
                  <a:pt x="4207510" y="3777961"/>
                  <a:pt x="4244975" y="3765261"/>
                </a:cubicBezTo>
                <a:cubicBezTo>
                  <a:pt x="4283075" y="3753831"/>
                  <a:pt x="4264025" y="3694141"/>
                  <a:pt x="4225925" y="3706841"/>
                </a:cubicBezTo>
                <a:close/>
                <a:moveTo>
                  <a:pt x="4164965" y="4161501"/>
                </a:moveTo>
                <a:cubicBezTo>
                  <a:pt x="4203065" y="4160866"/>
                  <a:pt x="4188460" y="4100541"/>
                  <a:pt x="4154170" y="4117686"/>
                </a:cubicBezTo>
                <a:cubicBezTo>
                  <a:pt x="4132580" y="4127846"/>
                  <a:pt x="4142105" y="4162771"/>
                  <a:pt x="4164965" y="4161501"/>
                </a:cubicBezTo>
                <a:close/>
                <a:moveTo>
                  <a:pt x="4213860" y="3563966"/>
                </a:moveTo>
                <a:cubicBezTo>
                  <a:pt x="4262755" y="3564601"/>
                  <a:pt x="4258310" y="3487766"/>
                  <a:pt x="4210050" y="3492846"/>
                </a:cubicBezTo>
                <a:cubicBezTo>
                  <a:pt x="4166235" y="3496656"/>
                  <a:pt x="4170045" y="3565236"/>
                  <a:pt x="4213860" y="3563966"/>
                </a:cubicBezTo>
                <a:close/>
                <a:moveTo>
                  <a:pt x="4083050" y="3486496"/>
                </a:moveTo>
                <a:cubicBezTo>
                  <a:pt x="4135120" y="3487131"/>
                  <a:pt x="4130675" y="3404581"/>
                  <a:pt x="4078605" y="3410296"/>
                </a:cubicBezTo>
                <a:cubicBezTo>
                  <a:pt x="4032250" y="3414741"/>
                  <a:pt x="4036695" y="3487766"/>
                  <a:pt x="4083050" y="3486496"/>
                </a:cubicBezTo>
                <a:close/>
                <a:moveTo>
                  <a:pt x="4066540" y="3708746"/>
                </a:moveTo>
                <a:cubicBezTo>
                  <a:pt x="4117975" y="3708111"/>
                  <a:pt x="4102735" y="3626196"/>
                  <a:pt x="4054475" y="3644611"/>
                </a:cubicBezTo>
                <a:cubicBezTo>
                  <a:pt x="4020185" y="3656676"/>
                  <a:pt x="4030980" y="3710016"/>
                  <a:pt x="4066540" y="3708746"/>
                </a:cubicBezTo>
                <a:close/>
                <a:moveTo>
                  <a:pt x="4050665" y="3560156"/>
                </a:moveTo>
                <a:cubicBezTo>
                  <a:pt x="4061460" y="3605241"/>
                  <a:pt x="4131310" y="3587461"/>
                  <a:pt x="4119880" y="3543011"/>
                </a:cubicBezTo>
                <a:cubicBezTo>
                  <a:pt x="4109085" y="3497291"/>
                  <a:pt x="4038600" y="3515071"/>
                  <a:pt x="4050665" y="3560156"/>
                </a:cubicBezTo>
                <a:close/>
                <a:moveTo>
                  <a:pt x="4100830" y="3788121"/>
                </a:moveTo>
                <a:cubicBezTo>
                  <a:pt x="4116070" y="3824951"/>
                  <a:pt x="4173220" y="3800186"/>
                  <a:pt x="4157345" y="3763991"/>
                </a:cubicBezTo>
                <a:cubicBezTo>
                  <a:pt x="4142105" y="3727161"/>
                  <a:pt x="4084320" y="3751926"/>
                  <a:pt x="4100830" y="3788121"/>
                </a:cubicBezTo>
                <a:close/>
                <a:moveTo>
                  <a:pt x="4092575" y="4024341"/>
                </a:moveTo>
                <a:cubicBezTo>
                  <a:pt x="4062730" y="4040216"/>
                  <a:pt x="4088130" y="4085936"/>
                  <a:pt x="4117340" y="4069426"/>
                </a:cubicBezTo>
                <a:cubicBezTo>
                  <a:pt x="4147185" y="4054186"/>
                  <a:pt x="4121785" y="4007831"/>
                  <a:pt x="4092575" y="4024341"/>
                </a:cubicBezTo>
                <a:close/>
                <a:moveTo>
                  <a:pt x="4182745" y="3670646"/>
                </a:moveTo>
                <a:cubicBezTo>
                  <a:pt x="4231640" y="3670646"/>
                  <a:pt x="4221480" y="3593176"/>
                  <a:pt x="4174490" y="3605241"/>
                </a:cubicBezTo>
                <a:cubicBezTo>
                  <a:pt x="4137025" y="3614131"/>
                  <a:pt x="4145280" y="3671916"/>
                  <a:pt x="4182745" y="3670646"/>
                </a:cubicBezTo>
                <a:close/>
                <a:moveTo>
                  <a:pt x="4220845" y="3482686"/>
                </a:moveTo>
                <a:cubicBezTo>
                  <a:pt x="4270375" y="3485861"/>
                  <a:pt x="4274185" y="3408391"/>
                  <a:pt x="4225290" y="3406486"/>
                </a:cubicBezTo>
                <a:cubicBezTo>
                  <a:pt x="4175760" y="3403311"/>
                  <a:pt x="4171315" y="3480781"/>
                  <a:pt x="4220845" y="3482686"/>
                </a:cubicBezTo>
                <a:close/>
                <a:moveTo>
                  <a:pt x="4302760" y="3645881"/>
                </a:moveTo>
                <a:cubicBezTo>
                  <a:pt x="4349115" y="3646516"/>
                  <a:pt x="4344035" y="3572856"/>
                  <a:pt x="4298315" y="3579841"/>
                </a:cubicBezTo>
                <a:cubicBezTo>
                  <a:pt x="4258310" y="3584921"/>
                  <a:pt x="4262755" y="3647151"/>
                  <a:pt x="4302760" y="3645881"/>
                </a:cubicBezTo>
                <a:close/>
                <a:moveTo>
                  <a:pt x="6725920" y="4450426"/>
                </a:moveTo>
                <a:cubicBezTo>
                  <a:pt x="6744335" y="4459316"/>
                  <a:pt x="6758306" y="4430106"/>
                  <a:pt x="6739256" y="4421851"/>
                </a:cubicBezTo>
                <a:cubicBezTo>
                  <a:pt x="6721475" y="4412961"/>
                  <a:pt x="6707506" y="4442171"/>
                  <a:pt x="6725920" y="4450426"/>
                </a:cubicBezTo>
                <a:close/>
                <a:moveTo>
                  <a:pt x="4469130" y="3574126"/>
                </a:moveTo>
                <a:cubicBezTo>
                  <a:pt x="4491355" y="3578571"/>
                  <a:pt x="4512945" y="3559521"/>
                  <a:pt x="4511040" y="3536661"/>
                </a:cubicBezTo>
                <a:cubicBezTo>
                  <a:pt x="4585970" y="3486496"/>
                  <a:pt x="4457700" y="3417916"/>
                  <a:pt x="4457700" y="3508086"/>
                </a:cubicBezTo>
                <a:cubicBezTo>
                  <a:pt x="4429125" y="3523326"/>
                  <a:pt x="4436745" y="3569681"/>
                  <a:pt x="4469130" y="3574126"/>
                </a:cubicBezTo>
                <a:close/>
                <a:moveTo>
                  <a:pt x="4345940" y="3736686"/>
                </a:moveTo>
                <a:cubicBezTo>
                  <a:pt x="4390390" y="3736686"/>
                  <a:pt x="4382770" y="3666201"/>
                  <a:pt x="4339590" y="3675726"/>
                </a:cubicBezTo>
                <a:cubicBezTo>
                  <a:pt x="4304030" y="3683346"/>
                  <a:pt x="4310380" y="3737956"/>
                  <a:pt x="4345940" y="3736686"/>
                </a:cubicBezTo>
                <a:close/>
                <a:moveTo>
                  <a:pt x="4370070" y="3950681"/>
                </a:moveTo>
                <a:cubicBezTo>
                  <a:pt x="4409440" y="3950046"/>
                  <a:pt x="4398645" y="3887181"/>
                  <a:pt x="4361180" y="3900516"/>
                </a:cubicBezTo>
                <a:cubicBezTo>
                  <a:pt x="4334510" y="3909406"/>
                  <a:pt x="4342130" y="3951316"/>
                  <a:pt x="4370070" y="3950681"/>
                </a:cubicBezTo>
                <a:close/>
                <a:moveTo>
                  <a:pt x="4547870" y="3798281"/>
                </a:moveTo>
                <a:cubicBezTo>
                  <a:pt x="4584065" y="3793201"/>
                  <a:pt x="4575810" y="3736686"/>
                  <a:pt x="4539615" y="3742401"/>
                </a:cubicBezTo>
                <a:cubicBezTo>
                  <a:pt x="4503420" y="3747481"/>
                  <a:pt x="4512310" y="3804631"/>
                  <a:pt x="4547870" y="3798281"/>
                </a:cubicBezTo>
                <a:close/>
                <a:moveTo>
                  <a:pt x="4154805" y="3924011"/>
                </a:moveTo>
                <a:cubicBezTo>
                  <a:pt x="4187825" y="3908771"/>
                  <a:pt x="4163060" y="3856701"/>
                  <a:pt x="4130040" y="3873211"/>
                </a:cubicBezTo>
                <a:cubicBezTo>
                  <a:pt x="4097020" y="3888451"/>
                  <a:pt x="4122420" y="3940521"/>
                  <a:pt x="4154805" y="3924011"/>
                </a:cubicBezTo>
                <a:close/>
                <a:moveTo>
                  <a:pt x="4406900" y="4050376"/>
                </a:moveTo>
                <a:cubicBezTo>
                  <a:pt x="4443095" y="4049741"/>
                  <a:pt x="4432300" y="3992591"/>
                  <a:pt x="4398645" y="4005291"/>
                </a:cubicBezTo>
                <a:cubicBezTo>
                  <a:pt x="4375150" y="4013546"/>
                  <a:pt x="4382770" y="4051011"/>
                  <a:pt x="4406900" y="4050376"/>
                </a:cubicBezTo>
                <a:close/>
                <a:moveTo>
                  <a:pt x="4575175" y="3992591"/>
                </a:moveTo>
                <a:cubicBezTo>
                  <a:pt x="4610100" y="3992591"/>
                  <a:pt x="4601845" y="3937346"/>
                  <a:pt x="4568825" y="3946871"/>
                </a:cubicBezTo>
                <a:cubicBezTo>
                  <a:pt x="4543425" y="3953856"/>
                  <a:pt x="4549140" y="3993861"/>
                  <a:pt x="4575175" y="3992591"/>
                </a:cubicBezTo>
                <a:close/>
                <a:moveTo>
                  <a:pt x="4572000" y="3650326"/>
                </a:moveTo>
                <a:cubicBezTo>
                  <a:pt x="4531995" y="3649691"/>
                  <a:pt x="4532630" y="3712556"/>
                  <a:pt x="4572000" y="3711921"/>
                </a:cubicBezTo>
                <a:cubicBezTo>
                  <a:pt x="4612005" y="3711921"/>
                  <a:pt x="4612005" y="3649691"/>
                  <a:pt x="4572000" y="3650326"/>
                </a:cubicBezTo>
                <a:close/>
                <a:moveTo>
                  <a:pt x="4424680" y="3636356"/>
                </a:moveTo>
                <a:cubicBezTo>
                  <a:pt x="4467860" y="3636991"/>
                  <a:pt x="4467225" y="3569046"/>
                  <a:pt x="4424045" y="3570316"/>
                </a:cubicBezTo>
                <a:cubicBezTo>
                  <a:pt x="4381500" y="3569681"/>
                  <a:pt x="4382135" y="3636991"/>
                  <a:pt x="4424680" y="3636356"/>
                </a:cubicBezTo>
                <a:close/>
                <a:moveTo>
                  <a:pt x="4343400" y="3560156"/>
                </a:moveTo>
                <a:cubicBezTo>
                  <a:pt x="4374515" y="3562696"/>
                  <a:pt x="4392930" y="3521421"/>
                  <a:pt x="4370705" y="3500466"/>
                </a:cubicBezTo>
                <a:cubicBezTo>
                  <a:pt x="4408170" y="3491576"/>
                  <a:pt x="4406900" y="3433156"/>
                  <a:pt x="4368800" y="3426806"/>
                </a:cubicBezTo>
                <a:cubicBezTo>
                  <a:pt x="4332605" y="3417916"/>
                  <a:pt x="4307205" y="3466176"/>
                  <a:pt x="4333875" y="3490941"/>
                </a:cubicBezTo>
                <a:cubicBezTo>
                  <a:pt x="4297045" y="3501101"/>
                  <a:pt x="4304665" y="3559521"/>
                  <a:pt x="4343400" y="3560156"/>
                </a:cubicBezTo>
                <a:close/>
                <a:moveTo>
                  <a:pt x="4062730" y="3972271"/>
                </a:moveTo>
                <a:cubicBezTo>
                  <a:pt x="4095115" y="3955126"/>
                  <a:pt x="4067175" y="3904326"/>
                  <a:pt x="4035425" y="3922741"/>
                </a:cubicBezTo>
                <a:cubicBezTo>
                  <a:pt x="4003040" y="3939886"/>
                  <a:pt x="4030980" y="3990051"/>
                  <a:pt x="4062730" y="3972271"/>
                </a:cubicBezTo>
                <a:close/>
                <a:moveTo>
                  <a:pt x="4458335" y="3718271"/>
                </a:moveTo>
                <a:cubicBezTo>
                  <a:pt x="4500245" y="3718906"/>
                  <a:pt x="4497070" y="3652231"/>
                  <a:pt x="4455160" y="3657311"/>
                </a:cubicBezTo>
                <a:cubicBezTo>
                  <a:pt x="4417060" y="3660486"/>
                  <a:pt x="4420870" y="3718906"/>
                  <a:pt x="4458335" y="3718271"/>
                </a:cubicBezTo>
                <a:close/>
                <a:moveTo>
                  <a:pt x="4446905" y="3817966"/>
                </a:moveTo>
                <a:cubicBezTo>
                  <a:pt x="4482465" y="3809711"/>
                  <a:pt x="4469130" y="3753831"/>
                  <a:pt x="4433570" y="3762721"/>
                </a:cubicBezTo>
                <a:cubicBezTo>
                  <a:pt x="4398010" y="3770976"/>
                  <a:pt x="4411345" y="3826856"/>
                  <a:pt x="4446905" y="3817966"/>
                </a:cubicBezTo>
                <a:close/>
                <a:moveTo>
                  <a:pt x="4462145" y="3919566"/>
                </a:moveTo>
                <a:cubicBezTo>
                  <a:pt x="4500880" y="3919566"/>
                  <a:pt x="4491355" y="3857971"/>
                  <a:pt x="4454525" y="3869401"/>
                </a:cubicBezTo>
                <a:cubicBezTo>
                  <a:pt x="4426585" y="3877021"/>
                  <a:pt x="4433570" y="3920201"/>
                  <a:pt x="4462145" y="3919566"/>
                </a:cubicBezTo>
                <a:close/>
                <a:moveTo>
                  <a:pt x="4490720" y="4019896"/>
                </a:moveTo>
                <a:cubicBezTo>
                  <a:pt x="4493260" y="4019896"/>
                  <a:pt x="4495800" y="4019261"/>
                  <a:pt x="4498340" y="4018626"/>
                </a:cubicBezTo>
                <a:lnTo>
                  <a:pt x="4498340" y="4018626"/>
                </a:lnTo>
                <a:cubicBezTo>
                  <a:pt x="4526915" y="4009101"/>
                  <a:pt x="4511675" y="3964651"/>
                  <a:pt x="4483100" y="3974811"/>
                </a:cubicBezTo>
                <a:cubicBezTo>
                  <a:pt x="4458335" y="3981796"/>
                  <a:pt x="4465320" y="4020531"/>
                  <a:pt x="4490720" y="4019896"/>
                </a:cubicBezTo>
                <a:close/>
                <a:moveTo>
                  <a:pt x="3942715" y="3976716"/>
                </a:moveTo>
                <a:cubicBezTo>
                  <a:pt x="3910965" y="3995766"/>
                  <a:pt x="3942080" y="4044661"/>
                  <a:pt x="3972560" y="4024341"/>
                </a:cubicBezTo>
                <a:cubicBezTo>
                  <a:pt x="4004310" y="4005926"/>
                  <a:pt x="3973830" y="3957031"/>
                  <a:pt x="3942715" y="3976716"/>
                </a:cubicBezTo>
                <a:close/>
                <a:moveTo>
                  <a:pt x="3551555" y="4338031"/>
                </a:moveTo>
                <a:cubicBezTo>
                  <a:pt x="3580130" y="4315171"/>
                  <a:pt x="3542665" y="4270721"/>
                  <a:pt x="3515360" y="4294851"/>
                </a:cubicBezTo>
                <a:cubicBezTo>
                  <a:pt x="3487420" y="4318346"/>
                  <a:pt x="3524250" y="4362161"/>
                  <a:pt x="3551555" y="4338031"/>
                </a:cubicBezTo>
                <a:close/>
                <a:moveTo>
                  <a:pt x="3542665" y="4456141"/>
                </a:moveTo>
                <a:cubicBezTo>
                  <a:pt x="3588385" y="4454236"/>
                  <a:pt x="3564255" y="4383116"/>
                  <a:pt x="3526790" y="4410421"/>
                </a:cubicBezTo>
                <a:cubicBezTo>
                  <a:pt x="3507740" y="4424391"/>
                  <a:pt x="3519170" y="4457411"/>
                  <a:pt x="3542665" y="4456141"/>
                </a:cubicBezTo>
                <a:close/>
                <a:moveTo>
                  <a:pt x="3531235" y="3981161"/>
                </a:moveTo>
                <a:cubicBezTo>
                  <a:pt x="3498215" y="4009101"/>
                  <a:pt x="3542665" y="4059901"/>
                  <a:pt x="3575050" y="4031326"/>
                </a:cubicBezTo>
                <a:cubicBezTo>
                  <a:pt x="3607435" y="4002751"/>
                  <a:pt x="3562985" y="3951951"/>
                  <a:pt x="3531235" y="3981161"/>
                </a:cubicBezTo>
                <a:close/>
                <a:moveTo>
                  <a:pt x="3574415" y="4613621"/>
                </a:moveTo>
                <a:cubicBezTo>
                  <a:pt x="3609340" y="4612351"/>
                  <a:pt x="3593465" y="4557106"/>
                  <a:pt x="3562985" y="4574886"/>
                </a:cubicBezTo>
                <a:cubicBezTo>
                  <a:pt x="3545840" y="4585681"/>
                  <a:pt x="3554730" y="4614891"/>
                  <a:pt x="3574415" y="4613621"/>
                </a:cubicBezTo>
                <a:close/>
                <a:moveTo>
                  <a:pt x="3647440" y="3960206"/>
                </a:moveTo>
                <a:cubicBezTo>
                  <a:pt x="3706495" y="3956396"/>
                  <a:pt x="3675380" y="3866861"/>
                  <a:pt x="3626485" y="3901151"/>
                </a:cubicBezTo>
                <a:cubicBezTo>
                  <a:pt x="3601720" y="3919566"/>
                  <a:pt x="3616960" y="3961476"/>
                  <a:pt x="3647440" y="3960206"/>
                </a:cubicBezTo>
                <a:close/>
                <a:moveTo>
                  <a:pt x="3615055" y="4277071"/>
                </a:moveTo>
                <a:cubicBezTo>
                  <a:pt x="3665220" y="4275166"/>
                  <a:pt x="3637915" y="4196426"/>
                  <a:pt x="3597275" y="4226906"/>
                </a:cubicBezTo>
                <a:cubicBezTo>
                  <a:pt x="3576320" y="4242781"/>
                  <a:pt x="3589655" y="4278341"/>
                  <a:pt x="3615055" y="4277071"/>
                </a:cubicBezTo>
                <a:close/>
                <a:moveTo>
                  <a:pt x="4007485" y="4073236"/>
                </a:moveTo>
                <a:cubicBezTo>
                  <a:pt x="3978275" y="4089746"/>
                  <a:pt x="4005580" y="4134831"/>
                  <a:pt x="4034155" y="4117686"/>
                </a:cubicBezTo>
                <a:cubicBezTo>
                  <a:pt x="4062730" y="4100541"/>
                  <a:pt x="4036060" y="4056091"/>
                  <a:pt x="4007485" y="4073236"/>
                </a:cubicBezTo>
                <a:close/>
                <a:moveTo>
                  <a:pt x="3620135" y="4397086"/>
                </a:moveTo>
                <a:cubicBezTo>
                  <a:pt x="3665220" y="4395181"/>
                  <a:pt x="3641725" y="4324696"/>
                  <a:pt x="3604260" y="4350731"/>
                </a:cubicBezTo>
                <a:cubicBezTo>
                  <a:pt x="3584575" y="4364701"/>
                  <a:pt x="3596640" y="4397721"/>
                  <a:pt x="3620135" y="4397086"/>
                </a:cubicBezTo>
                <a:close/>
                <a:moveTo>
                  <a:pt x="3564255" y="4540596"/>
                </a:moveTo>
                <a:cubicBezTo>
                  <a:pt x="3604895" y="4539326"/>
                  <a:pt x="3584575" y="4475826"/>
                  <a:pt x="3550920" y="4498051"/>
                </a:cubicBezTo>
                <a:cubicBezTo>
                  <a:pt x="3531870" y="4510751"/>
                  <a:pt x="3542665" y="4541231"/>
                  <a:pt x="3564255" y="4540596"/>
                </a:cubicBezTo>
                <a:close/>
                <a:moveTo>
                  <a:pt x="3697605" y="4338031"/>
                </a:moveTo>
                <a:cubicBezTo>
                  <a:pt x="3742690" y="4336126"/>
                  <a:pt x="3719830" y="4266276"/>
                  <a:pt x="3682365" y="4291676"/>
                </a:cubicBezTo>
                <a:cubicBezTo>
                  <a:pt x="3662045" y="4305646"/>
                  <a:pt x="3674110" y="4339301"/>
                  <a:pt x="3697605" y="4338031"/>
                </a:cubicBezTo>
                <a:close/>
                <a:moveTo>
                  <a:pt x="3756025" y="4033866"/>
                </a:moveTo>
                <a:cubicBezTo>
                  <a:pt x="3788410" y="4010371"/>
                  <a:pt x="3750310" y="3960206"/>
                  <a:pt x="3719195" y="3984971"/>
                </a:cubicBezTo>
                <a:cubicBezTo>
                  <a:pt x="3686810" y="4008466"/>
                  <a:pt x="3724275" y="4058631"/>
                  <a:pt x="3756025" y="4033866"/>
                </a:cubicBezTo>
                <a:close/>
                <a:moveTo>
                  <a:pt x="3791585" y="4276436"/>
                </a:moveTo>
                <a:cubicBezTo>
                  <a:pt x="3818890" y="4257386"/>
                  <a:pt x="3788410" y="4214841"/>
                  <a:pt x="3761740" y="4234526"/>
                </a:cubicBezTo>
                <a:cubicBezTo>
                  <a:pt x="3733800" y="4253576"/>
                  <a:pt x="3764915" y="4296121"/>
                  <a:pt x="3791585" y="4276436"/>
                </a:cubicBezTo>
                <a:close/>
                <a:moveTo>
                  <a:pt x="3637280" y="4489796"/>
                </a:moveTo>
                <a:cubicBezTo>
                  <a:pt x="3677285" y="4488526"/>
                  <a:pt x="3657600" y="4425661"/>
                  <a:pt x="3623945" y="4447251"/>
                </a:cubicBezTo>
                <a:cubicBezTo>
                  <a:pt x="3604895" y="4459316"/>
                  <a:pt x="3615055" y="4490431"/>
                  <a:pt x="3637280" y="4489796"/>
                </a:cubicBezTo>
                <a:close/>
                <a:moveTo>
                  <a:pt x="3642360" y="4571076"/>
                </a:moveTo>
                <a:cubicBezTo>
                  <a:pt x="3677285" y="4570441"/>
                  <a:pt x="3662045" y="4514561"/>
                  <a:pt x="3631565" y="4532341"/>
                </a:cubicBezTo>
                <a:cubicBezTo>
                  <a:pt x="3613785" y="4543136"/>
                  <a:pt x="3622675" y="4572346"/>
                  <a:pt x="3642360" y="4571076"/>
                </a:cubicBezTo>
                <a:close/>
                <a:moveTo>
                  <a:pt x="3698240" y="4211031"/>
                </a:moveTo>
                <a:cubicBezTo>
                  <a:pt x="3747770" y="4209126"/>
                  <a:pt x="3721735" y="4131656"/>
                  <a:pt x="3681095" y="4160231"/>
                </a:cubicBezTo>
                <a:cubicBezTo>
                  <a:pt x="3659505" y="4176106"/>
                  <a:pt x="3672205" y="4212301"/>
                  <a:pt x="3698240" y="4211031"/>
                </a:cubicBezTo>
                <a:close/>
                <a:moveTo>
                  <a:pt x="3670935" y="4060536"/>
                </a:moveTo>
                <a:cubicBezTo>
                  <a:pt x="3646170" y="4029421"/>
                  <a:pt x="3597910" y="4068791"/>
                  <a:pt x="3623310" y="4099271"/>
                </a:cubicBezTo>
                <a:cubicBezTo>
                  <a:pt x="3648710" y="4131021"/>
                  <a:pt x="3696970" y="4091016"/>
                  <a:pt x="3670935" y="4060536"/>
                </a:cubicBezTo>
                <a:close/>
                <a:moveTo>
                  <a:pt x="3540125" y="4130386"/>
                </a:moveTo>
                <a:cubicBezTo>
                  <a:pt x="3540125" y="4130386"/>
                  <a:pt x="3540125" y="4130386"/>
                  <a:pt x="3540125" y="4130386"/>
                </a:cubicBezTo>
                <a:cubicBezTo>
                  <a:pt x="3509645" y="4155786"/>
                  <a:pt x="3550920" y="4203411"/>
                  <a:pt x="3580130" y="4176741"/>
                </a:cubicBezTo>
                <a:cubicBezTo>
                  <a:pt x="3610610" y="4151341"/>
                  <a:pt x="3569335" y="4104351"/>
                  <a:pt x="3540125" y="4130386"/>
                </a:cubicBezTo>
                <a:close/>
                <a:moveTo>
                  <a:pt x="3946525" y="3513166"/>
                </a:moveTo>
                <a:cubicBezTo>
                  <a:pt x="4003040" y="3513166"/>
                  <a:pt x="3990975" y="3423631"/>
                  <a:pt x="3936365" y="3438236"/>
                </a:cubicBezTo>
                <a:cubicBezTo>
                  <a:pt x="3894455" y="3449031"/>
                  <a:pt x="3903980" y="3514436"/>
                  <a:pt x="3946525" y="3513166"/>
                </a:cubicBezTo>
                <a:close/>
                <a:moveTo>
                  <a:pt x="3926205" y="3911946"/>
                </a:moveTo>
                <a:cubicBezTo>
                  <a:pt x="3977640" y="3910676"/>
                  <a:pt x="3955415" y="3829396"/>
                  <a:pt x="3910330" y="3854796"/>
                </a:cubicBezTo>
                <a:cubicBezTo>
                  <a:pt x="3883660" y="3869401"/>
                  <a:pt x="3896360" y="3912581"/>
                  <a:pt x="3926205" y="3911946"/>
                </a:cubicBezTo>
                <a:close/>
                <a:moveTo>
                  <a:pt x="3845560" y="4298026"/>
                </a:moveTo>
                <a:cubicBezTo>
                  <a:pt x="3819525" y="4313901"/>
                  <a:pt x="3845560" y="4353906"/>
                  <a:pt x="3870960" y="4337396"/>
                </a:cubicBezTo>
                <a:cubicBezTo>
                  <a:pt x="3896360" y="4321521"/>
                  <a:pt x="3870960" y="4281516"/>
                  <a:pt x="3845560" y="4298026"/>
                </a:cubicBezTo>
                <a:close/>
                <a:moveTo>
                  <a:pt x="3877945" y="4185631"/>
                </a:moveTo>
                <a:cubicBezTo>
                  <a:pt x="3859530" y="4157691"/>
                  <a:pt x="3816350" y="4186901"/>
                  <a:pt x="3835400" y="4214841"/>
                </a:cubicBezTo>
                <a:cubicBezTo>
                  <a:pt x="3853815" y="4242146"/>
                  <a:pt x="3896995" y="4212936"/>
                  <a:pt x="3877945" y="4185631"/>
                </a:cubicBezTo>
                <a:close/>
                <a:moveTo>
                  <a:pt x="4556125" y="3894166"/>
                </a:moveTo>
                <a:cubicBezTo>
                  <a:pt x="4593590" y="3894166"/>
                  <a:pt x="4586605" y="3835111"/>
                  <a:pt x="4550410" y="3843366"/>
                </a:cubicBezTo>
                <a:cubicBezTo>
                  <a:pt x="4521200" y="3849081"/>
                  <a:pt x="4526280" y="3894801"/>
                  <a:pt x="4556125" y="3894166"/>
                </a:cubicBezTo>
                <a:close/>
                <a:moveTo>
                  <a:pt x="3998595" y="3838921"/>
                </a:moveTo>
                <a:cubicBezTo>
                  <a:pt x="4017010" y="3874481"/>
                  <a:pt x="4071620" y="3845906"/>
                  <a:pt x="4053205" y="3810346"/>
                </a:cubicBezTo>
                <a:cubicBezTo>
                  <a:pt x="4034790" y="3775421"/>
                  <a:pt x="3979545" y="3803996"/>
                  <a:pt x="3998595" y="3838921"/>
                </a:cubicBezTo>
                <a:close/>
                <a:moveTo>
                  <a:pt x="3947795" y="3558251"/>
                </a:moveTo>
                <a:cubicBezTo>
                  <a:pt x="3903980" y="3574761"/>
                  <a:pt x="3931285" y="3642071"/>
                  <a:pt x="3973830" y="3624291"/>
                </a:cubicBezTo>
                <a:cubicBezTo>
                  <a:pt x="4017010" y="3608416"/>
                  <a:pt x="3990340" y="3540471"/>
                  <a:pt x="3947795" y="3558251"/>
                </a:cubicBezTo>
                <a:close/>
                <a:moveTo>
                  <a:pt x="3983990" y="3710651"/>
                </a:moveTo>
                <a:cubicBezTo>
                  <a:pt x="3964940" y="3671916"/>
                  <a:pt x="3904615" y="3702396"/>
                  <a:pt x="3924935" y="3740496"/>
                </a:cubicBezTo>
                <a:cubicBezTo>
                  <a:pt x="3943985" y="3779231"/>
                  <a:pt x="4004310" y="3748751"/>
                  <a:pt x="3983990" y="3710651"/>
                </a:cubicBezTo>
                <a:close/>
                <a:moveTo>
                  <a:pt x="3439160" y="4064346"/>
                </a:moveTo>
                <a:cubicBezTo>
                  <a:pt x="3407410" y="4093556"/>
                  <a:pt x="3453765" y="4142451"/>
                  <a:pt x="3484880" y="4112606"/>
                </a:cubicBezTo>
                <a:cubicBezTo>
                  <a:pt x="3516630" y="4083396"/>
                  <a:pt x="3470275" y="4034501"/>
                  <a:pt x="3439160" y="4064346"/>
                </a:cubicBezTo>
                <a:close/>
                <a:moveTo>
                  <a:pt x="3453765" y="4207221"/>
                </a:moveTo>
                <a:cubicBezTo>
                  <a:pt x="3423920" y="4233891"/>
                  <a:pt x="3466465" y="4279611"/>
                  <a:pt x="3495040" y="4252306"/>
                </a:cubicBezTo>
                <a:cubicBezTo>
                  <a:pt x="3524885" y="4226271"/>
                  <a:pt x="3482975" y="4179916"/>
                  <a:pt x="3453765" y="4207221"/>
                </a:cubicBezTo>
                <a:close/>
                <a:moveTo>
                  <a:pt x="3432175" y="4404071"/>
                </a:moveTo>
                <a:cubicBezTo>
                  <a:pt x="3455670" y="4432011"/>
                  <a:pt x="3498850" y="4393911"/>
                  <a:pt x="3474720" y="4366606"/>
                </a:cubicBezTo>
                <a:cubicBezTo>
                  <a:pt x="3451225" y="4338666"/>
                  <a:pt x="3407410" y="4376766"/>
                  <a:pt x="3432175" y="4404071"/>
                </a:cubicBezTo>
                <a:close/>
                <a:moveTo>
                  <a:pt x="3466465" y="4517101"/>
                </a:moveTo>
                <a:cubicBezTo>
                  <a:pt x="3512185" y="4515196"/>
                  <a:pt x="3487420" y="4444076"/>
                  <a:pt x="3450590" y="4471381"/>
                </a:cubicBezTo>
                <a:cubicBezTo>
                  <a:pt x="3431540" y="4485351"/>
                  <a:pt x="3443605" y="4517736"/>
                  <a:pt x="3466465" y="4517101"/>
                </a:cubicBezTo>
                <a:close/>
                <a:moveTo>
                  <a:pt x="3693160" y="4519006"/>
                </a:moveTo>
                <a:cubicBezTo>
                  <a:pt x="3707130" y="4542501"/>
                  <a:pt x="3743325" y="4520276"/>
                  <a:pt x="3728720" y="4497416"/>
                </a:cubicBezTo>
                <a:cubicBezTo>
                  <a:pt x="3715385" y="4473921"/>
                  <a:pt x="3679190" y="4496146"/>
                  <a:pt x="3693160" y="4519006"/>
                </a:cubicBezTo>
                <a:close/>
                <a:moveTo>
                  <a:pt x="3696970" y="4396451"/>
                </a:moveTo>
                <a:cubicBezTo>
                  <a:pt x="3677920" y="4408516"/>
                  <a:pt x="3688080" y="4439631"/>
                  <a:pt x="3710305" y="4438996"/>
                </a:cubicBezTo>
                <a:cubicBezTo>
                  <a:pt x="3750310" y="4437726"/>
                  <a:pt x="3731260" y="4374861"/>
                  <a:pt x="3696970" y="4396451"/>
                </a:cubicBezTo>
                <a:close/>
                <a:moveTo>
                  <a:pt x="3855085" y="3925281"/>
                </a:moveTo>
                <a:cubicBezTo>
                  <a:pt x="3832860" y="3892261"/>
                  <a:pt x="3781425" y="3927186"/>
                  <a:pt x="3804285" y="3960206"/>
                </a:cubicBezTo>
                <a:cubicBezTo>
                  <a:pt x="3827145" y="3993226"/>
                  <a:pt x="3878580" y="3958301"/>
                  <a:pt x="3855085" y="3925281"/>
                </a:cubicBezTo>
                <a:close/>
                <a:moveTo>
                  <a:pt x="3491865" y="4592031"/>
                </a:moveTo>
                <a:cubicBezTo>
                  <a:pt x="3532505" y="4590761"/>
                  <a:pt x="3512185" y="4527261"/>
                  <a:pt x="3478530" y="4550121"/>
                </a:cubicBezTo>
                <a:cubicBezTo>
                  <a:pt x="3478530" y="4550121"/>
                  <a:pt x="3478530" y="4550121"/>
                  <a:pt x="3478530" y="4550121"/>
                </a:cubicBezTo>
                <a:cubicBezTo>
                  <a:pt x="3459480" y="4562186"/>
                  <a:pt x="3470275" y="4593301"/>
                  <a:pt x="3491865" y="4592031"/>
                </a:cubicBezTo>
                <a:close/>
                <a:moveTo>
                  <a:pt x="4311650" y="3828126"/>
                </a:moveTo>
                <a:cubicBezTo>
                  <a:pt x="4322445" y="3863051"/>
                  <a:pt x="4377055" y="3845271"/>
                  <a:pt x="4364990" y="3810981"/>
                </a:cubicBezTo>
                <a:cubicBezTo>
                  <a:pt x="4354830" y="3775421"/>
                  <a:pt x="4300220" y="3793201"/>
                  <a:pt x="4311650" y="3828126"/>
                </a:cubicBezTo>
                <a:close/>
                <a:moveTo>
                  <a:pt x="6316980" y="4292311"/>
                </a:moveTo>
                <a:cubicBezTo>
                  <a:pt x="6306820" y="4313901"/>
                  <a:pt x="6340475" y="4329776"/>
                  <a:pt x="6350000" y="4307551"/>
                </a:cubicBezTo>
                <a:cubicBezTo>
                  <a:pt x="6360795" y="4286596"/>
                  <a:pt x="6326505" y="4270721"/>
                  <a:pt x="6316980" y="4292311"/>
                </a:cubicBezTo>
                <a:close/>
                <a:moveTo>
                  <a:pt x="6483985" y="4615526"/>
                </a:moveTo>
                <a:cubicBezTo>
                  <a:pt x="6457950" y="4594571"/>
                  <a:pt x="6425565" y="4635846"/>
                  <a:pt x="6452235" y="4656166"/>
                </a:cubicBezTo>
                <a:cubicBezTo>
                  <a:pt x="6478270" y="4677121"/>
                  <a:pt x="6510656" y="4635846"/>
                  <a:pt x="6483985" y="4615526"/>
                </a:cubicBezTo>
                <a:close/>
                <a:moveTo>
                  <a:pt x="6455410" y="5109556"/>
                </a:moveTo>
                <a:cubicBezTo>
                  <a:pt x="6517640" y="5105111"/>
                  <a:pt x="6479540" y="5011766"/>
                  <a:pt x="6431915" y="5053041"/>
                </a:cubicBezTo>
                <a:cubicBezTo>
                  <a:pt x="6410960" y="5072726"/>
                  <a:pt x="6427470" y="5110826"/>
                  <a:pt x="6455410" y="5109556"/>
                </a:cubicBezTo>
                <a:close/>
                <a:moveTo>
                  <a:pt x="6485255" y="4420581"/>
                </a:moveTo>
                <a:cubicBezTo>
                  <a:pt x="6462395" y="4405976"/>
                  <a:pt x="6440170" y="4441536"/>
                  <a:pt x="6463030" y="4455506"/>
                </a:cubicBezTo>
                <a:cubicBezTo>
                  <a:pt x="6485255" y="4470111"/>
                  <a:pt x="6508115" y="4434551"/>
                  <a:pt x="6485255" y="4420581"/>
                </a:cubicBezTo>
                <a:close/>
                <a:moveTo>
                  <a:pt x="6447155" y="4539326"/>
                </a:moveTo>
                <a:cubicBezTo>
                  <a:pt x="6471285" y="4557106"/>
                  <a:pt x="6499225" y="4519006"/>
                  <a:pt x="6474460" y="4501226"/>
                </a:cubicBezTo>
                <a:cubicBezTo>
                  <a:pt x="6450330" y="4484081"/>
                  <a:pt x="6422390" y="4522181"/>
                  <a:pt x="6447155" y="4539326"/>
                </a:cubicBezTo>
                <a:close/>
                <a:moveTo>
                  <a:pt x="6443345" y="4923501"/>
                </a:moveTo>
                <a:cubicBezTo>
                  <a:pt x="6470015" y="4924771"/>
                  <a:pt x="6484620" y="4887941"/>
                  <a:pt x="6464300" y="4870161"/>
                </a:cubicBezTo>
                <a:cubicBezTo>
                  <a:pt x="6419850" y="4834601"/>
                  <a:pt x="6386830" y="4919691"/>
                  <a:pt x="6443345" y="4923501"/>
                </a:cubicBezTo>
                <a:close/>
                <a:moveTo>
                  <a:pt x="6352540" y="4665691"/>
                </a:moveTo>
                <a:cubicBezTo>
                  <a:pt x="6328410" y="4692996"/>
                  <a:pt x="6371590" y="4730461"/>
                  <a:pt x="6395085" y="4702521"/>
                </a:cubicBezTo>
                <a:cubicBezTo>
                  <a:pt x="6419850" y="4675216"/>
                  <a:pt x="6376035" y="4637751"/>
                  <a:pt x="6352540" y="4665691"/>
                </a:cubicBezTo>
                <a:close/>
                <a:moveTo>
                  <a:pt x="6407785" y="4555201"/>
                </a:moveTo>
                <a:cubicBezTo>
                  <a:pt x="6381750" y="4534246"/>
                  <a:pt x="6349365" y="4574886"/>
                  <a:pt x="6375400" y="4595206"/>
                </a:cubicBezTo>
                <a:cubicBezTo>
                  <a:pt x="6401435" y="4616796"/>
                  <a:pt x="6434455" y="4576156"/>
                  <a:pt x="6407785" y="4555201"/>
                </a:cubicBezTo>
                <a:close/>
                <a:moveTo>
                  <a:pt x="6375400" y="4487256"/>
                </a:moveTo>
                <a:cubicBezTo>
                  <a:pt x="6399530" y="4505671"/>
                  <a:pt x="6427470" y="4466936"/>
                  <a:pt x="6402705" y="4449791"/>
                </a:cubicBezTo>
                <a:cubicBezTo>
                  <a:pt x="6402705" y="4449791"/>
                  <a:pt x="6402705" y="4449791"/>
                  <a:pt x="6402705" y="4449791"/>
                </a:cubicBezTo>
                <a:cubicBezTo>
                  <a:pt x="6378575" y="4431376"/>
                  <a:pt x="6350635" y="4469476"/>
                  <a:pt x="6375400" y="4487256"/>
                </a:cubicBezTo>
                <a:close/>
                <a:moveTo>
                  <a:pt x="6376670" y="4303106"/>
                </a:moveTo>
                <a:cubicBezTo>
                  <a:pt x="6395720" y="4310726"/>
                  <a:pt x="6407150" y="4280246"/>
                  <a:pt x="6387465" y="4273261"/>
                </a:cubicBezTo>
                <a:cubicBezTo>
                  <a:pt x="6368415" y="4266276"/>
                  <a:pt x="6356985" y="4296756"/>
                  <a:pt x="6376670" y="4303106"/>
                </a:cubicBezTo>
                <a:close/>
                <a:moveTo>
                  <a:pt x="6381115" y="4792056"/>
                </a:moveTo>
                <a:cubicBezTo>
                  <a:pt x="6352540" y="4764116"/>
                  <a:pt x="6309360" y="4809836"/>
                  <a:pt x="6339205" y="4836506"/>
                </a:cubicBezTo>
                <a:cubicBezTo>
                  <a:pt x="6367145" y="4864446"/>
                  <a:pt x="6410325" y="4819361"/>
                  <a:pt x="6381115" y="4792056"/>
                </a:cubicBezTo>
                <a:close/>
                <a:moveTo>
                  <a:pt x="6347460" y="4336126"/>
                </a:moveTo>
                <a:cubicBezTo>
                  <a:pt x="6324600" y="4322156"/>
                  <a:pt x="6303010" y="4358351"/>
                  <a:pt x="6326505" y="4372321"/>
                </a:cubicBezTo>
                <a:cubicBezTo>
                  <a:pt x="6349365" y="4385656"/>
                  <a:pt x="6370955" y="4349461"/>
                  <a:pt x="6347460" y="4336126"/>
                </a:cubicBezTo>
                <a:close/>
                <a:moveTo>
                  <a:pt x="6381750" y="4322791"/>
                </a:moveTo>
                <a:cubicBezTo>
                  <a:pt x="6377305" y="4331681"/>
                  <a:pt x="6381115" y="4343111"/>
                  <a:pt x="6390005" y="4347556"/>
                </a:cubicBezTo>
                <a:lnTo>
                  <a:pt x="6390005" y="4347556"/>
                </a:lnTo>
                <a:cubicBezTo>
                  <a:pt x="6436995" y="4359621"/>
                  <a:pt x="6411595" y="4284691"/>
                  <a:pt x="6381750" y="4322791"/>
                </a:cubicBezTo>
                <a:close/>
                <a:moveTo>
                  <a:pt x="6446520" y="4354541"/>
                </a:moveTo>
                <a:cubicBezTo>
                  <a:pt x="6435725" y="4375496"/>
                  <a:pt x="6468745" y="4392641"/>
                  <a:pt x="6479540" y="4371051"/>
                </a:cubicBezTo>
                <a:cubicBezTo>
                  <a:pt x="6490335" y="4350096"/>
                  <a:pt x="6457315" y="4333586"/>
                  <a:pt x="6446520" y="4354541"/>
                </a:cubicBezTo>
                <a:close/>
                <a:moveTo>
                  <a:pt x="6435725" y="4325966"/>
                </a:moveTo>
                <a:cubicBezTo>
                  <a:pt x="6454775" y="4333586"/>
                  <a:pt x="6466840" y="4303741"/>
                  <a:pt x="6447155" y="4296121"/>
                </a:cubicBezTo>
                <a:cubicBezTo>
                  <a:pt x="6428105" y="4288501"/>
                  <a:pt x="6416675" y="4318346"/>
                  <a:pt x="6435725" y="4325966"/>
                </a:cubicBezTo>
                <a:close/>
                <a:moveTo>
                  <a:pt x="6388100" y="4384386"/>
                </a:moveTo>
                <a:cubicBezTo>
                  <a:pt x="6373495" y="4407246"/>
                  <a:pt x="6409690" y="4429471"/>
                  <a:pt x="6423660" y="4405976"/>
                </a:cubicBezTo>
                <a:cubicBezTo>
                  <a:pt x="6438265" y="4383116"/>
                  <a:pt x="6402070" y="4361526"/>
                  <a:pt x="6388100" y="4384386"/>
                </a:cubicBezTo>
                <a:close/>
                <a:moveTo>
                  <a:pt x="6432550" y="4734906"/>
                </a:moveTo>
                <a:cubicBezTo>
                  <a:pt x="6397625" y="4800311"/>
                  <a:pt x="6517640" y="4790151"/>
                  <a:pt x="6472555" y="4731731"/>
                </a:cubicBezTo>
                <a:cubicBezTo>
                  <a:pt x="6472555" y="4731731"/>
                  <a:pt x="6472555" y="4731731"/>
                  <a:pt x="6472555" y="4731731"/>
                </a:cubicBezTo>
                <a:cubicBezTo>
                  <a:pt x="6460490" y="4721571"/>
                  <a:pt x="6442710" y="4722841"/>
                  <a:pt x="6432550" y="4734906"/>
                </a:cubicBezTo>
                <a:close/>
                <a:moveTo>
                  <a:pt x="4514215" y="3605241"/>
                </a:moveTo>
                <a:cubicBezTo>
                  <a:pt x="4509770" y="3659851"/>
                  <a:pt x="4598035" y="3646516"/>
                  <a:pt x="4577715" y="3595716"/>
                </a:cubicBezTo>
                <a:cubicBezTo>
                  <a:pt x="4591685" y="3609686"/>
                  <a:pt x="4616450" y="3609051"/>
                  <a:pt x="4629150" y="3593811"/>
                </a:cubicBezTo>
                <a:cubicBezTo>
                  <a:pt x="4702175" y="3576666"/>
                  <a:pt x="4634865" y="3475701"/>
                  <a:pt x="4591050" y="3536661"/>
                </a:cubicBezTo>
                <a:cubicBezTo>
                  <a:pt x="4572000" y="3542376"/>
                  <a:pt x="4561205" y="3567141"/>
                  <a:pt x="4570095" y="3584921"/>
                </a:cubicBezTo>
                <a:cubicBezTo>
                  <a:pt x="4551680" y="3565871"/>
                  <a:pt x="4516120" y="3578571"/>
                  <a:pt x="4514215" y="3605241"/>
                </a:cubicBezTo>
                <a:close/>
                <a:moveTo>
                  <a:pt x="6553200" y="4463761"/>
                </a:moveTo>
                <a:cubicBezTo>
                  <a:pt x="6530975" y="4448521"/>
                  <a:pt x="6507481" y="4484081"/>
                  <a:pt x="6530340" y="4498686"/>
                </a:cubicBezTo>
                <a:cubicBezTo>
                  <a:pt x="6552565" y="4513926"/>
                  <a:pt x="6576060" y="4478366"/>
                  <a:pt x="6553200" y="4463761"/>
                </a:cubicBezTo>
                <a:close/>
                <a:moveTo>
                  <a:pt x="6644006" y="4481541"/>
                </a:moveTo>
                <a:cubicBezTo>
                  <a:pt x="6664325" y="4493606"/>
                  <a:pt x="6682740" y="4461221"/>
                  <a:pt x="6661785" y="4449791"/>
                </a:cubicBezTo>
                <a:cubicBezTo>
                  <a:pt x="6641465" y="4437726"/>
                  <a:pt x="6623050" y="4470111"/>
                  <a:pt x="6644006" y="4481541"/>
                </a:cubicBezTo>
                <a:close/>
                <a:moveTo>
                  <a:pt x="6514465" y="4559011"/>
                </a:moveTo>
                <a:cubicBezTo>
                  <a:pt x="6496685" y="4583776"/>
                  <a:pt x="6535420" y="4611081"/>
                  <a:pt x="6552565" y="4585681"/>
                </a:cubicBezTo>
                <a:cubicBezTo>
                  <a:pt x="6570345" y="4560916"/>
                  <a:pt x="6531610" y="4533611"/>
                  <a:pt x="6514465" y="4559011"/>
                </a:cubicBezTo>
                <a:close/>
                <a:moveTo>
                  <a:pt x="6610985" y="4398356"/>
                </a:moveTo>
                <a:cubicBezTo>
                  <a:pt x="6629400" y="4407246"/>
                  <a:pt x="6642735" y="4377401"/>
                  <a:pt x="6623685" y="4369146"/>
                </a:cubicBezTo>
                <a:cubicBezTo>
                  <a:pt x="6605270" y="4360891"/>
                  <a:pt x="6591935" y="4390101"/>
                  <a:pt x="6610985" y="4398356"/>
                </a:cubicBezTo>
                <a:close/>
                <a:moveTo>
                  <a:pt x="6706870" y="4516466"/>
                </a:moveTo>
                <a:cubicBezTo>
                  <a:pt x="6727825" y="4527896"/>
                  <a:pt x="6745606" y="4494876"/>
                  <a:pt x="6724015" y="4484081"/>
                </a:cubicBezTo>
                <a:cubicBezTo>
                  <a:pt x="6703695" y="4472651"/>
                  <a:pt x="6685915" y="4505671"/>
                  <a:pt x="6706870" y="4516466"/>
                </a:cubicBezTo>
                <a:close/>
                <a:moveTo>
                  <a:pt x="6369050" y="5022561"/>
                </a:moveTo>
                <a:cubicBezTo>
                  <a:pt x="6431280" y="5018116"/>
                  <a:pt x="6393815" y="4925406"/>
                  <a:pt x="6345555" y="4965411"/>
                </a:cubicBezTo>
                <a:cubicBezTo>
                  <a:pt x="6324600" y="4985096"/>
                  <a:pt x="6340475" y="5023196"/>
                  <a:pt x="6369050" y="5022561"/>
                </a:cubicBezTo>
                <a:close/>
                <a:moveTo>
                  <a:pt x="6660515" y="4555836"/>
                </a:moveTo>
                <a:cubicBezTo>
                  <a:pt x="6646545" y="4578696"/>
                  <a:pt x="6682740" y="4600921"/>
                  <a:pt x="6696075" y="4577426"/>
                </a:cubicBezTo>
                <a:cubicBezTo>
                  <a:pt x="6710045" y="4554566"/>
                  <a:pt x="6673850" y="4532341"/>
                  <a:pt x="6660515" y="4555836"/>
                </a:cubicBezTo>
                <a:close/>
                <a:moveTo>
                  <a:pt x="6668770" y="4424391"/>
                </a:moveTo>
                <a:cubicBezTo>
                  <a:pt x="6687185" y="4433281"/>
                  <a:pt x="6701156" y="4404071"/>
                  <a:pt x="6682106" y="4395181"/>
                </a:cubicBezTo>
                <a:cubicBezTo>
                  <a:pt x="6663056" y="4386291"/>
                  <a:pt x="6649720" y="4415501"/>
                  <a:pt x="6668770" y="4424391"/>
                </a:cubicBezTo>
                <a:close/>
                <a:moveTo>
                  <a:pt x="6553200" y="4372956"/>
                </a:moveTo>
                <a:cubicBezTo>
                  <a:pt x="6572250" y="4381211"/>
                  <a:pt x="6584950" y="4351366"/>
                  <a:pt x="6565265" y="4343746"/>
                </a:cubicBezTo>
                <a:cubicBezTo>
                  <a:pt x="6546215" y="4335491"/>
                  <a:pt x="6533515" y="4365336"/>
                  <a:pt x="6553200" y="4372956"/>
                </a:cubicBezTo>
                <a:close/>
                <a:moveTo>
                  <a:pt x="6510656" y="4387561"/>
                </a:moveTo>
                <a:cubicBezTo>
                  <a:pt x="6499225" y="4408516"/>
                  <a:pt x="6532245" y="4426296"/>
                  <a:pt x="6543040" y="4404706"/>
                </a:cubicBezTo>
                <a:cubicBezTo>
                  <a:pt x="6554470" y="4383751"/>
                  <a:pt x="6521450" y="4366606"/>
                  <a:pt x="6510656" y="4387561"/>
                </a:cubicBezTo>
                <a:close/>
                <a:moveTo>
                  <a:pt x="6494780" y="4348826"/>
                </a:moveTo>
                <a:cubicBezTo>
                  <a:pt x="6513831" y="4357081"/>
                  <a:pt x="6525895" y="4326601"/>
                  <a:pt x="6506845" y="4319616"/>
                </a:cubicBezTo>
                <a:cubicBezTo>
                  <a:pt x="6487160" y="4311361"/>
                  <a:pt x="6475095" y="4341841"/>
                  <a:pt x="6494780" y="4348826"/>
                </a:cubicBezTo>
                <a:close/>
                <a:moveTo>
                  <a:pt x="6525260" y="4679661"/>
                </a:moveTo>
                <a:cubicBezTo>
                  <a:pt x="6504940" y="4705696"/>
                  <a:pt x="6546850" y="4737446"/>
                  <a:pt x="6566535" y="4710776"/>
                </a:cubicBezTo>
                <a:cubicBezTo>
                  <a:pt x="6586856" y="4684106"/>
                  <a:pt x="6544945" y="4652356"/>
                  <a:pt x="6525260" y="4679661"/>
                </a:cubicBezTo>
                <a:close/>
                <a:moveTo>
                  <a:pt x="6543675" y="5195281"/>
                </a:moveTo>
                <a:cubicBezTo>
                  <a:pt x="6572250" y="5196551"/>
                  <a:pt x="6588125" y="5157816"/>
                  <a:pt x="6566535" y="5138131"/>
                </a:cubicBezTo>
                <a:cubicBezTo>
                  <a:pt x="6518910" y="5098761"/>
                  <a:pt x="6482080" y="5190836"/>
                  <a:pt x="6543675" y="5195281"/>
                </a:cubicBezTo>
                <a:close/>
                <a:moveTo>
                  <a:pt x="6517640" y="4842856"/>
                </a:moveTo>
                <a:cubicBezTo>
                  <a:pt x="6545581" y="4866351"/>
                  <a:pt x="6582410" y="4821901"/>
                  <a:pt x="6553200" y="4799041"/>
                </a:cubicBezTo>
                <a:cubicBezTo>
                  <a:pt x="6525260" y="4775546"/>
                  <a:pt x="6489065" y="4819996"/>
                  <a:pt x="6517640" y="4842856"/>
                </a:cubicBezTo>
                <a:close/>
                <a:moveTo>
                  <a:pt x="6507481" y="4992081"/>
                </a:moveTo>
                <a:cubicBezTo>
                  <a:pt x="6536690" y="5019386"/>
                  <a:pt x="6578600" y="4972396"/>
                  <a:pt x="6548120" y="4946361"/>
                </a:cubicBezTo>
                <a:cubicBezTo>
                  <a:pt x="6518910" y="4919691"/>
                  <a:pt x="6477635" y="4966046"/>
                  <a:pt x="6507481" y="4992081"/>
                </a:cubicBezTo>
                <a:close/>
                <a:moveTo>
                  <a:pt x="6581140" y="4446616"/>
                </a:moveTo>
                <a:cubicBezTo>
                  <a:pt x="6601460" y="4458681"/>
                  <a:pt x="6619875" y="4425661"/>
                  <a:pt x="6598920" y="4414231"/>
                </a:cubicBezTo>
                <a:cubicBezTo>
                  <a:pt x="6577965" y="4402801"/>
                  <a:pt x="6560185" y="4435186"/>
                  <a:pt x="6581140" y="4446616"/>
                </a:cubicBezTo>
                <a:close/>
                <a:moveTo>
                  <a:pt x="6277610" y="4295486"/>
                </a:moveTo>
                <a:cubicBezTo>
                  <a:pt x="6254115" y="4282151"/>
                  <a:pt x="6233160" y="4318981"/>
                  <a:pt x="6257290" y="4331681"/>
                </a:cubicBezTo>
                <a:lnTo>
                  <a:pt x="6257290" y="4331681"/>
                </a:lnTo>
                <a:cubicBezTo>
                  <a:pt x="6280150" y="4345651"/>
                  <a:pt x="6301105" y="4308821"/>
                  <a:pt x="6277610" y="4295486"/>
                </a:cubicBezTo>
                <a:close/>
                <a:moveTo>
                  <a:pt x="6313170" y="4593301"/>
                </a:moveTo>
                <a:cubicBezTo>
                  <a:pt x="6285865" y="4568536"/>
                  <a:pt x="6247765" y="4611716"/>
                  <a:pt x="6275705" y="4635846"/>
                </a:cubicBezTo>
                <a:cubicBezTo>
                  <a:pt x="6302375" y="4659976"/>
                  <a:pt x="6341110" y="4617431"/>
                  <a:pt x="6313170" y="4593301"/>
                </a:cubicBezTo>
                <a:close/>
                <a:moveTo>
                  <a:pt x="6283960" y="4934296"/>
                </a:moveTo>
                <a:cubicBezTo>
                  <a:pt x="6345555" y="4929851"/>
                  <a:pt x="6308725" y="4837776"/>
                  <a:pt x="6261100" y="4877146"/>
                </a:cubicBezTo>
                <a:cubicBezTo>
                  <a:pt x="6238875" y="4896831"/>
                  <a:pt x="6254750" y="4934931"/>
                  <a:pt x="6283960" y="4934296"/>
                </a:cubicBezTo>
                <a:close/>
                <a:moveTo>
                  <a:pt x="6276340" y="4254211"/>
                </a:moveTo>
                <a:cubicBezTo>
                  <a:pt x="6287770" y="4216746"/>
                  <a:pt x="6224905" y="4232621"/>
                  <a:pt x="6252845" y="4259926"/>
                </a:cubicBezTo>
                <a:cubicBezTo>
                  <a:pt x="6234430" y="4306916"/>
                  <a:pt x="6315075" y="4286596"/>
                  <a:pt x="6276340" y="4254211"/>
                </a:cubicBezTo>
                <a:close/>
                <a:moveTo>
                  <a:pt x="6299200" y="4756496"/>
                </a:moveTo>
                <a:cubicBezTo>
                  <a:pt x="6327140" y="4728556"/>
                  <a:pt x="6282055" y="4684741"/>
                  <a:pt x="6254750" y="4713951"/>
                </a:cubicBezTo>
                <a:cubicBezTo>
                  <a:pt x="6227445" y="4742526"/>
                  <a:pt x="6271895" y="4785706"/>
                  <a:pt x="6299200" y="4756496"/>
                </a:cubicBezTo>
                <a:close/>
                <a:moveTo>
                  <a:pt x="6316980" y="4282151"/>
                </a:moveTo>
                <a:cubicBezTo>
                  <a:pt x="6336030" y="4289136"/>
                  <a:pt x="6346825" y="4258656"/>
                  <a:pt x="6327140" y="4252306"/>
                </a:cubicBezTo>
                <a:cubicBezTo>
                  <a:pt x="6308090" y="4245321"/>
                  <a:pt x="6297295" y="4275801"/>
                  <a:pt x="6316980" y="4282151"/>
                </a:cubicBezTo>
                <a:close/>
                <a:moveTo>
                  <a:pt x="6230620" y="4385021"/>
                </a:moveTo>
                <a:cubicBezTo>
                  <a:pt x="6255385" y="4402166"/>
                  <a:pt x="6282055" y="4363431"/>
                  <a:pt x="6256655" y="4346286"/>
                </a:cubicBezTo>
                <a:cubicBezTo>
                  <a:pt x="6256655" y="4346286"/>
                  <a:pt x="6256655" y="4346286"/>
                  <a:pt x="6256655" y="4346286"/>
                </a:cubicBezTo>
                <a:cubicBezTo>
                  <a:pt x="6232525" y="4329141"/>
                  <a:pt x="6205220" y="4368511"/>
                  <a:pt x="6230620" y="4385021"/>
                </a:cubicBezTo>
                <a:close/>
                <a:moveTo>
                  <a:pt x="6256655" y="4432646"/>
                </a:moveTo>
                <a:cubicBezTo>
                  <a:pt x="6230620" y="4411056"/>
                  <a:pt x="6198235" y="4452331"/>
                  <a:pt x="6224270" y="4472651"/>
                </a:cubicBezTo>
                <a:cubicBezTo>
                  <a:pt x="6250305" y="4494241"/>
                  <a:pt x="6283325" y="4453601"/>
                  <a:pt x="6256655" y="4432646"/>
                </a:cubicBezTo>
                <a:close/>
                <a:moveTo>
                  <a:pt x="5257800" y="3941791"/>
                </a:moveTo>
                <a:cubicBezTo>
                  <a:pt x="5195570" y="3974176"/>
                  <a:pt x="5280025" y="4049741"/>
                  <a:pt x="5305425" y="3984971"/>
                </a:cubicBezTo>
                <a:cubicBezTo>
                  <a:pt x="5321935" y="3994496"/>
                  <a:pt x="5345430" y="3986876"/>
                  <a:pt x="5352415" y="3968461"/>
                </a:cubicBezTo>
                <a:cubicBezTo>
                  <a:pt x="5353685" y="3969731"/>
                  <a:pt x="5355590" y="3970366"/>
                  <a:pt x="5357495" y="3971001"/>
                </a:cubicBezTo>
                <a:cubicBezTo>
                  <a:pt x="5335905" y="3977986"/>
                  <a:pt x="5341620" y="4012276"/>
                  <a:pt x="5364480" y="4011006"/>
                </a:cubicBezTo>
                <a:cubicBezTo>
                  <a:pt x="5386705" y="4011641"/>
                  <a:pt x="5393055" y="3978621"/>
                  <a:pt x="5372100" y="3971001"/>
                </a:cubicBezTo>
                <a:cubicBezTo>
                  <a:pt x="5384800" y="3967191"/>
                  <a:pt x="5392420" y="3950681"/>
                  <a:pt x="5386070" y="3938616"/>
                </a:cubicBezTo>
                <a:cubicBezTo>
                  <a:pt x="5403850" y="3914486"/>
                  <a:pt x="5372100" y="3882101"/>
                  <a:pt x="5347335" y="3899246"/>
                </a:cubicBezTo>
                <a:cubicBezTo>
                  <a:pt x="5330190" y="3875751"/>
                  <a:pt x="5297805" y="3886546"/>
                  <a:pt x="5294630" y="3914486"/>
                </a:cubicBezTo>
                <a:cubicBezTo>
                  <a:pt x="5291455" y="3911311"/>
                  <a:pt x="5287010" y="3908771"/>
                  <a:pt x="5282565" y="3908136"/>
                </a:cubicBezTo>
                <a:cubicBezTo>
                  <a:pt x="5264150" y="3904326"/>
                  <a:pt x="5248275" y="3925281"/>
                  <a:pt x="5257800" y="3941791"/>
                </a:cubicBezTo>
                <a:close/>
                <a:moveTo>
                  <a:pt x="6186805" y="4293581"/>
                </a:moveTo>
                <a:cubicBezTo>
                  <a:pt x="6208395" y="4306281"/>
                  <a:pt x="6229350" y="4273261"/>
                  <a:pt x="6209030" y="4258656"/>
                </a:cubicBezTo>
                <a:cubicBezTo>
                  <a:pt x="6219190" y="4254846"/>
                  <a:pt x="6223635" y="4240241"/>
                  <a:pt x="6216650" y="4231351"/>
                </a:cubicBezTo>
                <a:cubicBezTo>
                  <a:pt x="6221730" y="4205316"/>
                  <a:pt x="6179185" y="4207221"/>
                  <a:pt x="6186170" y="4232621"/>
                </a:cubicBezTo>
                <a:cubicBezTo>
                  <a:pt x="6181090" y="4240241"/>
                  <a:pt x="6183630" y="4250401"/>
                  <a:pt x="6189980" y="4256116"/>
                </a:cubicBezTo>
                <a:cubicBezTo>
                  <a:pt x="6173470" y="4260561"/>
                  <a:pt x="6170930" y="4285961"/>
                  <a:pt x="6186805" y="4293581"/>
                </a:cubicBezTo>
                <a:close/>
                <a:moveTo>
                  <a:pt x="6199505" y="4845396"/>
                </a:moveTo>
                <a:cubicBezTo>
                  <a:pt x="6261100" y="4840951"/>
                  <a:pt x="6224905" y="4748876"/>
                  <a:pt x="6176645" y="4788246"/>
                </a:cubicBezTo>
                <a:cubicBezTo>
                  <a:pt x="6154420" y="4807296"/>
                  <a:pt x="6170295" y="4846031"/>
                  <a:pt x="6199505" y="4845396"/>
                </a:cubicBezTo>
                <a:close/>
                <a:moveTo>
                  <a:pt x="5614035" y="4066251"/>
                </a:moveTo>
                <a:cubicBezTo>
                  <a:pt x="5610225" y="4071966"/>
                  <a:pt x="5608955" y="4078951"/>
                  <a:pt x="5609590" y="4085301"/>
                </a:cubicBezTo>
                <a:cubicBezTo>
                  <a:pt x="5598160" y="4084031"/>
                  <a:pt x="5585460" y="4089746"/>
                  <a:pt x="5579745" y="4100541"/>
                </a:cubicBezTo>
                <a:cubicBezTo>
                  <a:pt x="5556885" y="4098001"/>
                  <a:pt x="5557520" y="4135466"/>
                  <a:pt x="5580380" y="4131656"/>
                </a:cubicBezTo>
                <a:cubicBezTo>
                  <a:pt x="5591175" y="4150071"/>
                  <a:pt x="5620385" y="4150706"/>
                  <a:pt x="5631815" y="4132291"/>
                </a:cubicBezTo>
                <a:cubicBezTo>
                  <a:pt x="5648325" y="4145626"/>
                  <a:pt x="5668645" y="4118321"/>
                  <a:pt x="5650865" y="4106891"/>
                </a:cubicBezTo>
                <a:cubicBezTo>
                  <a:pt x="5657215" y="4103716"/>
                  <a:pt x="5662930" y="4097366"/>
                  <a:pt x="5664835" y="4090381"/>
                </a:cubicBezTo>
                <a:cubicBezTo>
                  <a:pt x="5675630" y="4098001"/>
                  <a:pt x="5690870" y="4095461"/>
                  <a:pt x="5699125" y="4085301"/>
                </a:cubicBezTo>
                <a:cubicBezTo>
                  <a:pt x="5701030" y="4085936"/>
                  <a:pt x="5702935" y="4085936"/>
                  <a:pt x="5705475" y="4085301"/>
                </a:cubicBezTo>
                <a:cubicBezTo>
                  <a:pt x="5698490" y="4108161"/>
                  <a:pt x="5734685" y="4118321"/>
                  <a:pt x="5740400" y="4095461"/>
                </a:cubicBezTo>
                <a:cubicBezTo>
                  <a:pt x="5741670" y="4096731"/>
                  <a:pt x="5743575" y="4098636"/>
                  <a:pt x="5745480" y="4099271"/>
                </a:cubicBezTo>
                <a:cubicBezTo>
                  <a:pt x="5741035" y="4103716"/>
                  <a:pt x="5738495" y="4110066"/>
                  <a:pt x="5738495" y="4115781"/>
                </a:cubicBezTo>
                <a:cubicBezTo>
                  <a:pt x="5731510" y="4112606"/>
                  <a:pt x="5723890" y="4111971"/>
                  <a:pt x="5716905" y="4114511"/>
                </a:cubicBezTo>
                <a:cubicBezTo>
                  <a:pt x="5700395" y="4097366"/>
                  <a:pt x="5676900" y="4127846"/>
                  <a:pt x="5697855" y="4139276"/>
                </a:cubicBezTo>
                <a:cubicBezTo>
                  <a:pt x="5697220" y="4145626"/>
                  <a:pt x="5699125" y="4151976"/>
                  <a:pt x="5702935" y="4157056"/>
                </a:cubicBezTo>
                <a:cubicBezTo>
                  <a:pt x="5673090" y="4149436"/>
                  <a:pt x="5652135" y="4191346"/>
                  <a:pt x="5676900" y="4210396"/>
                </a:cubicBezTo>
                <a:cubicBezTo>
                  <a:pt x="5703570" y="4233891"/>
                  <a:pt x="5742940" y="4196426"/>
                  <a:pt x="5721350" y="4169121"/>
                </a:cubicBezTo>
                <a:cubicBezTo>
                  <a:pt x="5737860" y="4172931"/>
                  <a:pt x="5755005" y="4158326"/>
                  <a:pt x="5754370" y="4141181"/>
                </a:cubicBezTo>
                <a:cubicBezTo>
                  <a:pt x="5755005" y="4141181"/>
                  <a:pt x="5755640" y="4141816"/>
                  <a:pt x="5755640" y="4141816"/>
                </a:cubicBezTo>
                <a:cubicBezTo>
                  <a:pt x="5763260" y="4154516"/>
                  <a:pt x="5785485" y="4148801"/>
                  <a:pt x="5784850" y="4132926"/>
                </a:cubicBezTo>
                <a:cubicBezTo>
                  <a:pt x="5786755" y="4130386"/>
                  <a:pt x="5788660" y="4127211"/>
                  <a:pt x="5789295" y="4123401"/>
                </a:cubicBezTo>
                <a:cubicBezTo>
                  <a:pt x="5798820" y="4125941"/>
                  <a:pt x="5809615" y="4119591"/>
                  <a:pt x="5811520" y="4109431"/>
                </a:cubicBezTo>
                <a:cubicBezTo>
                  <a:pt x="5812155" y="4117051"/>
                  <a:pt x="5817235" y="4124036"/>
                  <a:pt x="5824855" y="4127211"/>
                </a:cubicBezTo>
                <a:cubicBezTo>
                  <a:pt x="5813425" y="4132291"/>
                  <a:pt x="5813425" y="4150706"/>
                  <a:pt x="5824855" y="4155786"/>
                </a:cubicBezTo>
                <a:cubicBezTo>
                  <a:pt x="5821045" y="4162771"/>
                  <a:pt x="5821045" y="4170391"/>
                  <a:pt x="5823585" y="4177376"/>
                </a:cubicBezTo>
                <a:cubicBezTo>
                  <a:pt x="5794375" y="4162771"/>
                  <a:pt x="5767705" y="4206586"/>
                  <a:pt x="5795010" y="4225636"/>
                </a:cubicBezTo>
                <a:cubicBezTo>
                  <a:pt x="5817235" y="4243416"/>
                  <a:pt x="5850255" y="4216746"/>
                  <a:pt x="5837555" y="4191346"/>
                </a:cubicBezTo>
                <a:cubicBezTo>
                  <a:pt x="5856605" y="4200871"/>
                  <a:pt x="5879465" y="4179281"/>
                  <a:pt x="5871845" y="4159596"/>
                </a:cubicBezTo>
                <a:cubicBezTo>
                  <a:pt x="5874385" y="4158961"/>
                  <a:pt x="5876925" y="4157056"/>
                  <a:pt x="5878830" y="4155151"/>
                </a:cubicBezTo>
                <a:cubicBezTo>
                  <a:pt x="5881370" y="4170391"/>
                  <a:pt x="5904230" y="4172296"/>
                  <a:pt x="5909310" y="4157691"/>
                </a:cubicBezTo>
                <a:cubicBezTo>
                  <a:pt x="5912485" y="4157691"/>
                  <a:pt x="5915660" y="4156421"/>
                  <a:pt x="5918200" y="4154516"/>
                </a:cubicBezTo>
                <a:cubicBezTo>
                  <a:pt x="5920740" y="4157691"/>
                  <a:pt x="5923915" y="4159596"/>
                  <a:pt x="5927725" y="4160866"/>
                </a:cubicBezTo>
                <a:cubicBezTo>
                  <a:pt x="5916930" y="4169121"/>
                  <a:pt x="5916295" y="4186266"/>
                  <a:pt x="5925820" y="4195156"/>
                </a:cubicBezTo>
                <a:cubicBezTo>
                  <a:pt x="5902960" y="4197061"/>
                  <a:pt x="5894705" y="4229446"/>
                  <a:pt x="5915025" y="4242146"/>
                </a:cubicBezTo>
                <a:cubicBezTo>
                  <a:pt x="5940425" y="4259926"/>
                  <a:pt x="5970270" y="4222461"/>
                  <a:pt x="5946775" y="4202141"/>
                </a:cubicBezTo>
                <a:cubicBezTo>
                  <a:pt x="5956300" y="4200871"/>
                  <a:pt x="5964555" y="4191981"/>
                  <a:pt x="5965825" y="4182456"/>
                </a:cubicBezTo>
                <a:cubicBezTo>
                  <a:pt x="5973445" y="4191981"/>
                  <a:pt x="5988685" y="4191981"/>
                  <a:pt x="5996940" y="4183091"/>
                </a:cubicBezTo>
                <a:cubicBezTo>
                  <a:pt x="5999480" y="4183726"/>
                  <a:pt x="6002020" y="4183726"/>
                  <a:pt x="6004560" y="4183726"/>
                </a:cubicBezTo>
                <a:cubicBezTo>
                  <a:pt x="6021070" y="4215476"/>
                  <a:pt x="6055360" y="4167851"/>
                  <a:pt x="6019800" y="4162136"/>
                </a:cubicBezTo>
                <a:cubicBezTo>
                  <a:pt x="6017895" y="4149436"/>
                  <a:pt x="6001385" y="4142451"/>
                  <a:pt x="5991225" y="4150071"/>
                </a:cubicBezTo>
                <a:cubicBezTo>
                  <a:pt x="5983605" y="4145626"/>
                  <a:pt x="5974715" y="4147531"/>
                  <a:pt x="5968365" y="4152611"/>
                </a:cubicBezTo>
                <a:cubicBezTo>
                  <a:pt x="5963920" y="4148166"/>
                  <a:pt x="5955665" y="4146896"/>
                  <a:pt x="5949950" y="4150071"/>
                </a:cubicBezTo>
                <a:cubicBezTo>
                  <a:pt x="5956300" y="4135466"/>
                  <a:pt x="5939790" y="4119591"/>
                  <a:pt x="5925820" y="4126576"/>
                </a:cubicBezTo>
                <a:cubicBezTo>
                  <a:pt x="5916930" y="4110066"/>
                  <a:pt x="5889625" y="4114511"/>
                  <a:pt x="5887085" y="4133561"/>
                </a:cubicBezTo>
                <a:cubicBezTo>
                  <a:pt x="5886450" y="4129751"/>
                  <a:pt x="5884545" y="4125306"/>
                  <a:pt x="5882005" y="4122131"/>
                </a:cubicBezTo>
                <a:cubicBezTo>
                  <a:pt x="5882005" y="4108161"/>
                  <a:pt x="5864225" y="4099271"/>
                  <a:pt x="5853430" y="4108161"/>
                </a:cubicBezTo>
                <a:cubicBezTo>
                  <a:pt x="5854700" y="4083396"/>
                  <a:pt x="5815965" y="4078951"/>
                  <a:pt x="5812155" y="4103716"/>
                </a:cubicBezTo>
                <a:cubicBezTo>
                  <a:pt x="5811520" y="4099271"/>
                  <a:pt x="5809615" y="4095461"/>
                  <a:pt x="5806440" y="4092286"/>
                </a:cubicBezTo>
                <a:cubicBezTo>
                  <a:pt x="5803900" y="4079586"/>
                  <a:pt x="5788660" y="4071331"/>
                  <a:pt x="5776595" y="4076411"/>
                </a:cubicBezTo>
                <a:cubicBezTo>
                  <a:pt x="5772785" y="4055456"/>
                  <a:pt x="5739765" y="4055456"/>
                  <a:pt x="5735955" y="4077046"/>
                </a:cubicBezTo>
                <a:cubicBezTo>
                  <a:pt x="5732780" y="4073871"/>
                  <a:pt x="5728335" y="4071966"/>
                  <a:pt x="5723890" y="4071966"/>
                </a:cubicBezTo>
                <a:cubicBezTo>
                  <a:pt x="5733415" y="4052916"/>
                  <a:pt x="5711190" y="4031961"/>
                  <a:pt x="5692775" y="4041486"/>
                </a:cubicBezTo>
                <a:cubicBezTo>
                  <a:pt x="5676900" y="4028786"/>
                  <a:pt x="5660390" y="4042756"/>
                  <a:pt x="5655945" y="4059266"/>
                </a:cubicBezTo>
                <a:cubicBezTo>
                  <a:pt x="5641340" y="4050376"/>
                  <a:pt x="5623560" y="4051646"/>
                  <a:pt x="5614035" y="4066251"/>
                </a:cubicBezTo>
                <a:close/>
                <a:moveTo>
                  <a:pt x="5843270" y="4125306"/>
                </a:moveTo>
                <a:cubicBezTo>
                  <a:pt x="5842000" y="4126576"/>
                  <a:pt x="5841365" y="4128481"/>
                  <a:pt x="5840730" y="4129751"/>
                </a:cubicBezTo>
                <a:cubicBezTo>
                  <a:pt x="5840095" y="4129116"/>
                  <a:pt x="5838825" y="4128481"/>
                  <a:pt x="5838190" y="4127846"/>
                </a:cubicBezTo>
                <a:cubicBezTo>
                  <a:pt x="5840095" y="4127211"/>
                  <a:pt x="5842000" y="4125941"/>
                  <a:pt x="5843270" y="4125306"/>
                </a:cubicBezTo>
                <a:close/>
                <a:moveTo>
                  <a:pt x="5759450" y="4240876"/>
                </a:moveTo>
                <a:cubicBezTo>
                  <a:pt x="5732780" y="4270086"/>
                  <a:pt x="5779770" y="4311996"/>
                  <a:pt x="5805805" y="4281516"/>
                </a:cubicBezTo>
                <a:cubicBezTo>
                  <a:pt x="5832475" y="4251671"/>
                  <a:pt x="5784850" y="4210396"/>
                  <a:pt x="5759450" y="4240876"/>
                </a:cubicBezTo>
                <a:close/>
                <a:moveTo>
                  <a:pt x="6149975" y="4303741"/>
                </a:moveTo>
                <a:cubicBezTo>
                  <a:pt x="6132830" y="4328506"/>
                  <a:pt x="6172835" y="4354541"/>
                  <a:pt x="6189345" y="4329141"/>
                </a:cubicBezTo>
                <a:cubicBezTo>
                  <a:pt x="6205855" y="4304376"/>
                  <a:pt x="6166485" y="4278341"/>
                  <a:pt x="6149975" y="4303741"/>
                </a:cubicBezTo>
                <a:close/>
                <a:moveTo>
                  <a:pt x="6032500" y="4204681"/>
                </a:moveTo>
                <a:cubicBezTo>
                  <a:pt x="6007100" y="4184996"/>
                  <a:pt x="5979160" y="4227541"/>
                  <a:pt x="6006465" y="4243416"/>
                </a:cubicBezTo>
                <a:cubicBezTo>
                  <a:pt x="6022340" y="4253576"/>
                  <a:pt x="6045200" y="4238336"/>
                  <a:pt x="6041390" y="4219921"/>
                </a:cubicBezTo>
                <a:cubicBezTo>
                  <a:pt x="6052820" y="4228176"/>
                  <a:pt x="6069965" y="4221826"/>
                  <a:pt x="6073140" y="4207856"/>
                </a:cubicBezTo>
                <a:cubicBezTo>
                  <a:pt x="6073775" y="4207856"/>
                  <a:pt x="6074410" y="4208491"/>
                  <a:pt x="6075045" y="4208491"/>
                </a:cubicBezTo>
                <a:lnTo>
                  <a:pt x="6075045" y="4208491"/>
                </a:lnTo>
                <a:cubicBezTo>
                  <a:pt x="6095365" y="4214206"/>
                  <a:pt x="6102985" y="4180551"/>
                  <a:pt x="6082030" y="4177376"/>
                </a:cubicBezTo>
                <a:cubicBezTo>
                  <a:pt x="6073775" y="4166581"/>
                  <a:pt x="6055995" y="4169121"/>
                  <a:pt x="6050915" y="4181821"/>
                </a:cubicBezTo>
                <a:cubicBezTo>
                  <a:pt x="6040120" y="4182456"/>
                  <a:pt x="6030595" y="4193886"/>
                  <a:pt x="6032500" y="4204681"/>
                </a:cubicBezTo>
                <a:close/>
                <a:moveTo>
                  <a:pt x="6106795" y="4249131"/>
                </a:moveTo>
                <a:cubicBezTo>
                  <a:pt x="6081395" y="4232621"/>
                  <a:pt x="6056630" y="4273261"/>
                  <a:pt x="6082665" y="4288501"/>
                </a:cubicBezTo>
                <a:cubicBezTo>
                  <a:pt x="6103620" y="4302471"/>
                  <a:pt x="6129655" y="4273261"/>
                  <a:pt x="6113145" y="4254211"/>
                </a:cubicBezTo>
                <a:cubicBezTo>
                  <a:pt x="6129020" y="4266911"/>
                  <a:pt x="6153150" y="4248496"/>
                  <a:pt x="6144895" y="4230081"/>
                </a:cubicBezTo>
                <a:cubicBezTo>
                  <a:pt x="6183630" y="4195791"/>
                  <a:pt x="6116320" y="4175471"/>
                  <a:pt x="6117590" y="4218651"/>
                </a:cubicBezTo>
                <a:cubicBezTo>
                  <a:pt x="6104890" y="4223096"/>
                  <a:pt x="6100445" y="4240876"/>
                  <a:pt x="6109335" y="4250401"/>
                </a:cubicBezTo>
                <a:cubicBezTo>
                  <a:pt x="6108700" y="4250401"/>
                  <a:pt x="6107430" y="4249766"/>
                  <a:pt x="6106795" y="4249131"/>
                </a:cubicBezTo>
                <a:close/>
                <a:moveTo>
                  <a:pt x="6234430" y="4522816"/>
                </a:moveTo>
                <a:cubicBezTo>
                  <a:pt x="6207760" y="4498051"/>
                  <a:pt x="6169025" y="4540596"/>
                  <a:pt x="6196965" y="4564726"/>
                </a:cubicBezTo>
                <a:cubicBezTo>
                  <a:pt x="6223000" y="4589491"/>
                  <a:pt x="6261735" y="4546946"/>
                  <a:pt x="6234430" y="4522816"/>
                </a:cubicBezTo>
                <a:close/>
                <a:moveTo>
                  <a:pt x="5951220" y="4445981"/>
                </a:moveTo>
                <a:cubicBezTo>
                  <a:pt x="5977890" y="4447251"/>
                  <a:pt x="5992495" y="4411056"/>
                  <a:pt x="5972175" y="4393276"/>
                </a:cubicBezTo>
                <a:cubicBezTo>
                  <a:pt x="5927725" y="4356446"/>
                  <a:pt x="5894070" y="4441536"/>
                  <a:pt x="5951220" y="4445981"/>
                </a:cubicBezTo>
                <a:close/>
                <a:moveTo>
                  <a:pt x="5995035" y="4312631"/>
                </a:moveTo>
                <a:cubicBezTo>
                  <a:pt x="5967095" y="4288501"/>
                  <a:pt x="5930265" y="4332951"/>
                  <a:pt x="5958840" y="4355811"/>
                </a:cubicBezTo>
                <a:lnTo>
                  <a:pt x="5958840" y="4355811"/>
                </a:lnTo>
                <a:cubicBezTo>
                  <a:pt x="5986780" y="4379941"/>
                  <a:pt x="6023610" y="4335491"/>
                  <a:pt x="5995035" y="4312631"/>
                </a:cubicBezTo>
                <a:close/>
                <a:moveTo>
                  <a:pt x="5845175" y="4316441"/>
                </a:moveTo>
                <a:cubicBezTo>
                  <a:pt x="5817870" y="4345651"/>
                  <a:pt x="5864225" y="4387561"/>
                  <a:pt x="5890260" y="4357716"/>
                </a:cubicBezTo>
                <a:cubicBezTo>
                  <a:pt x="5917565" y="4328506"/>
                  <a:pt x="5871210" y="4286596"/>
                  <a:pt x="5845175" y="4316441"/>
                </a:cubicBezTo>
                <a:close/>
                <a:moveTo>
                  <a:pt x="6303645" y="4435186"/>
                </a:moveTo>
                <a:cubicBezTo>
                  <a:pt x="6327775" y="4452966"/>
                  <a:pt x="6355715" y="4414231"/>
                  <a:pt x="6330315" y="4397086"/>
                </a:cubicBezTo>
                <a:cubicBezTo>
                  <a:pt x="6306185" y="4379306"/>
                  <a:pt x="6278880" y="4418676"/>
                  <a:pt x="6303645" y="4435186"/>
                </a:cubicBezTo>
                <a:close/>
                <a:moveTo>
                  <a:pt x="5916930" y="4285326"/>
                </a:moveTo>
                <a:cubicBezTo>
                  <a:pt x="5940425" y="4256751"/>
                  <a:pt x="5894705" y="4221191"/>
                  <a:pt x="5872480" y="4250401"/>
                </a:cubicBezTo>
                <a:cubicBezTo>
                  <a:pt x="5849620" y="4278976"/>
                  <a:pt x="5894705" y="4314536"/>
                  <a:pt x="5916930" y="4285326"/>
                </a:cubicBezTo>
                <a:close/>
                <a:moveTo>
                  <a:pt x="6022975" y="4255481"/>
                </a:moveTo>
                <a:cubicBezTo>
                  <a:pt x="5985510" y="4230716"/>
                  <a:pt x="5963285" y="4300566"/>
                  <a:pt x="6008370" y="4302471"/>
                </a:cubicBezTo>
                <a:cubicBezTo>
                  <a:pt x="6031865" y="4303106"/>
                  <a:pt x="6043295" y="4268816"/>
                  <a:pt x="6022975" y="4255481"/>
                </a:cubicBezTo>
                <a:close/>
                <a:moveTo>
                  <a:pt x="6299835" y="4534246"/>
                </a:moveTo>
                <a:cubicBezTo>
                  <a:pt x="6325235" y="4555836"/>
                  <a:pt x="6358890" y="4515196"/>
                  <a:pt x="6332220" y="4494241"/>
                </a:cubicBezTo>
                <a:cubicBezTo>
                  <a:pt x="6306820" y="4473286"/>
                  <a:pt x="6273800" y="4513926"/>
                  <a:pt x="6299835" y="4534246"/>
                </a:cubicBezTo>
                <a:close/>
                <a:moveTo>
                  <a:pt x="6102350" y="4313266"/>
                </a:moveTo>
                <a:cubicBezTo>
                  <a:pt x="6075680" y="4292946"/>
                  <a:pt x="6044565" y="4334856"/>
                  <a:pt x="6071870" y="4354541"/>
                </a:cubicBezTo>
                <a:cubicBezTo>
                  <a:pt x="6097905" y="4374861"/>
                  <a:pt x="6129020" y="4332316"/>
                  <a:pt x="6102350" y="4313266"/>
                </a:cubicBezTo>
                <a:close/>
                <a:moveTo>
                  <a:pt x="6115685" y="4755226"/>
                </a:moveTo>
                <a:cubicBezTo>
                  <a:pt x="6177280" y="4750781"/>
                  <a:pt x="6141085" y="4659341"/>
                  <a:pt x="6092825" y="4698076"/>
                </a:cubicBezTo>
                <a:cubicBezTo>
                  <a:pt x="6070600" y="4717126"/>
                  <a:pt x="6086475" y="4756496"/>
                  <a:pt x="6115685" y="4755226"/>
                </a:cubicBezTo>
                <a:close/>
                <a:moveTo>
                  <a:pt x="6033135" y="4525356"/>
                </a:moveTo>
                <a:cubicBezTo>
                  <a:pt x="6059170" y="4526626"/>
                  <a:pt x="6074410" y="4491066"/>
                  <a:pt x="6054725" y="4472651"/>
                </a:cubicBezTo>
                <a:cubicBezTo>
                  <a:pt x="6010275" y="4435186"/>
                  <a:pt x="5975350" y="4521546"/>
                  <a:pt x="6033135" y="4525356"/>
                </a:cubicBezTo>
                <a:close/>
                <a:moveTo>
                  <a:pt x="6179820" y="4372321"/>
                </a:moveTo>
                <a:cubicBezTo>
                  <a:pt x="6142355" y="4345651"/>
                  <a:pt x="6118225" y="4416771"/>
                  <a:pt x="6163945" y="4418676"/>
                </a:cubicBezTo>
                <a:cubicBezTo>
                  <a:pt x="6187440" y="4419311"/>
                  <a:pt x="6199505" y="4386291"/>
                  <a:pt x="6179820" y="4372321"/>
                </a:cubicBezTo>
                <a:close/>
                <a:moveTo>
                  <a:pt x="6155690" y="4451696"/>
                </a:moveTo>
                <a:cubicBezTo>
                  <a:pt x="6129020" y="4426931"/>
                  <a:pt x="6090285" y="4469476"/>
                  <a:pt x="6118225" y="4493606"/>
                </a:cubicBezTo>
                <a:cubicBezTo>
                  <a:pt x="6144895" y="4518371"/>
                  <a:pt x="6183630" y="4475826"/>
                  <a:pt x="6155690" y="4451696"/>
                </a:cubicBezTo>
                <a:close/>
                <a:moveTo>
                  <a:pt x="6075680" y="4381211"/>
                </a:moveTo>
                <a:cubicBezTo>
                  <a:pt x="6048375" y="4357081"/>
                  <a:pt x="6010910" y="4400261"/>
                  <a:pt x="6038850" y="4423756"/>
                </a:cubicBezTo>
                <a:cubicBezTo>
                  <a:pt x="6066155" y="4448521"/>
                  <a:pt x="6104255" y="4404706"/>
                  <a:pt x="6075680" y="4381211"/>
                </a:cubicBezTo>
                <a:close/>
                <a:moveTo>
                  <a:pt x="6092190" y="4597111"/>
                </a:moveTo>
                <a:cubicBezTo>
                  <a:pt x="6120130" y="4625686"/>
                  <a:pt x="6163945" y="4581236"/>
                  <a:pt x="6135370" y="4553296"/>
                </a:cubicBezTo>
                <a:cubicBezTo>
                  <a:pt x="6107430" y="4525356"/>
                  <a:pt x="6063615" y="4569806"/>
                  <a:pt x="6092190" y="4597111"/>
                </a:cubicBezTo>
                <a:close/>
                <a:moveTo>
                  <a:pt x="6195060" y="4686646"/>
                </a:moveTo>
                <a:cubicBezTo>
                  <a:pt x="6221730" y="4687916"/>
                  <a:pt x="6236335" y="4652356"/>
                  <a:pt x="6216650" y="4633941"/>
                </a:cubicBezTo>
                <a:cubicBezTo>
                  <a:pt x="6172835" y="4596476"/>
                  <a:pt x="6137910" y="4682201"/>
                  <a:pt x="6195060" y="4686646"/>
                </a:cubicBezTo>
                <a:close/>
                <a:moveTo>
                  <a:pt x="3783965" y="4389466"/>
                </a:moveTo>
                <a:cubicBezTo>
                  <a:pt x="3823970" y="4388196"/>
                  <a:pt x="3804920" y="4325966"/>
                  <a:pt x="3771265" y="4346921"/>
                </a:cubicBezTo>
                <a:cubicBezTo>
                  <a:pt x="3771265" y="4346921"/>
                  <a:pt x="3771265" y="4346921"/>
                  <a:pt x="3771265" y="4346921"/>
                </a:cubicBezTo>
                <a:cubicBezTo>
                  <a:pt x="3751580" y="4358986"/>
                  <a:pt x="3761740" y="4390736"/>
                  <a:pt x="3783965" y="4389466"/>
                </a:cubicBezTo>
                <a:close/>
                <a:moveTo>
                  <a:pt x="10634345" y="2436206"/>
                </a:moveTo>
                <a:cubicBezTo>
                  <a:pt x="10654030" y="2413346"/>
                  <a:pt x="10617835" y="2382866"/>
                  <a:pt x="10598785" y="2406361"/>
                </a:cubicBezTo>
                <a:cubicBezTo>
                  <a:pt x="10579100" y="2429221"/>
                  <a:pt x="10615295" y="2459701"/>
                  <a:pt x="10634345" y="2436206"/>
                </a:cubicBezTo>
                <a:close/>
                <a:moveTo>
                  <a:pt x="10637520" y="2554951"/>
                </a:moveTo>
                <a:cubicBezTo>
                  <a:pt x="10655300" y="2555586"/>
                  <a:pt x="10665460" y="2531456"/>
                  <a:pt x="10652125" y="2519391"/>
                </a:cubicBezTo>
                <a:cubicBezTo>
                  <a:pt x="10622915" y="2493991"/>
                  <a:pt x="10599420" y="2553046"/>
                  <a:pt x="10637520" y="2554951"/>
                </a:cubicBezTo>
                <a:close/>
                <a:moveTo>
                  <a:pt x="10689590" y="2336511"/>
                </a:moveTo>
                <a:cubicBezTo>
                  <a:pt x="10656570" y="2309841"/>
                  <a:pt x="10631805" y="2375246"/>
                  <a:pt x="10674350" y="2377151"/>
                </a:cubicBezTo>
                <a:cubicBezTo>
                  <a:pt x="10694670" y="2377786"/>
                  <a:pt x="10705465" y="2349211"/>
                  <a:pt x="10689590" y="2336511"/>
                </a:cubicBezTo>
                <a:close/>
                <a:moveTo>
                  <a:pt x="10694035" y="2497801"/>
                </a:moveTo>
                <a:cubicBezTo>
                  <a:pt x="10732770" y="2495896"/>
                  <a:pt x="10708640" y="2436206"/>
                  <a:pt x="10679430" y="2462241"/>
                </a:cubicBezTo>
                <a:cubicBezTo>
                  <a:pt x="10666095" y="2474306"/>
                  <a:pt x="10676255" y="2498436"/>
                  <a:pt x="10694035" y="2497801"/>
                </a:cubicBezTo>
                <a:close/>
                <a:moveTo>
                  <a:pt x="10582910" y="2614006"/>
                </a:moveTo>
                <a:cubicBezTo>
                  <a:pt x="10601325" y="2614641"/>
                  <a:pt x="10610850" y="2589876"/>
                  <a:pt x="10596880" y="2577811"/>
                </a:cubicBezTo>
                <a:cubicBezTo>
                  <a:pt x="10567670" y="2553046"/>
                  <a:pt x="10544810" y="2612101"/>
                  <a:pt x="10582910" y="2614006"/>
                </a:cubicBezTo>
                <a:close/>
                <a:moveTo>
                  <a:pt x="10528935" y="2673696"/>
                </a:moveTo>
                <a:cubicBezTo>
                  <a:pt x="10547350" y="2674331"/>
                  <a:pt x="10557510" y="2648931"/>
                  <a:pt x="10542905" y="2637501"/>
                </a:cubicBezTo>
                <a:cubicBezTo>
                  <a:pt x="10513060" y="2613371"/>
                  <a:pt x="10491470" y="2671791"/>
                  <a:pt x="10528935" y="2673696"/>
                </a:cubicBezTo>
                <a:close/>
                <a:moveTo>
                  <a:pt x="10578465" y="2504786"/>
                </a:moveTo>
                <a:cubicBezTo>
                  <a:pt x="10597515" y="2481291"/>
                  <a:pt x="10560685" y="2451446"/>
                  <a:pt x="10542270" y="2475576"/>
                </a:cubicBezTo>
                <a:cubicBezTo>
                  <a:pt x="10522585" y="2499071"/>
                  <a:pt x="10559415" y="2528281"/>
                  <a:pt x="10578465" y="2504786"/>
                </a:cubicBezTo>
                <a:close/>
                <a:moveTo>
                  <a:pt x="10733405" y="2310476"/>
                </a:moveTo>
                <a:cubicBezTo>
                  <a:pt x="10753725" y="2311111"/>
                  <a:pt x="10765155" y="2283171"/>
                  <a:pt x="10749280" y="2269836"/>
                </a:cubicBezTo>
                <a:cubicBezTo>
                  <a:pt x="10715625" y="2243166"/>
                  <a:pt x="10690225" y="2308571"/>
                  <a:pt x="10733405" y="2310476"/>
                </a:cubicBezTo>
                <a:close/>
                <a:moveTo>
                  <a:pt x="10809605" y="2386041"/>
                </a:moveTo>
                <a:cubicBezTo>
                  <a:pt x="10847705" y="2384136"/>
                  <a:pt x="10824845" y="2325716"/>
                  <a:pt x="10795635" y="2349846"/>
                </a:cubicBezTo>
                <a:cubicBezTo>
                  <a:pt x="10781665" y="2362546"/>
                  <a:pt x="10791825" y="2387311"/>
                  <a:pt x="10809605" y="2386041"/>
                </a:cubicBezTo>
                <a:close/>
                <a:moveTo>
                  <a:pt x="10751185" y="2441286"/>
                </a:moveTo>
                <a:cubicBezTo>
                  <a:pt x="10789920" y="2439381"/>
                  <a:pt x="10765790" y="2380326"/>
                  <a:pt x="10736580" y="2405726"/>
                </a:cubicBezTo>
                <a:cubicBezTo>
                  <a:pt x="10723245" y="2417791"/>
                  <a:pt x="10733405" y="2441921"/>
                  <a:pt x="10751185" y="2441286"/>
                </a:cubicBezTo>
                <a:close/>
                <a:moveTo>
                  <a:pt x="10890885" y="1957416"/>
                </a:moveTo>
                <a:cubicBezTo>
                  <a:pt x="10866755" y="1934556"/>
                  <a:pt x="10831195" y="1973291"/>
                  <a:pt x="10855960" y="1995516"/>
                </a:cubicBezTo>
                <a:cubicBezTo>
                  <a:pt x="10880725" y="2018376"/>
                  <a:pt x="10915650" y="1979641"/>
                  <a:pt x="10890885" y="1957416"/>
                </a:cubicBezTo>
                <a:close/>
                <a:moveTo>
                  <a:pt x="10825480" y="2029806"/>
                </a:moveTo>
                <a:cubicBezTo>
                  <a:pt x="10800715" y="2007581"/>
                  <a:pt x="10766425" y="2046951"/>
                  <a:pt x="10791825" y="2068541"/>
                </a:cubicBezTo>
                <a:cubicBezTo>
                  <a:pt x="10816590" y="2090766"/>
                  <a:pt x="10850880" y="2051396"/>
                  <a:pt x="10825480" y="2029806"/>
                </a:cubicBezTo>
                <a:close/>
                <a:moveTo>
                  <a:pt x="10855960" y="2182206"/>
                </a:moveTo>
                <a:cubicBezTo>
                  <a:pt x="10899140" y="2179666"/>
                  <a:pt x="10872470" y="2112991"/>
                  <a:pt x="10839450" y="2142201"/>
                </a:cubicBezTo>
                <a:cubicBezTo>
                  <a:pt x="10824845" y="2156171"/>
                  <a:pt x="10836275" y="2182841"/>
                  <a:pt x="10855960" y="2182206"/>
                </a:cubicBezTo>
                <a:close/>
                <a:moveTo>
                  <a:pt x="10761980" y="2104101"/>
                </a:moveTo>
                <a:cubicBezTo>
                  <a:pt x="10725150" y="2076161"/>
                  <a:pt x="10699750" y="2147916"/>
                  <a:pt x="10745470" y="2149821"/>
                </a:cubicBezTo>
                <a:cubicBezTo>
                  <a:pt x="10768965" y="2150456"/>
                  <a:pt x="10781030" y="2118706"/>
                  <a:pt x="10761980" y="2104101"/>
                </a:cubicBezTo>
                <a:close/>
                <a:moveTo>
                  <a:pt x="10490835" y="2578446"/>
                </a:moveTo>
                <a:cubicBezTo>
                  <a:pt x="10514330" y="2597496"/>
                  <a:pt x="10543540" y="2560031"/>
                  <a:pt x="10519410" y="2541616"/>
                </a:cubicBezTo>
                <a:cubicBezTo>
                  <a:pt x="10495915" y="2522566"/>
                  <a:pt x="10466705" y="2560031"/>
                  <a:pt x="10490835" y="2578446"/>
                </a:cubicBezTo>
                <a:close/>
                <a:moveTo>
                  <a:pt x="10793730" y="2245706"/>
                </a:moveTo>
                <a:cubicBezTo>
                  <a:pt x="10814050" y="2246341"/>
                  <a:pt x="10824845" y="2219036"/>
                  <a:pt x="10809605" y="2205701"/>
                </a:cubicBezTo>
                <a:cubicBezTo>
                  <a:pt x="10777220" y="2177126"/>
                  <a:pt x="10750550" y="2243801"/>
                  <a:pt x="10793730" y="2245706"/>
                </a:cubicBezTo>
                <a:close/>
                <a:moveTo>
                  <a:pt x="10787380" y="1617691"/>
                </a:moveTo>
                <a:cubicBezTo>
                  <a:pt x="10751185" y="1594196"/>
                  <a:pt x="10714990" y="1651346"/>
                  <a:pt x="10751820" y="1673571"/>
                </a:cubicBezTo>
                <a:cubicBezTo>
                  <a:pt x="10788015" y="1697066"/>
                  <a:pt x="10824210" y="1639916"/>
                  <a:pt x="10787380" y="1617691"/>
                </a:cubicBezTo>
                <a:close/>
                <a:moveTo>
                  <a:pt x="10701020" y="2179666"/>
                </a:moveTo>
                <a:cubicBezTo>
                  <a:pt x="10674985" y="2158711"/>
                  <a:pt x="10642600" y="2199986"/>
                  <a:pt x="10669270" y="2220306"/>
                </a:cubicBezTo>
                <a:cubicBezTo>
                  <a:pt x="10694670" y="2241261"/>
                  <a:pt x="10727055" y="2199986"/>
                  <a:pt x="10701020" y="2179666"/>
                </a:cubicBezTo>
                <a:close/>
                <a:moveTo>
                  <a:pt x="10736580" y="1555461"/>
                </a:moveTo>
                <a:cubicBezTo>
                  <a:pt x="10696575" y="1532601"/>
                  <a:pt x="10661015" y="1596101"/>
                  <a:pt x="10701655" y="1617691"/>
                </a:cubicBezTo>
                <a:cubicBezTo>
                  <a:pt x="10741660" y="1641186"/>
                  <a:pt x="10777855" y="1577686"/>
                  <a:pt x="10736580" y="1555461"/>
                </a:cubicBezTo>
                <a:close/>
                <a:moveTo>
                  <a:pt x="10753725" y="1454496"/>
                </a:moveTo>
                <a:cubicBezTo>
                  <a:pt x="10729595" y="1493866"/>
                  <a:pt x="10792460" y="1530696"/>
                  <a:pt x="10815320" y="1490691"/>
                </a:cubicBezTo>
                <a:cubicBezTo>
                  <a:pt x="10839450" y="1450686"/>
                  <a:pt x="10776585" y="1414491"/>
                  <a:pt x="10753725" y="1454496"/>
                </a:cubicBezTo>
                <a:close/>
                <a:moveTo>
                  <a:pt x="10489565" y="2419696"/>
                </a:moveTo>
                <a:cubicBezTo>
                  <a:pt x="10469880" y="2447001"/>
                  <a:pt x="10513060" y="2476846"/>
                  <a:pt x="10532110" y="2448906"/>
                </a:cubicBezTo>
                <a:cubicBezTo>
                  <a:pt x="10551795" y="2422236"/>
                  <a:pt x="10508615" y="2392391"/>
                  <a:pt x="10489565" y="2419696"/>
                </a:cubicBezTo>
                <a:close/>
                <a:moveTo>
                  <a:pt x="10728960" y="2046951"/>
                </a:moveTo>
                <a:cubicBezTo>
                  <a:pt x="10750550" y="2017741"/>
                  <a:pt x="10704195" y="1984086"/>
                  <a:pt x="10683240" y="2013931"/>
                </a:cubicBezTo>
                <a:cubicBezTo>
                  <a:pt x="10661650" y="2043141"/>
                  <a:pt x="10708005" y="2076796"/>
                  <a:pt x="10728960" y="2046951"/>
                </a:cubicBezTo>
                <a:close/>
                <a:moveTo>
                  <a:pt x="10787380" y="1768186"/>
                </a:moveTo>
                <a:cubicBezTo>
                  <a:pt x="10754995" y="1745326"/>
                  <a:pt x="10719435" y="1796761"/>
                  <a:pt x="10752455" y="1818986"/>
                </a:cubicBezTo>
                <a:cubicBezTo>
                  <a:pt x="10785475" y="1841846"/>
                  <a:pt x="10821035" y="1790411"/>
                  <a:pt x="10787380" y="1768186"/>
                </a:cubicBezTo>
                <a:close/>
                <a:moveTo>
                  <a:pt x="10936605" y="2080606"/>
                </a:moveTo>
                <a:cubicBezTo>
                  <a:pt x="10916285" y="2058381"/>
                  <a:pt x="10881360" y="2090766"/>
                  <a:pt x="10902950" y="2112356"/>
                </a:cubicBezTo>
                <a:cubicBezTo>
                  <a:pt x="10923270" y="2135216"/>
                  <a:pt x="10958195" y="2102831"/>
                  <a:pt x="10936605" y="2080606"/>
                </a:cubicBezTo>
                <a:close/>
                <a:moveTo>
                  <a:pt x="10746740" y="1928206"/>
                </a:moveTo>
                <a:cubicBezTo>
                  <a:pt x="10724515" y="1956781"/>
                  <a:pt x="10770235" y="1991706"/>
                  <a:pt x="10791825" y="1962496"/>
                </a:cubicBezTo>
                <a:cubicBezTo>
                  <a:pt x="10814050" y="1933286"/>
                  <a:pt x="10768330" y="1898361"/>
                  <a:pt x="10746740" y="1928206"/>
                </a:cubicBezTo>
                <a:close/>
                <a:moveTo>
                  <a:pt x="10722610" y="1721831"/>
                </a:moveTo>
                <a:cubicBezTo>
                  <a:pt x="10674350" y="1694526"/>
                  <a:pt x="10650220" y="1782156"/>
                  <a:pt x="10705465" y="1783426"/>
                </a:cubicBezTo>
                <a:cubicBezTo>
                  <a:pt x="10737215" y="1784696"/>
                  <a:pt x="10751185" y="1738341"/>
                  <a:pt x="10722610" y="1721831"/>
                </a:cubicBezTo>
                <a:close/>
                <a:moveTo>
                  <a:pt x="10546715" y="2339686"/>
                </a:moveTo>
                <a:cubicBezTo>
                  <a:pt x="10527030" y="2366356"/>
                  <a:pt x="10568940" y="2397471"/>
                  <a:pt x="10588625" y="2370166"/>
                </a:cubicBezTo>
                <a:cubicBezTo>
                  <a:pt x="10608310" y="2343496"/>
                  <a:pt x="10565765" y="2312381"/>
                  <a:pt x="10546715" y="2339686"/>
                </a:cubicBezTo>
                <a:close/>
                <a:moveTo>
                  <a:pt x="10542905" y="2269201"/>
                </a:moveTo>
                <a:cubicBezTo>
                  <a:pt x="10512425" y="2248881"/>
                  <a:pt x="10481310" y="2297776"/>
                  <a:pt x="10512425" y="2316826"/>
                </a:cubicBezTo>
                <a:cubicBezTo>
                  <a:pt x="10542905" y="2336511"/>
                  <a:pt x="10574020" y="2288251"/>
                  <a:pt x="10542905" y="2269201"/>
                </a:cubicBezTo>
                <a:close/>
                <a:moveTo>
                  <a:pt x="10601325" y="2180301"/>
                </a:moveTo>
                <a:cubicBezTo>
                  <a:pt x="10570845" y="2159346"/>
                  <a:pt x="10539095" y="2207606"/>
                  <a:pt x="10570210" y="2227291"/>
                </a:cubicBezTo>
                <a:cubicBezTo>
                  <a:pt x="10600055" y="2248246"/>
                  <a:pt x="10632440" y="2200621"/>
                  <a:pt x="10601325" y="2180301"/>
                </a:cubicBezTo>
                <a:close/>
                <a:moveTo>
                  <a:pt x="10673080" y="1670396"/>
                </a:moveTo>
                <a:cubicBezTo>
                  <a:pt x="10632440" y="1648171"/>
                  <a:pt x="10598150" y="1712306"/>
                  <a:pt x="10639425" y="1733261"/>
                </a:cubicBezTo>
                <a:cubicBezTo>
                  <a:pt x="10680065" y="1756121"/>
                  <a:pt x="10714355" y="1691986"/>
                  <a:pt x="10673080" y="1670396"/>
                </a:cubicBezTo>
                <a:close/>
                <a:moveTo>
                  <a:pt x="10878820" y="1156046"/>
                </a:moveTo>
                <a:cubicBezTo>
                  <a:pt x="10920730" y="1182081"/>
                  <a:pt x="10960735" y="1114771"/>
                  <a:pt x="10917555" y="1090641"/>
                </a:cubicBezTo>
                <a:cubicBezTo>
                  <a:pt x="10875010" y="1064606"/>
                  <a:pt x="10835640" y="1131281"/>
                  <a:pt x="10878820" y="1156046"/>
                </a:cubicBezTo>
                <a:close/>
                <a:moveTo>
                  <a:pt x="10605135" y="2260946"/>
                </a:moveTo>
                <a:cubicBezTo>
                  <a:pt x="10584815" y="2287616"/>
                  <a:pt x="10626090" y="2318731"/>
                  <a:pt x="10646410" y="2292061"/>
                </a:cubicBezTo>
                <a:cubicBezTo>
                  <a:pt x="10666730" y="2266026"/>
                  <a:pt x="10624820" y="2234276"/>
                  <a:pt x="10605135" y="2260946"/>
                </a:cubicBezTo>
                <a:close/>
                <a:moveTo>
                  <a:pt x="10629265" y="2139661"/>
                </a:moveTo>
                <a:cubicBezTo>
                  <a:pt x="10659110" y="2161251"/>
                  <a:pt x="10692130" y="2113626"/>
                  <a:pt x="10661650" y="2093306"/>
                </a:cubicBezTo>
                <a:cubicBezTo>
                  <a:pt x="10631170" y="2072351"/>
                  <a:pt x="10598785" y="2119341"/>
                  <a:pt x="10629265" y="2139661"/>
                </a:cubicBezTo>
                <a:close/>
                <a:moveTo>
                  <a:pt x="10723245" y="1862801"/>
                </a:moveTo>
                <a:cubicBezTo>
                  <a:pt x="10690225" y="1840576"/>
                  <a:pt x="10655935" y="1892646"/>
                  <a:pt x="10689590" y="1914236"/>
                </a:cubicBezTo>
                <a:cubicBezTo>
                  <a:pt x="10722610" y="1936461"/>
                  <a:pt x="10756900" y="1884391"/>
                  <a:pt x="10723245" y="1862801"/>
                </a:cubicBezTo>
                <a:close/>
                <a:moveTo>
                  <a:pt x="11494770" y="524856"/>
                </a:moveTo>
                <a:cubicBezTo>
                  <a:pt x="11458575" y="553431"/>
                  <a:pt x="11504295" y="609946"/>
                  <a:pt x="11539855" y="580101"/>
                </a:cubicBezTo>
                <a:cubicBezTo>
                  <a:pt x="11576050" y="551526"/>
                  <a:pt x="11530330" y="495011"/>
                  <a:pt x="11494770" y="524856"/>
                </a:cubicBezTo>
                <a:close/>
                <a:moveTo>
                  <a:pt x="11583035" y="957291"/>
                </a:moveTo>
                <a:cubicBezTo>
                  <a:pt x="11562080" y="923636"/>
                  <a:pt x="11509375" y="956656"/>
                  <a:pt x="11531600" y="990311"/>
                </a:cubicBezTo>
                <a:cubicBezTo>
                  <a:pt x="11552555" y="1024601"/>
                  <a:pt x="11605260" y="990946"/>
                  <a:pt x="11583035" y="957291"/>
                </a:cubicBezTo>
                <a:close/>
                <a:moveTo>
                  <a:pt x="11552555" y="1455131"/>
                </a:moveTo>
                <a:cubicBezTo>
                  <a:pt x="11594465" y="1453861"/>
                  <a:pt x="11578590" y="1387821"/>
                  <a:pt x="11540490" y="1406871"/>
                </a:cubicBezTo>
                <a:cubicBezTo>
                  <a:pt x="11516995" y="1417666"/>
                  <a:pt x="11526520" y="1455766"/>
                  <a:pt x="11552555" y="1455131"/>
                </a:cubicBezTo>
                <a:close/>
                <a:moveTo>
                  <a:pt x="11492865" y="388331"/>
                </a:moveTo>
                <a:cubicBezTo>
                  <a:pt x="11501755" y="388331"/>
                  <a:pt x="11511280" y="385156"/>
                  <a:pt x="11518265" y="378806"/>
                </a:cubicBezTo>
                <a:lnTo>
                  <a:pt x="11518265" y="378806"/>
                </a:lnTo>
                <a:cubicBezTo>
                  <a:pt x="11555095" y="346421"/>
                  <a:pt x="11503025" y="288636"/>
                  <a:pt x="11466830" y="322291"/>
                </a:cubicBezTo>
                <a:cubicBezTo>
                  <a:pt x="11440795" y="343881"/>
                  <a:pt x="11459210" y="389601"/>
                  <a:pt x="11492865" y="388331"/>
                </a:cubicBezTo>
                <a:close/>
                <a:moveTo>
                  <a:pt x="11467465" y="1502121"/>
                </a:moveTo>
                <a:cubicBezTo>
                  <a:pt x="11510645" y="1500851"/>
                  <a:pt x="11492230" y="1433541"/>
                  <a:pt x="11454130" y="1454496"/>
                </a:cubicBezTo>
                <a:cubicBezTo>
                  <a:pt x="11431905" y="1466561"/>
                  <a:pt x="11442065" y="1503391"/>
                  <a:pt x="11467465" y="1502121"/>
                </a:cubicBezTo>
                <a:close/>
                <a:moveTo>
                  <a:pt x="11487785" y="1020156"/>
                </a:moveTo>
                <a:cubicBezTo>
                  <a:pt x="11464925" y="987771"/>
                  <a:pt x="11414125" y="1024601"/>
                  <a:pt x="11438255" y="1056351"/>
                </a:cubicBezTo>
                <a:cubicBezTo>
                  <a:pt x="11461750" y="1089371"/>
                  <a:pt x="11511915" y="1051906"/>
                  <a:pt x="11487785" y="1020156"/>
                </a:cubicBezTo>
                <a:close/>
                <a:moveTo>
                  <a:pt x="11506200" y="784571"/>
                </a:moveTo>
                <a:cubicBezTo>
                  <a:pt x="11480165" y="750281"/>
                  <a:pt x="11426825" y="792191"/>
                  <a:pt x="11454130" y="825846"/>
                </a:cubicBezTo>
                <a:cubicBezTo>
                  <a:pt x="11480165" y="859501"/>
                  <a:pt x="11532870" y="817591"/>
                  <a:pt x="11506200" y="784571"/>
                </a:cubicBezTo>
                <a:close/>
                <a:moveTo>
                  <a:pt x="11529060" y="1244946"/>
                </a:moveTo>
                <a:cubicBezTo>
                  <a:pt x="11576050" y="1243676"/>
                  <a:pt x="11555730" y="1169381"/>
                  <a:pt x="11514455" y="1192876"/>
                </a:cubicBezTo>
                <a:cubicBezTo>
                  <a:pt x="11490325" y="1206211"/>
                  <a:pt x="11501755" y="1246216"/>
                  <a:pt x="11529060" y="1244946"/>
                </a:cubicBezTo>
                <a:close/>
                <a:moveTo>
                  <a:pt x="11393805" y="612486"/>
                </a:moveTo>
                <a:cubicBezTo>
                  <a:pt x="11359515" y="643601"/>
                  <a:pt x="11409045" y="696306"/>
                  <a:pt x="11442065" y="664556"/>
                </a:cubicBezTo>
                <a:lnTo>
                  <a:pt x="11442065" y="664556"/>
                </a:lnTo>
                <a:cubicBezTo>
                  <a:pt x="11476355" y="633441"/>
                  <a:pt x="11426825" y="580101"/>
                  <a:pt x="11393805" y="612486"/>
                </a:cubicBezTo>
                <a:close/>
                <a:moveTo>
                  <a:pt x="11103610" y="801716"/>
                </a:moveTo>
                <a:cubicBezTo>
                  <a:pt x="11142980" y="830926"/>
                  <a:pt x="11188700" y="768061"/>
                  <a:pt x="11148060" y="740121"/>
                </a:cubicBezTo>
                <a:cubicBezTo>
                  <a:pt x="11108690" y="710276"/>
                  <a:pt x="11062970" y="773776"/>
                  <a:pt x="11103610" y="801716"/>
                </a:cubicBezTo>
                <a:close/>
                <a:moveTo>
                  <a:pt x="11024870" y="917921"/>
                </a:moveTo>
                <a:cubicBezTo>
                  <a:pt x="11065510" y="945861"/>
                  <a:pt x="11108690" y="881726"/>
                  <a:pt x="11067415" y="854421"/>
                </a:cubicBezTo>
                <a:cubicBezTo>
                  <a:pt x="11026775" y="826481"/>
                  <a:pt x="10983595" y="890616"/>
                  <a:pt x="11024870" y="917921"/>
                </a:cubicBezTo>
                <a:close/>
                <a:moveTo>
                  <a:pt x="10950575" y="1036031"/>
                </a:moveTo>
                <a:cubicBezTo>
                  <a:pt x="10991850" y="1062701"/>
                  <a:pt x="11033125" y="997296"/>
                  <a:pt x="10991215" y="971261"/>
                </a:cubicBezTo>
                <a:cubicBezTo>
                  <a:pt x="10949305" y="944591"/>
                  <a:pt x="10908030" y="1009996"/>
                  <a:pt x="10950575" y="1036031"/>
                </a:cubicBezTo>
                <a:close/>
                <a:moveTo>
                  <a:pt x="11273790" y="580101"/>
                </a:moveTo>
                <a:cubicBezTo>
                  <a:pt x="11310620" y="613121"/>
                  <a:pt x="11361420" y="554066"/>
                  <a:pt x="11323320" y="522316"/>
                </a:cubicBezTo>
                <a:cubicBezTo>
                  <a:pt x="11286490" y="489296"/>
                  <a:pt x="11235690" y="547716"/>
                  <a:pt x="11273790" y="580101"/>
                </a:cubicBezTo>
                <a:close/>
                <a:moveTo>
                  <a:pt x="11186160" y="689321"/>
                </a:moveTo>
                <a:cubicBezTo>
                  <a:pt x="11224260" y="720436"/>
                  <a:pt x="11272520" y="658841"/>
                  <a:pt x="11233150" y="628996"/>
                </a:cubicBezTo>
                <a:cubicBezTo>
                  <a:pt x="11194415" y="597881"/>
                  <a:pt x="11146790" y="659476"/>
                  <a:pt x="11186160" y="689321"/>
                </a:cubicBezTo>
                <a:close/>
                <a:moveTo>
                  <a:pt x="11298555" y="705831"/>
                </a:moveTo>
                <a:cubicBezTo>
                  <a:pt x="11298555" y="705831"/>
                  <a:pt x="11298555" y="705831"/>
                  <a:pt x="11298555" y="705831"/>
                </a:cubicBezTo>
                <a:cubicBezTo>
                  <a:pt x="11266170" y="738851"/>
                  <a:pt x="11318240" y="789016"/>
                  <a:pt x="11349990" y="755361"/>
                </a:cubicBezTo>
                <a:cubicBezTo>
                  <a:pt x="11383010" y="722341"/>
                  <a:pt x="11330305" y="672176"/>
                  <a:pt x="11298555" y="705831"/>
                </a:cubicBezTo>
                <a:close/>
                <a:moveTo>
                  <a:pt x="11392535" y="485486"/>
                </a:moveTo>
                <a:cubicBezTo>
                  <a:pt x="11425555" y="486756"/>
                  <a:pt x="11443970" y="442306"/>
                  <a:pt x="11419205" y="420081"/>
                </a:cubicBezTo>
                <a:cubicBezTo>
                  <a:pt x="11363960" y="374361"/>
                  <a:pt x="11321415" y="480406"/>
                  <a:pt x="11392535" y="485486"/>
                </a:cubicBezTo>
                <a:close/>
                <a:moveTo>
                  <a:pt x="11400155" y="1970751"/>
                </a:moveTo>
                <a:cubicBezTo>
                  <a:pt x="11433810" y="1970116"/>
                  <a:pt x="11421110" y="1916776"/>
                  <a:pt x="11390630" y="1931381"/>
                </a:cubicBezTo>
                <a:cubicBezTo>
                  <a:pt x="11370945" y="1940271"/>
                  <a:pt x="11379200" y="1971386"/>
                  <a:pt x="11400155" y="1970751"/>
                </a:cubicBezTo>
                <a:close/>
                <a:moveTo>
                  <a:pt x="11169015" y="1723736"/>
                </a:moveTo>
                <a:cubicBezTo>
                  <a:pt x="11194415" y="1702781"/>
                  <a:pt x="11160760" y="1662776"/>
                  <a:pt x="11135360" y="1684366"/>
                </a:cubicBezTo>
                <a:cubicBezTo>
                  <a:pt x="11109325" y="1705956"/>
                  <a:pt x="11143615" y="1745961"/>
                  <a:pt x="11169015" y="1723736"/>
                </a:cubicBezTo>
                <a:close/>
                <a:moveTo>
                  <a:pt x="11122025" y="1945351"/>
                </a:moveTo>
                <a:cubicBezTo>
                  <a:pt x="11163300" y="1944081"/>
                  <a:pt x="11141075" y="1879311"/>
                  <a:pt x="11107420" y="1904076"/>
                </a:cubicBezTo>
                <a:cubicBezTo>
                  <a:pt x="11090275" y="1916776"/>
                  <a:pt x="11101070" y="1945986"/>
                  <a:pt x="11122025" y="1945351"/>
                </a:cubicBezTo>
                <a:close/>
                <a:moveTo>
                  <a:pt x="11193145" y="1892011"/>
                </a:moveTo>
                <a:cubicBezTo>
                  <a:pt x="11233785" y="1890741"/>
                  <a:pt x="11213465" y="1827241"/>
                  <a:pt x="11179175" y="1850101"/>
                </a:cubicBezTo>
                <a:cubicBezTo>
                  <a:pt x="11161395" y="1862166"/>
                  <a:pt x="11171555" y="1892646"/>
                  <a:pt x="11193145" y="1892011"/>
                </a:cubicBezTo>
                <a:close/>
                <a:moveTo>
                  <a:pt x="11096625" y="1787871"/>
                </a:moveTo>
                <a:cubicBezTo>
                  <a:pt x="11121390" y="1765646"/>
                  <a:pt x="11085830" y="1726911"/>
                  <a:pt x="11061700" y="1749771"/>
                </a:cubicBezTo>
                <a:cubicBezTo>
                  <a:pt x="11036935" y="1771996"/>
                  <a:pt x="11072495" y="1810731"/>
                  <a:pt x="11096625" y="1787871"/>
                </a:cubicBezTo>
                <a:close/>
                <a:moveTo>
                  <a:pt x="11026775" y="1817716"/>
                </a:moveTo>
                <a:cubicBezTo>
                  <a:pt x="11003915" y="1793586"/>
                  <a:pt x="10966450" y="1830416"/>
                  <a:pt x="10989945" y="1853911"/>
                </a:cubicBezTo>
                <a:cubicBezTo>
                  <a:pt x="11013440" y="1878041"/>
                  <a:pt x="11050905" y="1841211"/>
                  <a:pt x="11026775" y="1817716"/>
                </a:cubicBezTo>
                <a:close/>
                <a:moveTo>
                  <a:pt x="11052810" y="2001866"/>
                </a:moveTo>
                <a:cubicBezTo>
                  <a:pt x="11094720" y="1999961"/>
                  <a:pt x="11071225" y="1935191"/>
                  <a:pt x="11037570" y="1960591"/>
                </a:cubicBezTo>
                <a:cubicBezTo>
                  <a:pt x="11021060" y="1973291"/>
                  <a:pt x="11031855" y="2002501"/>
                  <a:pt x="11052810" y="2001866"/>
                </a:cubicBezTo>
                <a:close/>
                <a:moveTo>
                  <a:pt x="10985500" y="2059651"/>
                </a:moveTo>
                <a:cubicBezTo>
                  <a:pt x="11028045" y="2057746"/>
                  <a:pt x="11003280" y="1992341"/>
                  <a:pt x="10970260" y="2019011"/>
                </a:cubicBezTo>
                <a:cubicBezTo>
                  <a:pt x="10970260" y="2019011"/>
                  <a:pt x="10970260" y="2019011"/>
                  <a:pt x="10970260" y="2019011"/>
                </a:cubicBezTo>
                <a:cubicBezTo>
                  <a:pt x="10953750" y="2032346"/>
                  <a:pt x="10965180" y="2060921"/>
                  <a:pt x="10985500" y="2059651"/>
                </a:cubicBezTo>
                <a:close/>
                <a:moveTo>
                  <a:pt x="11243310" y="1662141"/>
                </a:moveTo>
                <a:cubicBezTo>
                  <a:pt x="11269980" y="1641821"/>
                  <a:pt x="11236960" y="1600546"/>
                  <a:pt x="11211560" y="1621501"/>
                </a:cubicBezTo>
                <a:cubicBezTo>
                  <a:pt x="11184890" y="1642456"/>
                  <a:pt x="11217275" y="1683731"/>
                  <a:pt x="11243310" y="1662141"/>
                </a:cubicBezTo>
                <a:close/>
                <a:moveTo>
                  <a:pt x="11320145" y="1604356"/>
                </a:moveTo>
                <a:cubicBezTo>
                  <a:pt x="11347450" y="1585306"/>
                  <a:pt x="11316335" y="1542761"/>
                  <a:pt x="11289665" y="1562446"/>
                </a:cubicBezTo>
                <a:cubicBezTo>
                  <a:pt x="11262360" y="1581496"/>
                  <a:pt x="11293475" y="1624041"/>
                  <a:pt x="11320145" y="1604356"/>
                </a:cubicBezTo>
                <a:close/>
                <a:moveTo>
                  <a:pt x="10958195" y="1886296"/>
                </a:moveTo>
                <a:cubicBezTo>
                  <a:pt x="10934700" y="1862801"/>
                  <a:pt x="10897870" y="1900901"/>
                  <a:pt x="10922635" y="1923126"/>
                </a:cubicBezTo>
                <a:cubicBezTo>
                  <a:pt x="10946130" y="1947256"/>
                  <a:pt x="10982325" y="1909156"/>
                  <a:pt x="10958195" y="1886296"/>
                </a:cubicBezTo>
                <a:close/>
                <a:moveTo>
                  <a:pt x="11437620" y="1712941"/>
                </a:moveTo>
                <a:cubicBezTo>
                  <a:pt x="11423015" y="1686271"/>
                  <a:pt x="11381740" y="1709766"/>
                  <a:pt x="11396980" y="1735801"/>
                </a:cubicBezTo>
                <a:cubicBezTo>
                  <a:pt x="11411585" y="1761836"/>
                  <a:pt x="11452860" y="1738976"/>
                  <a:pt x="11437620" y="1712941"/>
                </a:cubicBezTo>
                <a:close/>
                <a:moveTo>
                  <a:pt x="11384915" y="1553556"/>
                </a:moveTo>
                <a:cubicBezTo>
                  <a:pt x="11428730" y="1552286"/>
                  <a:pt x="11408410" y="1483071"/>
                  <a:pt x="11370945" y="1506566"/>
                </a:cubicBezTo>
                <a:cubicBezTo>
                  <a:pt x="11349355" y="1519266"/>
                  <a:pt x="11360150" y="1554826"/>
                  <a:pt x="11384915" y="1553556"/>
                </a:cubicBezTo>
                <a:close/>
                <a:moveTo>
                  <a:pt x="11360150" y="1756756"/>
                </a:moveTo>
                <a:cubicBezTo>
                  <a:pt x="11344910" y="1730721"/>
                  <a:pt x="11304270" y="1755486"/>
                  <a:pt x="11320780" y="1781521"/>
                </a:cubicBezTo>
                <a:cubicBezTo>
                  <a:pt x="11336655" y="1807556"/>
                  <a:pt x="11376660" y="1782791"/>
                  <a:pt x="11360150" y="1756756"/>
                </a:cubicBezTo>
                <a:close/>
                <a:moveTo>
                  <a:pt x="11463655" y="1258281"/>
                </a:moveTo>
                <a:cubicBezTo>
                  <a:pt x="11443335" y="1227801"/>
                  <a:pt x="11395710" y="1260186"/>
                  <a:pt x="11417300" y="1290031"/>
                </a:cubicBezTo>
                <a:cubicBezTo>
                  <a:pt x="11437620" y="1320511"/>
                  <a:pt x="11484610" y="1288126"/>
                  <a:pt x="11463655" y="1258281"/>
                </a:cubicBezTo>
                <a:close/>
                <a:moveTo>
                  <a:pt x="11328400" y="2008216"/>
                </a:moveTo>
                <a:cubicBezTo>
                  <a:pt x="11362690" y="2007581"/>
                  <a:pt x="11348720" y="1953606"/>
                  <a:pt x="11318240" y="1968846"/>
                </a:cubicBezTo>
                <a:cubicBezTo>
                  <a:pt x="11299825" y="1979006"/>
                  <a:pt x="11308080" y="2008851"/>
                  <a:pt x="11328400" y="2008216"/>
                </a:cubicBezTo>
                <a:close/>
                <a:moveTo>
                  <a:pt x="11265535" y="1840576"/>
                </a:moveTo>
                <a:cubicBezTo>
                  <a:pt x="11305540" y="1839306"/>
                  <a:pt x="11286490" y="1776441"/>
                  <a:pt x="11252200" y="1798031"/>
                </a:cubicBezTo>
                <a:cubicBezTo>
                  <a:pt x="11233785" y="1810096"/>
                  <a:pt x="11243945" y="1841846"/>
                  <a:pt x="11265535" y="1840576"/>
                </a:cubicBezTo>
                <a:close/>
                <a:moveTo>
                  <a:pt x="10627995" y="2010756"/>
                </a:moveTo>
                <a:cubicBezTo>
                  <a:pt x="10661015" y="2032346"/>
                  <a:pt x="10694670" y="1979641"/>
                  <a:pt x="10660380" y="1958686"/>
                </a:cubicBezTo>
                <a:cubicBezTo>
                  <a:pt x="10627360" y="1937096"/>
                  <a:pt x="10594340" y="1989801"/>
                  <a:pt x="10627995" y="2010756"/>
                </a:cubicBezTo>
                <a:close/>
                <a:moveTo>
                  <a:pt x="11875770" y="580101"/>
                </a:moveTo>
                <a:cubicBezTo>
                  <a:pt x="11888470" y="621376"/>
                  <a:pt x="11952605" y="601056"/>
                  <a:pt x="11939270" y="560416"/>
                </a:cubicBezTo>
                <a:cubicBezTo>
                  <a:pt x="11927205" y="519141"/>
                  <a:pt x="11862435" y="539461"/>
                  <a:pt x="11875770" y="580101"/>
                </a:cubicBezTo>
                <a:close/>
                <a:moveTo>
                  <a:pt x="11967210" y="273396"/>
                </a:moveTo>
                <a:cubicBezTo>
                  <a:pt x="11922125" y="284191"/>
                  <a:pt x="11941175" y="354676"/>
                  <a:pt x="11984990" y="342611"/>
                </a:cubicBezTo>
                <a:cubicBezTo>
                  <a:pt x="12029440" y="331181"/>
                  <a:pt x="12011660" y="261331"/>
                  <a:pt x="11967210" y="273396"/>
                </a:cubicBezTo>
                <a:close/>
                <a:moveTo>
                  <a:pt x="11974830" y="825846"/>
                </a:moveTo>
                <a:cubicBezTo>
                  <a:pt x="12019280" y="825846"/>
                  <a:pt x="12011660" y="755996"/>
                  <a:pt x="11968480" y="765521"/>
                </a:cubicBezTo>
                <a:cubicBezTo>
                  <a:pt x="11933555" y="772506"/>
                  <a:pt x="11939905" y="827116"/>
                  <a:pt x="11974830" y="825846"/>
                </a:cubicBezTo>
                <a:close/>
                <a:moveTo>
                  <a:pt x="11838305" y="315941"/>
                </a:moveTo>
                <a:cubicBezTo>
                  <a:pt x="11795125" y="333086"/>
                  <a:pt x="11823065" y="400396"/>
                  <a:pt x="11864975" y="381981"/>
                </a:cubicBezTo>
                <a:cubicBezTo>
                  <a:pt x="11908155" y="365471"/>
                  <a:pt x="11880850" y="298161"/>
                  <a:pt x="11838305" y="315941"/>
                </a:cubicBezTo>
                <a:close/>
                <a:moveTo>
                  <a:pt x="11837035" y="153381"/>
                </a:moveTo>
                <a:cubicBezTo>
                  <a:pt x="11897995" y="152111"/>
                  <a:pt x="11877040" y="56226"/>
                  <a:pt x="11821160" y="80356"/>
                </a:cubicBezTo>
                <a:cubicBezTo>
                  <a:pt x="11784330" y="96231"/>
                  <a:pt x="11797665" y="154651"/>
                  <a:pt x="11837035" y="153381"/>
                </a:cubicBezTo>
                <a:close/>
                <a:moveTo>
                  <a:pt x="12001500" y="1545301"/>
                </a:moveTo>
                <a:cubicBezTo>
                  <a:pt x="12033885" y="1545301"/>
                  <a:pt x="12030075" y="1494501"/>
                  <a:pt x="11998325" y="1498946"/>
                </a:cubicBezTo>
                <a:cubicBezTo>
                  <a:pt x="11970385" y="1502121"/>
                  <a:pt x="11973560" y="1545936"/>
                  <a:pt x="12001500" y="1545301"/>
                </a:cubicBezTo>
                <a:close/>
                <a:moveTo>
                  <a:pt x="12037695" y="1272886"/>
                </a:moveTo>
                <a:cubicBezTo>
                  <a:pt x="12033250" y="1239866"/>
                  <a:pt x="11981180" y="1247486"/>
                  <a:pt x="11986895" y="1280506"/>
                </a:cubicBezTo>
                <a:cubicBezTo>
                  <a:pt x="11991340" y="1313526"/>
                  <a:pt x="12042775" y="1305906"/>
                  <a:pt x="12037695" y="1272886"/>
                </a:cubicBezTo>
                <a:close/>
                <a:moveTo>
                  <a:pt x="12048490" y="1026506"/>
                </a:moveTo>
                <a:cubicBezTo>
                  <a:pt x="12043410" y="990311"/>
                  <a:pt x="11986260" y="999201"/>
                  <a:pt x="11992610" y="1035396"/>
                </a:cubicBezTo>
                <a:cubicBezTo>
                  <a:pt x="11997690" y="1071591"/>
                  <a:pt x="12054205" y="1062701"/>
                  <a:pt x="12048490" y="1026506"/>
                </a:cubicBezTo>
                <a:close/>
                <a:moveTo>
                  <a:pt x="11967210" y="104486"/>
                </a:moveTo>
                <a:cubicBezTo>
                  <a:pt x="12023725" y="104486"/>
                  <a:pt x="12011025" y="14316"/>
                  <a:pt x="11956415" y="29556"/>
                </a:cubicBezTo>
                <a:cubicBezTo>
                  <a:pt x="11914505" y="40351"/>
                  <a:pt x="11924665" y="105756"/>
                  <a:pt x="11967210" y="104486"/>
                </a:cubicBezTo>
                <a:close/>
                <a:moveTo>
                  <a:pt x="10854690" y="1514821"/>
                </a:moveTo>
                <a:cubicBezTo>
                  <a:pt x="10819130" y="1490691"/>
                  <a:pt x="10781665" y="1547206"/>
                  <a:pt x="10817860" y="1570066"/>
                </a:cubicBezTo>
                <a:cubicBezTo>
                  <a:pt x="10853420" y="1594196"/>
                  <a:pt x="10890885" y="1537681"/>
                  <a:pt x="10854690" y="1514821"/>
                </a:cubicBezTo>
                <a:close/>
                <a:moveTo>
                  <a:pt x="11608435" y="1140171"/>
                </a:moveTo>
                <a:cubicBezTo>
                  <a:pt x="11575415" y="1156681"/>
                  <a:pt x="11602085" y="1207481"/>
                  <a:pt x="11634470" y="1190336"/>
                </a:cubicBezTo>
                <a:cubicBezTo>
                  <a:pt x="11667490" y="1173826"/>
                  <a:pt x="11640820" y="1123026"/>
                  <a:pt x="11608435" y="1140171"/>
                </a:cubicBezTo>
                <a:close/>
                <a:moveTo>
                  <a:pt x="11762740" y="627091"/>
                </a:moveTo>
                <a:cubicBezTo>
                  <a:pt x="11779885" y="667096"/>
                  <a:pt x="11841480" y="639791"/>
                  <a:pt x="11823700" y="600421"/>
                </a:cubicBezTo>
                <a:cubicBezTo>
                  <a:pt x="11806555" y="560416"/>
                  <a:pt x="11744960" y="587721"/>
                  <a:pt x="11762740" y="627091"/>
                </a:cubicBezTo>
                <a:close/>
                <a:moveTo>
                  <a:pt x="11682730" y="901411"/>
                </a:moveTo>
                <a:cubicBezTo>
                  <a:pt x="11664315" y="865851"/>
                  <a:pt x="11609070" y="895696"/>
                  <a:pt x="11628755" y="930621"/>
                </a:cubicBezTo>
                <a:cubicBezTo>
                  <a:pt x="11647805" y="966181"/>
                  <a:pt x="11702415" y="936336"/>
                  <a:pt x="11682730" y="901411"/>
                </a:cubicBezTo>
                <a:close/>
                <a:moveTo>
                  <a:pt x="11716385" y="374361"/>
                </a:moveTo>
                <a:cubicBezTo>
                  <a:pt x="11675745" y="395951"/>
                  <a:pt x="11710670" y="459451"/>
                  <a:pt x="11750675" y="436591"/>
                </a:cubicBezTo>
                <a:cubicBezTo>
                  <a:pt x="11791950" y="415001"/>
                  <a:pt x="11757025" y="351501"/>
                  <a:pt x="11716385" y="374361"/>
                </a:cubicBezTo>
                <a:close/>
                <a:moveTo>
                  <a:pt x="11602085" y="444846"/>
                </a:moveTo>
                <a:cubicBezTo>
                  <a:pt x="11563350" y="470246"/>
                  <a:pt x="11604625" y="530571"/>
                  <a:pt x="11642090" y="503901"/>
                </a:cubicBezTo>
                <a:cubicBezTo>
                  <a:pt x="11680825" y="477866"/>
                  <a:pt x="11640185" y="418176"/>
                  <a:pt x="11602085" y="444846"/>
                </a:cubicBezTo>
                <a:close/>
                <a:moveTo>
                  <a:pt x="11714480" y="219421"/>
                </a:moveTo>
                <a:cubicBezTo>
                  <a:pt x="11779250" y="216246"/>
                  <a:pt x="11751310" y="117821"/>
                  <a:pt x="11694160" y="148936"/>
                </a:cubicBezTo>
                <a:cubicBezTo>
                  <a:pt x="11661775" y="167351"/>
                  <a:pt x="11677650" y="220691"/>
                  <a:pt x="11714480" y="219421"/>
                </a:cubicBezTo>
                <a:close/>
                <a:moveTo>
                  <a:pt x="11654790" y="684241"/>
                </a:moveTo>
                <a:cubicBezTo>
                  <a:pt x="11675745" y="722341"/>
                  <a:pt x="11734165" y="688686"/>
                  <a:pt x="11712575" y="651856"/>
                </a:cubicBezTo>
                <a:cubicBezTo>
                  <a:pt x="11692255" y="614391"/>
                  <a:pt x="11633200" y="647411"/>
                  <a:pt x="11654790" y="684241"/>
                </a:cubicBezTo>
                <a:close/>
                <a:moveTo>
                  <a:pt x="12139930" y="280381"/>
                </a:moveTo>
                <a:cubicBezTo>
                  <a:pt x="12135485" y="234661"/>
                  <a:pt x="12063095" y="242281"/>
                  <a:pt x="12068810" y="288001"/>
                </a:cubicBezTo>
                <a:cubicBezTo>
                  <a:pt x="12073255" y="334356"/>
                  <a:pt x="12145645" y="326101"/>
                  <a:pt x="12139930" y="280381"/>
                </a:cubicBezTo>
                <a:close/>
                <a:moveTo>
                  <a:pt x="11993880" y="547081"/>
                </a:moveTo>
                <a:cubicBezTo>
                  <a:pt x="12001500" y="589626"/>
                  <a:pt x="12067540" y="576926"/>
                  <a:pt x="12059285" y="535016"/>
                </a:cubicBezTo>
                <a:cubicBezTo>
                  <a:pt x="12051665" y="492471"/>
                  <a:pt x="11985625" y="504536"/>
                  <a:pt x="11993880" y="547081"/>
                </a:cubicBezTo>
                <a:close/>
                <a:moveTo>
                  <a:pt x="11941810" y="1288761"/>
                </a:moveTo>
                <a:cubicBezTo>
                  <a:pt x="11934825" y="1256376"/>
                  <a:pt x="11884025" y="1267171"/>
                  <a:pt x="11891645" y="1300191"/>
                </a:cubicBezTo>
                <a:cubicBezTo>
                  <a:pt x="11898630" y="1332576"/>
                  <a:pt x="11949430" y="1321146"/>
                  <a:pt x="11941810" y="1288761"/>
                </a:cubicBezTo>
                <a:close/>
                <a:moveTo>
                  <a:pt x="11944350" y="1044921"/>
                </a:moveTo>
                <a:cubicBezTo>
                  <a:pt x="11936095" y="1009361"/>
                  <a:pt x="11880215" y="1023331"/>
                  <a:pt x="11889740" y="1058891"/>
                </a:cubicBezTo>
                <a:cubicBezTo>
                  <a:pt x="11897995" y="1094451"/>
                  <a:pt x="11953875" y="1080481"/>
                  <a:pt x="11944350" y="1044921"/>
                </a:cubicBezTo>
                <a:close/>
                <a:moveTo>
                  <a:pt x="11909425" y="1513551"/>
                </a:moveTo>
                <a:cubicBezTo>
                  <a:pt x="11879580" y="1519266"/>
                  <a:pt x="11889105" y="1565621"/>
                  <a:pt x="11918315" y="1559271"/>
                </a:cubicBezTo>
                <a:cubicBezTo>
                  <a:pt x="11948160" y="1554191"/>
                  <a:pt x="11939270" y="1507836"/>
                  <a:pt x="11909425" y="1513551"/>
                </a:cubicBezTo>
                <a:close/>
                <a:moveTo>
                  <a:pt x="12089765" y="1536411"/>
                </a:moveTo>
                <a:cubicBezTo>
                  <a:pt x="12120880" y="1537046"/>
                  <a:pt x="12119610" y="1487516"/>
                  <a:pt x="12087860" y="1490056"/>
                </a:cubicBezTo>
                <a:cubicBezTo>
                  <a:pt x="12059285" y="1491326"/>
                  <a:pt x="12061190" y="1537046"/>
                  <a:pt x="12089765" y="1536411"/>
                </a:cubicBezTo>
                <a:close/>
                <a:moveTo>
                  <a:pt x="12103735" y="76546"/>
                </a:moveTo>
                <a:cubicBezTo>
                  <a:pt x="12155805" y="77181"/>
                  <a:pt x="12151360" y="-6004"/>
                  <a:pt x="12099290" y="346"/>
                </a:cubicBezTo>
                <a:cubicBezTo>
                  <a:pt x="12052300" y="5426"/>
                  <a:pt x="12056745" y="77816"/>
                  <a:pt x="12103735" y="76546"/>
                </a:cubicBezTo>
                <a:close/>
                <a:moveTo>
                  <a:pt x="12091035" y="807431"/>
                </a:moveTo>
                <a:cubicBezTo>
                  <a:pt x="12130405" y="803621"/>
                  <a:pt x="12124055" y="741391"/>
                  <a:pt x="12084685" y="746471"/>
                </a:cubicBezTo>
                <a:cubicBezTo>
                  <a:pt x="12044680" y="750281"/>
                  <a:pt x="12051665" y="812511"/>
                  <a:pt x="12091035" y="807431"/>
                </a:cubicBezTo>
                <a:close/>
                <a:moveTo>
                  <a:pt x="11822430" y="1344641"/>
                </a:moveTo>
                <a:cubicBezTo>
                  <a:pt x="11824970" y="1344641"/>
                  <a:pt x="11827510" y="1344006"/>
                  <a:pt x="11830050" y="1343371"/>
                </a:cubicBezTo>
                <a:lnTo>
                  <a:pt x="11830050" y="1343371"/>
                </a:lnTo>
                <a:cubicBezTo>
                  <a:pt x="11862435" y="1334481"/>
                  <a:pt x="11847195" y="1284316"/>
                  <a:pt x="11815445" y="1293841"/>
                </a:cubicBezTo>
                <a:cubicBezTo>
                  <a:pt x="11786870" y="1301461"/>
                  <a:pt x="11793855" y="1345276"/>
                  <a:pt x="11822430" y="1344641"/>
                </a:cubicBezTo>
                <a:close/>
                <a:moveTo>
                  <a:pt x="11827510" y="1579591"/>
                </a:moveTo>
                <a:cubicBezTo>
                  <a:pt x="11861800" y="1579591"/>
                  <a:pt x="11854815" y="1524981"/>
                  <a:pt x="11821795" y="1533871"/>
                </a:cubicBezTo>
                <a:cubicBezTo>
                  <a:pt x="11795760" y="1539586"/>
                  <a:pt x="11801475" y="1580226"/>
                  <a:pt x="11827510" y="1579591"/>
                </a:cubicBezTo>
                <a:close/>
                <a:moveTo>
                  <a:pt x="11894185" y="815686"/>
                </a:moveTo>
                <a:cubicBezTo>
                  <a:pt x="11882120" y="777586"/>
                  <a:pt x="11823065" y="797271"/>
                  <a:pt x="11835765" y="834736"/>
                </a:cubicBezTo>
                <a:cubicBezTo>
                  <a:pt x="11848465" y="873471"/>
                  <a:pt x="11907520" y="853786"/>
                  <a:pt x="11894185" y="815686"/>
                </a:cubicBezTo>
                <a:close/>
                <a:moveTo>
                  <a:pt x="11852910" y="1810731"/>
                </a:moveTo>
                <a:cubicBezTo>
                  <a:pt x="11882755" y="1810731"/>
                  <a:pt x="11877675" y="1763106"/>
                  <a:pt x="11848465" y="1769456"/>
                </a:cubicBezTo>
                <a:cubicBezTo>
                  <a:pt x="11824970" y="1773901"/>
                  <a:pt x="11828780" y="1811366"/>
                  <a:pt x="11852910" y="1810731"/>
                </a:cubicBezTo>
                <a:close/>
                <a:moveTo>
                  <a:pt x="11730355" y="1375756"/>
                </a:moveTo>
                <a:cubicBezTo>
                  <a:pt x="11769725" y="1375121"/>
                  <a:pt x="11758930" y="1312256"/>
                  <a:pt x="11721465" y="1326226"/>
                </a:cubicBezTo>
                <a:cubicBezTo>
                  <a:pt x="11694795" y="1334481"/>
                  <a:pt x="11703050" y="1376391"/>
                  <a:pt x="11730355" y="1375756"/>
                </a:cubicBezTo>
                <a:close/>
                <a:moveTo>
                  <a:pt x="11816080" y="1110326"/>
                </a:moveTo>
                <a:cubicBezTo>
                  <a:pt x="11858625" y="1109691"/>
                  <a:pt x="11847830" y="1041746"/>
                  <a:pt x="11807190" y="1055081"/>
                </a:cubicBezTo>
                <a:cubicBezTo>
                  <a:pt x="11776710" y="1064606"/>
                  <a:pt x="11784965" y="1110961"/>
                  <a:pt x="11816080" y="1110326"/>
                </a:cubicBezTo>
                <a:close/>
                <a:moveTo>
                  <a:pt x="11728450" y="1145886"/>
                </a:moveTo>
                <a:cubicBezTo>
                  <a:pt x="11762105" y="1131916"/>
                  <a:pt x="11739245" y="1079211"/>
                  <a:pt x="11706225" y="1093816"/>
                </a:cubicBezTo>
                <a:cubicBezTo>
                  <a:pt x="11671935" y="1108421"/>
                  <a:pt x="11695430" y="1161126"/>
                  <a:pt x="11728450" y="1145886"/>
                </a:cubicBezTo>
                <a:close/>
                <a:moveTo>
                  <a:pt x="11770995" y="894426"/>
                </a:moveTo>
                <a:cubicBezTo>
                  <a:pt x="11807825" y="879186"/>
                  <a:pt x="11783060" y="822036"/>
                  <a:pt x="11746230" y="837911"/>
                </a:cubicBezTo>
                <a:cubicBezTo>
                  <a:pt x="11709400" y="853151"/>
                  <a:pt x="11734800" y="910936"/>
                  <a:pt x="11770995" y="894426"/>
                </a:cubicBezTo>
                <a:close/>
                <a:moveTo>
                  <a:pt x="11640185" y="1412586"/>
                </a:moveTo>
                <a:cubicBezTo>
                  <a:pt x="11680825" y="1411951"/>
                  <a:pt x="11667490" y="1347181"/>
                  <a:pt x="11629390" y="1363056"/>
                </a:cubicBezTo>
                <a:cubicBezTo>
                  <a:pt x="11604625" y="1373851"/>
                  <a:pt x="11613515" y="1413856"/>
                  <a:pt x="11640185" y="1412586"/>
                </a:cubicBezTo>
                <a:close/>
                <a:moveTo>
                  <a:pt x="11015980" y="1110326"/>
                </a:moveTo>
                <a:cubicBezTo>
                  <a:pt x="10978515" y="1083656"/>
                  <a:pt x="10937240" y="1143346"/>
                  <a:pt x="10975340" y="1168746"/>
                </a:cubicBezTo>
                <a:cubicBezTo>
                  <a:pt x="11012805" y="1196051"/>
                  <a:pt x="11054080" y="1136361"/>
                  <a:pt x="11015980" y="1110326"/>
                </a:cubicBezTo>
                <a:close/>
                <a:moveTo>
                  <a:pt x="10950575" y="1321146"/>
                </a:moveTo>
                <a:cubicBezTo>
                  <a:pt x="10924540" y="1355436"/>
                  <a:pt x="10978515" y="1395441"/>
                  <a:pt x="11003915" y="1360516"/>
                </a:cubicBezTo>
                <a:cubicBezTo>
                  <a:pt x="11029950" y="1326226"/>
                  <a:pt x="10975340" y="1286221"/>
                  <a:pt x="10950575" y="1321146"/>
                </a:cubicBezTo>
                <a:close/>
                <a:moveTo>
                  <a:pt x="10994390" y="1493866"/>
                </a:moveTo>
                <a:cubicBezTo>
                  <a:pt x="10963910" y="1468466"/>
                  <a:pt x="10924540" y="1516726"/>
                  <a:pt x="10955655" y="1541491"/>
                </a:cubicBezTo>
                <a:cubicBezTo>
                  <a:pt x="10986135" y="1567526"/>
                  <a:pt x="11026140" y="1518631"/>
                  <a:pt x="10994390" y="1493866"/>
                </a:cubicBezTo>
                <a:close/>
                <a:moveTo>
                  <a:pt x="11021060" y="1601181"/>
                </a:moveTo>
                <a:cubicBezTo>
                  <a:pt x="10995660" y="1627216"/>
                  <a:pt x="11037570" y="1667221"/>
                  <a:pt x="11062335" y="1639916"/>
                </a:cubicBezTo>
                <a:cubicBezTo>
                  <a:pt x="11087735" y="1613881"/>
                  <a:pt x="11045825" y="1574511"/>
                  <a:pt x="11021060" y="1601181"/>
                </a:cubicBezTo>
                <a:close/>
                <a:moveTo>
                  <a:pt x="11068685" y="1406871"/>
                </a:moveTo>
                <a:cubicBezTo>
                  <a:pt x="11038840" y="1380201"/>
                  <a:pt x="10998200" y="1427826"/>
                  <a:pt x="11028680" y="1453226"/>
                </a:cubicBezTo>
                <a:cubicBezTo>
                  <a:pt x="11057890" y="1479896"/>
                  <a:pt x="11099165" y="1432271"/>
                  <a:pt x="11068685" y="1406871"/>
                </a:cubicBezTo>
                <a:close/>
                <a:moveTo>
                  <a:pt x="10949305" y="1679921"/>
                </a:moveTo>
                <a:cubicBezTo>
                  <a:pt x="10924540" y="1707226"/>
                  <a:pt x="10967720" y="1745326"/>
                  <a:pt x="10991850" y="1717386"/>
                </a:cubicBezTo>
                <a:cubicBezTo>
                  <a:pt x="11015980" y="1690716"/>
                  <a:pt x="10972800" y="1652616"/>
                  <a:pt x="10949305" y="1679921"/>
                </a:cubicBezTo>
                <a:close/>
                <a:moveTo>
                  <a:pt x="11095990" y="1524981"/>
                </a:moveTo>
                <a:cubicBezTo>
                  <a:pt x="11069320" y="1550381"/>
                  <a:pt x="11109960" y="1591021"/>
                  <a:pt x="11135360" y="1564986"/>
                </a:cubicBezTo>
                <a:cubicBezTo>
                  <a:pt x="11162030" y="1539586"/>
                  <a:pt x="11121390" y="1498946"/>
                  <a:pt x="11095990" y="1524981"/>
                </a:cubicBezTo>
                <a:close/>
                <a:moveTo>
                  <a:pt x="11025505" y="1222721"/>
                </a:moveTo>
                <a:cubicBezTo>
                  <a:pt x="10998200" y="1256376"/>
                  <a:pt x="11050905" y="1298286"/>
                  <a:pt x="11077575" y="1263996"/>
                </a:cubicBezTo>
                <a:cubicBezTo>
                  <a:pt x="11104880" y="1230341"/>
                  <a:pt x="11052175" y="1188431"/>
                  <a:pt x="11025505" y="1222721"/>
                </a:cubicBezTo>
                <a:close/>
                <a:moveTo>
                  <a:pt x="11093450" y="1004281"/>
                </a:moveTo>
                <a:cubicBezTo>
                  <a:pt x="11056620" y="976341"/>
                  <a:pt x="11013440" y="1034761"/>
                  <a:pt x="11050905" y="1061431"/>
                </a:cubicBezTo>
                <a:cubicBezTo>
                  <a:pt x="11087735" y="1089371"/>
                  <a:pt x="11130915" y="1030951"/>
                  <a:pt x="11093450" y="1004281"/>
                </a:cubicBezTo>
                <a:close/>
                <a:moveTo>
                  <a:pt x="10854055" y="1674841"/>
                </a:moveTo>
                <a:cubicBezTo>
                  <a:pt x="10822305" y="1651346"/>
                  <a:pt x="10785475" y="1701511"/>
                  <a:pt x="10817860" y="1724371"/>
                </a:cubicBezTo>
                <a:cubicBezTo>
                  <a:pt x="10850245" y="1748501"/>
                  <a:pt x="10887075" y="1697701"/>
                  <a:pt x="10854055" y="1674841"/>
                </a:cubicBezTo>
                <a:close/>
                <a:moveTo>
                  <a:pt x="10821670" y="1341466"/>
                </a:moveTo>
                <a:cubicBezTo>
                  <a:pt x="10796905" y="1380201"/>
                  <a:pt x="10858500" y="1418301"/>
                  <a:pt x="10882630" y="1378931"/>
                </a:cubicBezTo>
                <a:cubicBezTo>
                  <a:pt x="10907395" y="1339561"/>
                  <a:pt x="10845800" y="1301461"/>
                  <a:pt x="10821670" y="1341466"/>
                </a:cubicBezTo>
                <a:close/>
                <a:moveTo>
                  <a:pt x="8022590" y="4981921"/>
                </a:moveTo>
                <a:cubicBezTo>
                  <a:pt x="8023225" y="5009226"/>
                  <a:pt x="8065770" y="5006686"/>
                  <a:pt x="8063865" y="4980016"/>
                </a:cubicBezTo>
                <a:cubicBezTo>
                  <a:pt x="8063231" y="4952711"/>
                  <a:pt x="8020685" y="4954616"/>
                  <a:pt x="8022590" y="4981921"/>
                </a:cubicBezTo>
                <a:close/>
                <a:moveTo>
                  <a:pt x="10941685" y="1218911"/>
                </a:moveTo>
                <a:cubicBezTo>
                  <a:pt x="10902950" y="1192876"/>
                  <a:pt x="10863580" y="1253836"/>
                  <a:pt x="10902950" y="1278601"/>
                </a:cubicBezTo>
                <a:cubicBezTo>
                  <a:pt x="10941050" y="1304636"/>
                  <a:pt x="10981055" y="1243676"/>
                  <a:pt x="10941685" y="1218911"/>
                </a:cubicBezTo>
                <a:close/>
                <a:moveTo>
                  <a:pt x="10923270" y="1583401"/>
                </a:moveTo>
                <a:cubicBezTo>
                  <a:pt x="10892155" y="1558636"/>
                  <a:pt x="10854055" y="1608801"/>
                  <a:pt x="10885805" y="1632296"/>
                </a:cubicBezTo>
                <a:cubicBezTo>
                  <a:pt x="10916920" y="1657061"/>
                  <a:pt x="10955020" y="1607531"/>
                  <a:pt x="10923270" y="1583401"/>
                </a:cubicBezTo>
                <a:close/>
                <a:moveTo>
                  <a:pt x="10924540" y="1413221"/>
                </a:moveTo>
                <a:cubicBezTo>
                  <a:pt x="10889615" y="1387821"/>
                  <a:pt x="10850880" y="1443701"/>
                  <a:pt x="10886440" y="1467831"/>
                </a:cubicBezTo>
                <a:cubicBezTo>
                  <a:pt x="10921365" y="1493231"/>
                  <a:pt x="10960100" y="1437351"/>
                  <a:pt x="10924540" y="1413221"/>
                </a:cubicBezTo>
                <a:close/>
                <a:moveTo>
                  <a:pt x="10918825" y="1757391"/>
                </a:moveTo>
                <a:cubicBezTo>
                  <a:pt x="10878185" y="1726276"/>
                  <a:pt x="10850245" y="1805016"/>
                  <a:pt x="10900410" y="1807556"/>
                </a:cubicBezTo>
                <a:cubicBezTo>
                  <a:pt x="10926445" y="1808191"/>
                  <a:pt x="10939780" y="1773266"/>
                  <a:pt x="10918825" y="1757391"/>
                </a:cubicBezTo>
                <a:close/>
                <a:moveTo>
                  <a:pt x="11349355" y="1128106"/>
                </a:moveTo>
                <a:cubicBezTo>
                  <a:pt x="11374120" y="1159221"/>
                  <a:pt x="11422380" y="1119216"/>
                  <a:pt x="11396980" y="1088736"/>
                </a:cubicBezTo>
                <a:cubicBezTo>
                  <a:pt x="11371580" y="1058256"/>
                  <a:pt x="11323320" y="1097626"/>
                  <a:pt x="11349355" y="1128106"/>
                </a:cubicBezTo>
                <a:close/>
                <a:moveTo>
                  <a:pt x="11332210" y="1352896"/>
                </a:moveTo>
                <a:cubicBezTo>
                  <a:pt x="11354435" y="1382106"/>
                  <a:pt x="11399520" y="1347181"/>
                  <a:pt x="11377295" y="1318606"/>
                </a:cubicBezTo>
                <a:cubicBezTo>
                  <a:pt x="11355070" y="1289396"/>
                  <a:pt x="11309350" y="1324321"/>
                  <a:pt x="11332210" y="1352896"/>
                </a:cubicBezTo>
                <a:close/>
                <a:moveTo>
                  <a:pt x="11273155" y="943956"/>
                </a:moveTo>
                <a:cubicBezTo>
                  <a:pt x="11242040" y="973801"/>
                  <a:pt x="11289665" y="1022061"/>
                  <a:pt x="11319510" y="990946"/>
                </a:cubicBezTo>
                <a:cubicBezTo>
                  <a:pt x="11350625" y="961736"/>
                  <a:pt x="11303000" y="913476"/>
                  <a:pt x="11273155" y="943956"/>
                </a:cubicBezTo>
                <a:close/>
                <a:moveTo>
                  <a:pt x="11363960" y="858866"/>
                </a:moveTo>
                <a:cubicBezTo>
                  <a:pt x="11341100" y="877916"/>
                  <a:pt x="11356975" y="917921"/>
                  <a:pt x="11386185" y="916651"/>
                </a:cubicBezTo>
                <a:cubicBezTo>
                  <a:pt x="11446510" y="912841"/>
                  <a:pt x="11412220" y="821401"/>
                  <a:pt x="11363960" y="858866"/>
                </a:cubicBezTo>
                <a:close/>
                <a:moveTo>
                  <a:pt x="10626725" y="1885026"/>
                </a:moveTo>
                <a:cubicBezTo>
                  <a:pt x="10687050" y="1912966"/>
                  <a:pt x="10694035" y="1805651"/>
                  <a:pt x="10630535" y="1825971"/>
                </a:cubicBezTo>
                <a:cubicBezTo>
                  <a:pt x="10640695" y="1786601"/>
                  <a:pt x="10581640" y="1765011"/>
                  <a:pt x="10563860" y="1801841"/>
                </a:cubicBezTo>
                <a:cubicBezTo>
                  <a:pt x="10547985" y="1830416"/>
                  <a:pt x="10581005" y="1865341"/>
                  <a:pt x="10610215" y="1850736"/>
                </a:cubicBezTo>
                <a:cubicBezTo>
                  <a:pt x="10608310" y="1864071"/>
                  <a:pt x="10614025" y="1878041"/>
                  <a:pt x="10626725" y="1885026"/>
                </a:cubicBezTo>
                <a:close/>
                <a:moveTo>
                  <a:pt x="11551285" y="750916"/>
                </a:moveTo>
                <a:cubicBezTo>
                  <a:pt x="11574780" y="787111"/>
                  <a:pt x="11630660" y="749011"/>
                  <a:pt x="11606530" y="714086"/>
                </a:cubicBezTo>
                <a:cubicBezTo>
                  <a:pt x="11583035" y="677891"/>
                  <a:pt x="11527155" y="715991"/>
                  <a:pt x="11551285" y="750916"/>
                </a:cubicBezTo>
                <a:close/>
                <a:moveTo>
                  <a:pt x="11309350" y="1163031"/>
                </a:moveTo>
                <a:cubicBezTo>
                  <a:pt x="11283315" y="1133186"/>
                  <a:pt x="11236960" y="1175096"/>
                  <a:pt x="11264265" y="1204306"/>
                </a:cubicBezTo>
                <a:cubicBezTo>
                  <a:pt x="11290300" y="1234151"/>
                  <a:pt x="11336655" y="1192241"/>
                  <a:pt x="11309350" y="1163031"/>
                </a:cubicBezTo>
                <a:close/>
                <a:moveTo>
                  <a:pt x="11145520" y="1322416"/>
                </a:moveTo>
                <a:cubicBezTo>
                  <a:pt x="11116945" y="1295111"/>
                  <a:pt x="11074400" y="1340831"/>
                  <a:pt x="11103610" y="1367501"/>
                </a:cubicBezTo>
                <a:cubicBezTo>
                  <a:pt x="11132820" y="1394806"/>
                  <a:pt x="11175365" y="1349086"/>
                  <a:pt x="11145520" y="1322416"/>
                </a:cubicBezTo>
                <a:close/>
                <a:moveTo>
                  <a:pt x="11599545" y="298796"/>
                </a:moveTo>
                <a:cubicBezTo>
                  <a:pt x="11666855" y="294986"/>
                  <a:pt x="11632565" y="192751"/>
                  <a:pt x="11576050" y="230216"/>
                </a:cubicBezTo>
                <a:cubicBezTo>
                  <a:pt x="11547475" y="251171"/>
                  <a:pt x="11564620" y="300066"/>
                  <a:pt x="11599545" y="298796"/>
                </a:cubicBezTo>
                <a:close/>
                <a:moveTo>
                  <a:pt x="11173460" y="1451321"/>
                </a:moveTo>
                <a:cubicBezTo>
                  <a:pt x="11146155" y="1475451"/>
                  <a:pt x="11184890" y="1517996"/>
                  <a:pt x="11211560" y="1492596"/>
                </a:cubicBezTo>
                <a:cubicBezTo>
                  <a:pt x="11238865" y="1468466"/>
                  <a:pt x="11200130" y="1425921"/>
                  <a:pt x="11173460" y="1451321"/>
                </a:cubicBezTo>
                <a:close/>
                <a:moveTo>
                  <a:pt x="11174095" y="900776"/>
                </a:moveTo>
                <a:cubicBezTo>
                  <a:pt x="11138535" y="871566"/>
                  <a:pt x="11092815" y="928081"/>
                  <a:pt x="11129645" y="956656"/>
                </a:cubicBezTo>
                <a:cubicBezTo>
                  <a:pt x="11165205" y="985866"/>
                  <a:pt x="11210925" y="928716"/>
                  <a:pt x="11174095" y="900776"/>
                </a:cubicBezTo>
                <a:close/>
                <a:moveTo>
                  <a:pt x="11108055" y="1173191"/>
                </a:moveTo>
                <a:cubicBezTo>
                  <a:pt x="11140440" y="1201766"/>
                  <a:pt x="11184255" y="1150331"/>
                  <a:pt x="11151235" y="1122391"/>
                </a:cubicBezTo>
                <a:cubicBezTo>
                  <a:pt x="11118850" y="1094451"/>
                  <a:pt x="11075035" y="1145886"/>
                  <a:pt x="11108055" y="1173191"/>
                </a:cubicBezTo>
                <a:close/>
                <a:moveTo>
                  <a:pt x="11186795" y="1033491"/>
                </a:moveTo>
                <a:cubicBezTo>
                  <a:pt x="11156950" y="1064606"/>
                  <a:pt x="11207115" y="1110326"/>
                  <a:pt x="11235690" y="1078576"/>
                </a:cubicBezTo>
                <a:cubicBezTo>
                  <a:pt x="11264900" y="1047461"/>
                  <a:pt x="11215370" y="1001741"/>
                  <a:pt x="11186795" y="1033491"/>
                </a:cubicBezTo>
                <a:close/>
                <a:moveTo>
                  <a:pt x="11209020" y="804256"/>
                </a:moveTo>
                <a:cubicBezTo>
                  <a:pt x="11177905" y="838546"/>
                  <a:pt x="11233150" y="886171"/>
                  <a:pt x="11262995" y="851246"/>
                </a:cubicBezTo>
                <a:cubicBezTo>
                  <a:pt x="11293475" y="816321"/>
                  <a:pt x="11238865" y="768696"/>
                  <a:pt x="11209020" y="804256"/>
                </a:cubicBezTo>
                <a:close/>
                <a:moveTo>
                  <a:pt x="11250295" y="1420206"/>
                </a:moveTo>
                <a:cubicBezTo>
                  <a:pt x="11273790" y="1448781"/>
                  <a:pt x="11317605" y="1411316"/>
                  <a:pt x="11293475" y="1384011"/>
                </a:cubicBezTo>
                <a:cubicBezTo>
                  <a:pt x="11270615" y="1356071"/>
                  <a:pt x="11226165" y="1392901"/>
                  <a:pt x="11250295" y="1420206"/>
                </a:cubicBezTo>
                <a:close/>
                <a:moveTo>
                  <a:pt x="11225530" y="1241136"/>
                </a:moveTo>
                <a:cubicBezTo>
                  <a:pt x="11197590" y="1212561"/>
                  <a:pt x="11153775" y="1257011"/>
                  <a:pt x="11182350" y="1284316"/>
                </a:cubicBezTo>
                <a:cubicBezTo>
                  <a:pt x="11210290" y="1312891"/>
                  <a:pt x="11254105" y="1268441"/>
                  <a:pt x="11225530" y="1241136"/>
                </a:cubicBezTo>
                <a:close/>
                <a:moveTo>
                  <a:pt x="10812145" y="1843751"/>
                </a:moveTo>
                <a:cubicBezTo>
                  <a:pt x="10789285" y="1872326"/>
                  <a:pt x="10833735" y="1907886"/>
                  <a:pt x="10856595" y="1878676"/>
                </a:cubicBezTo>
                <a:cubicBezTo>
                  <a:pt x="10879455" y="1850101"/>
                  <a:pt x="10834370" y="1814541"/>
                  <a:pt x="10812145" y="1843751"/>
                </a:cubicBezTo>
                <a:close/>
                <a:moveTo>
                  <a:pt x="8510270" y="4990176"/>
                </a:moveTo>
                <a:cubicBezTo>
                  <a:pt x="8482330" y="5001606"/>
                  <a:pt x="8502015" y="5045421"/>
                  <a:pt x="8529320" y="5032721"/>
                </a:cubicBezTo>
                <a:cubicBezTo>
                  <a:pt x="8557260" y="5021291"/>
                  <a:pt x="8537575" y="4978111"/>
                  <a:pt x="8510270" y="4990176"/>
                </a:cubicBezTo>
                <a:close/>
                <a:moveTo>
                  <a:pt x="8525510" y="5228936"/>
                </a:moveTo>
                <a:cubicBezTo>
                  <a:pt x="8494395" y="5248621"/>
                  <a:pt x="8525510" y="5296881"/>
                  <a:pt x="8555990" y="5276561"/>
                </a:cubicBezTo>
                <a:cubicBezTo>
                  <a:pt x="8587105" y="5256876"/>
                  <a:pt x="8555990" y="5208616"/>
                  <a:pt x="8525510" y="5228936"/>
                </a:cubicBezTo>
                <a:close/>
                <a:moveTo>
                  <a:pt x="8515350" y="4775546"/>
                </a:moveTo>
                <a:cubicBezTo>
                  <a:pt x="8543290" y="4775546"/>
                  <a:pt x="8536305" y="4731096"/>
                  <a:pt x="8509635" y="4739986"/>
                </a:cubicBezTo>
                <a:cubicBezTo>
                  <a:pt x="8489950" y="4745701"/>
                  <a:pt x="8495665" y="4776181"/>
                  <a:pt x="8515350" y="4775546"/>
                </a:cubicBezTo>
                <a:close/>
                <a:moveTo>
                  <a:pt x="8517890" y="4652991"/>
                </a:moveTo>
                <a:cubicBezTo>
                  <a:pt x="8541385" y="4652991"/>
                  <a:pt x="8536305" y="4614891"/>
                  <a:pt x="8513445" y="4621876"/>
                </a:cubicBezTo>
                <a:cubicBezTo>
                  <a:pt x="8495665" y="4626956"/>
                  <a:pt x="8500110" y="4653626"/>
                  <a:pt x="8517890" y="4652991"/>
                </a:cubicBezTo>
                <a:close/>
                <a:moveTo>
                  <a:pt x="8578215" y="4633941"/>
                </a:moveTo>
                <a:cubicBezTo>
                  <a:pt x="8602345" y="4633941"/>
                  <a:pt x="8595995" y="4595206"/>
                  <a:pt x="8573135" y="4602826"/>
                </a:cubicBezTo>
                <a:cubicBezTo>
                  <a:pt x="8555990" y="4607906"/>
                  <a:pt x="8561070" y="4634576"/>
                  <a:pt x="8578215" y="4633941"/>
                </a:cubicBezTo>
                <a:close/>
                <a:moveTo>
                  <a:pt x="8576945" y="4716491"/>
                </a:moveTo>
                <a:cubicBezTo>
                  <a:pt x="8554085" y="4724111"/>
                  <a:pt x="8567420" y="4759671"/>
                  <a:pt x="8589645" y="4750781"/>
                </a:cubicBezTo>
                <a:cubicBezTo>
                  <a:pt x="8612505" y="4743161"/>
                  <a:pt x="8599170" y="4707601"/>
                  <a:pt x="8576945" y="4716491"/>
                </a:cubicBezTo>
                <a:close/>
                <a:moveTo>
                  <a:pt x="8589645" y="4953346"/>
                </a:moveTo>
                <a:cubicBezTo>
                  <a:pt x="8562340" y="4966681"/>
                  <a:pt x="8583930" y="5008591"/>
                  <a:pt x="8610600" y="4994621"/>
                </a:cubicBezTo>
                <a:cubicBezTo>
                  <a:pt x="8637905" y="4981286"/>
                  <a:pt x="8616315" y="4938741"/>
                  <a:pt x="8589645" y="4953346"/>
                </a:cubicBezTo>
                <a:close/>
                <a:moveTo>
                  <a:pt x="8580755" y="4835871"/>
                </a:moveTo>
                <a:cubicBezTo>
                  <a:pt x="8555355" y="4846031"/>
                  <a:pt x="8572500" y="4885401"/>
                  <a:pt x="8597265" y="4873971"/>
                </a:cubicBezTo>
                <a:cubicBezTo>
                  <a:pt x="8622030" y="4863811"/>
                  <a:pt x="8605520" y="4825076"/>
                  <a:pt x="8580755" y="4835871"/>
                </a:cubicBezTo>
                <a:close/>
                <a:moveTo>
                  <a:pt x="8514080" y="4905086"/>
                </a:moveTo>
                <a:cubicBezTo>
                  <a:pt x="8545830" y="4904451"/>
                  <a:pt x="8536940" y="4854286"/>
                  <a:pt x="8507095" y="4864446"/>
                </a:cubicBezTo>
                <a:cubicBezTo>
                  <a:pt x="8485505" y="4872066"/>
                  <a:pt x="8491855" y="4906356"/>
                  <a:pt x="8514080" y="4905086"/>
                </a:cubicBezTo>
                <a:close/>
                <a:moveTo>
                  <a:pt x="8456930" y="4670771"/>
                </a:moveTo>
                <a:cubicBezTo>
                  <a:pt x="8480425" y="4670771"/>
                  <a:pt x="8475345" y="4633306"/>
                  <a:pt x="8452485" y="4639656"/>
                </a:cubicBezTo>
                <a:cubicBezTo>
                  <a:pt x="8434705" y="4644101"/>
                  <a:pt x="8438515" y="4671406"/>
                  <a:pt x="8456930" y="4670771"/>
                </a:cubicBezTo>
                <a:close/>
                <a:moveTo>
                  <a:pt x="8414385" y="5162261"/>
                </a:moveTo>
                <a:cubicBezTo>
                  <a:pt x="8383270" y="5174961"/>
                  <a:pt x="8404860" y="5223221"/>
                  <a:pt x="8434705" y="5209251"/>
                </a:cubicBezTo>
                <a:cubicBezTo>
                  <a:pt x="8465820" y="5196551"/>
                  <a:pt x="8444865" y="5148291"/>
                  <a:pt x="8414385" y="5162261"/>
                </a:cubicBezTo>
                <a:close/>
                <a:moveTo>
                  <a:pt x="8437880" y="4931121"/>
                </a:moveTo>
                <a:cubicBezTo>
                  <a:pt x="8468995" y="4931121"/>
                  <a:pt x="8461375" y="4880956"/>
                  <a:pt x="8431530" y="4890481"/>
                </a:cubicBezTo>
                <a:cubicBezTo>
                  <a:pt x="8409940" y="4896831"/>
                  <a:pt x="8415020" y="4931756"/>
                  <a:pt x="8437880" y="4931121"/>
                </a:cubicBezTo>
                <a:close/>
                <a:moveTo>
                  <a:pt x="8637905" y="4612351"/>
                </a:moveTo>
                <a:cubicBezTo>
                  <a:pt x="8662035" y="4612351"/>
                  <a:pt x="8655050" y="4573616"/>
                  <a:pt x="8632190" y="4581871"/>
                </a:cubicBezTo>
                <a:cubicBezTo>
                  <a:pt x="8616315" y="4587586"/>
                  <a:pt x="8620760" y="4612986"/>
                  <a:pt x="8637905" y="4612351"/>
                </a:cubicBezTo>
                <a:close/>
                <a:moveTo>
                  <a:pt x="8512810" y="5169881"/>
                </a:moveTo>
                <a:cubicBezTo>
                  <a:pt x="8554720" y="5169246"/>
                  <a:pt x="8538845" y="5102571"/>
                  <a:pt x="8500745" y="5120986"/>
                </a:cubicBezTo>
                <a:cubicBezTo>
                  <a:pt x="8477250" y="5132416"/>
                  <a:pt x="8486775" y="5170516"/>
                  <a:pt x="8512810" y="5169881"/>
                </a:cubicBezTo>
                <a:close/>
                <a:moveTo>
                  <a:pt x="8435975" y="5281641"/>
                </a:moveTo>
                <a:cubicBezTo>
                  <a:pt x="8403590" y="5298786"/>
                  <a:pt x="8431530" y="5348951"/>
                  <a:pt x="8463280" y="5331171"/>
                </a:cubicBezTo>
                <a:lnTo>
                  <a:pt x="8463280" y="5331171"/>
                </a:lnTo>
                <a:cubicBezTo>
                  <a:pt x="8495665" y="5314026"/>
                  <a:pt x="8468360" y="5263861"/>
                  <a:pt x="8435975" y="5281641"/>
                </a:cubicBezTo>
                <a:close/>
                <a:moveTo>
                  <a:pt x="8444230" y="5402926"/>
                </a:moveTo>
                <a:cubicBezTo>
                  <a:pt x="8410575" y="5424516"/>
                  <a:pt x="8445500" y="5476586"/>
                  <a:pt x="8477885" y="5454361"/>
                </a:cubicBezTo>
                <a:cubicBezTo>
                  <a:pt x="8511540" y="5432771"/>
                  <a:pt x="8477250" y="5380701"/>
                  <a:pt x="8444230" y="5402926"/>
                </a:cubicBezTo>
                <a:close/>
                <a:moveTo>
                  <a:pt x="8446770" y="4796501"/>
                </a:moveTo>
                <a:cubicBezTo>
                  <a:pt x="8474075" y="4796501"/>
                  <a:pt x="8467725" y="4753321"/>
                  <a:pt x="8441690" y="4760306"/>
                </a:cubicBezTo>
                <a:cubicBezTo>
                  <a:pt x="8421370" y="4766021"/>
                  <a:pt x="8425815" y="4797136"/>
                  <a:pt x="8446770" y="4796501"/>
                </a:cubicBezTo>
                <a:close/>
                <a:moveTo>
                  <a:pt x="8870950" y="4511386"/>
                </a:moveTo>
                <a:cubicBezTo>
                  <a:pt x="8896350" y="4510751"/>
                  <a:pt x="8886825" y="4470111"/>
                  <a:pt x="8863965" y="4481541"/>
                </a:cubicBezTo>
                <a:cubicBezTo>
                  <a:pt x="8848725" y="4487891"/>
                  <a:pt x="8854440" y="4512021"/>
                  <a:pt x="8870950" y="4511386"/>
                </a:cubicBezTo>
                <a:close/>
                <a:moveTo>
                  <a:pt x="8968740" y="4559646"/>
                </a:moveTo>
                <a:cubicBezTo>
                  <a:pt x="8999855" y="4559011"/>
                  <a:pt x="8985885" y="4510116"/>
                  <a:pt x="8958580" y="4525991"/>
                </a:cubicBezTo>
                <a:cubicBezTo>
                  <a:pt x="8943340" y="4535516"/>
                  <a:pt x="8951595" y="4560916"/>
                  <a:pt x="8968740" y="4559646"/>
                </a:cubicBezTo>
                <a:close/>
                <a:moveTo>
                  <a:pt x="8907780" y="4597111"/>
                </a:moveTo>
                <a:cubicBezTo>
                  <a:pt x="8938260" y="4596476"/>
                  <a:pt x="8925560" y="4548216"/>
                  <a:pt x="8898255" y="4562821"/>
                </a:cubicBezTo>
                <a:cubicBezTo>
                  <a:pt x="8882380" y="4571711"/>
                  <a:pt x="8890000" y="4598381"/>
                  <a:pt x="8907780" y="4597111"/>
                </a:cubicBezTo>
                <a:close/>
                <a:moveTo>
                  <a:pt x="8643620" y="4690456"/>
                </a:moveTo>
                <a:cubicBezTo>
                  <a:pt x="8621395" y="4699346"/>
                  <a:pt x="8636000" y="4733636"/>
                  <a:pt x="8657590" y="4724111"/>
                </a:cubicBezTo>
                <a:cubicBezTo>
                  <a:pt x="8679815" y="4715856"/>
                  <a:pt x="8665210" y="4680931"/>
                  <a:pt x="8643620" y="4690456"/>
                </a:cubicBezTo>
                <a:close/>
                <a:moveTo>
                  <a:pt x="8926830" y="4482176"/>
                </a:moveTo>
                <a:cubicBezTo>
                  <a:pt x="8952865" y="4481541"/>
                  <a:pt x="8942705" y="4440266"/>
                  <a:pt x="8919210" y="4452331"/>
                </a:cubicBezTo>
                <a:cubicBezTo>
                  <a:pt x="8905240" y="4459316"/>
                  <a:pt x="8910955" y="4482811"/>
                  <a:pt x="8926830" y="4482176"/>
                </a:cubicBezTo>
                <a:close/>
                <a:moveTo>
                  <a:pt x="8950325" y="4675216"/>
                </a:moveTo>
                <a:cubicBezTo>
                  <a:pt x="8972550" y="4659976"/>
                  <a:pt x="8948420" y="4625051"/>
                  <a:pt x="8926195" y="4640926"/>
                </a:cubicBezTo>
                <a:cubicBezTo>
                  <a:pt x="8903970" y="4656801"/>
                  <a:pt x="8928735" y="4691091"/>
                  <a:pt x="8950325" y="4675216"/>
                </a:cubicBezTo>
                <a:close/>
                <a:moveTo>
                  <a:pt x="8967470" y="4749511"/>
                </a:moveTo>
                <a:cubicBezTo>
                  <a:pt x="9009380" y="4747606"/>
                  <a:pt x="8985885" y="4682836"/>
                  <a:pt x="8952230" y="4708236"/>
                </a:cubicBezTo>
                <a:cubicBezTo>
                  <a:pt x="8935720" y="4721571"/>
                  <a:pt x="8946515" y="4750146"/>
                  <a:pt x="8967470" y="4749511"/>
                </a:cubicBezTo>
                <a:close/>
                <a:moveTo>
                  <a:pt x="8982710" y="4451061"/>
                </a:moveTo>
                <a:cubicBezTo>
                  <a:pt x="9008745" y="4450426"/>
                  <a:pt x="8997950" y="4409151"/>
                  <a:pt x="8975090" y="4421216"/>
                </a:cubicBezTo>
                <a:cubicBezTo>
                  <a:pt x="8960485" y="4428836"/>
                  <a:pt x="8966835" y="4451696"/>
                  <a:pt x="8982710" y="4451061"/>
                </a:cubicBezTo>
                <a:close/>
                <a:moveTo>
                  <a:pt x="8860790" y="4686011"/>
                </a:moveTo>
                <a:cubicBezTo>
                  <a:pt x="8837930" y="4700616"/>
                  <a:pt x="8861425" y="4736176"/>
                  <a:pt x="8883650" y="4720936"/>
                </a:cubicBezTo>
                <a:cubicBezTo>
                  <a:pt x="8905875" y="4706331"/>
                  <a:pt x="8883015" y="4670771"/>
                  <a:pt x="8860790" y="4686011"/>
                </a:cubicBezTo>
                <a:close/>
                <a:moveTo>
                  <a:pt x="8700135" y="4686646"/>
                </a:moveTo>
                <a:cubicBezTo>
                  <a:pt x="8709660" y="4708236"/>
                  <a:pt x="8743950" y="4692996"/>
                  <a:pt x="8733790" y="4671406"/>
                </a:cubicBezTo>
                <a:cubicBezTo>
                  <a:pt x="8723630" y="4649181"/>
                  <a:pt x="8689975" y="4665056"/>
                  <a:pt x="8700135" y="4686646"/>
                </a:cubicBezTo>
                <a:close/>
                <a:moveTo>
                  <a:pt x="8696960" y="4589491"/>
                </a:moveTo>
                <a:cubicBezTo>
                  <a:pt x="8721725" y="4589491"/>
                  <a:pt x="8714105" y="4550121"/>
                  <a:pt x="8691245" y="4559011"/>
                </a:cubicBezTo>
                <a:cubicBezTo>
                  <a:pt x="8675370" y="4564726"/>
                  <a:pt x="8680450" y="4590126"/>
                  <a:pt x="8696960" y="4589491"/>
                </a:cubicBezTo>
                <a:close/>
                <a:moveTo>
                  <a:pt x="8829040" y="4623146"/>
                </a:moveTo>
                <a:cubicBezTo>
                  <a:pt x="8840470" y="4644101"/>
                  <a:pt x="8872855" y="4626321"/>
                  <a:pt x="8861425" y="4605366"/>
                </a:cubicBezTo>
                <a:cubicBezTo>
                  <a:pt x="8849995" y="4584411"/>
                  <a:pt x="8817610" y="4602826"/>
                  <a:pt x="8829040" y="4623146"/>
                </a:cubicBezTo>
                <a:close/>
                <a:moveTo>
                  <a:pt x="8653145" y="4802851"/>
                </a:moveTo>
                <a:cubicBezTo>
                  <a:pt x="8628380" y="4814281"/>
                  <a:pt x="8647430" y="4852381"/>
                  <a:pt x="8670925" y="4840316"/>
                </a:cubicBezTo>
                <a:cubicBezTo>
                  <a:pt x="8695690" y="4829521"/>
                  <a:pt x="8677275" y="4790786"/>
                  <a:pt x="8653145" y="4802851"/>
                </a:cubicBezTo>
                <a:close/>
                <a:moveTo>
                  <a:pt x="8756015" y="4565361"/>
                </a:moveTo>
                <a:cubicBezTo>
                  <a:pt x="8780780" y="4564726"/>
                  <a:pt x="8772525" y="4525356"/>
                  <a:pt x="8749665" y="4534881"/>
                </a:cubicBezTo>
                <a:cubicBezTo>
                  <a:pt x="8733790" y="4541231"/>
                  <a:pt x="8738870" y="4565996"/>
                  <a:pt x="8756015" y="4565361"/>
                </a:cubicBezTo>
                <a:close/>
                <a:moveTo>
                  <a:pt x="8813800" y="4538691"/>
                </a:moveTo>
                <a:cubicBezTo>
                  <a:pt x="8839200" y="4538056"/>
                  <a:pt x="8830310" y="4498051"/>
                  <a:pt x="8806815" y="4508211"/>
                </a:cubicBezTo>
                <a:cubicBezTo>
                  <a:pt x="8791575" y="4515196"/>
                  <a:pt x="8797290" y="4539326"/>
                  <a:pt x="8813800" y="4538691"/>
                </a:cubicBezTo>
                <a:close/>
                <a:moveTo>
                  <a:pt x="8764905" y="4656166"/>
                </a:moveTo>
                <a:cubicBezTo>
                  <a:pt x="8775065" y="4677756"/>
                  <a:pt x="8808720" y="4660611"/>
                  <a:pt x="8797925" y="4639656"/>
                </a:cubicBezTo>
                <a:cubicBezTo>
                  <a:pt x="8787765" y="4618066"/>
                  <a:pt x="8754110" y="4634576"/>
                  <a:pt x="8764905" y="4656166"/>
                </a:cubicBezTo>
                <a:close/>
                <a:moveTo>
                  <a:pt x="8270875" y="4713316"/>
                </a:moveTo>
                <a:cubicBezTo>
                  <a:pt x="8293100" y="4713316"/>
                  <a:pt x="8289925" y="4677756"/>
                  <a:pt x="8268335" y="4681566"/>
                </a:cubicBezTo>
                <a:cubicBezTo>
                  <a:pt x="8249285" y="4684741"/>
                  <a:pt x="8252460" y="4713316"/>
                  <a:pt x="8270875" y="4713316"/>
                </a:cubicBezTo>
                <a:close/>
                <a:moveTo>
                  <a:pt x="8149590" y="5397846"/>
                </a:moveTo>
                <a:cubicBezTo>
                  <a:pt x="8114031" y="5406736"/>
                  <a:pt x="8128635" y="5462616"/>
                  <a:pt x="8163560" y="5452456"/>
                </a:cubicBezTo>
                <a:cubicBezTo>
                  <a:pt x="8199120" y="5443566"/>
                  <a:pt x="8185150" y="5388321"/>
                  <a:pt x="8149590" y="5397846"/>
                </a:cubicBezTo>
                <a:close/>
                <a:moveTo>
                  <a:pt x="8437245" y="5068281"/>
                </a:moveTo>
                <a:cubicBezTo>
                  <a:pt x="8472805" y="5067646"/>
                  <a:pt x="8462645" y="5011131"/>
                  <a:pt x="8428990" y="5023196"/>
                </a:cubicBezTo>
                <a:cubicBezTo>
                  <a:pt x="8405495" y="5031451"/>
                  <a:pt x="8412480" y="5068916"/>
                  <a:pt x="8437245" y="5068281"/>
                </a:cubicBezTo>
                <a:close/>
                <a:moveTo>
                  <a:pt x="8145781" y="4731731"/>
                </a:moveTo>
                <a:cubicBezTo>
                  <a:pt x="8167370" y="4731731"/>
                  <a:pt x="8165465" y="4697441"/>
                  <a:pt x="8143875" y="4699981"/>
                </a:cubicBezTo>
                <a:cubicBezTo>
                  <a:pt x="8124190" y="4701886"/>
                  <a:pt x="8126095" y="4732366"/>
                  <a:pt x="8145781" y="4731731"/>
                </a:cubicBezTo>
                <a:close/>
                <a:moveTo>
                  <a:pt x="8146415" y="4837141"/>
                </a:moveTo>
                <a:cubicBezTo>
                  <a:pt x="8148956" y="4860636"/>
                  <a:pt x="8185785" y="4856191"/>
                  <a:pt x="8182610" y="4832696"/>
                </a:cubicBezTo>
                <a:cubicBezTo>
                  <a:pt x="8180706" y="4809201"/>
                  <a:pt x="8143240" y="4813646"/>
                  <a:pt x="8146415" y="4837141"/>
                </a:cubicBezTo>
                <a:close/>
                <a:moveTo>
                  <a:pt x="8155306" y="5611841"/>
                </a:moveTo>
                <a:cubicBezTo>
                  <a:pt x="8201660" y="5611841"/>
                  <a:pt x="8189595" y="5537546"/>
                  <a:pt x="8145145" y="5552151"/>
                </a:cubicBezTo>
                <a:cubicBezTo>
                  <a:pt x="8112760" y="5561676"/>
                  <a:pt x="8121650" y="5612476"/>
                  <a:pt x="8155306" y="5611841"/>
                </a:cubicBezTo>
                <a:close/>
                <a:moveTo>
                  <a:pt x="8141970" y="5246081"/>
                </a:moveTo>
                <a:cubicBezTo>
                  <a:pt x="8108950" y="5251796"/>
                  <a:pt x="8119110" y="5303231"/>
                  <a:pt x="8151495" y="5296881"/>
                </a:cubicBezTo>
                <a:cubicBezTo>
                  <a:pt x="8184515" y="5291166"/>
                  <a:pt x="8174990" y="5239731"/>
                  <a:pt x="8141970" y="5246081"/>
                </a:cubicBezTo>
                <a:close/>
                <a:moveTo>
                  <a:pt x="8208645" y="4723476"/>
                </a:moveTo>
                <a:cubicBezTo>
                  <a:pt x="8230870" y="4723476"/>
                  <a:pt x="8228331" y="4688551"/>
                  <a:pt x="8206106" y="4691726"/>
                </a:cubicBezTo>
                <a:cubicBezTo>
                  <a:pt x="8187056" y="4694266"/>
                  <a:pt x="8189595" y="4723476"/>
                  <a:pt x="8208645" y="4723476"/>
                </a:cubicBezTo>
                <a:close/>
                <a:moveTo>
                  <a:pt x="8182610" y="4967951"/>
                </a:moveTo>
                <a:cubicBezTo>
                  <a:pt x="8186420" y="4994621"/>
                  <a:pt x="8228331" y="4988271"/>
                  <a:pt x="8223885" y="4961601"/>
                </a:cubicBezTo>
                <a:cubicBezTo>
                  <a:pt x="8220075" y="4934931"/>
                  <a:pt x="8178165" y="4941281"/>
                  <a:pt x="8182610" y="4967951"/>
                </a:cubicBezTo>
                <a:close/>
                <a:moveTo>
                  <a:pt x="8081010" y="5442296"/>
                </a:moveTo>
                <a:cubicBezTo>
                  <a:pt x="8075931" y="5406101"/>
                  <a:pt x="8018781" y="5414991"/>
                  <a:pt x="8025131" y="5451186"/>
                </a:cubicBezTo>
                <a:cubicBezTo>
                  <a:pt x="8030845" y="5487381"/>
                  <a:pt x="8087360" y="5478491"/>
                  <a:pt x="8081010" y="5442296"/>
                </a:cubicBezTo>
                <a:close/>
                <a:moveTo>
                  <a:pt x="8074660" y="4843491"/>
                </a:moveTo>
                <a:cubicBezTo>
                  <a:pt x="8076565" y="4867621"/>
                  <a:pt x="8113395" y="4864446"/>
                  <a:pt x="8111490" y="4840316"/>
                </a:cubicBezTo>
                <a:cubicBezTo>
                  <a:pt x="8109585" y="4816821"/>
                  <a:pt x="8072756" y="4819996"/>
                  <a:pt x="8074660" y="4843491"/>
                </a:cubicBezTo>
                <a:close/>
                <a:moveTo>
                  <a:pt x="8082281" y="4738081"/>
                </a:moveTo>
                <a:cubicBezTo>
                  <a:pt x="8103870" y="4738081"/>
                  <a:pt x="8102600" y="4704426"/>
                  <a:pt x="8081010" y="4706331"/>
                </a:cubicBezTo>
                <a:cubicBezTo>
                  <a:pt x="8061325" y="4707601"/>
                  <a:pt x="8062595" y="4738716"/>
                  <a:pt x="8082281" y="4738081"/>
                </a:cubicBezTo>
                <a:close/>
                <a:moveTo>
                  <a:pt x="8094981" y="5148291"/>
                </a:moveTo>
                <a:cubicBezTo>
                  <a:pt x="8124825" y="5145751"/>
                  <a:pt x="8120381" y="5098761"/>
                  <a:pt x="8090535" y="5101936"/>
                </a:cubicBezTo>
                <a:cubicBezTo>
                  <a:pt x="8060056" y="5104476"/>
                  <a:pt x="8064500" y="5151466"/>
                  <a:pt x="8094981" y="5148291"/>
                </a:cubicBezTo>
                <a:close/>
                <a:moveTo>
                  <a:pt x="10809605" y="1277331"/>
                </a:moveTo>
                <a:cubicBezTo>
                  <a:pt x="10852150" y="1302096"/>
                  <a:pt x="10890250" y="1234151"/>
                  <a:pt x="10846435" y="1210656"/>
                </a:cubicBezTo>
                <a:cubicBezTo>
                  <a:pt x="10804525" y="1186526"/>
                  <a:pt x="10766425" y="1254471"/>
                  <a:pt x="10809605" y="1277331"/>
                </a:cubicBezTo>
                <a:close/>
                <a:moveTo>
                  <a:pt x="8217535" y="4827616"/>
                </a:moveTo>
                <a:cubicBezTo>
                  <a:pt x="8221345" y="4851111"/>
                  <a:pt x="8258175" y="4845396"/>
                  <a:pt x="8253731" y="4821901"/>
                </a:cubicBezTo>
                <a:cubicBezTo>
                  <a:pt x="8250556" y="4798406"/>
                  <a:pt x="8213725" y="4804121"/>
                  <a:pt x="8217535" y="4827616"/>
                </a:cubicBezTo>
                <a:close/>
                <a:moveTo>
                  <a:pt x="8102600" y="4976841"/>
                </a:moveTo>
                <a:cubicBezTo>
                  <a:pt x="8105140" y="5004146"/>
                  <a:pt x="8147050" y="4999701"/>
                  <a:pt x="8143875" y="4972396"/>
                </a:cubicBezTo>
                <a:cubicBezTo>
                  <a:pt x="8141970" y="4945726"/>
                  <a:pt x="8100060" y="4950171"/>
                  <a:pt x="8102600" y="4976841"/>
                </a:cubicBezTo>
                <a:close/>
                <a:moveTo>
                  <a:pt x="8047990" y="5260051"/>
                </a:moveTo>
                <a:cubicBezTo>
                  <a:pt x="8016240" y="5262591"/>
                  <a:pt x="8018781" y="5312121"/>
                  <a:pt x="8050531" y="5311486"/>
                </a:cubicBezTo>
                <a:cubicBezTo>
                  <a:pt x="8085456" y="5311486"/>
                  <a:pt x="8082915" y="5255606"/>
                  <a:pt x="8047990" y="5260051"/>
                </a:cubicBezTo>
                <a:close/>
                <a:moveTo>
                  <a:pt x="8203565" y="5109556"/>
                </a:moveTo>
                <a:cubicBezTo>
                  <a:pt x="8199120" y="5079711"/>
                  <a:pt x="8152131" y="5087331"/>
                  <a:pt x="8157845" y="5117176"/>
                </a:cubicBezTo>
                <a:cubicBezTo>
                  <a:pt x="8162290" y="5147021"/>
                  <a:pt x="8208645" y="5139401"/>
                  <a:pt x="8203565" y="5109556"/>
                </a:cubicBezTo>
                <a:close/>
                <a:moveTo>
                  <a:pt x="8363585" y="5518496"/>
                </a:moveTo>
                <a:cubicBezTo>
                  <a:pt x="8414385" y="5517226"/>
                  <a:pt x="8393430" y="5437216"/>
                  <a:pt x="8348345" y="5460711"/>
                </a:cubicBezTo>
                <a:cubicBezTo>
                  <a:pt x="8321040" y="5475316"/>
                  <a:pt x="8333106" y="5519766"/>
                  <a:pt x="8363585" y="5518496"/>
                </a:cubicBezTo>
                <a:close/>
                <a:moveTo>
                  <a:pt x="8355331" y="5382606"/>
                </a:moveTo>
                <a:cubicBezTo>
                  <a:pt x="8400415" y="5381971"/>
                  <a:pt x="8384540" y="5310851"/>
                  <a:pt x="8343265" y="5328631"/>
                </a:cubicBezTo>
                <a:cubicBezTo>
                  <a:pt x="8316595" y="5340061"/>
                  <a:pt x="8326120" y="5383241"/>
                  <a:pt x="8355331" y="5382606"/>
                </a:cubicBezTo>
                <a:close/>
                <a:moveTo>
                  <a:pt x="8925560" y="4882226"/>
                </a:moveTo>
                <a:cubicBezTo>
                  <a:pt x="8950960" y="4860001"/>
                  <a:pt x="8915400" y="4821266"/>
                  <a:pt x="8891270" y="4844126"/>
                </a:cubicBezTo>
                <a:cubicBezTo>
                  <a:pt x="8865870" y="4866351"/>
                  <a:pt x="8901430" y="4905086"/>
                  <a:pt x="8925560" y="4882226"/>
                </a:cubicBezTo>
                <a:close/>
                <a:moveTo>
                  <a:pt x="8310245" y="5229571"/>
                </a:moveTo>
                <a:cubicBezTo>
                  <a:pt x="8321040" y="5261321"/>
                  <a:pt x="8370570" y="5243541"/>
                  <a:pt x="8358506" y="5212426"/>
                </a:cubicBezTo>
                <a:cubicBezTo>
                  <a:pt x="8348345" y="5181311"/>
                  <a:pt x="8298815" y="5198456"/>
                  <a:pt x="8310245" y="5229571"/>
                </a:cubicBezTo>
                <a:close/>
                <a:moveTo>
                  <a:pt x="8395335" y="4686646"/>
                </a:moveTo>
                <a:cubicBezTo>
                  <a:pt x="8418195" y="4686646"/>
                  <a:pt x="8413750" y="4649816"/>
                  <a:pt x="8391525" y="4655531"/>
                </a:cubicBezTo>
                <a:cubicBezTo>
                  <a:pt x="8373745" y="4659341"/>
                  <a:pt x="8376920" y="4687281"/>
                  <a:pt x="8395335" y="4686646"/>
                </a:cubicBezTo>
                <a:close/>
                <a:moveTo>
                  <a:pt x="8376920" y="4814916"/>
                </a:moveTo>
                <a:cubicBezTo>
                  <a:pt x="8403590" y="4814916"/>
                  <a:pt x="8398510" y="4772371"/>
                  <a:pt x="8372475" y="4778721"/>
                </a:cubicBezTo>
                <a:cubicBezTo>
                  <a:pt x="8352156" y="4783166"/>
                  <a:pt x="8355965" y="4815551"/>
                  <a:pt x="8376920" y="4814916"/>
                </a:cubicBezTo>
                <a:close/>
                <a:moveTo>
                  <a:pt x="8353425" y="5096221"/>
                </a:moveTo>
                <a:cubicBezTo>
                  <a:pt x="8388350" y="5096221"/>
                  <a:pt x="8380095" y="5040976"/>
                  <a:pt x="8346440" y="5050501"/>
                </a:cubicBezTo>
                <a:cubicBezTo>
                  <a:pt x="8321040" y="5058121"/>
                  <a:pt x="8327390" y="5097491"/>
                  <a:pt x="8353425" y="5096221"/>
                </a:cubicBezTo>
                <a:close/>
                <a:moveTo>
                  <a:pt x="8381365" y="4927311"/>
                </a:moveTo>
                <a:cubicBezTo>
                  <a:pt x="8375015" y="4901276"/>
                  <a:pt x="8333740" y="4911436"/>
                  <a:pt x="8341360" y="4937471"/>
                </a:cubicBezTo>
                <a:cubicBezTo>
                  <a:pt x="8347075" y="4964141"/>
                  <a:pt x="8388350" y="4953346"/>
                  <a:pt x="8381365" y="4927311"/>
                </a:cubicBezTo>
                <a:close/>
                <a:moveTo>
                  <a:pt x="8257540" y="5421976"/>
                </a:moveTo>
                <a:cubicBezTo>
                  <a:pt x="8300720" y="5421341"/>
                  <a:pt x="8288656" y="5352761"/>
                  <a:pt x="8248015" y="5367366"/>
                </a:cubicBezTo>
                <a:cubicBezTo>
                  <a:pt x="8218806" y="5376891"/>
                  <a:pt x="8227060" y="5423246"/>
                  <a:pt x="8257540" y="5421976"/>
                </a:cubicBezTo>
                <a:close/>
                <a:moveTo>
                  <a:pt x="8261350" y="5569931"/>
                </a:moveTo>
                <a:cubicBezTo>
                  <a:pt x="8310245" y="5569296"/>
                  <a:pt x="8293735" y="5491826"/>
                  <a:pt x="8248650" y="5511511"/>
                </a:cubicBezTo>
                <a:cubicBezTo>
                  <a:pt x="8218806" y="5523576"/>
                  <a:pt x="8229600" y="5571201"/>
                  <a:pt x="8261350" y="5569931"/>
                </a:cubicBezTo>
                <a:close/>
                <a:moveTo>
                  <a:pt x="8303260" y="4946361"/>
                </a:moveTo>
                <a:cubicBezTo>
                  <a:pt x="8298181" y="4919691"/>
                  <a:pt x="8256906" y="4928581"/>
                  <a:pt x="8262620" y="4954616"/>
                </a:cubicBezTo>
                <a:cubicBezTo>
                  <a:pt x="8267700" y="4981286"/>
                  <a:pt x="8308975" y="4972396"/>
                  <a:pt x="8303260" y="4946361"/>
                </a:cubicBezTo>
                <a:close/>
                <a:moveTo>
                  <a:pt x="8261985" y="5073361"/>
                </a:moveTo>
                <a:cubicBezTo>
                  <a:pt x="8235315" y="5078441"/>
                  <a:pt x="8240395" y="5120351"/>
                  <a:pt x="8267065" y="5119081"/>
                </a:cubicBezTo>
                <a:cubicBezTo>
                  <a:pt x="8301356" y="5119081"/>
                  <a:pt x="8295006" y="5065741"/>
                  <a:pt x="8261985" y="5073361"/>
                </a:cubicBezTo>
                <a:close/>
                <a:moveTo>
                  <a:pt x="8306435" y="4830156"/>
                </a:moveTo>
                <a:cubicBezTo>
                  <a:pt x="8332470" y="4830156"/>
                  <a:pt x="8328660" y="4788881"/>
                  <a:pt x="8302625" y="4793961"/>
                </a:cubicBezTo>
                <a:cubicBezTo>
                  <a:pt x="8281670" y="4797771"/>
                  <a:pt x="8285481" y="4830791"/>
                  <a:pt x="8306435" y="4830156"/>
                </a:cubicBezTo>
                <a:close/>
                <a:moveTo>
                  <a:pt x="8234681" y="5225126"/>
                </a:moveTo>
                <a:cubicBezTo>
                  <a:pt x="8202295" y="5233381"/>
                  <a:pt x="8216265" y="5284181"/>
                  <a:pt x="8248015" y="5274656"/>
                </a:cubicBezTo>
                <a:lnTo>
                  <a:pt x="8248015" y="5274656"/>
                </a:lnTo>
                <a:cubicBezTo>
                  <a:pt x="8280400" y="5266401"/>
                  <a:pt x="8267065" y="5216236"/>
                  <a:pt x="8234681" y="5225126"/>
                </a:cubicBezTo>
                <a:close/>
                <a:moveTo>
                  <a:pt x="8333106" y="4700616"/>
                </a:moveTo>
                <a:cubicBezTo>
                  <a:pt x="8355965" y="4700616"/>
                  <a:pt x="8352156" y="4664421"/>
                  <a:pt x="8329931" y="4668866"/>
                </a:cubicBezTo>
                <a:cubicBezTo>
                  <a:pt x="8311515" y="4672676"/>
                  <a:pt x="8314690" y="4701251"/>
                  <a:pt x="8333106" y="4700616"/>
                </a:cubicBezTo>
                <a:close/>
                <a:moveTo>
                  <a:pt x="8038465" y="5581996"/>
                </a:moveTo>
                <a:cubicBezTo>
                  <a:pt x="7999095" y="5590251"/>
                  <a:pt x="8013700" y="5651211"/>
                  <a:pt x="8051800" y="5641686"/>
                </a:cubicBezTo>
                <a:cubicBezTo>
                  <a:pt x="8091170" y="5633431"/>
                  <a:pt x="8077200" y="5572471"/>
                  <a:pt x="8038465" y="5581996"/>
                </a:cubicBezTo>
                <a:close/>
                <a:moveTo>
                  <a:pt x="10363200" y="2656551"/>
                </a:moveTo>
                <a:cubicBezTo>
                  <a:pt x="10355580" y="2651471"/>
                  <a:pt x="10346055" y="2651471"/>
                  <a:pt x="10338435" y="2655281"/>
                </a:cubicBezTo>
                <a:cubicBezTo>
                  <a:pt x="10337800" y="2627976"/>
                  <a:pt x="10298430" y="2618451"/>
                  <a:pt x="10285730" y="2643216"/>
                </a:cubicBezTo>
                <a:cubicBezTo>
                  <a:pt x="10271125" y="2666711"/>
                  <a:pt x="10300335" y="2695921"/>
                  <a:pt x="10323830" y="2681951"/>
                </a:cubicBezTo>
                <a:cubicBezTo>
                  <a:pt x="10333990" y="2730846"/>
                  <a:pt x="10403840" y="2687031"/>
                  <a:pt x="10363200" y="2656551"/>
                </a:cubicBezTo>
                <a:close/>
                <a:moveTo>
                  <a:pt x="10384790" y="2721321"/>
                </a:moveTo>
                <a:cubicBezTo>
                  <a:pt x="10408920" y="2739101"/>
                  <a:pt x="10436860" y="2701001"/>
                  <a:pt x="10412095" y="2683221"/>
                </a:cubicBezTo>
                <a:cubicBezTo>
                  <a:pt x="10387965" y="2665441"/>
                  <a:pt x="10360025" y="2704176"/>
                  <a:pt x="10384790" y="2721321"/>
                </a:cubicBezTo>
                <a:close/>
                <a:moveTo>
                  <a:pt x="10180320" y="2680681"/>
                </a:moveTo>
                <a:cubicBezTo>
                  <a:pt x="10184130" y="2681951"/>
                  <a:pt x="10187940" y="2682586"/>
                  <a:pt x="10191115" y="2683221"/>
                </a:cubicBezTo>
                <a:cubicBezTo>
                  <a:pt x="10200640" y="2690206"/>
                  <a:pt x="10213975" y="2691476"/>
                  <a:pt x="10224770" y="2687031"/>
                </a:cubicBezTo>
                <a:cubicBezTo>
                  <a:pt x="10241280" y="2756881"/>
                  <a:pt x="10328910" y="2680046"/>
                  <a:pt x="10261600" y="2654646"/>
                </a:cubicBezTo>
                <a:cubicBezTo>
                  <a:pt x="10327640" y="2625436"/>
                  <a:pt x="10240645" y="2547966"/>
                  <a:pt x="10219690" y="2617181"/>
                </a:cubicBezTo>
                <a:cubicBezTo>
                  <a:pt x="10175240" y="2577811"/>
                  <a:pt x="10125075" y="2659091"/>
                  <a:pt x="10180320" y="2680681"/>
                </a:cubicBezTo>
                <a:close/>
                <a:moveTo>
                  <a:pt x="9899015" y="3457286"/>
                </a:moveTo>
                <a:cubicBezTo>
                  <a:pt x="9900920" y="3460461"/>
                  <a:pt x="9904095" y="3463636"/>
                  <a:pt x="9907905" y="3465541"/>
                </a:cubicBezTo>
                <a:cubicBezTo>
                  <a:pt x="9916160" y="3494116"/>
                  <a:pt x="9961245" y="3480146"/>
                  <a:pt x="9952355" y="3451571"/>
                </a:cubicBezTo>
                <a:cubicBezTo>
                  <a:pt x="9958070" y="3456651"/>
                  <a:pt x="9965690" y="3457286"/>
                  <a:pt x="9972675" y="3454746"/>
                </a:cubicBezTo>
                <a:cubicBezTo>
                  <a:pt x="9978390" y="3466811"/>
                  <a:pt x="9996805" y="3467446"/>
                  <a:pt x="10003790" y="3456016"/>
                </a:cubicBezTo>
                <a:cubicBezTo>
                  <a:pt x="10013315" y="3442681"/>
                  <a:pt x="9999980" y="3423631"/>
                  <a:pt x="9984740" y="3428076"/>
                </a:cubicBezTo>
                <a:cubicBezTo>
                  <a:pt x="9977755" y="3407756"/>
                  <a:pt x="9946005" y="3412201"/>
                  <a:pt x="9944735" y="3433791"/>
                </a:cubicBezTo>
                <a:cubicBezTo>
                  <a:pt x="9944100" y="3432521"/>
                  <a:pt x="9943465" y="3431251"/>
                  <a:pt x="9942830" y="3429981"/>
                </a:cubicBezTo>
                <a:cubicBezTo>
                  <a:pt x="9954895" y="3418551"/>
                  <a:pt x="9952990" y="3397596"/>
                  <a:pt x="9940290" y="3388071"/>
                </a:cubicBezTo>
                <a:cubicBezTo>
                  <a:pt x="9951720" y="3332826"/>
                  <a:pt x="9860280" y="3331556"/>
                  <a:pt x="9870440" y="3387436"/>
                </a:cubicBezTo>
                <a:cubicBezTo>
                  <a:pt x="9817735" y="3402041"/>
                  <a:pt x="9850755" y="3483956"/>
                  <a:pt x="9899015" y="3457286"/>
                </a:cubicBezTo>
                <a:close/>
                <a:moveTo>
                  <a:pt x="10309860" y="2829271"/>
                </a:moveTo>
                <a:cubicBezTo>
                  <a:pt x="10285095" y="2812126"/>
                  <a:pt x="10258425" y="2851496"/>
                  <a:pt x="10283825" y="2868006"/>
                </a:cubicBezTo>
                <a:cubicBezTo>
                  <a:pt x="10308590" y="2885151"/>
                  <a:pt x="10335260" y="2845781"/>
                  <a:pt x="10309860" y="2829271"/>
                </a:cubicBezTo>
                <a:close/>
                <a:moveTo>
                  <a:pt x="9401175" y="4193886"/>
                </a:moveTo>
                <a:cubicBezTo>
                  <a:pt x="9417685" y="4211031"/>
                  <a:pt x="9444355" y="4184361"/>
                  <a:pt x="9427210" y="4167851"/>
                </a:cubicBezTo>
                <a:cubicBezTo>
                  <a:pt x="9410700" y="4150706"/>
                  <a:pt x="9384665" y="4177376"/>
                  <a:pt x="9401175" y="4193886"/>
                </a:cubicBezTo>
                <a:close/>
                <a:moveTo>
                  <a:pt x="10341610" y="2914361"/>
                </a:moveTo>
                <a:cubicBezTo>
                  <a:pt x="10358120" y="2892771"/>
                  <a:pt x="10324465" y="2867371"/>
                  <a:pt x="10308590" y="2888961"/>
                </a:cubicBezTo>
                <a:cubicBezTo>
                  <a:pt x="10292080" y="2910551"/>
                  <a:pt x="10325735" y="2936586"/>
                  <a:pt x="10341610" y="2914361"/>
                </a:cubicBezTo>
                <a:close/>
                <a:moveTo>
                  <a:pt x="10328275" y="2761961"/>
                </a:moveTo>
                <a:cubicBezTo>
                  <a:pt x="10328275" y="2761961"/>
                  <a:pt x="10328275" y="2761961"/>
                  <a:pt x="10328275" y="2761961"/>
                </a:cubicBezTo>
                <a:cubicBezTo>
                  <a:pt x="10320655" y="2772756"/>
                  <a:pt x="10323195" y="2786726"/>
                  <a:pt x="10333990" y="2794346"/>
                </a:cubicBezTo>
                <a:cubicBezTo>
                  <a:pt x="10390505" y="2818476"/>
                  <a:pt x="10372725" y="2719416"/>
                  <a:pt x="10328275" y="2761961"/>
                </a:cubicBezTo>
                <a:close/>
                <a:moveTo>
                  <a:pt x="9244965" y="4313266"/>
                </a:moveTo>
                <a:cubicBezTo>
                  <a:pt x="9226550" y="4328506"/>
                  <a:pt x="9251315" y="4357081"/>
                  <a:pt x="9269095" y="4341206"/>
                </a:cubicBezTo>
                <a:cubicBezTo>
                  <a:pt x="9286875" y="4325966"/>
                  <a:pt x="9262745" y="4297391"/>
                  <a:pt x="9244965" y="4313266"/>
                </a:cubicBezTo>
                <a:close/>
                <a:moveTo>
                  <a:pt x="10293350" y="2978496"/>
                </a:moveTo>
                <a:cubicBezTo>
                  <a:pt x="10309860" y="2956906"/>
                  <a:pt x="10275570" y="2931506"/>
                  <a:pt x="10259695" y="2953731"/>
                </a:cubicBezTo>
                <a:cubicBezTo>
                  <a:pt x="10243820" y="2975321"/>
                  <a:pt x="10278110" y="3000721"/>
                  <a:pt x="10293350" y="2978496"/>
                </a:cubicBezTo>
                <a:close/>
                <a:moveTo>
                  <a:pt x="9248775" y="4277706"/>
                </a:moveTo>
                <a:cubicBezTo>
                  <a:pt x="9276715" y="4276436"/>
                  <a:pt x="9262110" y="4233256"/>
                  <a:pt x="9239250" y="4249131"/>
                </a:cubicBezTo>
                <a:cubicBezTo>
                  <a:pt x="9226550" y="4258021"/>
                  <a:pt x="9233535" y="4278341"/>
                  <a:pt x="9248775" y="4277706"/>
                </a:cubicBezTo>
                <a:close/>
                <a:moveTo>
                  <a:pt x="9298940" y="4239606"/>
                </a:moveTo>
                <a:cubicBezTo>
                  <a:pt x="9326880" y="4238336"/>
                  <a:pt x="9312275" y="4195156"/>
                  <a:pt x="9289415" y="4211031"/>
                </a:cubicBezTo>
                <a:cubicBezTo>
                  <a:pt x="9277350" y="4219921"/>
                  <a:pt x="9284970" y="4240241"/>
                  <a:pt x="9298940" y="4239606"/>
                </a:cubicBezTo>
                <a:close/>
                <a:moveTo>
                  <a:pt x="9349105" y="4200236"/>
                </a:moveTo>
                <a:cubicBezTo>
                  <a:pt x="9377680" y="4198966"/>
                  <a:pt x="9361805" y="4155151"/>
                  <a:pt x="9338945" y="4172296"/>
                </a:cubicBezTo>
                <a:cubicBezTo>
                  <a:pt x="9327515" y="4180551"/>
                  <a:pt x="9334500" y="4200871"/>
                  <a:pt x="9349105" y="4200236"/>
                </a:cubicBezTo>
                <a:close/>
                <a:moveTo>
                  <a:pt x="9298305" y="4266276"/>
                </a:moveTo>
                <a:cubicBezTo>
                  <a:pt x="9280525" y="4282151"/>
                  <a:pt x="9305290" y="4309456"/>
                  <a:pt x="9323070" y="4293581"/>
                </a:cubicBezTo>
                <a:cubicBezTo>
                  <a:pt x="9340850" y="4277706"/>
                  <a:pt x="9315450" y="4249766"/>
                  <a:pt x="9298305" y="4266276"/>
                </a:cubicBezTo>
                <a:close/>
                <a:moveTo>
                  <a:pt x="9350375" y="4217381"/>
                </a:moveTo>
                <a:cubicBezTo>
                  <a:pt x="9332595" y="4233256"/>
                  <a:pt x="9358630" y="4260561"/>
                  <a:pt x="9375775" y="4244051"/>
                </a:cubicBezTo>
                <a:cubicBezTo>
                  <a:pt x="9392920" y="4228176"/>
                  <a:pt x="9367520" y="4200871"/>
                  <a:pt x="9350375" y="4217381"/>
                </a:cubicBezTo>
                <a:close/>
                <a:moveTo>
                  <a:pt x="9398000" y="4159596"/>
                </a:moveTo>
                <a:cubicBezTo>
                  <a:pt x="9426575" y="4158326"/>
                  <a:pt x="9410700" y="4113876"/>
                  <a:pt x="9387840" y="4131656"/>
                </a:cubicBezTo>
                <a:cubicBezTo>
                  <a:pt x="9376410" y="4140546"/>
                  <a:pt x="9384030" y="4160231"/>
                  <a:pt x="9398000" y="4159596"/>
                </a:cubicBezTo>
                <a:close/>
                <a:moveTo>
                  <a:pt x="10219055" y="3010246"/>
                </a:moveTo>
                <a:lnTo>
                  <a:pt x="10219055" y="3010246"/>
                </a:lnTo>
                <a:cubicBezTo>
                  <a:pt x="10235565" y="2984846"/>
                  <a:pt x="10195560" y="2959446"/>
                  <a:pt x="10179685" y="2985481"/>
                </a:cubicBezTo>
                <a:cubicBezTo>
                  <a:pt x="10163810" y="3010246"/>
                  <a:pt x="10203180" y="3036281"/>
                  <a:pt x="10219055" y="3010246"/>
                </a:cubicBezTo>
                <a:close/>
                <a:moveTo>
                  <a:pt x="10500360" y="1904711"/>
                </a:moveTo>
                <a:cubicBezTo>
                  <a:pt x="10504805" y="1906616"/>
                  <a:pt x="10509250" y="1907886"/>
                  <a:pt x="10513695" y="1907886"/>
                </a:cubicBezTo>
                <a:cubicBezTo>
                  <a:pt x="10481945" y="1932016"/>
                  <a:pt x="10513060" y="1984721"/>
                  <a:pt x="10549890" y="1968211"/>
                </a:cubicBezTo>
                <a:cubicBezTo>
                  <a:pt x="10553065" y="1998691"/>
                  <a:pt x="10597515" y="2006946"/>
                  <a:pt x="10611485" y="1979641"/>
                </a:cubicBezTo>
                <a:cubicBezTo>
                  <a:pt x="10626725" y="1954241"/>
                  <a:pt x="10598785" y="1921856"/>
                  <a:pt x="10572115" y="1932016"/>
                </a:cubicBezTo>
                <a:cubicBezTo>
                  <a:pt x="10570845" y="1915506"/>
                  <a:pt x="10556240" y="1900901"/>
                  <a:pt x="10539730" y="1899631"/>
                </a:cubicBezTo>
                <a:cubicBezTo>
                  <a:pt x="10561955" y="1883121"/>
                  <a:pt x="10558145" y="1845656"/>
                  <a:pt x="10532110" y="1834861"/>
                </a:cubicBezTo>
                <a:cubicBezTo>
                  <a:pt x="10487025" y="1813906"/>
                  <a:pt x="10455275" y="1885026"/>
                  <a:pt x="10500360" y="1904711"/>
                </a:cubicBezTo>
                <a:close/>
                <a:moveTo>
                  <a:pt x="10332720" y="2289521"/>
                </a:moveTo>
                <a:cubicBezTo>
                  <a:pt x="10328910" y="2320636"/>
                  <a:pt x="10370820" y="2340956"/>
                  <a:pt x="10393045" y="2317461"/>
                </a:cubicBezTo>
                <a:cubicBezTo>
                  <a:pt x="10411460" y="2330796"/>
                  <a:pt x="10440035" y="2318731"/>
                  <a:pt x="10443210" y="2296506"/>
                </a:cubicBezTo>
                <a:cubicBezTo>
                  <a:pt x="10454640" y="2315556"/>
                  <a:pt x="10485120" y="2314921"/>
                  <a:pt x="10495280" y="2294601"/>
                </a:cubicBezTo>
                <a:cubicBezTo>
                  <a:pt x="10517505" y="2254596"/>
                  <a:pt x="10448925" y="2227926"/>
                  <a:pt x="10438765" y="2272376"/>
                </a:cubicBezTo>
                <a:cubicBezTo>
                  <a:pt x="10429240" y="2255231"/>
                  <a:pt x="10403840" y="2251421"/>
                  <a:pt x="10389870" y="2264121"/>
                </a:cubicBezTo>
                <a:cubicBezTo>
                  <a:pt x="10388600" y="2263486"/>
                  <a:pt x="10387965" y="2262851"/>
                  <a:pt x="10386695" y="2261581"/>
                </a:cubicBezTo>
                <a:cubicBezTo>
                  <a:pt x="10388600" y="2172681"/>
                  <a:pt x="10260330" y="2237451"/>
                  <a:pt x="10332720" y="2289521"/>
                </a:cubicBezTo>
                <a:close/>
                <a:moveTo>
                  <a:pt x="10389235" y="2161251"/>
                </a:moveTo>
                <a:cubicBezTo>
                  <a:pt x="10389235" y="2161251"/>
                  <a:pt x="10389235" y="2161251"/>
                  <a:pt x="10389235" y="2161251"/>
                </a:cubicBezTo>
                <a:cubicBezTo>
                  <a:pt x="10377805" y="2191731"/>
                  <a:pt x="10415905" y="2220941"/>
                  <a:pt x="10442575" y="2202526"/>
                </a:cubicBezTo>
                <a:cubicBezTo>
                  <a:pt x="10457815" y="2220941"/>
                  <a:pt x="10490200" y="2215226"/>
                  <a:pt x="10497820" y="2191731"/>
                </a:cubicBezTo>
                <a:cubicBezTo>
                  <a:pt x="10506075" y="2214591"/>
                  <a:pt x="10541000" y="2217766"/>
                  <a:pt x="10552430" y="2195541"/>
                </a:cubicBezTo>
                <a:cubicBezTo>
                  <a:pt x="10574020" y="2158711"/>
                  <a:pt x="10513060" y="2128866"/>
                  <a:pt x="10497820" y="2168236"/>
                </a:cubicBezTo>
                <a:cubicBezTo>
                  <a:pt x="10492105" y="2149821"/>
                  <a:pt x="10467975" y="2140931"/>
                  <a:pt x="10451465" y="2150456"/>
                </a:cubicBezTo>
                <a:cubicBezTo>
                  <a:pt x="10448290" y="2146011"/>
                  <a:pt x="10443845" y="2142836"/>
                  <a:pt x="10438765" y="2140296"/>
                </a:cubicBezTo>
                <a:cubicBezTo>
                  <a:pt x="10458450" y="2095211"/>
                  <a:pt x="10387330" y="2065366"/>
                  <a:pt x="10368280" y="2111086"/>
                </a:cubicBezTo>
                <a:cubicBezTo>
                  <a:pt x="10360660" y="2130771"/>
                  <a:pt x="10369550" y="2152996"/>
                  <a:pt x="10389235" y="2161251"/>
                </a:cubicBezTo>
                <a:close/>
                <a:moveTo>
                  <a:pt x="10558780" y="1777076"/>
                </a:moveTo>
                <a:cubicBezTo>
                  <a:pt x="10577195" y="1785966"/>
                  <a:pt x="10600690" y="1777711"/>
                  <a:pt x="10609580" y="1758661"/>
                </a:cubicBezTo>
                <a:lnTo>
                  <a:pt x="10609580" y="1758661"/>
                </a:lnTo>
                <a:cubicBezTo>
                  <a:pt x="10631170" y="1714211"/>
                  <a:pt x="10560685" y="1681191"/>
                  <a:pt x="10540365" y="1726276"/>
                </a:cubicBezTo>
                <a:cubicBezTo>
                  <a:pt x="10530840" y="1745961"/>
                  <a:pt x="10539095" y="1768186"/>
                  <a:pt x="10558780" y="1777076"/>
                </a:cubicBezTo>
                <a:close/>
                <a:moveTo>
                  <a:pt x="10443845" y="2032346"/>
                </a:moveTo>
                <a:cubicBezTo>
                  <a:pt x="10445750" y="2032981"/>
                  <a:pt x="10447020" y="2033616"/>
                  <a:pt x="10448925" y="2034251"/>
                </a:cubicBezTo>
                <a:cubicBezTo>
                  <a:pt x="10429240" y="2062826"/>
                  <a:pt x="10463530" y="2101561"/>
                  <a:pt x="10494010" y="2085686"/>
                </a:cubicBezTo>
                <a:cubicBezTo>
                  <a:pt x="10504805" y="2110451"/>
                  <a:pt x="10543540" y="2110451"/>
                  <a:pt x="10553700" y="2085051"/>
                </a:cubicBezTo>
                <a:cubicBezTo>
                  <a:pt x="10555605" y="2112991"/>
                  <a:pt x="10596245" y="2123151"/>
                  <a:pt x="10610215" y="2097751"/>
                </a:cubicBezTo>
                <a:cubicBezTo>
                  <a:pt x="10632440" y="2062191"/>
                  <a:pt x="10573385" y="2030441"/>
                  <a:pt x="10556240" y="2068541"/>
                </a:cubicBezTo>
                <a:cubicBezTo>
                  <a:pt x="10555605" y="2047586"/>
                  <a:pt x="10530840" y="2031711"/>
                  <a:pt x="10511155" y="2040601"/>
                </a:cubicBezTo>
                <a:cubicBezTo>
                  <a:pt x="10507345" y="2031076"/>
                  <a:pt x="10499090" y="2022821"/>
                  <a:pt x="10488930" y="2019646"/>
                </a:cubicBezTo>
                <a:cubicBezTo>
                  <a:pt x="10502900" y="2000596"/>
                  <a:pt x="10495280" y="1972021"/>
                  <a:pt x="10473055" y="1962496"/>
                </a:cubicBezTo>
                <a:cubicBezTo>
                  <a:pt x="10429240" y="1942176"/>
                  <a:pt x="10398125" y="2013296"/>
                  <a:pt x="10443845" y="2032346"/>
                </a:cubicBezTo>
                <a:close/>
                <a:moveTo>
                  <a:pt x="10743565" y="1401156"/>
                </a:moveTo>
                <a:cubicBezTo>
                  <a:pt x="10786745" y="1425286"/>
                  <a:pt x="10823575" y="1356706"/>
                  <a:pt x="10779125" y="1333846"/>
                </a:cubicBezTo>
                <a:cubicBezTo>
                  <a:pt x="10735945" y="1309716"/>
                  <a:pt x="10699750" y="1378296"/>
                  <a:pt x="10743565" y="1401156"/>
                </a:cubicBezTo>
                <a:close/>
                <a:moveTo>
                  <a:pt x="10680065" y="1525616"/>
                </a:moveTo>
                <a:cubicBezTo>
                  <a:pt x="10723245" y="1548476"/>
                  <a:pt x="10759440" y="1479261"/>
                  <a:pt x="10714355" y="1457671"/>
                </a:cubicBezTo>
                <a:cubicBezTo>
                  <a:pt x="10670540" y="1434811"/>
                  <a:pt x="10635615" y="1504026"/>
                  <a:pt x="10680065" y="1525616"/>
                </a:cubicBezTo>
                <a:close/>
                <a:moveTo>
                  <a:pt x="10618470" y="1650711"/>
                </a:moveTo>
                <a:cubicBezTo>
                  <a:pt x="10662285" y="1672936"/>
                  <a:pt x="10696575" y="1603086"/>
                  <a:pt x="10651490" y="1582131"/>
                </a:cubicBezTo>
                <a:cubicBezTo>
                  <a:pt x="10607675" y="1559906"/>
                  <a:pt x="10573385" y="1629756"/>
                  <a:pt x="10618470" y="1650711"/>
                </a:cubicBezTo>
                <a:close/>
                <a:moveTo>
                  <a:pt x="10280015" y="2419061"/>
                </a:moveTo>
                <a:cubicBezTo>
                  <a:pt x="10284460" y="2449541"/>
                  <a:pt x="10329545" y="2458431"/>
                  <a:pt x="10344785" y="2431126"/>
                </a:cubicBezTo>
                <a:cubicBezTo>
                  <a:pt x="10365740" y="2440016"/>
                  <a:pt x="10391140" y="2422236"/>
                  <a:pt x="10389870" y="2399376"/>
                </a:cubicBezTo>
                <a:cubicBezTo>
                  <a:pt x="10402570" y="2415886"/>
                  <a:pt x="10430510" y="2413981"/>
                  <a:pt x="10440670" y="2394931"/>
                </a:cubicBezTo>
                <a:lnTo>
                  <a:pt x="10440670" y="2394931"/>
                </a:lnTo>
                <a:cubicBezTo>
                  <a:pt x="10441940" y="2392391"/>
                  <a:pt x="10443210" y="2389851"/>
                  <a:pt x="10443845" y="2386676"/>
                </a:cubicBezTo>
                <a:cubicBezTo>
                  <a:pt x="10446385" y="2412076"/>
                  <a:pt x="10482580" y="2420331"/>
                  <a:pt x="10495915" y="2397471"/>
                </a:cubicBezTo>
                <a:cubicBezTo>
                  <a:pt x="10518140" y="2361276"/>
                  <a:pt x="10454640" y="2334606"/>
                  <a:pt x="10444480" y="2375881"/>
                </a:cubicBezTo>
                <a:cubicBezTo>
                  <a:pt x="10441940" y="2347306"/>
                  <a:pt x="10400030" y="2339051"/>
                  <a:pt x="10387330" y="2365086"/>
                </a:cubicBezTo>
                <a:cubicBezTo>
                  <a:pt x="10387330" y="2365086"/>
                  <a:pt x="10387330" y="2365086"/>
                  <a:pt x="10387330" y="2365086"/>
                </a:cubicBezTo>
                <a:cubicBezTo>
                  <a:pt x="10384790" y="2370166"/>
                  <a:pt x="10383520" y="2375246"/>
                  <a:pt x="10383520" y="2380326"/>
                </a:cubicBezTo>
                <a:cubicBezTo>
                  <a:pt x="10372725" y="2364451"/>
                  <a:pt x="10347325" y="2363181"/>
                  <a:pt x="10333990" y="2376516"/>
                </a:cubicBezTo>
                <a:cubicBezTo>
                  <a:pt x="10311130" y="2304761"/>
                  <a:pt x="10215880" y="2380326"/>
                  <a:pt x="10280015" y="2419061"/>
                </a:cubicBezTo>
                <a:close/>
                <a:moveTo>
                  <a:pt x="8916670" y="4767926"/>
                </a:moveTo>
                <a:cubicBezTo>
                  <a:pt x="8909050" y="4757766"/>
                  <a:pt x="8893810" y="4755861"/>
                  <a:pt x="8884285" y="4764116"/>
                </a:cubicBezTo>
                <a:cubicBezTo>
                  <a:pt x="8884285" y="4764116"/>
                  <a:pt x="8884285" y="4764116"/>
                  <a:pt x="8884285" y="4764116"/>
                </a:cubicBezTo>
                <a:cubicBezTo>
                  <a:pt x="8860155" y="4782531"/>
                  <a:pt x="8889365" y="4819996"/>
                  <a:pt x="8912860" y="4800946"/>
                </a:cubicBezTo>
                <a:lnTo>
                  <a:pt x="8912860" y="4800946"/>
                </a:lnTo>
                <a:cubicBezTo>
                  <a:pt x="8923020" y="4792691"/>
                  <a:pt x="8924925" y="4777451"/>
                  <a:pt x="8916670" y="4767926"/>
                </a:cubicBezTo>
                <a:close/>
                <a:moveTo>
                  <a:pt x="10217150" y="3048346"/>
                </a:moveTo>
                <a:cubicBezTo>
                  <a:pt x="10238740" y="3064221"/>
                  <a:pt x="10263505" y="3029931"/>
                  <a:pt x="10241280" y="3014691"/>
                </a:cubicBezTo>
                <a:cubicBezTo>
                  <a:pt x="10219690" y="2998816"/>
                  <a:pt x="10194925" y="3033106"/>
                  <a:pt x="10217150" y="3048346"/>
                </a:cubicBezTo>
                <a:close/>
                <a:moveTo>
                  <a:pt x="10267315" y="2935316"/>
                </a:moveTo>
                <a:cubicBezTo>
                  <a:pt x="10284460" y="2910551"/>
                  <a:pt x="10244455" y="2884516"/>
                  <a:pt x="10228580" y="2909916"/>
                </a:cubicBezTo>
                <a:cubicBezTo>
                  <a:pt x="10211435" y="2935316"/>
                  <a:pt x="10250805" y="2961351"/>
                  <a:pt x="10267315" y="2935316"/>
                </a:cubicBezTo>
                <a:close/>
                <a:moveTo>
                  <a:pt x="10171430" y="3114386"/>
                </a:moveTo>
                <a:cubicBezTo>
                  <a:pt x="10208895" y="3135341"/>
                  <a:pt x="10216515" y="3065491"/>
                  <a:pt x="10175240" y="3078191"/>
                </a:cubicBezTo>
                <a:cubicBezTo>
                  <a:pt x="10181590" y="3054061"/>
                  <a:pt x="10145395" y="3038821"/>
                  <a:pt x="10132695" y="3061046"/>
                </a:cubicBezTo>
                <a:cubicBezTo>
                  <a:pt x="10119995" y="3080096"/>
                  <a:pt x="10142855" y="3104861"/>
                  <a:pt x="10162540" y="3094066"/>
                </a:cubicBezTo>
                <a:cubicBezTo>
                  <a:pt x="10161270" y="3101686"/>
                  <a:pt x="10164445" y="3109941"/>
                  <a:pt x="10171430" y="3114386"/>
                </a:cubicBezTo>
                <a:close/>
                <a:moveTo>
                  <a:pt x="10470515" y="2493356"/>
                </a:moveTo>
                <a:cubicBezTo>
                  <a:pt x="10443210" y="2474306"/>
                  <a:pt x="10414000" y="2518121"/>
                  <a:pt x="10441940" y="2535901"/>
                </a:cubicBezTo>
                <a:cubicBezTo>
                  <a:pt x="10468610" y="2555586"/>
                  <a:pt x="10498455" y="2511771"/>
                  <a:pt x="10470515" y="2493356"/>
                </a:cubicBezTo>
                <a:close/>
                <a:moveTo>
                  <a:pt x="10465435" y="2612101"/>
                </a:moveTo>
                <a:cubicBezTo>
                  <a:pt x="10441305" y="2593686"/>
                  <a:pt x="10413365" y="2631786"/>
                  <a:pt x="10437495" y="2649566"/>
                </a:cubicBezTo>
                <a:cubicBezTo>
                  <a:pt x="10460990" y="2667981"/>
                  <a:pt x="10489565" y="2629881"/>
                  <a:pt x="10465435" y="2612101"/>
                </a:cubicBezTo>
                <a:close/>
                <a:moveTo>
                  <a:pt x="10231120" y="2550506"/>
                </a:moveTo>
                <a:cubicBezTo>
                  <a:pt x="10231755" y="2550506"/>
                  <a:pt x="10231755" y="2550506"/>
                  <a:pt x="10232390" y="2550506"/>
                </a:cubicBezTo>
                <a:cubicBezTo>
                  <a:pt x="10242550" y="2569556"/>
                  <a:pt x="10270490" y="2574001"/>
                  <a:pt x="10286365" y="2559396"/>
                </a:cubicBezTo>
                <a:cubicBezTo>
                  <a:pt x="10242550" y="2610196"/>
                  <a:pt x="10347960" y="2638771"/>
                  <a:pt x="10336530" y="2572731"/>
                </a:cubicBezTo>
                <a:cubicBezTo>
                  <a:pt x="10341610" y="2589241"/>
                  <a:pt x="10363200" y="2597496"/>
                  <a:pt x="10377805" y="2587971"/>
                </a:cubicBezTo>
                <a:cubicBezTo>
                  <a:pt x="10368280" y="2615276"/>
                  <a:pt x="10408285" y="2634961"/>
                  <a:pt x="10424160" y="2609561"/>
                </a:cubicBezTo>
                <a:cubicBezTo>
                  <a:pt x="10439400" y="2587971"/>
                  <a:pt x="10412095" y="2559396"/>
                  <a:pt x="10389870" y="2573366"/>
                </a:cubicBezTo>
                <a:cubicBezTo>
                  <a:pt x="10404475" y="2527011"/>
                  <a:pt x="10325100" y="2523836"/>
                  <a:pt x="10335895" y="2571461"/>
                </a:cubicBezTo>
                <a:cubicBezTo>
                  <a:pt x="10329545" y="2551776"/>
                  <a:pt x="10302240" y="2544791"/>
                  <a:pt x="10287635" y="2558126"/>
                </a:cubicBezTo>
                <a:cubicBezTo>
                  <a:pt x="10292080" y="2554316"/>
                  <a:pt x="10295255" y="2548601"/>
                  <a:pt x="10297160" y="2542886"/>
                </a:cubicBezTo>
                <a:cubicBezTo>
                  <a:pt x="10323195" y="2549871"/>
                  <a:pt x="10347325" y="2519391"/>
                  <a:pt x="10333990" y="2495896"/>
                </a:cubicBezTo>
                <a:cubicBezTo>
                  <a:pt x="10347960" y="2521296"/>
                  <a:pt x="10389235" y="2511771"/>
                  <a:pt x="10391140" y="2482561"/>
                </a:cubicBezTo>
                <a:cubicBezTo>
                  <a:pt x="10398760" y="2504151"/>
                  <a:pt x="10430510" y="2507326"/>
                  <a:pt x="10441305" y="2487006"/>
                </a:cubicBezTo>
                <a:cubicBezTo>
                  <a:pt x="10464165" y="2447636"/>
                  <a:pt x="10393680" y="2424776"/>
                  <a:pt x="10389235" y="2469861"/>
                </a:cubicBezTo>
                <a:cubicBezTo>
                  <a:pt x="10375900" y="2430491"/>
                  <a:pt x="10314305" y="2455891"/>
                  <a:pt x="10332720" y="2493356"/>
                </a:cubicBezTo>
                <a:cubicBezTo>
                  <a:pt x="10321290" y="2473036"/>
                  <a:pt x="10288905" y="2473036"/>
                  <a:pt x="10276840" y="2492721"/>
                </a:cubicBezTo>
                <a:cubicBezTo>
                  <a:pt x="10236200" y="2441286"/>
                  <a:pt x="10171430" y="2523201"/>
                  <a:pt x="10231120" y="2550506"/>
                </a:cubicBezTo>
                <a:close/>
                <a:moveTo>
                  <a:pt x="9190355" y="4358986"/>
                </a:moveTo>
                <a:cubicBezTo>
                  <a:pt x="9171305" y="4373591"/>
                  <a:pt x="9195435" y="4402801"/>
                  <a:pt x="9213215" y="4387561"/>
                </a:cubicBezTo>
                <a:lnTo>
                  <a:pt x="9213215" y="4387561"/>
                </a:lnTo>
                <a:cubicBezTo>
                  <a:pt x="9231630" y="4372956"/>
                  <a:pt x="9208135" y="4343746"/>
                  <a:pt x="9190355" y="4358986"/>
                </a:cubicBezTo>
                <a:close/>
                <a:moveTo>
                  <a:pt x="8728075" y="5245446"/>
                </a:moveTo>
                <a:cubicBezTo>
                  <a:pt x="8784590" y="5242906"/>
                  <a:pt x="8750300" y="5155276"/>
                  <a:pt x="8707120" y="5192741"/>
                </a:cubicBezTo>
                <a:cubicBezTo>
                  <a:pt x="8686800" y="5210521"/>
                  <a:pt x="8701405" y="5246716"/>
                  <a:pt x="8728075" y="5245446"/>
                </a:cubicBezTo>
                <a:close/>
                <a:moveTo>
                  <a:pt x="8642985" y="5321646"/>
                </a:moveTo>
                <a:cubicBezTo>
                  <a:pt x="8698230" y="5319106"/>
                  <a:pt x="8667115" y="5233381"/>
                  <a:pt x="8623300" y="5267671"/>
                </a:cubicBezTo>
                <a:cubicBezTo>
                  <a:pt x="8601075" y="5285451"/>
                  <a:pt x="8615680" y="5322916"/>
                  <a:pt x="8642985" y="5321646"/>
                </a:cubicBezTo>
                <a:close/>
                <a:moveTo>
                  <a:pt x="8668385" y="5407371"/>
                </a:moveTo>
                <a:cubicBezTo>
                  <a:pt x="8730615" y="5402926"/>
                  <a:pt x="8692515" y="5310216"/>
                  <a:pt x="8644890" y="5350221"/>
                </a:cubicBezTo>
                <a:cubicBezTo>
                  <a:pt x="8623935" y="5369906"/>
                  <a:pt x="8639810" y="5408641"/>
                  <a:pt x="8668385" y="5407371"/>
                </a:cubicBezTo>
                <a:close/>
                <a:moveTo>
                  <a:pt x="9196705" y="4315171"/>
                </a:moveTo>
                <a:cubicBezTo>
                  <a:pt x="9224010" y="4314536"/>
                  <a:pt x="9210675" y="4271356"/>
                  <a:pt x="9187815" y="4286596"/>
                </a:cubicBezTo>
                <a:cubicBezTo>
                  <a:pt x="9175115" y="4294216"/>
                  <a:pt x="9182100" y="4315806"/>
                  <a:pt x="9196705" y="4315171"/>
                </a:cubicBezTo>
                <a:close/>
                <a:moveTo>
                  <a:pt x="8693785" y="5106381"/>
                </a:moveTo>
                <a:cubicBezTo>
                  <a:pt x="8665210" y="5129241"/>
                  <a:pt x="8701405" y="5173691"/>
                  <a:pt x="8729345" y="5150196"/>
                </a:cubicBezTo>
                <a:cubicBezTo>
                  <a:pt x="8757920" y="5127336"/>
                  <a:pt x="8721725" y="5082886"/>
                  <a:pt x="8693785" y="5106381"/>
                </a:cubicBezTo>
                <a:close/>
                <a:moveTo>
                  <a:pt x="8723630" y="4767291"/>
                </a:moveTo>
                <a:cubicBezTo>
                  <a:pt x="8699500" y="4779991"/>
                  <a:pt x="8719820" y="4817456"/>
                  <a:pt x="8743315" y="4804121"/>
                </a:cubicBezTo>
                <a:cubicBezTo>
                  <a:pt x="8767445" y="4791421"/>
                  <a:pt x="8747125" y="4753956"/>
                  <a:pt x="8723630" y="4767291"/>
                </a:cubicBezTo>
                <a:close/>
                <a:moveTo>
                  <a:pt x="8658225" y="5058756"/>
                </a:moveTo>
                <a:cubicBezTo>
                  <a:pt x="8676640" y="5086696"/>
                  <a:pt x="8719820" y="5056851"/>
                  <a:pt x="8700770" y="5029546"/>
                </a:cubicBezTo>
                <a:cubicBezTo>
                  <a:pt x="8682355" y="5001606"/>
                  <a:pt x="8639175" y="5031451"/>
                  <a:pt x="8658225" y="5058756"/>
                </a:cubicBezTo>
                <a:close/>
                <a:moveTo>
                  <a:pt x="8666480" y="4911436"/>
                </a:moveTo>
                <a:cubicBezTo>
                  <a:pt x="8646160" y="4922231"/>
                  <a:pt x="8655050" y="4955886"/>
                  <a:pt x="8677910" y="4954616"/>
                </a:cubicBezTo>
                <a:cubicBezTo>
                  <a:pt x="8716645" y="4953346"/>
                  <a:pt x="8700770" y="4893021"/>
                  <a:pt x="8666480" y="4911436"/>
                </a:cubicBezTo>
                <a:close/>
                <a:moveTo>
                  <a:pt x="8734425" y="4897466"/>
                </a:moveTo>
                <a:cubicBezTo>
                  <a:pt x="8750300" y="4922866"/>
                  <a:pt x="8790305" y="4897466"/>
                  <a:pt x="8773795" y="4872066"/>
                </a:cubicBezTo>
                <a:cubicBezTo>
                  <a:pt x="8757285" y="4846666"/>
                  <a:pt x="8717280" y="4872701"/>
                  <a:pt x="8734425" y="4897466"/>
                </a:cubicBezTo>
                <a:close/>
                <a:moveTo>
                  <a:pt x="8854440" y="4910166"/>
                </a:moveTo>
                <a:cubicBezTo>
                  <a:pt x="8833485" y="4884131"/>
                  <a:pt x="8792845" y="4917786"/>
                  <a:pt x="8815070" y="4943186"/>
                </a:cubicBezTo>
                <a:cubicBezTo>
                  <a:pt x="8836025" y="4969221"/>
                  <a:pt x="8876665" y="4935566"/>
                  <a:pt x="8854440" y="4910166"/>
                </a:cubicBezTo>
                <a:close/>
                <a:moveTo>
                  <a:pt x="8869045" y="5014941"/>
                </a:moveTo>
                <a:cubicBezTo>
                  <a:pt x="8921750" y="5012401"/>
                  <a:pt x="8888730" y="4931756"/>
                  <a:pt x="8849360" y="4966681"/>
                </a:cubicBezTo>
                <a:cubicBezTo>
                  <a:pt x="8830945" y="4983191"/>
                  <a:pt x="8844280" y="5016211"/>
                  <a:pt x="8869045" y="5014941"/>
                </a:cubicBezTo>
                <a:close/>
                <a:moveTo>
                  <a:pt x="8809355" y="5165436"/>
                </a:moveTo>
                <a:cubicBezTo>
                  <a:pt x="8836025" y="5166071"/>
                  <a:pt x="8850630" y="5131146"/>
                  <a:pt x="8830945" y="5112731"/>
                </a:cubicBezTo>
                <a:cubicBezTo>
                  <a:pt x="8786495" y="5075901"/>
                  <a:pt x="8752205" y="5161626"/>
                  <a:pt x="8809355" y="5165436"/>
                </a:cubicBezTo>
                <a:close/>
                <a:moveTo>
                  <a:pt x="8779510" y="4971761"/>
                </a:moveTo>
                <a:cubicBezTo>
                  <a:pt x="8759825" y="4945091"/>
                  <a:pt x="8717915" y="4976206"/>
                  <a:pt x="8738235" y="5002876"/>
                </a:cubicBezTo>
                <a:cubicBezTo>
                  <a:pt x="8757920" y="5030181"/>
                  <a:pt x="8799830" y="4998431"/>
                  <a:pt x="8779510" y="4971761"/>
                </a:cubicBezTo>
                <a:close/>
                <a:moveTo>
                  <a:pt x="8792845" y="4727921"/>
                </a:moveTo>
                <a:cubicBezTo>
                  <a:pt x="8769350" y="4741256"/>
                  <a:pt x="8790940" y="4778086"/>
                  <a:pt x="8813800" y="4763481"/>
                </a:cubicBezTo>
                <a:cubicBezTo>
                  <a:pt x="8837930" y="4750146"/>
                  <a:pt x="8816340" y="4713951"/>
                  <a:pt x="8792845" y="4727921"/>
                </a:cubicBezTo>
                <a:close/>
                <a:moveTo>
                  <a:pt x="8791575" y="5087331"/>
                </a:moveTo>
                <a:cubicBezTo>
                  <a:pt x="8843010" y="5084791"/>
                  <a:pt x="8813165" y="5005416"/>
                  <a:pt x="8772525" y="5038436"/>
                </a:cubicBezTo>
                <a:cubicBezTo>
                  <a:pt x="8753475" y="5054311"/>
                  <a:pt x="8766810" y="5088601"/>
                  <a:pt x="8791575" y="5087331"/>
                </a:cubicBezTo>
                <a:close/>
                <a:moveTo>
                  <a:pt x="8808085" y="4848571"/>
                </a:moveTo>
                <a:cubicBezTo>
                  <a:pt x="8825230" y="4873336"/>
                  <a:pt x="8863965" y="4846031"/>
                  <a:pt x="8846185" y="4821266"/>
                </a:cubicBezTo>
                <a:cubicBezTo>
                  <a:pt x="8829040" y="4796501"/>
                  <a:pt x="8790305" y="4824441"/>
                  <a:pt x="8808085" y="4848571"/>
                </a:cubicBezTo>
                <a:close/>
                <a:moveTo>
                  <a:pt x="8611235" y="5169881"/>
                </a:moveTo>
                <a:cubicBezTo>
                  <a:pt x="8589010" y="5185121"/>
                  <a:pt x="8601710" y="5221951"/>
                  <a:pt x="8627745" y="5220681"/>
                </a:cubicBezTo>
                <a:cubicBezTo>
                  <a:pt x="8677275" y="5219411"/>
                  <a:pt x="8651875" y="5142576"/>
                  <a:pt x="8611235" y="5169881"/>
                </a:cubicBezTo>
                <a:close/>
                <a:moveTo>
                  <a:pt x="9083040" y="4589491"/>
                </a:moveTo>
                <a:cubicBezTo>
                  <a:pt x="9060815" y="4610446"/>
                  <a:pt x="9093835" y="4644101"/>
                  <a:pt x="9115425" y="4623146"/>
                </a:cubicBezTo>
                <a:cubicBezTo>
                  <a:pt x="9137015" y="4602191"/>
                  <a:pt x="9103995" y="4568536"/>
                  <a:pt x="9083040" y="4589491"/>
                </a:cubicBezTo>
                <a:close/>
                <a:moveTo>
                  <a:pt x="9088120" y="4479001"/>
                </a:moveTo>
                <a:cubicBezTo>
                  <a:pt x="9119870" y="4477731"/>
                  <a:pt x="9103995" y="4428201"/>
                  <a:pt x="9077325" y="4445981"/>
                </a:cubicBezTo>
                <a:cubicBezTo>
                  <a:pt x="9062720" y="4455506"/>
                  <a:pt x="9070975" y="4479636"/>
                  <a:pt x="9088120" y="4479001"/>
                </a:cubicBezTo>
                <a:close/>
                <a:moveTo>
                  <a:pt x="9091295" y="4385656"/>
                </a:moveTo>
                <a:cubicBezTo>
                  <a:pt x="9117965" y="4385021"/>
                  <a:pt x="9105900" y="4342476"/>
                  <a:pt x="9082405" y="4356446"/>
                </a:cubicBezTo>
                <a:cubicBezTo>
                  <a:pt x="9069705" y="4364701"/>
                  <a:pt x="9076055" y="4386291"/>
                  <a:pt x="9091295" y="4385656"/>
                </a:cubicBezTo>
                <a:close/>
                <a:moveTo>
                  <a:pt x="9143365" y="4495511"/>
                </a:moveTo>
                <a:cubicBezTo>
                  <a:pt x="9126220" y="4475191"/>
                  <a:pt x="9093835" y="4502496"/>
                  <a:pt x="9112250" y="4522816"/>
                </a:cubicBezTo>
                <a:cubicBezTo>
                  <a:pt x="9129395" y="4543136"/>
                  <a:pt x="9161780" y="4515196"/>
                  <a:pt x="9143365" y="4495511"/>
                </a:cubicBezTo>
                <a:close/>
                <a:moveTo>
                  <a:pt x="9144635" y="4350731"/>
                </a:moveTo>
                <a:cubicBezTo>
                  <a:pt x="9171940" y="4350096"/>
                  <a:pt x="9158605" y="4306916"/>
                  <a:pt x="9135745" y="4321521"/>
                </a:cubicBezTo>
                <a:cubicBezTo>
                  <a:pt x="9122410" y="4329776"/>
                  <a:pt x="9129395" y="4351366"/>
                  <a:pt x="9144635" y="4350731"/>
                </a:cubicBezTo>
                <a:close/>
                <a:moveTo>
                  <a:pt x="9145270" y="4436456"/>
                </a:moveTo>
                <a:cubicBezTo>
                  <a:pt x="9177655" y="4435186"/>
                  <a:pt x="9160510" y="4385021"/>
                  <a:pt x="9133840" y="4403436"/>
                </a:cubicBezTo>
                <a:cubicBezTo>
                  <a:pt x="9120505" y="4413596"/>
                  <a:pt x="9128760" y="4437091"/>
                  <a:pt x="9145270" y="4436456"/>
                </a:cubicBezTo>
                <a:close/>
                <a:moveTo>
                  <a:pt x="9177655" y="4526626"/>
                </a:moveTo>
                <a:cubicBezTo>
                  <a:pt x="9147175" y="4499321"/>
                  <a:pt x="9117965" y="4559011"/>
                  <a:pt x="9157970" y="4565996"/>
                </a:cubicBezTo>
                <a:cubicBezTo>
                  <a:pt x="9138920" y="4587586"/>
                  <a:pt x="9168765" y="4620606"/>
                  <a:pt x="9192260" y="4603461"/>
                </a:cubicBezTo>
                <a:cubicBezTo>
                  <a:pt x="9196705" y="4609811"/>
                  <a:pt x="9203690" y="4613621"/>
                  <a:pt x="9211310" y="4614891"/>
                </a:cubicBezTo>
                <a:cubicBezTo>
                  <a:pt x="9218295" y="4629496"/>
                  <a:pt x="9237980" y="4635846"/>
                  <a:pt x="9251950" y="4628226"/>
                </a:cubicBezTo>
                <a:cubicBezTo>
                  <a:pt x="9318625" y="4656166"/>
                  <a:pt x="9313545" y="4538056"/>
                  <a:pt x="9249410" y="4572346"/>
                </a:cubicBezTo>
                <a:cubicBezTo>
                  <a:pt x="9245600" y="4571076"/>
                  <a:pt x="9241155" y="4570441"/>
                  <a:pt x="9237345" y="4570441"/>
                </a:cubicBezTo>
                <a:cubicBezTo>
                  <a:pt x="9228455" y="4557741"/>
                  <a:pt x="9208770" y="4555836"/>
                  <a:pt x="9197340" y="4565361"/>
                </a:cubicBezTo>
                <a:cubicBezTo>
                  <a:pt x="9192895" y="4560281"/>
                  <a:pt x="9186545" y="4557741"/>
                  <a:pt x="9180830" y="4557106"/>
                </a:cubicBezTo>
                <a:cubicBezTo>
                  <a:pt x="9187180" y="4548216"/>
                  <a:pt x="9186545" y="4534881"/>
                  <a:pt x="9177655" y="4526626"/>
                </a:cubicBezTo>
                <a:close/>
                <a:moveTo>
                  <a:pt x="8603615" y="5435946"/>
                </a:moveTo>
                <a:cubicBezTo>
                  <a:pt x="8575675" y="5403561"/>
                  <a:pt x="8524875" y="5448011"/>
                  <a:pt x="8554085" y="5479761"/>
                </a:cubicBezTo>
                <a:cubicBezTo>
                  <a:pt x="8582025" y="5512146"/>
                  <a:pt x="8632190" y="5467696"/>
                  <a:pt x="8603615" y="5435946"/>
                </a:cubicBezTo>
                <a:close/>
                <a:moveTo>
                  <a:pt x="8986520" y="4623146"/>
                </a:moveTo>
                <a:cubicBezTo>
                  <a:pt x="9002395" y="4644736"/>
                  <a:pt x="9036050" y="4619336"/>
                  <a:pt x="9019540" y="4597746"/>
                </a:cubicBezTo>
                <a:cubicBezTo>
                  <a:pt x="9003665" y="4576156"/>
                  <a:pt x="8970010" y="4602191"/>
                  <a:pt x="8986520" y="4623146"/>
                </a:cubicBezTo>
                <a:close/>
                <a:moveTo>
                  <a:pt x="8535670" y="5338156"/>
                </a:moveTo>
                <a:cubicBezTo>
                  <a:pt x="8503920" y="5361651"/>
                  <a:pt x="8541385" y="5411816"/>
                  <a:pt x="8572500" y="5387051"/>
                </a:cubicBezTo>
                <a:cubicBezTo>
                  <a:pt x="8604885" y="5363556"/>
                  <a:pt x="8566785" y="5314026"/>
                  <a:pt x="8535670" y="5338156"/>
                </a:cubicBezTo>
                <a:close/>
                <a:moveTo>
                  <a:pt x="8610600" y="5118446"/>
                </a:moveTo>
                <a:cubicBezTo>
                  <a:pt x="8639810" y="5101936"/>
                  <a:pt x="8612505" y="5056851"/>
                  <a:pt x="8583930" y="5073996"/>
                </a:cubicBezTo>
                <a:cubicBezTo>
                  <a:pt x="8555355" y="5091141"/>
                  <a:pt x="8582660" y="5136226"/>
                  <a:pt x="8610600" y="5118446"/>
                </a:cubicBezTo>
                <a:close/>
                <a:moveTo>
                  <a:pt x="9037320" y="4419311"/>
                </a:moveTo>
                <a:cubicBezTo>
                  <a:pt x="9063990" y="4418676"/>
                  <a:pt x="9052560" y="4376766"/>
                  <a:pt x="9029065" y="4390101"/>
                </a:cubicBezTo>
                <a:cubicBezTo>
                  <a:pt x="9015730" y="4397086"/>
                  <a:pt x="9022080" y="4419946"/>
                  <a:pt x="9037320" y="4419311"/>
                </a:cubicBezTo>
                <a:close/>
                <a:moveTo>
                  <a:pt x="9018270" y="4649816"/>
                </a:moveTo>
                <a:cubicBezTo>
                  <a:pt x="8995410" y="4669501"/>
                  <a:pt x="9027795" y="4705061"/>
                  <a:pt x="9049385" y="4684106"/>
                </a:cubicBezTo>
                <a:cubicBezTo>
                  <a:pt x="9072245" y="4664421"/>
                  <a:pt x="9040495" y="4629496"/>
                  <a:pt x="9018270" y="4649816"/>
                </a:cubicBezTo>
                <a:close/>
                <a:moveTo>
                  <a:pt x="9029065" y="4520276"/>
                </a:moveTo>
                <a:cubicBezTo>
                  <a:pt x="9060815" y="4519006"/>
                  <a:pt x="9045575" y="4469476"/>
                  <a:pt x="9018905" y="4486621"/>
                </a:cubicBezTo>
                <a:cubicBezTo>
                  <a:pt x="9003665" y="4496146"/>
                  <a:pt x="9011920" y="4520911"/>
                  <a:pt x="9029065" y="4520276"/>
                </a:cubicBezTo>
                <a:close/>
                <a:moveTo>
                  <a:pt x="9050020" y="4574251"/>
                </a:moveTo>
                <a:cubicBezTo>
                  <a:pt x="9066530" y="4595206"/>
                  <a:pt x="9099550" y="4568536"/>
                  <a:pt x="9082405" y="4547581"/>
                </a:cubicBezTo>
                <a:cubicBezTo>
                  <a:pt x="9065895" y="4526626"/>
                  <a:pt x="9032875" y="4553296"/>
                  <a:pt x="9050020" y="4574251"/>
                </a:cubicBezTo>
                <a:close/>
                <a:moveTo>
                  <a:pt x="4440555" y="4125941"/>
                </a:moveTo>
                <a:cubicBezTo>
                  <a:pt x="4431030" y="4100541"/>
                  <a:pt x="4391660" y="4116416"/>
                  <a:pt x="4401820" y="4141816"/>
                </a:cubicBezTo>
                <a:cubicBezTo>
                  <a:pt x="4411980" y="4166581"/>
                  <a:pt x="4451350" y="4150706"/>
                  <a:pt x="4440555" y="4125941"/>
                </a:cubicBezTo>
                <a:close/>
                <a:moveTo>
                  <a:pt x="6560185" y="5543896"/>
                </a:moveTo>
                <a:cubicBezTo>
                  <a:pt x="6526531" y="5507701"/>
                  <a:pt x="6470650" y="5561041"/>
                  <a:pt x="6504940" y="5596601"/>
                </a:cubicBezTo>
                <a:cubicBezTo>
                  <a:pt x="6538595" y="5632796"/>
                  <a:pt x="6595110" y="5579456"/>
                  <a:pt x="6560185" y="5543896"/>
                </a:cubicBezTo>
                <a:cubicBezTo>
                  <a:pt x="6560185" y="5543896"/>
                  <a:pt x="6560185" y="5543896"/>
                  <a:pt x="6560185" y="5543896"/>
                </a:cubicBezTo>
                <a:close/>
                <a:moveTo>
                  <a:pt x="6629400" y="5446741"/>
                </a:moveTo>
                <a:cubicBezTo>
                  <a:pt x="6662420" y="5414356"/>
                  <a:pt x="6610350" y="5363556"/>
                  <a:pt x="6578600" y="5397211"/>
                </a:cubicBezTo>
                <a:cubicBezTo>
                  <a:pt x="6545581" y="5429596"/>
                  <a:pt x="6597015" y="5480396"/>
                  <a:pt x="6629400" y="5446741"/>
                </a:cubicBezTo>
                <a:close/>
                <a:moveTo>
                  <a:pt x="6603365" y="5643591"/>
                </a:moveTo>
                <a:cubicBezTo>
                  <a:pt x="6567806" y="5678516"/>
                  <a:pt x="6623685" y="5732491"/>
                  <a:pt x="6657975" y="5696931"/>
                </a:cubicBezTo>
                <a:cubicBezTo>
                  <a:pt x="6692900" y="5662006"/>
                  <a:pt x="6637656" y="5607396"/>
                  <a:pt x="6603365" y="5643591"/>
                </a:cubicBezTo>
                <a:close/>
                <a:moveTo>
                  <a:pt x="6725285" y="5536276"/>
                </a:moveTo>
                <a:cubicBezTo>
                  <a:pt x="6757035" y="5502621"/>
                  <a:pt x="6703695" y="5453726"/>
                  <a:pt x="6672581" y="5488016"/>
                </a:cubicBezTo>
                <a:cubicBezTo>
                  <a:pt x="6640831" y="5522306"/>
                  <a:pt x="6694170" y="5571201"/>
                  <a:pt x="6725285" y="5536276"/>
                </a:cubicBezTo>
                <a:close/>
                <a:moveTo>
                  <a:pt x="6412230" y="5439121"/>
                </a:moveTo>
                <a:cubicBezTo>
                  <a:pt x="6374765" y="5471506"/>
                  <a:pt x="6426835" y="5529291"/>
                  <a:pt x="6463030" y="5495636"/>
                </a:cubicBezTo>
                <a:cubicBezTo>
                  <a:pt x="6500495" y="5463886"/>
                  <a:pt x="6448425" y="5405466"/>
                  <a:pt x="6412230" y="5439121"/>
                </a:cubicBezTo>
                <a:close/>
                <a:moveTo>
                  <a:pt x="6420485" y="5269576"/>
                </a:moveTo>
                <a:cubicBezTo>
                  <a:pt x="6450330" y="5270846"/>
                  <a:pt x="6468110" y="5230841"/>
                  <a:pt x="6446520" y="5209886"/>
                </a:cubicBezTo>
                <a:cubicBezTo>
                  <a:pt x="6415405" y="5175596"/>
                  <a:pt x="6362065" y="5225126"/>
                  <a:pt x="6394450" y="5258781"/>
                </a:cubicBezTo>
                <a:lnTo>
                  <a:pt x="6394450" y="5258781"/>
                </a:lnTo>
                <a:cubicBezTo>
                  <a:pt x="6401435" y="5265766"/>
                  <a:pt x="6410960" y="5269576"/>
                  <a:pt x="6420485" y="5269576"/>
                </a:cubicBezTo>
                <a:close/>
                <a:moveTo>
                  <a:pt x="6757670" y="5737571"/>
                </a:moveTo>
                <a:cubicBezTo>
                  <a:pt x="6757670" y="5737571"/>
                  <a:pt x="6757670" y="5737571"/>
                  <a:pt x="6757670" y="5737571"/>
                </a:cubicBezTo>
                <a:cubicBezTo>
                  <a:pt x="6721475" y="5703916"/>
                  <a:pt x="6669406" y="5761701"/>
                  <a:pt x="6706235" y="5794086"/>
                </a:cubicBezTo>
                <a:cubicBezTo>
                  <a:pt x="6742431" y="5828376"/>
                  <a:pt x="6795135" y="5770591"/>
                  <a:pt x="6757670" y="5737571"/>
                </a:cubicBezTo>
                <a:close/>
                <a:moveTo>
                  <a:pt x="6374130" y="5338156"/>
                </a:moveTo>
                <a:cubicBezTo>
                  <a:pt x="6342380" y="5300056"/>
                  <a:pt x="6283325" y="5350856"/>
                  <a:pt x="6316345" y="5387686"/>
                </a:cubicBezTo>
                <a:cubicBezTo>
                  <a:pt x="6348730" y="5425786"/>
                  <a:pt x="6407150" y="5374986"/>
                  <a:pt x="6374130" y="5338156"/>
                </a:cubicBezTo>
                <a:cubicBezTo>
                  <a:pt x="6374130" y="5338156"/>
                  <a:pt x="6374130" y="5338156"/>
                  <a:pt x="6374130" y="5338156"/>
                </a:cubicBezTo>
                <a:close/>
                <a:moveTo>
                  <a:pt x="6536056" y="5354666"/>
                </a:moveTo>
                <a:cubicBezTo>
                  <a:pt x="6569710" y="5322916"/>
                  <a:pt x="6518910" y="5270846"/>
                  <a:pt x="6486525" y="5303866"/>
                </a:cubicBezTo>
                <a:cubicBezTo>
                  <a:pt x="6452235" y="5335616"/>
                  <a:pt x="6503035" y="5387686"/>
                  <a:pt x="6536056" y="5354666"/>
                </a:cubicBezTo>
                <a:close/>
                <a:moveTo>
                  <a:pt x="7204710" y="6051896"/>
                </a:moveTo>
                <a:cubicBezTo>
                  <a:pt x="7160260" y="6029671"/>
                  <a:pt x="7126606" y="6099521"/>
                  <a:pt x="7171690" y="6120476"/>
                </a:cubicBezTo>
                <a:cubicBezTo>
                  <a:pt x="7215506" y="6142701"/>
                  <a:pt x="7249160" y="6072216"/>
                  <a:pt x="7204710" y="6051896"/>
                </a:cubicBezTo>
                <a:close/>
                <a:moveTo>
                  <a:pt x="7034531" y="5779481"/>
                </a:moveTo>
                <a:cubicBezTo>
                  <a:pt x="7061200" y="5742016"/>
                  <a:pt x="7001510" y="5700741"/>
                  <a:pt x="6975475" y="5739476"/>
                </a:cubicBezTo>
                <a:cubicBezTo>
                  <a:pt x="6949440" y="5776941"/>
                  <a:pt x="7009131" y="5818216"/>
                  <a:pt x="7034531" y="5779481"/>
                </a:cubicBezTo>
                <a:close/>
                <a:moveTo>
                  <a:pt x="7134225" y="5798531"/>
                </a:moveTo>
                <a:cubicBezTo>
                  <a:pt x="7094856" y="5774401"/>
                  <a:pt x="7058025" y="5837266"/>
                  <a:pt x="7098031" y="5860126"/>
                </a:cubicBezTo>
                <a:cubicBezTo>
                  <a:pt x="7137400" y="5884256"/>
                  <a:pt x="7174231" y="5821391"/>
                  <a:pt x="7134225" y="5798531"/>
                </a:cubicBezTo>
                <a:close/>
                <a:moveTo>
                  <a:pt x="6861810" y="5827741"/>
                </a:moveTo>
                <a:cubicBezTo>
                  <a:pt x="6823710" y="5795991"/>
                  <a:pt x="6774815" y="5856316"/>
                  <a:pt x="6813550" y="5886796"/>
                </a:cubicBezTo>
                <a:cubicBezTo>
                  <a:pt x="6851650" y="5918546"/>
                  <a:pt x="6901181" y="5858221"/>
                  <a:pt x="6861810" y="5827741"/>
                </a:cubicBezTo>
                <a:close/>
                <a:moveTo>
                  <a:pt x="6824345" y="5622636"/>
                </a:moveTo>
                <a:cubicBezTo>
                  <a:pt x="6854825" y="5587711"/>
                  <a:pt x="6799581" y="5540721"/>
                  <a:pt x="6769735" y="5576281"/>
                </a:cubicBezTo>
                <a:cubicBezTo>
                  <a:pt x="6739890" y="5611206"/>
                  <a:pt x="6795135" y="5658196"/>
                  <a:pt x="6824345" y="5622636"/>
                </a:cubicBezTo>
                <a:close/>
                <a:moveTo>
                  <a:pt x="6927215" y="5703916"/>
                </a:moveTo>
                <a:cubicBezTo>
                  <a:pt x="6955790" y="5667721"/>
                  <a:pt x="6898640" y="5623271"/>
                  <a:pt x="6870700" y="5660736"/>
                </a:cubicBezTo>
                <a:cubicBezTo>
                  <a:pt x="6842125" y="5696296"/>
                  <a:pt x="6899910" y="5740746"/>
                  <a:pt x="6927215" y="5703916"/>
                </a:cubicBezTo>
                <a:close/>
                <a:moveTo>
                  <a:pt x="6971031" y="5910926"/>
                </a:moveTo>
                <a:cubicBezTo>
                  <a:pt x="6931025" y="5881716"/>
                  <a:pt x="6885940" y="5944581"/>
                  <a:pt x="6926581" y="5973156"/>
                </a:cubicBezTo>
                <a:cubicBezTo>
                  <a:pt x="6965950" y="6002366"/>
                  <a:pt x="7011670" y="5939501"/>
                  <a:pt x="6971031" y="5910926"/>
                </a:cubicBezTo>
                <a:close/>
                <a:moveTo>
                  <a:pt x="7085331" y="5986491"/>
                </a:moveTo>
                <a:cubicBezTo>
                  <a:pt x="7043420" y="5960456"/>
                  <a:pt x="7003415" y="6026496"/>
                  <a:pt x="7045960" y="6051896"/>
                </a:cubicBezTo>
                <a:cubicBezTo>
                  <a:pt x="7087235" y="6077931"/>
                  <a:pt x="7127875" y="6011891"/>
                  <a:pt x="7085331" y="5986491"/>
                </a:cubicBezTo>
                <a:close/>
                <a:moveTo>
                  <a:pt x="5883910" y="4788246"/>
                </a:moveTo>
                <a:cubicBezTo>
                  <a:pt x="5844540" y="4818091"/>
                  <a:pt x="5892165" y="4879051"/>
                  <a:pt x="5930900" y="4848571"/>
                </a:cubicBezTo>
                <a:cubicBezTo>
                  <a:pt x="5970270" y="4818726"/>
                  <a:pt x="5922645" y="4757131"/>
                  <a:pt x="5883910" y="4788246"/>
                </a:cubicBezTo>
                <a:close/>
                <a:moveTo>
                  <a:pt x="5973445" y="4519006"/>
                </a:moveTo>
                <a:cubicBezTo>
                  <a:pt x="5944870" y="4486621"/>
                  <a:pt x="5894705" y="4532341"/>
                  <a:pt x="5924550" y="4564091"/>
                </a:cubicBezTo>
                <a:cubicBezTo>
                  <a:pt x="5953125" y="4595841"/>
                  <a:pt x="6002655" y="4550121"/>
                  <a:pt x="5973445" y="4519006"/>
                </a:cubicBezTo>
                <a:close/>
                <a:moveTo>
                  <a:pt x="5987415" y="4776181"/>
                </a:moveTo>
                <a:cubicBezTo>
                  <a:pt x="6052185" y="4771736"/>
                  <a:pt x="6016625" y="4674581"/>
                  <a:pt x="5964555" y="4713316"/>
                </a:cubicBezTo>
                <a:cubicBezTo>
                  <a:pt x="5939155" y="4733636"/>
                  <a:pt x="5955665" y="4777451"/>
                  <a:pt x="5987415" y="4776181"/>
                </a:cubicBezTo>
                <a:close/>
                <a:moveTo>
                  <a:pt x="5902960" y="4675851"/>
                </a:moveTo>
                <a:cubicBezTo>
                  <a:pt x="5967095" y="4671406"/>
                  <a:pt x="5932170" y="4574886"/>
                  <a:pt x="5880100" y="4612986"/>
                </a:cubicBezTo>
                <a:cubicBezTo>
                  <a:pt x="5854700" y="4632671"/>
                  <a:pt x="5871210" y="4677121"/>
                  <a:pt x="5902960" y="4675851"/>
                </a:cubicBezTo>
                <a:close/>
                <a:moveTo>
                  <a:pt x="6331585" y="5173056"/>
                </a:moveTo>
                <a:cubicBezTo>
                  <a:pt x="6396990" y="5168611"/>
                  <a:pt x="6359525" y="5070186"/>
                  <a:pt x="6307455" y="5110826"/>
                </a:cubicBezTo>
                <a:cubicBezTo>
                  <a:pt x="6283325" y="5131781"/>
                  <a:pt x="6300470" y="5174326"/>
                  <a:pt x="6331585" y="5173056"/>
                </a:cubicBezTo>
                <a:close/>
                <a:moveTo>
                  <a:pt x="5889625" y="4428836"/>
                </a:moveTo>
                <a:cubicBezTo>
                  <a:pt x="5860415" y="4397086"/>
                  <a:pt x="5811520" y="4443441"/>
                  <a:pt x="5841365" y="4474556"/>
                </a:cubicBezTo>
                <a:cubicBezTo>
                  <a:pt x="5870575" y="4505671"/>
                  <a:pt x="5919470" y="4459316"/>
                  <a:pt x="5889625" y="4428836"/>
                </a:cubicBezTo>
                <a:close/>
                <a:moveTo>
                  <a:pt x="5818505" y="4575521"/>
                </a:moveTo>
                <a:cubicBezTo>
                  <a:pt x="5883275" y="4571076"/>
                  <a:pt x="5847715" y="4473921"/>
                  <a:pt x="5795645" y="4512656"/>
                </a:cubicBezTo>
                <a:cubicBezTo>
                  <a:pt x="5769610" y="4532341"/>
                  <a:pt x="5786755" y="4576791"/>
                  <a:pt x="5818505" y="4575521"/>
                </a:cubicBezTo>
                <a:close/>
                <a:moveTo>
                  <a:pt x="5798185" y="4677756"/>
                </a:moveTo>
                <a:cubicBezTo>
                  <a:pt x="5758815" y="4707601"/>
                  <a:pt x="5806440" y="4769196"/>
                  <a:pt x="5845175" y="4738081"/>
                </a:cubicBezTo>
                <a:cubicBezTo>
                  <a:pt x="5884545" y="4708236"/>
                  <a:pt x="5836920" y="4646641"/>
                  <a:pt x="5798185" y="4677756"/>
                </a:cubicBezTo>
                <a:close/>
                <a:moveTo>
                  <a:pt x="5969635" y="4898736"/>
                </a:moveTo>
                <a:cubicBezTo>
                  <a:pt x="5930265" y="4928581"/>
                  <a:pt x="5978525" y="4989541"/>
                  <a:pt x="6016625" y="4958426"/>
                </a:cubicBezTo>
                <a:cubicBezTo>
                  <a:pt x="6055995" y="4928581"/>
                  <a:pt x="6008370" y="4867621"/>
                  <a:pt x="5969635" y="4898736"/>
                </a:cubicBezTo>
                <a:close/>
                <a:moveTo>
                  <a:pt x="6142990" y="5118446"/>
                </a:moveTo>
                <a:cubicBezTo>
                  <a:pt x="6104255" y="5148926"/>
                  <a:pt x="6153150" y="5209251"/>
                  <a:pt x="6191250" y="5177501"/>
                </a:cubicBezTo>
                <a:cubicBezTo>
                  <a:pt x="6229350" y="5147021"/>
                  <a:pt x="6181090" y="5086696"/>
                  <a:pt x="6142990" y="5118446"/>
                </a:cubicBezTo>
                <a:close/>
                <a:moveTo>
                  <a:pt x="6244590" y="5075266"/>
                </a:moveTo>
                <a:cubicBezTo>
                  <a:pt x="6309360" y="5070821"/>
                  <a:pt x="6273165" y="4973031"/>
                  <a:pt x="6221095" y="5013036"/>
                </a:cubicBezTo>
                <a:cubicBezTo>
                  <a:pt x="6195695" y="5033356"/>
                  <a:pt x="6212840" y="5075901"/>
                  <a:pt x="6244590" y="5075266"/>
                </a:cubicBezTo>
                <a:close/>
                <a:moveTo>
                  <a:pt x="3805555" y="4103081"/>
                </a:moveTo>
                <a:cubicBezTo>
                  <a:pt x="3784600" y="4073236"/>
                  <a:pt x="3737610" y="4106891"/>
                  <a:pt x="3759835" y="4136101"/>
                </a:cubicBezTo>
                <a:cubicBezTo>
                  <a:pt x="3780790" y="4165946"/>
                  <a:pt x="3827145" y="4132291"/>
                  <a:pt x="3805555" y="4103081"/>
                </a:cubicBezTo>
                <a:close/>
                <a:moveTo>
                  <a:pt x="6072505" y="4876511"/>
                </a:moveTo>
                <a:cubicBezTo>
                  <a:pt x="6137275" y="4872701"/>
                  <a:pt x="6101715" y="4774911"/>
                  <a:pt x="6049645" y="4813646"/>
                </a:cubicBezTo>
                <a:cubicBezTo>
                  <a:pt x="6024245" y="4833966"/>
                  <a:pt x="6040755" y="4877781"/>
                  <a:pt x="6072505" y="4876511"/>
                </a:cubicBezTo>
                <a:close/>
                <a:moveTo>
                  <a:pt x="6056630" y="4609811"/>
                </a:moveTo>
                <a:cubicBezTo>
                  <a:pt x="6028055" y="4578061"/>
                  <a:pt x="5978525" y="4623781"/>
                  <a:pt x="6007735" y="4654896"/>
                </a:cubicBezTo>
                <a:cubicBezTo>
                  <a:pt x="6036310" y="4686646"/>
                  <a:pt x="6085840" y="4640926"/>
                  <a:pt x="6056630" y="4609811"/>
                </a:cubicBezTo>
                <a:close/>
                <a:moveTo>
                  <a:pt x="6109335" y="5014941"/>
                </a:moveTo>
                <a:cubicBezTo>
                  <a:pt x="6079490" y="4975571"/>
                  <a:pt x="6018530" y="5023831"/>
                  <a:pt x="6049645" y="5062566"/>
                </a:cubicBezTo>
                <a:cubicBezTo>
                  <a:pt x="6080125" y="5101301"/>
                  <a:pt x="6140450" y="5053676"/>
                  <a:pt x="6109335" y="5014941"/>
                </a:cubicBezTo>
                <a:cubicBezTo>
                  <a:pt x="6109335" y="5014941"/>
                  <a:pt x="6109335" y="5014941"/>
                  <a:pt x="6109335" y="5014941"/>
                </a:cubicBezTo>
                <a:close/>
                <a:moveTo>
                  <a:pt x="6158230" y="4976206"/>
                </a:moveTo>
                <a:cubicBezTo>
                  <a:pt x="6223000" y="4971761"/>
                  <a:pt x="6186805" y="4874606"/>
                  <a:pt x="6134735" y="4913341"/>
                </a:cubicBezTo>
                <a:cubicBezTo>
                  <a:pt x="6109335" y="4933661"/>
                  <a:pt x="6126480" y="4977476"/>
                  <a:pt x="6158230" y="4976206"/>
                </a:cubicBezTo>
                <a:close/>
                <a:moveTo>
                  <a:pt x="8088631" y="5761066"/>
                </a:moveTo>
                <a:cubicBezTo>
                  <a:pt x="8075931" y="5719791"/>
                  <a:pt x="8011795" y="5740111"/>
                  <a:pt x="8025765" y="5781386"/>
                </a:cubicBezTo>
                <a:cubicBezTo>
                  <a:pt x="8037831" y="5822661"/>
                  <a:pt x="8101965" y="5801706"/>
                  <a:pt x="8088631" y="5761066"/>
                </a:cubicBezTo>
                <a:close/>
                <a:moveTo>
                  <a:pt x="8028940" y="5943311"/>
                </a:moveTo>
                <a:cubicBezTo>
                  <a:pt x="8014970" y="5898861"/>
                  <a:pt x="7945756" y="5922356"/>
                  <a:pt x="7961631" y="5965536"/>
                </a:cubicBezTo>
                <a:cubicBezTo>
                  <a:pt x="7975600" y="6009986"/>
                  <a:pt x="8044181" y="5986491"/>
                  <a:pt x="8028940" y="5943311"/>
                </a:cubicBezTo>
                <a:close/>
                <a:moveTo>
                  <a:pt x="7982585" y="6082376"/>
                </a:moveTo>
                <a:cubicBezTo>
                  <a:pt x="7936231" y="6100791"/>
                  <a:pt x="7967345" y="6172546"/>
                  <a:pt x="8011795" y="6152861"/>
                </a:cubicBezTo>
                <a:lnTo>
                  <a:pt x="8011795" y="6152861"/>
                </a:lnTo>
                <a:cubicBezTo>
                  <a:pt x="8058150" y="6134446"/>
                  <a:pt x="8028306" y="6062691"/>
                  <a:pt x="7982585" y="6082376"/>
                </a:cubicBezTo>
                <a:close/>
                <a:moveTo>
                  <a:pt x="5803900" y="4339936"/>
                </a:moveTo>
                <a:cubicBezTo>
                  <a:pt x="5774055" y="4308821"/>
                  <a:pt x="5725795" y="4356446"/>
                  <a:pt x="5756910" y="4386291"/>
                </a:cubicBezTo>
                <a:cubicBezTo>
                  <a:pt x="5786120" y="4417406"/>
                  <a:pt x="5834380" y="4369781"/>
                  <a:pt x="5803900" y="4339936"/>
                </a:cubicBezTo>
                <a:close/>
                <a:moveTo>
                  <a:pt x="7762240" y="5256241"/>
                </a:moveTo>
                <a:cubicBezTo>
                  <a:pt x="7729220" y="5251796"/>
                  <a:pt x="7722870" y="5303866"/>
                  <a:pt x="7755890" y="5307041"/>
                </a:cubicBezTo>
                <a:cubicBezTo>
                  <a:pt x="7788910" y="5311486"/>
                  <a:pt x="7795895" y="5259416"/>
                  <a:pt x="7762240" y="5256241"/>
                </a:cubicBezTo>
                <a:close/>
                <a:moveTo>
                  <a:pt x="7855585" y="6126191"/>
                </a:moveTo>
                <a:cubicBezTo>
                  <a:pt x="7807325" y="6138256"/>
                  <a:pt x="7828281" y="6213186"/>
                  <a:pt x="7875270" y="6199851"/>
                </a:cubicBezTo>
                <a:cubicBezTo>
                  <a:pt x="7923531" y="6187786"/>
                  <a:pt x="7903210" y="6112221"/>
                  <a:pt x="7855585" y="6126191"/>
                </a:cubicBezTo>
                <a:close/>
                <a:moveTo>
                  <a:pt x="7849870" y="5814406"/>
                </a:moveTo>
                <a:cubicBezTo>
                  <a:pt x="7847965" y="5771226"/>
                  <a:pt x="7780656" y="5775671"/>
                  <a:pt x="7783831" y="5818216"/>
                </a:cubicBezTo>
                <a:cubicBezTo>
                  <a:pt x="7785735" y="5861396"/>
                  <a:pt x="7853045" y="5857586"/>
                  <a:pt x="7849870" y="5814406"/>
                </a:cubicBezTo>
                <a:close/>
                <a:moveTo>
                  <a:pt x="8116570" y="5941406"/>
                </a:moveTo>
                <a:cubicBezTo>
                  <a:pt x="8173720" y="5940136"/>
                  <a:pt x="8153400" y="5849966"/>
                  <a:pt x="8101331" y="5873461"/>
                </a:cubicBezTo>
                <a:cubicBezTo>
                  <a:pt x="8067040" y="5888066"/>
                  <a:pt x="8080375" y="5942676"/>
                  <a:pt x="8116570" y="5941406"/>
                </a:cubicBezTo>
                <a:close/>
                <a:moveTo>
                  <a:pt x="7861935" y="5952836"/>
                </a:moveTo>
                <a:cubicBezTo>
                  <a:pt x="7816215" y="5961091"/>
                  <a:pt x="7830185" y="6032211"/>
                  <a:pt x="7875270" y="6022686"/>
                </a:cubicBezTo>
                <a:cubicBezTo>
                  <a:pt x="7920990" y="6014431"/>
                  <a:pt x="7907020" y="5943311"/>
                  <a:pt x="7861935" y="5952836"/>
                </a:cubicBezTo>
                <a:close/>
                <a:moveTo>
                  <a:pt x="7971156" y="5795356"/>
                </a:moveTo>
                <a:cubicBezTo>
                  <a:pt x="7963535" y="5752811"/>
                  <a:pt x="7897495" y="5765511"/>
                  <a:pt x="7905750" y="5808056"/>
                </a:cubicBezTo>
                <a:cubicBezTo>
                  <a:pt x="7913370" y="5849966"/>
                  <a:pt x="7979410" y="5837266"/>
                  <a:pt x="7971156" y="5795356"/>
                </a:cubicBezTo>
                <a:close/>
                <a:moveTo>
                  <a:pt x="8103870" y="6023321"/>
                </a:moveTo>
                <a:cubicBezTo>
                  <a:pt x="8060056" y="6046816"/>
                  <a:pt x="8098790" y="6114761"/>
                  <a:pt x="8141335" y="6089996"/>
                </a:cubicBezTo>
                <a:cubicBezTo>
                  <a:pt x="8184515" y="6066501"/>
                  <a:pt x="8147050" y="5998556"/>
                  <a:pt x="8103870" y="6023321"/>
                </a:cubicBezTo>
                <a:close/>
                <a:moveTo>
                  <a:pt x="8310245" y="5656291"/>
                </a:moveTo>
                <a:cubicBezTo>
                  <a:pt x="8289925" y="5618191"/>
                  <a:pt x="8230870" y="5651211"/>
                  <a:pt x="8252460" y="5688676"/>
                </a:cubicBezTo>
                <a:cubicBezTo>
                  <a:pt x="8272781" y="5726776"/>
                  <a:pt x="8331835" y="5693756"/>
                  <a:pt x="8310245" y="5656291"/>
                </a:cubicBezTo>
                <a:close/>
                <a:moveTo>
                  <a:pt x="8328025" y="5868381"/>
                </a:moveTo>
                <a:cubicBezTo>
                  <a:pt x="8289290" y="5898861"/>
                  <a:pt x="8338820" y="5959186"/>
                  <a:pt x="8376285" y="5927436"/>
                </a:cubicBezTo>
                <a:cubicBezTo>
                  <a:pt x="8415020" y="5896956"/>
                  <a:pt x="8365490" y="5836631"/>
                  <a:pt x="8328025" y="5868381"/>
                </a:cubicBezTo>
                <a:close/>
                <a:moveTo>
                  <a:pt x="8341360" y="5808056"/>
                </a:moveTo>
                <a:cubicBezTo>
                  <a:pt x="8403590" y="5804246"/>
                  <a:pt x="8373110" y="5710266"/>
                  <a:pt x="8320406" y="5743286"/>
                </a:cubicBezTo>
                <a:cubicBezTo>
                  <a:pt x="8320406" y="5743286"/>
                  <a:pt x="8320406" y="5743286"/>
                  <a:pt x="8320406" y="5743286"/>
                </a:cubicBezTo>
                <a:cubicBezTo>
                  <a:pt x="8292465" y="5762336"/>
                  <a:pt x="8308340" y="5809326"/>
                  <a:pt x="8341360" y="5808056"/>
                </a:cubicBezTo>
                <a:close/>
                <a:moveTo>
                  <a:pt x="8201660" y="5714076"/>
                </a:moveTo>
                <a:cubicBezTo>
                  <a:pt x="8185150" y="5674706"/>
                  <a:pt x="8122920" y="5702011"/>
                  <a:pt x="8141335" y="5740746"/>
                </a:cubicBezTo>
                <a:cubicBezTo>
                  <a:pt x="8158481" y="5780751"/>
                  <a:pt x="8220075" y="5753446"/>
                  <a:pt x="8201660" y="5714076"/>
                </a:cubicBezTo>
                <a:close/>
                <a:moveTo>
                  <a:pt x="8218806" y="5950931"/>
                </a:moveTo>
                <a:cubicBezTo>
                  <a:pt x="8177531" y="5978871"/>
                  <a:pt x="8222615" y="6042371"/>
                  <a:pt x="8262620" y="6013796"/>
                </a:cubicBezTo>
                <a:cubicBezTo>
                  <a:pt x="8303260" y="5985856"/>
                  <a:pt x="8259445" y="5922356"/>
                  <a:pt x="8218806" y="5950931"/>
                </a:cubicBezTo>
                <a:close/>
                <a:moveTo>
                  <a:pt x="8232140" y="5879811"/>
                </a:moveTo>
                <a:cubicBezTo>
                  <a:pt x="8291831" y="5877906"/>
                  <a:pt x="8265795" y="5784561"/>
                  <a:pt x="8213725" y="5813771"/>
                </a:cubicBezTo>
                <a:cubicBezTo>
                  <a:pt x="8182610" y="5830916"/>
                  <a:pt x="8197850" y="5881081"/>
                  <a:pt x="8232140" y="5879811"/>
                </a:cubicBezTo>
                <a:close/>
                <a:moveTo>
                  <a:pt x="7611110" y="5964901"/>
                </a:moveTo>
                <a:cubicBezTo>
                  <a:pt x="7565390" y="5959821"/>
                  <a:pt x="7558406" y="6032211"/>
                  <a:pt x="7604760" y="6036021"/>
                </a:cubicBezTo>
                <a:cubicBezTo>
                  <a:pt x="7649845" y="6040466"/>
                  <a:pt x="7656831" y="5968711"/>
                  <a:pt x="7611110" y="5964901"/>
                </a:cubicBezTo>
                <a:close/>
                <a:moveTo>
                  <a:pt x="7439025" y="5350856"/>
                </a:moveTo>
                <a:cubicBezTo>
                  <a:pt x="7398385" y="5336886"/>
                  <a:pt x="7386320" y="5404831"/>
                  <a:pt x="7429500" y="5405466"/>
                </a:cubicBezTo>
                <a:cubicBezTo>
                  <a:pt x="7459981" y="5406736"/>
                  <a:pt x="7468870" y="5360381"/>
                  <a:pt x="7439025" y="5350856"/>
                </a:cubicBezTo>
                <a:close/>
                <a:moveTo>
                  <a:pt x="7385685" y="5516591"/>
                </a:moveTo>
                <a:cubicBezTo>
                  <a:pt x="7348856" y="5501351"/>
                  <a:pt x="7325995" y="5559136"/>
                  <a:pt x="7362825" y="5573741"/>
                </a:cubicBezTo>
                <a:cubicBezTo>
                  <a:pt x="7399656" y="5588981"/>
                  <a:pt x="7423150" y="5531196"/>
                  <a:pt x="7385685" y="5516591"/>
                </a:cubicBezTo>
                <a:close/>
                <a:moveTo>
                  <a:pt x="7458710" y="6138891"/>
                </a:moveTo>
                <a:cubicBezTo>
                  <a:pt x="7410450" y="6128096"/>
                  <a:pt x="7395210" y="6204931"/>
                  <a:pt x="7443470" y="6213821"/>
                </a:cubicBezTo>
                <a:cubicBezTo>
                  <a:pt x="7491731" y="6223981"/>
                  <a:pt x="7507606" y="6147781"/>
                  <a:pt x="7458710" y="6138891"/>
                </a:cubicBezTo>
                <a:close/>
                <a:moveTo>
                  <a:pt x="7329170" y="6103331"/>
                </a:moveTo>
                <a:cubicBezTo>
                  <a:pt x="7282815" y="6086186"/>
                  <a:pt x="7257415" y="6159846"/>
                  <a:pt x="7304406" y="6175086"/>
                </a:cubicBezTo>
                <a:cubicBezTo>
                  <a:pt x="7350125" y="6192231"/>
                  <a:pt x="7376160" y="6118571"/>
                  <a:pt x="7329170" y="6103331"/>
                </a:cubicBezTo>
                <a:close/>
                <a:moveTo>
                  <a:pt x="7297420" y="5512146"/>
                </a:moveTo>
                <a:cubicBezTo>
                  <a:pt x="7315200" y="5476586"/>
                  <a:pt x="7258685" y="5449281"/>
                  <a:pt x="7242175" y="5485476"/>
                </a:cubicBezTo>
                <a:cubicBezTo>
                  <a:pt x="7224395" y="5521036"/>
                  <a:pt x="7280275" y="5548341"/>
                  <a:pt x="7297420" y="5512146"/>
                </a:cubicBezTo>
                <a:close/>
                <a:moveTo>
                  <a:pt x="7486015" y="5944581"/>
                </a:moveTo>
                <a:cubicBezTo>
                  <a:pt x="7440931" y="5933786"/>
                  <a:pt x="7425056" y="6004271"/>
                  <a:pt x="7470140" y="6013796"/>
                </a:cubicBezTo>
                <a:cubicBezTo>
                  <a:pt x="7514590" y="6025226"/>
                  <a:pt x="7531735" y="5954106"/>
                  <a:pt x="7486015" y="5944581"/>
                </a:cubicBezTo>
                <a:close/>
                <a:moveTo>
                  <a:pt x="7364731" y="5908386"/>
                </a:moveTo>
                <a:cubicBezTo>
                  <a:pt x="7321550" y="5891876"/>
                  <a:pt x="7296785" y="5960456"/>
                  <a:pt x="7340600" y="5975696"/>
                </a:cubicBezTo>
                <a:cubicBezTo>
                  <a:pt x="7383781" y="5991571"/>
                  <a:pt x="7408545" y="5923626"/>
                  <a:pt x="7364731" y="5908386"/>
                </a:cubicBezTo>
                <a:close/>
                <a:moveTo>
                  <a:pt x="8413115" y="5589616"/>
                </a:moveTo>
                <a:cubicBezTo>
                  <a:pt x="8389620" y="5553421"/>
                  <a:pt x="8333740" y="5591521"/>
                  <a:pt x="8357870" y="5626446"/>
                </a:cubicBezTo>
                <a:cubicBezTo>
                  <a:pt x="8381365" y="5663276"/>
                  <a:pt x="8437245" y="5625176"/>
                  <a:pt x="8413115" y="5589616"/>
                </a:cubicBezTo>
                <a:close/>
                <a:moveTo>
                  <a:pt x="7696200" y="5783291"/>
                </a:moveTo>
                <a:cubicBezTo>
                  <a:pt x="7651750" y="5780116"/>
                  <a:pt x="7649845" y="5849966"/>
                  <a:pt x="7694295" y="5849331"/>
                </a:cubicBezTo>
                <a:cubicBezTo>
                  <a:pt x="7735570" y="5849966"/>
                  <a:pt x="7738110" y="5785196"/>
                  <a:pt x="7696200" y="5783291"/>
                </a:cubicBezTo>
                <a:close/>
                <a:moveTo>
                  <a:pt x="7724775" y="6150956"/>
                </a:moveTo>
                <a:cubicBezTo>
                  <a:pt x="7675245" y="6156036"/>
                  <a:pt x="7684135" y="6232871"/>
                  <a:pt x="7733031" y="6226521"/>
                </a:cubicBezTo>
                <a:cubicBezTo>
                  <a:pt x="7781925" y="6222076"/>
                  <a:pt x="7773670" y="6144606"/>
                  <a:pt x="7724775" y="6150956"/>
                </a:cubicBezTo>
                <a:close/>
                <a:moveTo>
                  <a:pt x="7638415" y="5408006"/>
                </a:moveTo>
                <a:cubicBezTo>
                  <a:pt x="7602856" y="5400386"/>
                  <a:pt x="7590790" y="5456266"/>
                  <a:pt x="7626985" y="5463251"/>
                </a:cubicBezTo>
                <a:lnTo>
                  <a:pt x="7626985" y="5463251"/>
                </a:lnTo>
                <a:cubicBezTo>
                  <a:pt x="7662545" y="5470871"/>
                  <a:pt x="7674610" y="5414991"/>
                  <a:pt x="7638415" y="5408006"/>
                </a:cubicBezTo>
                <a:close/>
                <a:moveTo>
                  <a:pt x="7578725" y="5768051"/>
                </a:moveTo>
                <a:cubicBezTo>
                  <a:pt x="7532370" y="5759161"/>
                  <a:pt x="7525385" y="5834091"/>
                  <a:pt x="7572375" y="5834091"/>
                </a:cubicBezTo>
                <a:cubicBezTo>
                  <a:pt x="7611745" y="5834726"/>
                  <a:pt x="7617460" y="5774401"/>
                  <a:pt x="7578725" y="5768051"/>
                </a:cubicBezTo>
                <a:close/>
                <a:moveTo>
                  <a:pt x="7736840" y="5967441"/>
                </a:moveTo>
                <a:cubicBezTo>
                  <a:pt x="7690485" y="5968711"/>
                  <a:pt x="7694295" y="6041736"/>
                  <a:pt x="7740015" y="6038561"/>
                </a:cubicBezTo>
                <a:cubicBezTo>
                  <a:pt x="7786370" y="6037291"/>
                  <a:pt x="7783195" y="5964901"/>
                  <a:pt x="7736840" y="5967441"/>
                </a:cubicBezTo>
                <a:close/>
                <a:moveTo>
                  <a:pt x="7591425" y="6155401"/>
                </a:moveTo>
                <a:cubicBezTo>
                  <a:pt x="7541895" y="6152226"/>
                  <a:pt x="7538720" y="6229696"/>
                  <a:pt x="7587615" y="6231601"/>
                </a:cubicBezTo>
                <a:cubicBezTo>
                  <a:pt x="7637145" y="6234141"/>
                  <a:pt x="7640956" y="6156671"/>
                  <a:pt x="7591425" y="6155401"/>
                </a:cubicBezTo>
                <a:close/>
                <a:moveTo>
                  <a:pt x="7247256" y="5858856"/>
                </a:moveTo>
                <a:cubicBezTo>
                  <a:pt x="7205981" y="5838536"/>
                  <a:pt x="7174231" y="5903941"/>
                  <a:pt x="7216775" y="5922991"/>
                </a:cubicBezTo>
                <a:cubicBezTo>
                  <a:pt x="7257415" y="5943946"/>
                  <a:pt x="7289165" y="5878541"/>
                  <a:pt x="7247256" y="5858856"/>
                </a:cubicBezTo>
                <a:close/>
                <a:moveTo>
                  <a:pt x="7557135" y="5417531"/>
                </a:moveTo>
                <a:cubicBezTo>
                  <a:pt x="7567931" y="5382606"/>
                  <a:pt x="7512685" y="5366731"/>
                  <a:pt x="7503160" y="5402291"/>
                </a:cubicBezTo>
                <a:cubicBezTo>
                  <a:pt x="7492365" y="5437216"/>
                  <a:pt x="7547610" y="5453091"/>
                  <a:pt x="7557135" y="5417531"/>
                </a:cubicBezTo>
                <a:close/>
                <a:moveTo>
                  <a:pt x="4747895" y="3863686"/>
                </a:moveTo>
                <a:cubicBezTo>
                  <a:pt x="4782820" y="3864321"/>
                  <a:pt x="4780280" y="3809076"/>
                  <a:pt x="4745990" y="3812251"/>
                </a:cubicBezTo>
                <a:cubicBezTo>
                  <a:pt x="4713605" y="3814156"/>
                  <a:pt x="4716145" y="3864321"/>
                  <a:pt x="4747895" y="3863686"/>
                </a:cubicBezTo>
                <a:close/>
                <a:moveTo>
                  <a:pt x="4721225" y="4012276"/>
                </a:moveTo>
                <a:cubicBezTo>
                  <a:pt x="4694555" y="4018626"/>
                  <a:pt x="4705350" y="4059901"/>
                  <a:pt x="4731385" y="4052281"/>
                </a:cubicBezTo>
                <a:cubicBezTo>
                  <a:pt x="4758055" y="4046566"/>
                  <a:pt x="4747260" y="4005291"/>
                  <a:pt x="4721225" y="4012276"/>
                </a:cubicBezTo>
                <a:close/>
                <a:moveTo>
                  <a:pt x="4753610" y="3786851"/>
                </a:moveTo>
                <a:cubicBezTo>
                  <a:pt x="4790440" y="3788756"/>
                  <a:pt x="4792345" y="3730971"/>
                  <a:pt x="4755515" y="3730336"/>
                </a:cubicBezTo>
                <a:cubicBezTo>
                  <a:pt x="4719320" y="3728431"/>
                  <a:pt x="4717415" y="3786216"/>
                  <a:pt x="4753610" y="3786851"/>
                </a:cubicBezTo>
                <a:close/>
                <a:moveTo>
                  <a:pt x="4721860" y="4115146"/>
                </a:moveTo>
                <a:cubicBezTo>
                  <a:pt x="4699000" y="4121496"/>
                  <a:pt x="4709160" y="4157056"/>
                  <a:pt x="4732020" y="4150706"/>
                </a:cubicBezTo>
                <a:cubicBezTo>
                  <a:pt x="4754880" y="4144356"/>
                  <a:pt x="4744720" y="4108161"/>
                  <a:pt x="4721860" y="4115146"/>
                </a:cubicBezTo>
                <a:close/>
                <a:moveTo>
                  <a:pt x="4636770" y="4238971"/>
                </a:moveTo>
                <a:cubicBezTo>
                  <a:pt x="4617085" y="4244686"/>
                  <a:pt x="4627245" y="4275801"/>
                  <a:pt x="4646295" y="4269451"/>
                </a:cubicBezTo>
                <a:cubicBezTo>
                  <a:pt x="4665980" y="4263736"/>
                  <a:pt x="4656455" y="4232621"/>
                  <a:pt x="4636770" y="4238971"/>
                </a:cubicBezTo>
                <a:close/>
                <a:moveTo>
                  <a:pt x="4652645" y="4135466"/>
                </a:moveTo>
                <a:cubicBezTo>
                  <a:pt x="4629785" y="4142451"/>
                  <a:pt x="4641215" y="4178011"/>
                  <a:pt x="4663440" y="4170391"/>
                </a:cubicBezTo>
                <a:cubicBezTo>
                  <a:pt x="4686300" y="4164041"/>
                  <a:pt x="4674870" y="4128481"/>
                  <a:pt x="4652645" y="4135466"/>
                </a:cubicBezTo>
                <a:close/>
                <a:moveTo>
                  <a:pt x="4697730" y="4220556"/>
                </a:moveTo>
                <a:cubicBezTo>
                  <a:pt x="4678045" y="4226271"/>
                  <a:pt x="4687570" y="4257386"/>
                  <a:pt x="4706620" y="4251036"/>
                </a:cubicBezTo>
                <a:cubicBezTo>
                  <a:pt x="4726940" y="4245321"/>
                  <a:pt x="4717415" y="4214206"/>
                  <a:pt x="4697730" y="4220556"/>
                </a:cubicBezTo>
                <a:close/>
                <a:moveTo>
                  <a:pt x="4655820" y="3924011"/>
                </a:moveTo>
                <a:cubicBezTo>
                  <a:pt x="4625975" y="3930361"/>
                  <a:pt x="4637405" y="3976716"/>
                  <a:pt x="4666615" y="3969096"/>
                </a:cubicBezTo>
                <a:cubicBezTo>
                  <a:pt x="4695825" y="3963381"/>
                  <a:pt x="4685030" y="3917026"/>
                  <a:pt x="4655820" y="3924011"/>
                </a:cubicBezTo>
                <a:close/>
                <a:moveTo>
                  <a:pt x="4744085" y="3906231"/>
                </a:moveTo>
                <a:cubicBezTo>
                  <a:pt x="4714240" y="3911311"/>
                  <a:pt x="4722495" y="3957666"/>
                  <a:pt x="4752340" y="3951951"/>
                </a:cubicBezTo>
                <a:cubicBezTo>
                  <a:pt x="4782185" y="3947506"/>
                  <a:pt x="4773930" y="3900516"/>
                  <a:pt x="4744085" y="3906231"/>
                </a:cubicBezTo>
                <a:close/>
                <a:moveTo>
                  <a:pt x="4800600" y="3993861"/>
                </a:moveTo>
                <a:cubicBezTo>
                  <a:pt x="4773930" y="3998941"/>
                  <a:pt x="4782820" y="4040851"/>
                  <a:pt x="4808855" y="4034501"/>
                </a:cubicBezTo>
                <a:cubicBezTo>
                  <a:pt x="4835525" y="4029421"/>
                  <a:pt x="4827270" y="3988146"/>
                  <a:pt x="4800600" y="3993861"/>
                </a:cubicBezTo>
                <a:close/>
                <a:moveTo>
                  <a:pt x="4820285" y="4185631"/>
                </a:moveTo>
                <a:cubicBezTo>
                  <a:pt x="4799965" y="4190711"/>
                  <a:pt x="4808855" y="4221826"/>
                  <a:pt x="4828540" y="4216111"/>
                </a:cubicBezTo>
                <a:cubicBezTo>
                  <a:pt x="4848225" y="4211666"/>
                  <a:pt x="4840605" y="4180551"/>
                  <a:pt x="4820285" y="4185631"/>
                </a:cubicBezTo>
                <a:close/>
                <a:moveTo>
                  <a:pt x="4812665" y="3918931"/>
                </a:moveTo>
                <a:cubicBezTo>
                  <a:pt x="4815840" y="3948776"/>
                  <a:pt x="4862830" y="3943696"/>
                  <a:pt x="4859020" y="3913216"/>
                </a:cubicBezTo>
                <a:cubicBezTo>
                  <a:pt x="4855845" y="3883371"/>
                  <a:pt x="4808855" y="3889086"/>
                  <a:pt x="4812665" y="3918931"/>
                </a:cubicBezTo>
                <a:close/>
                <a:moveTo>
                  <a:pt x="4813935" y="4109431"/>
                </a:moveTo>
                <a:cubicBezTo>
                  <a:pt x="4808220" y="4086571"/>
                  <a:pt x="4772025" y="4095461"/>
                  <a:pt x="4778375" y="4118321"/>
                </a:cubicBezTo>
                <a:cubicBezTo>
                  <a:pt x="4784090" y="4141816"/>
                  <a:pt x="4820285" y="4132291"/>
                  <a:pt x="4813935" y="4109431"/>
                </a:cubicBezTo>
                <a:close/>
                <a:moveTo>
                  <a:pt x="4819650" y="3833206"/>
                </a:moveTo>
                <a:cubicBezTo>
                  <a:pt x="4819650" y="3847176"/>
                  <a:pt x="4831715" y="3858606"/>
                  <a:pt x="4845685" y="3858606"/>
                </a:cubicBezTo>
                <a:cubicBezTo>
                  <a:pt x="4879340" y="3858606"/>
                  <a:pt x="4878705" y="3805901"/>
                  <a:pt x="4845050" y="3807171"/>
                </a:cubicBezTo>
                <a:cubicBezTo>
                  <a:pt x="4830445" y="3807806"/>
                  <a:pt x="4819015" y="3819236"/>
                  <a:pt x="4819650" y="3833206"/>
                </a:cubicBezTo>
                <a:close/>
                <a:moveTo>
                  <a:pt x="4758690" y="4202776"/>
                </a:moveTo>
                <a:cubicBezTo>
                  <a:pt x="4739005" y="4207856"/>
                  <a:pt x="4747895" y="4239606"/>
                  <a:pt x="4767580" y="4233256"/>
                </a:cubicBezTo>
                <a:cubicBezTo>
                  <a:pt x="4787265" y="4228176"/>
                  <a:pt x="4779010" y="4196426"/>
                  <a:pt x="4758690" y="4202776"/>
                </a:cubicBezTo>
                <a:close/>
                <a:moveTo>
                  <a:pt x="4860290" y="3794471"/>
                </a:moveTo>
                <a:cubicBezTo>
                  <a:pt x="4894580" y="3795106"/>
                  <a:pt x="4897755" y="3741766"/>
                  <a:pt x="4863465" y="3737956"/>
                </a:cubicBezTo>
                <a:cubicBezTo>
                  <a:pt x="4827270" y="3732876"/>
                  <a:pt x="4820285" y="3790026"/>
                  <a:pt x="4857115" y="3793836"/>
                </a:cubicBezTo>
                <a:lnTo>
                  <a:pt x="4857115" y="3793836"/>
                </a:lnTo>
                <a:cubicBezTo>
                  <a:pt x="4857750" y="3794471"/>
                  <a:pt x="4859020" y="3794471"/>
                  <a:pt x="4860290" y="3794471"/>
                </a:cubicBezTo>
                <a:close/>
                <a:moveTo>
                  <a:pt x="4583430" y="4158326"/>
                </a:moveTo>
                <a:cubicBezTo>
                  <a:pt x="4560570" y="4165946"/>
                  <a:pt x="4573270" y="4200871"/>
                  <a:pt x="4595495" y="4193251"/>
                </a:cubicBezTo>
                <a:cubicBezTo>
                  <a:pt x="4618355" y="4185631"/>
                  <a:pt x="4606290" y="4150071"/>
                  <a:pt x="4583430" y="4158326"/>
                </a:cubicBezTo>
                <a:close/>
                <a:moveTo>
                  <a:pt x="4396105" y="4322791"/>
                </a:moveTo>
                <a:cubicBezTo>
                  <a:pt x="4377055" y="4329776"/>
                  <a:pt x="4388485" y="4360256"/>
                  <a:pt x="4407535" y="4352636"/>
                </a:cubicBezTo>
                <a:cubicBezTo>
                  <a:pt x="4426585" y="4345651"/>
                  <a:pt x="4415790" y="4315806"/>
                  <a:pt x="4396105" y="4322791"/>
                </a:cubicBezTo>
                <a:close/>
                <a:moveTo>
                  <a:pt x="4460875" y="4242146"/>
                </a:moveTo>
                <a:cubicBezTo>
                  <a:pt x="4483100" y="4233891"/>
                  <a:pt x="4469765" y="4198966"/>
                  <a:pt x="4447540" y="4207856"/>
                </a:cubicBezTo>
                <a:cubicBezTo>
                  <a:pt x="4425315" y="4216111"/>
                  <a:pt x="4439285" y="4251036"/>
                  <a:pt x="4460875" y="4242146"/>
                </a:cubicBezTo>
                <a:close/>
                <a:moveTo>
                  <a:pt x="4455795" y="4301201"/>
                </a:moveTo>
                <a:cubicBezTo>
                  <a:pt x="4436110" y="4308186"/>
                  <a:pt x="4447540" y="4338666"/>
                  <a:pt x="4466590" y="4331046"/>
                </a:cubicBezTo>
                <a:cubicBezTo>
                  <a:pt x="4486275" y="4324061"/>
                  <a:pt x="4475480" y="4293581"/>
                  <a:pt x="4455795" y="4301201"/>
                </a:cubicBezTo>
                <a:close/>
                <a:moveTo>
                  <a:pt x="4337050" y="4345651"/>
                </a:moveTo>
                <a:cubicBezTo>
                  <a:pt x="4317365" y="4352636"/>
                  <a:pt x="4329430" y="4383116"/>
                  <a:pt x="4348480" y="4375496"/>
                </a:cubicBezTo>
                <a:cubicBezTo>
                  <a:pt x="4367530" y="4368511"/>
                  <a:pt x="4356100" y="4338031"/>
                  <a:pt x="4337050" y="4345651"/>
                </a:cubicBezTo>
                <a:close/>
                <a:moveTo>
                  <a:pt x="4516120" y="4097366"/>
                </a:moveTo>
                <a:cubicBezTo>
                  <a:pt x="4507230" y="4071966"/>
                  <a:pt x="4467225" y="4086571"/>
                  <a:pt x="4477385" y="4111971"/>
                </a:cubicBezTo>
                <a:cubicBezTo>
                  <a:pt x="4486275" y="4137371"/>
                  <a:pt x="4525645" y="4122131"/>
                  <a:pt x="4516120" y="4097366"/>
                </a:cubicBezTo>
                <a:close/>
                <a:moveTo>
                  <a:pt x="4394835" y="4268816"/>
                </a:moveTo>
                <a:cubicBezTo>
                  <a:pt x="4417060" y="4259926"/>
                  <a:pt x="4402455" y="4225636"/>
                  <a:pt x="4380865" y="4235161"/>
                </a:cubicBezTo>
                <a:cubicBezTo>
                  <a:pt x="4358640" y="4243416"/>
                  <a:pt x="4372610" y="4277706"/>
                  <a:pt x="4394835" y="4268816"/>
                </a:cubicBezTo>
                <a:close/>
                <a:moveTo>
                  <a:pt x="4338955" y="4145626"/>
                </a:moveTo>
                <a:cubicBezTo>
                  <a:pt x="4314190" y="4155786"/>
                  <a:pt x="4331335" y="4195156"/>
                  <a:pt x="4355465" y="4183726"/>
                </a:cubicBezTo>
                <a:cubicBezTo>
                  <a:pt x="4380865" y="4173566"/>
                  <a:pt x="4363720" y="4134831"/>
                  <a:pt x="4338955" y="4145626"/>
                </a:cubicBezTo>
                <a:close/>
                <a:moveTo>
                  <a:pt x="4648835" y="3788121"/>
                </a:moveTo>
                <a:cubicBezTo>
                  <a:pt x="4686300" y="3788756"/>
                  <a:pt x="4685030" y="3729066"/>
                  <a:pt x="4646930" y="3731606"/>
                </a:cubicBezTo>
                <a:cubicBezTo>
                  <a:pt x="4612005" y="3732876"/>
                  <a:pt x="4613275" y="3788756"/>
                  <a:pt x="4648835" y="3788121"/>
                </a:cubicBezTo>
                <a:close/>
                <a:moveTo>
                  <a:pt x="4516120" y="4279611"/>
                </a:moveTo>
                <a:cubicBezTo>
                  <a:pt x="4496435" y="4285961"/>
                  <a:pt x="4507230" y="4316441"/>
                  <a:pt x="4526915" y="4309456"/>
                </a:cubicBezTo>
                <a:cubicBezTo>
                  <a:pt x="4545965" y="4303106"/>
                  <a:pt x="4535170" y="4272626"/>
                  <a:pt x="4516120" y="4279611"/>
                </a:cubicBezTo>
                <a:close/>
                <a:moveTo>
                  <a:pt x="5712460" y="4567266"/>
                </a:moveTo>
                <a:cubicBezTo>
                  <a:pt x="5695950" y="4579966"/>
                  <a:pt x="5692775" y="4604096"/>
                  <a:pt x="5706110" y="4620606"/>
                </a:cubicBezTo>
                <a:lnTo>
                  <a:pt x="5706110" y="4620606"/>
                </a:lnTo>
                <a:cubicBezTo>
                  <a:pt x="5735955" y="4659976"/>
                  <a:pt x="5796915" y="4612351"/>
                  <a:pt x="5766435" y="4573616"/>
                </a:cubicBezTo>
                <a:cubicBezTo>
                  <a:pt x="5753100" y="4557741"/>
                  <a:pt x="5728970" y="4554566"/>
                  <a:pt x="5712460" y="4567266"/>
                </a:cubicBezTo>
                <a:close/>
                <a:moveTo>
                  <a:pt x="4655820" y="3875116"/>
                </a:moveTo>
                <a:cubicBezTo>
                  <a:pt x="4688840" y="3870036"/>
                  <a:pt x="4680585" y="3818601"/>
                  <a:pt x="4647565" y="3824316"/>
                </a:cubicBezTo>
                <a:cubicBezTo>
                  <a:pt x="4614545" y="3828761"/>
                  <a:pt x="4622800" y="3880831"/>
                  <a:pt x="4655820" y="3875116"/>
                </a:cubicBezTo>
                <a:close/>
                <a:moveTo>
                  <a:pt x="4629150" y="4059266"/>
                </a:moveTo>
                <a:cubicBezTo>
                  <a:pt x="4636770" y="4085301"/>
                  <a:pt x="4676775" y="4073236"/>
                  <a:pt x="4669155" y="4047201"/>
                </a:cubicBezTo>
                <a:cubicBezTo>
                  <a:pt x="4661535" y="4021801"/>
                  <a:pt x="4620895" y="4033866"/>
                  <a:pt x="4629150" y="4059266"/>
                </a:cubicBezTo>
                <a:close/>
                <a:moveTo>
                  <a:pt x="4576445" y="4258656"/>
                </a:moveTo>
                <a:cubicBezTo>
                  <a:pt x="4556760" y="4265006"/>
                  <a:pt x="4566920" y="4295486"/>
                  <a:pt x="4586605" y="4288501"/>
                </a:cubicBezTo>
                <a:cubicBezTo>
                  <a:pt x="4605655" y="4282786"/>
                  <a:pt x="4595495" y="4252306"/>
                  <a:pt x="4576445" y="4258656"/>
                </a:cubicBezTo>
                <a:close/>
                <a:moveTo>
                  <a:pt x="4515485" y="4182456"/>
                </a:moveTo>
                <a:cubicBezTo>
                  <a:pt x="4492625" y="4190076"/>
                  <a:pt x="4505960" y="4225636"/>
                  <a:pt x="4528185" y="4216746"/>
                </a:cubicBezTo>
                <a:cubicBezTo>
                  <a:pt x="4550410" y="4209126"/>
                  <a:pt x="4537710" y="4174201"/>
                  <a:pt x="4515485" y="4182456"/>
                </a:cubicBezTo>
                <a:close/>
                <a:moveTo>
                  <a:pt x="4578985" y="4097366"/>
                </a:moveTo>
                <a:cubicBezTo>
                  <a:pt x="4605020" y="4089111"/>
                  <a:pt x="4591050" y="4049106"/>
                  <a:pt x="4565650" y="4057996"/>
                </a:cubicBezTo>
                <a:cubicBezTo>
                  <a:pt x="4539615" y="4066251"/>
                  <a:pt x="4553585" y="4106256"/>
                  <a:pt x="4578985" y="4097366"/>
                </a:cubicBezTo>
                <a:close/>
                <a:moveTo>
                  <a:pt x="4884420" y="4092921"/>
                </a:moveTo>
                <a:cubicBezTo>
                  <a:pt x="4879340" y="4069426"/>
                  <a:pt x="4843145" y="4077681"/>
                  <a:pt x="4848860" y="4101176"/>
                </a:cubicBezTo>
                <a:cubicBezTo>
                  <a:pt x="4853305" y="4124671"/>
                  <a:pt x="4889500" y="4116416"/>
                  <a:pt x="4884420" y="4092921"/>
                </a:cubicBezTo>
                <a:close/>
                <a:moveTo>
                  <a:pt x="5352415" y="4140546"/>
                </a:moveTo>
                <a:cubicBezTo>
                  <a:pt x="5337175" y="4154516"/>
                  <a:pt x="5335905" y="4178646"/>
                  <a:pt x="5349875" y="4194521"/>
                </a:cubicBezTo>
                <a:lnTo>
                  <a:pt x="5349875" y="4194521"/>
                </a:lnTo>
                <a:cubicBezTo>
                  <a:pt x="5382895" y="4231351"/>
                  <a:pt x="5440045" y="4179281"/>
                  <a:pt x="5406390" y="4143086"/>
                </a:cubicBezTo>
                <a:cubicBezTo>
                  <a:pt x="5392420" y="4127211"/>
                  <a:pt x="5368290" y="4126576"/>
                  <a:pt x="5352415" y="4140546"/>
                </a:cubicBezTo>
                <a:close/>
                <a:moveTo>
                  <a:pt x="5534025" y="4085301"/>
                </a:moveTo>
                <a:cubicBezTo>
                  <a:pt x="5528945" y="4080221"/>
                  <a:pt x="5522595" y="4077681"/>
                  <a:pt x="5516245" y="4077046"/>
                </a:cubicBezTo>
                <a:cubicBezTo>
                  <a:pt x="5527675" y="4077681"/>
                  <a:pt x="5539105" y="4070696"/>
                  <a:pt x="5544820" y="4052916"/>
                </a:cubicBezTo>
                <a:cubicBezTo>
                  <a:pt x="5555615" y="4054186"/>
                  <a:pt x="5566410" y="4049106"/>
                  <a:pt x="5572125" y="4039581"/>
                </a:cubicBezTo>
                <a:cubicBezTo>
                  <a:pt x="5574665" y="4042756"/>
                  <a:pt x="5577205" y="4045296"/>
                  <a:pt x="5581015" y="4046566"/>
                </a:cubicBezTo>
                <a:cubicBezTo>
                  <a:pt x="5558790" y="4045931"/>
                  <a:pt x="5555615" y="4080221"/>
                  <a:pt x="5578475" y="4082761"/>
                </a:cubicBezTo>
                <a:lnTo>
                  <a:pt x="5578475" y="4082761"/>
                </a:lnTo>
                <a:cubicBezTo>
                  <a:pt x="5593080" y="4085301"/>
                  <a:pt x="5605145" y="4067521"/>
                  <a:pt x="5596255" y="4054821"/>
                </a:cubicBezTo>
                <a:cubicBezTo>
                  <a:pt x="5602605" y="4056726"/>
                  <a:pt x="5610225" y="4054821"/>
                  <a:pt x="5614670" y="4050376"/>
                </a:cubicBezTo>
                <a:cubicBezTo>
                  <a:pt x="5653405" y="4057361"/>
                  <a:pt x="5648960" y="3992591"/>
                  <a:pt x="5611495" y="4005926"/>
                </a:cubicBezTo>
                <a:cubicBezTo>
                  <a:pt x="5601335" y="3993861"/>
                  <a:pt x="5580380" y="3995131"/>
                  <a:pt x="5571490" y="4008466"/>
                </a:cubicBezTo>
                <a:cubicBezTo>
                  <a:pt x="5568315" y="4004021"/>
                  <a:pt x="5564505" y="4000211"/>
                  <a:pt x="5559425" y="3998306"/>
                </a:cubicBezTo>
                <a:cubicBezTo>
                  <a:pt x="5560695" y="3983066"/>
                  <a:pt x="5544185" y="3969731"/>
                  <a:pt x="5529580" y="3975446"/>
                </a:cubicBezTo>
                <a:cubicBezTo>
                  <a:pt x="5525770" y="3955126"/>
                  <a:pt x="5496560" y="3949411"/>
                  <a:pt x="5484495" y="3965921"/>
                </a:cubicBezTo>
                <a:cubicBezTo>
                  <a:pt x="5481320" y="3946236"/>
                  <a:pt x="5455285" y="3936076"/>
                  <a:pt x="5440045" y="3948776"/>
                </a:cubicBezTo>
                <a:cubicBezTo>
                  <a:pt x="5444490" y="3896071"/>
                  <a:pt x="5363210" y="3922106"/>
                  <a:pt x="5396865" y="3962746"/>
                </a:cubicBezTo>
                <a:cubicBezTo>
                  <a:pt x="5387340" y="3975446"/>
                  <a:pt x="5389880" y="3993226"/>
                  <a:pt x="5400675" y="4003386"/>
                </a:cubicBezTo>
                <a:cubicBezTo>
                  <a:pt x="5391785" y="4009101"/>
                  <a:pt x="5385435" y="4019896"/>
                  <a:pt x="5385435" y="4030056"/>
                </a:cubicBezTo>
                <a:cubicBezTo>
                  <a:pt x="5350510" y="4010371"/>
                  <a:pt x="5314315" y="4060536"/>
                  <a:pt x="5344795" y="4087841"/>
                </a:cubicBezTo>
                <a:cubicBezTo>
                  <a:pt x="5366385" y="4109431"/>
                  <a:pt x="5406390" y="4091016"/>
                  <a:pt x="5404485" y="4061171"/>
                </a:cubicBezTo>
                <a:cubicBezTo>
                  <a:pt x="5410835" y="4064346"/>
                  <a:pt x="5417820" y="4064981"/>
                  <a:pt x="5424805" y="4063711"/>
                </a:cubicBezTo>
                <a:cubicBezTo>
                  <a:pt x="5427980" y="4066886"/>
                  <a:pt x="5432425" y="4068791"/>
                  <a:pt x="5437505" y="4068791"/>
                </a:cubicBezTo>
                <a:cubicBezTo>
                  <a:pt x="5453380" y="4069426"/>
                  <a:pt x="5461635" y="4048471"/>
                  <a:pt x="5450840" y="4037676"/>
                </a:cubicBezTo>
                <a:cubicBezTo>
                  <a:pt x="5452110" y="4031961"/>
                  <a:pt x="5452110" y="4026881"/>
                  <a:pt x="5450205" y="4021166"/>
                </a:cubicBezTo>
                <a:cubicBezTo>
                  <a:pt x="5459730" y="4018626"/>
                  <a:pt x="5466080" y="4008466"/>
                  <a:pt x="5464175" y="3998306"/>
                </a:cubicBezTo>
                <a:cubicBezTo>
                  <a:pt x="5469890" y="3996401"/>
                  <a:pt x="5475605" y="3993226"/>
                  <a:pt x="5478780" y="3987511"/>
                </a:cubicBezTo>
                <a:cubicBezTo>
                  <a:pt x="5481320" y="3998306"/>
                  <a:pt x="5492115" y="4007196"/>
                  <a:pt x="5503545" y="4007196"/>
                </a:cubicBezTo>
                <a:cubicBezTo>
                  <a:pt x="5501640" y="4010371"/>
                  <a:pt x="5501005" y="4014181"/>
                  <a:pt x="5501640" y="4017356"/>
                </a:cubicBezTo>
                <a:cubicBezTo>
                  <a:pt x="5465445" y="4037676"/>
                  <a:pt x="5488940" y="4072601"/>
                  <a:pt x="5513070" y="4075776"/>
                </a:cubicBezTo>
                <a:cubicBezTo>
                  <a:pt x="5491480" y="4075776"/>
                  <a:pt x="5470525" y="4098001"/>
                  <a:pt x="5480685" y="4120861"/>
                </a:cubicBezTo>
                <a:cubicBezTo>
                  <a:pt x="5476240" y="4118321"/>
                  <a:pt x="5471160" y="4116416"/>
                  <a:pt x="5465445" y="4116416"/>
                </a:cubicBezTo>
                <a:cubicBezTo>
                  <a:pt x="5470525" y="4081491"/>
                  <a:pt x="5415915" y="4098636"/>
                  <a:pt x="5440045" y="4124036"/>
                </a:cubicBezTo>
                <a:cubicBezTo>
                  <a:pt x="5384165" y="4185631"/>
                  <a:pt x="5514975" y="4218651"/>
                  <a:pt x="5495290" y="4138006"/>
                </a:cubicBezTo>
                <a:cubicBezTo>
                  <a:pt x="5530215" y="4158961"/>
                  <a:pt x="5563870" y="4110066"/>
                  <a:pt x="5534025" y="4085301"/>
                </a:cubicBezTo>
                <a:close/>
                <a:moveTo>
                  <a:pt x="5446395" y="4244051"/>
                </a:moveTo>
                <a:cubicBezTo>
                  <a:pt x="5408295" y="4275801"/>
                  <a:pt x="5459730" y="4334856"/>
                  <a:pt x="5496560" y="4301201"/>
                </a:cubicBezTo>
                <a:cubicBezTo>
                  <a:pt x="5534025" y="4270086"/>
                  <a:pt x="5483225" y="4211031"/>
                  <a:pt x="5446395" y="4244051"/>
                </a:cubicBezTo>
                <a:close/>
                <a:moveTo>
                  <a:pt x="5323840" y="4102446"/>
                </a:moveTo>
                <a:cubicBezTo>
                  <a:pt x="5303520" y="4103716"/>
                  <a:pt x="5305425" y="4135466"/>
                  <a:pt x="5325745" y="4134196"/>
                </a:cubicBezTo>
                <a:cubicBezTo>
                  <a:pt x="5346065" y="4132926"/>
                  <a:pt x="5344160" y="4100541"/>
                  <a:pt x="5323840" y="4102446"/>
                </a:cubicBezTo>
                <a:close/>
                <a:moveTo>
                  <a:pt x="5387340" y="4098636"/>
                </a:moveTo>
                <a:cubicBezTo>
                  <a:pt x="5367020" y="4099271"/>
                  <a:pt x="5367655" y="4131656"/>
                  <a:pt x="5388610" y="4130386"/>
                </a:cubicBezTo>
                <a:cubicBezTo>
                  <a:pt x="5409565" y="4130386"/>
                  <a:pt x="5407660" y="4098001"/>
                  <a:pt x="5387340" y="4098636"/>
                </a:cubicBezTo>
                <a:close/>
                <a:moveTo>
                  <a:pt x="5220970" y="4030056"/>
                </a:moveTo>
                <a:cubicBezTo>
                  <a:pt x="5196840" y="4030691"/>
                  <a:pt x="5198745" y="4068156"/>
                  <a:pt x="5222875" y="4066886"/>
                </a:cubicBezTo>
                <a:cubicBezTo>
                  <a:pt x="5247005" y="4066251"/>
                  <a:pt x="5245100" y="4028786"/>
                  <a:pt x="5220970" y="4030056"/>
                </a:cubicBezTo>
                <a:close/>
                <a:moveTo>
                  <a:pt x="5311775" y="4042756"/>
                </a:moveTo>
                <a:cubicBezTo>
                  <a:pt x="5288280" y="4000846"/>
                  <a:pt x="5215890" y="4054821"/>
                  <a:pt x="5255260" y="4093556"/>
                </a:cubicBezTo>
                <a:cubicBezTo>
                  <a:pt x="5288280" y="4128481"/>
                  <a:pt x="5342890" y="4078316"/>
                  <a:pt x="5311775" y="4042756"/>
                </a:cubicBezTo>
                <a:close/>
                <a:moveTo>
                  <a:pt x="5260340" y="4106891"/>
                </a:moveTo>
                <a:cubicBezTo>
                  <a:pt x="5239385" y="4108161"/>
                  <a:pt x="5243195" y="4140546"/>
                  <a:pt x="5263515" y="4138641"/>
                </a:cubicBezTo>
                <a:lnTo>
                  <a:pt x="5263515" y="4138641"/>
                </a:lnTo>
                <a:cubicBezTo>
                  <a:pt x="5283835" y="4137371"/>
                  <a:pt x="5280660" y="4104986"/>
                  <a:pt x="5260340" y="4106891"/>
                </a:cubicBezTo>
                <a:close/>
                <a:moveTo>
                  <a:pt x="5732780" y="4475826"/>
                </a:moveTo>
                <a:cubicBezTo>
                  <a:pt x="5797550" y="4471381"/>
                  <a:pt x="5761355" y="4373591"/>
                  <a:pt x="5709285" y="4413596"/>
                </a:cubicBezTo>
                <a:cubicBezTo>
                  <a:pt x="5684520" y="4433916"/>
                  <a:pt x="5701030" y="4477096"/>
                  <a:pt x="5732780" y="4475826"/>
                </a:cubicBezTo>
                <a:close/>
                <a:moveTo>
                  <a:pt x="5716270" y="4252941"/>
                </a:moveTo>
                <a:cubicBezTo>
                  <a:pt x="5685790" y="4222461"/>
                  <a:pt x="5638800" y="4270721"/>
                  <a:pt x="5669915" y="4300566"/>
                </a:cubicBezTo>
                <a:cubicBezTo>
                  <a:pt x="5700395" y="4331046"/>
                  <a:pt x="5747385" y="4282151"/>
                  <a:pt x="5716270" y="4252941"/>
                </a:cubicBezTo>
                <a:close/>
                <a:moveTo>
                  <a:pt x="5196205" y="4113876"/>
                </a:moveTo>
                <a:cubicBezTo>
                  <a:pt x="5175885" y="4115781"/>
                  <a:pt x="5179695" y="4148166"/>
                  <a:pt x="5200015" y="4145626"/>
                </a:cubicBezTo>
                <a:cubicBezTo>
                  <a:pt x="5220970" y="4143086"/>
                  <a:pt x="5217160" y="4110701"/>
                  <a:pt x="5196205" y="4113876"/>
                </a:cubicBezTo>
                <a:close/>
                <a:moveTo>
                  <a:pt x="5555615" y="4282151"/>
                </a:moveTo>
                <a:cubicBezTo>
                  <a:pt x="5621655" y="4277706"/>
                  <a:pt x="5582285" y="4178011"/>
                  <a:pt x="5530850" y="4220556"/>
                </a:cubicBezTo>
                <a:cubicBezTo>
                  <a:pt x="5507990" y="4241511"/>
                  <a:pt x="5525135" y="4283421"/>
                  <a:pt x="5555615" y="4282151"/>
                </a:cubicBezTo>
                <a:close/>
                <a:moveTo>
                  <a:pt x="5626100" y="4458046"/>
                </a:moveTo>
                <a:cubicBezTo>
                  <a:pt x="5586730" y="4488526"/>
                  <a:pt x="5635625" y="4548851"/>
                  <a:pt x="5673725" y="4517736"/>
                </a:cubicBezTo>
                <a:cubicBezTo>
                  <a:pt x="5712460" y="4487256"/>
                  <a:pt x="5664200" y="4426296"/>
                  <a:pt x="5626100" y="4458046"/>
                </a:cubicBezTo>
                <a:close/>
                <a:moveTo>
                  <a:pt x="5537200" y="4350096"/>
                </a:moveTo>
                <a:cubicBezTo>
                  <a:pt x="5498465" y="4381211"/>
                  <a:pt x="5548630" y="4440901"/>
                  <a:pt x="5586095" y="4408516"/>
                </a:cubicBezTo>
                <a:cubicBezTo>
                  <a:pt x="5624830" y="4378036"/>
                  <a:pt x="5574665" y="4317711"/>
                  <a:pt x="5537200" y="4350096"/>
                </a:cubicBezTo>
                <a:close/>
                <a:moveTo>
                  <a:pt x="5645150" y="4378036"/>
                </a:moveTo>
                <a:cubicBezTo>
                  <a:pt x="5710555" y="4373591"/>
                  <a:pt x="5673090" y="4275166"/>
                  <a:pt x="5621020" y="4315806"/>
                </a:cubicBezTo>
                <a:cubicBezTo>
                  <a:pt x="5596890" y="4336761"/>
                  <a:pt x="5614035" y="4379306"/>
                  <a:pt x="5645150" y="4378036"/>
                </a:cubicBezTo>
                <a:close/>
                <a:moveTo>
                  <a:pt x="5626100" y="4167851"/>
                </a:moveTo>
                <a:cubicBezTo>
                  <a:pt x="5594985" y="4138006"/>
                  <a:pt x="5549265" y="4188171"/>
                  <a:pt x="5581015" y="4216746"/>
                </a:cubicBezTo>
                <a:cubicBezTo>
                  <a:pt x="5612765" y="4245956"/>
                  <a:pt x="5658485" y="4196426"/>
                  <a:pt x="5626100" y="4167851"/>
                </a:cubicBezTo>
                <a:close/>
                <a:moveTo>
                  <a:pt x="5013325" y="3929726"/>
                </a:moveTo>
                <a:cubicBezTo>
                  <a:pt x="5043805" y="3930361"/>
                  <a:pt x="5043805" y="3882736"/>
                  <a:pt x="5013325" y="3883371"/>
                </a:cubicBezTo>
                <a:cubicBezTo>
                  <a:pt x="4982845" y="3882736"/>
                  <a:pt x="4982845" y="3929726"/>
                  <a:pt x="5013325" y="3929726"/>
                </a:cubicBezTo>
                <a:close/>
                <a:moveTo>
                  <a:pt x="4961255" y="3967826"/>
                </a:moveTo>
                <a:cubicBezTo>
                  <a:pt x="4933950" y="3970366"/>
                  <a:pt x="4939030" y="4012911"/>
                  <a:pt x="4966335" y="4009101"/>
                </a:cubicBezTo>
                <a:cubicBezTo>
                  <a:pt x="4993005" y="4006561"/>
                  <a:pt x="4987925" y="3964651"/>
                  <a:pt x="4961255" y="3967826"/>
                </a:cubicBezTo>
                <a:close/>
                <a:moveTo>
                  <a:pt x="5007610" y="4088476"/>
                </a:moveTo>
                <a:cubicBezTo>
                  <a:pt x="5033010" y="4088476"/>
                  <a:pt x="5029835" y="4047836"/>
                  <a:pt x="5005070" y="4052281"/>
                </a:cubicBezTo>
                <a:cubicBezTo>
                  <a:pt x="4982845" y="4055456"/>
                  <a:pt x="4986020" y="4089111"/>
                  <a:pt x="5007610" y="4088476"/>
                </a:cubicBezTo>
                <a:close/>
                <a:moveTo>
                  <a:pt x="4882515" y="4170391"/>
                </a:moveTo>
                <a:cubicBezTo>
                  <a:pt x="4862195" y="4174836"/>
                  <a:pt x="4869815" y="4206586"/>
                  <a:pt x="4890135" y="4201506"/>
                </a:cubicBezTo>
                <a:cubicBezTo>
                  <a:pt x="4909820" y="4197061"/>
                  <a:pt x="4902200" y="4165311"/>
                  <a:pt x="4882515" y="4170391"/>
                </a:cubicBezTo>
                <a:close/>
                <a:moveTo>
                  <a:pt x="4944745" y="4156421"/>
                </a:moveTo>
                <a:cubicBezTo>
                  <a:pt x="4924425" y="4160231"/>
                  <a:pt x="4931410" y="4191981"/>
                  <a:pt x="4951730" y="4187536"/>
                </a:cubicBezTo>
                <a:cubicBezTo>
                  <a:pt x="4971415" y="4183091"/>
                  <a:pt x="4964430" y="4151341"/>
                  <a:pt x="4944745" y="4156421"/>
                </a:cubicBezTo>
                <a:close/>
                <a:moveTo>
                  <a:pt x="4880610" y="3979256"/>
                </a:moveTo>
                <a:cubicBezTo>
                  <a:pt x="4853940" y="3983066"/>
                  <a:pt x="4860925" y="4024976"/>
                  <a:pt x="4887595" y="4020531"/>
                </a:cubicBezTo>
                <a:cubicBezTo>
                  <a:pt x="4914265" y="4016721"/>
                  <a:pt x="4907280" y="3974811"/>
                  <a:pt x="4880610" y="3979256"/>
                </a:cubicBezTo>
                <a:close/>
                <a:moveTo>
                  <a:pt x="4940300" y="4100541"/>
                </a:moveTo>
                <a:cubicBezTo>
                  <a:pt x="4963795" y="4096731"/>
                  <a:pt x="4956810" y="4059901"/>
                  <a:pt x="4933315" y="4064346"/>
                </a:cubicBezTo>
                <a:cubicBezTo>
                  <a:pt x="4909820" y="4068791"/>
                  <a:pt x="4916805" y="4105621"/>
                  <a:pt x="4940300" y="4100541"/>
                </a:cubicBezTo>
                <a:close/>
                <a:moveTo>
                  <a:pt x="4923155" y="3885276"/>
                </a:moveTo>
                <a:cubicBezTo>
                  <a:pt x="4892675" y="3886546"/>
                  <a:pt x="4895850" y="3934171"/>
                  <a:pt x="4925695" y="3931631"/>
                </a:cubicBezTo>
                <a:cubicBezTo>
                  <a:pt x="4956175" y="3930361"/>
                  <a:pt x="4953000" y="3883371"/>
                  <a:pt x="4923155" y="3885276"/>
                </a:cubicBezTo>
                <a:close/>
                <a:moveTo>
                  <a:pt x="5076825" y="4042121"/>
                </a:moveTo>
                <a:cubicBezTo>
                  <a:pt x="5052695" y="4044661"/>
                  <a:pt x="5057775" y="4081491"/>
                  <a:pt x="5081270" y="4078316"/>
                </a:cubicBezTo>
                <a:cubicBezTo>
                  <a:pt x="5104765" y="4076411"/>
                  <a:pt x="5100320" y="4038946"/>
                  <a:pt x="5076825" y="4042121"/>
                </a:cubicBezTo>
                <a:close/>
                <a:moveTo>
                  <a:pt x="5125085" y="3910676"/>
                </a:moveTo>
                <a:cubicBezTo>
                  <a:pt x="5125720" y="3902421"/>
                  <a:pt x="5121275" y="3894801"/>
                  <a:pt x="5114925" y="3890356"/>
                </a:cubicBezTo>
                <a:cubicBezTo>
                  <a:pt x="5116195" y="3887181"/>
                  <a:pt x="5117465" y="3884006"/>
                  <a:pt x="5118100" y="3880831"/>
                </a:cubicBezTo>
                <a:cubicBezTo>
                  <a:pt x="5122545" y="3884641"/>
                  <a:pt x="5128895" y="3887181"/>
                  <a:pt x="5134610" y="3887181"/>
                </a:cubicBezTo>
                <a:cubicBezTo>
                  <a:pt x="5132070" y="3906231"/>
                  <a:pt x="5148580" y="3925916"/>
                  <a:pt x="5168265" y="3926551"/>
                </a:cubicBezTo>
                <a:cubicBezTo>
                  <a:pt x="5168900" y="3928456"/>
                  <a:pt x="5170170" y="3930996"/>
                  <a:pt x="5171440" y="3932901"/>
                </a:cubicBezTo>
                <a:cubicBezTo>
                  <a:pt x="5115560" y="3950681"/>
                  <a:pt x="5158740" y="4034501"/>
                  <a:pt x="5205730" y="3999576"/>
                </a:cubicBezTo>
                <a:cubicBezTo>
                  <a:pt x="5220335" y="3998306"/>
                  <a:pt x="5229225" y="3979891"/>
                  <a:pt x="5220970" y="3967826"/>
                </a:cubicBezTo>
                <a:cubicBezTo>
                  <a:pt x="5220970" y="3955761"/>
                  <a:pt x="5213985" y="3943696"/>
                  <a:pt x="5203190" y="3937346"/>
                </a:cubicBezTo>
                <a:cubicBezTo>
                  <a:pt x="5208905" y="3932901"/>
                  <a:pt x="5213350" y="3925281"/>
                  <a:pt x="5212715" y="3917661"/>
                </a:cubicBezTo>
                <a:cubicBezTo>
                  <a:pt x="5226050" y="3921471"/>
                  <a:pt x="5241925" y="3915756"/>
                  <a:pt x="5248910" y="3903056"/>
                </a:cubicBezTo>
                <a:cubicBezTo>
                  <a:pt x="5300980" y="3932901"/>
                  <a:pt x="5310505" y="3835111"/>
                  <a:pt x="5253355" y="3854796"/>
                </a:cubicBezTo>
                <a:cubicBezTo>
                  <a:pt x="5243830" y="3821141"/>
                  <a:pt x="5190490" y="3831301"/>
                  <a:pt x="5193665" y="3866226"/>
                </a:cubicBezTo>
                <a:cubicBezTo>
                  <a:pt x="5191760" y="3864321"/>
                  <a:pt x="5189220" y="3862416"/>
                  <a:pt x="5187315" y="3861146"/>
                </a:cubicBezTo>
                <a:cubicBezTo>
                  <a:pt x="5210175" y="3838921"/>
                  <a:pt x="5179060" y="3800186"/>
                  <a:pt x="5152390" y="3817331"/>
                </a:cubicBezTo>
                <a:cubicBezTo>
                  <a:pt x="5157470" y="3784946"/>
                  <a:pt x="5115560" y="3771611"/>
                  <a:pt x="5095240" y="3794471"/>
                </a:cubicBezTo>
                <a:cubicBezTo>
                  <a:pt x="5085080" y="3776056"/>
                  <a:pt x="5059045" y="3771611"/>
                  <a:pt x="5043170" y="3784311"/>
                </a:cubicBezTo>
                <a:cubicBezTo>
                  <a:pt x="5059680" y="3753831"/>
                  <a:pt x="5021580" y="3708111"/>
                  <a:pt x="4990465" y="3732876"/>
                </a:cubicBezTo>
                <a:cubicBezTo>
                  <a:pt x="4986655" y="3706841"/>
                  <a:pt x="4951095" y="3694776"/>
                  <a:pt x="4932045" y="3712556"/>
                </a:cubicBezTo>
                <a:cubicBezTo>
                  <a:pt x="4932045" y="3712556"/>
                  <a:pt x="4932045" y="3712556"/>
                  <a:pt x="4932045" y="3712556"/>
                </a:cubicBezTo>
                <a:cubicBezTo>
                  <a:pt x="4937125" y="3689061"/>
                  <a:pt x="4912360" y="3666836"/>
                  <a:pt x="4889500" y="3675091"/>
                </a:cubicBezTo>
                <a:cubicBezTo>
                  <a:pt x="4886325" y="3671281"/>
                  <a:pt x="4881880" y="3668106"/>
                  <a:pt x="4877435" y="3666201"/>
                </a:cubicBezTo>
                <a:cubicBezTo>
                  <a:pt x="4872990" y="3638261"/>
                  <a:pt x="4833620" y="3628101"/>
                  <a:pt x="4815840" y="3650326"/>
                </a:cubicBezTo>
                <a:cubicBezTo>
                  <a:pt x="4811395" y="3637626"/>
                  <a:pt x="4796790" y="3628101"/>
                  <a:pt x="4782820" y="3630006"/>
                </a:cubicBezTo>
                <a:cubicBezTo>
                  <a:pt x="4786630" y="3607781"/>
                  <a:pt x="4765675" y="3584286"/>
                  <a:pt x="4742815" y="3586826"/>
                </a:cubicBezTo>
                <a:cubicBezTo>
                  <a:pt x="4723130" y="3574761"/>
                  <a:pt x="4697095" y="3584921"/>
                  <a:pt x="4690745" y="3607146"/>
                </a:cubicBezTo>
                <a:cubicBezTo>
                  <a:pt x="4643120" y="3566506"/>
                  <a:pt x="4605020" y="3659216"/>
                  <a:pt x="4667250" y="3663661"/>
                </a:cubicBezTo>
                <a:cubicBezTo>
                  <a:pt x="4643755" y="3679536"/>
                  <a:pt x="4656455" y="3720176"/>
                  <a:pt x="4685665" y="3718906"/>
                </a:cubicBezTo>
                <a:cubicBezTo>
                  <a:pt x="4723130" y="3719541"/>
                  <a:pt x="4726305" y="3660486"/>
                  <a:pt x="4688840" y="3657946"/>
                </a:cubicBezTo>
                <a:cubicBezTo>
                  <a:pt x="4688205" y="3657946"/>
                  <a:pt x="4686935" y="3657946"/>
                  <a:pt x="4686300" y="3657946"/>
                </a:cubicBezTo>
                <a:cubicBezTo>
                  <a:pt x="4692015" y="3654136"/>
                  <a:pt x="4696460" y="3648421"/>
                  <a:pt x="4699000" y="3641436"/>
                </a:cubicBezTo>
                <a:cubicBezTo>
                  <a:pt x="4704080" y="3647151"/>
                  <a:pt x="4711700" y="3651596"/>
                  <a:pt x="4719955" y="3652231"/>
                </a:cubicBezTo>
                <a:cubicBezTo>
                  <a:pt x="4728845" y="3660486"/>
                  <a:pt x="4741545" y="3664296"/>
                  <a:pt x="4753610" y="3661756"/>
                </a:cubicBezTo>
                <a:cubicBezTo>
                  <a:pt x="4752975" y="3674456"/>
                  <a:pt x="4759960" y="3686521"/>
                  <a:pt x="4771390" y="3692236"/>
                </a:cubicBezTo>
                <a:cubicBezTo>
                  <a:pt x="4754245" y="3729066"/>
                  <a:pt x="4813935" y="3754466"/>
                  <a:pt x="4827905" y="3715731"/>
                </a:cubicBezTo>
                <a:cubicBezTo>
                  <a:pt x="4835525" y="3735416"/>
                  <a:pt x="4860925" y="3744941"/>
                  <a:pt x="4879340" y="3734781"/>
                </a:cubicBezTo>
                <a:cubicBezTo>
                  <a:pt x="4880610" y="3756371"/>
                  <a:pt x="4907915" y="3770341"/>
                  <a:pt x="4926330" y="3757641"/>
                </a:cubicBezTo>
                <a:cubicBezTo>
                  <a:pt x="4929505" y="3762721"/>
                  <a:pt x="4933315" y="3767166"/>
                  <a:pt x="4939030" y="3769706"/>
                </a:cubicBezTo>
                <a:cubicBezTo>
                  <a:pt x="4933315" y="3783676"/>
                  <a:pt x="4935855" y="3800186"/>
                  <a:pt x="4946650" y="3810981"/>
                </a:cubicBezTo>
                <a:cubicBezTo>
                  <a:pt x="4911725" y="3803996"/>
                  <a:pt x="4905375" y="3859876"/>
                  <a:pt x="4940300" y="3861781"/>
                </a:cubicBezTo>
                <a:cubicBezTo>
                  <a:pt x="4961890" y="3863686"/>
                  <a:pt x="4975860" y="3837016"/>
                  <a:pt x="4962525" y="3820506"/>
                </a:cubicBezTo>
                <a:cubicBezTo>
                  <a:pt x="4980940" y="3826856"/>
                  <a:pt x="5003165" y="3816061"/>
                  <a:pt x="5009515" y="3797646"/>
                </a:cubicBezTo>
                <a:cubicBezTo>
                  <a:pt x="5018405" y="3800186"/>
                  <a:pt x="5027930" y="3798281"/>
                  <a:pt x="5035550" y="3793201"/>
                </a:cubicBezTo>
                <a:cubicBezTo>
                  <a:pt x="5029835" y="3802091"/>
                  <a:pt x="5028565" y="3811616"/>
                  <a:pt x="5031105" y="3821141"/>
                </a:cubicBezTo>
                <a:cubicBezTo>
                  <a:pt x="5001260" y="3829396"/>
                  <a:pt x="5012055" y="3876386"/>
                  <a:pt x="5042535" y="3871306"/>
                </a:cubicBezTo>
                <a:cubicBezTo>
                  <a:pt x="5039995" y="3891626"/>
                  <a:pt x="5057775" y="3911946"/>
                  <a:pt x="5078095" y="3912581"/>
                </a:cubicBezTo>
                <a:cubicBezTo>
                  <a:pt x="5080635" y="3939251"/>
                  <a:pt x="5123815" y="3938616"/>
                  <a:pt x="5125085" y="3910676"/>
                </a:cubicBezTo>
                <a:close/>
                <a:moveTo>
                  <a:pt x="5090795" y="3837016"/>
                </a:moveTo>
                <a:cubicBezTo>
                  <a:pt x="5090795" y="3837016"/>
                  <a:pt x="5090795" y="3837016"/>
                  <a:pt x="5090795" y="3837016"/>
                </a:cubicBezTo>
                <a:cubicBezTo>
                  <a:pt x="5091430" y="3837016"/>
                  <a:pt x="5091430" y="3837016"/>
                  <a:pt x="5090795" y="3837016"/>
                </a:cubicBezTo>
                <a:cubicBezTo>
                  <a:pt x="5091430" y="3837016"/>
                  <a:pt x="5090795" y="3837016"/>
                  <a:pt x="5090795" y="3837016"/>
                </a:cubicBezTo>
                <a:close/>
                <a:moveTo>
                  <a:pt x="5111750" y="3850986"/>
                </a:moveTo>
                <a:cubicBezTo>
                  <a:pt x="5111750" y="3850986"/>
                  <a:pt x="5111115" y="3850351"/>
                  <a:pt x="5111750" y="3850986"/>
                </a:cubicBezTo>
                <a:cubicBezTo>
                  <a:pt x="5111750" y="3850351"/>
                  <a:pt x="5111750" y="3850351"/>
                  <a:pt x="5111750" y="3850986"/>
                </a:cubicBezTo>
                <a:cubicBezTo>
                  <a:pt x="5111750" y="3850986"/>
                  <a:pt x="5111750" y="3850986"/>
                  <a:pt x="5111750" y="3850986"/>
                </a:cubicBezTo>
                <a:close/>
                <a:moveTo>
                  <a:pt x="5123180" y="3957031"/>
                </a:moveTo>
                <a:cubicBezTo>
                  <a:pt x="5095875" y="3957031"/>
                  <a:pt x="5097145" y="3999576"/>
                  <a:pt x="5123815" y="3998941"/>
                </a:cubicBezTo>
                <a:cubicBezTo>
                  <a:pt x="5151120" y="3998306"/>
                  <a:pt x="5150485" y="3956396"/>
                  <a:pt x="5123180" y="3957031"/>
                </a:cubicBezTo>
                <a:close/>
                <a:moveTo>
                  <a:pt x="5133340" y="4122131"/>
                </a:moveTo>
                <a:cubicBezTo>
                  <a:pt x="5113020" y="4124671"/>
                  <a:pt x="5117465" y="4157056"/>
                  <a:pt x="5137785" y="4153246"/>
                </a:cubicBezTo>
                <a:cubicBezTo>
                  <a:pt x="5158105" y="4150706"/>
                  <a:pt x="5153660" y="4118956"/>
                  <a:pt x="5133340" y="4122131"/>
                </a:cubicBezTo>
                <a:close/>
                <a:moveTo>
                  <a:pt x="5006975" y="4143086"/>
                </a:moveTo>
                <a:cubicBezTo>
                  <a:pt x="4986655" y="4146896"/>
                  <a:pt x="4993005" y="4178646"/>
                  <a:pt x="5012690" y="4174201"/>
                </a:cubicBezTo>
                <a:cubicBezTo>
                  <a:pt x="5033645" y="4171026"/>
                  <a:pt x="5027295" y="4139276"/>
                  <a:pt x="5006975" y="4143086"/>
                </a:cubicBezTo>
                <a:close/>
                <a:moveTo>
                  <a:pt x="5064125" y="3979891"/>
                </a:moveTo>
                <a:cubicBezTo>
                  <a:pt x="5062855" y="3952586"/>
                  <a:pt x="5020310" y="3955761"/>
                  <a:pt x="5022850" y="3983066"/>
                </a:cubicBezTo>
                <a:cubicBezTo>
                  <a:pt x="5024120" y="4009736"/>
                  <a:pt x="5066665" y="4007196"/>
                  <a:pt x="5064125" y="3979891"/>
                </a:cubicBezTo>
                <a:close/>
                <a:moveTo>
                  <a:pt x="5148580" y="4035136"/>
                </a:moveTo>
                <a:cubicBezTo>
                  <a:pt x="5125085" y="4037041"/>
                  <a:pt x="5128260" y="4073871"/>
                  <a:pt x="5151755" y="4071966"/>
                </a:cubicBezTo>
                <a:cubicBezTo>
                  <a:pt x="5175885" y="4070061"/>
                  <a:pt x="5172710" y="4032596"/>
                  <a:pt x="5148580" y="4035136"/>
                </a:cubicBezTo>
                <a:close/>
                <a:moveTo>
                  <a:pt x="5069840" y="4131656"/>
                </a:moveTo>
                <a:cubicBezTo>
                  <a:pt x="5049520" y="4134831"/>
                  <a:pt x="5055235" y="4166581"/>
                  <a:pt x="5074920" y="4162771"/>
                </a:cubicBezTo>
                <a:cubicBezTo>
                  <a:pt x="5095875" y="4160231"/>
                  <a:pt x="5090160" y="4127846"/>
                  <a:pt x="5069840" y="4131656"/>
                </a:cubicBezTo>
                <a:close/>
                <a:moveTo>
                  <a:pt x="10759440" y="2570191"/>
                </a:moveTo>
                <a:cubicBezTo>
                  <a:pt x="10744200" y="2551776"/>
                  <a:pt x="10715625" y="2575906"/>
                  <a:pt x="10731500" y="2593686"/>
                </a:cubicBezTo>
                <a:cubicBezTo>
                  <a:pt x="10746740" y="2612736"/>
                  <a:pt x="10775315" y="2588606"/>
                  <a:pt x="10759440" y="2570191"/>
                </a:cubicBezTo>
                <a:close/>
                <a:moveTo>
                  <a:pt x="11480800" y="1934556"/>
                </a:moveTo>
                <a:cubicBezTo>
                  <a:pt x="11505565" y="1923761"/>
                  <a:pt x="11487785" y="1885026"/>
                  <a:pt x="11463655" y="1896456"/>
                </a:cubicBezTo>
                <a:cubicBezTo>
                  <a:pt x="11438890" y="1907251"/>
                  <a:pt x="11456670" y="1945986"/>
                  <a:pt x="11480800" y="1934556"/>
                </a:cubicBezTo>
                <a:close/>
                <a:moveTo>
                  <a:pt x="11546205" y="1904711"/>
                </a:moveTo>
                <a:cubicBezTo>
                  <a:pt x="11578590" y="1904076"/>
                  <a:pt x="11568430" y="1852641"/>
                  <a:pt x="11538585" y="1864706"/>
                </a:cubicBezTo>
                <a:cubicBezTo>
                  <a:pt x="11517630" y="1872326"/>
                  <a:pt x="11524615" y="1905346"/>
                  <a:pt x="11546205" y="1904711"/>
                </a:cubicBezTo>
                <a:close/>
                <a:moveTo>
                  <a:pt x="11674475" y="2288251"/>
                </a:moveTo>
                <a:cubicBezTo>
                  <a:pt x="11654155" y="2292696"/>
                  <a:pt x="11661775" y="2323811"/>
                  <a:pt x="11681460" y="2319366"/>
                </a:cubicBezTo>
                <a:cubicBezTo>
                  <a:pt x="11701780" y="2314921"/>
                  <a:pt x="11694160" y="2283171"/>
                  <a:pt x="11674475" y="2288251"/>
                </a:cubicBezTo>
                <a:close/>
                <a:moveTo>
                  <a:pt x="11485880" y="1661506"/>
                </a:moveTo>
                <a:cubicBezTo>
                  <a:pt x="11458575" y="1674841"/>
                  <a:pt x="11480165" y="1717386"/>
                  <a:pt x="11506835" y="1703416"/>
                </a:cubicBezTo>
                <a:cubicBezTo>
                  <a:pt x="11533505" y="1690081"/>
                  <a:pt x="11512550" y="1647536"/>
                  <a:pt x="11485880" y="1661506"/>
                </a:cubicBezTo>
                <a:close/>
                <a:moveTo>
                  <a:pt x="11494770" y="2128866"/>
                </a:moveTo>
                <a:cubicBezTo>
                  <a:pt x="11486515" y="2106641"/>
                  <a:pt x="11451590" y="2119976"/>
                  <a:pt x="11460480" y="2142201"/>
                </a:cubicBezTo>
                <a:cubicBezTo>
                  <a:pt x="11468735" y="2164426"/>
                  <a:pt x="11503660" y="2150456"/>
                  <a:pt x="11494770" y="2128866"/>
                </a:cubicBezTo>
                <a:close/>
                <a:moveTo>
                  <a:pt x="11429365" y="2360006"/>
                </a:moveTo>
                <a:cubicBezTo>
                  <a:pt x="11409680" y="2366356"/>
                  <a:pt x="11421110" y="2396836"/>
                  <a:pt x="11440160" y="2389851"/>
                </a:cubicBezTo>
                <a:cubicBezTo>
                  <a:pt x="11459210" y="2383501"/>
                  <a:pt x="11448415" y="2353021"/>
                  <a:pt x="11429365" y="2360006"/>
                </a:cubicBezTo>
                <a:close/>
                <a:moveTo>
                  <a:pt x="11369040" y="2382231"/>
                </a:moveTo>
                <a:cubicBezTo>
                  <a:pt x="11349355" y="2389216"/>
                  <a:pt x="11361420" y="2419696"/>
                  <a:pt x="11380470" y="2412076"/>
                </a:cubicBezTo>
                <a:cubicBezTo>
                  <a:pt x="11400155" y="2404456"/>
                  <a:pt x="11388090" y="2374611"/>
                  <a:pt x="11369040" y="2382231"/>
                </a:cubicBezTo>
                <a:close/>
                <a:moveTo>
                  <a:pt x="11428095" y="2154901"/>
                </a:moveTo>
                <a:cubicBezTo>
                  <a:pt x="11419205" y="2132676"/>
                  <a:pt x="11384915" y="2147281"/>
                  <a:pt x="11394440" y="2169506"/>
                </a:cubicBezTo>
                <a:cubicBezTo>
                  <a:pt x="11403330" y="2191731"/>
                  <a:pt x="11437620" y="2177126"/>
                  <a:pt x="11428095" y="2154901"/>
                </a:cubicBezTo>
                <a:close/>
                <a:moveTo>
                  <a:pt x="11489690" y="2339051"/>
                </a:moveTo>
                <a:cubicBezTo>
                  <a:pt x="11470005" y="2345401"/>
                  <a:pt x="11480165" y="2375881"/>
                  <a:pt x="11499215" y="2369531"/>
                </a:cubicBezTo>
                <a:cubicBezTo>
                  <a:pt x="11518900" y="2363181"/>
                  <a:pt x="11509375" y="2332701"/>
                  <a:pt x="11489690" y="2339051"/>
                </a:cubicBezTo>
                <a:close/>
                <a:moveTo>
                  <a:pt x="11614150" y="1835496"/>
                </a:moveTo>
                <a:cubicBezTo>
                  <a:pt x="11588115" y="1844386"/>
                  <a:pt x="11602720" y="1884391"/>
                  <a:pt x="11628120" y="1874866"/>
                </a:cubicBezTo>
                <a:cubicBezTo>
                  <a:pt x="11654155" y="1865976"/>
                  <a:pt x="11639550" y="1825971"/>
                  <a:pt x="11614150" y="1835496"/>
                </a:cubicBezTo>
                <a:close/>
                <a:moveTo>
                  <a:pt x="11551285" y="2127596"/>
                </a:moveTo>
                <a:cubicBezTo>
                  <a:pt x="11574145" y="2119976"/>
                  <a:pt x="11561445" y="2085051"/>
                  <a:pt x="11539220" y="2092671"/>
                </a:cubicBezTo>
                <a:cubicBezTo>
                  <a:pt x="11516360" y="2100926"/>
                  <a:pt x="11529060" y="2135851"/>
                  <a:pt x="11551285" y="2127596"/>
                </a:cubicBezTo>
                <a:close/>
                <a:moveTo>
                  <a:pt x="11666855" y="1632296"/>
                </a:moveTo>
                <a:cubicBezTo>
                  <a:pt x="11695430" y="1622136"/>
                  <a:pt x="11678285" y="1577686"/>
                  <a:pt x="11650345" y="1588481"/>
                </a:cubicBezTo>
                <a:cubicBezTo>
                  <a:pt x="11621770" y="1599276"/>
                  <a:pt x="11638915" y="1643726"/>
                  <a:pt x="11666855" y="1632296"/>
                </a:cubicBezTo>
                <a:lnTo>
                  <a:pt x="11666855" y="1632296"/>
                </a:lnTo>
                <a:close/>
                <a:moveTo>
                  <a:pt x="11612245" y="2303491"/>
                </a:moveTo>
                <a:cubicBezTo>
                  <a:pt x="11591925" y="2308571"/>
                  <a:pt x="11600815" y="2339686"/>
                  <a:pt x="11620500" y="2333971"/>
                </a:cubicBezTo>
                <a:cubicBezTo>
                  <a:pt x="11640185" y="2328891"/>
                  <a:pt x="11631930" y="2297776"/>
                  <a:pt x="11612245" y="2303491"/>
                </a:cubicBezTo>
                <a:close/>
                <a:moveTo>
                  <a:pt x="11010265" y="2196811"/>
                </a:moveTo>
                <a:cubicBezTo>
                  <a:pt x="10993755" y="2175221"/>
                  <a:pt x="10960735" y="2201256"/>
                  <a:pt x="10977245" y="2222211"/>
                </a:cubicBezTo>
                <a:cubicBezTo>
                  <a:pt x="10993755" y="2243801"/>
                  <a:pt x="11026775" y="2217766"/>
                  <a:pt x="11010265" y="2196811"/>
                </a:cubicBezTo>
                <a:close/>
                <a:moveTo>
                  <a:pt x="11613515" y="2106641"/>
                </a:moveTo>
                <a:cubicBezTo>
                  <a:pt x="11640820" y="2106641"/>
                  <a:pt x="11634470" y="2062826"/>
                  <a:pt x="11608435" y="2071081"/>
                </a:cubicBezTo>
                <a:cubicBezTo>
                  <a:pt x="11588115" y="2076161"/>
                  <a:pt x="11593195" y="2107276"/>
                  <a:pt x="11613515" y="2106641"/>
                </a:cubicBezTo>
                <a:close/>
                <a:moveTo>
                  <a:pt x="11597640" y="1634836"/>
                </a:moveTo>
                <a:cubicBezTo>
                  <a:pt x="11585575" y="1606896"/>
                  <a:pt x="11542395" y="1625946"/>
                  <a:pt x="11555095" y="1653886"/>
                </a:cubicBezTo>
                <a:cubicBezTo>
                  <a:pt x="11567160" y="1681826"/>
                  <a:pt x="11610340" y="1662141"/>
                  <a:pt x="11597640" y="1634836"/>
                </a:cubicBezTo>
                <a:close/>
                <a:moveTo>
                  <a:pt x="11362055" y="2183476"/>
                </a:moveTo>
                <a:cubicBezTo>
                  <a:pt x="11352530" y="2161886"/>
                  <a:pt x="11318240" y="2177761"/>
                  <a:pt x="11329035" y="2198716"/>
                </a:cubicBezTo>
                <a:cubicBezTo>
                  <a:pt x="11338560" y="2220941"/>
                  <a:pt x="11372215" y="2205066"/>
                  <a:pt x="11362055" y="2183476"/>
                </a:cubicBezTo>
                <a:close/>
                <a:moveTo>
                  <a:pt x="11083290" y="2312381"/>
                </a:moveTo>
                <a:cubicBezTo>
                  <a:pt x="11062970" y="2324446"/>
                  <a:pt x="11082655" y="2356196"/>
                  <a:pt x="11102340" y="2343496"/>
                </a:cubicBezTo>
                <a:cubicBezTo>
                  <a:pt x="11123295" y="2331431"/>
                  <a:pt x="11103610" y="2299681"/>
                  <a:pt x="11083290" y="2312381"/>
                </a:cubicBezTo>
                <a:close/>
                <a:moveTo>
                  <a:pt x="11140440" y="2102196"/>
                </a:moveTo>
                <a:cubicBezTo>
                  <a:pt x="11125200" y="2079971"/>
                  <a:pt x="11090275" y="2104101"/>
                  <a:pt x="11106150" y="2125691"/>
                </a:cubicBezTo>
                <a:cubicBezTo>
                  <a:pt x="11121390" y="2148551"/>
                  <a:pt x="11156315" y="2124421"/>
                  <a:pt x="11140440" y="2102196"/>
                </a:cubicBezTo>
                <a:close/>
                <a:moveTo>
                  <a:pt x="11079480" y="2516851"/>
                </a:moveTo>
                <a:cubicBezTo>
                  <a:pt x="11061065" y="2526376"/>
                  <a:pt x="11076940" y="2554951"/>
                  <a:pt x="11094720" y="2544791"/>
                </a:cubicBezTo>
                <a:cubicBezTo>
                  <a:pt x="11113135" y="2534631"/>
                  <a:pt x="11097895" y="2506691"/>
                  <a:pt x="11079480" y="2516851"/>
                </a:cubicBezTo>
                <a:close/>
                <a:moveTo>
                  <a:pt x="11135995" y="2487006"/>
                </a:moveTo>
                <a:cubicBezTo>
                  <a:pt x="11117580" y="2496531"/>
                  <a:pt x="11132185" y="2525106"/>
                  <a:pt x="11150600" y="2515581"/>
                </a:cubicBezTo>
                <a:cubicBezTo>
                  <a:pt x="11169015" y="2506056"/>
                  <a:pt x="11154410" y="2476846"/>
                  <a:pt x="11135995" y="2487006"/>
                </a:cubicBezTo>
                <a:close/>
                <a:moveTo>
                  <a:pt x="11074400" y="2148551"/>
                </a:moveTo>
                <a:cubicBezTo>
                  <a:pt x="11058525" y="2126326"/>
                  <a:pt x="11024870" y="2151726"/>
                  <a:pt x="11040745" y="2173316"/>
                </a:cubicBezTo>
                <a:cubicBezTo>
                  <a:pt x="11057255" y="2195541"/>
                  <a:pt x="11090910" y="2170141"/>
                  <a:pt x="11074400" y="2148551"/>
                </a:cubicBezTo>
                <a:close/>
                <a:moveTo>
                  <a:pt x="11024235" y="2547966"/>
                </a:moveTo>
                <a:cubicBezTo>
                  <a:pt x="11006455" y="2558126"/>
                  <a:pt x="11022330" y="2586066"/>
                  <a:pt x="11040110" y="2575271"/>
                </a:cubicBezTo>
                <a:cubicBezTo>
                  <a:pt x="11057890" y="2565111"/>
                  <a:pt x="11041380" y="2537171"/>
                  <a:pt x="11024235" y="2547966"/>
                </a:cubicBezTo>
                <a:close/>
                <a:moveTo>
                  <a:pt x="11022330" y="2351116"/>
                </a:moveTo>
                <a:cubicBezTo>
                  <a:pt x="11002010" y="2363816"/>
                  <a:pt x="11022965" y="2394931"/>
                  <a:pt x="11042650" y="2381596"/>
                </a:cubicBezTo>
                <a:cubicBezTo>
                  <a:pt x="11062335" y="2369531"/>
                  <a:pt x="11042015" y="2337781"/>
                  <a:pt x="11022330" y="2351116"/>
                </a:cubicBezTo>
                <a:close/>
                <a:moveTo>
                  <a:pt x="11309985" y="2405726"/>
                </a:moveTo>
                <a:cubicBezTo>
                  <a:pt x="11290935" y="2413346"/>
                  <a:pt x="11303635" y="2443191"/>
                  <a:pt x="11322050" y="2434936"/>
                </a:cubicBezTo>
                <a:cubicBezTo>
                  <a:pt x="11341100" y="2427316"/>
                  <a:pt x="11329035" y="2397471"/>
                  <a:pt x="11309985" y="2405726"/>
                </a:cubicBezTo>
                <a:close/>
                <a:moveTo>
                  <a:pt x="11258550" y="2048221"/>
                </a:moveTo>
                <a:cubicBezTo>
                  <a:pt x="11293475" y="2047586"/>
                  <a:pt x="11278235" y="1992341"/>
                  <a:pt x="11247755" y="2009486"/>
                </a:cubicBezTo>
                <a:cubicBezTo>
                  <a:pt x="11229975" y="2019646"/>
                  <a:pt x="11238865" y="2048856"/>
                  <a:pt x="11258550" y="2048221"/>
                </a:cubicBezTo>
                <a:close/>
                <a:moveTo>
                  <a:pt x="11251565" y="2431126"/>
                </a:moveTo>
                <a:cubicBezTo>
                  <a:pt x="11232515" y="2439381"/>
                  <a:pt x="11245850" y="2468591"/>
                  <a:pt x="11264900" y="2460336"/>
                </a:cubicBezTo>
                <a:cubicBezTo>
                  <a:pt x="11283315" y="2452081"/>
                  <a:pt x="11269980" y="2422871"/>
                  <a:pt x="11251565" y="2431126"/>
                </a:cubicBezTo>
                <a:close/>
                <a:moveTo>
                  <a:pt x="11272520" y="2206336"/>
                </a:moveTo>
                <a:cubicBezTo>
                  <a:pt x="11250930" y="2217131"/>
                  <a:pt x="11268075" y="2250151"/>
                  <a:pt x="11289030" y="2239356"/>
                </a:cubicBezTo>
                <a:cubicBezTo>
                  <a:pt x="11310620" y="2228561"/>
                  <a:pt x="11293475" y="2195541"/>
                  <a:pt x="11272520" y="2206336"/>
                </a:cubicBezTo>
                <a:close/>
                <a:moveTo>
                  <a:pt x="11208385" y="2239991"/>
                </a:moveTo>
                <a:cubicBezTo>
                  <a:pt x="11187430" y="2250786"/>
                  <a:pt x="11205210" y="2283806"/>
                  <a:pt x="11226165" y="2272376"/>
                </a:cubicBezTo>
                <a:cubicBezTo>
                  <a:pt x="11247120" y="2260946"/>
                  <a:pt x="11229340" y="2227926"/>
                  <a:pt x="11208385" y="2239991"/>
                </a:cubicBezTo>
                <a:close/>
                <a:moveTo>
                  <a:pt x="11201400" y="2086956"/>
                </a:moveTo>
                <a:cubicBezTo>
                  <a:pt x="11224260" y="2072986"/>
                  <a:pt x="11201400" y="2036791"/>
                  <a:pt x="11178540" y="2052031"/>
                </a:cubicBezTo>
                <a:cubicBezTo>
                  <a:pt x="11156315" y="2066636"/>
                  <a:pt x="11179175" y="2102196"/>
                  <a:pt x="11201400" y="2086956"/>
                </a:cubicBezTo>
                <a:close/>
                <a:moveTo>
                  <a:pt x="11145520" y="2275551"/>
                </a:moveTo>
                <a:cubicBezTo>
                  <a:pt x="11124565" y="2286981"/>
                  <a:pt x="11143615" y="2319366"/>
                  <a:pt x="11163935" y="2307301"/>
                </a:cubicBezTo>
                <a:cubicBezTo>
                  <a:pt x="11184255" y="2295236"/>
                  <a:pt x="11165840" y="2262851"/>
                  <a:pt x="11145520" y="2275551"/>
                </a:cubicBezTo>
                <a:close/>
                <a:moveTo>
                  <a:pt x="11193145" y="2458431"/>
                </a:moveTo>
                <a:cubicBezTo>
                  <a:pt x="11174095" y="2467321"/>
                  <a:pt x="11188700" y="2496531"/>
                  <a:pt x="11207115" y="2487006"/>
                </a:cubicBezTo>
                <a:cubicBezTo>
                  <a:pt x="11226165" y="2478116"/>
                  <a:pt x="11211560" y="2448906"/>
                  <a:pt x="11193145" y="2458431"/>
                </a:cubicBezTo>
                <a:close/>
                <a:moveTo>
                  <a:pt x="11550650" y="2320636"/>
                </a:moveTo>
                <a:cubicBezTo>
                  <a:pt x="11530965" y="2326351"/>
                  <a:pt x="11539855" y="2357466"/>
                  <a:pt x="11559540" y="2351116"/>
                </a:cubicBezTo>
                <a:cubicBezTo>
                  <a:pt x="11579860" y="2345401"/>
                  <a:pt x="11570335" y="2314286"/>
                  <a:pt x="11550650" y="2320636"/>
                </a:cubicBezTo>
                <a:close/>
                <a:moveTo>
                  <a:pt x="12123420" y="990946"/>
                </a:moveTo>
                <a:cubicBezTo>
                  <a:pt x="12086590" y="992851"/>
                  <a:pt x="12090400" y="1050001"/>
                  <a:pt x="12127230" y="1047461"/>
                </a:cubicBezTo>
                <a:cubicBezTo>
                  <a:pt x="12163425" y="1045556"/>
                  <a:pt x="12160250" y="988406"/>
                  <a:pt x="12123420" y="990946"/>
                </a:cubicBezTo>
                <a:close/>
                <a:moveTo>
                  <a:pt x="12106910" y="1240501"/>
                </a:moveTo>
                <a:cubicBezTo>
                  <a:pt x="12073255" y="1242406"/>
                  <a:pt x="12077065" y="1294476"/>
                  <a:pt x="12110720" y="1291936"/>
                </a:cubicBezTo>
                <a:cubicBezTo>
                  <a:pt x="12143740" y="1290031"/>
                  <a:pt x="12140565" y="1237961"/>
                  <a:pt x="12106910" y="1240501"/>
                </a:cubicBezTo>
                <a:close/>
                <a:moveTo>
                  <a:pt x="12192000" y="2267296"/>
                </a:moveTo>
                <a:lnTo>
                  <a:pt x="12192000" y="2226021"/>
                </a:lnTo>
                <a:cubicBezTo>
                  <a:pt x="12177395" y="2234911"/>
                  <a:pt x="12178030" y="2259041"/>
                  <a:pt x="12192000" y="2267296"/>
                </a:cubicBezTo>
                <a:close/>
                <a:moveTo>
                  <a:pt x="12192000" y="1775806"/>
                </a:moveTo>
                <a:lnTo>
                  <a:pt x="12192000" y="1734531"/>
                </a:lnTo>
                <a:cubicBezTo>
                  <a:pt x="12177395" y="1743421"/>
                  <a:pt x="12178030" y="1766916"/>
                  <a:pt x="12192000" y="1775806"/>
                </a:cubicBezTo>
                <a:close/>
                <a:moveTo>
                  <a:pt x="12192000" y="2021551"/>
                </a:moveTo>
                <a:lnTo>
                  <a:pt x="12192000" y="1980276"/>
                </a:lnTo>
                <a:cubicBezTo>
                  <a:pt x="12177395" y="1989166"/>
                  <a:pt x="12178030" y="2012661"/>
                  <a:pt x="12192000" y="2021551"/>
                </a:cubicBezTo>
                <a:close/>
                <a:moveTo>
                  <a:pt x="12090400" y="1737071"/>
                </a:moveTo>
                <a:cubicBezTo>
                  <a:pt x="12063095" y="1738341"/>
                  <a:pt x="12066270" y="1780886"/>
                  <a:pt x="12092940" y="1778346"/>
                </a:cubicBezTo>
                <a:cubicBezTo>
                  <a:pt x="12120245" y="1777711"/>
                  <a:pt x="12117705" y="1735166"/>
                  <a:pt x="12090400" y="1737071"/>
                </a:cubicBezTo>
                <a:close/>
                <a:moveTo>
                  <a:pt x="12117705" y="2231736"/>
                </a:moveTo>
                <a:cubicBezTo>
                  <a:pt x="12097385" y="2231736"/>
                  <a:pt x="12098020" y="2264121"/>
                  <a:pt x="12118340" y="2263486"/>
                </a:cubicBezTo>
                <a:cubicBezTo>
                  <a:pt x="12139295" y="2262851"/>
                  <a:pt x="12138025" y="2231101"/>
                  <a:pt x="12117705" y="2231736"/>
                </a:cubicBezTo>
                <a:close/>
                <a:moveTo>
                  <a:pt x="12107545" y="1984086"/>
                </a:moveTo>
                <a:cubicBezTo>
                  <a:pt x="12083415" y="1984721"/>
                  <a:pt x="12085320" y="2022186"/>
                  <a:pt x="12108815" y="2020916"/>
                </a:cubicBezTo>
                <a:cubicBezTo>
                  <a:pt x="12132945" y="2020281"/>
                  <a:pt x="12131040" y="1982816"/>
                  <a:pt x="12107545" y="1984086"/>
                </a:cubicBezTo>
                <a:close/>
                <a:moveTo>
                  <a:pt x="12182475" y="780126"/>
                </a:moveTo>
                <a:cubicBezTo>
                  <a:pt x="12184380" y="785841"/>
                  <a:pt x="12188190" y="789651"/>
                  <a:pt x="12192000" y="791556"/>
                </a:cubicBezTo>
                <a:lnTo>
                  <a:pt x="12192000" y="751551"/>
                </a:lnTo>
                <a:cubicBezTo>
                  <a:pt x="12183110" y="757266"/>
                  <a:pt x="12176760" y="768061"/>
                  <a:pt x="12182475" y="780126"/>
                </a:cubicBezTo>
                <a:close/>
                <a:moveTo>
                  <a:pt x="12180570" y="279111"/>
                </a:moveTo>
                <a:cubicBezTo>
                  <a:pt x="12180570" y="289271"/>
                  <a:pt x="12185650" y="296256"/>
                  <a:pt x="12192000" y="299431"/>
                </a:cubicBezTo>
                <a:lnTo>
                  <a:pt x="12192000" y="258791"/>
                </a:lnTo>
                <a:cubicBezTo>
                  <a:pt x="12185015" y="263236"/>
                  <a:pt x="12180570" y="270221"/>
                  <a:pt x="12180570" y="279111"/>
                </a:cubicBezTo>
                <a:close/>
                <a:moveTo>
                  <a:pt x="12181205" y="522951"/>
                </a:moveTo>
                <a:cubicBezTo>
                  <a:pt x="12177395" y="481041"/>
                  <a:pt x="12112625" y="486756"/>
                  <a:pt x="12115165" y="528031"/>
                </a:cubicBezTo>
                <a:cubicBezTo>
                  <a:pt x="12116435" y="568671"/>
                  <a:pt x="12179935" y="568671"/>
                  <a:pt x="12181205" y="528666"/>
                </a:cubicBezTo>
                <a:cubicBezTo>
                  <a:pt x="12182475" y="537556"/>
                  <a:pt x="12186920" y="542636"/>
                  <a:pt x="12192000" y="545811"/>
                </a:cubicBezTo>
                <a:lnTo>
                  <a:pt x="12192000" y="505171"/>
                </a:lnTo>
                <a:cubicBezTo>
                  <a:pt x="12185650" y="508346"/>
                  <a:pt x="12181205" y="514696"/>
                  <a:pt x="12181205" y="522951"/>
                </a:cubicBezTo>
                <a:close/>
                <a:moveTo>
                  <a:pt x="12191365" y="53051"/>
                </a:moveTo>
                <a:cubicBezTo>
                  <a:pt x="12191365" y="53051"/>
                  <a:pt x="12192000" y="53051"/>
                  <a:pt x="12192000" y="53686"/>
                </a:cubicBezTo>
                <a:lnTo>
                  <a:pt x="12192000" y="13681"/>
                </a:lnTo>
                <a:cubicBezTo>
                  <a:pt x="12179935" y="22571"/>
                  <a:pt x="12174220" y="42256"/>
                  <a:pt x="12191365" y="53051"/>
                </a:cubicBezTo>
                <a:close/>
                <a:moveTo>
                  <a:pt x="12180570" y="1263361"/>
                </a:moveTo>
                <a:cubicBezTo>
                  <a:pt x="12180570" y="1273521"/>
                  <a:pt x="12185650" y="1280506"/>
                  <a:pt x="12192000" y="1283681"/>
                </a:cubicBezTo>
                <a:lnTo>
                  <a:pt x="12192000" y="1243041"/>
                </a:lnTo>
                <a:cubicBezTo>
                  <a:pt x="12185015" y="1246851"/>
                  <a:pt x="12180570" y="1253836"/>
                  <a:pt x="12180570" y="1263361"/>
                </a:cubicBezTo>
                <a:close/>
                <a:moveTo>
                  <a:pt x="12053570" y="2234276"/>
                </a:moveTo>
                <a:cubicBezTo>
                  <a:pt x="12032615" y="2234911"/>
                  <a:pt x="12034520" y="2267296"/>
                  <a:pt x="12055475" y="2266026"/>
                </a:cubicBezTo>
                <a:cubicBezTo>
                  <a:pt x="12075795" y="2265391"/>
                  <a:pt x="12074525" y="2233006"/>
                  <a:pt x="12053570" y="2234276"/>
                </a:cubicBezTo>
                <a:close/>
                <a:moveTo>
                  <a:pt x="12192000" y="1529426"/>
                </a:moveTo>
                <a:lnTo>
                  <a:pt x="12192000" y="1488151"/>
                </a:lnTo>
                <a:cubicBezTo>
                  <a:pt x="12177395" y="1497041"/>
                  <a:pt x="12178030" y="1521171"/>
                  <a:pt x="12192000" y="1529426"/>
                </a:cubicBezTo>
                <a:close/>
                <a:moveTo>
                  <a:pt x="12180570" y="1016981"/>
                </a:moveTo>
                <a:cubicBezTo>
                  <a:pt x="12180570" y="1027141"/>
                  <a:pt x="12185650" y="1034126"/>
                  <a:pt x="12192000" y="1037301"/>
                </a:cubicBezTo>
                <a:lnTo>
                  <a:pt x="12192000" y="996661"/>
                </a:lnTo>
                <a:cubicBezTo>
                  <a:pt x="12185015" y="1001106"/>
                  <a:pt x="12180570" y="1008091"/>
                  <a:pt x="12180570" y="1016981"/>
                </a:cubicBezTo>
                <a:close/>
                <a:moveTo>
                  <a:pt x="11691620" y="1810096"/>
                </a:moveTo>
                <a:cubicBezTo>
                  <a:pt x="11665585" y="1817716"/>
                  <a:pt x="11678285" y="1858356"/>
                  <a:pt x="11703685" y="1850101"/>
                </a:cubicBezTo>
                <a:cubicBezTo>
                  <a:pt x="11729720" y="1842481"/>
                  <a:pt x="11717020" y="1801841"/>
                  <a:pt x="11691620" y="1810096"/>
                </a:cubicBezTo>
                <a:close/>
                <a:moveTo>
                  <a:pt x="11748135" y="2032346"/>
                </a:moveTo>
                <a:cubicBezTo>
                  <a:pt x="11724640" y="2037426"/>
                  <a:pt x="11733530" y="2073621"/>
                  <a:pt x="11756390" y="2067906"/>
                </a:cubicBezTo>
                <a:cubicBezTo>
                  <a:pt x="11779885" y="2063461"/>
                  <a:pt x="11771630" y="2027266"/>
                  <a:pt x="11748135" y="2032346"/>
                </a:cubicBezTo>
                <a:close/>
                <a:moveTo>
                  <a:pt x="11795125" y="1803111"/>
                </a:moveTo>
                <a:cubicBezTo>
                  <a:pt x="11788775" y="1777076"/>
                  <a:pt x="11747500" y="1787236"/>
                  <a:pt x="11755120" y="1813271"/>
                </a:cubicBezTo>
                <a:cubicBezTo>
                  <a:pt x="11761470" y="1839941"/>
                  <a:pt x="11802110" y="1829146"/>
                  <a:pt x="11795125" y="1803111"/>
                </a:cubicBezTo>
                <a:close/>
                <a:moveTo>
                  <a:pt x="12054840" y="2005041"/>
                </a:moveTo>
                <a:cubicBezTo>
                  <a:pt x="12053570" y="1981546"/>
                  <a:pt x="12016105" y="1984086"/>
                  <a:pt x="12018010" y="2007581"/>
                </a:cubicBezTo>
                <a:cubicBezTo>
                  <a:pt x="12019915" y="2031711"/>
                  <a:pt x="12056745" y="2029171"/>
                  <a:pt x="12054840" y="2005041"/>
                </a:cubicBezTo>
                <a:close/>
                <a:moveTo>
                  <a:pt x="11677650" y="2050126"/>
                </a:moveTo>
                <a:cubicBezTo>
                  <a:pt x="11654790" y="2055841"/>
                  <a:pt x="11664315" y="2092036"/>
                  <a:pt x="11687175" y="2085686"/>
                </a:cubicBezTo>
                <a:cubicBezTo>
                  <a:pt x="11710670" y="2079971"/>
                  <a:pt x="11700510" y="2043776"/>
                  <a:pt x="11677650" y="2050126"/>
                </a:cubicBezTo>
                <a:close/>
                <a:moveTo>
                  <a:pt x="11819255" y="2017741"/>
                </a:moveTo>
                <a:cubicBezTo>
                  <a:pt x="11795760" y="2021551"/>
                  <a:pt x="11803380" y="2059016"/>
                  <a:pt x="11826240" y="2053936"/>
                </a:cubicBezTo>
                <a:cubicBezTo>
                  <a:pt x="11849735" y="2049491"/>
                  <a:pt x="11842750" y="2012661"/>
                  <a:pt x="11819255" y="2017741"/>
                </a:cubicBezTo>
                <a:close/>
                <a:moveTo>
                  <a:pt x="11736705" y="2274281"/>
                </a:moveTo>
                <a:cubicBezTo>
                  <a:pt x="11716385" y="2278091"/>
                  <a:pt x="11723370" y="2309841"/>
                  <a:pt x="11743055" y="2305396"/>
                </a:cubicBezTo>
                <a:cubicBezTo>
                  <a:pt x="11763375" y="2302221"/>
                  <a:pt x="11757025" y="2270471"/>
                  <a:pt x="11736705" y="2274281"/>
                </a:cubicBezTo>
                <a:close/>
                <a:moveTo>
                  <a:pt x="11742420" y="1604356"/>
                </a:moveTo>
                <a:cubicBezTo>
                  <a:pt x="11777345" y="1604356"/>
                  <a:pt x="11769090" y="1548476"/>
                  <a:pt x="11735435" y="1558636"/>
                </a:cubicBezTo>
                <a:cubicBezTo>
                  <a:pt x="11710670" y="1566256"/>
                  <a:pt x="11717020" y="1604991"/>
                  <a:pt x="11742420" y="1604356"/>
                </a:cubicBezTo>
                <a:close/>
                <a:moveTo>
                  <a:pt x="11799570" y="2262851"/>
                </a:moveTo>
                <a:cubicBezTo>
                  <a:pt x="11779250" y="2266026"/>
                  <a:pt x="11784965" y="2297776"/>
                  <a:pt x="11804650" y="2293966"/>
                </a:cubicBezTo>
                <a:cubicBezTo>
                  <a:pt x="11825605" y="2290791"/>
                  <a:pt x="11819890" y="2259041"/>
                  <a:pt x="11799570" y="2262851"/>
                </a:cubicBezTo>
                <a:close/>
                <a:moveTo>
                  <a:pt x="11990070" y="2238721"/>
                </a:moveTo>
                <a:cubicBezTo>
                  <a:pt x="11969115" y="2239991"/>
                  <a:pt x="11972290" y="2272376"/>
                  <a:pt x="11992610" y="2270471"/>
                </a:cubicBezTo>
                <a:lnTo>
                  <a:pt x="11992610" y="2270471"/>
                </a:lnTo>
                <a:cubicBezTo>
                  <a:pt x="12012930" y="2268566"/>
                  <a:pt x="12010390" y="2236816"/>
                  <a:pt x="11990070" y="2238721"/>
                </a:cubicBezTo>
                <a:close/>
                <a:moveTo>
                  <a:pt x="12032615" y="1762471"/>
                </a:moveTo>
                <a:cubicBezTo>
                  <a:pt x="12030075" y="1735801"/>
                  <a:pt x="11988165" y="1740246"/>
                  <a:pt x="11991340" y="1766916"/>
                </a:cubicBezTo>
                <a:cubicBezTo>
                  <a:pt x="11993880" y="1794221"/>
                  <a:pt x="12035790" y="1789141"/>
                  <a:pt x="12032615" y="1762471"/>
                </a:cubicBezTo>
                <a:close/>
                <a:moveTo>
                  <a:pt x="11983085" y="2011391"/>
                </a:moveTo>
                <a:cubicBezTo>
                  <a:pt x="11980545" y="1987896"/>
                  <a:pt x="11943715" y="1992341"/>
                  <a:pt x="11946890" y="2015836"/>
                </a:cubicBezTo>
                <a:cubicBezTo>
                  <a:pt x="11949430" y="2039331"/>
                  <a:pt x="11986260" y="2034886"/>
                  <a:pt x="11983085" y="2011391"/>
                </a:cubicBezTo>
                <a:close/>
                <a:moveTo>
                  <a:pt x="11891010" y="2005041"/>
                </a:moveTo>
                <a:cubicBezTo>
                  <a:pt x="11867515" y="2008216"/>
                  <a:pt x="11873230" y="2045681"/>
                  <a:pt x="11896725" y="2041236"/>
                </a:cubicBezTo>
                <a:cubicBezTo>
                  <a:pt x="11920220" y="2038061"/>
                  <a:pt x="11914505" y="2001231"/>
                  <a:pt x="11891010" y="2005041"/>
                </a:cubicBezTo>
                <a:close/>
                <a:moveTo>
                  <a:pt x="11863070" y="2252691"/>
                </a:moveTo>
                <a:cubicBezTo>
                  <a:pt x="11842750" y="2255231"/>
                  <a:pt x="11847195" y="2287616"/>
                  <a:pt x="11867515" y="2283806"/>
                </a:cubicBezTo>
                <a:cubicBezTo>
                  <a:pt x="11887835" y="2281901"/>
                  <a:pt x="11883390" y="2249516"/>
                  <a:pt x="11863070" y="2252691"/>
                </a:cubicBezTo>
                <a:close/>
                <a:moveTo>
                  <a:pt x="11952605" y="1771996"/>
                </a:moveTo>
                <a:cubicBezTo>
                  <a:pt x="11948795" y="1745326"/>
                  <a:pt x="11906885" y="1751676"/>
                  <a:pt x="11911330" y="1778346"/>
                </a:cubicBezTo>
                <a:cubicBezTo>
                  <a:pt x="11915775" y="1805651"/>
                  <a:pt x="11957050" y="1798666"/>
                  <a:pt x="11952605" y="1771996"/>
                </a:cubicBezTo>
                <a:close/>
                <a:moveTo>
                  <a:pt x="11926570" y="2245071"/>
                </a:moveTo>
                <a:cubicBezTo>
                  <a:pt x="11906250" y="2246976"/>
                  <a:pt x="11910060" y="2279361"/>
                  <a:pt x="11930380" y="2276821"/>
                </a:cubicBezTo>
                <a:cubicBezTo>
                  <a:pt x="11950700" y="2274281"/>
                  <a:pt x="11946890" y="2242531"/>
                  <a:pt x="11926570" y="2245071"/>
                </a:cubicBezTo>
                <a:close/>
                <a:moveTo>
                  <a:pt x="8528685" y="5681691"/>
                </a:moveTo>
                <a:cubicBezTo>
                  <a:pt x="8493760" y="5716616"/>
                  <a:pt x="8550275" y="5770591"/>
                  <a:pt x="8583930" y="5734396"/>
                </a:cubicBezTo>
                <a:cubicBezTo>
                  <a:pt x="8618220" y="5698836"/>
                  <a:pt x="8562340" y="5645496"/>
                  <a:pt x="8528685" y="5681691"/>
                </a:cubicBezTo>
                <a:close/>
                <a:moveTo>
                  <a:pt x="10009505" y="3478876"/>
                </a:moveTo>
                <a:cubicBezTo>
                  <a:pt x="9972675" y="3459191"/>
                  <a:pt x="9980295" y="3528406"/>
                  <a:pt x="10012045" y="3501101"/>
                </a:cubicBezTo>
                <a:lnTo>
                  <a:pt x="10012045" y="3501101"/>
                </a:lnTo>
                <a:cubicBezTo>
                  <a:pt x="10017760" y="3494751"/>
                  <a:pt x="10016490" y="3484591"/>
                  <a:pt x="10009505" y="3478876"/>
                </a:cubicBezTo>
                <a:close/>
                <a:moveTo>
                  <a:pt x="10085705" y="3338541"/>
                </a:moveTo>
                <a:cubicBezTo>
                  <a:pt x="10095865" y="3325206"/>
                  <a:pt x="10082530" y="3305521"/>
                  <a:pt x="10066655" y="3309966"/>
                </a:cubicBezTo>
                <a:cubicBezTo>
                  <a:pt x="10082530" y="3288376"/>
                  <a:pt x="10047605" y="3264246"/>
                  <a:pt x="10033000" y="3285836"/>
                </a:cubicBezTo>
                <a:cubicBezTo>
                  <a:pt x="10033000" y="3285836"/>
                  <a:pt x="10032365" y="3285201"/>
                  <a:pt x="10032365" y="3285201"/>
                </a:cubicBezTo>
                <a:cubicBezTo>
                  <a:pt x="10041255" y="3272501"/>
                  <a:pt x="10036810" y="3254721"/>
                  <a:pt x="10023475" y="3247736"/>
                </a:cubicBezTo>
                <a:cubicBezTo>
                  <a:pt x="10030460" y="3245831"/>
                  <a:pt x="10036810" y="3242021"/>
                  <a:pt x="10040620" y="3235671"/>
                </a:cubicBezTo>
                <a:cubicBezTo>
                  <a:pt x="10046970" y="3249006"/>
                  <a:pt x="10066020" y="3253451"/>
                  <a:pt x="10076815" y="3242656"/>
                </a:cubicBezTo>
                <a:cubicBezTo>
                  <a:pt x="10117455" y="3279486"/>
                  <a:pt x="10130790" y="3190586"/>
                  <a:pt x="10081260" y="3213446"/>
                </a:cubicBezTo>
                <a:cubicBezTo>
                  <a:pt x="10079355" y="3209636"/>
                  <a:pt x="10076180" y="3206461"/>
                  <a:pt x="10071735" y="3204556"/>
                </a:cubicBezTo>
                <a:cubicBezTo>
                  <a:pt x="10106025" y="3179156"/>
                  <a:pt x="10052050" y="3134706"/>
                  <a:pt x="10033635" y="3172806"/>
                </a:cubicBezTo>
                <a:cubicBezTo>
                  <a:pt x="10033000" y="3170901"/>
                  <a:pt x="10032365" y="3168996"/>
                  <a:pt x="10031095" y="3167726"/>
                </a:cubicBezTo>
                <a:cubicBezTo>
                  <a:pt x="10038080" y="3162646"/>
                  <a:pt x="10043160" y="3154391"/>
                  <a:pt x="10045065" y="3145501"/>
                </a:cubicBezTo>
                <a:cubicBezTo>
                  <a:pt x="10055860" y="3155661"/>
                  <a:pt x="10073640" y="3155026"/>
                  <a:pt x="10083800" y="3144866"/>
                </a:cubicBezTo>
                <a:cubicBezTo>
                  <a:pt x="10079990" y="3163281"/>
                  <a:pt x="10102215" y="3179156"/>
                  <a:pt x="10118090" y="3168996"/>
                </a:cubicBezTo>
                <a:cubicBezTo>
                  <a:pt x="10122535" y="3185506"/>
                  <a:pt x="10146030" y="3189316"/>
                  <a:pt x="10155555" y="3174711"/>
                </a:cubicBezTo>
                <a:cubicBezTo>
                  <a:pt x="10167620" y="3158201"/>
                  <a:pt x="10147935" y="3135341"/>
                  <a:pt x="10129520" y="3144231"/>
                </a:cubicBezTo>
                <a:cubicBezTo>
                  <a:pt x="10126980" y="3127086"/>
                  <a:pt x="10104120" y="3119466"/>
                  <a:pt x="10091420" y="3131531"/>
                </a:cubicBezTo>
                <a:cubicBezTo>
                  <a:pt x="10092055" y="3128356"/>
                  <a:pt x="10092690" y="3124546"/>
                  <a:pt x="10092055" y="3121371"/>
                </a:cubicBezTo>
                <a:cubicBezTo>
                  <a:pt x="10150475" y="3139786"/>
                  <a:pt x="10130790" y="3041996"/>
                  <a:pt x="10083800" y="3081366"/>
                </a:cubicBezTo>
                <a:cubicBezTo>
                  <a:pt x="10083800" y="3081366"/>
                  <a:pt x="10083800" y="3081366"/>
                  <a:pt x="10083800" y="3081366"/>
                </a:cubicBezTo>
                <a:cubicBezTo>
                  <a:pt x="10086975" y="3069936"/>
                  <a:pt x="10084435" y="3058506"/>
                  <a:pt x="10076815" y="3050251"/>
                </a:cubicBezTo>
                <a:cubicBezTo>
                  <a:pt x="10076815" y="3050251"/>
                  <a:pt x="10076815" y="3050251"/>
                  <a:pt x="10076815" y="3050251"/>
                </a:cubicBezTo>
                <a:cubicBezTo>
                  <a:pt x="10079990" y="3048346"/>
                  <a:pt x="10083165" y="3046441"/>
                  <a:pt x="10086340" y="3043266"/>
                </a:cubicBezTo>
                <a:cubicBezTo>
                  <a:pt x="10097135" y="3066761"/>
                  <a:pt x="10134600" y="3062316"/>
                  <a:pt x="10139045" y="3036281"/>
                </a:cubicBezTo>
                <a:cubicBezTo>
                  <a:pt x="10189845" y="3055331"/>
                  <a:pt x="10184765" y="2967066"/>
                  <a:pt x="10136505" y="2991831"/>
                </a:cubicBezTo>
                <a:cubicBezTo>
                  <a:pt x="10136505" y="2986116"/>
                  <a:pt x="10133965" y="2980401"/>
                  <a:pt x="10130790" y="2975321"/>
                </a:cubicBezTo>
                <a:cubicBezTo>
                  <a:pt x="10139045" y="2960716"/>
                  <a:pt x="10134600" y="2941666"/>
                  <a:pt x="10121265" y="2932141"/>
                </a:cubicBezTo>
                <a:cubicBezTo>
                  <a:pt x="10121900" y="2931506"/>
                  <a:pt x="10122535" y="2930871"/>
                  <a:pt x="10123170" y="2930236"/>
                </a:cubicBezTo>
                <a:cubicBezTo>
                  <a:pt x="10127615" y="2928966"/>
                  <a:pt x="10132060" y="2926426"/>
                  <a:pt x="10135870" y="2922616"/>
                </a:cubicBezTo>
                <a:cubicBezTo>
                  <a:pt x="10118725" y="2954366"/>
                  <a:pt x="10168255" y="2981671"/>
                  <a:pt x="10185400" y="2949286"/>
                </a:cubicBezTo>
                <a:cubicBezTo>
                  <a:pt x="10248265" y="2974686"/>
                  <a:pt x="10227310" y="2866101"/>
                  <a:pt x="10178415" y="2913726"/>
                </a:cubicBezTo>
                <a:cubicBezTo>
                  <a:pt x="10177780" y="2913091"/>
                  <a:pt x="10177145" y="2913091"/>
                  <a:pt x="10176510" y="2912456"/>
                </a:cubicBezTo>
                <a:cubicBezTo>
                  <a:pt x="10189845" y="2901026"/>
                  <a:pt x="10189845" y="2879436"/>
                  <a:pt x="10177780" y="2868006"/>
                </a:cubicBezTo>
                <a:cubicBezTo>
                  <a:pt x="10180955" y="2864196"/>
                  <a:pt x="10183495" y="2859116"/>
                  <a:pt x="10184765" y="2853401"/>
                </a:cubicBezTo>
                <a:cubicBezTo>
                  <a:pt x="10191750" y="2871181"/>
                  <a:pt x="10217785" y="2875626"/>
                  <a:pt x="10230485" y="2861656"/>
                </a:cubicBezTo>
                <a:cubicBezTo>
                  <a:pt x="10284460" y="2899756"/>
                  <a:pt x="10290810" y="2791806"/>
                  <a:pt x="10232390" y="2824826"/>
                </a:cubicBezTo>
                <a:cubicBezTo>
                  <a:pt x="10228580" y="2820381"/>
                  <a:pt x="10223500" y="2816571"/>
                  <a:pt x="10217785" y="2815301"/>
                </a:cubicBezTo>
                <a:cubicBezTo>
                  <a:pt x="10240010" y="2807046"/>
                  <a:pt x="10243185" y="2773391"/>
                  <a:pt x="10222230" y="2761326"/>
                </a:cubicBezTo>
                <a:cubicBezTo>
                  <a:pt x="10226675" y="2758151"/>
                  <a:pt x="10229850" y="2753706"/>
                  <a:pt x="10232390" y="2748626"/>
                </a:cubicBezTo>
                <a:cubicBezTo>
                  <a:pt x="10231120" y="2770216"/>
                  <a:pt x="10258425" y="2786091"/>
                  <a:pt x="10276205" y="2772756"/>
                </a:cubicBezTo>
                <a:cubicBezTo>
                  <a:pt x="10320020" y="2826731"/>
                  <a:pt x="10353040" y="2718146"/>
                  <a:pt x="10286365" y="2739101"/>
                </a:cubicBezTo>
                <a:cubicBezTo>
                  <a:pt x="10278745" y="2716876"/>
                  <a:pt x="10245090" y="2714971"/>
                  <a:pt x="10234930" y="2736561"/>
                </a:cubicBezTo>
                <a:cubicBezTo>
                  <a:pt x="10238105" y="2688936"/>
                  <a:pt x="10160635" y="2693381"/>
                  <a:pt x="10169525" y="2740371"/>
                </a:cubicBezTo>
                <a:cubicBezTo>
                  <a:pt x="10073640" y="2718146"/>
                  <a:pt x="10095865" y="2848956"/>
                  <a:pt x="10180955" y="2805141"/>
                </a:cubicBezTo>
                <a:cubicBezTo>
                  <a:pt x="10184765" y="2810856"/>
                  <a:pt x="10191750" y="2815301"/>
                  <a:pt x="10198100" y="2816571"/>
                </a:cubicBezTo>
                <a:cubicBezTo>
                  <a:pt x="10191115" y="2819746"/>
                  <a:pt x="10184765" y="2826731"/>
                  <a:pt x="10182225" y="2834351"/>
                </a:cubicBezTo>
                <a:cubicBezTo>
                  <a:pt x="10165715" y="2791171"/>
                  <a:pt x="10099675" y="2822921"/>
                  <a:pt x="10122535" y="2862291"/>
                </a:cubicBezTo>
                <a:cubicBezTo>
                  <a:pt x="10111105" y="2858481"/>
                  <a:pt x="10099040" y="2861021"/>
                  <a:pt x="10089515" y="2867371"/>
                </a:cubicBezTo>
                <a:cubicBezTo>
                  <a:pt x="10053320" y="2869276"/>
                  <a:pt x="10041890" y="2922616"/>
                  <a:pt x="10074910" y="2938491"/>
                </a:cubicBezTo>
                <a:cubicBezTo>
                  <a:pt x="10065385" y="2951191"/>
                  <a:pt x="10066655" y="2970241"/>
                  <a:pt x="10077450" y="2981036"/>
                </a:cubicBezTo>
                <a:cubicBezTo>
                  <a:pt x="10076815" y="2982306"/>
                  <a:pt x="10076180" y="2983576"/>
                  <a:pt x="10076180" y="2984846"/>
                </a:cubicBezTo>
                <a:cubicBezTo>
                  <a:pt x="10059670" y="2976591"/>
                  <a:pt x="10039350" y="2983576"/>
                  <a:pt x="10030460" y="2998816"/>
                </a:cubicBezTo>
                <a:cubicBezTo>
                  <a:pt x="10001250" y="3006436"/>
                  <a:pt x="9994265" y="3049616"/>
                  <a:pt x="10019665" y="3066126"/>
                </a:cubicBezTo>
                <a:cubicBezTo>
                  <a:pt x="10018395" y="3075651"/>
                  <a:pt x="10020935" y="3085176"/>
                  <a:pt x="10027285" y="3092161"/>
                </a:cubicBezTo>
                <a:cubicBezTo>
                  <a:pt x="10026650" y="3097876"/>
                  <a:pt x="10027285" y="3103591"/>
                  <a:pt x="10029825" y="3108036"/>
                </a:cubicBezTo>
                <a:cubicBezTo>
                  <a:pt x="10010140" y="3094701"/>
                  <a:pt x="9981565" y="3105496"/>
                  <a:pt x="9975850" y="3128356"/>
                </a:cubicBezTo>
                <a:cubicBezTo>
                  <a:pt x="9944735" y="3138516"/>
                  <a:pt x="9942830" y="3186776"/>
                  <a:pt x="9973945" y="3198841"/>
                </a:cubicBezTo>
                <a:cubicBezTo>
                  <a:pt x="9975215" y="3201381"/>
                  <a:pt x="9977120" y="3203921"/>
                  <a:pt x="9979660" y="3206461"/>
                </a:cubicBezTo>
                <a:cubicBezTo>
                  <a:pt x="9980930" y="3212811"/>
                  <a:pt x="9984105" y="3217891"/>
                  <a:pt x="9989185" y="3222336"/>
                </a:cubicBezTo>
                <a:cubicBezTo>
                  <a:pt x="9990455" y="3231226"/>
                  <a:pt x="9996170" y="3239481"/>
                  <a:pt x="10005060" y="3243926"/>
                </a:cubicBezTo>
                <a:cubicBezTo>
                  <a:pt x="10000615" y="3245196"/>
                  <a:pt x="9996805" y="3247101"/>
                  <a:pt x="9993630" y="3250911"/>
                </a:cubicBezTo>
                <a:cubicBezTo>
                  <a:pt x="9986010" y="3210906"/>
                  <a:pt x="9923145" y="3216621"/>
                  <a:pt x="9923145" y="3257896"/>
                </a:cubicBezTo>
                <a:cubicBezTo>
                  <a:pt x="9913620" y="3261706"/>
                  <a:pt x="9905365" y="3268691"/>
                  <a:pt x="9900920" y="3278851"/>
                </a:cubicBezTo>
                <a:cubicBezTo>
                  <a:pt x="9900920" y="3278851"/>
                  <a:pt x="9900920" y="3278851"/>
                  <a:pt x="9900920" y="3278851"/>
                </a:cubicBezTo>
                <a:cubicBezTo>
                  <a:pt x="9888220" y="3307426"/>
                  <a:pt x="9917430" y="3339811"/>
                  <a:pt x="9946640" y="3330286"/>
                </a:cubicBezTo>
                <a:cubicBezTo>
                  <a:pt x="9948545" y="3331556"/>
                  <a:pt x="9949815" y="3333461"/>
                  <a:pt x="9951720" y="3334731"/>
                </a:cubicBezTo>
                <a:cubicBezTo>
                  <a:pt x="9937750" y="3344256"/>
                  <a:pt x="9937750" y="3365846"/>
                  <a:pt x="9951085" y="3376006"/>
                </a:cubicBezTo>
                <a:cubicBezTo>
                  <a:pt x="9946005" y="3405216"/>
                  <a:pt x="9992360" y="3412836"/>
                  <a:pt x="9996805" y="3382991"/>
                </a:cubicBezTo>
                <a:cubicBezTo>
                  <a:pt x="10001250" y="3385531"/>
                  <a:pt x="10006965" y="3386801"/>
                  <a:pt x="10012045" y="3385531"/>
                </a:cubicBezTo>
                <a:cubicBezTo>
                  <a:pt x="10023475" y="3434426"/>
                  <a:pt x="10078085" y="3372831"/>
                  <a:pt x="10028555" y="3367116"/>
                </a:cubicBezTo>
                <a:cubicBezTo>
                  <a:pt x="10031095" y="3348066"/>
                  <a:pt x="10004425" y="3336636"/>
                  <a:pt x="9992360" y="3351876"/>
                </a:cubicBezTo>
                <a:cubicBezTo>
                  <a:pt x="9991725" y="3346796"/>
                  <a:pt x="9989185" y="3342351"/>
                  <a:pt x="9986010" y="3338541"/>
                </a:cubicBezTo>
                <a:cubicBezTo>
                  <a:pt x="9993630" y="3334096"/>
                  <a:pt x="9999345" y="3324571"/>
                  <a:pt x="9999345" y="3315681"/>
                </a:cubicBezTo>
                <a:cubicBezTo>
                  <a:pt x="10008870" y="3329016"/>
                  <a:pt x="10029825" y="3327746"/>
                  <a:pt x="10038080" y="3313776"/>
                </a:cubicBezTo>
                <a:cubicBezTo>
                  <a:pt x="10043160" y="3318221"/>
                  <a:pt x="10050780" y="3319491"/>
                  <a:pt x="10056495" y="3317586"/>
                </a:cubicBezTo>
                <a:cubicBezTo>
                  <a:pt x="10043160" y="3337271"/>
                  <a:pt x="10073005" y="3357591"/>
                  <a:pt x="10085705" y="3338541"/>
                </a:cubicBezTo>
                <a:close/>
                <a:moveTo>
                  <a:pt x="10039350" y="3203286"/>
                </a:moveTo>
                <a:cubicBezTo>
                  <a:pt x="10041255" y="3205191"/>
                  <a:pt x="10043795" y="3206461"/>
                  <a:pt x="10046335" y="3207731"/>
                </a:cubicBezTo>
                <a:cubicBezTo>
                  <a:pt x="10045065" y="3208366"/>
                  <a:pt x="10044430" y="3209636"/>
                  <a:pt x="10043160" y="3210906"/>
                </a:cubicBezTo>
                <a:cubicBezTo>
                  <a:pt x="10042525" y="3208366"/>
                  <a:pt x="10041255" y="3206461"/>
                  <a:pt x="10039350" y="3203286"/>
                </a:cubicBezTo>
                <a:cubicBezTo>
                  <a:pt x="10039350" y="3203921"/>
                  <a:pt x="10039350" y="3203921"/>
                  <a:pt x="10039350" y="3203286"/>
                </a:cubicBezTo>
                <a:close/>
                <a:moveTo>
                  <a:pt x="9993630" y="3300441"/>
                </a:moveTo>
                <a:cubicBezTo>
                  <a:pt x="9989185" y="3295996"/>
                  <a:pt x="9987915" y="3289646"/>
                  <a:pt x="9984105" y="3285201"/>
                </a:cubicBezTo>
                <a:cubicBezTo>
                  <a:pt x="9985375" y="3283931"/>
                  <a:pt x="9986645" y="3282661"/>
                  <a:pt x="9987915" y="3280756"/>
                </a:cubicBezTo>
                <a:cubicBezTo>
                  <a:pt x="9989820" y="3285201"/>
                  <a:pt x="9992995" y="3289011"/>
                  <a:pt x="9996805" y="3292186"/>
                </a:cubicBezTo>
                <a:cubicBezTo>
                  <a:pt x="9994900" y="3294726"/>
                  <a:pt x="9993630" y="3297266"/>
                  <a:pt x="9993630" y="3300441"/>
                </a:cubicBezTo>
                <a:close/>
                <a:moveTo>
                  <a:pt x="10027285" y="3431886"/>
                </a:moveTo>
                <a:cubicBezTo>
                  <a:pt x="10013950" y="3447761"/>
                  <a:pt x="10038715" y="3468081"/>
                  <a:pt x="10052050" y="3452206"/>
                </a:cubicBezTo>
                <a:lnTo>
                  <a:pt x="10052050" y="3452206"/>
                </a:lnTo>
                <a:cubicBezTo>
                  <a:pt x="10065385" y="3436331"/>
                  <a:pt x="10040620" y="3416011"/>
                  <a:pt x="10027285" y="3431886"/>
                </a:cubicBezTo>
                <a:close/>
                <a:moveTo>
                  <a:pt x="10067925" y="3382991"/>
                </a:moveTo>
                <a:cubicBezTo>
                  <a:pt x="10054590" y="3398866"/>
                  <a:pt x="10079355" y="3419186"/>
                  <a:pt x="10092055" y="3403311"/>
                </a:cubicBezTo>
                <a:cubicBezTo>
                  <a:pt x="10106025" y="3388071"/>
                  <a:pt x="10081260" y="3367116"/>
                  <a:pt x="10067925" y="3382991"/>
                </a:cubicBezTo>
                <a:close/>
                <a:moveTo>
                  <a:pt x="9963785" y="3515706"/>
                </a:moveTo>
                <a:cubicBezTo>
                  <a:pt x="9975215" y="3499831"/>
                  <a:pt x="9954260" y="3479511"/>
                  <a:pt x="9939020" y="3490306"/>
                </a:cubicBezTo>
                <a:cubicBezTo>
                  <a:pt x="9895205" y="3459191"/>
                  <a:pt x="9891395" y="3547456"/>
                  <a:pt x="9937750" y="3520151"/>
                </a:cubicBezTo>
                <a:cubicBezTo>
                  <a:pt x="9945370" y="3527136"/>
                  <a:pt x="9958070" y="3524596"/>
                  <a:pt x="9963785" y="3515706"/>
                </a:cubicBezTo>
                <a:close/>
                <a:moveTo>
                  <a:pt x="9924415" y="3576031"/>
                </a:moveTo>
                <a:cubicBezTo>
                  <a:pt x="9933305" y="3563331"/>
                  <a:pt x="9921240" y="3544916"/>
                  <a:pt x="9906000" y="3548091"/>
                </a:cubicBezTo>
                <a:cubicBezTo>
                  <a:pt x="9912350" y="3537931"/>
                  <a:pt x="9909175" y="3523961"/>
                  <a:pt x="9899650" y="3516976"/>
                </a:cubicBezTo>
                <a:cubicBezTo>
                  <a:pt x="9908540" y="3500466"/>
                  <a:pt x="9897110" y="3478876"/>
                  <a:pt x="9878695" y="3476336"/>
                </a:cubicBezTo>
                <a:cubicBezTo>
                  <a:pt x="9855200" y="3448396"/>
                  <a:pt x="9807575" y="3473796"/>
                  <a:pt x="9817735" y="3508721"/>
                </a:cubicBezTo>
                <a:cubicBezTo>
                  <a:pt x="9817100" y="3510626"/>
                  <a:pt x="9816465" y="3513166"/>
                  <a:pt x="9816465" y="3515071"/>
                </a:cubicBezTo>
                <a:cubicBezTo>
                  <a:pt x="9786620" y="3521421"/>
                  <a:pt x="9778365" y="3564601"/>
                  <a:pt x="9803130" y="3581746"/>
                </a:cubicBezTo>
                <a:cubicBezTo>
                  <a:pt x="9803130" y="3582381"/>
                  <a:pt x="9802495" y="3582381"/>
                  <a:pt x="9802495" y="3583016"/>
                </a:cubicBezTo>
                <a:cubicBezTo>
                  <a:pt x="9770745" y="3581746"/>
                  <a:pt x="9754870" y="3614766"/>
                  <a:pt x="9765665" y="3642071"/>
                </a:cubicBezTo>
                <a:cubicBezTo>
                  <a:pt x="9752965" y="3643341"/>
                  <a:pt x="9740900" y="3651596"/>
                  <a:pt x="9735185" y="3664296"/>
                </a:cubicBezTo>
                <a:cubicBezTo>
                  <a:pt x="9730740" y="3674456"/>
                  <a:pt x="9730740" y="3685251"/>
                  <a:pt x="9735185" y="3694776"/>
                </a:cubicBezTo>
                <a:cubicBezTo>
                  <a:pt x="9732645" y="3697951"/>
                  <a:pt x="9730740" y="3701761"/>
                  <a:pt x="9729470" y="3705571"/>
                </a:cubicBezTo>
                <a:cubicBezTo>
                  <a:pt x="9709150" y="3713191"/>
                  <a:pt x="9700260" y="3741766"/>
                  <a:pt x="9713595" y="3758911"/>
                </a:cubicBezTo>
                <a:cubicBezTo>
                  <a:pt x="9708515" y="3761451"/>
                  <a:pt x="9703435" y="3765261"/>
                  <a:pt x="9700895" y="3770976"/>
                </a:cubicBezTo>
                <a:cubicBezTo>
                  <a:pt x="9680575" y="3776691"/>
                  <a:pt x="9671685" y="3800186"/>
                  <a:pt x="9675495" y="3819236"/>
                </a:cubicBezTo>
                <a:cubicBezTo>
                  <a:pt x="9660255" y="3825586"/>
                  <a:pt x="9649460" y="3844001"/>
                  <a:pt x="9651365" y="3860511"/>
                </a:cubicBezTo>
                <a:cubicBezTo>
                  <a:pt x="9645650" y="3868131"/>
                  <a:pt x="9645015" y="3877656"/>
                  <a:pt x="9648190" y="3885911"/>
                </a:cubicBezTo>
                <a:cubicBezTo>
                  <a:pt x="9638665" y="3887181"/>
                  <a:pt x="9630410" y="3892896"/>
                  <a:pt x="9625330" y="3901786"/>
                </a:cubicBezTo>
                <a:cubicBezTo>
                  <a:pt x="9625330" y="3901786"/>
                  <a:pt x="9625330" y="3901786"/>
                  <a:pt x="9625330" y="3901786"/>
                </a:cubicBezTo>
                <a:cubicBezTo>
                  <a:pt x="9623425" y="3905596"/>
                  <a:pt x="9622155" y="3910041"/>
                  <a:pt x="9621520" y="3914486"/>
                </a:cubicBezTo>
                <a:cubicBezTo>
                  <a:pt x="9616440" y="3918296"/>
                  <a:pt x="9613900" y="3924646"/>
                  <a:pt x="9615170" y="3930361"/>
                </a:cubicBezTo>
                <a:cubicBezTo>
                  <a:pt x="9604375" y="3936711"/>
                  <a:pt x="9601200" y="3949411"/>
                  <a:pt x="9594215" y="3958936"/>
                </a:cubicBezTo>
                <a:cubicBezTo>
                  <a:pt x="9573895" y="3946871"/>
                  <a:pt x="9559290" y="3982431"/>
                  <a:pt x="9582150" y="3988146"/>
                </a:cubicBezTo>
                <a:cubicBezTo>
                  <a:pt x="9582150" y="3988781"/>
                  <a:pt x="9582150" y="3989416"/>
                  <a:pt x="9582150" y="3990686"/>
                </a:cubicBezTo>
                <a:cubicBezTo>
                  <a:pt x="9575800" y="3993861"/>
                  <a:pt x="9570720" y="4000211"/>
                  <a:pt x="9568180" y="4007196"/>
                </a:cubicBezTo>
                <a:cubicBezTo>
                  <a:pt x="9563100" y="4005291"/>
                  <a:pt x="9558020" y="4005926"/>
                  <a:pt x="9552940" y="4008466"/>
                </a:cubicBezTo>
                <a:cubicBezTo>
                  <a:pt x="9528175" y="3981796"/>
                  <a:pt x="9508490" y="4037676"/>
                  <a:pt x="9544050" y="4032596"/>
                </a:cubicBezTo>
                <a:cubicBezTo>
                  <a:pt x="9543415" y="4035771"/>
                  <a:pt x="9543415" y="4038946"/>
                  <a:pt x="9543415" y="4042121"/>
                </a:cubicBezTo>
                <a:cubicBezTo>
                  <a:pt x="9530080" y="4048471"/>
                  <a:pt x="9526905" y="4068156"/>
                  <a:pt x="9537065" y="4078316"/>
                </a:cubicBezTo>
                <a:cubicBezTo>
                  <a:pt x="9535795" y="4080856"/>
                  <a:pt x="9535160" y="4084031"/>
                  <a:pt x="9534525" y="4087206"/>
                </a:cubicBezTo>
                <a:cubicBezTo>
                  <a:pt x="9533255" y="4087206"/>
                  <a:pt x="9531350" y="4087841"/>
                  <a:pt x="9530080" y="4088476"/>
                </a:cubicBezTo>
                <a:cubicBezTo>
                  <a:pt x="9530080" y="4087841"/>
                  <a:pt x="9529445" y="4087841"/>
                  <a:pt x="9528810" y="4087206"/>
                </a:cubicBezTo>
                <a:cubicBezTo>
                  <a:pt x="9537700" y="4073871"/>
                  <a:pt x="9523730" y="4055456"/>
                  <a:pt x="9508490" y="4059901"/>
                </a:cubicBezTo>
                <a:cubicBezTo>
                  <a:pt x="9497060" y="4017991"/>
                  <a:pt x="9451340" y="4073236"/>
                  <a:pt x="9495155" y="4076411"/>
                </a:cubicBezTo>
                <a:cubicBezTo>
                  <a:pt x="9495155" y="4080221"/>
                  <a:pt x="9495790" y="4084666"/>
                  <a:pt x="9498330" y="4087841"/>
                </a:cubicBezTo>
                <a:cubicBezTo>
                  <a:pt x="9491980" y="4094826"/>
                  <a:pt x="9491980" y="4104986"/>
                  <a:pt x="9496425" y="4112606"/>
                </a:cubicBezTo>
                <a:cubicBezTo>
                  <a:pt x="9490075" y="4113876"/>
                  <a:pt x="9484360" y="4118321"/>
                  <a:pt x="9481820" y="4124671"/>
                </a:cubicBezTo>
                <a:cubicBezTo>
                  <a:pt x="9479280" y="4115146"/>
                  <a:pt x="9467215" y="4109431"/>
                  <a:pt x="9458325" y="4113241"/>
                </a:cubicBezTo>
                <a:cubicBezTo>
                  <a:pt x="9470390" y="4098636"/>
                  <a:pt x="9449435" y="4078951"/>
                  <a:pt x="9435465" y="4091651"/>
                </a:cubicBezTo>
                <a:cubicBezTo>
                  <a:pt x="9422765" y="4102446"/>
                  <a:pt x="9434830" y="4124036"/>
                  <a:pt x="9450705" y="4118321"/>
                </a:cubicBezTo>
                <a:cubicBezTo>
                  <a:pt x="9443720" y="4125941"/>
                  <a:pt x="9444990" y="4139276"/>
                  <a:pt x="9453880" y="4144991"/>
                </a:cubicBezTo>
                <a:cubicBezTo>
                  <a:pt x="9439910" y="4151341"/>
                  <a:pt x="9438005" y="4172296"/>
                  <a:pt x="9451340" y="4180551"/>
                </a:cubicBezTo>
                <a:cubicBezTo>
                  <a:pt x="9450705" y="4181186"/>
                  <a:pt x="9450070" y="4181821"/>
                  <a:pt x="9450070" y="4183091"/>
                </a:cubicBezTo>
                <a:cubicBezTo>
                  <a:pt x="9435465" y="4182456"/>
                  <a:pt x="9422765" y="4197696"/>
                  <a:pt x="9427210" y="4211666"/>
                </a:cubicBezTo>
                <a:cubicBezTo>
                  <a:pt x="9419590" y="4201506"/>
                  <a:pt x="9403715" y="4201506"/>
                  <a:pt x="9395460" y="4211031"/>
                </a:cubicBezTo>
                <a:cubicBezTo>
                  <a:pt x="9376410" y="4231986"/>
                  <a:pt x="9411970" y="4259926"/>
                  <a:pt x="9427845" y="4237066"/>
                </a:cubicBezTo>
                <a:cubicBezTo>
                  <a:pt x="9427210" y="4243416"/>
                  <a:pt x="9428480" y="4250401"/>
                  <a:pt x="9431655" y="4255481"/>
                </a:cubicBezTo>
                <a:cubicBezTo>
                  <a:pt x="9422765" y="4248496"/>
                  <a:pt x="9410700" y="4248496"/>
                  <a:pt x="9402445" y="4254211"/>
                </a:cubicBezTo>
                <a:cubicBezTo>
                  <a:pt x="9390380" y="4249766"/>
                  <a:pt x="9375775" y="4257386"/>
                  <a:pt x="9372600" y="4270721"/>
                </a:cubicBezTo>
                <a:cubicBezTo>
                  <a:pt x="9354185" y="4249131"/>
                  <a:pt x="9321800" y="4280881"/>
                  <a:pt x="9343390" y="4299931"/>
                </a:cubicBezTo>
                <a:cubicBezTo>
                  <a:pt x="9354185" y="4310091"/>
                  <a:pt x="9373235" y="4305011"/>
                  <a:pt x="9377045" y="4291041"/>
                </a:cubicBezTo>
                <a:cubicBezTo>
                  <a:pt x="9381490" y="4297391"/>
                  <a:pt x="9389745" y="4300566"/>
                  <a:pt x="9397365" y="4299296"/>
                </a:cubicBezTo>
                <a:cubicBezTo>
                  <a:pt x="9397365" y="4299931"/>
                  <a:pt x="9396730" y="4300566"/>
                  <a:pt x="9396730" y="4300566"/>
                </a:cubicBezTo>
                <a:cubicBezTo>
                  <a:pt x="9381490" y="4300566"/>
                  <a:pt x="9368155" y="4315806"/>
                  <a:pt x="9370060" y="4331046"/>
                </a:cubicBezTo>
                <a:cubicBezTo>
                  <a:pt x="9365615" y="4329141"/>
                  <a:pt x="9360535" y="4328506"/>
                  <a:pt x="9356090" y="4329141"/>
                </a:cubicBezTo>
                <a:cubicBezTo>
                  <a:pt x="9346565" y="4318346"/>
                  <a:pt x="9328150" y="4320251"/>
                  <a:pt x="9320530" y="4332316"/>
                </a:cubicBezTo>
                <a:cubicBezTo>
                  <a:pt x="9314180" y="4320251"/>
                  <a:pt x="9297035" y="4318346"/>
                  <a:pt x="9287510" y="4328506"/>
                </a:cubicBezTo>
                <a:cubicBezTo>
                  <a:pt x="9267825" y="4348826"/>
                  <a:pt x="9301480" y="4378671"/>
                  <a:pt x="9318625" y="4355811"/>
                </a:cubicBezTo>
                <a:cubicBezTo>
                  <a:pt x="9321800" y="4362796"/>
                  <a:pt x="9330055" y="4368511"/>
                  <a:pt x="9337675" y="4368511"/>
                </a:cubicBezTo>
                <a:cubicBezTo>
                  <a:pt x="9342755" y="4377401"/>
                  <a:pt x="9354185" y="4381846"/>
                  <a:pt x="9363710" y="4379941"/>
                </a:cubicBezTo>
                <a:cubicBezTo>
                  <a:pt x="9363710" y="4379941"/>
                  <a:pt x="9363710" y="4380576"/>
                  <a:pt x="9363710" y="4380576"/>
                </a:cubicBezTo>
                <a:cubicBezTo>
                  <a:pt x="9356090" y="4380576"/>
                  <a:pt x="9348470" y="4383751"/>
                  <a:pt x="9342755" y="4388831"/>
                </a:cubicBezTo>
                <a:cubicBezTo>
                  <a:pt x="9329420" y="4386291"/>
                  <a:pt x="9314815" y="4395181"/>
                  <a:pt x="9311640" y="4409151"/>
                </a:cubicBezTo>
                <a:cubicBezTo>
                  <a:pt x="9309100" y="4407881"/>
                  <a:pt x="9306560" y="4407246"/>
                  <a:pt x="9304020" y="4407246"/>
                </a:cubicBezTo>
                <a:cubicBezTo>
                  <a:pt x="9300210" y="4390736"/>
                  <a:pt x="9277985" y="4384386"/>
                  <a:pt x="9265920" y="4396451"/>
                </a:cubicBezTo>
                <a:cubicBezTo>
                  <a:pt x="9263380" y="4380576"/>
                  <a:pt x="9242425" y="4374226"/>
                  <a:pt x="9230995" y="4385656"/>
                </a:cubicBezTo>
                <a:cubicBezTo>
                  <a:pt x="9211945" y="4403436"/>
                  <a:pt x="9239250" y="4433281"/>
                  <a:pt x="9258935" y="4416136"/>
                </a:cubicBezTo>
                <a:cubicBezTo>
                  <a:pt x="9259570" y="4424391"/>
                  <a:pt x="9266555" y="4433281"/>
                  <a:pt x="9275445" y="4435186"/>
                </a:cubicBezTo>
                <a:cubicBezTo>
                  <a:pt x="9277350" y="4461221"/>
                  <a:pt x="9317355" y="4466301"/>
                  <a:pt x="9324975" y="4440901"/>
                </a:cubicBezTo>
                <a:cubicBezTo>
                  <a:pt x="9332595" y="4445346"/>
                  <a:pt x="9342120" y="4445981"/>
                  <a:pt x="9350375" y="4442171"/>
                </a:cubicBezTo>
                <a:cubicBezTo>
                  <a:pt x="9350375" y="4466301"/>
                  <a:pt x="9378315" y="4484081"/>
                  <a:pt x="9399905" y="4473286"/>
                </a:cubicBezTo>
                <a:cubicBezTo>
                  <a:pt x="9441180" y="4483446"/>
                  <a:pt x="9464675" y="4421851"/>
                  <a:pt x="9425940" y="4402801"/>
                </a:cubicBezTo>
                <a:cubicBezTo>
                  <a:pt x="9437370" y="4378036"/>
                  <a:pt x="9410065" y="4349461"/>
                  <a:pt x="9384665" y="4359621"/>
                </a:cubicBezTo>
                <a:cubicBezTo>
                  <a:pt x="9385300" y="4357716"/>
                  <a:pt x="9385300" y="4355811"/>
                  <a:pt x="9385300" y="4353906"/>
                </a:cubicBezTo>
                <a:cubicBezTo>
                  <a:pt x="9396730" y="4360256"/>
                  <a:pt x="9411970" y="4357081"/>
                  <a:pt x="9420225" y="4346921"/>
                </a:cubicBezTo>
                <a:cubicBezTo>
                  <a:pt x="9432290" y="4364701"/>
                  <a:pt x="9460865" y="4366606"/>
                  <a:pt x="9474835" y="4350096"/>
                </a:cubicBezTo>
                <a:cubicBezTo>
                  <a:pt x="9511665" y="4348826"/>
                  <a:pt x="9523095" y="4294216"/>
                  <a:pt x="9488805" y="4278341"/>
                </a:cubicBezTo>
                <a:cubicBezTo>
                  <a:pt x="9487535" y="4270721"/>
                  <a:pt x="9483725" y="4263736"/>
                  <a:pt x="9477375" y="4258656"/>
                </a:cubicBezTo>
                <a:cubicBezTo>
                  <a:pt x="9480550" y="4255481"/>
                  <a:pt x="9482455" y="4251036"/>
                  <a:pt x="9483090" y="4246591"/>
                </a:cubicBezTo>
                <a:cubicBezTo>
                  <a:pt x="9488170" y="4246591"/>
                  <a:pt x="9492615" y="4245321"/>
                  <a:pt x="9497060" y="4242781"/>
                </a:cubicBezTo>
                <a:cubicBezTo>
                  <a:pt x="9514205" y="4249766"/>
                  <a:pt x="9535160" y="4241511"/>
                  <a:pt x="9542145" y="4223731"/>
                </a:cubicBezTo>
                <a:cubicBezTo>
                  <a:pt x="9581515" y="4216111"/>
                  <a:pt x="9580245" y="4154516"/>
                  <a:pt x="9539605" y="4149436"/>
                </a:cubicBezTo>
                <a:cubicBezTo>
                  <a:pt x="9539605" y="4148801"/>
                  <a:pt x="9539605" y="4148166"/>
                  <a:pt x="9539605" y="4147531"/>
                </a:cubicBezTo>
                <a:cubicBezTo>
                  <a:pt x="9551670" y="4147531"/>
                  <a:pt x="9563735" y="4140546"/>
                  <a:pt x="9568180" y="4128481"/>
                </a:cubicBezTo>
                <a:cubicBezTo>
                  <a:pt x="9585325" y="4129751"/>
                  <a:pt x="9602470" y="4115781"/>
                  <a:pt x="9604375" y="4098001"/>
                </a:cubicBezTo>
                <a:cubicBezTo>
                  <a:pt x="9631045" y="4091651"/>
                  <a:pt x="9641205" y="4053551"/>
                  <a:pt x="9620885" y="4034501"/>
                </a:cubicBezTo>
                <a:cubicBezTo>
                  <a:pt x="9625965" y="4027516"/>
                  <a:pt x="9627235" y="4018626"/>
                  <a:pt x="9625330" y="4011006"/>
                </a:cubicBezTo>
                <a:cubicBezTo>
                  <a:pt x="9646285" y="4013546"/>
                  <a:pt x="9665970" y="3992591"/>
                  <a:pt x="9662795" y="3971636"/>
                </a:cubicBezTo>
                <a:cubicBezTo>
                  <a:pt x="9690735" y="3965921"/>
                  <a:pt x="9700895" y="3926551"/>
                  <a:pt x="9679305" y="3907501"/>
                </a:cubicBezTo>
                <a:cubicBezTo>
                  <a:pt x="9679305" y="3906866"/>
                  <a:pt x="9679305" y="3905596"/>
                  <a:pt x="9678670" y="3904961"/>
                </a:cubicBezTo>
                <a:cubicBezTo>
                  <a:pt x="9686290" y="3903056"/>
                  <a:pt x="9692640" y="3898611"/>
                  <a:pt x="9696450" y="3890991"/>
                </a:cubicBezTo>
                <a:cubicBezTo>
                  <a:pt x="9709785" y="3886546"/>
                  <a:pt x="9720580" y="3871941"/>
                  <a:pt x="9719945" y="3857336"/>
                </a:cubicBezTo>
                <a:cubicBezTo>
                  <a:pt x="9722485" y="3854796"/>
                  <a:pt x="9723755" y="3851621"/>
                  <a:pt x="9725025" y="3848446"/>
                </a:cubicBezTo>
                <a:cubicBezTo>
                  <a:pt x="9727565" y="3846541"/>
                  <a:pt x="9730105" y="3843366"/>
                  <a:pt x="9730740" y="3840191"/>
                </a:cubicBezTo>
                <a:cubicBezTo>
                  <a:pt x="9738360" y="3835746"/>
                  <a:pt x="9744710" y="3827491"/>
                  <a:pt x="9747250" y="3818601"/>
                </a:cubicBezTo>
                <a:cubicBezTo>
                  <a:pt x="9753600" y="3816696"/>
                  <a:pt x="9758680" y="3810346"/>
                  <a:pt x="9759315" y="3803996"/>
                </a:cubicBezTo>
                <a:cubicBezTo>
                  <a:pt x="9771380" y="3803361"/>
                  <a:pt x="9778365" y="3788121"/>
                  <a:pt x="9770745" y="3778596"/>
                </a:cubicBezTo>
                <a:cubicBezTo>
                  <a:pt x="9770110" y="3772246"/>
                  <a:pt x="9772650" y="3765261"/>
                  <a:pt x="9770745" y="3758911"/>
                </a:cubicBezTo>
                <a:cubicBezTo>
                  <a:pt x="9771380" y="3758276"/>
                  <a:pt x="9771380" y="3757641"/>
                  <a:pt x="9772015" y="3757006"/>
                </a:cubicBezTo>
                <a:cubicBezTo>
                  <a:pt x="9779000" y="3764626"/>
                  <a:pt x="9791700" y="3763991"/>
                  <a:pt x="9798050" y="3755736"/>
                </a:cubicBezTo>
                <a:cubicBezTo>
                  <a:pt x="9814560" y="3758276"/>
                  <a:pt x="9822180" y="3733511"/>
                  <a:pt x="9807575" y="3725891"/>
                </a:cubicBezTo>
                <a:cubicBezTo>
                  <a:pt x="9814560" y="3720811"/>
                  <a:pt x="9817100" y="3710016"/>
                  <a:pt x="9813925" y="3702396"/>
                </a:cubicBezTo>
                <a:cubicBezTo>
                  <a:pt x="9814560" y="3701761"/>
                  <a:pt x="9815195" y="3700491"/>
                  <a:pt x="9815195" y="3699856"/>
                </a:cubicBezTo>
                <a:cubicBezTo>
                  <a:pt x="9819640" y="3703031"/>
                  <a:pt x="9824720" y="3704301"/>
                  <a:pt x="9829800" y="3703031"/>
                </a:cubicBezTo>
                <a:cubicBezTo>
                  <a:pt x="9851390" y="3720811"/>
                  <a:pt x="9869170" y="3678266"/>
                  <a:pt x="9841865" y="3675091"/>
                </a:cubicBezTo>
                <a:cubicBezTo>
                  <a:pt x="9835515" y="3664296"/>
                  <a:pt x="9819005" y="3663661"/>
                  <a:pt x="9812020" y="3673821"/>
                </a:cubicBezTo>
                <a:cubicBezTo>
                  <a:pt x="9810115" y="3671281"/>
                  <a:pt x="9807575" y="3669376"/>
                  <a:pt x="9804400" y="3668106"/>
                </a:cubicBezTo>
                <a:cubicBezTo>
                  <a:pt x="9803765" y="3666201"/>
                  <a:pt x="9803130" y="3664296"/>
                  <a:pt x="9801860" y="3662391"/>
                </a:cubicBezTo>
                <a:cubicBezTo>
                  <a:pt x="9808845" y="3660486"/>
                  <a:pt x="9815195" y="3657311"/>
                  <a:pt x="9819640" y="3651596"/>
                </a:cubicBezTo>
                <a:cubicBezTo>
                  <a:pt x="9828530" y="3670011"/>
                  <a:pt x="9859010" y="3663026"/>
                  <a:pt x="9858375" y="3642071"/>
                </a:cubicBezTo>
                <a:cubicBezTo>
                  <a:pt x="9860280" y="3643341"/>
                  <a:pt x="9862185" y="3643976"/>
                  <a:pt x="9864090" y="3643976"/>
                </a:cubicBezTo>
                <a:cubicBezTo>
                  <a:pt x="9872345" y="3676996"/>
                  <a:pt x="9915525" y="3640801"/>
                  <a:pt x="9885045" y="3626831"/>
                </a:cubicBezTo>
                <a:cubicBezTo>
                  <a:pt x="9886315" y="3615401"/>
                  <a:pt x="9873615" y="3605241"/>
                  <a:pt x="9862185" y="3608416"/>
                </a:cubicBezTo>
                <a:cubicBezTo>
                  <a:pt x="9860915" y="3602066"/>
                  <a:pt x="9857105" y="3596351"/>
                  <a:pt x="9850755" y="3593176"/>
                </a:cubicBezTo>
                <a:cubicBezTo>
                  <a:pt x="9850120" y="3589366"/>
                  <a:pt x="9848850" y="3586191"/>
                  <a:pt x="9846310" y="3583016"/>
                </a:cubicBezTo>
                <a:cubicBezTo>
                  <a:pt x="9855200" y="3576666"/>
                  <a:pt x="9861550" y="3564601"/>
                  <a:pt x="9861550" y="3553171"/>
                </a:cubicBezTo>
                <a:cubicBezTo>
                  <a:pt x="9864090" y="3554441"/>
                  <a:pt x="9867265" y="3555076"/>
                  <a:pt x="9870440" y="3555711"/>
                </a:cubicBezTo>
                <a:cubicBezTo>
                  <a:pt x="9870440" y="3555711"/>
                  <a:pt x="9870440" y="3555711"/>
                  <a:pt x="9870440" y="3555711"/>
                </a:cubicBezTo>
                <a:cubicBezTo>
                  <a:pt x="9838055" y="3572856"/>
                  <a:pt x="9881235" y="3616036"/>
                  <a:pt x="9898380" y="3583016"/>
                </a:cubicBezTo>
                <a:cubicBezTo>
                  <a:pt x="9900285" y="3583651"/>
                  <a:pt x="9902190" y="3584286"/>
                  <a:pt x="9904095" y="3584921"/>
                </a:cubicBezTo>
                <a:cubicBezTo>
                  <a:pt x="9892665" y="3621751"/>
                  <a:pt x="9954260" y="3607781"/>
                  <a:pt x="9928225" y="3579206"/>
                </a:cubicBezTo>
                <a:cubicBezTo>
                  <a:pt x="9928860" y="3577301"/>
                  <a:pt x="9926955" y="3576031"/>
                  <a:pt x="9924415" y="3576031"/>
                </a:cubicBezTo>
                <a:close/>
                <a:moveTo>
                  <a:pt x="9431655" y="4224366"/>
                </a:moveTo>
                <a:cubicBezTo>
                  <a:pt x="9431655" y="4224366"/>
                  <a:pt x="9431655" y="4225001"/>
                  <a:pt x="9431655" y="4224366"/>
                </a:cubicBezTo>
                <a:cubicBezTo>
                  <a:pt x="9431655" y="4223096"/>
                  <a:pt x="9431655" y="4221191"/>
                  <a:pt x="9431020" y="4219286"/>
                </a:cubicBezTo>
                <a:cubicBezTo>
                  <a:pt x="9431655" y="4219921"/>
                  <a:pt x="9432290" y="4221191"/>
                  <a:pt x="9433560" y="4221826"/>
                </a:cubicBezTo>
                <a:cubicBezTo>
                  <a:pt x="9432925" y="4223096"/>
                  <a:pt x="9432290" y="4223731"/>
                  <a:pt x="9431655" y="4224366"/>
                </a:cubicBezTo>
                <a:close/>
                <a:moveTo>
                  <a:pt x="9483090" y="4172296"/>
                </a:moveTo>
                <a:cubicBezTo>
                  <a:pt x="9482455" y="4172296"/>
                  <a:pt x="9482455" y="4171661"/>
                  <a:pt x="9481820" y="4171661"/>
                </a:cubicBezTo>
                <a:cubicBezTo>
                  <a:pt x="9486265" y="4162771"/>
                  <a:pt x="9483090" y="4150706"/>
                  <a:pt x="9473565" y="4144991"/>
                </a:cubicBezTo>
                <a:cubicBezTo>
                  <a:pt x="9476105" y="4143721"/>
                  <a:pt x="9478010" y="4141816"/>
                  <a:pt x="9479915" y="4139276"/>
                </a:cubicBezTo>
                <a:cubicBezTo>
                  <a:pt x="9480550" y="4142451"/>
                  <a:pt x="9481820" y="4144991"/>
                  <a:pt x="9483725" y="4147531"/>
                </a:cubicBezTo>
                <a:cubicBezTo>
                  <a:pt x="9483090" y="4152611"/>
                  <a:pt x="9484360" y="4157056"/>
                  <a:pt x="9486265" y="4161501"/>
                </a:cubicBezTo>
                <a:cubicBezTo>
                  <a:pt x="9484995" y="4165311"/>
                  <a:pt x="9483725" y="4168486"/>
                  <a:pt x="9483090" y="4172296"/>
                </a:cubicBezTo>
                <a:close/>
                <a:moveTo>
                  <a:pt x="10280650" y="3145501"/>
                </a:moveTo>
                <a:cubicBezTo>
                  <a:pt x="10266045" y="3160106"/>
                  <a:pt x="10289540" y="3182331"/>
                  <a:pt x="10303510" y="3167726"/>
                </a:cubicBezTo>
                <a:cubicBezTo>
                  <a:pt x="10318115" y="3153121"/>
                  <a:pt x="10294620" y="3130896"/>
                  <a:pt x="10280650" y="3145501"/>
                </a:cubicBezTo>
                <a:close/>
                <a:moveTo>
                  <a:pt x="9360535" y="4525356"/>
                </a:moveTo>
                <a:cubicBezTo>
                  <a:pt x="9357995" y="4524086"/>
                  <a:pt x="9354820" y="4522816"/>
                  <a:pt x="9352280" y="4522181"/>
                </a:cubicBezTo>
                <a:cubicBezTo>
                  <a:pt x="9392920" y="4492336"/>
                  <a:pt x="9335770" y="4435821"/>
                  <a:pt x="9305925" y="4475826"/>
                </a:cubicBezTo>
                <a:cubicBezTo>
                  <a:pt x="9300845" y="4475191"/>
                  <a:pt x="9295765" y="4475826"/>
                  <a:pt x="9291320" y="4477731"/>
                </a:cubicBezTo>
                <a:cubicBezTo>
                  <a:pt x="9278620" y="4470746"/>
                  <a:pt x="9262745" y="4474556"/>
                  <a:pt x="9254490" y="4486621"/>
                </a:cubicBezTo>
                <a:cubicBezTo>
                  <a:pt x="9251950" y="4484716"/>
                  <a:pt x="9248775" y="4483446"/>
                  <a:pt x="9245600" y="4482811"/>
                </a:cubicBezTo>
                <a:cubicBezTo>
                  <a:pt x="9250045" y="4461856"/>
                  <a:pt x="9222740" y="4446616"/>
                  <a:pt x="9207500" y="4461856"/>
                </a:cubicBezTo>
                <a:cubicBezTo>
                  <a:pt x="9215120" y="4442171"/>
                  <a:pt x="9188450" y="4425026"/>
                  <a:pt x="9173845" y="4440266"/>
                </a:cubicBezTo>
                <a:cubicBezTo>
                  <a:pt x="9154160" y="4458046"/>
                  <a:pt x="9181465" y="4488526"/>
                  <a:pt x="9201150" y="4471381"/>
                </a:cubicBezTo>
                <a:cubicBezTo>
                  <a:pt x="9196705" y="4482811"/>
                  <a:pt x="9203690" y="4498051"/>
                  <a:pt x="9215755" y="4501226"/>
                </a:cubicBezTo>
                <a:cubicBezTo>
                  <a:pt x="9207500" y="4526626"/>
                  <a:pt x="9243695" y="4546311"/>
                  <a:pt x="9260205" y="4524721"/>
                </a:cubicBezTo>
                <a:cubicBezTo>
                  <a:pt x="9266555" y="4529801"/>
                  <a:pt x="9274810" y="4531706"/>
                  <a:pt x="9283065" y="4530436"/>
                </a:cubicBezTo>
                <a:cubicBezTo>
                  <a:pt x="9285605" y="4532976"/>
                  <a:pt x="9288780" y="4534246"/>
                  <a:pt x="9291955" y="4535516"/>
                </a:cubicBezTo>
                <a:cubicBezTo>
                  <a:pt x="9276080" y="4557741"/>
                  <a:pt x="9293860" y="4590761"/>
                  <a:pt x="9321165" y="4590761"/>
                </a:cubicBezTo>
                <a:cubicBezTo>
                  <a:pt x="9339580" y="4604096"/>
                  <a:pt x="9366250" y="4598381"/>
                  <a:pt x="9377045" y="4578061"/>
                </a:cubicBezTo>
                <a:lnTo>
                  <a:pt x="9377045" y="4578061"/>
                </a:lnTo>
                <a:cubicBezTo>
                  <a:pt x="9385935" y="4559011"/>
                  <a:pt x="9378950" y="4535516"/>
                  <a:pt x="9360535" y="4525356"/>
                </a:cubicBezTo>
                <a:close/>
                <a:moveTo>
                  <a:pt x="10128250" y="3280756"/>
                </a:moveTo>
                <a:cubicBezTo>
                  <a:pt x="10142855" y="3261706"/>
                  <a:pt x="10112375" y="3239481"/>
                  <a:pt x="10099040" y="3259166"/>
                </a:cubicBezTo>
                <a:cubicBezTo>
                  <a:pt x="10084435" y="3277581"/>
                  <a:pt x="10114280" y="3299806"/>
                  <a:pt x="10128250" y="3280756"/>
                </a:cubicBezTo>
                <a:close/>
                <a:moveTo>
                  <a:pt x="10257155" y="3084541"/>
                </a:moveTo>
                <a:cubicBezTo>
                  <a:pt x="10230485" y="3064856"/>
                  <a:pt x="10212705" y="3115656"/>
                  <a:pt x="10245725" y="3116926"/>
                </a:cubicBezTo>
                <a:cubicBezTo>
                  <a:pt x="10262235" y="3118196"/>
                  <a:pt x="10271125" y="3094701"/>
                  <a:pt x="10257155" y="3084541"/>
                </a:cubicBezTo>
                <a:close/>
                <a:moveTo>
                  <a:pt x="10193655" y="3238846"/>
                </a:moveTo>
                <a:cubicBezTo>
                  <a:pt x="10179685" y="3254086"/>
                  <a:pt x="10203815" y="3275676"/>
                  <a:pt x="10217150" y="3260436"/>
                </a:cubicBezTo>
                <a:cubicBezTo>
                  <a:pt x="10231755" y="3245196"/>
                  <a:pt x="10207625" y="3223606"/>
                  <a:pt x="10193655" y="3238846"/>
                </a:cubicBezTo>
                <a:close/>
                <a:moveTo>
                  <a:pt x="10236835" y="3191856"/>
                </a:moveTo>
                <a:cubicBezTo>
                  <a:pt x="10222865" y="3206461"/>
                  <a:pt x="10246360" y="3228686"/>
                  <a:pt x="10260330" y="3213446"/>
                </a:cubicBezTo>
                <a:cubicBezTo>
                  <a:pt x="10274300" y="3198841"/>
                  <a:pt x="10250805" y="3176616"/>
                  <a:pt x="10236835" y="3191856"/>
                </a:cubicBezTo>
                <a:close/>
                <a:moveTo>
                  <a:pt x="10215245" y="3166456"/>
                </a:moveTo>
                <a:cubicBezTo>
                  <a:pt x="10230485" y="3148041"/>
                  <a:pt x="10200640" y="3124546"/>
                  <a:pt x="10186670" y="3143596"/>
                </a:cubicBezTo>
                <a:cubicBezTo>
                  <a:pt x="10186670" y="3143596"/>
                  <a:pt x="10186670" y="3143596"/>
                  <a:pt x="10186670" y="3143596"/>
                </a:cubicBezTo>
                <a:cubicBezTo>
                  <a:pt x="10171430" y="3162646"/>
                  <a:pt x="10200640" y="3185506"/>
                  <a:pt x="10215245" y="3166456"/>
                </a:cubicBezTo>
                <a:close/>
                <a:moveTo>
                  <a:pt x="10171430" y="3222971"/>
                </a:moveTo>
                <a:cubicBezTo>
                  <a:pt x="10186035" y="3204556"/>
                  <a:pt x="10156190" y="3181696"/>
                  <a:pt x="10142220" y="3200746"/>
                </a:cubicBezTo>
                <a:cubicBezTo>
                  <a:pt x="10127615" y="3219796"/>
                  <a:pt x="10156825" y="3242656"/>
                  <a:pt x="10171430" y="3222971"/>
                </a:cubicBezTo>
                <a:close/>
                <a:moveTo>
                  <a:pt x="10151110" y="3286471"/>
                </a:moveTo>
                <a:cubicBezTo>
                  <a:pt x="10137140" y="3301711"/>
                  <a:pt x="10161270" y="3323301"/>
                  <a:pt x="10174605" y="3307426"/>
                </a:cubicBezTo>
                <a:cubicBezTo>
                  <a:pt x="10189210" y="3292186"/>
                  <a:pt x="10164445" y="3270596"/>
                  <a:pt x="10151110" y="3286471"/>
                </a:cubicBezTo>
                <a:close/>
                <a:moveTo>
                  <a:pt x="10109200" y="3334731"/>
                </a:moveTo>
                <a:cubicBezTo>
                  <a:pt x="10095865" y="3349971"/>
                  <a:pt x="10119995" y="3370926"/>
                  <a:pt x="10133330" y="3355686"/>
                </a:cubicBezTo>
                <a:lnTo>
                  <a:pt x="10133330" y="3355686"/>
                </a:lnTo>
                <a:cubicBezTo>
                  <a:pt x="10147300" y="3339811"/>
                  <a:pt x="10122535" y="3318856"/>
                  <a:pt x="10109200" y="3334731"/>
                </a:cubicBezTo>
                <a:close/>
                <a:moveTo>
                  <a:pt x="9970135" y="3528406"/>
                </a:moveTo>
                <a:cubicBezTo>
                  <a:pt x="9954260" y="3515071"/>
                  <a:pt x="9933940" y="3541106"/>
                  <a:pt x="9950450" y="3553171"/>
                </a:cubicBezTo>
                <a:cubicBezTo>
                  <a:pt x="9966325" y="3566506"/>
                  <a:pt x="9986645" y="3541106"/>
                  <a:pt x="9970135" y="3528406"/>
                </a:cubicBezTo>
                <a:close/>
                <a:moveTo>
                  <a:pt x="8444865" y="5727411"/>
                </a:moveTo>
                <a:cubicBezTo>
                  <a:pt x="8509000" y="5722966"/>
                  <a:pt x="8474075" y="5626446"/>
                  <a:pt x="8422005" y="5664546"/>
                </a:cubicBezTo>
                <a:cubicBezTo>
                  <a:pt x="8396605" y="5684231"/>
                  <a:pt x="8413115" y="5728681"/>
                  <a:pt x="8444865" y="5727411"/>
                </a:cubicBezTo>
                <a:close/>
                <a:moveTo>
                  <a:pt x="8662035" y="5536911"/>
                </a:moveTo>
                <a:cubicBezTo>
                  <a:pt x="8694420" y="5503891"/>
                  <a:pt x="8642350" y="5453726"/>
                  <a:pt x="8610600" y="5487381"/>
                </a:cubicBezTo>
                <a:cubicBezTo>
                  <a:pt x="8578215" y="5520401"/>
                  <a:pt x="8630285" y="5571201"/>
                  <a:pt x="8662035" y="5536911"/>
                </a:cubicBezTo>
                <a:close/>
                <a:moveTo>
                  <a:pt x="8674735" y="5576281"/>
                </a:moveTo>
                <a:cubicBezTo>
                  <a:pt x="8637905" y="5543261"/>
                  <a:pt x="8587105" y="5601681"/>
                  <a:pt x="8624570" y="5634066"/>
                </a:cubicBezTo>
                <a:cubicBezTo>
                  <a:pt x="8661400" y="5666451"/>
                  <a:pt x="8712835" y="5608031"/>
                  <a:pt x="8674735" y="5576281"/>
                </a:cubicBezTo>
                <a:close/>
                <a:moveTo>
                  <a:pt x="8567420" y="5630891"/>
                </a:moveTo>
                <a:cubicBezTo>
                  <a:pt x="8601710" y="5599776"/>
                  <a:pt x="8551545" y="5547071"/>
                  <a:pt x="8518525" y="5578821"/>
                </a:cubicBezTo>
                <a:cubicBezTo>
                  <a:pt x="8484870" y="5609936"/>
                  <a:pt x="8534400" y="5662641"/>
                  <a:pt x="8567420" y="5630891"/>
                </a:cubicBezTo>
                <a:close/>
                <a:moveTo>
                  <a:pt x="8430895" y="5778211"/>
                </a:moveTo>
                <a:cubicBezTo>
                  <a:pt x="8394065" y="5811231"/>
                  <a:pt x="8447405" y="5868381"/>
                  <a:pt x="8482965" y="5834091"/>
                </a:cubicBezTo>
                <a:lnTo>
                  <a:pt x="8482965" y="5834091"/>
                </a:lnTo>
                <a:cubicBezTo>
                  <a:pt x="8519795" y="5800436"/>
                  <a:pt x="8466455" y="5743921"/>
                  <a:pt x="8430895" y="5778211"/>
                </a:cubicBezTo>
                <a:close/>
                <a:moveTo>
                  <a:pt x="8510270" y="5515956"/>
                </a:moveTo>
                <a:cubicBezTo>
                  <a:pt x="8484235" y="5481666"/>
                  <a:pt x="8430895" y="5523576"/>
                  <a:pt x="8458200" y="5556596"/>
                </a:cubicBezTo>
                <a:cubicBezTo>
                  <a:pt x="8484235" y="5590886"/>
                  <a:pt x="8537575" y="5548976"/>
                  <a:pt x="8510270" y="5515956"/>
                </a:cubicBezTo>
                <a:close/>
                <a:moveTo>
                  <a:pt x="8751570" y="5439121"/>
                </a:moveTo>
                <a:cubicBezTo>
                  <a:pt x="8782685" y="5404831"/>
                  <a:pt x="8728075" y="5356571"/>
                  <a:pt x="8698230" y="5392131"/>
                </a:cubicBezTo>
                <a:cubicBezTo>
                  <a:pt x="8667115" y="5426421"/>
                  <a:pt x="8721725" y="5474681"/>
                  <a:pt x="8751570" y="5439121"/>
                </a:cubicBezTo>
                <a:close/>
                <a:moveTo>
                  <a:pt x="8763635" y="5467696"/>
                </a:moveTo>
                <a:cubicBezTo>
                  <a:pt x="8725535" y="5435946"/>
                  <a:pt x="8676640" y="5496906"/>
                  <a:pt x="8716010" y="5527386"/>
                </a:cubicBezTo>
                <a:cubicBezTo>
                  <a:pt x="8753475" y="5559136"/>
                  <a:pt x="8802370" y="5498176"/>
                  <a:pt x="8763635" y="5467696"/>
                </a:cubicBezTo>
                <a:close/>
                <a:moveTo>
                  <a:pt x="9154795" y="4890481"/>
                </a:moveTo>
                <a:cubicBezTo>
                  <a:pt x="9154160" y="4889846"/>
                  <a:pt x="9152890" y="4889211"/>
                  <a:pt x="9151620" y="4889211"/>
                </a:cubicBezTo>
                <a:cubicBezTo>
                  <a:pt x="9150985" y="4851111"/>
                  <a:pt x="9093835" y="4842221"/>
                  <a:pt x="9082405" y="4879051"/>
                </a:cubicBezTo>
                <a:cubicBezTo>
                  <a:pt x="9077325" y="4875241"/>
                  <a:pt x="9070975" y="4873336"/>
                  <a:pt x="9065260" y="4872701"/>
                </a:cubicBezTo>
                <a:cubicBezTo>
                  <a:pt x="9063990" y="4860001"/>
                  <a:pt x="9051925" y="4847936"/>
                  <a:pt x="9039225" y="4846666"/>
                </a:cubicBezTo>
                <a:cubicBezTo>
                  <a:pt x="9053195" y="4823806"/>
                  <a:pt x="9025255" y="4795231"/>
                  <a:pt x="9002395" y="4807931"/>
                </a:cubicBezTo>
                <a:cubicBezTo>
                  <a:pt x="9015730" y="4783166"/>
                  <a:pt x="8981440" y="4757131"/>
                  <a:pt x="8961755" y="4778086"/>
                </a:cubicBezTo>
                <a:cubicBezTo>
                  <a:pt x="8940800" y="4797136"/>
                  <a:pt x="8965565" y="4832061"/>
                  <a:pt x="8990330" y="4819996"/>
                </a:cubicBezTo>
                <a:cubicBezTo>
                  <a:pt x="8980805" y="4835871"/>
                  <a:pt x="8991600" y="4858096"/>
                  <a:pt x="9010015" y="4861271"/>
                </a:cubicBezTo>
                <a:cubicBezTo>
                  <a:pt x="8998585" y="4879051"/>
                  <a:pt x="9010015" y="4905086"/>
                  <a:pt x="9030970" y="4907626"/>
                </a:cubicBezTo>
                <a:cubicBezTo>
                  <a:pt x="9031605" y="4941916"/>
                  <a:pt x="9082405" y="4950806"/>
                  <a:pt x="9094470" y="4918421"/>
                </a:cubicBezTo>
                <a:cubicBezTo>
                  <a:pt x="9095740" y="4919056"/>
                  <a:pt x="9096375" y="4920326"/>
                  <a:pt x="9097645" y="4920961"/>
                </a:cubicBezTo>
                <a:cubicBezTo>
                  <a:pt x="9093835" y="4959061"/>
                  <a:pt x="9149080" y="4977476"/>
                  <a:pt x="9168130" y="4943186"/>
                </a:cubicBezTo>
                <a:lnTo>
                  <a:pt x="9168130" y="4943186"/>
                </a:lnTo>
                <a:cubicBezTo>
                  <a:pt x="9178925" y="4924771"/>
                  <a:pt x="9173210" y="4901276"/>
                  <a:pt x="9154795" y="4890481"/>
                </a:cubicBezTo>
                <a:close/>
                <a:moveTo>
                  <a:pt x="9082405" y="5009861"/>
                </a:moveTo>
                <a:cubicBezTo>
                  <a:pt x="9081135" y="5009226"/>
                  <a:pt x="9079865" y="5008591"/>
                  <a:pt x="9078595" y="5007956"/>
                </a:cubicBezTo>
                <a:cubicBezTo>
                  <a:pt x="9088755" y="4970491"/>
                  <a:pt x="9033510" y="4946996"/>
                  <a:pt x="9013825" y="4981286"/>
                </a:cubicBezTo>
                <a:cubicBezTo>
                  <a:pt x="9008745" y="4975571"/>
                  <a:pt x="9000490" y="4971761"/>
                  <a:pt x="8992870" y="4971761"/>
                </a:cubicBezTo>
                <a:cubicBezTo>
                  <a:pt x="8997950" y="4952076"/>
                  <a:pt x="8977630" y="4931121"/>
                  <a:pt x="8957310" y="4936201"/>
                </a:cubicBezTo>
                <a:cubicBezTo>
                  <a:pt x="8992870" y="4914611"/>
                  <a:pt x="8950960" y="4862541"/>
                  <a:pt x="8922385" y="4893021"/>
                </a:cubicBezTo>
                <a:cubicBezTo>
                  <a:pt x="8903335" y="4911436"/>
                  <a:pt x="8921750" y="4945726"/>
                  <a:pt x="8947150" y="4940011"/>
                </a:cubicBezTo>
                <a:cubicBezTo>
                  <a:pt x="8922385" y="4953346"/>
                  <a:pt x="8930005" y="4993351"/>
                  <a:pt x="8957945" y="4996526"/>
                </a:cubicBezTo>
                <a:cubicBezTo>
                  <a:pt x="8947785" y="5030181"/>
                  <a:pt x="8997315" y="5054311"/>
                  <a:pt x="9017000" y="5023831"/>
                </a:cubicBezTo>
                <a:cubicBezTo>
                  <a:pt x="9019540" y="5026371"/>
                  <a:pt x="9022080" y="5028911"/>
                  <a:pt x="9025255" y="5030816"/>
                </a:cubicBezTo>
                <a:cubicBezTo>
                  <a:pt x="9011920" y="5119716"/>
                  <a:pt x="9149715" y="5070186"/>
                  <a:pt x="9082405" y="5009861"/>
                </a:cubicBezTo>
                <a:close/>
                <a:moveTo>
                  <a:pt x="9225280" y="4769831"/>
                </a:moveTo>
                <a:cubicBezTo>
                  <a:pt x="9223375" y="4768561"/>
                  <a:pt x="9221470" y="4767926"/>
                  <a:pt x="9220200" y="4767291"/>
                </a:cubicBezTo>
                <a:cubicBezTo>
                  <a:pt x="9208770" y="4731731"/>
                  <a:pt x="9152890" y="4739351"/>
                  <a:pt x="9150985" y="4776816"/>
                </a:cubicBezTo>
                <a:cubicBezTo>
                  <a:pt x="9145270" y="4773006"/>
                  <a:pt x="9138285" y="4771736"/>
                  <a:pt x="9131935" y="4771736"/>
                </a:cubicBezTo>
                <a:cubicBezTo>
                  <a:pt x="9128125" y="4764116"/>
                  <a:pt x="9119870" y="4757766"/>
                  <a:pt x="9111615" y="4756496"/>
                </a:cubicBezTo>
                <a:cubicBezTo>
                  <a:pt x="9115425" y="4736176"/>
                  <a:pt x="9092565" y="4718396"/>
                  <a:pt x="9073515" y="4726651"/>
                </a:cubicBezTo>
                <a:cubicBezTo>
                  <a:pt x="9074150" y="4704426"/>
                  <a:pt x="9044305" y="4692361"/>
                  <a:pt x="9029065" y="4708871"/>
                </a:cubicBezTo>
                <a:cubicBezTo>
                  <a:pt x="9010650" y="4727286"/>
                  <a:pt x="9030970" y="4759671"/>
                  <a:pt x="9055100" y="4751416"/>
                </a:cubicBezTo>
                <a:cubicBezTo>
                  <a:pt x="9053830" y="4763481"/>
                  <a:pt x="9062720" y="4776181"/>
                  <a:pt x="9074785" y="4779991"/>
                </a:cubicBezTo>
                <a:cubicBezTo>
                  <a:pt x="9070340" y="4797136"/>
                  <a:pt x="9084310" y="4816821"/>
                  <a:pt x="9102725" y="4817456"/>
                </a:cubicBezTo>
                <a:cubicBezTo>
                  <a:pt x="9114155" y="4848571"/>
                  <a:pt x="9163685" y="4842856"/>
                  <a:pt x="9166225" y="4809201"/>
                </a:cubicBezTo>
                <a:cubicBezTo>
                  <a:pt x="9166860" y="4809836"/>
                  <a:pt x="9168130" y="4810471"/>
                  <a:pt x="9168765" y="4811106"/>
                </a:cubicBezTo>
                <a:cubicBezTo>
                  <a:pt x="9189720" y="4881591"/>
                  <a:pt x="9286240" y="4812376"/>
                  <a:pt x="9225280" y="4769831"/>
                </a:cubicBezTo>
                <a:close/>
                <a:moveTo>
                  <a:pt x="8848090" y="5356571"/>
                </a:moveTo>
                <a:cubicBezTo>
                  <a:pt x="8839835" y="5350856"/>
                  <a:pt x="8830310" y="5348316"/>
                  <a:pt x="8821420" y="5348951"/>
                </a:cubicBezTo>
                <a:cubicBezTo>
                  <a:pt x="8873490" y="5330536"/>
                  <a:pt x="8829675" y="5253066"/>
                  <a:pt x="8787130" y="5287356"/>
                </a:cubicBezTo>
                <a:cubicBezTo>
                  <a:pt x="8790305" y="5257511"/>
                  <a:pt x="8749665" y="5239731"/>
                  <a:pt x="8729980" y="5262591"/>
                </a:cubicBezTo>
                <a:cubicBezTo>
                  <a:pt x="8702040" y="5291166"/>
                  <a:pt x="8743315" y="5336251"/>
                  <a:pt x="8774430" y="5311486"/>
                </a:cubicBezTo>
                <a:cubicBezTo>
                  <a:pt x="8771890" y="5332441"/>
                  <a:pt x="8792210" y="5353396"/>
                  <a:pt x="8813165" y="5350221"/>
                </a:cubicBezTo>
                <a:cubicBezTo>
                  <a:pt x="8773160" y="5362286"/>
                  <a:pt x="8783320" y="5425786"/>
                  <a:pt x="8825230" y="5424516"/>
                </a:cubicBezTo>
                <a:cubicBezTo>
                  <a:pt x="8860155" y="5427056"/>
                  <a:pt x="8877300" y="5377526"/>
                  <a:pt x="8848090" y="5356571"/>
                </a:cubicBezTo>
                <a:close/>
                <a:moveTo>
                  <a:pt x="9006840" y="5127336"/>
                </a:moveTo>
                <a:cubicBezTo>
                  <a:pt x="9004935" y="5126066"/>
                  <a:pt x="9002395" y="5124796"/>
                  <a:pt x="8999855" y="5123526"/>
                </a:cubicBezTo>
                <a:cubicBezTo>
                  <a:pt x="9019540" y="5087966"/>
                  <a:pt x="8968740" y="5052406"/>
                  <a:pt x="8942070" y="5082886"/>
                </a:cubicBezTo>
                <a:cubicBezTo>
                  <a:pt x="8936355" y="5072726"/>
                  <a:pt x="8924290" y="5067011"/>
                  <a:pt x="8912860" y="5067646"/>
                </a:cubicBezTo>
                <a:cubicBezTo>
                  <a:pt x="8933180" y="5037166"/>
                  <a:pt x="8888095" y="5002876"/>
                  <a:pt x="8863965" y="5030816"/>
                </a:cubicBezTo>
                <a:cubicBezTo>
                  <a:pt x="8846185" y="5049231"/>
                  <a:pt x="8860790" y="5082886"/>
                  <a:pt x="8886190" y="5082251"/>
                </a:cubicBezTo>
                <a:cubicBezTo>
                  <a:pt x="8863330" y="5114001"/>
                  <a:pt x="8909050" y="5152736"/>
                  <a:pt x="8936355" y="5124796"/>
                </a:cubicBezTo>
                <a:cubicBezTo>
                  <a:pt x="8939530" y="5131146"/>
                  <a:pt x="8945245" y="5136226"/>
                  <a:pt x="8951595" y="5139401"/>
                </a:cubicBezTo>
                <a:cubicBezTo>
                  <a:pt x="8935720" y="5163531"/>
                  <a:pt x="8955405" y="5197821"/>
                  <a:pt x="8983980" y="5197186"/>
                </a:cubicBezTo>
                <a:cubicBezTo>
                  <a:pt x="9022080" y="5198456"/>
                  <a:pt x="9038590" y="5147021"/>
                  <a:pt x="9006840" y="5127336"/>
                </a:cubicBezTo>
                <a:close/>
                <a:moveTo>
                  <a:pt x="9293860" y="4648546"/>
                </a:moveTo>
                <a:cubicBezTo>
                  <a:pt x="9290050" y="4646006"/>
                  <a:pt x="9285605" y="4644736"/>
                  <a:pt x="9281160" y="4644101"/>
                </a:cubicBezTo>
                <a:cubicBezTo>
                  <a:pt x="9258300" y="4616796"/>
                  <a:pt x="9210675" y="4641561"/>
                  <a:pt x="9219565" y="4675851"/>
                </a:cubicBezTo>
                <a:cubicBezTo>
                  <a:pt x="9211310" y="4670136"/>
                  <a:pt x="9201150" y="4669501"/>
                  <a:pt x="9191625" y="4672041"/>
                </a:cubicBezTo>
                <a:cubicBezTo>
                  <a:pt x="9187815" y="4668231"/>
                  <a:pt x="9182100" y="4665691"/>
                  <a:pt x="9176385" y="4665056"/>
                </a:cubicBezTo>
                <a:cubicBezTo>
                  <a:pt x="9173210" y="4647911"/>
                  <a:pt x="9151620" y="4638386"/>
                  <a:pt x="9136380" y="4646641"/>
                </a:cubicBezTo>
                <a:cubicBezTo>
                  <a:pt x="9098915" y="4590761"/>
                  <a:pt x="9055735" y="4692361"/>
                  <a:pt x="9122410" y="4680296"/>
                </a:cubicBezTo>
                <a:cubicBezTo>
                  <a:pt x="9124950" y="4688551"/>
                  <a:pt x="9132570" y="4696171"/>
                  <a:pt x="9141460" y="4698711"/>
                </a:cubicBezTo>
                <a:cubicBezTo>
                  <a:pt x="9142730" y="4715221"/>
                  <a:pt x="9159875" y="4728556"/>
                  <a:pt x="9176385" y="4725381"/>
                </a:cubicBezTo>
                <a:cubicBezTo>
                  <a:pt x="9197340" y="4750781"/>
                  <a:pt x="9241155" y="4729191"/>
                  <a:pt x="9233535" y="4696806"/>
                </a:cubicBezTo>
                <a:cubicBezTo>
                  <a:pt x="9236075" y="4698711"/>
                  <a:pt x="9238615" y="4699981"/>
                  <a:pt x="9241790" y="4701251"/>
                </a:cubicBezTo>
                <a:cubicBezTo>
                  <a:pt x="9277985" y="4754591"/>
                  <a:pt x="9348470" y="4682201"/>
                  <a:pt x="9293860" y="4648546"/>
                </a:cubicBezTo>
                <a:close/>
                <a:moveTo>
                  <a:pt x="8928735" y="5242906"/>
                </a:moveTo>
                <a:cubicBezTo>
                  <a:pt x="8924925" y="5240366"/>
                  <a:pt x="8920480" y="5238461"/>
                  <a:pt x="8916035" y="5237191"/>
                </a:cubicBezTo>
                <a:cubicBezTo>
                  <a:pt x="8947150" y="5206076"/>
                  <a:pt x="8900160" y="5156546"/>
                  <a:pt x="8867140" y="5185121"/>
                </a:cubicBezTo>
                <a:cubicBezTo>
                  <a:pt x="8860790" y="5160356"/>
                  <a:pt x="8826500" y="5152736"/>
                  <a:pt x="8810625" y="5173056"/>
                </a:cubicBezTo>
                <a:cubicBezTo>
                  <a:pt x="8810625" y="5173056"/>
                  <a:pt x="8810625" y="5173056"/>
                  <a:pt x="8810625" y="5173056"/>
                </a:cubicBezTo>
                <a:cubicBezTo>
                  <a:pt x="8784590" y="5202266"/>
                  <a:pt x="8825865" y="5245446"/>
                  <a:pt x="8855710" y="5220681"/>
                </a:cubicBezTo>
                <a:cubicBezTo>
                  <a:pt x="8858250" y="5232111"/>
                  <a:pt x="8868410" y="5242906"/>
                  <a:pt x="8879840" y="5246081"/>
                </a:cubicBezTo>
                <a:cubicBezTo>
                  <a:pt x="8855075" y="5268306"/>
                  <a:pt x="8872855" y="5312756"/>
                  <a:pt x="8905875" y="5311486"/>
                </a:cubicBezTo>
                <a:cubicBezTo>
                  <a:pt x="8942705" y="5314026"/>
                  <a:pt x="8959215" y="5263226"/>
                  <a:pt x="8928735" y="5242906"/>
                </a:cubicBezTo>
                <a:close/>
                <a:moveTo>
                  <a:pt x="10547350" y="2764501"/>
                </a:moveTo>
                <a:cubicBezTo>
                  <a:pt x="10530840" y="2747356"/>
                  <a:pt x="10504170" y="2774026"/>
                  <a:pt x="10521315" y="2790536"/>
                </a:cubicBezTo>
                <a:cubicBezTo>
                  <a:pt x="10537825" y="2807681"/>
                  <a:pt x="10564495" y="2781011"/>
                  <a:pt x="10547350" y="2764501"/>
                </a:cubicBezTo>
                <a:close/>
                <a:moveTo>
                  <a:pt x="4338320" y="4272626"/>
                </a:moveTo>
                <a:cubicBezTo>
                  <a:pt x="4329430" y="4250401"/>
                  <a:pt x="4295140" y="4265641"/>
                  <a:pt x="4304665" y="4287231"/>
                </a:cubicBezTo>
                <a:cubicBezTo>
                  <a:pt x="4313555" y="4308821"/>
                  <a:pt x="4347845" y="4294216"/>
                  <a:pt x="4338320" y="4272626"/>
                </a:cubicBezTo>
                <a:close/>
                <a:moveTo>
                  <a:pt x="10756900" y="2722591"/>
                </a:moveTo>
                <a:cubicBezTo>
                  <a:pt x="10740390" y="2734656"/>
                  <a:pt x="10759440" y="2760691"/>
                  <a:pt x="10775950" y="2747991"/>
                </a:cubicBezTo>
                <a:cubicBezTo>
                  <a:pt x="10792460" y="2736561"/>
                  <a:pt x="10773410" y="2710526"/>
                  <a:pt x="10756900" y="2722591"/>
                </a:cubicBezTo>
                <a:close/>
                <a:moveTo>
                  <a:pt x="10706100" y="2760691"/>
                </a:moveTo>
                <a:cubicBezTo>
                  <a:pt x="10689590" y="2772756"/>
                  <a:pt x="10709275" y="2798791"/>
                  <a:pt x="10725785" y="2786091"/>
                </a:cubicBezTo>
                <a:cubicBezTo>
                  <a:pt x="10741660" y="2774026"/>
                  <a:pt x="10721975" y="2747991"/>
                  <a:pt x="10706100" y="2760691"/>
                </a:cubicBezTo>
                <a:close/>
                <a:moveTo>
                  <a:pt x="10814685" y="2525106"/>
                </a:moveTo>
                <a:cubicBezTo>
                  <a:pt x="10800080" y="2506691"/>
                  <a:pt x="10770870" y="2530186"/>
                  <a:pt x="10786110" y="2547966"/>
                </a:cubicBezTo>
                <a:cubicBezTo>
                  <a:pt x="10801350" y="2567016"/>
                  <a:pt x="10830560" y="2543521"/>
                  <a:pt x="10814685" y="2525106"/>
                </a:cubicBezTo>
                <a:close/>
                <a:moveTo>
                  <a:pt x="10655935" y="2800696"/>
                </a:moveTo>
                <a:cubicBezTo>
                  <a:pt x="10639425" y="2813396"/>
                  <a:pt x="10659745" y="2838796"/>
                  <a:pt x="10675620" y="2825461"/>
                </a:cubicBezTo>
                <a:cubicBezTo>
                  <a:pt x="10692130" y="2812761"/>
                  <a:pt x="10671810" y="2787361"/>
                  <a:pt x="10655935" y="2800696"/>
                </a:cubicBezTo>
                <a:close/>
                <a:moveTo>
                  <a:pt x="10651490" y="2665441"/>
                </a:moveTo>
                <a:cubicBezTo>
                  <a:pt x="10635615" y="2647661"/>
                  <a:pt x="10608310" y="2673061"/>
                  <a:pt x="10624820" y="2690206"/>
                </a:cubicBezTo>
                <a:cubicBezTo>
                  <a:pt x="10640695" y="2707986"/>
                  <a:pt x="10668000" y="2682586"/>
                  <a:pt x="10651490" y="2665441"/>
                </a:cubicBezTo>
                <a:close/>
                <a:moveTo>
                  <a:pt x="10704830" y="2617181"/>
                </a:moveTo>
                <a:cubicBezTo>
                  <a:pt x="10689590" y="2599401"/>
                  <a:pt x="10661650" y="2624166"/>
                  <a:pt x="10677525" y="2641311"/>
                </a:cubicBezTo>
                <a:cubicBezTo>
                  <a:pt x="10693400" y="2659726"/>
                  <a:pt x="10721340" y="2634961"/>
                  <a:pt x="10704830" y="2617181"/>
                </a:cubicBezTo>
                <a:close/>
                <a:moveTo>
                  <a:pt x="10808970" y="2685126"/>
                </a:moveTo>
                <a:cubicBezTo>
                  <a:pt x="10791825" y="2696556"/>
                  <a:pt x="10810875" y="2723226"/>
                  <a:pt x="10827385" y="2711161"/>
                </a:cubicBezTo>
                <a:cubicBezTo>
                  <a:pt x="10843895" y="2699731"/>
                  <a:pt x="10825480" y="2673061"/>
                  <a:pt x="10808970" y="2685126"/>
                </a:cubicBezTo>
                <a:close/>
                <a:moveTo>
                  <a:pt x="10917555" y="2243801"/>
                </a:moveTo>
                <a:cubicBezTo>
                  <a:pt x="10917555" y="2243801"/>
                  <a:pt x="10917555" y="2243801"/>
                  <a:pt x="10917555" y="2243801"/>
                </a:cubicBezTo>
                <a:cubicBezTo>
                  <a:pt x="10896600" y="2260946"/>
                  <a:pt x="10923905" y="2293331"/>
                  <a:pt x="10944225" y="2276186"/>
                </a:cubicBezTo>
                <a:cubicBezTo>
                  <a:pt x="10965180" y="2259041"/>
                  <a:pt x="10938510" y="2226656"/>
                  <a:pt x="10917555" y="2243801"/>
                </a:cubicBezTo>
                <a:close/>
                <a:moveTo>
                  <a:pt x="10868025" y="2506691"/>
                </a:moveTo>
                <a:cubicBezTo>
                  <a:pt x="10887075" y="2492086"/>
                  <a:pt x="10864215" y="2462876"/>
                  <a:pt x="10845800" y="2477481"/>
                </a:cubicBezTo>
                <a:cubicBezTo>
                  <a:pt x="10826750" y="2491451"/>
                  <a:pt x="10849610" y="2521296"/>
                  <a:pt x="10868025" y="2506691"/>
                </a:cubicBezTo>
                <a:close/>
                <a:moveTo>
                  <a:pt x="10277475" y="3031836"/>
                </a:moveTo>
                <a:cubicBezTo>
                  <a:pt x="10262235" y="3049616"/>
                  <a:pt x="10290810" y="3073746"/>
                  <a:pt x="10305415" y="3055331"/>
                </a:cubicBezTo>
                <a:cubicBezTo>
                  <a:pt x="10321290" y="3036916"/>
                  <a:pt x="10292715" y="3013421"/>
                  <a:pt x="10277475" y="3031836"/>
                </a:cubicBezTo>
                <a:close/>
                <a:moveTo>
                  <a:pt x="10915015" y="2614006"/>
                </a:moveTo>
                <a:cubicBezTo>
                  <a:pt x="10897235" y="2624801"/>
                  <a:pt x="10915015" y="2652106"/>
                  <a:pt x="10932160" y="2640676"/>
                </a:cubicBezTo>
                <a:cubicBezTo>
                  <a:pt x="10949305" y="2629881"/>
                  <a:pt x="10932160" y="2602576"/>
                  <a:pt x="10915015" y="2614006"/>
                </a:cubicBezTo>
                <a:close/>
                <a:moveTo>
                  <a:pt x="10606405" y="2840701"/>
                </a:moveTo>
                <a:cubicBezTo>
                  <a:pt x="10590530" y="2853401"/>
                  <a:pt x="10610850" y="2878801"/>
                  <a:pt x="10626725" y="2864831"/>
                </a:cubicBezTo>
                <a:cubicBezTo>
                  <a:pt x="10642600" y="2852131"/>
                  <a:pt x="10621645" y="2827366"/>
                  <a:pt x="10606405" y="2840701"/>
                </a:cubicBezTo>
                <a:close/>
                <a:moveTo>
                  <a:pt x="10861675" y="2648931"/>
                </a:moveTo>
                <a:cubicBezTo>
                  <a:pt x="10844530" y="2660361"/>
                  <a:pt x="10862310" y="2687031"/>
                  <a:pt x="10879455" y="2674966"/>
                </a:cubicBezTo>
                <a:cubicBezTo>
                  <a:pt x="10896600" y="2664171"/>
                  <a:pt x="10878185" y="2637501"/>
                  <a:pt x="10861675" y="2648931"/>
                </a:cubicBezTo>
                <a:close/>
                <a:moveTo>
                  <a:pt x="10925175" y="2463511"/>
                </a:moveTo>
                <a:cubicBezTo>
                  <a:pt x="10944860" y="2449541"/>
                  <a:pt x="10922635" y="2419696"/>
                  <a:pt x="10903585" y="2433666"/>
                </a:cubicBezTo>
                <a:cubicBezTo>
                  <a:pt x="10883900" y="2447636"/>
                  <a:pt x="10906125" y="2478116"/>
                  <a:pt x="10925175" y="2463511"/>
                </a:cubicBezTo>
                <a:close/>
                <a:moveTo>
                  <a:pt x="10855960" y="2296506"/>
                </a:moveTo>
                <a:cubicBezTo>
                  <a:pt x="10835640" y="2314286"/>
                  <a:pt x="10863580" y="2346036"/>
                  <a:pt x="10883265" y="2327621"/>
                </a:cubicBezTo>
                <a:cubicBezTo>
                  <a:pt x="10904220" y="2310476"/>
                  <a:pt x="10876280" y="2278091"/>
                  <a:pt x="10855960" y="2296506"/>
                </a:cubicBezTo>
                <a:close/>
                <a:moveTo>
                  <a:pt x="10983595" y="2422236"/>
                </a:moveTo>
                <a:cubicBezTo>
                  <a:pt x="11003280" y="2408901"/>
                  <a:pt x="10981690" y="2378421"/>
                  <a:pt x="10962640" y="2392391"/>
                </a:cubicBezTo>
                <a:cubicBezTo>
                  <a:pt x="10942320" y="2405091"/>
                  <a:pt x="10963910" y="2436206"/>
                  <a:pt x="10983595" y="2422236"/>
                </a:cubicBezTo>
                <a:close/>
                <a:moveTo>
                  <a:pt x="10398125" y="2920711"/>
                </a:moveTo>
                <a:cubicBezTo>
                  <a:pt x="10356850" y="2895946"/>
                  <a:pt x="10361295" y="2975956"/>
                  <a:pt x="10399395" y="2946746"/>
                </a:cubicBezTo>
                <a:lnTo>
                  <a:pt x="10399395" y="2946746"/>
                </a:lnTo>
                <a:cubicBezTo>
                  <a:pt x="10406380" y="2939126"/>
                  <a:pt x="10405745" y="2927696"/>
                  <a:pt x="10398125" y="2920711"/>
                </a:cubicBezTo>
                <a:close/>
                <a:moveTo>
                  <a:pt x="10370185" y="3054696"/>
                </a:moveTo>
                <a:cubicBezTo>
                  <a:pt x="10355580" y="3068666"/>
                  <a:pt x="10377805" y="3092161"/>
                  <a:pt x="10392410" y="3077556"/>
                </a:cubicBezTo>
                <a:cubicBezTo>
                  <a:pt x="10407015" y="3062951"/>
                  <a:pt x="10384790" y="3040091"/>
                  <a:pt x="10370185" y="3054696"/>
                </a:cubicBezTo>
                <a:close/>
                <a:moveTo>
                  <a:pt x="10438130" y="2759421"/>
                </a:moveTo>
                <a:cubicBezTo>
                  <a:pt x="10408285" y="2737196"/>
                  <a:pt x="10387965" y="2794981"/>
                  <a:pt x="10424795" y="2796251"/>
                </a:cubicBezTo>
                <a:cubicBezTo>
                  <a:pt x="10443845" y="2797521"/>
                  <a:pt x="10453370" y="2770851"/>
                  <a:pt x="10438130" y="2759421"/>
                </a:cubicBezTo>
                <a:close/>
                <a:moveTo>
                  <a:pt x="10415905" y="3010246"/>
                </a:moveTo>
                <a:cubicBezTo>
                  <a:pt x="10400665" y="3024216"/>
                  <a:pt x="10422890" y="3047711"/>
                  <a:pt x="10438130" y="3033106"/>
                </a:cubicBezTo>
                <a:cubicBezTo>
                  <a:pt x="10452735" y="3019771"/>
                  <a:pt x="10430510" y="2996276"/>
                  <a:pt x="10415905" y="3010246"/>
                </a:cubicBezTo>
                <a:close/>
                <a:moveTo>
                  <a:pt x="10391140" y="2851496"/>
                </a:moveTo>
                <a:cubicBezTo>
                  <a:pt x="10408285" y="2830541"/>
                  <a:pt x="10374630" y="2804506"/>
                  <a:pt x="10358755" y="2825461"/>
                </a:cubicBezTo>
                <a:cubicBezTo>
                  <a:pt x="10340975" y="2846416"/>
                  <a:pt x="10374630" y="2873086"/>
                  <a:pt x="10391140" y="2851496"/>
                </a:cubicBezTo>
                <a:close/>
                <a:moveTo>
                  <a:pt x="10325100" y="3099781"/>
                </a:moveTo>
                <a:cubicBezTo>
                  <a:pt x="10310495" y="3114386"/>
                  <a:pt x="10333355" y="3136611"/>
                  <a:pt x="10347960" y="3122006"/>
                </a:cubicBezTo>
                <a:cubicBezTo>
                  <a:pt x="10362565" y="3108036"/>
                  <a:pt x="10339070" y="3085176"/>
                  <a:pt x="10325100" y="3099781"/>
                </a:cubicBezTo>
                <a:close/>
                <a:moveTo>
                  <a:pt x="10324465" y="2976591"/>
                </a:moveTo>
                <a:cubicBezTo>
                  <a:pt x="10308590" y="2994371"/>
                  <a:pt x="10337165" y="3019136"/>
                  <a:pt x="10352405" y="3000721"/>
                </a:cubicBezTo>
                <a:cubicBezTo>
                  <a:pt x="10368280" y="2982941"/>
                  <a:pt x="10339705" y="2958176"/>
                  <a:pt x="10324465" y="2976591"/>
                </a:cubicBezTo>
                <a:close/>
                <a:moveTo>
                  <a:pt x="10420985" y="2868641"/>
                </a:moveTo>
                <a:cubicBezTo>
                  <a:pt x="10404475" y="2885786"/>
                  <a:pt x="10431780" y="2911186"/>
                  <a:pt x="10447655" y="2893406"/>
                </a:cubicBezTo>
                <a:cubicBezTo>
                  <a:pt x="10464165" y="2876896"/>
                  <a:pt x="10436860" y="2851496"/>
                  <a:pt x="10420985" y="2868641"/>
                </a:cubicBezTo>
                <a:close/>
                <a:moveTo>
                  <a:pt x="10968990" y="2580351"/>
                </a:moveTo>
                <a:cubicBezTo>
                  <a:pt x="10951210" y="2591146"/>
                  <a:pt x="10968355" y="2618451"/>
                  <a:pt x="10985500" y="2607656"/>
                </a:cubicBezTo>
                <a:cubicBezTo>
                  <a:pt x="11003280" y="2596861"/>
                  <a:pt x="10986135" y="2569556"/>
                  <a:pt x="10968990" y="2580351"/>
                </a:cubicBezTo>
                <a:close/>
                <a:moveTo>
                  <a:pt x="10598785" y="2714336"/>
                </a:moveTo>
                <a:cubicBezTo>
                  <a:pt x="10582910" y="2697191"/>
                  <a:pt x="10555605" y="2723226"/>
                  <a:pt x="10572115" y="2739736"/>
                </a:cubicBezTo>
                <a:cubicBezTo>
                  <a:pt x="10588625" y="2757516"/>
                  <a:pt x="10615295" y="2731481"/>
                  <a:pt x="10598785" y="2714336"/>
                </a:cubicBezTo>
                <a:close/>
                <a:moveTo>
                  <a:pt x="10509885" y="2923886"/>
                </a:moveTo>
                <a:cubicBezTo>
                  <a:pt x="10494010" y="2937221"/>
                  <a:pt x="10515600" y="2961351"/>
                  <a:pt x="10530840" y="2947381"/>
                </a:cubicBezTo>
                <a:cubicBezTo>
                  <a:pt x="10546080" y="2934046"/>
                  <a:pt x="10525125" y="2909916"/>
                  <a:pt x="10509885" y="2923886"/>
                </a:cubicBezTo>
                <a:close/>
                <a:moveTo>
                  <a:pt x="10557510" y="2881976"/>
                </a:moveTo>
                <a:cubicBezTo>
                  <a:pt x="10541635" y="2895311"/>
                  <a:pt x="10562590" y="2920076"/>
                  <a:pt x="10578465" y="2906106"/>
                </a:cubicBezTo>
                <a:cubicBezTo>
                  <a:pt x="10594340" y="2892771"/>
                  <a:pt x="10572750" y="2868006"/>
                  <a:pt x="10557510" y="2881976"/>
                </a:cubicBezTo>
                <a:close/>
                <a:moveTo>
                  <a:pt x="10470515" y="2816571"/>
                </a:moveTo>
                <a:cubicBezTo>
                  <a:pt x="10454005" y="2833716"/>
                  <a:pt x="10480675" y="2859116"/>
                  <a:pt x="10497185" y="2841971"/>
                </a:cubicBezTo>
                <a:cubicBezTo>
                  <a:pt x="10513695" y="2824826"/>
                  <a:pt x="10487025" y="2798791"/>
                  <a:pt x="10470515" y="2816571"/>
                </a:cubicBezTo>
                <a:close/>
                <a:moveTo>
                  <a:pt x="10476230" y="2734656"/>
                </a:moveTo>
                <a:cubicBezTo>
                  <a:pt x="10494645" y="2735291"/>
                  <a:pt x="10504805" y="2709891"/>
                  <a:pt x="10489565" y="2697826"/>
                </a:cubicBezTo>
                <a:cubicBezTo>
                  <a:pt x="10460355" y="2674966"/>
                  <a:pt x="10438765" y="2732751"/>
                  <a:pt x="10476230" y="2734656"/>
                </a:cubicBezTo>
                <a:close/>
                <a:moveTo>
                  <a:pt x="10462260" y="2967066"/>
                </a:moveTo>
                <a:cubicBezTo>
                  <a:pt x="10447020" y="2981036"/>
                  <a:pt x="10468610" y="3004531"/>
                  <a:pt x="10483850" y="2990561"/>
                </a:cubicBezTo>
                <a:cubicBezTo>
                  <a:pt x="10499090" y="2976591"/>
                  <a:pt x="10477500" y="2952461"/>
                  <a:pt x="10462260" y="2967066"/>
                </a:cubicBezTo>
                <a:close/>
                <a:moveTo>
                  <a:pt x="6231255" y="5226396"/>
                </a:moveTo>
                <a:cubicBezTo>
                  <a:pt x="6192520" y="5257511"/>
                  <a:pt x="6242685" y="5317201"/>
                  <a:pt x="6280150" y="5284816"/>
                </a:cubicBezTo>
                <a:cubicBezTo>
                  <a:pt x="6318250" y="5254336"/>
                  <a:pt x="6268720" y="5194646"/>
                  <a:pt x="6231255" y="5226396"/>
                </a:cubicBezTo>
                <a:close/>
                <a:moveTo>
                  <a:pt x="1731010" y="5711536"/>
                </a:moveTo>
                <a:cubicBezTo>
                  <a:pt x="1739900" y="5750271"/>
                  <a:pt x="1800860" y="5735666"/>
                  <a:pt x="1790700" y="5696931"/>
                </a:cubicBezTo>
                <a:cubicBezTo>
                  <a:pt x="1781810" y="5658196"/>
                  <a:pt x="1720850" y="5673436"/>
                  <a:pt x="1731010" y="5711536"/>
                </a:cubicBezTo>
                <a:close/>
                <a:moveTo>
                  <a:pt x="1766570" y="5559771"/>
                </a:moveTo>
                <a:cubicBezTo>
                  <a:pt x="1752600" y="5561676"/>
                  <a:pt x="1743075" y="5575011"/>
                  <a:pt x="1744980" y="5588981"/>
                </a:cubicBezTo>
                <a:cubicBezTo>
                  <a:pt x="1746885" y="5602951"/>
                  <a:pt x="1760855" y="5612476"/>
                  <a:pt x="1774190" y="5610571"/>
                </a:cubicBezTo>
                <a:lnTo>
                  <a:pt x="1774190" y="5610571"/>
                </a:lnTo>
                <a:cubicBezTo>
                  <a:pt x="1807845" y="5606126"/>
                  <a:pt x="1799590" y="5554056"/>
                  <a:pt x="1766570" y="5559771"/>
                </a:cubicBezTo>
                <a:close/>
                <a:moveTo>
                  <a:pt x="1809750" y="5635971"/>
                </a:moveTo>
                <a:cubicBezTo>
                  <a:pt x="1803400" y="5599776"/>
                  <a:pt x="1746885" y="5611206"/>
                  <a:pt x="1754505" y="5647401"/>
                </a:cubicBezTo>
                <a:cubicBezTo>
                  <a:pt x="1761490" y="5683596"/>
                  <a:pt x="1817370" y="5672166"/>
                  <a:pt x="1809750" y="5635971"/>
                </a:cubicBezTo>
                <a:close/>
                <a:moveTo>
                  <a:pt x="1828165" y="5423881"/>
                </a:moveTo>
                <a:cubicBezTo>
                  <a:pt x="1833245" y="5447376"/>
                  <a:pt x="1869440" y="5438486"/>
                  <a:pt x="1863725" y="5415626"/>
                </a:cubicBezTo>
                <a:cubicBezTo>
                  <a:pt x="1858645" y="5392131"/>
                  <a:pt x="1822450" y="5401021"/>
                  <a:pt x="1828165" y="5423881"/>
                </a:cubicBezTo>
                <a:close/>
                <a:moveTo>
                  <a:pt x="1885315" y="5456266"/>
                </a:moveTo>
                <a:cubicBezTo>
                  <a:pt x="1863090" y="5406101"/>
                  <a:pt x="1814195" y="5481031"/>
                  <a:pt x="1869440" y="5481031"/>
                </a:cubicBezTo>
                <a:cubicBezTo>
                  <a:pt x="1880235" y="5478491"/>
                  <a:pt x="1887855" y="5467696"/>
                  <a:pt x="1885315" y="5456266"/>
                </a:cubicBezTo>
                <a:close/>
                <a:moveTo>
                  <a:pt x="1879600" y="5389591"/>
                </a:moveTo>
                <a:cubicBezTo>
                  <a:pt x="1903095" y="5389591"/>
                  <a:pt x="1898015" y="5352126"/>
                  <a:pt x="1875155" y="5358476"/>
                </a:cubicBezTo>
                <a:cubicBezTo>
                  <a:pt x="1857375" y="5362921"/>
                  <a:pt x="1861820" y="5390226"/>
                  <a:pt x="1879600" y="5389591"/>
                </a:cubicBezTo>
                <a:close/>
                <a:moveTo>
                  <a:pt x="1869440" y="5481031"/>
                </a:moveTo>
                <a:cubicBezTo>
                  <a:pt x="1869440" y="5481031"/>
                  <a:pt x="1869440" y="5481031"/>
                  <a:pt x="1869440" y="5481031"/>
                </a:cubicBezTo>
                <a:cubicBezTo>
                  <a:pt x="1869440" y="5481031"/>
                  <a:pt x="1869440" y="5481031"/>
                  <a:pt x="1869440" y="5481031"/>
                </a:cubicBezTo>
                <a:lnTo>
                  <a:pt x="1869440" y="5481031"/>
                </a:lnTo>
                <a:close/>
                <a:moveTo>
                  <a:pt x="1830705" y="5519131"/>
                </a:moveTo>
                <a:cubicBezTo>
                  <a:pt x="1826260" y="5489286"/>
                  <a:pt x="1779270" y="5497541"/>
                  <a:pt x="1784985" y="5527386"/>
                </a:cubicBezTo>
                <a:cubicBezTo>
                  <a:pt x="1790065" y="5556596"/>
                  <a:pt x="1836420" y="5548341"/>
                  <a:pt x="1830705" y="5519131"/>
                </a:cubicBezTo>
                <a:close/>
                <a:moveTo>
                  <a:pt x="1818005" y="5406736"/>
                </a:moveTo>
                <a:cubicBezTo>
                  <a:pt x="1841500" y="5406736"/>
                  <a:pt x="1836420" y="5369271"/>
                  <a:pt x="1813560" y="5375621"/>
                </a:cubicBezTo>
                <a:cubicBezTo>
                  <a:pt x="1796415" y="5379431"/>
                  <a:pt x="1800225" y="5407371"/>
                  <a:pt x="1818005" y="5406736"/>
                </a:cubicBezTo>
                <a:close/>
                <a:moveTo>
                  <a:pt x="1644650" y="5694391"/>
                </a:moveTo>
                <a:cubicBezTo>
                  <a:pt x="1604645" y="5698201"/>
                  <a:pt x="1612265" y="5761066"/>
                  <a:pt x="1651635" y="5755351"/>
                </a:cubicBezTo>
                <a:cubicBezTo>
                  <a:pt x="1691640" y="5751541"/>
                  <a:pt x="1684020" y="5689311"/>
                  <a:pt x="1644650" y="5694391"/>
                </a:cubicBezTo>
                <a:close/>
                <a:moveTo>
                  <a:pt x="1703705" y="5468331"/>
                </a:moveTo>
                <a:cubicBezTo>
                  <a:pt x="1677035" y="5472141"/>
                  <a:pt x="1683385" y="5514051"/>
                  <a:pt x="1710055" y="5509606"/>
                </a:cubicBezTo>
                <a:cubicBezTo>
                  <a:pt x="1736090" y="5505796"/>
                  <a:pt x="1730375" y="5463886"/>
                  <a:pt x="1703705" y="5468331"/>
                </a:cubicBezTo>
                <a:close/>
                <a:moveTo>
                  <a:pt x="1705610" y="5655021"/>
                </a:moveTo>
                <a:cubicBezTo>
                  <a:pt x="1702435" y="5618826"/>
                  <a:pt x="1645285" y="5624541"/>
                  <a:pt x="1649730" y="5660736"/>
                </a:cubicBezTo>
                <a:cubicBezTo>
                  <a:pt x="1652905" y="5697566"/>
                  <a:pt x="1710055" y="5691216"/>
                  <a:pt x="1705610" y="5655021"/>
                </a:cubicBezTo>
                <a:close/>
                <a:moveTo>
                  <a:pt x="1894840" y="5529291"/>
                </a:moveTo>
                <a:cubicBezTo>
                  <a:pt x="1928495" y="5529291"/>
                  <a:pt x="1922780" y="5475951"/>
                  <a:pt x="1889760" y="5483571"/>
                </a:cubicBezTo>
                <a:cubicBezTo>
                  <a:pt x="1863090" y="5488016"/>
                  <a:pt x="1868170" y="5529926"/>
                  <a:pt x="1894840" y="5529291"/>
                </a:cubicBezTo>
                <a:close/>
                <a:moveTo>
                  <a:pt x="1717040" y="5512781"/>
                </a:moveTo>
                <a:cubicBezTo>
                  <a:pt x="1687195" y="5515956"/>
                  <a:pt x="1692910" y="5563581"/>
                  <a:pt x="1722755" y="5559136"/>
                </a:cubicBezTo>
                <a:cubicBezTo>
                  <a:pt x="1752600" y="5555961"/>
                  <a:pt x="1746885" y="5508971"/>
                  <a:pt x="1717040" y="5512781"/>
                </a:cubicBezTo>
                <a:close/>
                <a:moveTo>
                  <a:pt x="1782445" y="5455631"/>
                </a:moveTo>
                <a:cubicBezTo>
                  <a:pt x="1755775" y="5460076"/>
                  <a:pt x="1763395" y="5501986"/>
                  <a:pt x="1790065" y="5496271"/>
                </a:cubicBezTo>
                <a:cubicBezTo>
                  <a:pt x="1816100" y="5491826"/>
                  <a:pt x="1808480" y="5450551"/>
                  <a:pt x="1782445" y="5455631"/>
                </a:cubicBezTo>
                <a:close/>
                <a:moveTo>
                  <a:pt x="1756410" y="5422611"/>
                </a:moveTo>
                <a:cubicBezTo>
                  <a:pt x="1758950" y="5422611"/>
                  <a:pt x="1762125" y="5421976"/>
                  <a:pt x="1764030" y="5420706"/>
                </a:cubicBezTo>
                <a:cubicBezTo>
                  <a:pt x="1748790" y="5431501"/>
                  <a:pt x="1760855" y="5457536"/>
                  <a:pt x="1779270" y="5453091"/>
                </a:cubicBezTo>
                <a:cubicBezTo>
                  <a:pt x="1806575" y="5447376"/>
                  <a:pt x="1790700" y="5405466"/>
                  <a:pt x="1766570" y="5419436"/>
                </a:cubicBezTo>
                <a:cubicBezTo>
                  <a:pt x="1779905" y="5409276"/>
                  <a:pt x="1768475" y="5387051"/>
                  <a:pt x="1752600" y="5391496"/>
                </a:cubicBezTo>
                <a:cubicBezTo>
                  <a:pt x="1734820" y="5395941"/>
                  <a:pt x="1738630" y="5423246"/>
                  <a:pt x="1756410" y="5422611"/>
                </a:cubicBezTo>
                <a:close/>
                <a:moveTo>
                  <a:pt x="1938655" y="5422611"/>
                </a:moveTo>
                <a:cubicBezTo>
                  <a:pt x="1911985" y="5428326"/>
                  <a:pt x="1922145" y="5469601"/>
                  <a:pt x="1948180" y="5463251"/>
                </a:cubicBezTo>
                <a:cubicBezTo>
                  <a:pt x="1974215" y="5457536"/>
                  <a:pt x="1964690" y="5416261"/>
                  <a:pt x="1938655" y="5422611"/>
                </a:cubicBezTo>
                <a:close/>
                <a:moveTo>
                  <a:pt x="2124075" y="5364191"/>
                </a:moveTo>
                <a:cubicBezTo>
                  <a:pt x="2151380" y="5364191"/>
                  <a:pt x="2145030" y="5320376"/>
                  <a:pt x="2118995" y="5327996"/>
                </a:cubicBezTo>
                <a:cubicBezTo>
                  <a:pt x="2098675" y="5333711"/>
                  <a:pt x="2103755" y="5364826"/>
                  <a:pt x="2124075" y="5364191"/>
                </a:cubicBezTo>
                <a:close/>
                <a:moveTo>
                  <a:pt x="2078990" y="5406736"/>
                </a:moveTo>
                <a:cubicBezTo>
                  <a:pt x="2086610" y="5432771"/>
                  <a:pt x="2127250" y="5420706"/>
                  <a:pt x="2118995" y="5394671"/>
                </a:cubicBezTo>
                <a:cubicBezTo>
                  <a:pt x="2110740" y="5369271"/>
                  <a:pt x="2070735" y="5381336"/>
                  <a:pt x="2078990" y="5406736"/>
                </a:cubicBezTo>
                <a:close/>
                <a:moveTo>
                  <a:pt x="2122805" y="5317836"/>
                </a:moveTo>
                <a:cubicBezTo>
                  <a:pt x="2146300" y="5317836"/>
                  <a:pt x="2140585" y="5279736"/>
                  <a:pt x="2117725" y="5286721"/>
                </a:cubicBezTo>
                <a:cubicBezTo>
                  <a:pt x="2101215" y="5291801"/>
                  <a:pt x="2105660" y="5318471"/>
                  <a:pt x="2122805" y="5317836"/>
                </a:cubicBezTo>
                <a:close/>
                <a:moveTo>
                  <a:pt x="2183765" y="5298786"/>
                </a:moveTo>
                <a:cubicBezTo>
                  <a:pt x="2207895" y="5298786"/>
                  <a:pt x="2201545" y="5260686"/>
                  <a:pt x="2178685" y="5267671"/>
                </a:cubicBezTo>
                <a:cubicBezTo>
                  <a:pt x="2161540" y="5272751"/>
                  <a:pt x="2165985" y="5299421"/>
                  <a:pt x="2183765" y="5298786"/>
                </a:cubicBezTo>
                <a:close/>
                <a:moveTo>
                  <a:pt x="2062480" y="5336251"/>
                </a:moveTo>
                <a:cubicBezTo>
                  <a:pt x="2063750" y="5336251"/>
                  <a:pt x="2065655" y="5336251"/>
                  <a:pt x="2066925" y="5335616"/>
                </a:cubicBezTo>
                <a:lnTo>
                  <a:pt x="2066925" y="5335616"/>
                </a:lnTo>
                <a:cubicBezTo>
                  <a:pt x="2086610" y="5329901"/>
                  <a:pt x="2077085" y="5298786"/>
                  <a:pt x="2057400" y="5305136"/>
                </a:cubicBezTo>
                <a:cubicBezTo>
                  <a:pt x="2040255" y="5310216"/>
                  <a:pt x="2044700" y="5336886"/>
                  <a:pt x="2062480" y="5336251"/>
                </a:cubicBezTo>
                <a:close/>
                <a:moveTo>
                  <a:pt x="2236470" y="5315296"/>
                </a:moveTo>
                <a:cubicBezTo>
                  <a:pt x="2301240" y="5354031"/>
                  <a:pt x="2322830" y="5234651"/>
                  <a:pt x="2249170" y="5247986"/>
                </a:cubicBezTo>
                <a:cubicBezTo>
                  <a:pt x="2239645" y="5244176"/>
                  <a:pt x="2228850" y="5252431"/>
                  <a:pt x="2228215" y="5261956"/>
                </a:cubicBezTo>
                <a:cubicBezTo>
                  <a:pt x="2215515" y="5279101"/>
                  <a:pt x="2219325" y="5303231"/>
                  <a:pt x="2236470" y="5315296"/>
                </a:cubicBezTo>
                <a:close/>
                <a:moveTo>
                  <a:pt x="2186940" y="5307041"/>
                </a:moveTo>
                <a:cubicBezTo>
                  <a:pt x="2164080" y="5314026"/>
                  <a:pt x="2175510" y="5349586"/>
                  <a:pt x="2198370" y="5341966"/>
                </a:cubicBezTo>
                <a:cubicBezTo>
                  <a:pt x="2221230" y="5334981"/>
                  <a:pt x="2209800" y="5299421"/>
                  <a:pt x="2186940" y="5307041"/>
                </a:cubicBezTo>
                <a:close/>
                <a:moveTo>
                  <a:pt x="1691005" y="5437851"/>
                </a:moveTo>
                <a:cubicBezTo>
                  <a:pt x="1680210" y="5450551"/>
                  <a:pt x="1692910" y="5470871"/>
                  <a:pt x="1708785" y="5467061"/>
                </a:cubicBezTo>
                <a:cubicBezTo>
                  <a:pt x="1728470" y="5463886"/>
                  <a:pt x="1727835" y="5434041"/>
                  <a:pt x="1708785" y="5430866"/>
                </a:cubicBezTo>
                <a:cubicBezTo>
                  <a:pt x="1717040" y="5419436"/>
                  <a:pt x="1704975" y="5402926"/>
                  <a:pt x="1691640" y="5406736"/>
                </a:cubicBezTo>
                <a:cubicBezTo>
                  <a:pt x="1675765" y="5410546"/>
                  <a:pt x="1675765" y="5434676"/>
                  <a:pt x="1691005" y="5437851"/>
                </a:cubicBezTo>
                <a:close/>
                <a:moveTo>
                  <a:pt x="1915795" y="5421341"/>
                </a:moveTo>
                <a:cubicBezTo>
                  <a:pt x="1942465" y="5421341"/>
                  <a:pt x="1937385" y="5378796"/>
                  <a:pt x="1911350" y="5385146"/>
                </a:cubicBezTo>
                <a:cubicBezTo>
                  <a:pt x="1891030" y="5389591"/>
                  <a:pt x="1894840" y="5421976"/>
                  <a:pt x="1915795" y="5421341"/>
                </a:cubicBezTo>
                <a:close/>
                <a:moveTo>
                  <a:pt x="2054860" y="5384511"/>
                </a:moveTo>
                <a:cubicBezTo>
                  <a:pt x="2082165" y="5384511"/>
                  <a:pt x="2075815" y="5341331"/>
                  <a:pt x="2049780" y="5348316"/>
                </a:cubicBezTo>
                <a:cubicBezTo>
                  <a:pt x="2030095" y="5353396"/>
                  <a:pt x="2034540" y="5385146"/>
                  <a:pt x="2054860" y="5384511"/>
                </a:cubicBezTo>
                <a:close/>
                <a:moveTo>
                  <a:pt x="1987550" y="5507066"/>
                </a:moveTo>
                <a:cubicBezTo>
                  <a:pt x="2016760" y="5499446"/>
                  <a:pt x="2004695" y="5453726"/>
                  <a:pt x="1975485" y="5461981"/>
                </a:cubicBezTo>
                <a:cubicBezTo>
                  <a:pt x="1945640" y="5469601"/>
                  <a:pt x="1958340" y="5515321"/>
                  <a:pt x="1987550" y="5507066"/>
                </a:cubicBezTo>
                <a:close/>
                <a:moveTo>
                  <a:pt x="1940560" y="5372446"/>
                </a:moveTo>
                <a:cubicBezTo>
                  <a:pt x="1964055" y="5372446"/>
                  <a:pt x="1958975" y="5334981"/>
                  <a:pt x="1936115" y="5341331"/>
                </a:cubicBezTo>
                <a:cubicBezTo>
                  <a:pt x="1918970" y="5345776"/>
                  <a:pt x="1922780" y="5373081"/>
                  <a:pt x="1940560" y="5372446"/>
                </a:cubicBezTo>
                <a:close/>
                <a:moveTo>
                  <a:pt x="2000885" y="5428326"/>
                </a:moveTo>
                <a:cubicBezTo>
                  <a:pt x="2007870" y="5454361"/>
                  <a:pt x="2048510" y="5443566"/>
                  <a:pt x="2040890" y="5417531"/>
                </a:cubicBezTo>
                <a:cubicBezTo>
                  <a:pt x="2034540" y="5391496"/>
                  <a:pt x="1993900" y="5402926"/>
                  <a:pt x="2000885" y="5428326"/>
                </a:cubicBezTo>
                <a:close/>
                <a:moveTo>
                  <a:pt x="1985645" y="5403561"/>
                </a:moveTo>
                <a:cubicBezTo>
                  <a:pt x="2012315" y="5403561"/>
                  <a:pt x="2007235" y="5360381"/>
                  <a:pt x="1981200" y="5367366"/>
                </a:cubicBezTo>
                <a:cubicBezTo>
                  <a:pt x="1960245" y="5372446"/>
                  <a:pt x="1965325" y="5404196"/>
                  <a:pt x="1985645" y="5403561"/>
                </a:cubicBezTo>
                <a:close/>
                <a:moveTo>
                  <a:pt x="2001520" y="5354666"/>
                </a:moveTo>
                <a:cubicBezTo>
                  <a:pt x="2025015" y="5354666"/>
                  <a:pt x="2019935" y="5317201"/>
                  <a:pt x="1997075" y="5323551"/>
                </a:cubicBezTo>
                <a:cubicBezTo>
                  <a:pt x="1979930" y="5327996"/>
                  <a:pt x="1983740" y="5355301"/>
                  <a:pt x="2001520" y="5354666"/>
                </a:cubicBezTo>
                <a:close/>
                <a:moveTo>
                  <a:pt x="1445895" y="5514686"/>
                </a:moveTo>
                <a:cubicBezTo>
                  <a:pt x="1446530" y="5519766"/>
                  <a:pt x="1448435" y="5524211"/>
                  <a:pt x="1451610" y="5527386"/>
                </a:cubicBezTo>
                <a:cubicBezTo>
                  <a:pt x="1423035" y="5529926"/>
                  <a:pt x="1424940" y="5573741"/>
                  <a:pt x="1453515" y="5573741"/>
                </a:cubicBezTo>
                <a:cubicBezTo>
                  <a:pt x="1473835" y="5575011"/>
                  <a:pt x="1485265" y="5547071"/>
                  <a:pt x="1470025" y="5533736"/>
                </a:cubicBezTo>
                <a:cubicBezTo>
                  <a:pt x="1485265" y="5531831"/>
                  <a:pt x="1492885" y="5512781"/>
                  <a:pt x="1483360" y="5500716"/>
                </a:cubicBezTo>
                <a:cubicBezTo>
                  <a:pt x="1496060" y="5508336"/>
                  <a:pt x="1512570" y="5496906"/>
                  <a:pt x="1510665" y="5482936"/>
                </a:cubicBezTo>
                <a:cubicBezTo>
                  <a:pt x="1550670" y="5474046"/>
                  <a:pt x="1503045" y="5426421"/>
                  <a:pt x="1494155" y="5467061"/>
                </a:cubicBezTo>
                <a:cubicBezTo>
                  <a:pt x="1478915" y="5465156"/>
                  <a:pt x="1468120" y="5483571"/>
                  <a:pt x="1477645" y="5495636"/>
                </a:cubicBezTo>
                <a:cubicBezTo>
                  <a:pt x="1474470" y="5493731"/>
                  <a:pt x="1470025" y="5492461"/>
                  <a:pt x="1465580" y="5492461"/>
                </a:cubicBezTo>
                <a:cubicBezTo>
                  <a:pt x="1454150" y="5493731"/>
                  <a:pt x="1445260" y="5503256"/>
                  <a:pt x="1445895" y="5514686"/>
                </a:cubicBezTo>
                <a:close/>
                <a:moveTo>
                  <a:pt x="367030" y="5209886"/>
                </a:moveTo>
                <a:cubicBezTo>
                  <a:pt x="340995" y="5194646"/>
                  <a:pt x="317500" y="5236556"/>
                  <a:pt x="344170" y="5250526"/>
                </a:cubicBezTo>
                <a:cubicBezTo>
                  <a:pt x="370840" y="5265766"/>
                  <a:pt x="393700" y="5223856"/>
                  <a:pt x="367030" y="5209886"/>
                </a:cubicBezTo>
                <a:close/>
                <a:moveTo>
                  <a:pt x="325120" y="5117811"/>
                </a:moveTo>
                <a:cubicBezTo>
                  <a:pt x="350520" y="5139401"/>
                  <a:pt x="384175" y="5098761"/>
                  <a:pt x="357505" y="5077806"/>
                </a:cubicBezTo>
                <a:cubicBezTo>
                  <a:pt x="332105" y="5056216"/>
                  <a:pt x="299085" y="5096856"/>
                  <a:pt x="325120" y="5117811"/>
                </a:cubicBezTo>
                <a:close/>
                <a:moveTo>
                  <a:pt x="351155" y="5380701"/>
                </a:moveTo>
                <a:cubicBezTo>
                  <a:pt x="376555" y="5389591"/>
                  <a:pt x="389890" y="5348951"/>
                  <a:pt x="363855" y="5341331"/>
                </a:cubicBezTo>
                <a:cubicBezTo>
                  <a:pt x="338455" y="5332441"/>
                  <a:pt x="325120" y="5373081"/>
                  <a:pt x="351155" y="5380701"/>
                </a:cubicBezTo>
                <a:close/>
                <a:moveTo>
                  <a:pt x="247015" y="5018751"/>
                </a:moveTo>
                <a:cubicBezTo>
                  <a:pt x="224790" y="5043516"/>
                  <a:pt x="264795" y="5077806"/>
                  <a:pt x="286385" y="5051771"/>
                </a:cubicBezTo>
                <a:cubicBezTo>
                  <a:pt x="308610" y="5027006"/>
                  <a:pt x="268605" y="4992716"/>
                  <a:pt x="247015" y="5018751"/>
                </a:cubicBezTo>
                <a:close/>
                <a:moveTo>
                  <a:pt x="1648460" y="5599141"/>
                </a:moveTo>
                <a:cubicBezTo>
                  <a:pt x="1651000" y="5632796"/>
                  <a:pt x="1703070" y="5627716"/>
                  <a:pt x="1699895" y="5594696"/>
                </a:cubicBezTo>
                <a:cubicBezTo>
                  <a:pt x="1697355" y="5561676"/>
                  <a:pt x="1645285" y="5566121"/>
                  <a:pt x="1648460" y="5599141"/>
                </a:cubicBezTo>
                <a:close/>
                <a:moveTo>
                  <a:pt x="445135" y="5251796"/>
                </a:moveTo>
                <a:cubicBezTo>
                  <a:pt x="418465" y="5237191"/>
                  <a:pt x="396875" y="5279736"/>
                  <a:pt x="423545" y="5293071"/>
                </a:cubicBezTo>
                <a:cubicBezTo>
                  <a:pt x="449580" y="5307041"/>
                  <a:pt x="471805" y="5265131"/>
                  <a:pt x="445135" y="5251796"/>
                </a:cubicBezTo>
                <a:close/>
                <a:moveTo>
                  <a:pt x="440055" y="5365461"/>
                </a:moveTo>
                <a:cubicBezTo>
                  <a:pt x="414020" y="5357206"/>
                  <a:pt x="401955" y="5397846"/>
                  <a:pt x="427990" y="5405466"/>
                </a:cubicBezTo>
                <a:cubicBezTo>
                  <a:pt x="454025" y="5413086"/>
                  <a:pt x="466725" y="5372446"/>
                  <a:pt x="440055" y="5365461"/>
                </a:cubicBezTo>
                <a:close/>
                <a:moveTo>
                  <a:pt x="433705" y="5138131"/>
                </a:moveTo>
                <a:cubicBezTo>
                  <a:pt x="407670" y="5117176"/>
                  <a:pt x="375285" y="5159086"/>
                  <a:pt x="401955" y="5178771"/>
                </a:cubicBezTo>
                <a:cubicBezTo>
                  <a:pt x="427990" y="5199726"/>
                  <a:pt x="460375" y="5158451"/>
                  <a:pt x="433705" y="5138131"/>
                </a:cubicBezTo>
                <a:close/>
                <a:moveTo>
                  <a:pt x="338455" y="4981286"/>
                </a:moveTo>
                <a:cubicBezTo>
                  <a:pt x="365760" y="4957156"/>
                  <a:pt x="327660" y="4914611"/>
                  <a:pt x="300990" y="4939376"/>
                </a:cubicBezTo>
                <a:cubicBezTo>
                  <a:pt x="273050" y="4962871"/>
                  <a:pt x="311150" y="5006051"/>
                  <a:pt x="338455" y="4981286"/>
                </a:cubicBezTo>
                <a:close/>
                <a:moveTo>
                  <a:pt x="166370" y="4477096"/>
                </a:moveTo>
                <a:cubicBezTo>
                  <a:pt x="204470" y="4457411"/>
                  <a:pt x="172720" y="4397721"/>
                  <a:pt x="135255" y="4418676"/>
                </a:cubicBezTo>
                <a:cubicBezTo>
                  <a:pt x="96520" y="4438361"/>
                  <a:pt x="128905" y="4498051"/>
                  <a:pt x="166370" y="4477096"/>
                </a:cubicBezTo>
                <a:close/>
                <a:moveTo>
                  <a:pt x="227965" y="4475826"/>
                </a:moveTo>
                <a:cubicBezTo>
                  <a:pt x="208915" y="4482811"/>
                  <a:pt x="200660" y="4505036"/>
                  <a:pt x="208280" y="4523451"/>
                </a:cubicBezTo>
                <a:cubicBezTo>
                  <a:pt x="183515" y="4522181"/>
                  <a:pt x="166370" y="4550756"/>
                  <a:pt x="178435" y="4572346"/>
                </a:cubicBezTo>
                <a:cubicBezTo>
                  <a:pt x="196850" y="4608541"/>
                  <a:pt x="254000" y="4581871"/>
                  <a:pt x="238125" y="4545041"/>
                </a:cubicBezTo>
                <a:cubicBezTo>
                  <a:pt x="254635" y="4546946"/>
                  <a:pt x="271145" y="4534246"/>
                  <a:pt x="274955" y="4518371"/>
                </a:cubicBezTo>
                <a:cubicBezTo>
                  <a:pt x="354330" y="4484716"/>
                  <a:pt x="251460" y="4393911"/>
                  <a:pt x="227965" y="4475826"/>
                </a:cubicBezTo>
                <a:close/>
                <a:moveTo>
                  <a:pt x="76200" y="4310726"/>
                </a:moveTo>
                <a:cubicBezTo>
                  <a:pt x="38100" y="4331046"/>
                  <a:pt x="71120" y="4390101"/>
                  <a:pt x="108585" y="4368511"/>
                </a:cubicBezTo>
                <a:cubicBezTo>
                  <a:pt x="146050" y="4348191"/>
                  <a:pt x="113030" y="4289136"/>
                  <a:pt x="76200" y="4310726"/>
                </a:cubicBezTo>
                <a:close/>
                <a:moveTo>
                  <a:pt x="212090" y="4695536"/>
                </a:moveTo>
                <a:cubicBezTo>
                  <a:pt x="178435" y="4717126"/>
                  <a:pt x="213995" y="4769196"/>
                  <a:pt x="246380" y="4746336"/>
                </a:cubicBezTo>
                <a:cubicBezTo>
                  <a:pt x="279400" y="4724746"/>
                  <a:pt x="244475" y="4672676"/>
                  <a:pt x="212090" y="4695536"/>
                </a:cubicBezTo>
                <a:close/>
                <a:moveTo>
                  <a:pt x="316865" y="4740621"/>
                </a:moveTo>
                <a:cubicBezTo>
                  <a:pt x="298450" y="4746336"/>
                  <a:pt x="288925" y="4767926"/>
                  <a:pt x="296545" y="4785071"/>
                </a:cubicBezTo>
                <a:cubicBezTo>
                  <a:pt x="271780" y="4781261"/>
                  <a:pt x="252730" y="4812376"/>
                  <a:pt x="267970" y="4832696"/>
                </a:cubicBezTo>
                <a:cubicBezTo>
                  <a:pt x="287655" y="4862541"/>
                  <a:pt x="335280" y="4837141"/>
                  <a:pt x="321945" y="4804756"/>
                </a:cubicBezTo>
                <a:cubicBezTo>
                  <a:pt x="337185" y="4807296"/>
                  <a:pt x="353695" y="4797136"/>
                  <a:pt x="358140" y="4783166"/>
                </a:cubicBezTo>
                <a:cubicBezTo>
                  <a:pt x="436245" y="4781261"/>
                  <a:pt x="407670" y="4672041"/>
                  <a:pt x="342900" y="4713316"/>
                </a:cubicBezTo>
                <a:cubicBezTo>
                  <a:pt x="330200" y="4716491"/>
                  <a:pt x="319405" y="4727921"/>
                  <a:pt x="316865" y="4740621"/>
                </a:cubicBezTo>
                <a:close/>
                <a:moveTo>
                  <a:pt x="379730" y="4846666"/>
                </a:moveTo>
                <a:cubicBezTo>
                  <a:pt x="365125" y="4850476"/>
                  <a:pt x="355600" y="4864446"/>
                  <a:pt x="356235" y="4878416"/>
                </a:cubicBezTo>
                <a:cubicBezTo>
                  <a:pt x="284480" y="4899371"/>
                  <a:pt x="372110" y="4983826"/>
                  <a:pt x="389890" y="4911436"/>
                </a:cubicBezTo>
                <a:cubicBezTo>
                  <a:pt x="396240" y="4911436"/>
                  <a:pt x="402590" y="4909531"/>
                  <a:pt x="407670" y="4905721"/>
                </a:cubicBezTo>
                <a:cubicBezTo>
                  <a:pt x="438150" y="4920326"/>
                  <a:pt x="472440" y="4886036"/>
                  <a:pt x="457835" y="4855556"/>
                </a:cubicBezTo>
                <a:cubicBezTo>
                  <a:pt x="445770" y="4827616"/>
                  <a:pt x="397510" y="4819996"/>
                  <a:pt x="379730" y="4846666"/>
                </a:cubicBezTo>
                <a:close/>
                <a:moveTo>
                  <a:pt x="281940" y="4596476"/>
                </a:moveTo>
                <a:cubicBezTo>
                  <a:pt x="267335" y="4602826"/>
                  <a:pt x="259080" y="4617431"/>
                  <a:pt x="260350" y="4632671"/>
                </a:cubicBezTo>
                <a:cubicBezTo>
                  <a:pt x="185420" y="4662516"/>
                  <a:pt x="287020" y="4744431"/>
                  <a:pt x="300355" y="4664421"/>
                </a:cubicBezTo>
                <a:cubicBezTo>
                  <a:pt x="310515" y="4663151"/>
                  <a:pt x="320040" y="4657436"/>
                  <a:pt x="325120" y="4649181"/>
                </a:cubicBezTo>
                <a:cubicBezTo>
                  <a:pt x="397510" y="4625051"/>
                  <a:pt x="318770" y="4529801"/>
                  <a:pt x="281940" y="4596476"/>
                </a:cubicBezTo>
                <a:close/>
                <a:moveTo>
                  <a:pt x="422910" y="4970491"/>
                </a:moveTo>
                <a:cubicBezTo>
                  <a:pt x="404495" y="4973031"/>
                  <a:pt x="392430" y="4993986"/>
                  <a:pt x="398780" y="5011131"/>
                </a:cubicBezTo>
                <a:cubicBezTo>
                  <a:pt x="372745" y="5002241"/>
                  <a:pt x="350520" y="5037801"/>
                  <a:pt x="370205" y="5057486"/>
                </a:cubicBezTo>
                <a:cubicBezTo>
                  <a:pt x="389890" y="5079076"/>
                  <a:pt x="426720" y="5056851"/>
                  <a:pt x="417830" y="5030181"/>
                </a:cubicBezTo>
                <a:cubicBezTo>
                  <a:pt x="429260" y="5033991"/>
                  <a:pt x="442595" y="5030816"/>
                  <a:pt x="450215" y="5021291"/>
                </a:cubicBezTo>
                <a:cubicBezTo>
                  <a:pt x="476250" y="5056851"/>
                  <a:pt x="534670" y="5021926"/>
                  <a:pt x="514985" y="4981921"/>
                </a:cubicBezTo>
                <a:cubicBezTo>
                  <a:pt x="497205" y="4948901"/>
                  <a:pt x="469900" y="4938106"/>
                  <a:pt x="435610" y="4954616"/>
                </a:cubicBezTo>
                <a:cubicBezTo>
                  <a:pt x="429895" y="4959061"/>
                  <a:pt x="425450" y="4964141"/>
                  <a:pt x="422910" y="4970491"/>
                </a:cubicBezTo>
                <a:close/>
                <a:moveTo>
                  <a:pt x="1424940" y="5691216"/>
                </a:moveTo>
                <a:cubicBezTo>
                  <a:pt x="1385570" y="5684866"/>
                  <a:pt x="1376680" y="5747096"/>
                  <a:pt x="1416050" y="5752176"/>
                </a:cubicBezTo>
                <a:cubicBezTo>
                  <a:pt x="1455420" y="5758526"/>
                  <a:pt x="1464310" y="5696931"/>
                  <a:pt x="1424940" y="5691216"/>
                </a:cubicBezTo>
                <a:close/>
                <a:moveTo>
                  <a:pt x="1504950" y="5602316"/>
                </a:moveTo>
                <a:cubicBezTo>
                  <a:pt x="1506855" y="5568661"/>
                  <a:pt x="1454785" y="5566121"/>
                  <a:pt x="1453515" y="5599776"/>
                </a:cubicBezTo>
                <a:cubicBezTo>
                  <a:pt x="1451610" y="5632796"/>
                  <a:pt x="1504315" y="5635971"/>
                  <a:pt x="1504950" y="5602316"/>
                </a:cubicBezTo>
                <a:close/>
                <a:moveTo>
                  <a:pt x="1468755" y="5631526"/>
                </a:moveTo>
                <a:cubicBezTo>
                  <a:pt x="1430655" y="5627716"/>
                  <a:pt x="1428115" y="5688041"/>
                  <a:pt x="1466215" y="5688041"/>
                </a:cubicBezTo>
                <a:cubicBezTo>
                  <a:pt x="1501140" y="5688676"/>
                  <a:pt x="1503680" y="5634066"/>
                  <a:pt x="1468755" y="5631526"/>
                </a:cubicBezTo>
                <a:close/>
                <a:moveTo>
                  <a:pt x="1626870" y="5520401"/>
                </a:moveTo>
                <a:cubicBezTo>
                  <a:pt x="1648460" y="5521036"/>
                  <a:pt x="1655445" y="5489286"/>
                  <a:pt x="1635760" y="5481031"/>
                </a:cubicBezTo>
                <a:cubicBezTo>
                  <a:pt x="1636395" y="5481031"/>
                  <a:pt x="1637030" y="5481031"/>
                  <a:pt x="1637665" y="5481031"/>
                </a:cubicBezTo>
                <a:lnTo>
                  <a:pt x="1637665" y="5481031"/>
                </a:lnTo>
                <a:cubicBezTo>
                  <a:pt x="1652905" y="5479126"/>
                  <a:pt x="1657985" y="5457536"/>
                  <a:pt x="1645920" y="5448646"/>
                </a:cubicBezTo>
                <a:cubicBezTo>
                  <a:pt x="1666240" y="5414356"/>
                  <a:pt x="1600200" y="5416261"/>
                  <a:pt x="1622425" y="5449281"/>
                </a:cubicBezTo>
                <a:cubicBezTo>
                  <a:pt x="1612900" y="5456901"/>
                  <a:pt x="1614805" y="5474046"/>
                  <a:pt x="1626235" y="5479126"/>
                </a:cubicBezTo>
                <a:cubicBezTo>
                  <a:pt x="1599565" y="5479126"/>
                  <a:pt x="1600835" y="5521036"/>
                  <a:pt x="1626870" y="5520401"/>
                </a:cubicBezTo>
                <a:close/>
                <a:moveTo>
                  <a:pt x="1551305" y="5602951"/>
                </a:moveTo>
                <a:cubicBezTo>
                  <a:pt x="1551305" y="5636606"/>
                  <a:pt x="1604010" y="5635336"/>
                  <a:pt x="1602740" y="5601681"/>
                </a:cubicBezTo>
                <a:cubicBezTo>
                  <a:pt x="1602740" y="5568661"/>
                  <a:pt x="1550035" y="5569296"/>
                  <a:pt x="1551305" y="5602951"/>
                </a:cubicBezTo>
                <a:close/>
                <a:moveTo>
                  <a:pt x="1629410" y="5522306"/>
                </a:moveTo>
                <a:cubicBezTo>
                  <a:pt x="1598930" y="5524211"/>
                  <a:pt x="1603375" y="5571836"/>
                  <a:pt x="1633220" y="5568661"/>
                </a:cubicBezTo>
                <a:cubicBezTo>
                  <a:pt x="1663700" y="5566756"/>
                  <a:pt x="1659890" y="5519131"/>
                  <a:pt x="1629410" y="5522306"/>
                </a:cubicBezTo>
                <a:close/>
                <a:moveTo>
                  <a:pt x="1533525" y="5761701"/>
                </a:moveTo>
                <a:cubicBezTo>
                  <a:pt x="1573530" y="5762971"/>
                  <a:pt x="1574165" y="5700106"/>
                  <a:pt x="1534160" y="5700106"/>
                </a:cubicBezTo>
                <a:cubicBezTo>
                  <a:pt x="1494790" y="5698836"/>
                  <a:pt x="1493520" y="5761701"/>
                  <a:pt x="1533525" y="5761701"/>
                </a:cubicBezTo>
                <a:close/>
                <a:moveTo>
                  <a:pt x="1366520" y="5617556"/>
                </a:moveTo>
                <a:cubicBezTo>
                  <a:pt x="1330325" y="5610571"/>
                  <a:pt x="1320165" y="5667086"/>
                  <a:pt x="1356360" y="5673436"/>
                </a:cubicBezTo>
                <a:cubicBezTo>
                  <a:pt x="1391920" y="5680421"/>
                  <a:pt x="1402715" y="5623906"/>
                  <a:pt x="1366520" y="5617556"/>
                </a:cubicBezTo>
                <a:close/>
                <a:moveTo>
                  <a:pt x="1034415" y="5536911"/>
                </a:moveTo>
                <a:cubicBezTo>
                  <a:pt x="1016635" y="5575011"/>
                  <a:pt x="1080770" y="5592791"/>
                  <a:pt x="1089660" y="5555961"/>
                </a:cubicBezTo>
                <a:cubicBezTo>
                  <a:pt x="1101725" y="5559771"/>
                  <a:pt x="1115695" y="5554056"/>
                  <a:pt x="1120775" y="5541991"/>
                </a:cubicBezTo>
                <a:cubicBezTo>
                  <a:pt x="1118235" y="5571836"/>
                  <a:pt x="1165860" y="5559136"/>
                  <a:pt x="1148715" y="5534371"/>
                </a:cubicBezTo>
                <a:cubicBezTo>
                  <a:pt x="1188720" y="5522306"/>
                  <a:pt x="1146810" y="5468966"/>
                  <a:pt x="1125855" y="5505161"/>
                </a:cubicBezTo>
                <a:cubicBezTo>
                  <a:pt x="1124585" y="5505796"/>
                  <a:pt x="1123950" y="5506431"/>
                  <a:pt x="1122680" y="5507066"/>
                </a:cubicBezTo>
                <a:cubicBezTo>
                  <a:pt x="1118870" y="5489921"/>
                  <a:pt x="1094105" y="5484206"/>
                  <a:pt x="1082675" y="5498176"/>
                </a:cubicBezTo>
                <a:cubicBezTo>
                  <a:pt x="1071245" y="5474681"/>
                  <a:pt x="1033780" y="5493096"/>
                  <a:pt x="1045845" y="5516591"/>
                </a:cubicBezTo>
                <a:cubicBezTo>
                  <a:pt x="1044575" y="5519131"/>
                  <a:pt x="1043940" y="5522306"/>
                  <a:pt x="1043940" y="5525481"/>
                </a:cubicBezTo>
                <a:cubicBezTo>
                  <a:pt x="1040130" y="5528656"/>
                  <a:pt x="1036955" y="5532466"/>
                  <a:pt x="1034415" y="5536911"/>
                </a:cubicBezTo>
                <a:close/>
                <a:moveTo>
                  <a:pt x="1122680" y="5535641"/>
                </a:moveTo>
                <a:cubicBezTo>
                  <a:pt x="1122680" y="5535641"/>
                  <a:pt x="1123315" y="5535641"/>
                  <a:pt x="1122680" y="5535641"/>
                </a:cubicBezTo>
                <a:cubicBezTo>
                  <a:pt x="1122680" y="5536276"/>
                  <a:pt x="1122680" y="5536276"/>
                  <a:pt x="1122680" y="5536276"/>
                </a:cubicBezTo>
                <a:cubicBezTo>
                  <a:pt x="1122680" y="5536276"/>
                  <a:pt x="1122680" y="5536276"/>
                  <a:pt x="1122680" y="5535641"/>
                </a:cubicBezTo>
                <a:close/>
                <a:moveTo>
                  <a:pt x="1571625" y="5635336"/>
                </a:moveTo>
                <a:cubicBezTo>
                  <a:pt x="1534795" y="5635336"/>
                  <a:pt x="1535430" y="5692486"/>
                  <a:pt x="1572260" y="5691851"/>
                </a:cubicBezTo>
                <a:cubicBezTo>
                  <a:pt x="1608455" y="5692486"/>
                  <a:pt x="1608455" y="5634701"/>
                  <a:pt x="1571625" y="5635336"/>
                </a:cubicBezTo>
                <a:close/>
                <a:moveTo>
                  <a:pt x="1172210" y="5651211"/>
                </a:moveTo>
                <a:cubicBezTo>
                  <a:pt x="1156970" y="5688041"/>
                  <a:pt x="1214755" y="5710901"/>
                  <a:pt x="1229360" y="5674071"/>
                </a:cubicBezTo>
                <a:cubicBezTo>
                  <a:pt x="1244600" y="5637241"/>
                  <a:pt x="1186180" y="5613746"/>
                  <a:pt x="1172210" y="5651211"/>
                </a:cubicBezTo>
                <a:close/>
                <a:moveTo>
                  <a:pt x="1170305" y="5543261"/>
                </a:moveTo>
                <a:cubicBezTo>
                  <a:pt x="1166495" y="5548341"/>
                  <a:pt x="1165225" y="5555961"/>
                  <a:pt x="1166495" y="5562311"/>
                </a:cubicBezTo>
                <a:cubicBezTo>
                  <a:pt x="1132840" y="5551516"/>
                  <a:pt x="1115060" y="5604221"/>
                  <a:pt x="1148715" y="5615651"/>
                </a:cubicBezTo>
                <a:cubicBezTo>
                  <a:pt x="1169035" y="5623906"/>
                  <a:pt x="1191895" y="5603586"/>
                  <a:pt x="1186180" y="5582631"/>
                </a:cubicBezTo>
                <a:cubicBezTo>
                  <a:pt x="1209040" y="5588981"/>
                  <a:pt x="1227455" y="5559771"/>
                  <a:pt x="1212215" y="5541991"/>
                </a:cubicBezTo>
                <a:cubicBezTo>
                  <a:pt x="1214120" y="5540086"/>
                  <a:pt x="1214755" y="5537546"/>
                  <a:pt x="1215390" y="5535006"/>
                </a:cubicBezTo>
                <a:cubicBezTo>
                  <a:pt x="1226820" y="5542626"/>
                  <a:pt x="1243965" y="5535006"/>
                  <a:pt x="1246505" y="5521036"/>
                </a:cubicBezTo>
                <a:cubicBezTo>
                  <a:pt x="1246505" y="5526751"/>
                  <a:pt x="1250315" y="5531831"/>
                  <a:pt x="1254760" y="5533736"/>
                </a:cubicBezTo>
                <a:cubicBezTo>
                  <a:pt x="1251585" y="5544531"/>
                  <a:pt x="1257935" y="5556596"/>
                  <a:pt x="1268095" y="5561041"/>
                </a:cubicBezTo>
                <a:cubicBezTo>
                  <a:pt x="1259840" y="5569931"/>
                  <a:pt x="1259840" y="5585806"/>
                  <a:pt x="1267460" y="5594696"/>
                </a:cubicBezTo>
                <a:cubicBezTo>
                  <a:pt x="1232535" y="5583266"/>
                  <a:pt x="1215390" y="5639146"/>
                  <a:pt x="1251585" y="5648671"/>
                </a:cubicBezTo>
                <a:cubicBezTo>
                  <a:pt x="1277620" y="5656926"/>
                  <a:pt x="1299210" y="5622001"/>
                  <a:pt x="1280160" y="5602951"/>
                </a:cubicBezTo>
                <a:cubicBezTo>
                  <a:pt x="1310640" y="5612476"/>
                  <a:pt x="1326515" y="5564216"/>
                  <a:pt x="1295400" y="5554056"/>
                </a:cubicBezTo>
                <a:cubicBezTo>
                  <a:pt x="1298575" y="5549611"/>
                  <a:pt x="1300480" y="5543896"/>
                  <a:pt x="1299845" y="5538181"/>
                </a:cubicBezTo>
                <a:cubicBezTo>
                  <a:pt x="1311275" y="5541991"/>
                  <a:pt x="1323340" y="5534371"/>
                  <a:pt x="1325880" y="5523576"/>
                </a:cubicBezTo>
                <a:cubicBezTo>
                  <a:pt x="1330325" y="5522941"/>
                  <a:pt x="1334135" y="5520401"/>
                  <a:pt x="1336675" y="5516591"/>
                </a:cubicBezTo>
                <a:cubicBezTo>
                  <a:pt x="1340485" y="5520401"/>
                  <a:pt x="1345565" y="5522306"/>
                  <a:pt x="1351280" y="5521671"/>
                </a:cubicBezTo>
                <a:lnTo>
                  <a:pt x="1351280" y="5521671"/>
                </a:lnTo>
                <a:cubicBezTo>
                  <a:pt x="1359535" y="5519766"/>
                  <a:pt x="1363980" y="5515956"/>
                  <a:pt x="1365885" y="5512146"/>
                </a:cubicBezTo>
                <a:cubicBezTo>
                  <a:pt x="1364615" y="5516591"/>
                  <a:pt x="1364615" y="5521036"/>
                  <a:pt x="1366520" y="5524846"/>
                </a:cubicBezTo>
                <a:cubicBezTo>
                  <a:pt x="1331595" y="5522306"/>
                  <a:pt x="1336040" y="5578821"/>
                  <a:pt x="1370330" y="5570566"/>
                </a:cubicBezTo>
                <a:cubicBezTo>
                  <a:pt x="1347470" y="5581996"/>
                  <a:pt x="1356360" y="5620096"/>
                  <a:pt x="1382395" y="5618826"/>
                </a:cubicBezTo>
                <a:cubicBezTo>
                  <a:pt x="1419860" y="5618826"/>
                  <a:pt x="1412240" y="5558501"/>
                  <a:pt x="1376045" y="5568026"/>
                </a:cubicBezTo>
                <a:cubicBezTo>
                  <a:pt x="1386205" y="5562946"/>
                  <a:pt x="1391285" y="5548341"/>
                  <a:pt x="1386205" y="5538181"/>
                </a:cubicBezTo>
                <a:cubicBezTo>
                  <a:pt x="1404620" y="5538816"/>
                  <a:pt x="1414145" y="5513416"/>
                  <a:pt x="1400175" y="5501986"/>
                </a:cubicBezTo>
                <a:cubicBezTo>
                  <a:pt x="1412240" y="5472141"/>
                  <a:pt x="1358900" y="5473411"/>
                  <a:pt x="1372235" y="5502621"/>
                </a:cubicBezTo>
                <a:cubicBezTo>
                  <a:pt x="1370330" y="5504526"/>
                  <a:pt x="1368425" y="5506431"/>
                  <a:pt x="1367790" y="5508971"/>
                </a:cubicBezTo>
                <a:cubicBezTo>
                  <a:pt x="1371600" y="5493096"/>
                  <a:pt x="1348740" y="5471506"/>
                  <a:pt x="1333500" y="5495001"/>
                </a:cubicBezTo>
                <a:cubicBezTo>
                  <a:pt x="1327150" y="5489921"/>
                  <a:pt x="1316355" y="5491191"/>
                  <a:pt x="1311275" y="5498176"/>
                </a:cubicBezTo>
                <a:cubicBezTo>
                  <a:pt x="1305560" y="5496271"/>
                  <a:pt x="1298575" y="5497541"/>
                  <a:pt x="1294130" y="5501351"/>
                </a:cubicBezTo>
                <a:cubicBezTo>
                  <a:pt x="1290955" y="5495001"/>
                  <a:pt x="1283970" y="5491191"/>
                  <a:pt x="1276350" y="5492461"/>
                </a:cubicBezTo>
                <a:cubicBezTo>
                  <a:pt x="1269365" y="5493096"/>
                  <a:pt x="1263015" y="5498176"/>
                  <a:pt x="1260475" y="5504526"/>
                </a:cubicBezTo>
                <a:cubicBezTo>
                  <a:pt x="1253490" y="5504526"/>
                  <a:pt x="1247775" y="5510241"/>
                  <a:pt x="1245870" y="5516591"/>
                </a:cubicBezTo>
                <a:cubicBezTo>
                  <a:pt x="1245870" y="5500716"/>
                  <a:pt x="1226185" y="5490556"/>
                  <a:pt x="1213485" y="5500081"/>
                </a:cubicBezTo>
                <a:cubicBezTo>
                  <a:pt x="1205865" y="5496271"/>
                  <a:pt x="1195705" y="5498811"/>
                  <a:pt x="1191260" y="5505796"/>
                </a:cubicBezTo>
                <a:cubicBezTo>
                  <a:pt x="1171575" y="5502621"/>
                  <a:pt x="1156970" y="5528021"/>
                  <a:pt x="1170305" y="5543261"/>
                </a:cubicBezTo>
                <a:close/>
                <a:moveTo>
                  <a:pt x="1539240" y="5527386"/>
                </a:moveTo>
                <a:cubicBezTo>
                  <a:pt x="1511300" y="5530561"/>
                  <a:pt x="1514475" y="5574376"/>
                  <a:pt x="1542415" y="5573741"/>
                </a:cubicBezTo>
                <a:cubicBezTo>
                  <a:pt x="1567815" y="5574376"/>
                  <a:pt x="1574165" y="5536276"/>
                  <a:pt x="1550035" y="5528656"/>
                </a:cubicBezTo>
                <a:cubicBezTo>
                  <a:pt x="1566545" y="5526751"/>
                  <a:pt x="1572895" y="5503891"/>
                  <a:pt x="1560830" y="5493096"/>
                </a:cubicBezTo>
                <a:cubicBezTo>
                  <a:pt x="1574800" y="5495636"/>
                  <a:pt x="1586230" y="5479761"/>
                  <a:pt x="1579880" y="5467061"/>
                </a:cubicBezTo>
                <a:cubicBezTo>
                  <a:pt x="1609090" y="5442931"/>
                  <a:pt x="1551305" y="5420706"/>
                  <a:pt x="1557020" y="5458171"/>
                </a:cubicBezTo>
                <a:cubicBezTo>
                  <a:pt x="1544955" y="5462616"/>
                  <a:pt x="1541145" y="5479126"/>
                  <a:pt x="1550670" y="5488016"/>
                </a:cubicBezTo>
                <a:cubicBezTo>
                  <a:pt x="1525905" y="5482301"/>
                  <a:pt x="1516380" y="5519131"/>
                  <a:pt x="1539240" y="5527386"/>
                </a:cubicBezTo>
                <a:close/>
                <a:moveTo>
                  <a:pt x="2359025" y="5207346"/>
                </a:moveTo>
                <a:cubicBezTo>
                  <a:pt x="2339340" y="5213696"/>
                  <a:pt x="2350135" y="5244176"/>
                  <a:pt x="2369185" y="5237191"/>
                </a:cubicBezTo>
                <a:cubicBezTo>
                  <a:pt x="2388870" y="5230841"/>
                  <a:pt x="2378075" y="5200361"/>
                  <a:pt x="2359025" y="5207346"/>
                </a:cubicBezTo>
                <a:close/>
                <a:moveTo>
                  <a:pt x="1421130" y="5513416"/>
                </a:moveTo>
                <a:cubicBezTo>
                  <a:pt x="1431290" y="5513416"/>
                  <a:pt x="1439545" y="5504526"/>
                  <a:pt x="1439545" y="5494366"/>
                </a:cubicBezTo>
                <a:cubicBezTo>
                  <a:pt x="1450975" y="5502621"/>
                  <a:pt x="1467485" y="5491191"/>
                  <a:pt x="1463675" y="5477856"/>
                </a:cubicBezTo>
                <a:cubicBezTo>
                  <a:pt x="1460500" y="5460076"/>
                  <a:pt x="1432560" y="5462616"/>
                  <a:pt x="1432560" y="5480396"/>
                </a:cubicBezTo>
                <a:cubicBezTo>
                  <a:pt x="1428750" y="5477221"/>
                  <a:pt x="1424305" y="5475951"/>
                  <a:pt x="1419225" y="5476586"/>
                </a:cubicBezTo>
                <a:cubicBezTo>
                  <a:pt x="1396365" y="5479126"/>
                  <a:pt x="1398905" y="5514051"/>
                  <a:pt x="1421130" y="5513416"/>
                </a:cubicBezTo>
                <a:close/>
                <a:moveTo>
                  <a:pt x="3014980" y="4511386"/>
                </a:moveTo>
                <a:cubicBezTo>
                  <a:pt x="2985770" y="4543136"/>
                  <a:pt x="3036570" y="4588221"/>
                  <a:pt x="3064510" y="4555201"/>
                </a:cubicBezTo>
                <a:cubicBezTo>
                  <a:pt x="3093085" y="4523451"/>
                  <a:pt x="3042285" y="4479001"/>
                  <a:pt x="3014980" y="4511386"/>
                </a:cubicBezTo>
                <a:close/>
                <a:moveTo>
                  <a:pt x="2823845" y="4833331"/>
                </a:moveTo>
                <a:cubicBezTo>
                  <a:pt x="2852420" y="4800946"/>
                  <a:pt x="2800985" y="4757131"/>
                  <a:pt x="2773680" y="4790151"/>
                </a:cubicBezTo>
                <a:cubicBezTo>
                  <a:pt x="2745105" y="4822536"/>
                  <a:pt x="2795905" y="4866351"/>
                  <a:pt x="2823845" y="4833331"/>
                </a:cubicBezTo>
                <a:close/>
                <a:moveTo>
                  <a:pt x="2831465" y="4910166"/>
                </a:moveTo>
                <a:cubicBezTo>
                  <a:pt x="2858135" y="4911436"/>
                  <a:pt x="2872740" y="4875241"/>
                  <a:pt x="2852420" y="4857461"/>
                </a:cubicBezTo>
                <a:cubicBezTo>
                  <a:pt x="2809240" y="4819996"/>
                  <a:pt x="2774315" y="4907626"/>
                  <a:pt x="2831465" y="4910166"/>
                </a:cubicBezTo>
                <a:close/>
                <a:moveTo>
                  <a:pt x="2903855" y="4740621"/>
                </a:moveTo>
                <a:lnTo>
                  <a:pt x="2903855" y="4740621"/>
                </a:lnTo>
                <a:cubicBezTo>
                  <a:pt x="2932430" y="4708236"/>
                  <a:pt x="2880995" y="4664421"/>
                  <a:pt x="2853690" y="4697441"/>
                </a:cubicBezTo>
                <a:cubicBezTo>
                  <a:pt x="2825115" y="4729191"/>
                  <a:pt x="2875915" y="4773641"/>
                  <a:pt x="2903855" y="4740621"/>
                </a:cubicBezTo>
                <a:close/>
                <a:moveTo>
                  <a:pt x="2910205" y="4827616"/>
                </a:moveTo>
                <a:cubicBezTo>
                  <a:pt x="2936875" y="4828886"/>
                  <a:pt x="2951480" y="4792691"/>
                  <a:pt x="2931160" y="4774911"/>
                </a:cubicBezTo>
                <a:cubicBezTo>
                  <a:pt x="2887980" y="4737446"/>
                  <a:pt x="2853055" y="4824441"/>
                  <a:pt x="2910205" y="4827616"/>
                </a:cubicBezTo>
                <a:close/>
                <a:moveTo>
                  <a:pt x="2743835" y="4926676"/>
                </a:moveTo>
                <a:cubicBezTo>
                  <a:pt x="2772410" y="4894291"/>
                  <a:pt x="2720975" y="4850476"/>
                  <a:pt x="2693670" y="4883496"/>
                </a:cubicBezTo>
                <a:cubicBezTo>
                  <a:pt x="2665095" y="4915881"/>
                  <a:pt x="2715895" y="4959696"/>
                  <a:pt x="2743835" y="4926676"/>
                </a:cubicBezTo>
                <a:close/>
                <a:moveTo>
                  <a:pt x="2752090" y="4992716"/>
                </a:moveTo>
                <a:cubicBezTo>
                  <a:pt x="2778760" y="4993351"/>
                  <a:pt x="2793365" y="4957791"/>
                  <a:pt x="2773045" y="4940011"/>
                </a:cubicBezTo>
                <a:cubicBezTo>
                  <a:pt x="2730500" y="4902546"/>
                  <a:pt x="2695575" y="4990176"/>
                  <a:pt x="2752090" y="4992716"/>
                </a:cubicBezTo>
                <a:close/>
                <a:moveTo>
                  <a:pt x="3305810" y="4078951"/>
                </a:moveTo>
                <a:cubicBezTo>
                  <a:pt x="3338830" y="4111336"/>
                  <a:pt x="3388995" y="4059266"/>
                  <a:pt x="3355340" y="4027516"/>
                </a:cubicBezTo>
                <a:cubicBezTo>
                  <a:pt x="3322955" y="3995131"/>
                  <a:pt x="3272155" y="4047201"/>
                  <a:pt x="3305810" y="4078951"/>
                </a:cubicBezTo>
                <a:close/>
                <a:moveTo>
                  <a:pt x="2921635" y="4941916"/>
                </a:moveTo>
                <a:cubicBezTo>
                  <a:pt x="2964180" y="4981286"/>
                  <a:pt x="2990215" y="4889846"/>
                  <a:pt x="2933065" y="4901276"/>
                </a:cubicBezTo>
                <a:cubicBezTo>
                  <a:pt x="2948940" y="4874606"/>
                  <a:pt x="2911475" y="4844761"/>
                  <a:pt x="2889250" y="4866986"/>
                </a:cubicBezTo>
                <a:cubicBezTo>
                  <a:pt x="2866390" y="4886671"/>
                  <a:pt x="2890520" y="4925406"/>
                  <a:pt x="2918460" y="4913976"/>
                </a:cubicBezTo>
                <a:cubicBezTo>
                  <a:pt x="2914015" y="4922866"/>
                  <a:pt x="2914650" y="4933661"/>
                  <a:pt x="2921635" y="4941916"/>
                </a:cubicBezTo>
                <a:close/>
                <a:moveTo>
                  <a:pt x="3046095" y="4610446"/>
                </a:moveTo>
                <a:cubicBezTo>
                  <a:pt x="3018155" y="4638386"/>
                  <a:pt x="3063240" y="4682201"/>
                  <a:pt x="3090545" y="4652991"/>
                </a:cubicBezTo>
                <a:lnTo>
                  <a:pt x="3090545" y="4652991"/>
                </a:lnTo>
                <a:cubicBezTo>
                  <a:pt x="3118485" y="4624416"/>
                  <a:pt x="3073400" y="4581236"/>
                  <a:pt x="3046095" y="4610446"/>
                </a:cubicBezTo>
                <a:close/>
                <a:moveTo>
                  <a:pt x="165735" y="4656166"/>
                </a:moveTo>
                <a:cubicBezTo>
                  <a:pt x="218440" y="4654261"/>
                  <a:pt x="193675" y="4572346"/>
                  <a:pt x="148590" y="4599651"/>
                </a:cubicBezTo>
                <a:cubicBezTo>
                  <a:pt x="123190" y="4615526"/>
                  <a:pt x="136525" y="4657436"/>
                  <a:pt x="165735" y="4656166"/>
                </a:cubicBezTo>
                <a:close/>
                <a:moveTo>
                  <a:pt x="3364230" y="3884006"/>
                </a:moveTo>
                <a:cubicBezTo>
                  <a:pt x="3435350" y="3878926"/>
                  <a:pt x="3392170" y="3772881"/>
                  <a:pt x="3337560" y="3818601"/>
                </a:cubicBezTo>
                <a:cubicBezTo>
                  <a:pt x="3312795" y="3840826"/>
                  <a:pt x="3331210" y="3885276"/>
                  <a:pt x="3364230" y="3884006"/>
                </a:cubicBezTo>
                <a:close/>
                <a:moveTo>
                  <a:pt x="2966720" y="4692996"/>
                </a:moveTo>
                <a:cubicBezTo>
                  <a:pt x="2938780" y="4721571"/>
                  <a:pt x="2983865" y="4764751"/>
                  <a:pt x="3011170" y="4735541"/>
                </a:cubicBezTo>
                <a:cubicBezTo>
                  <a:pt x="3039110" y="4706966"/>
                  <a:pt x="2994025" y="4663786"/>
                  <a:pt x="2966720" y="4692996"/>
                </a:cubicBezTo>
                <a:close/>
                <a:moveTo>
                  <a:pt x="4324985" y="4084666"/>
                </a:moveTo>
                <a:cubicBezTo>
                  <a:pt x="4361815" y="4084031"/>
                  <a:pt x="4349750" y="4025611"/>
                  <a:pt x="4315460" y="4040216"/>
                </a:cubicBezTo>
                <a:cubicBezTo>
                  <a:pt x="4292600" y="4049106"/>
                  <a:pt x="4300855" y="4085301"/>
                  <a:pt x="4324985" y="4084666"/>
                </a:cubicBezTo>
                <a:close/>
                <a:moveTo>
                  <a:pt x="3206115" y="4445981"/>
                </a:moveTo>
                <a:cubicBezTo>
                  <a:pt x="3177540" y="4473921"/>
                  <a:pt x="3221990" y="4517736"/>
                  <a:pt x="3249930" y="4489161"/>
                </a:cubicBezTo>
                <a:cubicBezTo>
                  <a:pt x="3277870" y="4461856"/>
                  <a:pt x="3233420" y="4417406"/>
                  <a:pt x="3206115" y="4445981"/>
                </a:cubicBezTo>
                <a:close/>
                <a:moveTo>
                  <a:pt x="3096260" y="4419311"/>
                </a:moveTo>
                <a:cubicBezTo>
                  <a:pt x="3067050" y="4451061"/>
                  <a:pt x="3117215" y="4496146"/>
                  <a:pt x="3145790" y="4463761"/>
                </a:cubicBezTo>
                <a:cubicBezTo>
                  <a:pt x="3175000" y="4432011"/>
                  <a:pt x="3124835" y="4386926"/>
                  <a:pt x="3096260" y="4419311"/>
                </a:cubicBezTo>
                <a:close/>
                <a:moveTo>
                  <a:pt x="2933700" y="4604096"/>
                </a:moveTo>
                <a:cubicBezTo>
                  <a:pt x="2905125" y="4636481"/>
                  <a:pt x="2955925" y="4680296"/>
                  <a:pt x="2983865" y="4647276"/>
                </a:cubicBezTo>
                <a:cubicBezTo>
                  <a:pt x="3012440" y="4615526"/>
                  <a:pt x="2961640" y="4571076"/>
                  <a:pt x="2933700" y="4604096"/>
                </a:cubicBezTo>
                <a:close/>
                <a:moveTo>
                  <a:pt x="3179445" y="4328506"/>
                </a:moveTo>
                <a:cubicBezTo>
                  <a:pt x="3149600" y="4359621"/>
                  <a:pt x="3199130" y="4405341"/>
                  <a:pt x="3228340" y="4373591"/>
                </a:cubicBezTo>
                <a:cubicBezTo>
                  <a:pt x="3257550" y="4342476"/>
                  <a:pt x="3208020" y="4296121"/>
                  <a:pt x="3179445" y="4328506"/>
                </a:cubicBezTo>
                <a:close/>
                <a:moveTo>
                  <a:pt x="3726180" y="3826221"/>
                </a:moveTo>
                <a:cubicBezTo>
                  <a:pt x="3690620" y="3850986"/>
                  <a:pt x="3729990" y="3905596"/>
                  <a:pt x="3764915" y="3880196"/>
                </a:cubicBezTo>
                <a:cubicBezTo>
                  <a:pt x="3799840" y="3856066"/>
                  <a:pt x="3760470" y="3800821"/>
                  <a:pt x="3726180" y="3826221"/>
                </a:cubicBezTo>
                <a:close/>
                <a:moveTo>
                  <a:pt x="3709035" y="3682711"/>
                </a:moveTo>
                <a:cubicBezTo>
                  <a:pt x="3669665" y="3707476"/>
                  <a:pt x="3709670" y="3768436"/>
                  <a:pt x="3747770" y="3742401"/>
                </a:cubicBezTo>
                <a:cubicBezTo>
                  <a:pt x="3787140" y="3717636"/>
                  <a:pt x="3747770" y="3657311"/>
                  <a:pt x="3709035" y="3682711"/>
                </a:cubicBezTo>
                <a:close/>
                <a:moveTo>
                  <a:pt x="3413125" y="4286596"/>
                </a:moveTo>
                <a:cubicBezTo>
                  <a:pt x="3385820" y="4257386"/>
                  <a:pt x="3340735" y="4300566"/>
                  <a:pt x="3368675" y="4329141"/>
                </a:cubicBezTo>
                <a:cubicBezTo>
                  <a:pt x="3395980" y="4358351"/>
                  <a:pt x="3441065" y="4315171"/>
                  <a:pt x="3413125" y="4286596"/>
                </a:cubicBezTo>
                <a:close/>
                <a:moveTo>
                  <a:pt x="3691890" y="3624926"/>
                </a:moveTo>
                <a:cubicBezTo>
                  <a:pt x="3698240" y="3624926"/>
                  <a:pt x="3705225" y="3623021"/>
                  <a:pt x="3711575" y="3619846"/>
                </a:cubicBezTo>
                <a:lnTo>
                  <a:pt x="3711575" y="3619846"/>
                </a:lnTo>
                <a:cubicBezTo>
                  <a:pt x="3754120" y="3595081"/>
                  <a:pt x="3714750" y="3528406"/>
                  <a:pt x="3672205" y="3554441"/>
                </a:cubicBezTo>
                <a:cubicBezTo>
                  <a:pt x="3639185" y="3572221"/>
                  <a:pt x="3655060" y="3626196"/>
                  <a:pt x="3691890" y="3624926"/>
                </a:cubicBezTo>
                <a:close/>
                <a:moveTo>
                  <a:pt x="3876040" y="3768436"/>
                </a:moveTo>
                <a:cubicBezTo>
                  <a:pt x="3853815" y="3731606"/>
                  <a:pt x="3796665" y="3766531"/>
                  <a:pt x="3819525" y="3803361"/>
                </a:cubicBezTo>
                <a:cubicBezTo>
                  <a:pt x="3841115" y="3840191"/>
                  <a:pt x="3898900" y="3804631"/>
                  <a:pt x="3876040" y="3768436"/>
                </a:cubicBezTo>
                <a:close/>
                <a:moveTo>
                  <a:pt x="3825240" y="3614766"/>
                </a:moveTo>
                <a:cubicBezTo>
                  <a:pt x="3783965" y="3635721"/>
                  <a:pt x="3818255" y="3699856"/>
                  <a:pt x="3858895" y="3677631"/>
                </a:cubicBezTo>
                <a:cubicBezTo>
                  <a:pt x="3899535" y="3656676"/>
                  <a:pt x="3865880" y="3592541"/>
                  <a:pt x="3825240" y="3614766"/>
                </a:cubicBezTo>
                <a:close/>
                <a:moveTo>
                  <a:pt x="3815715" y="3560156"/>
                </a:moveTo>
                <a:cubicBezTo>
                  <a:pt x="3876040" y="3559521"/>
                  <a:pt x="3855720" y="3463636"/>
                  <a:pt x="3800475" y="3487131"/>
                </a:cubicBezTo>
                <a:cubicBezTo>
                  <a:pt x="3763010" y="3503006"/>
                  <a:pt x="3776345" y="3562061"/>
                  <a:pt x="3815715" y="3560156"/>
                </a:cubicBezTo>
                <a:close/>
                <a:moveTo>
                  <a:pt x="3593465" y="3810346"/>
                </a:moveTo>
                <a:cubicBezTo>
                  <a:pt x="3621405" y="3847176"/>
                  <a:pt x="3678555" y="3803361"/>
                  <a:pt x="3649980" y="3767166"/>
                </a:cubicBezTo>
                <a:cubicBezTo>
                  <a:pt x="3622675" y="3730336"/>
                  <a:pt x="3564890" y="3774151"/>
                  <a:pt x="3593465" y="3810346"/>
                </a:cubicBezTo>
                <a:close/>
                <a:moveTo>
                  <a:pt x="3350260" y="4150071"/>
                </a:moveTo>
                <a:cubicBezTo>
                  <a:pt x="3328670" y="4169756"/>
                  <a:pt x="3345180" y="4207856"/>
                  <a:pt x="3373755" y="4206586"/>
                </a:cubicBezTo>
                <a:cubicBezTo>
                  <a:pt x="3435985" y="4202141"/>
                  <a:pt x="3397885" y="4109431"/>
                  <a:pt x="3350260" y="4150071"/>
                </a:cubicBezTo>
                <a:close/>
                <a:moveTo>
                  <a:pt x="3390900" y="4578061"/>
                </a:moveTo>
                <a:cubicBezTo>
                  <a:pt x="3436620" y="4576156"/>
                  <a:pt x="3411855" y="4505036"/>
                  <a:pt x="3374390" y="4532341"/>
                </a:cubicBezTo>
                <a:cubicBezTo>
                  <a:pt x="3355340" y="4546311"/>
                  <a:pt x="3367405" y="4578696"/>
                  <a:pt x="3390900" y="4578061"/>
                </a:cubicBezTo>
                <a:close/>
                <a:moveTo>
                  <a:pt x="3575685" y="3702396"/>
                </a:moveTo>
                <a:cubicBezTo>
                  <a:pt x="3642360" y="3698586"/>
                  <a:pt x="3609340" y="3596986"/>
                  <a:pt x="3552825" y="3633816"/>
                </a:cubicBezTo>
                <a:cubicBezTo>
                  <a:pt x="3523615" y="3653501"/>
                  <a:pt x="3540760" y="3703666"/>
                  <a:pt x="3575685" y="3702396"/>
                </a:cubicBezTo>
                <a:close/>
                <a:moveTo>
                  <a:pt x="2318385" y="5202266"/>
                </a:moveTo>
                <a:cubicBezTo>
                  <a:pt x="2357755" y="5231476"/>
                  <a:pt x="2403475" y="5168611"/>
                  <a:pt x="2362835" y="5140036"/>
                </a:cubicBezTo>
                <a:cubicBezTo>
                  <a:pt x="2323465" y="5111461"/>
                  <a:pt x="2277745" y="5174326"/>
                  <a:pt x="2318385" y="5202266"/>
                </a:cubicBezTo>
                <a:close/>
                <a:moveTo>
                  <a:pt x="3397885" y="3984971"/>
                </a:moveTo>
                <a:cubicBezTo>
                  <a:pt x="3429635" y="4018626"/>
                  <a:pt x="3481705" y="3968461"/>
                  <a:pt x="3449320" y="3935441"/>
                </a:cubicBezTo>
                <a:cubicBezTo>
                  <a:pt x="3418205" y="3901786"/>
                  <a:pt x="3365500" y="3951951"/>
                  <a:pt x="3397885" y="3984971"/>
                </a:cubicBezTo>
                <a:close/>
                <a:moveTo>
                  <a:pt x="3493770" y="3895436"/>
                </a:moveTo>
                <a:cubicBezTo>
                  <a:pt x="3523615" y="3930996"/>
                  <a:pt x="3578225" y="3883371"/>
                  <a:pt x="3547745" y="3848446"/>
                </a:cubicBezTo>
                <a:cubicBezTo>
                  <a:pt x="3517900" y="3813521"/>
                  <a:pt x="3462655" y="3861146"/>
                  <a:pt x="3493770" y="3895436"/>
                </a:cubicBezTo>
                <a:close/>
                <a:moveTo>
                  <a:pt x="3467100" y="3789391"/>
                </a:moveTo>
                <a:cubicBezTo>
                  <a:pt x="3536315" y="3784946"/>
                  <a:pt x="3497580" y="3680806"/>
                  <a:pt x="3442335" y="3722716"/>
                </a:cubicBezTo>
                <a:cubicBezTo>
                  <a:pt x="3415030" y="3744306"/>
                  <a:pt x="3432810" y="3790661"/>
                  <a:pt x="3467100" y="3789391"/>
                </a:cubicBezTo>
                <a:close/>
                <a:moveTo>
                  <a:pt x="3374390" y="4483446"/>
                </a:moveTo>
                <a:cubicBezTo>
                  <a:pt x="3425825" y="4480906"/>
                  <a:pt x="3395980" y="4401531"/>
                  <a:pt x="3355340" y="4433916"/>
                </a:cubicBezTo>
                <a:cubicBezTo>
                  <a:pt x="3335655" y="4451061"/>
                  <a:pt x="3348990" y="4484716"/>
                  <a:pt x="3374390" y="4483446"/>
                </a:cubicBezTo>
                <a:close/>
                <a:moveTo>
                  <a:pt x="2880995" y="4578696"/>
                </a:moveTo>
                <a:cubicBezTo>
                  <a:pt x="2916555" y="4607906"/>
                  <a:pt x="2962275" y="4551391"/>
                  <a:pt x="2925445" y="4522816"/>
                </a:cubicBezTo>
                <a:cubicBezTo>
                  <a:pt x="2889885" y="4493606"/>
                  <a:pt x="2844165" y="4550121"/>
                  <a:pt x="2880995" y="4578696"/>
                </a:cubicBezTo>
                <a:close/>
                <a:moveTo>
                  <a:pt x="2723515" y="4633306"/>
                </a:moveTo>
                <a:cubicBezTo>
                  <a:pt x="2762885" y="4662516"/>
                  <a:pt x="2808605" y="4599651"/>
                  <a:pt x="2767965" y="4571711"/>
                </a:cubicBezTo>
                <a:cubicBezTo>
                  <a:pt x="2727960" y="4541866"/>
                  <a:pt x="2682875" y="4604731"/>
                  <a:pt x="2723515" y="4633306"/>
                </a:cubicBezTo>
                <a:close/>
                <a:moveTo>
                  <a:pt x="2805430" y="4519641"/>
                </a:moveTo>
                <a:cubicBezTo>
                  <a:pt x="2844800" y="4549486"/>
                  <a:pt x="2891155" y="4486621"/>
                  <a:pt x="2850515" y="4458046"/>
                </a:cubicBezTo>
                <a:cubicBezTo>
                  <a:pt x="2811145" y="4428836"/>
                  <a:pt x="2764790" y="4491066"/>
                  <a:pt x="2805430" y="4519641"/>
                </a:cubicBezTo>
                <a:close/>
                <a:moveTo>
                  <a:pt x="2799715" y="4681566"/>
                </a:moveTo>
                <a:cubicBezTo>
                  <a:pt x="2835275" y="4710776"/>
                  <a:pt x="2880360" y="4653626"/>
                  <a:pt x="2843530" y="4625686"/>
                </a:cubicBezTo>
                <a:cubicBezTo>
                  <a:pt x="2807970" y="4596476"/>
                  <a:pt x="2762885" y="4653626"/>
                  <a:pt x="2799715" y="4681566"/>
                </a:cubicBezTo>
                <a:close/>
                <a:moveTo>
                  <a:pt x="2887980" y="4407246"/>
                </a:moveTo>
                <a:cubicBezTo>
                  <a:pt x="2926715" y="4437726"/>
                  <a:pt x="2973705" y="4375496"/>
                  <a:pt x="2933700" y="4346286"/>
                </a:cubicBezTo>
                <a:cubicBezTo>
                  <a:pt x="2894965" y="4316441"/>
                  <a:pt x="2847975" y="4378036"/>
                  <a:pt x="2887980" y="4407246"/>
                </a:cubicBezTo>
                <a:close/>
                <a:moveTo>
                  <a:pt x="3046095" y="4374226"/>
                </a:moveTo>
                <a:cubicBezTo>
                  <a:pt x="3081020" y="4404071"/>
                  <a:pt x="3128010" y="4348826"/>
                  <a:pt x="3091815" y="4319616"/>
                </a:cubicBezTo>
                <a:cubicBezTo>
                  <a:pt x="3056890" y="4289771"/>
                  <a:pt x="3009900" y="4345016"/>
                  <a:pt x="3046095" y="4374226"/>
                </a:cubicBezTo>
                <a:close/>
                <a:moveTo>
                  <a:pt x="2972435" y="4296121"/>
                </a:moveTo>
                <a:cubicBezTo>
                  <a:pt x="3011170" y="4327236"/>
                  <a:pt x="3058795" y="4265641"/>
                  <a:pt x="3019425" y="4235796"/>
                </a:cubicBezTo>
                <a:cubicBezTo>
                  <a:pt x="2980690" y="4204681"/>
                  <a:pt x="2933065" y="4266276"/>
                  <a:pt x="2972435" y="4296121"/>
                </a:cubicBezTo>
                <a:close/>
                <a:moveTo>
                  <a:pt x="2962910" y="4475826"/>
                </a:moveTo>
                <a:cubicBezTo>
                  <a:pt x="2998470" y="4505671"/>
                  <a:pt x="3044190" y="4449156"/>
                  <a:pt x="3007995" y="4420581"/>
                </a:cubicBezTo>
                <a:cubicBezTo>
                  <a:pt x="2972435" y="4390736"/>
                  <a:pt x="2926715" y="4447251"/>
                  <a:pt x="2962910" y="4475826"/>
                </a:cubicBezTo>
                <a:close/>
                <a:moveTo>
                  <a:pt x="2399665" y="5088601"/>
                </a:moveTo>
                <a:cubicBezTo>
                  <a:pt x="2439035" y="5117811"/>
                  <a:pt x="2484755" y="5054311"/>
                  <a:pt x="2443480" y="5026371"/>
                </a:cubicBezTo>
                <a:cubicBezTo>
                  <a:pt x="2404110" y="4997796"/>
                  <a:pt x="2359025" y="5060661"/>
                  <a:pt x="2399665" y="5088601"/>
                </a:cubicBezTo>
                <a:close/>
                <a:moveTo>
                  <a:pt x="2480945" y="4974936"/>
                </a:moveTo>
                <a:cubicBezTo>
                  <a:pt x="2520950" y="5004146"/>
                  <a:pt x="2566035" y="4940646"/>
                  <a:pt x="2524760" y="4912706"/>
                </a:cubicBezTo>
                <a:cubicBezTo>
                  <a:pt x="2484755" y="4883496"/>
                  <a:pt x="2440305" y="4946996"/>
                  <a:pt x="2480945" y="4974936"/>
                </a:cubicBezTo>
                <a:close/>
                <a:moveTo>
                  <a:pt x="2719070" y="4785071"/>
                </a:moveTo>
                <a:cubicBezTo>
                  <a:pt x="2754630" y="4814281"/>
                  <a:pt x="2799715" y="4756496"/>
                  <a:pt x="2762885" y="4729191"/>
                </a:cubicBezTo>
                <a:cubicBezTo>
                  <a:pt x="2726690" y="4699981"/>
                  <a:pt x="2682240" y="4757131"/>
                  <a:pt x="2719070" y="4785071"/>
                </a:cubicBezTo>
                <a:close/>
                <a:moveTo>
                  <a:pt x="2607310" y="4987001"/>
                </a:moveTo>
                <a:cubicBezTo>
                  <a:pt x="2597785" y="5010496"/>
                  <a:pt x="2621915" y="5037166"/>
                  <a:pt x="2646045" y="5030181"/>
                </a:cubicBezTo>
                <a:cubicBezTo>
                  <a:pt x="2628900" y="5060026"/>
                  <a:pt x="2672080" y="5091141"/>
                  <a:pt x="2694940" y="5065741"/>
                </a:cubicBezTo>
                <a:lnTo>
                  <a:pt x="2694940" y="5065741"/>
                </a:lnTo>
                <a:cubicBezTo>
                  <a:pt x="2715895" y="5045421"/>
                  <a:pt x="2694940" y="5007956"/>
                  <a:pt x="2667000" y="5014306"/>
                </a:cubicBezTo>
                <a:cubicBezTo>
                  <a:pt x="2687320" y="4980651"/>
                  <a:pt x="2637155" y="4945726"/>
                  <a:pt x="2613025" y="4976841"/>
                </a:cubicBezTo>
                <a:cubicBezTo>
                  <a:pt x="2630170" y="4895561"/>
                  <a:pt x="2501265" y="4931756"/>
                  <a:pt x="2557780" y="4992716"/>
                </a:cubicBezTo>
                <a:cubicBezTo>
                  <a:pt x="2573020" y="5004146"/>
                  <a:pt x="2594610" y="5002241"/>
                  <a:pt x="2607310" y="4987001"/>
                </a:cubicBezTo>
                <a:close/>
                <a:moveTo>
                  <a:pt x="3004820" y="4835236"/>
                </a:moveTo>
                <a:cubicBezTo>
                  <a:pt x="3032125" y="4810471"/>
                  <a:pt x="2992755" y="4768561"/>
                  <a:pt x="2966085" y="4793961"/>
                </a:cubicBezTo>
                <a:cubicBezTo>
                  <a:pt x="2939415" y="4819361"/>
                  <a:pt x="2978785" y="4861271"/>
                  <a:pt x="3004820" y="4835236"/>
                </a:cubicBezTo>
                <a:close/>
                <a:moveTo>
                  <a:pt x="2642235" y="4746971"/>
                </a:moveTo>
                <a:cubicBezTo>
                  <a:pt x="2681605" y="4776181"/>
                  <a:pt x="2727325" y="4713316"/>
                  <a:pt x="2686685" y="4684741"/>
                </a:cubicBezTo>
                <a:cubicBezTo>
                  <a:pt x="2646680" y="4655531"/>
                  <a:pt x="2601595" y="4719031"/>
                  <a:pt x="2642235" y="4746971"/>
                </a:cubicBezTo>
                <a:close/>
                <a:moveTo>
                  <a:pt x="2638425" y="4889211"/>
                </a:moveTo>
                <a:cubicBezTo>
                  <a:pt x="2674620" y="4917786"/>
                  <a:pt x="2719070" y="4860636"/>
                  <a:pt x="2682240" y="4832696"/>
                </a:cubicBezTo>
                <a:cubicBezTo>
                  <a:pt x="2646045" y="4803486"/>
                  <a:pt x="2601595" y="4861271"/>
                  <a:pt x="2638425" y="4889211"/>
                </a:cubicBezTo>
                <a:close/>
                <a:moveTo>
                  <a:pt x="2561590" y="4860636"/>
                </a:moveTo>
                <a:cubicBezTo>
                  <a:pt x="2601595" y="4889846"/>
                  <a:pt x="2646680" y="4826346"/>
                  <a:pt x="2605405" y="4798406"/>
                </a:cubicBezTo>
                <a:cubicBezTo>
                  <a:pt x="2565400" y="4769196"/>
                  <a:pt x="2520950" y="4832696"/>
                  <a:pt x="2561590" y="4860636"/>
                </a:cubicBezTo>
                <a:close/>
                <a:moveTo>
                  <a:pt x="3058795" y="4186266"/>
                </a:moveTo>
                <a:cubicBezTo>
                  <a:pt x="3096260" y="4218016"/>
                  <a:pt x="3145790" y="4158326"/>
                  <a:pt x="3107055" y="4127211"/>
                </a:cubicBezTo>
                <a:cubicBezTo>
                  <a:pt x="3069590" y="4095461"/>
                  <a:pt x="3020060" y="4155151"/>
                  <a:pt x="3058795" y="4186266"/>
                </a:cubicBezTo>
                <a:close/>
                <a:moveTo>
                  <a:pt x="3130550" y="4273896"/>
                </a:moveTo>
                <a:cubicBezTo>
                  <a:pt x="3164840" y="4305011"/>
                  <a:pt x="3212465" y="4249766"/>
                  <a:pt x="3176905" y="4219921"/>
                </a:cubicBezTo>
                <a:cubicBezTo>
                  <a:pt x="3142615" y="4189441"/>
                  <a:pt x="3094990" y="4244051"/>
                  <a:pt x="3130550" y="4273896"/>
                </a:cubicBezTo>
                <a:close/>
                <a:moveTo>
                  <a:pt x="3217545" y="4626321"/>
                </a:moveTo>
                <a:cubicBezTo>
                  <a:pt x="3269615" y="4623781"/>
                  <a:pt x="3238500" y="4543771"/>
                  <a:pt x="3198495" y="4577426"/>
                </a:cubicBezTo>
                <a:cubicBezTo>
                  <a:pt x="3179445" y="4593936"/>
                  <a:pt x="3192780" y="4626956"/>
                  <a:pt x="3217545" y="4626321"/>
                </a:cubicBezTo>
                <a:close/>
                <a:moveTo>
                  <a:pt x="3140075" y="4698076"/>
                </a:moveTo>
                <a:cubicBezTo>
                  <a:pt x="3192145" y="4695536"/>
                  <a:pt x="3161030" y="4615526"/>
                  <a:pt x="3121025" y="4649181"/>
                </a:cubicBezTo>
                <a:cubicBezTo>
                  <a:pt x="3121025" y="4649181"/>
                  <a:pt x="3121025" y="4649181"/>
                  <a:pt x="3121025" y="4649181"/>
                </a:cubicBezTo>
                <a:cubicBezTo>
                  <a:pt x="3101975" y="4665691"/>
                  <a:pt x="3115310" y="4699346"/>
                  <a:pt x="3140075" y="4698076"/>
                </a:cubicBezTo>
                <a:close/>
                <a:moveTo>
                  <a:pt x="3016250" y="4888576"/>
                </a:moveTo>
                <a:cubicBezTo>
                  <a:pt x="3062605" y="4886671"/>
                  <a:pt x="3036570" y="4814916"/>
                  <a:pt x="2999740" y="4842856"/>
                </a:cubicBezTo>
                <a:cubicBezTo>
                  <a:pt x="2981325" y="4857461"/>
                  <a:pt x="2992755" y="4889846"/>
                  <a:pt x="3016250" y="4888576"/>
                </a:cubicBezTo>
                <a:close/>
                <a:moveTo>
                  <a:pt x="3240405" y="4701886"/>
                </a:moveTo>
                <a:cubicBezTo>
                  <a:pt x="3286760" y="4699981"/>
                  <a:pt x="3260725" y="4628226"/>
                  <a:pt x="3223895" y="4656166"/>
                </a:cubicBezTo>
                <a:cubicBezTo>
                  <a:pt x="3205480" y="4670771"/>
                  <a:pt x="3217545" y="4702521"/>
                  <a:pt x="3240405" y="4701886"/>
                </a:cubicBezTo>
                <a:close/>
                <a:moveTo>
                  <a:pt x="3091180" y="4826346"/>
                </a:moveTo>
                <a:cubicBezTo>
                  <a:pt x="3137535" y="4824441"/>
                  <a:pt x="3111500" y="4752686"/>
                  <a:pt x="3074670" y="4780626"/>
                </a:cubicBezTo>
                <a:cubicBezTo>
                  <a:pt x="3074670" y="4780626"/>
                  <a:pt x="3074670" y="4780626"/>
                  <a:pt x="3074670" y="4780626"/>
                </a:cubicBezTo>
                <a:cubicBezTo>
                  <a:pt x="3055620" y="4795231"/>
                  <a:pt x="3067685" y="4826981"/>
                  <a:pt x="3091180" y="4826346"/>
                </a:cubicBezTo>
                <a:close/>
                <a:moveTo>
                  <a:pt x="3062605" y="4770466"/>
                </a:moveTo>
                <a:cubicBezTo>
                  <a:pt x="3114675" y="4767926"/>
                  <a:pt x="3083560" y="4687916"/>
                  <a:pt x="3043555" y="4721571"/>
                </a:cubicBezTo>
                <a:cubicBezTo>
                  <a:pt x="3024505" y="4738716"/>
                  <a:pt x="3038475" y="4771736"/>
                  <a:pt x="3062605" y="4770466"/>
                </a:cubicBezTo>
                <a:close/>
                <a:moveTo>
                  <a:pt x="3165475" y="4764116"/>
                </a:moveTo>
                <a:cubicBezTo>
                  <a:pt x="3211830" y="4762211"/>
                  <a:pt x="3185795" y="4690456"/>
                  <a:pt x="3148965" y="4718396"/>
                </a:cubicBezTo>
                <a:cubicBezTo>
                  <a:pt x="3130550" y="4733001"/>
                  <a:pt x="3142615" y="4764751"/>
                  <a:pt x="3165475" y="4764116"/>
                </a:cubicBezTo>
                <a:close/>
                <a:moveTo>
                  <a:pt x="3266440" y="3983701"/>
                </a:moveTo>
                <a:cubicBezTo>
                  <a:pt x="3299460" y="3984971"/>
                  <a:pt x="3317875" y="3939886"/>
                  <a:pt x="3292475" y="3917661"/>
                </a:cubicBezTo>
                <a:cubicBezTo>
                  <a:pt x="3237230" y="3873211"/>
                  <a:pt x="3195955" y="3978621"/>
                  <a:pt x="3266440" y="3983701"/>
                </a:cubicBezTo>
                <a:close/>
                <a:moveTo>
                  <a:pt x="3216910" y="4175471"/>
                </a:moveTo>
                <a:cubicBezTo>
                  <a:pt x="3250565" y="4207221"/>
                  <a:pt x="3299460" y="4153246"/>
                  <a:pt x="3265170" y="4122766"/>
                </a:cubicBezTo>
                <a:cubicBezTo>
                  <a:pt x="3231515" y="4091016"/>
                  <a:pt x="3182620" y="4144356"/>
                  <a:pt x="3216910" y="4175471"/>
                </a:cubicBezTo>
                <a:close/>
                <a:moveTo>
                  <a:pt x="3312160" y="4284056"/>
                </a:moveTo>
                <a:cubicBezTo>
                  <a:pt x="3342005" y="4253576"/>
                  <a:pt x="3293745" y="4206586"/>
                  <a:pt x="3264535" y="4238336"/>
                </a:cubicBezTo>
                <a:cubicBezTo>
                  <a:pt x="3234055" y="4268816"/>
                  <a:pt x="3282315" y="4315806"/>
                  <a:pt x="3312160" y="4284056"/>
                </a:cubicBezTo>
                <a:close/>
                <a:moveTo>
                  <a:pt x="3148330" y="4078316"/>
                </a:moveTo>
                <a:cubicBezTo>
                  <a:pt x="3185160" y="4111336"/>
                  <a:pt x="3235960" y="4052281"/>
                  <a:pt x="3197860" y="4020531"/>
                </a:cubicBezTo>
                <a:cubicBezTo>
                  <a:pt x="3161030" y="3988146"/>
                  <a:pt x="3110230" y="4046566"/>
                  <a:pt x="3148330" y="4078316"/>
                </a:cubicBezTo>
                <a:close/>
                <a:moveTo>
                  <a:pt x="3287395" y="4365336"/>
                </a:moveTo>
                <a:cubicBezTo>
                  <a:pt x="3258820" y="4392641"/>
                  <a:pt x="3302635" y="4437091"/>
                  <a:pt x="3330575" y="4409151"/>
                </a:cubicBezTo>
                <a:cubicBezTo>
                  <a:pt x="3359150" y="4381846"/>
                  <a:pt x="3315335" y="4336761"/>
                  <a:pt x="3287395" y="4365336"/>
                </a:cubicBezTo>
                <a:close/>
                <a:moveTo>
                  <a:pt x="3315335" y="4639656"/>
                </a:moveTo>
                <a:cubicBezTo>
                  <a:pt x="3361690" y="4637751"/>
                  <a:pt x="3335655" y="4565996"/>
                  <a:pt x="3298825" y="4593936"/>
                </a:cubicBezTo>
                <a:cubicBezTo>
                  <a:pt x="3280410" y="4608541"/>
                  <a:pt x="3292475" y="4640291"/>
                  <a:pt x="3315335" y="4639656"/>
                </a:cubicBezTo>
                <a:close/>
                <a:moveTo>
                  <a:pt x="3295650" y="4554566"/>
                </a:moveTo>
                <a:cubicBezTo>
                  <a:pt x="3347085" y="4552026"/>
                  <a:pt x="3316605" y="4472651"/>
                  <a:pt x="3276600" y="4505671"/>
                </a:cubicBezTo>
                <a:cubicBezTo>
                  <a:pt x="3257550" y="4522181"/>
                  <a:pt x="3270885" y="4555836"/>
                  <a:pt x="3295650" y="4554566"/>
                </a:cubicBezTo>
                <a:close/>
                <a:moveTo>
                  <a:pt x="3125470" y="4527896"/>
                </a:moveTo>
                <a:cubicBezTo>
                  <a:pt x="3097530" y="4555836"/>
                  <a:pt x="3141980" y="4599651"/>
                  <a:pt x="3169285" y="4570441"/>
                </a:cubicBezTo>
                <a:cubicBezTo>
                  <a:pt x="3197860" y="4542501"/>
                  <a:pt x="3152775" y="4498686"/>
                  <a:pt x="3125470" y="4527896"/>
                </a:cubicBezTo>
                <a:close/>
                <a:moveTo>
                  <a:pt x="3419475" y="4644101"/>
                </a:moveTo>
                <a:cubicBezTo>
                  <a:pt x="3460115" y="4642831"/>
                  <a:pt x="3439795" y="4579331"/>
                  <a:pt x="3405505" y="4602191"/>
                </a:cubicBezTo>
                <a:cubicBezTo>
                  <a:pt x="3387725" y="4614256"/>
                  <a:pt x="3397885" y="4644736"/>
                  <a:pt x="3419475" y="4644101"/>
                </a:cubicBezTo>
                <a:close/>
                <a:moveTo>
                  <a:pt x="3408045" y="4759036"/>
                </a:moveTo>
                <a:cubicBezTo>
                  <a:pt x="3388995" y="4767291"/>
                  <a:pt x="3402965" y="4797136"/>
                  <a:pt x="3421380" y="4787611"/>
                </a:cubicBezTo>
                <a:cubicBezTo>
                  <a:pt x="3440430" y="4779356"/>
                  <a:pt x="3426460" y="4750146"/>
                  <a:pt x="3408045" y="4759036"/>
                </a:cubicBezTo>
                <a:close/>
                <a:moveTo>
                  <a:pt x="3456305" y="4668231"/>
                </a:moveTo>
                <a:cubicBezTo>
                  <a:pt x="3418205" y="4628861"/>
                  <a:pt x="3398520" y="4716491"/>
                  <a:pt x="3449955" y="4696806"/>
                </a:cubicBezTo>
                <a:lnTo>
                  <a:pt x="3449955" y="4696806"/>
                </a:lnTo>
                <a:cubicBezTo>
                  <a:pt x="3459480" y="4690456"/>
                  <a:pt x="3462020" y="4677756"/>
                  <a:pt x="3456305" y="4668231"/>
                </a:cubicBezTo>
                <a:close/>
                <a:moveTo>
                  <a:pt x="3359785" y="4705061"/>
                </a:moveTo>
                <a:cubicBezTo>
                  <a:pt x="3336925" y="4719031"/>
                  <a:pt x="3359785" y="4755226"/>
                  <a:pt x="3382010" y="4739986"/>
                </a:cubicBezTo>
                <a:cubicBezTo>
                  <a:pt x="3404870" y="4726016"/>
                  <a:pt x="3382010" y="4689821"/>
                  <a:pt x="3359785" y="4705061"/>
                </a:cubicBezTo>
                <a:close/>
                <a:moveTo>
                  <a:pt x="3415665" y="4721571"/>
                </a:moveTo>
                <a:cubicBezTo>
                  <a:pt x="3394710" y="4733001"/>
                  <a:pt x="3413125" y="4765386"/>
                  <a:pt x="3433445" y="4753956"/>
                </a:cubicBezTo>
                <a:cubicBezTo>
                  <a:pt x="3454400" y="4742526"/>
                  <a:pt x="3436620" y="4710141"/>
                  <a:pt x="3415665" y="4721571"/>
                </a:cubicBezTo>
                <a:close/>
                <a:moveTo>
                  <a:pt x="3352800" y="4756496"/>
                </a:moveTo>
                <a:cubicBezTo>
                  <a:pt x="3342005" y="4762211"/>
                  <a:pt x="3340100" y="4778086"/>
                  <a:pt x="3349625" y="4786341"/>
                </a:cubicBezTo>
                <a:cubicBezTo>
                  <a:pt x="3335020" y="4793326"/>
                  <a:pt x="3341370" y="4816821"/>
                  <a:pt x="3357245" y="4816186"/>
                </a:cubicBezTo>
                <a:cubicBezTo>
                  <a:pt x="3370580" y="4816821"/>
                  <a:pt x="3378200" y="4799041"/>
                  <a:pt x="3368675" y="4789516"/>
                </a:cubicBezTo>
                <a:cubicBezTo>
                  <a:pt x="3392170" y="4780626"/>
                  <a:pt x="3375025" y="4744431"/>
                  <a:pt x="3352800" y="4756496"/>
                </a:cubicBezTo>
                <a:close/>
                <a:moveTo>
                  <a:pt x="3291840" y="4748241"/>
                </a:moveTo>
                <a:cubicBezTo>
                  <a:pt x="3268980" y="4762846"/>
                  <a:pt x="3291840" y="4797771"/>
                  <a:pt x="3314065" y="4783166"/>
                </a:cubicBezTo>
                <a:cubicBezTo>
                  <a:pt x="3336925" y="4769196"/>
                  <a:pt x="3314065" y="4733636"/>
                  <a:pt x="3291840" y="4748241"/>
                </a:cubicBezTo>
                <a:close/>
                <a:moveTo>
                  <a:pt x="3314700" y="4798406"/>
                </a:moveTo>
                <a:cubicBezTo>
                  <a:pt x="3301365" y="4774911"/>
                  <a:pt x="3267075" y="4800311"/>
                  <a:pt x="3285490" y="4819996"/>
                </a:cubicBezTo>
                <a:cubicBezTo>
                  <a:pt x="3272790" y="4850476"/>
                  <a:pt x="3328035" y="4847936"/>
                  <a:pt x="3312795" y="4818726"/>
                </a:cubicBezTo>
                <a:cubicBezTo>
                  <a:pt x="3317875" y="4813646"/>
                  <a:pt x="3318510" y="4805391"/>
                  <a:pt x="3314700" y="4798406"/>
                </a:cubicBezTo>
                <a:close/>
                <a:moveTo>
                  <a:pt x="1384300" y="5833456"/>
                </a:moveTo>
                <a:cubicBezTo>
                  <a:pt x="1335405" y="5826471"/>
                  <a:pt x="1329690" y="5904576"/>
                  <a:pt x="1379220" y="5904576"/>
                </a:cubicBezTo>
                <a:cubicBezTo>
                  <a:pt x="1421765" y="5905211"/>
                  <a:pt x="1426845" y="5838536"/>
                  <a:pt x="1384300" y="5833456"/>
                </a:cubicBezTo>
                <a:close/>
                <a:moveTo>
                  <a:pt x="3580130" y="4677756"/>
                </a:moveTo>
                <a:cubicBezTo>
                  <a:pt x="3561080" y="4686011"/>
                  <a:pt x="3575050" y="4715221"/>
                  <a:pt x="3593465" y="4706331"/>
                </a:cubicBezTo>
                <a:cubicBezTo>
                  <a:pt x="3612515" y="4698076"/>
                  <a:pt x="3599180" y="4668866"/>
                  <a:pt x="3580130" y="4677756"/>
                </a:cubicBezTo>
                <a:close/>
                <a:moveTo>
                  <a:pt x="3542030" y="4652356"/>
                </a:moveTo>
                <a:cubicBezTo>
                  <a:pt x="3521075" y="4663786"/>
                  <a:pt x="3539490" y="4696171"/>
                  <a:pt x="3559810" y="4684741"/>
                </a:cubicBezTo>
                <a:cubicBezTo>
                  <a:pt x="3580765" y="4673311"/>
                  <a:pt x="3562985" y="4640291"/>
                  <a:pt x="3542030" y="4652356"/>
                </a:cubicBezTo>
                <a:close/>
                <a:moveTo>
                  <a:pt x="3630295" y="4625051"/>
                </a:moveTo>
                <a:cubicBezTo>
                  <a:pt x="3599180" y="4588221"/>
                  <a:pt x="3576955" y="4663786"/>
                  <a:pt x="3623310" y="4649816"/>
                </a:cubicBezTo>
                <a:lnTo>
                  <a:pt x="3623310" y="4649816"/>
                </a:lnTo>
                <a:cubicBezTo>
                  <a:pt x="3631565" y="4645371"/>
                  <a:pt x="3634740" y="4633941"/>
                  <a:pt x="3630295" y="4625051"/>
                </a:cubicBezTo>
                <a:close/>
                <a:moveTo>
                  <a:pt x="3524250" y="4625051"/>
                </a:moveTo>
                <a:cubicBezTo>
                  <a:pt x="3510280" y="4602191"/>
                  <a:pt x="3474085" y="4625051"/>
                  <a:pt x="3489325" y="4647276"/>
                </a:cubicBezTo>
                <a:cubicBezTo>
                  <a:pt x="3503295" y="4670136"/>
                  <a:pt x="3538855" y="4647276"/>
                  <a:pt x="3524250" y="4625051"/>
                </a:cubicBezTo>
                <a:close/>
                <a:moveTo>
                  <a:pt x="3479165" y="4687281"/>
                </a:moveTo>
                <a:cubicBezTo>
                  <a:pt x="3458210" y="4698711"/>
                  <a:pt x="3475990" y="4731096"/>
                  <a:pt x="3496945" y="4719666"/>
                </a:cubicBezTo>
                <a:cubicBezTo>
                  <a:pt x="3517900" y="4708236"/>
                  <a:pt x="3499485" y="4675216"/>
                  <a:pt x="3479165" y="4687281"/>
                </a:cubicBezTo>
                <a:close/>
                <a:moveTo>
                  <a:pt x="3522980" y="4705061"/>
                </a:moveTo>
                <a:cubicBezTo>
                  <a:pt x="3503930" y="4713951"/>
                  <a:pt x="3517900" y="4742526"/>
                  <a:pt x="3536315" y="4733636"/>
                </a:cubicBezTo>
                <a:cubicBezTo>
                  <a:pt x="3555365" y="4725381"/>
                  <a:pt x="3541395" y="4695536"/>
                  <a:pt x="3522980" y="4705061"/>
                </a:cubicBezTo>
                <a:close/>
                <a:moveTo>
                  <a:pt x="3465195" y="4731731"/>
                </a:moveTo>
                <a:cubicBezTo>
                  <a:pt x="3446145" y="4740621"/>
                  <a:pt x="3460115" y="4769196"/>
                  <a:pt x="3478530" y="4760306"/>
                </a:cubicBezTo>
                <a:cubicBezTo>
                  <a:pt x="3497580" y="4752051"/>
                  <a:pt x="3483610" y="4722841"/>
                  <a:pt x="3465195" y="4731731"/>
                </a:cubicBezTo>
                <a:close/>
                <a:moveTo>
                  <a:pt x="2975610" y="4965411"/>
                </a:moveTo>
                <a:cubicBezTo>
                  <a:pt x="2965450" y="4958426"/>
                  <a:pt x="2949575" y="4963506"/>
                  <a:pt x="2945130" y="4975571"/>
                </a:cubicBezTo>
                <a:cubicBezTo>
                  <a:pt x="2942590" y="4977476"/>
                  <a:pt x="2941320" y="4979381"/>
                  <a:pt x="2940050" y="4981921"/>
                </a:cubicBezTo>
                <a:cubicBezTo>
                  <a:pt x="2931160" y="4951441"/>
                  <a:pt x="2883535" y="4969221"/>
                  <a:pt x="2896870" y="4997796"/>
                </a:cubicBezTo>
                <a:cubicBezTo>
                  <a:pt x="2894330" y="4997796"/>
                  <a:pt x="2891790" y="4998431"/>
                  <a:pt x="2889250" y="4999701"/>
                </a:cubicBezTo>
                <a:cubicBezTo>
                  <a:pt x="2900680" y="4980651"/>
                  <a:pt x="2880360" y="4955886"/>
                  <a:pt x="2859405" y="4962871"/>
                </a:cubicBezTo>
                <a:cubicBezTo>
                  <a:pt x="2863215" y="4938106"/>
                  <a:pt x="2830195" y="4920961"/>
                  <a:pt x="2812415" y="4939376"/>
                </a:cubicBezTo>
                <a:cubicBezTo>
                  <a:pt x="2790190" y="4959061"/>
                  <a:pt x="2813685" y="4997161"/>
                  <a:pt x="2840990" y="4986366"/>
                </a:cubicBezTo>
                <a:cubicBezTo>
                  <a:pt x="2839085" y="5007321"/>
                  <a:pt x="2865120" y="5021291"/>
                  <a:pt x="2881630" y="5008591"/>
                </a:cubicBezTo>
                <a:cubicBezTo>
                  <a:pt x="2880995" y="5009861"/>
                  <a:pt x="2880995" y="5011131"/>
                  <a:pt x="2880995" y="5013036"/>
                </a:cubicBezTo>
                <a:cubicBezTo>
                  <a:pt x="2861310" y="5037166"/>
                  <a:pt x="2904490" y="5063201"/>
                  <a:pt x="2916555" y="5033991"/>
                </a:cubicBezTo>
                <a:cubicBezTo>
                  <a:pt x="2933065" y="5039071"/>
                  <a:pt x="2947035" y="5018116"/>
                  <a:pt x="2935605" y="5004781"/>
                </a:cubicBezTo>
                <a:cubicBezTo>
                  <a:pt x="2938145" y="5002241"/>
                  <a:pt x="2940050" y="4999066"/>
                  <a:pt x="2940685" y="4995256"/>
                </a:cubicBezTo>
                <a:cubicBezTo>
                  <a:pt x="2944495" y="5002876"/>
                  <a:pt x="2952750" y="5006051"/>
                  <a:pt x="2960370" y="5003511"/>
                </a:cubicBezTo>
                <a:cubicBezTo>
                  <a:pt x="2966720" y="5004781"/>
                  <a:pt x="2973705" y="5003511"/>
                  <a:pt x="2978785" y="4999066"/>
                </a:cubicBezTo>
                <a:cubicBezTo>
                  <a:pt x="3011170" y="5008591"/>
                  <a:pt x="3007360" y="4950806"/>
                  <a:pt x="2975610" y="4965411"/>
                </a:cubicBezTo>
                <a:close/>
                <a:moveTo>
                  <a:pt x="1673225" y="5839806"/>
                </a:moveTo>
                <a:cubicBezTo>
                  <a:pt x="1637665" y="5761066"/>
                  <a:pt x="1554480" y="5872191"/>
                  <a:pt x="1640205" y="5884256"/>
                </a:cubicBezTo>
                <a:cubicBezTo>
                  <a:pt x="1644015" y="5909656"/>
                  <a:pt x="1673225" y="5923626"/>
                  <a:pt x="1695450" y="5911561"/>
                </a:cubicBezTo>
                <a:cubicBezTo>
                  <a:pt x="1732280" y="5893781"/>
                  <a:pt x="1713230" y="5834091"/>
                  <a:pt x="1673225" y="5839806"/>
                </a:cubicBezTo>
                <a:close/>
                <a:moveTo>
                  <a:pt x="1623060" y="5793451"/>
                </a:moveTo>
                <a:cubicBezTo>
                  <a:pt x="1618615" y="5750906"/>
                  <a:pt x="1551940" y="5757891"/>
                  <a:pt x="1557020" y="5801071"/>
                </a:cubicBezTo>
                <a:cubicBezTo>
                  <a:pt x="1561465" y="5843616"/>
                  <a:pt x="1628775" y="5835996"/>
                  <a:pt x="1623060" y="5793451"/>
                </a:cubicBezTo>
                <a:close/>
                <a:moveTo>
                  <a:pt x="1777365" y="5769956"/>
                </a:moveTo>
                <a:cubicBezTo>
                  <a:pt x="1767205" y="5764241"/>
                  <a:pt x="1753870" y="5764241"/>
                  <a:pt x="1743075" y="5769956"/>
                </a:cubicBezTo>
                <a:cubicBezTo>
                  <a:pt x="1741170" y="5749636"/>
                  <a:pt x="1720850" y="5735666"/>
                  <a:pt x="1701165" y="5741381"/>
                </a:cubicBezTo>
                <a:cubicBezTo>
                  <a:pt x="1655445" y="5754081"/>
                  <a:pt x="1682750" y="5823931"/>
                  <a:pt x="1724660" y="5802976"/>
                </a:cubicBezTo>
                <a:cubicBezTo>
                  <a:pt x="1725295" y="5826471"/>
                  <a:pt x="1751330" y="5842981"/>
                  <a:pt x="1772920" y="5834091"/>
                </a:cubicBezTo>
                <a:cubicBezTo>
                  <a:pt x="1846580" y="5873461"/>
                  <a:pt x="1854835" y="5740746"/>
                  <a:pt x="1777365" y="5769956"/>
                </a:cubicBezTo>
                <a:close/>
                <a:moveTo>
                  <a:pt x="1409700" y="5910926"/>
                </a:moveTo>
                <a:cubicBezTo>
                  <a:pt x="1360170" y="5910291"/>
                  <a:pt x="1360805" y="5988396"/>
                  <a:pt x="1410335" y="5987126"/>
                </a:cubicBezTo>
                <a:cubicBezTo>
                  <a:pt x="1459865" y="5987761"/>
                  <a:pt x="1459230" y="5910291"/>
                  <a:pt x="1409700" y="5910926"/>
                </a:cubicBezTo>
                <a:close/>
                <a:moveTo>
                  <a:pt x="2557780" y="5206711"/>
                </a:moveTo>
                <a:cubicBezTo>
                  <a:pt x="2555240" y="5204806"/>
                  <a:pt x="2552065" y="5204171"/>
                  <a:pt x="2548255" y="5203536"/>
                </a:cubicBezTo>
                <a:cubicBezTo>
                  <a:pt x="2550160" y="5192741"/>
                  <a:pt x="2540635" y="5181311"/>
                  <a:pt x="2529205" y="5182581"/>
                </a:cubicBezTo>
                <a:cubicBezTo>
                  <a:pt x="2522855" y="5178771"/>
                  <a:pt x="2515870" y="5177501"/>
                  <a:pt x="2509520" y="5178136"/>
                </a:cubicBezTo>
                <a:cubicBezTo>
                  <a:pt x="2506345" y="5151466"/>
                  <a:pt x="2468880" y="5140671"/>
                  <a:pt x="2451735" y="5161626"/>
                </a:cubicBezTo>
                <a:cubicBezTo>
                  <a:pt x="2424430" y="5091141"/>
                  <a:pt x="2337435" y="5178771"/>
                  <a:pt x="2408555" y="5205441"/>
                </a:cubicBezTo>
                <a:cubicBezTo>
                  <a:pt x="2413000" y="5224491"/>
                  <a:pt x="2442210" y="5217506"/>
                  <a:pt x="2439670" y="5199091"/>
                </a:cubicBezTo>
                <a:cubicBezTo>
                  <a:pt x="2441575" y="5197186"/>
                  <a:pt x="2443480" y="5195281"/>
                  <a:pt x="2445385" y="5193376"/>
                </a:cubicBezTo>
                <a:cubicBezTo>
                  <a:pt x="2447290" y="5199726"/>
                  <a:pt x="2451735" y="5206711"/>
                  <a:pt x="2457450" y="5210521"/>
                </a:cubicBezTo>
                <a:cubicBezTo>
                  <a:pt x="2457450" y="5210521"/>
                  <a:pt x="2456815" y="5210521"/>
                  <a:pt x="2456815" y="5210521"/>
                </a:cubicBezTo>
                <a:cubicBezTo>
                  <a:pt x="2440940" y="5216236"/>
                  <a:pt x="2442210" y="5241001"/>
                  <a:pt x="2458085" y="5245446"/>
                </a:cubicBezTo>
                <a:cubicBezTo>
                  <a:pt x="2452370" y="5251796"/>
                  <a:pt x="2451100" y="5261956"/>
                  <a:pt x="2456180" y="5269576"/>
                </a:cubicBezTo>
                <a:cubicBezTo>
                  <a:pt x="2456180" y="5269576"/>
                  <a:pt x="2456180" y="5269576"/>
                  <a:pt x="2456180" y="5269576"/>
                </a:cubicBezTo>
                <a:cubicBezTo>
                  <a:pt x="2448560" y="5260051"/>
                  <a:pt x="2435860" y="5257511"/>
                  <a:pt x="2425065" y="5260051"/>
                </a:cubicBezTo>
                <a:cubicBezTo>
                  <a:pt x="2422525" y="5255606"/>
                  <a:pt x="2418715" y="5250526"/>
                  <a:pt x="2414270" y="5247986"/>
                </a:cubicBezTo>
                <a:cubicBezTo>
                  <a:pt x="2409825" y="5232111"/>
                  <a:pt x="2385695" y="5230841"/>
                  <a:pt x="2379980" y="5246716"/>
                </a:cubicBezTo>
                <a:cubicBezTo>
                  <a:pt x="2374900" y="5249256"/>
                  <a:pt x="2370455" y="5253066"/>
                  <a:pt x="2367915" y="5258146"/>
                </a:cubicBezTo>
                <a:cubicBezTo>
                  <a:pt x="2359660" y="5240366"/>
                  <a:pt x="2336800" y="5233381"/>
                  <a:pt x="2320290" y="5242271"/>
                </a:cubicBezTo>
                <a:cubicBezTo>
                  <a:pt x="2310765" y="5203536"/>
                  <a:pt x="2264410" y="5251161"/>
                  <a:pt x="2303780" y="5259416"/>
                </a:cubicBezTo>
                <a:cubicBezTo>
                  <a:pt x="2296795" y="5274656"/>
                  <a:pt x="2301240" y="5294976"/>
                  <a:pt x="2317115" y="5303866"/>
                </a:cubicBezTo>
                <a:cubicBezTo>
                  <a:pt x="2306320" y="5309581"/>
                  <a:pt x="2302510" y="5324186"/>
                  <a:pt x="2309495" y="5333711"/>
                </a:cubicBezTo>
                <a:cubicBezTo>
                  <a:pt x="2298065" y="5334981"/>
                  <a:pt x="2286000" y="5343871"/>
                  <a:pt x="2282190" y="5355301"/>
                </a:cubicBezTo>
                <a:cubicBezTo>
                  <a:pt x="2279650" y="5351491"/>
                  <a:pt x="2275840" y="5347681"/>
                  <a:pt x="2271395" y="5345141"/>
                </a:cubicBezTo>
                <a:cubicBezTo>
                  <a:pt x="2266315" y="5322916"/>
                  <a:pt x="2232660" y="5326091"/>
                  <a:pt x="2230755" y="5348316"/>
                </a:cubicBezTo>
                <a:cubicBezTo>
                  <a:pt x="2220595" y="5356571"/>
                  <a:pt x="2216150" y="5369906"/>
                  <a:pt x="2218690" y="5381971"/>
                </a:cubicBezTo>
                <a:cubicBezTo>
                  <a:pt x="2216785" y="5383876"/>
                  <a:pt x="2214880" y="5386416"/>
                  <a:pt x="2213610" y="5388956"/>
                </a:cubicBezTo>
                <a:cubicBezTo>
                  <a:pt x="2198370" y="5334346"/>
                  <a:pt x="2125345" y="5359111"/>
                  <a:pt x="2140585" y="5410546"/>
                </a:cubicBezTo>
                <a:cubicBezTo>
                  <a:pt x="2124710" y="5418166"/>
                  <a:pt x="2124075" y="5442296"/>
                  <a:pt x="2139315" y="5451186"/>
                </a:cubicBezTo>
                <a:cubicBezTo>
                  <a:pt x="2137410" y="5451821"/>
                  <a:pt x="2135505" y="5451821"/>
                  <a:pt x="2134235" y="5453091"/>
                </a:cubicBezTo>
                <a:cubicBezTo>
                  <a:pt x="2122805" y="5458171"/>
                  <a:pt x="2116455" y="5470236"/>
                  <a:pt x="2118995" y="5482301"/>
                </a:cubicBezTo>
                <a:cubicBezTo>
                  <a:pt x="2110740" y="5474046"/>
                  <a:pt x="2098675" y="5469601"/>
                  <a:pt x="2087880" y="5470871"/>
                </a:cubicBezTo>
                <a:cubicBezTo>
                  <a:pt x="2098040" y="5453726"/>
                  <a:pt x="2079625" y="5430866"/>
                  <a:pt x="2060575" y="5437851"/>
                </a:cubicBezTo>
                <a:cubicBezTo>
                  <a:pt x="2037080" y="5444201"/>
                  <a:pt x="2040255" y="5480396"/>
                  <a:pt x="2063750" y="5482936"/>
                </a:cubicBezTo>
                <a:cubicBezTo>
                  <a:pt x="2062480" y="5484206"/>
                  <a:pt x="2061210" y="5486111"/>
                  <a:pt x="2059940" y="5487381"/>
                </a:cubicBezTo>
                <a:cubicBezTo>
                  <a:pt x="2022475" y="5477221"/>
                  <a:pt x="2015490" y="5540086"/>
                  <a:pt x="2054225" y="5537546"/>
                </a:cubicBezTo>
                <a:cubicBezTo>
                  <a:pt x="2054225" y="5539451"/>
                  <a:pt x="2054225" y="5540721"/>
                  <a:pt x="2054225" y="5542626"/>
                </a:cubicBezTo>
                <a:cubicBezTo>
                  <a:pt x="2043430" y="5550881"/>
                  <a:pt x="2039620" y="5565486"/>
                  <a:pt x="2042795" y="5578186"/>
                </a:cubicBezTo>
                <a:cubicBezTo>
                  <a:pt x="2035810" y="5577551"/>
                  <a:pt x="2028190" y="5578821"/>
                  <a:pt x="2021840" y="5583266"/>
                </a:cubicBezTo>
                <a:cubicBezTo>
                  <a:pt x="2019300" y="5581361"/>
                  <a:pt x="2016125" y="5580091"/>
                  <a:pt x="2013585" y="5579456"/>
                </a:cubicBezTo>
                <a:cubicBezTo>
                  <a:pt x="2011680" y="5564851"/>
                  <a:pt x="1997710" y="5554056"/>
                  <a:pt x="1983740" y="5555326"/>
                </a:cubicBezTo>
                <a:cubicBezTo>
                  <a:pt x="1994535" y="5536276"/>
                  <a:pt x="1974850" y="5511511"/>
                  <a:pt x="1953895" y="5518496"/>
                </a:cubicBezTo>
                <a:cubicBezTo>
                  <a:pt x="1925320" y="5526116"/>
                  <a:pt x="1932940" y="5570566"/>
                  <a:pt x="1961515" y="5568661"/>
                </a:cubicBezTo>
                <a:cubicBezTo>
                  <a:pt x="1955800" y="5577551"/>
                  <a:pt x="1955800" y="5590886"/>
                  <a:pt x="1962785" y="5599776"/>
                </a:cubicBezTo>
                <a:cubicBezTo>
                  <a:pt x="1946910" y="5606761"/>
                  <a:pt x="1940560" y="5626446"/>
                  <a:pt x="1948815" y="5641686"/>
                </a:cubicBezTo>
                <a:cubicBezTo>
                  <a:pt x="1948180" y="5643591"/>
                  <a:pt x="1947545" y="5644861"/>
                  <a:pt x="1946910" y="5646766"/>
                </a:cubicBezTo>
                <a:cubicBezTo>
                  <a:pt x="1927225" y="5639146"/>
                  <a:pt x="1903095" y="5656291"/>
                  <a:pt x="1903730" y="5677246"/>
                </a:cubicBezTo>
                <a:cubicBezTo>
                  <a:pt x="1903095" y="5677246"/>
                  <a:pt x="1901825" y="5677246"/>
                  <a:pt x="1901190" y="5677246"/>
                </a:cubicBezTo>
                <a:cubicBezTo>
                  <a:pt x="1903730" y="5665181"/>
                  <a:pt x="1896745" y="5651211"/>
                  <a:pt x="1885950" y="5645496"/>
                </a:cubicBezTo>
                <a:cubicBezTo>
                  <a:pt x="1925955" y="5645496"/>
                  <a:pt x="1919605" y="5581361"/>
                  <a:pt x="1880235" y="5589616"/>
                </a:cubicBezTo>
                <a:cubicBezTo>
                  <a:pt x="1905000" y="5576281"/>
                  <a:pt x="1889760" y="5535006"/>
                  <a:pt x="1861820" y="5542626"/>
                </a:cubicBezTo>
                <a:cubicBezTo>
                  <a:pt x="1830070" y="5548976"/>
                  <a:pt x="1840230" y="5599141"/>
                  <a:pt x="1871980" y="5593426"/>
                </a:cubicBezTo>
                <a:cubicBezTo>
                  <a:pt x="1853565" y="5602951"/>
                  <a:pt x="1853565" y="5632161"/>
                  <a:pt x="1871980" y="5641686"/>
                </a:cubicBezTo>
                <a:cubicBezTo>
                  <a:pt x="1834515" y="5640416"/>
                  <a:pt x="1830070" y="5697566"/>
                  <a:pt x="1866900" y="5702646"/>
                </a:cubicBezTo>
                <a:cubicBezTo>
                  <a:pt x="1861820" y="5703916"/>
                  <a:pt x="1856105" y="5707091"/>
                  <a:pt x="1852295" y="5710901"/>
                </a:cubicBezTo>
                <a:cubicBezTo>
                  <a:pt x="1783080" y="5662006"/>
                  <a:pt x="1774190" y="5798531"/>
                  <a:pt x="1849120" y="5759161"/>
                </a:cubicBezTo>
                <a:cubicBezTo>
                  <a:pt x="1864360" y="5778846"/>
                  <a:pt x="1898015" y="5775036"/>
                  <a:pt x="1908175" y="5752811"/>
                </a:cubicBezTo>
                <a:cubicBezTo>
                  <a:pt x="1928495" y="5752176"/>
                  <a:pt x="1945640" y="5731221"/>
                  <a:pt x="1942465" y="5710901"/>
                </a:cubicBezTo>
                <a:cubicBezTo>
                  <a:pt x="1953260" y="5709631"/>
                  <a:pt x="1964055" y="5701376"/>
                  <a:pt x="1967865" y="5691216"/>
                </a:cubicBezTo>
                <a:cubicBezTo>
                  <a:pt x="1992630" y="5702646"/>
                  <a:pt x="2023110" y="5677246"/>
                  <a:pt x="2016125" y="5651211"/>
                </a:cubicBezTo>
                <a:cubicBezTo>
                  <a:pt x="2021205" y="5649306"/>
                  <a:pt x="2025650" y="5646766"/>
                  <a:pt x="2029460" y="5642956"/>
                </a:cubicBezTo>
                <a:cubicBezTo>
                  <a:pt x="2052320" y="5652481"/>
                  <a:pt x="2078990" y="5629621"/>
                  <a:pt x="2073275" y="5606126"/>
                </a:cubicBezTo>
                <a:cubicBezTo>
                  <a:pt x="2099310" y="5611841"/>
                  <a:pt x="2122805" y="5581996"/>
                  <a:pt x="2112010" y="5557866"/>
                </a:cubicBezTo>
                <a:cubicBezTo>
                  <a:pt x="2129155" y="5580091"/>
                  <a:pt x="2166620" y="5569296"/>
                  <a:pt x="2170430" y="5541991"/>
                </a:cubicBezTo>
                <a:cubicBezTo>
                  <a:pt x="2177415" y="5542626"/>
                  <a:pt x="2185035" y="5540721"/>
                  <a:pt x="2191385" y="5536911"/>
                </a:cubicBezTo>
                <a:lnTo>
                  <a:pt x="2191385" y="5536911"/>
                </a:lnTo>
                <a:cubicBezTo>
                  <a:pt x="2201545" y="5529926"/>
                  <a:pt x="2205990" y="5517226"/>
                  <a:pt x="2204085" y="5505796"/>
                </a:cubicBezTo>
                <a:cubicBezTo>
                  <a:pt x="2207260" y="5499446"/>
                  <a:pt x="2207895" y="5491191"/>
                  <a:pt x="2205355" y="5484206"/>
                </a:cubicBezTo>
                <a:cubicBezTo>
                  <a:pt x="2205990" y="5482301"/>
                  <a:pt x="2205990" y="5480396"/>
                  <a:pt x="2205990" y="5478491"/>
                </a:cubicBezTo>
                <a:cubicBezTo>
                  <a:pt x="2220595" y="5493731"/>
                  <a:pt x="2246630" y="5491191"/>
                  <a:pt x="2257425" y="5472776"/>
                </a:cubicBezTo>
                <a:cubicBezTo>
                  <a:pt x="2301875" y="5485476"/>
                  <a:pt x="2313305" y="5405466"/>
                  <a:pt x="2265045" y="5411181"/>
                </a:cubicBezTo>
                <a:cubicBezTo>
                  <a:pt x="2275840" y="5408641"/>
                  <a:pt x="2286635" y="5399116"/>
                  <a:pt x="2289810" y="5387686"/>
                </a:cubicBezTo>
                <a:cubicBezTo>
                  <a:pt x="2291080" y="5389591"/>
                  <a:pt x="2292985" y="5391496"/>
                  <a:pt x="2295525" y="5393401"/>
                </a:cubicBezTo>
                <a:cubicBezTo>
                  <a:pt x="2296160" y="5418801"/>
                  <a:pt x="2332355" y="5426421"/>
                  <a:pt x="2343785" y="5404196"/>
                </a:cubicBezTo>
                <a:cubicBezTo>
                  <a:pt x="2404110" y="5428326"/>
                  <a:pt x="2392680" y="5314026"/>
                  <a:pt x="2338070" y="5342601"/>
                </a:cubicBezTo>
                <a:cubicBezTo>
                  <a:pt x="2338070" y="5342601"/>
                  <a:pt x="2338070" y="5342601"/>
                  <a:pt x="2337435" y="5342601"/>
                </a:cubicBezTo>
                <a:cubicBezTo>
                  <a:pt x="2350135" y="5337521"/>
                  <a:pt x="2354580" y="5320376"/>
                  <a:pt x="2345055" y="5310216"/>
                </a:cubicBezTo>
                <a:cubicBezTo>
                  <a:pt x="2354580" y="5308311"/>
                  <a:pt x="2364740" y="5301961"/>
                  <a:pt x="2369185" y="5293071"/>
                </a:cubicBezTo>
                <a:cubicBezTo>
                  <a:pt x="2372360" y="5299421"/>
                  <a:pt x="2378710" y="5305136"/>
                  <a:pt x="2385695" y="5307676"/>
                </a:cubicBezTo>
                <a:cubicBezTo>
                  <a:pt x="2374900" y="5314661"/>
                  <a:pt x="2371090" y="5329901"/>
                  <a:pt x="2379345" y="5340696"/>
                </a:cubicBezTo>
                <a:cubicBezTo>
                  <a:pt x="2375535" y="5376256"/>
                  <a:pt x="2432685" y="5377526"/>
                  <a:pt x="2430780" y="5341966"/>
                </a:cubicBezTo>
                <a:cubicBezTo>
                  <a:pt x="2451735" y="5351491"/>
                  <a:pt x="2475865" y="5329266"/>
                  <a:pt x="2468245" y="5308311"/>
                </a:cubicBezTo>
                <a:cubicBezTo>
                  <a:pt x="2496820" y="5336886"/>
                  <a:pt x="2533650" y="5283546"/>
                  <a:pt x="2496820" y="5267036"/>
                </a:cubicBezTo>
                <a:cubicBezTo>
                  <a:pt x="2497455" y="5265766"/>
                  <a:pt x="2497455" y="5263861"/>
                  <a:pt x="2497455" y="5262591"/>
                </a:cubicBezTo>
                <a:cubicBezTo>
                  <a:pt x="2506980" y="5280371"/>
                  <a:pt x="2534285" y="5281641"/>
                  <a:pt x="2545080" y="5263861"/>
                </a:cubicBezTo>
                <a:cubicBezTo>
                  <a:pt x="2553335" y="5267036"/>
                  <a:pt x="2562860" y="5265766"/>
                  <a:pt x="2569210" y="5259416"/>
                </a:cubicBezTo>
                <a:cubicBezTo>
                  <a:pt x="2600960" y="5252431"/>
                  <a:pt x="2591435" y="5199091"/>
                  <a:pt x="2557780" y="5206711"/>
                </a:cubicBezTo>
                <a:close/>
                <a:moveTo>
                  <a:pt x="2141855" y="5503256"/>
                </a:moveTo>
                <a:cubicBezTo>
                  <a:pt x="2137410" y="5502621"/>
                  <a:pt x="2133600" y="5502621"/>
                  <a:pt x="2129155" y="5503256"/>
                </a:cubicBezTo>
                <a:cubicBezTo>
                  <a:pt x="2128520" y="5500716"/>
                  <a:pt x="2128520" y="5498811"/>
                  <a:pt x="2127250" y="5496271"/>
                </a:cubicBezTo>
                <a:cubicBezTo>
                  <a:pt x="2131695" y="5499446"/>
                  <a:pt x="2136775" y="5501986"/>
                  <a:pt x="2141855" y="5501986"/>
                </a:cubicBezTo>
                <a:cubicBezTo>
                  <a:pt x="2141855" y="5502621"/>
                  <a:pt x="2141855" y="5502621"/>
                  <a:pt x="2141855" y="5503256"/>
                </a:cubicBezTo>
                <a:close/>
                <a:moveTo>
                  <a:pt x="2207895" y="5426421"/>
                </a:moveTo>
                <a:cubicBezTo>
                  <a:pt x="2199640" y="5432136"/>
                  <a:pt x="2194560" y="5441661"/>
                  <a:pt x="2193925" y="5451186"/>
                </a:cubicBezTo>
                <a:cubicBezTo>
                  <a:pt x="2188210" y="5444836"/>
                  <a:pt x="2179955" y="5441026"/>
                  <a:pt x="2172335" y="5439756"/>
                </a:cubicBezTo>
                <a:cubicBezTo>
                  <a:pt x="2172970" y="5438486"/>
                  <a:pt x="2173605" y="5436581"/>
                  <a:pt x="2173605" y="5435311"/>
                </a:cubicBezTo>
                <a:cubicBezTo>
                  <a:pt x="2190115" y="5437216"/>
                  <a:pt x="2207895" y="5425151"/>
                  <a:pt x="2212340" y="5408641"/>
                </a:cubicBezTo>
                <a:cubicBezTo>
                  <a:pt x="2213610" y="5411181"/>
                  <a:pt x="2214880" y="5413086"/>
                  <a:pt x="2216785" y="5414991"/>
                </a:cubicBezTo>
                <a:cubicBezTo>
                  <a:pt x="2212340" y="5418166"/>
                  <a:pt x="2209800" y="5421976"/>
                  <a:pt x="2207895" y="5426421"/>
                </a:cubicBezTo>
                <a:close/>
                <a:moveTo>
                  <a:pt x="2255520" y="5411816"/>
                </a:moveTo>
                <a:cubicBezTo>
                  <a:pt x="2254250" y="5411816"/>
                  <a:pt x="2253615" y="5412451"/>
                  <a:pt x="2252980" y="5412451"/>
                </a:cubicBezTo>
                <a:cubicBezTo>
                  <a:pt x="2253615" y="5411816"/>
                  <a:pt x="2253615" y="5411181"/>
                  <a:pt x="2254250" y="5410546"/>
                </a:cubicBezTo>
                <a:cubicBezTo>
                  <a:pt x="2256155" y="5410546"/>
                  <a:pt x="2258695" y="5410546"/>
                  <a:pt x="2260600" y="5409911"/>
                </a:cubicBezTo>
                <a:cubicBezTo>
                  <a:pt x="2258060" y="5410546"/>
                  <a:pt x="2256790" y="5411181"/>
                  <a:pt x="2255520" y="5411816"/>
                </a:cubicBezTo>
                <a:close/>
                <a:moveTo>
                  <a:pt x="2491105" y="5246716"/>
                </a:moveTo>
                <a:cubicBezTo>
                  <a:pt x="2487930" y="5242271"/>
                  <a:pt x="2483485" y="5239731"/>
                  <a:pt x="2478405" y="5238461"/>
                </a:cubicBezTo>
                <a:cubicBezTo>
                  <a:pt x="2482850" y="5232111"/>
                  <a:pt x="2483485" y="5222586"/>
                  <a:pt x="2478405" y="5216871"/>
                </a:cubicBezTo>
                <a:cubicBezTo>
                  <a:pt x="2480310" y="5216871"/>
                  <a:pt x="2482215" y="5216871"/>
                  <a:pt x="2484120" y="5216236"/>
                </a:cubicBezTo>
                <a:cubicBezTo>
                  <a:pt x="2485390" y="5222586"/>
                  <a:pt x="2489200" y="5228936"/>
                  <a:pt x="2494915" y="5232746"/>
                </a:cubicBezTo>
                <a:cubicBezTo>
                  <a:pt x="2492375" y="5236556"/>
                  <a:pt x="2491105" y="5241636"/>
                  <a:pt x="2491105" y="5246716"/>
                </a:cubicBezTo>
                <a:close/>
                <a:moveTo>
                  <a:pt x="1539240" y="5892511"/>
                </a:moveTo>
                <a:cubicBezTo>
                  <a:pt x="1556385" y="5869016"/>
                  <a:pt x="1536065" y="5833456"/>
                  <a:pt x="1506855" y="5837266"/>
                </a:cubicBezTo>
                <a:cubicBezTo>
                  <a:pt x="1457960" y="5841076"/>
                  <a:pt x="1468755" y="5917911"/>
                  <a:pt x="1517015" y="5907751"/>
                </a:cubicBezTo>
                <a:cubicBezTo>
                  <a:pt x="1495425" y="5935056"/>
                  <a:pt x="1525270" y="5977601"/>
                  <a:pt x="1558290" y="5966806"/>
                </a:cubicBezTo>
                <a:cubicBezTo>
                  <a:pt x="1605280" y="5954106"/>
                  <a:pt x="1586230" y="5880446"/>
                  <a:pt x="1539240" y="5892511"/>
                </a:cubicBezTo>
                <a:close/>
                <a:moveTo>
                  <a:pt x="1501140" y="5802341"/>
                </a:moveTo>
                <a:cubicBezTo>
                  <a:pt x="1504315" y="5759161"/>
                  <a:pt x="1437005" y="5755351"/>
                  <a:pt x="1435100" y="5798531"/>
                </a:cubicBezTo>
                <a:cubicBezTo>
                  <a:pt x="1431290" y="5841076"/>
                  <a:pt x="1499235" y="5844886"/>
                  <a:pt x="1501140" y="5802341"/>
                </a:cubicBezTo>
                <a:close/>
                <a:moveTo>
                  <a:pt x="3637915" y="4651086"/>
                </a:moveTo>
                <a:cubicBezTo>
                  <a:pt x="3618865" y="4659341"/>
                  <a:pt x="3632835" y="4689186"/>
                  <a:pt x="3651250" y="4679661"/>
                </a:cubicBezTo>
                <a:cubicBezTo>
                  <a:pt x="3670300" y="4671406"/>
                  <a:pt x="3656330" y="4642196"/>
                  <a:pt x="3637915" y="4651086"/>
                </a:cubicBezTo>
                <a:close/>
                <a:moveTo>
                  <a:pt x="3187065" y="4865716"/>
                </a:moveTo>
                <a:cubicBezTo>
                  <a:pt x="3186430" y="4865081"/>
                  <a:pt x="3185795" y="4864446"/>
                  <a:pt x="3185160" y="4863811"/>
                </a:cubicBezTo>
                <a:cubicBezTo>
                  <a:pt x="3197860" y="4845396"/>
                  <a:pt x="3173095" y="4821901"/>
                  <a:pt x="3155315" y="4835871"/>
                </a:cubicBezTo>
                <a:cubicBezTo>
                  <a:pt x="3160395" y="4816186"/>
                  <a:pt x="3134995" y="4799041"/>
                  <a:pt x="3119120" y="4812376"/>
                </a:cubicBezTo>
                <a:cubicBezTo>
                  <a:pt x="3094355" y="4830156"/>
                  <a:pt x="3123565" y="4868891"/>
                  <a:pt x="3147060" y="4849206"/>
                </a:cubicBezTo>
                <a:cubicBezTo>
                  <a:pt x="3145790" y="4856826"/>
                  <a:pt x="3148965" y="4865716"/>
                  <a:pt x="3155950" y="4870161"/>
                </a:cubicBezTo>
                <a:cubicBezTo>
                  <a:pt x="3149600" y="4882861"/>
                  <a:pt x="3162935" y="4899371"/>
                  <a:pt x="3176905" y="4895561"/>
                </a:cubicBezTo>
                <a:cubicBezTo>
                  <a:pt x="3198495" y="4906991"/>
                  <a:pt x="3211195" y="4869526"/>
                  <a:pt x="3187065" y="4865716"/>
                </a:cubicBezTo>
                <a:close/>
                <a:moveTo>
                  <a:pt x="3246120" y="4826981"/>
                </a:moveTo>
                <a:cubicBezTo>
                  <a:pt x="3271520" y="4812376"/>
                  <a:pt x="3244850" y="4774276"/>
                  <a:pt x="3222625" y="4793326"/>
                </a:cubicBezTo>
                <a:cubicBezTo>
                  <a:pt x="3240405" y="4773641"/>
                  <a:pt x="3212465" y="4743161"/>
                  <a:pt x="3190875" y="4759671"/>
                </a:cubicBezTo>
                <a:cubicBezTo>
                  <a:pt x="3165475" y="4778086"/>
                  <a:pt x="3196590" y="4816821"/>
                  <a:pt x="3219450" y="4795866"/>
                </a:cubicBezTo>
                <a:cubicBezTo>
                  <a:pt x="3211195" y="4805391"/>
                  <a:pt x="3213735" y="4821266"/>
                  <a:pt x="3225165" y="4826981"/>
                </a:cubicBezTo>
                <a:cubicBezTo>
                  <a:pt x="3214370" y="4833966"/>
                  <a:pt x="3215005" y="4851746"/>
                  <a:pt x="3227070" y="4858096"/>
                </a:cubicBezTo>
                <a:cubicBezTo>
                  <a:pt x="3234055" y="4882861"/>
                  <a:pt x="3270885" y="4863176"/>
                  <a:pt x="3254375" y="4843491"/>
                </a:cubicBezTo>
                <a:cubicBezTo>
                  <a:pt x="3255010" y="4837776"/>
                  <a:pt x="3251200" y="4830791"/>
                  <a:pt x="3246120" y="4826981"/>
                </a:cubicBezTo>
                <a:close/>
                <a:moveTo>
                  <a:pt x="3120390" y="4893656"/>
                </a:moveTo>
                <a:cubicBezTo>
                  <a:pt x="3119120" y="4876511"/>
                  <a:pt x="3095625" y="4868256"/>
                  <a:pt x="3084195" y="4882226"/>
                </a:cubicBezTo>
                <a:cubicBezTo>
                  <a:pt x="3083560" y="4864446"/>
                  <a:pt x="3061335" y="4853651"/>
                  <a:pt x="3047365" y="4864446"/>
                </a:cubicBezTo>
                <a:cubicBezTo>
                  <a:pt x="3019425" y="4884766"/>
                  <a:pt x="3058160" y="4924771"/>
                  <a:pt x="3079115" y="4897466"/>
                </a:cubicBezTo>
                <a:cubicBezTo>
                  <a:pt x="3079750" y="4905086"/>
                  <a:pt x="3084830" y="4912071"/>
                  <a:pt x="3091815" y="4914611"/>
                </a:cubicBezTo>
                <a:cubicBezTo>
                  <a:pt x="3093720" y="4929851"/>
                  <a:pt x="3114675" y="4934931"/>
                  <a:pt x="3124200" y="4922866"/>
                </a:cubicBezTo>
                <a:cubicBezTo>
                  <a:pt x="3151505" y="4928581"/>
                  <a:pt x="3146425" y="4882861"/>
                  <a:pt x="3120390" y="4893656"/>
                </a:cubicBezTo>
                <a:close/>
                <a:moveTo>
                  <a:pt x="3063240" y="4920961"/>
                </a:moveTo>
                <a:cubicBezTo>
                  <a:pt x="3058795" y="4922866"/>
                  <a:pt x="3056255" y="4926676"/>
                  <a:pt x="3054985" y="4930486"/>
                </a:cubicBezTo>
                <a:cubicBezTo>
                  <a:pt x="3053715" y="4929851"/>
                  <a:pt x="3051810" y="4929216"/>
                  <a:pt x="3050540" y="4929216"/>
                </a:cubicBezTo>
                <a:cubicBezTo>
                  <a:pt x="3042285" y="4913976"/>
                  <a:pt x="3017520" y="4917151"/>
                  <a:pt x="3013075" y="4933661"/>
                </a:cubicBezTo>
                <a:cubicBezTo>
                  <a:pt x="3011170" y="4916516"/>
                  <a:pt x="2990215" y="4907626"/>
                  <a:pt x="2976245" y="4917786"/>
                </a:cubicBezTo>
                <a:cubicBezTo>
                  <a:pt x="2954655" y="4932391"/>
                  <a:pt x="2973070" y="4967316"/>
                  <a:pt x="2997200" y="4958426"/>
                </a:cubicBezTo>
                <a:cubicBezTo>
                  <a:pt x="2992120" y="4982556"/>
                  <a:pt x="3031490" y="4983826"/>
                  <a:pt x="3028315" y="4959696"/>
                </a:cubicBezTo>
                <a:cubicBezTo>
                  <a:pt x="3030220" y="4960331"/>
                  <a:pt x="3032760" y="4960331"/>
                  <a:pt x="3034665" y="4960331"/>
                </a:cubicBezTo>
                <a:cubicBezTo>
                  <a:pt x="3044825" y="4970491"/>
                  <a:pt x="3063240" y="4964141"/>
                  <a:pt x="3065145" y="4950171"/>
                </a:cubicBezTo>
                <a:cubicBezTo>
                  <a:pt x="3093085" y="4958426"/>
                  <a:pt x="3090545" y="4909531"/>
                  <a:pt x="3063240" y="4920961"/>
                </a:cubicBezTo>
                <a:close/>
                <a:moveTo>
                  <a:pt x="3010535" y="4946361"/>
                </a:moveTo>
                <a:cubicBezTo>
                  <a:pt x="3011170" y="4945091"/>
                  <a:pt x="3011170" y="4944456"/>
                  <a:pt x="3011805" y="4943186"/>
                </a:cubicBezTo>
                <a:cubicBezTo>
                  <a:pt x="3011805" y="4944456"/>
                  <a:pt x="3012440" y="4945091"/>
                  <a:pt x="3012440" y="4946361"/>
                </a:cubicBezTo>
                <a:cubicBezTo>
                  <a:pt x="3011805" y="4946361"/>
                  <a:pt x="3011170" y="4946361"/>
                  <a:pt x="3010535" y="4946361"/>
                </a:cubicBezTo>
                <a:close/>
                <a:moveTo>
                  <a:pt x="2543175" y="5173056"/>
                </a:moveTo>
                <a:cubicBezTo>
                  <a:pt x="2567940" y="5173056"/>
                  <a:pt x="2560320" y="5133686"/>
                  <a:pt x="2537460" y="5142576"/>
                </a:cubicBezTo>
                <a:cubicBezTo>
                  <a:pt x="2521585" y="5148291"/>
                  <a:pt x="2526030" y="5173691"/>
                  <a:pt x="2543175" y="5173056"/>
                </a:cubicBezTo>
                <a:close/>
                <a:moveTo>
                  <a:pt x="2868295" y="5034626"/>
                </a:moveTo>
                <a:cubicBezTo>
                  <a:pt x="2860675" y="5004781"/>
                  <a:pt x="2812415" y="5019386"/>
                  <a:pt x="2823845" y="5047961"/>
                </a:cubicBezTo>
                <a:cubicBezTo>
                  <a:pt x="2821305" y="5048596"/>
                  <a:pt x="2818765" y="5049231"/>
                  <a:pt x="2816860" y="5051136"/>
                </a:cubicBezTo>
                <a:cubicBezTo>
                  <a:pt x="2818765" y="5032721"/>
                  <a:pt x="2797810" y="5018116"/>
                  <a:pt x="2781300" y="5025736"/>
                </a:cubicBezTo>
                <a:cubicBezTo>
                  <a:pt x="2777490" y="5004781"/>
                  <a:pt x="2749550" y="4996526"/>
                  <a:pt x="2734945" y="5011131"/>
                </a:cubicBezTo>
                <a:cubicBezTo>
                  <a:pt x="2712085" y="5031451"/>
                  <a:pt x="2736850" y="5070186"/>
                  <a:pt x="2764790" y="5058121"/>
                </a:cubicBezTo>
                <a:cubicBezTo>
                  <a:pt x="2763520" y="5061931"/>
                  <a:pt x="2763520" y="5067646"/>
                  <a:pt x="2766060" y="5071456"/>
                </a:cubicBezTo>
                <a:cubicBezTo>
                  <a:pt x="2757170" y="5073996"/>
                  <a:pt x="2751455" y="5082886"/>
                  <a:pt x="2750820" y="5091776"/>
                </a:cubicBezTo>
                <a:cubicBezTo>
                  <a:pt x="2746375" y="5093681"/>
                  <a:pt x="2743200" y="5096856"/>
                  <a:pt x="2741295" y="5100666"/>
                </a:cubicBezTo>
                <a:cubicBezTo>
                  <a:pt x="2738755" y="5098761"/>
                  <a:pt x="2737485" y="5096856"/>
                  <a:pt x="2735580" y="5094316"/>
                </a:cubicBezTo>
                <a:cubicBezTo>
                  <a:pt x="2745740" y="5070821"/>
                  <a:pt x="2705100" y="5062566"/>
                  <a:pt x="2705100" y="5087966"/>
                </a:cubicBezTo>
                <a:cubicBezTo>
                  <a:pt x="2703830" y="5088601"/>
                  <a:pt x="2702560" y="5089236"/>
                  <a:pt x="2701290" y="5090506"/>
                </a:cubicBezTo>
                <a:cubicBezTo>
                  <a:pt x="2679065" y="5049231"/>
                  <a:pt x="2623185" y="5102571"/>
                  <a:pt x="2656205" y="5126066"/>
                </a:cubicBezTo>
                <a:cubicBezTo>
                  <a:pt x="2647315" y="5129241"/>
                  <a:pt x="2642870" y="5138766"/>
                  <a:pt x="2644775" y="5147021"/>
                </a:cubicBezTo>
                <a:cubicBezTo>
                  <a:pt x="2635885" y="5145116"/>
                  <a:pt x="2625090" y="5148926"/>
                  <a:pt x="2620010" y="5157181"/>
                </a:cubicBezTo>
                <a:cubicBezTo>
                  <a:pt x="2618105" y="5154641"/>
                  <a:pt x="2615565" y="5152736"/>
                  <a:pt x="2613025" y="5150831"/>
                </a:cubicBezTo>
                <a:cubicBezTo>
                  <a:pt x="2637790" y="5133686"/>
                  <a:pt x="2620645" y="5091776"/>
                  <a:pt x="2591435" y="5096221"/>
                </a:cubicBezTo>
                <a:cubicBezTo>
                  <a:pt x="2597785" y="5065741"/>
                  <a:pt x="2556510" y="5044151"/>
                  <a:pt x="2535555" y="5067646"/>
                </a:cubicBezTo>
                <a:cubicBezTo>
                  <a:pt x="2536825" y="5035261"/>
                  <a:pt x="2491740" y="5018751"/>
                  <a:pt x="2472055" y="5045421"/>
                </a:cubicBezTo>
                <a:cubicBezTo>
                  <a:pt x="2444115" y="5079711"/>
                  <a:pt x="2496185" y="5124796"/>
                  <a:pt x="2526030" y="5091776"/>
                </a:cubicBezTo>
                <a:cubicBezTo>
                  <a:pt x="2526030" y="5110826"/>
                  <a:pt x="2545715" y="5127336"/>
                  <a:pt x="2564130" y="5123526"/>
                </a:cubicBezTo>
                <a:cubicBezTo>
                  <a:pt x="2562860" y="5135591"/>
                  <a:pt x="2569210" y="5148291"/>
                  <a:pt x="2580640" y="5154006"/>
                </a:cubicBezTo>
                <a:cubicBezTo>
                  <a:pt x="2558415" y="5171786"/>
                  <a:pt x="2578100" y="5209886"/>
                  <a:pt x="2605405" y="5202901"/>
                </a:cubicBezTo>
                <a:cubicBezTo>
                  <a:pt x="2616835" y="5222586"/>
                  <a:pt x="2647950" y="5220681"/>
                  <a:pt x="2651125" y="5196551"/>
                </a:cubicBezTo>
                <a:cubicBezTo>
                  <a:pt x="2665095" y="5191471"/>
                  <a:pt x="2670810" y="5174326"/>
                  <a:pt x="2664460" y="5161626"/>
                </a:cubicBezTo>
                <a:cubicBezTo>
                  <a:pt x="2667000" y="5161626"/>
                  <a:pt x="2669540" y="5160991"/>
                  <a:pt x="2672080" y="5159721"/>
                </a:cubicBezTo>
                <a:cubicBezTo>
                  <a:pt x="2677160" y="5170516"/>
                  <a:pt x="2691765" y="5174326"/>
                  <a:pt x="2701290" y="5167976"/>
                </a:cubicBezTo>
                <a:cubicBezTo>
                  <a:pt x="2717165" y="5169246"/>
                  <a:pt x="2729865" y="5150831"/>
                  <a:pt x="2723515" y="5136226"/>
                </a:cubicBezTo>
                <a:cubicBezTo>
                  <a:pt x="2730500" y="5133051"/>
                  <a:pt x="2739390" y="5129876"/>
                  <a:pt x="2743835" y="5122891"/>
                </a:cubicBezTo>
                <a:cubicBezTo>
                  <a:pt x="2753360" y="5136226"/>
                  <a:pt x="2776220" y="5131781"/>
                  <a:pt x="2780030" y="5115906"/>
                </a:cubicBezTo>
                <a:cubicBezTo>
                  <a:pt x="2787650" y="5114001"/>
                  <a:pt x="2794635" y="5107651"/>
                  <a:pt x="2796540" y="5100031"/>
                </a:cubicBezTo>
                <a:cubicBezTo>
                  <a:pt x="2806065" y="5098761"/>
                  <a:pt x="2812415" y="5089236"/>
                  <a:pt x="2811145" y="5080346"/>
                </a:cubicBezTo>
                <a:cubicBezTo>
                  <a:pt x="2822575" y="5099396"/>
                  <a:pt x="2853055" y="5087331"/>
                  <a:pt x="2849245" y="5066376"/>
                </a:cubicBezTo>
                <a:cubicBezTo>
                  <a:pt x="2867660" y="5075901"/>
                  <a:pt x="2885440" y="5047326"/>
                  <a:pt x="2868295" y="5034626"/>
                </a:cubicBezTo>
                <a:close/>
                <a:moveTo>
                  <a:pt x="2677795" y="5133051"/>
                </a:moveTo>
                <a:cubicBezTo>
                  <a:pt x="2677795" y="5133051"/>
                  <a:pt x="2677160" y="5132416"/>
                  <a:pt x="2677160" y="5132416"/>
                </a:cubicBezTo>
                <a:cubicBezTo>
                  <a:pt x="2677795" y="5132416"/>
                  <a:pt x="2678430" y="5132416"/>
                  <a:pt x="2679700" y="5132416"/>
                </a:cubicBezTo>
                <a:cubicBezTo>
                  <a:pt x="2678430" y="5131781"/>
                  <a:pt x="2678430" y="5132416"/>
                  <a:pt x="2677795" y="5133051"/>
                </a:cubicBezTo>
                <a:close/>
                <a:moveTo>
                  <a:pt x="2806700" y="5070186"/>
                </a:moveTo>
                <a:cubicBezTo>
                  <a:pt x="2806700" y="5070186"/>
                  <a:pt x="2807335" y="5069551"/>
                  <a:pt x="2807335" y="5069551"/>
                </a:cubicBezTo>
                <a:cubicBezTo>
                  <a:pt x="2807335" y="5070186"/>
                  <a:pt x="2807335" y="5070821"/>
                  <a:pt x="2807335" y="5071456"/>
                </a:cubicBezTo>
                <a:cubicBezTo>
                  <a:pt x="2807335" y="5070821"/>
                  <a:pt x="2807335" y="5070186"/>
                  <a:pt x="2806700" y="5070186"/>
                </a:cubicBezTo>
                <a:close/>
                <a:moveTo>
                  <a:pt x="3295015" y="4712046"/>
                </a:moveTo>
                <a:cubicBezTo>
                  <a:pt x="3277235" y="4687281"/>
                  <a:pt x="3239135" y="4715856"/>
                  <a:pt x="3257550" y="4739351"/>
                </a:cubicBezTo>
                <a:cubicBezTo>
                  <a:pt x="3274695" y="4764116"/>
                  <a:pt x="3312795" y="4736176"/>
                  <a:pt x="3295015" y="4712046"/>
                </a:cubicBezTo>
                <a:close/>
                <a:moveTo>
                  <a:pt x="3361690" y="4691726"/>
                </a:moveTo>
                <a:cubicBezTo>
                  <a:pt x="3386455" y="4673946"/>
                  <a:pt x="3358515" y="4635846"/>
                  <a:pt x="3334385" y="4654261"/>
                </a:cubicBezTo>
                <a:cubicBezTo>
                  <a:pt x="3308985" y="4672041"/>
                  <a:pt x="3337560" y="4710141"/>
                  <a:pt x="3361690" y="4691726"/>
                </a:cubicBezTo>
                <a:close/>
                <a:moveTo>
                  <a:pt x="4043045" y="4467571"/>
                </a:moveTo>
                <a:cubicBezTo>
                  <a:pt x="4023995" y="4475826"/>
                  <a:pt x="4037330" y="4505036"/>
                  <a:pt x="4055745" y="4496781"/>
                </a:cubicBezTo>
                <a:cubicBezTo>
                  <a:pt x="4074795" y="4488526"/>
                  <a:pt x="4062095" y="4459316"/>
                  <a:pt x="4043045" y="4467571"/>
                </a:cubicBezTo>
                <a:close/>
                <a:moveTo>
                  <a:pt x="4048760" y="4288501"/>
                </a:moveTo>
                <a:cubicBezTo>
                  <a:pt x="4024630" y="4301201"/>
                  <a:pt x="4044950" y="4338031"/>
                  <a:pt x="4068445" y="4325331"/>
                </a:cubicBezTo>
                <a:cubicBezTo>
                  <a:pt x="4092575" y="4312631"/>
                  <a:pt x="4072890" y="4275166"/>
                  <a:pt x="4048760" y="4288501"/>
                </a:cubicBezTo>
                <a:close/>
                <a:moveTo>
                  <a:pt x="4051935" y="4383751"/>
                </a:moveTo>
                <a:cubicBezTo>
                  <a:pt x="4030345" y="4393911"/>
                  <a:pt x="4046855" y="4427566"/>
                  <a:pt x="4068445" y="4416771"/>
                </a:cubicBezTo>
                <a:cubicBezTo>
                  <a:pt x="4090035" y="4406611"/>
                  <a:pt x="4073525" y="4372956"/>
                  <a:pt x="4051935" y="4383751"/>
                </a:cubicBezTo>
                <a:close/>
                <a:moveTo>
                  <a:pt x="4101465" y="4442171"/>
                </a:moveTo>
                <a:cubicBezTo>
                  <a:pt x="4082415" y="4449791"/>
                  <a:pt x="4095115" y="4479636"/>
                  <a:pt x="4114165" y="4471381"/>
                </a:cubicBezTo>
                <a:cubicBezTo>
                  <a:pt x="4133215" y="4463761"/>
                  <a:pt x="4120515" y="4433916"/>
                  <a:pt x="4101465" y="4442171"/>
                </a:cubicBezTo>
                <a:close/>
                <a:moveTo>
                  <a:pt x="4107180" y="4169121"/>
                </a:moveTo>
                <a:cubicBezTo>
                  <a:pt x="4093210" y="4142451"/>
                  <a:pt x="4051300" y="4165311"/>
                  <a:pt x="4066540" y="4191981"/>
                </a:cubicBezTo>
                <a:cubicBezTo>
                  <a:pt x="4081145" y="4218651"/>
                  <a:pt x="4122420" y="4195156"/>
                  <a:pt x="4107180" y="4169121"/>
                </a:cubicBezTo>
                <a:close/>
                <a:moveTo>
                  <a:pt x="3984625" y="4492971"/>
                </a:moveTo>
                <a:cubicBezTo>
                  <a:pt x="3965575" y="4501226"/>
                  <a:pt x="3978910" y="4530436"/>
                  <a:pt x="3997325" y="4522181"/>
                </a:cubicBezTo>
                <a:cubicBezTo>
                  <a:pt x="4016375" y="4513926"/>
                  <a:pt x="4003675" y="4484716"/>
                  <a:pt x="3984625" y="4492971"/>
                </a:cubicBezTo>
                <a:close/>
                <a:moveTo>
                  <a:pt x="3987800" y="4416136"/>
                </a:moveTo>
                <a:cubicBezTo>
                  <a:pt x="3966210" y="4426296"/>
                  <a:pt x="3983355" y="4459951"/>
                  <a:pt x="4004310" y="4449156"/>
                </a:cubicBezTo>
                <a:cubicBezTo>
                  <a:pt x="4025265" y="4438361"/>
                  <a:pt x="4008755" y="4405341"/>
                  <a:pt x="3987800" y="4416136"/>
                </a:cubicBezTo>
                <a:close/>
                <a:moveTo>
                  <a:pt x="3997960" y="4204681"/>
                </a:moveTo>
                <a:cubicBezTo>
                  <a:pt x="3971290" y="4219921"/>
                  <a:pt x="3996055" y="4260561"/>
                  <a:pt x="4021455" y="4244686"/>
                </a:cubicBezTo>
                <a:cubicBezTo>
                  <a:pt x="4048125" y="4230081"/>
                  <a:pt x="4023995" y="4188806"/>
                  <a:pt x="3997960" y="4204681"/>
                </a:cubicBezTo>
                <a:close/>
                <a:moveTo>
                  <a:pt x="4159885" y="4417406"/>
                </a:moveTo>
                <a:cubicBezTo>
                  <a:pt x="4140835" y="4425026"/>
                  <a:pt x="4153535" y="4454871"/>
                  <a:pt x="4171950" y="4446616"/>
                </a:cubicBezTo>
                <a:cubicBezTo>
                  <a:pt x="4191635" y="4438996"/>
                  <a:pt x="4178935" y="4409151"/>
                  <a:pt x="4159885" y="4417406"/>
                </a:cubicBezTo>
                <a:close/>
                <a:moveTo>
                  <a:pt x="4272280" y="4301201"/>
                </a:moveTo>
                <a:cubicBezTo>
                  <a:pt x="4262755" y="4278976"/>
                  <a:pt x="4229100" y="4294851"/>
                  <a:pt x="4238625" y="4316441"/>
                </a:cubicBezTo>
                <a:cubicBezTo>
                  <a:pt x="4248150" y="4338031"/>
                  <a:pt x="4282440" y="4322791"/>
                  <a:pt x="4272280" y="4301201"/>
                </a:cubicBezTo>
                <a:close/>
                <a:moveTo>
                  <a:pt x="4218940" y="4393276"/>
                </a:moveTo>
                <a:cubicBezTo>
                  <a:pt x="4199890" y="4400896"/>
                  <a:pt x="4212590" y="4430741"/>
                  <a:pt x="4231005" y="4422486"/>
                </a:cubicBezTo>
                <a:cubicBezTo>
                  <a:pt x="4250055" y="4414866"/>
                  <a:pt x="4237355" y="4385021"/>
                  <a:pt x="4218940" y="4393276"/>
                </a:cubicBezTo>
                <a:close/>
                <a:moveTo>
                  <a:pt x="4277995" y="4369146"/>
                </a:moveTo>
                <a:cubicBezTo>
                  <a:pt x="4258945" y="4376766"/>
                  <a:pt x="4271010" y="4406611"/>
                  <a:pt x="4290060" y="4398356"/>
                </a:cubicBezTo>
                <a:cubicBezTo>
                  <a:pt x="4309110" y="4391371"/>
                  <a:pt x="4297045" y="4361526"/>
                  <a:pt x="4277995" y="4369146"/>
                </a:cubicBezTo>
                <a:close/>
                <a:moveTo>
                  <a:pt x="4148455" y="4259291"/>
                </a:moveTo>
                <a:cubicBezTo>
                  <a:pt x="4136390" y="4235161"/>
                  <a:pt x="4098925" y="4254846"/>
                  <a:pt x="4111625" y="4278341"/>
                </a:cubicBezTo>
                <a:cubicBezTo>
                  <a:pt x="4123690" y="4303106"/>
                  <a:pt x="4161155" y="4283421"/>
                  <a:pt x="4148455" y="4259291"/>
                </a:cubicBezTo>
                <a:close/>
                <a:moveTo>
                  <a:pt x="4182110" y="4321521"/>
                </a:moveTo>
                <a:cubicBezTo>
                  <a:pt x="4160520" y="4331046"/>
                  <a:pt x="4176395" y="4365336"/>
                  <a:pt x="4197350" y="4354541"/>
                </a:cubicBezTo>
                <a:cubicBezTo>
                  <a:pt x="4219575" y="4345651"/>
                  <a:pt x="4203700" y="4311361"/>
                  <a:pt x="4182110" y="4321521"/>
                </a:cubicBezTo>
                <a:close/>
                <a:moveTo>
                  <a:pt x="4116705" y="4352636"/>
                </a:moveTo>
                <a:cubicBezTo>
                  <a:pt x="4095115" y="4362796"/>
                  <a:pt x="4111625" y="4396451"/>
                  <a:pt x="4132580" y="4385656"/>
                </a:cubicBezTo>
                <a:cubicBezTo>
                  <a:pt x="4154170" y="4375496"/>
                  <a:pt x="4138295" y="4341841"/>
                  <a:pt x="4116705" y="4352636"/>
                </a:cubicBezTo>
                <a:close/>
                <a:moveTo>
                  <a:pt x="3998595" y="4363431"/>
                </a:moveTo>
                <a:cubicBezTo>
                  <a:pt x="4022090" y="4350731"/>
                  <a:pt x="4001770" y="4313266"/>
                  <a:pt x="3978275" y="4327236"/>
                </a:cubicBezTo>
                <a:cubicBezTo>
                  <a:pt x="3954145" y="4339936"/>
                  <a:pt x="3975100" y="4376766"/>
                  <a:pt x="3998595" y="4363431"/>
                </a:cubicBezTo>
                <a:close/>
                <a:moveTo>
                  <a:pt x="3928745" y="4402801"/>
                </a:moveTo>
                <a:cubicBezTo>
                  <a:pt x="3952240" y="4389466"/>
                  <a:pt x="3931285" y="4352636"/>
                  <a:pt x="3907790" y="4366606"/>
                </a:cubicBezTo>
                <a:cubicBezTo>
                  <a:pt x="3884295" y="4379941"/>
                  <a:pt x="3905885" y="4416771"/>
                  <a:pt x="3928745" y="4402801"/>
                </a:cubicBezTo>
                <a:close/>
                <a:moveTo>
                  <a:pt x="3867150" y="4414866"/>
                </a:moveTo>
                <a:cubicBezTo>
                  <a:pt x="3853815" y="4391371"/>
                  <a:pt x="3816985" y="4412961"/>
                  <a:pt x="3831590" y="4435821"/>
                </a:cubicBezTo>
                <a:cubicBezTo>
                  <a:pt x="3844290" y="4459316"/>
                  <a:pt x="3881120" y="4437726"/>
                  <a:pt x="3867150" y="4414866"/>
                </a:cubicBezTo>
                <a:close/>
                <a:moveTo>
                  <a:pt x="3810635" y="4571076"/>
                </a:moveTo>
                <a:cubicBezTo>
                  <a:pt x="3791585" y="4579331"/>
                  <a:pt x="3805555" y="4608541"/>
                  <a:pt x="3823970" y="4599651"/>
                </a:cubicBezTo>
                <a:cubicBezTo>
                  <a:pt x="3843020" y="4592031"/>
                  <a:pt x="3829685" y="4562186"/>
                  <a:pt x="3810635" y="4571076"/>
                </a:cubicBezTo>
                <a:close/>
                <a:moveTo>
                  <a:pt x="3797935" y="4455506"/>
                </a:moveTo>
                <a:cubicBezTo>
                  <a:pt x="3784600" y="4432011"/>
                  <a:pt x="3747770" y="4454236"/>
                  <a:pt x="3762375" y="4477096"/>
                </a:cubicBezTo>
                <a:cubicBezTo>
                  <a:pt x="3775710" y="4500591"/>
                  <a:pt x="3811905" y="4479001"/>
                  <a:pt x="3797935" y="4455506"/>
                </a:cubicBezTo>
                <a:close/>
                <a:moveTo>
                  <a:pt x="3812540" y="4547581"/>
                </a:moveTo>
                <a:cubicBezTo>
                  <a:pt x="3833495" y="4536786"/>
                  <a:pt x="3816350" y="4503766"/>
                  <a:pt x="3795395" y="4515196"/>
                </a:cubicBezTo>
                <a:cubicBezTo>
                  <a:pt x="3774440" y="4525991"/>
                  <a:pt x="3792220" y="4559646"/>
                  <a:pt x="3812540" y="4547581"/>
                </a:cubicBezTo>
                <a:close/>
                <a:moveTo>
                  <a:pt x="3695700" y="4624416"/>
                </a:moveTo>
                <a:cubicBezTo>
                  <a:pt x="3676650" y="4632671"/>
                  <a:pt x="3690620" y="4662516"/>
                  <a:pt x="3709035" y="4652991"/>
                </a:cubicBezTo>
                <a:cubicBezTo>
                  <a:pt x="3727450" y="4644736"/>
                  <a:pt x="3714115" y="4615526"/>
                  <a:pt x="3695700" y="4624416"/>
                </a:cubicBezTo>
                <a:close/>
                <a:moveTo>
                  <a:pt x="3752850" y="4597746"/>
                </a:moveTo>
                <a:cubicBezTo>
                  <a:pt x="3733800" y="4606001"/>
                  <a:pt x="3747770" y="4635846"/>
                  <a:pt x="3766185" y="4626321"/>
                </a:cubicBezTo>
                <a:cubicBezTo>
                  <a:pt x="3785235" y="4618066"/>
                  <a:pt x="3771900" y="4588856"/>
                  <a:pt x="3752850" y="4597746"/>
                </a:cubicBezTo>
                <a:close/>
                <a:moveTo>
                  <a:pt x="3756660" y="4556471"/>
                </a:moveTo>
                <a:cubicBezTo>
                  <a:pt x="3745865" y="4535516"/>
                  <a:pt x="3712845" y="4552661"/>
                  <a:pt x="3724275" y="4573616"/>
                </a:cubicBezTo>
                <a:cubicBezTo>
                  <a:pt x="3735705" y="4595206"/>
                  <a:pt x="3768090" y="4577426"/>
                  <a:pt x="3756660" y="4556471"/>
                </a:cubicBezTo>
                <a:close/>
                <a:moveTo>
                  <a:pt x="3921125" y="4250401"/>
                </a:moveTo>
                <a:cubicBezTo>
                  <a:pt x="3895090" y="4265641"/>
                  <a:pt x="3920490" y="4306281"/>
                  <a:pt x="3945890" y="4289771"/>
                </a:cubicBezTo>
                <a:cubicBezTo>
                  <a:pt x="3971925" y="4274531"/>
                  <a:pt x="3947160" y="4234526"/>
                  <a:pt x="3921125" y="4250401"/>
                </a:cubicBezTo>
                <a:close/>
                <a:moveTo>
                  <a:pt x="3923030" y="4448521"/>
                </a:moveTo>
                <a:cubicBezTo>
                  <a:pt x="3901440" y="4459316"/>
                  <a:pt x="3919220" y="4492336"/>
                  <a:pt x="3939540" y="4480906"/>
                </a:cubicBezTo>
                <a:lnTo>
                  <a:pt x="3939540" y="4480906"/>
                </a:lnTo>
                <a:cubicBezTo>
                  <a:pt x="3961130" y="4470746"/>
                  <a:pt x="3944620" y="4437726"/>
                  <a:pt x="3923030" y="4448521"/>
                </a:cubicBezTo>
                <a:close/>
                <a:moveTo>
                  <a:pt x="3924300" y="4124671"/>
                </a:moveTo>
                <a:cubicBezTo>
                  <a:pt x="3895725" y="4142451"/>
                  <a:pt x="3924300" y="4186266"/>
                  <a:pt x="3952240" y="4167851"/>
                </a:cubicBezTo>
                <a:lnTo>
                  <a:pt x="3952240" y="4167851"/>
                </a:lnTo>
                <a:cubicBezTo>
                  <a:pt x="3980180" y="4150706"/>
                  <a:pt x="3952240" y="4106256"/>
                  <a:pt x="3924300" y="4124671"/>
                </a:cubicBezTo>
                <a:close/>
                <a:moveTo>
                  <a:pt x="3876040" y="4514561"/>
                </a:moveTo>
                <a:cubicBezTo>
                  <a:pt x="3896995" y="4503766"/>
                  <a:pt x="3879850" y="4470746"/>
                  <a:pt x="3858895" y="4482176"/>
                </a:cubicBezTo>
                <a:cubicBezTo>
                  <a:pt x="3837940" y="4492336"/>
                  <a:pt x="3855720" y="4525991"/>
                  <a:pt x="3876040" y="4514561"/>
                </a:cubicBezTo>
                <a:close/>
                <a:moveTo>
                  <a:pt x="3926840" y="4519006"/>
                </a:moveTo>
                <a:cubicBezTo>
                  <a:pt x="3907790" y="4527261"/>
                  <a:pt x="3921125" y="4556471"/>
                  <a:pt x="3939540" y="4548216"/>
                </a:cubicBezTo>
                <a:cubicBezTo>
                  <a:pt x="3958590" y="4539961"/>
                  <a:pt x="3945255" y="4510116"/>
                  <a:pt x="3926840" y="4519006"/>
                </a:cubicBezTo>
                <a:close/>
                <a:moveTo>
                  <a:pt x="3869055" y="4545041"/>
                </a:moveTo>
                <a:cubicBezTo>
                  <a:pt x="3850005" y="4553296"/>
                  <a:pt x="3863975" y="4582506"/>
                  <a:pt x="3882390" y="4574251"/>
                </a:cubicBezTo>
                <a:cubicBezTo>
                  <a:pt x="3900805" y="4565361"/>
                  <a:pt x="3887470" y="4536151"/>
                  <a:pt x="3869055" y="4545041"/>
                </a:cubicBezTo>
                <a:close/>
                <a:moveTo>
                  <a:pt x="3853180" y="4035136"/>
                </a:moveTo>
                <a:cubicBezTo>
                  <a:pt x="3822700" y="4055456"/>
                  <a:pt x="3855085" y="4103081"/>
                  <a:pt x="3884930" y="4081491"/>
                </a:cubicBezTo>
                <a:cubicBezTo>
                  <a:pt x="3915410" y="4061806"/>
                  <a:pt x="3883025" y="4014181"/>
                  <a:pt x="3853180" y="4035136"/>
                </a:cubicBezTo>
                <a:close/>
                <a:moveTo>
                  <a:pt x="3693160" y="4590761"/>
                </a:moveTo>
                <a:cubicBezTo>
                  <a:pt x="3682365" y="4569806"/>
                  <a:pt x="3649345" y="4587586"/>
                  <a:pt x="3660775" y="4608541"/>
                </a:cubicBezTo>
                <a:cubicBezTo>
                  <a:pt x="3672205" y="4629496"/>
                  <a:pt x="3704590" y="4611716"/>
                  <a:pt x="3693160" y="4590761"/>
                </a:cubicBezTo>
                <a:close/>
                <a:moveTo>
                  <a:pt x="603885" y="5328631"/>
                </a:moveTo>
                <a:cubicBezTo>
                  <a:pt x="576580" y="5315931"/>
                  <a:pt x="556895" y="5359111"/>
                  <a:pt x="584835" y="5371176"/>
                </a:cubicBezTo>
                <a:cubicBezTo>
                  <a:pt x="612140" y="5383876"/>
                  <a:pt x="631825" y="5340696"/>
                  <a:pt x="603885" y="5328631"/>
                </a:cubicBezTo>
                <a:close/>
                <a:moveTo>
                  <a:pt x="210185" y="4952076"/>
                </a:moveTo>
                <a:cubicBezTo>
                  <a:pt x="173355" y="4922866"/>
                  <a:pt x="146685" y="4995256"/>
                  <a:pt x="193040" y="4997161"/>
                </a:cubicBezTo>
                <a:cubicBezTo>
                  <a:pt x="215900" y="4998431"/>
                  <a:pt x="227965" y="4967316"/>
                  <a:pt x="210185" y="4952076"/>
                </a:cubicBezTo>
                <a:close/>
                <a:moveTo>
                  <a:pt x="198120" y="4821901"/>
                </a:moveTo>
                <a:cubicBezTo>
                  <a:pt x="226060" y="4798406"/>
                  <a:pt x="189230" y="4754591"/>
                  <a:pt x="161290" y="4778721"/>
                </a:cubicBezTo>
                <a:cubicBezTo>
                  <a:pt x="133350" y="4802216"/>
                  <a:pt x="170815" y="4846031"/>
                  <a:pt x="198120" y="4821901"/>
                </a:cubicBezTo>
                <a:close/>
                <a:moveTo>
                  <a:pt x="182245" y="5128606"/>
                </a:moveTo>
                <a:cubicBezTo>
                  <a:pt x="166370" y="5154006"/>
                  <a:pt x="207010" y="5178771"/>
                  <a:pt x="222250" y="5152736"/>
                </a:cubicBezTo>
                <a:cubicBezTo>
                  <a:pt x="238125" y="5126701"/>
                  <a:pt x="197485" y="5102571"/>
                  <a:pt x="182245" y="5128606"/>
                </a:cubicBezTo>
                <a:close/>
                <a:moveTo>
                  <a:pt x="137160" y="5261321"/>
                </a:moveTo>
                <a:cubicBezTo>
                  <a:pt x="111760" y="5251796"/>
                  <a:pt x="97155" y="5291166"/>
                  <a:pt x="123190" y="5300691"/>
                </a:cubicBezTo>
                <a:cubicBezTo>
                  <a:pt x="147320" y="5310216"/>
                  <a:pt x="162560" y="5270211"/>
                  <a:pt x="137160" y="5261321"/>
                </a:cubicBezTo>
                <a:close/>
                <a:moveTo>
                  <a:pt x="132715" y="5451186"/>
                </a:moveTo>
                <a:cubicBezTo>
                  <a:pt x="109220" y="5447376"/>
                  <a:pt x="103505" y="5484206"/>
                  <a:pt x="127000" y="5487381"/>
                </a:cubicBezTo>
                <a:cubicBezTo>
                  <a:pt x="150495" y="5491191"/>
                  <a:pt x="156845" y="5454361"/>
                  <a:pt x="132715" y="5451186"/>
                </a:cubicBezTo>
                <a:close/>
                <a:moveTo>
                  <a:pt x="190500" y="5641686"/>
                </a:moveTo>
                <a:cubicBezTo>
                  <a:pt x="170180" y="5642321"/>
                  <a:pt x="171450" y="5674706"/>
                  <a:pt x="192405" y="5673436"/>
                </a:cubicBezTo>
                <a:cubicBezTo>
                  <a:pt x="212090" y="5672166"/>
                  <a:pt x="210820" y="5640416"/>
                  <a:pt x="190500" y="5641686"/>
                </a:cubicBezTo>
                <a:close/>
                <a:moveTo>
                  <a:pt x="316865" y="5633431"/>
                </a:moveTo>
                <a:cubicBezTo>
                  <a:pt x="295910" y="5634701"/>
                  <a:pt x="298450" y="5667086"/>
                  <a:pt x="319405" y="5665181"/>
                </a:cubicBezTo>
                <a:cubicBezTo>
                  <a:pt x="339725" y="5663911"/>
                  <a:pt x="337185" y="5631526"/>
                  <a:pt x="316865" y="5633431"/>
                </a:cubicBezTo>
                <a:close/>
                <a:moveTo>
                  <a:pt x="127000" y="5644226"/>
                </a:moveTo>
                <a:cubicBezTo>
                  <a:pt x="106045" y="5644861"/>
                  <a:pt x="107950" y="5677246"/>
                  <a:pt x="128270" y="5675976"/>
                </a:cubicBezTo>
                <a:cubicBezTo>
                  <a:pt x="148590" y="5675341"/>
                  <a:pt x="147320" y="5642956"/>
                  <a:pt x="127000" y="5644226"/>
                </a:cubicBezTo>
                <a:close/>
                <a:moveTo>
                  <a:pt x="139065" y="4924771"/>
                </a:moveTo>
                <a:cubicBezTo>
                  <a:pt x="161290" y="4900006"/>
                  <a:pt x="121285" y="4865716"/>
                  <a:pt x="100330" y="4891116"/>
                </a:cubicBezTo>
                <a:cubicBezTo>
                  <a:pt x="77470" y="4915881"/>
                  <a:pt x="117475" y="4950171"/>
                  <a:pt x="139065" y="4924771"/>
                </a:cubicBezTo>
                <a:close/>
                <a:moveTo>
                  <a:pt x="288290" y="5315931"/>
                </a:moveTo>
                <a:cubicBezTo>
                  <a:pt x="262890" y="5307041"/>
                  <a:pt x="248920" y="5347046"/>
                  <a:pt x="274955" y="5355301"/>
                </a:cubicBezTo>
                <a:cubicBezTo>
                  <a:pt x="299720" y="5364191"/>
                  <a:pt x="313690" y="5324186"/>
                  <a:pt x="288290" y="5315931"/>
                </a:cubicBezTo>
                <a:close/>
                <a:moveTo>
                  <a:pt x="290195" y="5166071"/>
                </a:moveTo>
                <a:cubicBezTo>
                  <a:pt x="264160" y="5150196"/>
                  <a:pt x="240665" y="5191471"/>
                  <a:pt x="266700" y="5206076"/>
                </a:cubicBezTo>
                <a:cubicBezTo>
                  <a:pt x="292735" y="5221951"/>
                  <a:pt x="316865" y="5180676"/>
                  <a:pt x="290195" y="5166071"/>
                </a:cubicBezTo>
                <a:close/>
                <a:moveTo>
                  <a:pt x="1379220" y="5790276"/>
                </a:moveTo>
                <a:cubicBezTo>
                  <a:pt x="1389380" y="5748366"/>
                  <a:pt x="1323975" y="5733126"/>
                  <a:pt x="1314450" y="5775671"/>
                </a:cubicBezTo>
                <a:cubicBezTo>
                  <a:pt x="1304290" y="5816946"/>
                  <a:pt x="1369695" y="5832186"/>
                  <a:pt x="1379220" y="5790276"/>
                </a:cubicBezTo>
                <a:close/>
                <a:moveTo>
                  <a:pt x="212725" y="5289261"/>
                </a:moveTo>
                <a:cubicBezTo>
                  <a:pt x="187325" y="5279736"/>
                  <a:pt x="173355" y="5319741"/>
                  <a:pt x="198755" y="5328631"/>
                </a:cubicBezTo>
                <a:cubicBezTo>
                  <a:pt x="223520" y="5338156"/>
                  <a:pt x="238125" y="5298151"/>
                  <a:pt x="212725" y="5289261"/>
                </a:cubicBezTo>
                <a:close/>
                <a:moveTo>
                  <a:pt x="203835" y="5461346"/>
                </a:moveTo>
                <a:cubicBezTo>
                  <a:pt x="180340" y="5457536"/>
                  <a:pt x="175260" y="5494366"/>
                  <a:pt x="198755" y="5497541"/>
                </a:cubicBezTo>
                <a:cubicBezTo>
                  <a:pt x="222250" y="5501351"/>
                  <a:pt x="227330" y="5464521"/>
                  <a:pt x="203835" y="5461346"/>
                </a:cubicBezTo>
                <a:close/>
                <a:moveTo>
                  <a:pt x="253365" y="5637876"/>
                </a:moveTo>
                <a:cubicBezTo>
                  <a:pt x="233045" y="5639146"/>
                  <a:pt x="234950" y="5671531"/>
                  <a:pt x="255270" y="5669626"/>
                </a:cubicBezTo>
                <a:cubicBezTo>
                  <a:pt x="276225" y="5668356"/>
                  <a:pt x="274320" y="5635971"/>
                  <a:pt x="253365" y="5637876"/>
                </a:cubicBezTo>
                <a:close/>
                <a:moveTo>
                  <a:pt x="267970" y="4901911"/>
                </a:moveTo>
                <a:cubicBezTo>
                  <a:pt x="295910" y="4878416"/>
                  <a:pt x="258445" y="4834601"/>
                  <a:pt x="231140" y="4859366"/>
                </a:cubicBezTo>
                <a:cubicBezTo>
                  <a:pt x="202565" y="4882861"/>
                  <a:pt x="240665" y="4926676"/>
                  <a:pt x="267970" y="4901911"/>
                </a:cubicBezTo>
                <a:close/>
                <a:moveTo>
                  <a:pt x="114300" y="5114636"/>
                </a:moveTo>
                <a:cubicBezTo>
                  <a:pt x="139700" y="5130511"/>
                  <a:pt x="164465" y="5089871"/>
                  <a:pt x="138430" y="5074631"/>
                </a:cubicBezTo>
                <a:cubicBezTo>
                  <a:pt x="112395" y="5058756"/>
                  <a:pt x="88265" y="5099396"/>
                  <a:pt x="114300" y="5114636"/>
                </a:cubicBezTo>
                <a:close/>
                <a:moveTo>
                  <a:pt x="1270" y="3791931"/>
                </a:moveTo>
                <a:cubicBezTo>
                  <a:pt x="635" y="3791931"/>
                  <a:pt x="0" y="3792566"/>
                  <a:pt x="0" y="3792566"/>
                </a:cubicBezTo>
                <a:lnTo>
                  <a:pt x="0" y="3859241"/>
                </a:lnTo>
                <a:cubicBezTo>
                  <a:pt x="5080" y="3862416"/>
                  <a:pt x="11430" y="3864321"/>
                  <a:pt x="18415" y="3863686"/>
                </a:cubicBezTo>
                <a:cubicBezTo>
                  <a:pt x="80645" y="3861781"/>
                  <a:pt x="58420" y="3766531"/>
                  <a:pt x="1270" y="3791931"/>
                </a:cubicBezTo>
                <a:close/>
                <a:moveTo>
                  <a:pt x="5715" y="3999576"/>
                </a:moveTo>
                <a:cubicBezTo>
                  <a:pt x="3810" y="4000846"/>
                  <a:pt x="1905" y="4002116"/>
                  <a:pt x="0" y="4003386"/>
                </a:cubicBezTo>
                <a:lnTo>
                  <a:pt x="0" y="4056726"/>
                </a:lnTo>
                <a:cubicBezTo>
                  <a:pt x="5715" y="4062441"/>
                  <a:pt x="13970" y="4066251"/>
                  <a:pt x="23495" y="4065616"/>
                </a:cubicBezTo>
                <a:cubicBezTo>
                  <a:pt x="83185" y="4064346"/>
                  <a:pt x="57785" y="3971001"/>
                  <a:pt x="5715" y="3999576"/>
                </a:cubicBezTo>
                <a:close/>
                <a:moveTo>
                  <a:pt x="53340" y="4461856"/>
                </a:moveTo>
                <a:cubicBezTo>
                  <a:pt x="83820" y="4436456"/>
                  <a:pt x="43815" y="4388831"/>
                  <a:pt x="13335" y="4414866"/>
                </a:cubicBezTo>
                <a:cubicBezTo>
                  <a:pt x="-17145" y="4440266"/>
                  <a:pt x="23495" y="4487891"/>
                  <a:pt x="53340" y="4461856"/>
                </a:cubicBezTo>
                <a:close/>
                <a:moveTo>
                  <a:pt x="28575" y="4267546"/>
                </a:moveTo>
                <a:cubicBezTo>
                  <a:pt x="85725" y="4265641"/>
                  <a:pt x="57785" y="4176106"/>
                  <a:pt x="9525" y="4207221"/>
                </a:cubicBezTo>
                <a:cubicBezTo>
                  <a:pt x="5080" y="4209761"/>
                  <a:pt x="1905" y="4213571"/>
                  <a:pt x="0" y="4217381"/>
                </a:cubicBezTo>
                <a:lnTo>
                  <a:pt x="0" y="4250401"/>
                </a:lnTo>
                <a:cubicBezTo>
                  <a:pt x="5080" y="4260561"/>
                  <a:pt x="15240" y="4268181"/>
                  <a:pt x="28575" y="4267546"/>
                </a:cubicBezTo>
                <a:close/>
                <a:moveTo>
                  <a:pt x="37465" y="3969096"/>
                </a:moveTo>
                <a:cubicBezTo>
                  <a:pt x="54610" y="4015451"/>
                  <a:pt x="127000" y="3987511"/>
                  <a:pt x="108585" y="3941791"/>
                </a:cubicBezTo>
                <a:cubicBezTo>
                  <a:pt x="91440" y="3895436"/>
                  <a:pt x="19050" y="3923376"/>
                  <a:pt x="37465" y="3969096"/>
                </a:cubicBezTo>
                <a:close/>
                <a:moveTo>
                  <a:pt x="133350" y="4231351"/>
                </a:moveTo>
                <a:cubicBezTo>
                  <a:pt x="133350" y="4231986"/>
                  <a:pt x="133985" y="4231986"/>
                  <a:pt x="133985" y="4232621"/>
                </a:cubicBezTo>
                <a:cubicBezTo>
                  <a:pt x="109855" y="4233256"/>
                  <a:pt x="92710" y="4259926"/>
                  <a:pt x="102870" y="4282151"/>
                </a:cubicBezTo>
                <a:cubicBezTo>
                  <a:pt x="120015" y="4323426"/>
                  <a:pt x="184150" y="4297391"/>
                  <a:pt x="168910" y="4256116"/>
                </a:cubicBezTo>
                <a:cubicBezTo>
                  <a:pt x="194310" y="4256751"/>
                  <a:pt x="213995" y="4229446"/>
                  <a:pt x="204470" y="4205316"/>
                </a:cubicBezTo>
                <a:cubicBezTo>
                  <a:pt x="189230" y="4158961"/>
                  <a:pt x="116205" y="4184996"/>
                  <a:pt x="133350" y="4231351"/>
                </a:cubicBezTo>
                <a:close/>
                <a:moveTo>
                  <a:pt x="85725" y="4099906"/>
                </a:moveTo>
                <a:cubicBezTo>
                  <a:pt x="88265" y="4106256"/>
                  <a:pt x="92075" y="4111336"/>
                  <a:pt x="96520" y="4115781"/>
                </a:cubicBezTo>
                <a:cubicBezTo>
                  <a:pt x="67945" y="4101811"/>
                  <a:pt x="34925" y="4134196"/>
                  <a:pt x="49530" y="4163406"/>
                </a:cubicBezTo>
                <a:cubicBezTo>
                  <a:pt x="74295" y="4214206"/>
                  <a:pt x="147320" y="4159596"/>
                  <a:pt x="105410" y="4122131"/>
                </a:cubicBezTo>
                <a:cubicBezTo>
                  <a:pt x="134620" y="4136736"/>
                  <a:pt x="168910" y="4104986"/>
                  <a:pt x="156845" y="4074506"/>
                </a:cubicBezTo>
                <a:cubicBezTo>
                  <a:pt x="141605" y="4026881"/>
                  <a:pt x="68580" y="4053551"/>
                  <a:pt x="85725" y="4099906"/>
                </a:cubicBezTo>
                <a:close/>
                <a:moveTo>
                  <a:pt x="63500" y="5646131"/>
                </a:moveTo>
                <a:cubicBezTo>
                  <a:pt x="43180" y="5646131"/>
                  <a:pt x="43815" y="5678516"/>
                  <a:pt x="64135" y="5677881"/>
                </a:cubicBezTo>
                <a:cubicBezTo>
                  <a:pt x="85090" y="5677881"/>
                  <a:pt x="83820" y="5645496"/>
                  <a:pt x="63500" y="5646131"/>
                </a:cubicBezTo>
                <a:close/>
                <a:moveTo>
                  <a:pt x="129540" y="4741256"/>
                </a:moveTo>
                <a:cubicBezTo>
                  <a:pt x="157480" y="4717761"/>
                  <a:pt x="119380" y="4673946"/>
                  <a:pt x="92075" y="4698711"/>
                </a:cubicBezTo>
                <a:cubicBezTo>
                  <a:pt x="64770" y="4722206"/>
                  <a:pt x="102235" y="4765386"/>
                  <a:pt x="129540" y="4741256"/>
                </a:cubicBezTo>
                <a:close/>
                <a:moveTo>
                  <a:pt x="84455" y="4505036"/>
                </a:moveTo>
                <a:cubicBezTo>
                  <a:pt x="59690" y="4520911"/>
                  <a:pt x="73025" y="4562186"/>
                  <a:pt x="101600" y="4560916"/>
                </a:cubicBezTo>
                <a:cubicBezTo>
                  <a:pt x="154940" y="4559646"/>
                  <a:pt x="128905" y="4476461"/>
                  <a:pt x="84455" y="4505036"/>
                </a:cubicBezTo>
                <a:close/>
                <a:moveTo>
                  <a:pt x="61595" y="5440391"/>
                </a:moveTo>
                <a:cubicBezTo>
                  <a:pt x="36195" y="5436581"/>
                  <a:pt x="33655" y="5477221"/>
                  <a:pt x="59055" y="5476586"/>
                </a:cubicBezTo>
                <a:cubicBezTo>
                  <a:pt x="80645" y="5477221"/>
                  <a:pt x="83820" y="5442931"/>
                  <a:pt x="61595" y="5440391"/>
                </a:cubicBezTo>
                <a:close/>
                <a:moveTo>
                  <a:pt x="60325" y="5234651"/>
                </a:moveTo>
                <a:cubicBezTo>
                  <a:pt x="30480" y="5225126"/>
                  <a:pt x="22860" y="5275291"/>
                  <a:pt x="53975" y="5275291"/>
                </a:cubicBezTo>
                <a:cubicBezTo>
                  <a:pt x="76835" y="5275926"/>
                  <a:pt x="82550" y="5241001"/>
                  <a:pt x="60325" y="5234651"/>
                </a:cubicBezTo>
                <a:close/>
                <a:moveTo>
                  <a:pt x="28575" y="4866986"/>
                </a:moveTo>
                <a:cubicBezTo>
                  <a:pt x="55245" y="4886671"/>
                  <a:pt x="86360" y="4844126"/>
                  <a:pt x="58420" y="4825076"/>
                </a:cubicBezTo>
                <a:cubicBezTo>
                  <a:pt x="31750" y="4805391"/>
                  <a:pt x="1270" y="4847936"/>
                  <a:pt x="28575" y="4866986"/>
                </a:cubicBezTo>
                <a:lnTo>
                  <a:pt x="28575" y="4866986"/>
                </a:lnTo>
                <a:close/>
                <a:moveTo>
                  <a:pt x="59690" y="5029546"/>
                </a:moveTo>
                <a:cubicBezTo>
                  <a:pt x="25400" y="5013036"/>
                  <a:pt x="11430" y="5072726"/>
                  <a:pt x="48895" y="5073361"/>
                </a:cubicBezTo>
                <a:cubicBezTo>
                  <a:pt x="72390" y="5074631"/>
                  <a:pt x="81280" y="5039706"/>
                  <a:pt x="59690" y="5029546"/>
                </a:cubicBezTo>
                <a:close/>
                <a:moveTo>
                  <a:pt x="57785" y="4621876"/>
                </a:moveTo>
                <a:cubicBezTo>
                  <a:pt x="17780" y="4588221"/>
                  <a:pt x="-13335" y="4668231"/>
                  <a:pt x="38735" y="4670771"/>
                </a:cubicBezTo>
                <a:cubicBezTo>
                  <a:pt x="63500" y="4671406"/>
                  <a:pt x="76835" y="4638386"/>
                  <a:pt x="57785" y="4621876"/>
                </a:cubicBezTo>
                <a:close/>
                <a:moveTo>
                  <a:pt x="274955" y="5471506"/>
                </a:moveTo>
                <a:cubicBezTo>
                  <a:pt x="251460" y="5468331"/>
                  <a:pt x="246380" y="5505161"/>
                  <a:pt x="270510" y="5507701"/>
                </a:cubicBezTo>
                <a:cubicBezTo>
                  <a:pt x="293370" y="5510876"/>
                  <a:pt x="298450" y="5474046"/>
                  <a:pt x="274955" y="5471506"/>
                </a:cubicBezTo>
                <a:close/>
                <a:moveTo>
                  <a:pt x="1003935" y="5736301"/>
                </a:moveTo>
                <a:cubicBezTo>
                  <a:pt x="1040130" y="5764876"/>
                  <a:pt x="1084580" y="5707726"/>
                  <a:pt x="1047750" y="5679786"/>
                </a:cubicBezTo>
                <a:cubicBezTo>
                  <a:pt x="1010920" y="5651211"/>
                  <a:pt x="966470" y="5708361"/>
                  <a:pt x="1003935" y="5736301"/>
                </a:cubicBezTo>
                <a:close/>
                <a:moveTo>
                  <a:pt x="996950" y="5653751"/>
                </a:moveTo>
                <a:cubicBezTo>
                  <a:pt x="1031240" y="5679151"/>
                  <a:pt x="1071245" y="5624541"/>
                  <a:pt x="1035685" y="5599776"/>
                </a:cubicBezTo>
                <a:cubicBezTo>
                  <a:pt x="1000760" y="5574376"/>
                  <a:pt x="961390" y="5629621"/>
                  <a:pt x="996950" y="5653751"/>
                </a:cubicBezTo>
                <a:close/>
                <a:moveTo>
                  <a:pt x="1019810" y="5579456"/>
                </a:moveTo>
                <a:cubicBezTo>
                  <a:pt x="1036320" y="5566756"/>
                  <a:pt x="1028700" y="5535641"/>
                  <a:pt x="1009015" y="5529291"/>
                </a:cubicBezTo>
                <a:cubicBezTo>
                  <a:pt x="1009015" y="5528021"/>
                  <a:pt x="1009015" y="5526751"/>
                  <a:pt x="1009015" y="5525481"/>
                </a:cubicBezTo>
                <a:cubicBezTo>
                  <a:pt x="1059815" y="5512781"/>
                  <a:pt x="1034415" y="5449281"/>
                  <a:pt x="989330" y="5480396"/>
                </a:cubicBezTo>
                <a:cubicBezTo>
                  <a:pt x="987425" y="5479761"/>
                  <a:pt x="985520" y="5479761"/>
                  <a:pt x="983615" y="5479761"/>
                </a:cubicBezTo>
                <a:cubicBezTo>
                  <a:pt x="974090" y="5472141"/>
                  <a:pt x="960755" y="5472141"/>
                  <a:pt x="950595" y="5478491"/>
                </a:cubicBezTo>
                <a:cubicBezTo>
                  <a:pt x="953135" y="5468331"/>
                  <a:pt x="948055" y="5457536"/>
                  <a:pt x="939165" y="5452456"/>
                </a:cubicBezTo>
                <a:cubicBezTo>
                  <a:pt x="936625" y="5446741"/>
                  <a:pt x="932180" y="5441661"/>
                  <a:pt x="925830" y="5439121"/>
                </a:cubicBezTo>
                <a:cubicBezTo>
                  <a:pt x="917575" y="5435946"/>
                  <a:pt x="908685" y="5436581"/>
                  <a:pt x="901700" y="5441026"/>
                </a:cubicBezTo>
                <a:cubicBezTo>
                  <a:pt x="899795" y="5434041"/>
                  <a:pt x="895985" y="5428326"/>
                  <a:pt x="889635" y="5424516"/>
                </a:cubicBezTo>
                <a:cubicBezTo>
                  <a:pt x="889635" y="5424516"/>
                  <a:pt x="889635" y="5424516"/>
                  <a:pt x="889635" y="5424516"/>
                </a:cubicBezTo>
                <a:cubicBezTo>
                  <a:pt x="878840" y="5417531"/>
                  <a:pt x="864870" y="5419436"/>
                  <a:pt x="855980" y="5427691"/>
                </a:cubicBezTo>
                <a:cubicBezTo>
                  <a:pt x="855345" y="5427056"/>
                  <a:pt x="854075" y="5426421"/>
                  <a:pt x="852805" y="5425786"/>
                </a:cubicBezTo>
                <a:cubicBezTo>
                  <a:pt x="857250" y="5404196"/>
                  <a:pt x="833120" y="5392131"/>
                  <a:pt x="814705" y="5390861"/>
                </a:cubicBezTo>
                <a:cubicBezTo>
                  <a:pt x="816610" y="5371176"/>
                  <a:pt x="793115" y="5354666"/>
                  <a:pt x="775335" y="5363556"/>
                </a:cubicBezTo>
                <a:cubicBezTo>
                  <a:pt x="772160" y="5357206"/>
                  <a:pt x="766445" y="5351491"/>
                  <a:pt x="760095" y="5348316"/>
                </a:cubicBezTo>
                <a:cubicBezTo>
                  <a:pt x="763270" y="5329901"/>
                  <a:pt x="746125" y="5310851"/>
                  <a:pt x="727075" y="5313391"/>
                </a:cubicBezTo>
                <a:cubicBezTo>
                  <a:pt x="723265" y="5303866"/>
                  <a:pt x="712470" y="5296881"/>
                  <a:pt x="702310" y="5297516"/>
                </a:cubicBezTo>
                <a:cubicBezTo>
                  <a:pt x="701040" y="5295611"/>
                  <a:pt x="699770" y="5294341"/>
                  <a:pt x="697865" y="5293071"/>
                </a:cubicBezTo>
                <a:cubicBezTo>
                  <a:pt x="702945" y="5277831"/>
                  <a:pt x="693420" y="5258146"/>
                  <a:pt x="677545" y="5253066"/>
                </a:cubicBezTo>
                <a:cubicBezTo>
                  <a:pt x="673100" y="5238461"/>
                  <a:pt x="655320" y="5228936"/>
                  <a:pt x="641350" y="5233381"/>
                </a:cubicBezTo>
                <a:cubicBezTo>
                  <a:pt x="640080" y="5229571"/>
                  <a:pt x="637540" y="5226396"/>
                  <a:pt x="635000" y="5223221"/>
                </a:cubicBezTo>
                <a:cubicBezTo>
                  <a:pt x="641350" y="5209251"/>
                  <a:pt x="636270" y="5190836"/>
                  <a:pt x="623570" y="5181946"/>
                </a:cubicBezTo>
                <a:cubicBezTo>
                  <a:pt x="621665" y="5165436"/>
                  <a:pt x="605155" y="5152101"/>
                  <a:pt x="588645" y="5153371"/>
                </a:cubicBezTo>
                <a:cubicBezTo>
                  <a:pt x="582930" y="5149561"/>
                  <a:pt x="576580" y="5147656"/>
                  <a:pt x="570230" y="5148291"/>
                </a:cubicBezTo>
                <a:cubicBezTo>
                  <a:pt x="581025" y="5134956"/>
                  <a:pt x="581025" y="5113366"/>
                  <a:pt x="568960" y="5099396"/>
                </a:cubicBezTo>
                <a:cubicBezTo>
                  <a:pt x="570230" y="5068916"/>
                  <a:pt x="523875" y="5039706"/>
                  <a:pt x="498475" y="5060661"/>
                </a:cubicBezTo>
                <a:cubicBezTo>
                  <a:pt x="483870" y="5059391"/>
                  <a:pt x="468630" y="5071456"/>
                  <a:pt x="466725" y="5086696"/>
                </a:cubicBezTo>
                <a:cubicBezTo>
                  <a:pt x="396240" y="5090506"/>
                  <a:pt x="461645" y="5185756"/>
                  <a:pt x="490855" y="5121621"/>
                </a:cubicBezTo>
                <a:cubicBezTo>
                  <a:pt x="494665" y="5122256"/>
                  <a:pt x="498475" y="5122256"/>
                  <a:pt x="502285" y="5121621"/>
                </a:cubicBezTo>
                <a:cubicBezTo>
                  <a:pt x="500380" y="5139401"/>
                  <a:pt x="513715" y="5157816"/>
                  <a:pt x="530225" y="5161626"/>
                </a:cubicBezTo>
                <a:cubicBezTo>
                  <a:pt x="487045" y="5177501"/>
                  <a:pt x="527685" y="5240366"/>
                  <a:pt x="560070" y="5207346"/>
                </a:cubicBezTo>
                <a:cubicBezTo>
                  <a:pt x="561975" y="5207981"/>
                  <a:pt x="563880" y="5208616"/>
                  <a:pt x="565785" y="5208616"/>
                </a:cubicBezTo>
                <a:cubicBezTo>
                  <a:pt x="565785" y="5215601"/>
                  <a:pt x="567690" y="5223856"/>
                  <a:pt x="572135" y="5230206"/>
                </a:cubicBezTo>
                <a:cubicBezTo>
                  <a:pt x="568960" y="5235921"/>
                  <a:pt x="567690" y="5242271"/>
                  <a:pt x="567690" y="5248621"/>
                </a:cubicBezTo>
                <a:cubicBezTo>
                  <a:pt x="521970" y="5264496"/>
                  <a:pt x="572135" y="5326726"/>
                  <a:pt x="597535" y="5285451"/>
                </a:cubicBezTo>
                <a:cubicBezTo>
                  <a:pt x="607060" y="5286721"/>
                  <a:pt x="617855" y="5287356"/>
                  <a:pt x="627380" y="5285451"/>
                </a:cubicBezTo>
                <a:cubicBezTo>
                  <a:pt x="629285" y="5287356"/>
                  <a:pt x="631190" y="5288626"/>
                  <a:pt x="633095" y="5289896"/>
                </a:cubicBezTo>
                <a:cubicBezTo>
                  <a:pt x="634365" y="5295611"/>
                  <a:pt x="636270" y="5301326"/>
                  <a:pt x="640715" y="5306406"/>
                </a:cubicBezTo>
                <a:cubicBezTo>
                  <a:pt x="626745" y="5317201"/>
                  <a:pt x="628650" y="5340696"/>
                  <a:pt x="644525" y="5348951"/>
                </a:cubicBezTo>
                <a:cubicBezTo>
                  <a:pt x="612775" y="5395941"/>
                  <a:pt x="694055" y="5436581"/>
                  <a:pt x="712470" y="5382606"/>
                </a:cubicBezTo>
                <a:cubicBezTo>
                  <a:pt x="713105" y="5390861"/>
                  <a:pt x="717550" y="5399751"/>
                  <a:pt x="724535" y="5404831"/>
                </a:cubicBezTo>
                <a:cubicBezTo>
                  <a:pt x="713105" y="5418801"/>
                  <a:pt x="714375" y="5441661"/>
                  <a:pt x="728345" y="5453726"/>
                </a:cubicBezTo>
                <a:cubicBezTo>
                  <a:pt x="727075" y="5455631"/>
                  <a:pt x="725805" y="5458171"/>
                  <a:pt x="725805" y="5460711"/>
                </a:cubicBezTo>
                <a:cubicBezTo>
                  <a:pt x="699135" y="5484206"/>
                  <a:pt x="721995" y="5531831"/>
                  <a:pt x="756285" y="5526116"/>
                </a:cubicBezTo>
                <a:cubicBezTo>
                  <a:pt x="755015" y="5571201"/>
                  <a:pt x="819150" y="5536276"/>
                  <a:pt x="781050" y="5512781"/>
                </a:cubicBezTo>
                <a:cubicBezTo>
                  <a:pt x="795655" y="5496271"/>
                  <a:pt x="791845" y="5467696"/>
                  <a:pt x="772160" y="5456266"/>
                </a:cubicBezTo>
                <a:cubicBezTo>
                  <a:pt x="779780" y="5451186"/>
                  <a:pt x="784225" y="5442931"/>
                  <a:pt x="786130" y="5435311"/>
                </a:cubicBezTo>
                <a:cubicBezTo>
                  <a:pt x="788670" y="5441661"/>
                  <a:pt x="795020" y="5448011"/>
                  <a:pt x="801370" y="5450551"/>
                </a:cubicBezTo>
                <a:cubicBezTo>
                  <a:pt x="789940" y="5466426"/>
                  <a:pt x="796290" y="5491191"/>
                  <a:pt x="815340" y="5499446"/>
                </a:cubicBezTo>
                <a:cubicBezTo>
                  <a:pt x="788670" y="5515321"/>
                  <a:pt x="797560" y="5558501"/>
                  <a:pt x="827405" y="5564216"/>
                </a:cubicBezTo>
                <a:cubicBezTo>
                  <a:pt x="800100" y="5568661"/>
                  <a:pt x="786130" y="5603586"/>
                  <a:pt x="804545" y="5625176"/>
                </a:cubicBezTo>
                <a:cubicBezTo>
                  <a:pt x="827405" y="5655656"/>
                  <a:pt x="878840" y="5632796"/>
                  <a:pt x="871855" y="5595966"/>
                </a:cubicBezTo>
                <a:cubicBezTo>
                  <a:pt x="882650" y="5613111"/>
                  <a:pt x="909320" y="5596601"/>
                  <a:pt x="898525" y="5579456"/>
                </a:cubicBezTo>
                <a:cubicBezTo>
                  <a:pt x="908685" y="5587076"/>
                  <a:pt x="921385" y="5588346"/>
                  <a:pt x="932815" y="5583266"/>
                </a:cubicBezTo>
                <a:cubicBezTo>
                  <a:pt x="934720" y="5587711"/>
                  <a:pt x="937260" y="5590251"/>
                  <a:pt x="939800" y="5592156"/>
                </a:cubicBezTo>
                <a:cubicBezTo>
                  <a:pt x="893445" y="5569296"/>
                  <a:pt x="863600" y="5655656"/>
                  <a:pt x="925195" y="5660101"/>
                </a:cubicBezTo>
                <a:cubicBezTo>
                  <a:pt x="955675" y="5661371"/>
                  <a:pt x="973455" y="5619461"/>
                  <a:pt x="949960" y="5598506"/>
                </a:cubicBezTo>
                <a:cubicBezTo>
                  <a:pt x="947420" y="5595966"/>
                  <a:pt x="944880" y="5594696"/>
                  <a:pt x="941705" y="5592791"/>
                </a:cubicBezTo>
                <a:cubicBezTo>
                  <a:pt x="957580" y="5599776"/>
                  <a:pt x="977265" y="5569931"/>
                  <a:pt x="949960" y="5562311"/>
                </a:cubicBezTo>
                <a:cubicBezTo>
                  <a:pt x="954405" y="5548341"/>
                  <a:pt x="948055" y="5531196"/>
                  <a:pt x="934085" y="5524211"/>
                </a:cubicBezTo>
                <a:cubicBezTo>
                  <a:pt x="932180" y="5520401"/>
                  <a:pt x="929640" y="5517226"/>
                  <a:pt x="925830" y="5515321"/>
                </a:cubicBezTo>
                <a:cubicBezTo>
                  <a:pt x="930275" y="5510241"/>
                  <a:pt x="932815" y="5503256"/>
                  <a:pt x="933450" y="5496906"/>
                </a:cubicBezTo>
                <a:cubicBezTo>
                  <a:pt x="934720" y="5496271"/>
                  <a:pt x="936625" y="5495636"/>
                  <a:pt x="937895" y="5495001"/>
                </a:cubicBezTo>
                <a:cubicBezTo>
                  <a:pt x="930910" y="5514686"/>
                  <a:pt x="950595" y="5536911"/>
                  <a:pt x="971550" y="5531196"/>
                </a:cubicBezTo>
                <a:cubicBezTo>
                  <a:pt x="971550" y="5534371"/>
                  <a:pt x="972820" y="5537546"/>
                  <a:pt x="974090" y="5539451"/>
                </a:cubicBezTo>
                <a:cubicBezTo>
                  <a:pt x="948690" y="5565486"/>
                  <a:pt x="993140" y="5607396"/>
                  <a:pt x="1019810" y="5579456"/>
                </a:cubicBezTo>
                <a:close/>
                <a:moveTo>
                  <a:pt x="901065" y="5523576"/>
                </a:moveTo>
                <a:cubicBezTo>
                  <a:pt x="885190" y="5533736"/>
                  <a:pt x="882015" y="5557231"/>
                  <a:pt x="894080" y="5571836"/>
                </a:cubicBezTo>
                <a:cubicBezTo>
                  <a:pt x="884555" y="5565486"/>
                  <a:pt x="870585" y="5573741"/>
                  <a:pt x="870585" y="5585171"/>
                </a:cubicBezTo>
                <a:cubicBezTo>
                  <a:pt x="866140" y="5573741"/>
                  <a:pt x="854710" y="5564851"/>
                  <a:pt x="842645" y="5562311"/>
                </a:cubicBezTo>
                <a:cubicBezTo>
                  <a:pt x="876935" y="5557231"/>
                  <a:pt x="882015" y="5506431"/>
                  <a:pt x="848995" y="5494366"/>
                </a:cubicBezTo>
                <a:cubicBezTo>
                  <a:pt x="855980" y="5489286"/>
                  <a:pt x="861060" y="5481666"/>
                  <a:pt x="862330" y="5473411"/>
                </a:cubicBezTo>
                <a:cubicBezTo>
                  <a:pt x="867410" y="5475951"/>
                  <a:pt x="873125" y="5476586"/>
                  <a:pt x="878205" y="5475951"/>
                </a:cubicBezTo>
                <a:cubicBezTo>
                  <a:pt x="865505" y="5494366"/>
                  <a:pt x="878840" y="5522306"/>
                  <a:pt x="901065" y="5522941"/>
                </a:cubicBezTo>
                <a:cubicBezTo>
                  <a:pt x="901065" y="5523576"/>
                  <a:pt x="901065" y="5523576"/>
                  <a:pt x="901065" y="5523576"/>
                </a:cubicBezTo>
                <a:close/>
                <a:moveTo>
                  <a:pt x="1123950" y="5628986"/>
                </a:moveTo>
                <a:cubicBezTo>
                  <a:pt x="1143000" y="5594061"/>
                  <a:pt x="1087120" y="5564851"/>
                  <a:pt x="1069340" y="5600411"/>
                </a:cubicBezTo>
                <a:cubicBezTo>
                  <a:pt x="1050925" y="5635971"/>
                  <a:pt x="1106170" y="5664546"/>
                  <a:pt x="1123950" y="5628986"/>
                </a:cubicBezTo>
                <a:close/>
                <a:moveTo>
                  <a:pt x="1053465" y="5769956"/>
                </a:moveTo>
                <a:cubicBezTo>
                  <a:pt x="1015365" y="5738206"/>
                  <a:pt x="966470" y="5798531"/>
                  <a:pt x="1005840" y="5829011"/>
                </a:cubicBezTo>
                <a:cubicBezTo>
                  <a:pt x="1043305" y="5860761"/>
                  <a:pt x="1092200" y="5800436"/>
                  <a:pt x="1053465" y="5769956"/>
                </a:cubicBezTo>
                <a:close/>
                <a:moveTo>
                  <a:pt x="703580" y="5507701"/>
                </a:moveTo>
                <a:cubicBezTo>
                  <a:pt x="679450" y="5506431"/>
                  <a:pt x="678180" y="5543896"/>
                  <a:pt x="702310" y="5544531"/>
                </a:cubicBezTo>
                <a:cubicBezTo>
                  <a:pt x="725805" y="5545801"/>
                  <a:pt x="727075" y="5508336"/>
                  <a:pt x="703580" y="5507701"/>
                </a:cubicBezTo>
                <a:close/>
                <a:moveTo>
                  <a:pt x="758190" y="5587711"/>
                </a:moveTo>
                <a:cubicBezTo>
                  <a:pt x="737870" y="5590251"/>
                  <a:pt x="742315" y="5622001"/>
                  <a:pt x="762635" y="5619461"/>
                </a:cubicBezTo>
                <a:cubicBezTo>
                  <a:pt x="782955" y="5616921"/>
                  <a:pt x="778510" y="5584536"/>
                  <a:pt x="758190" y="5587711"/>
                </a:cubicBezTo>
                <a:close/>
                <a:moveTo>
                  <a:pt x="695325" y="5595966"/>
                </a:moveTo>
                <a:cubicBezTo>
                  <a:pt x="675005" y="5598506"/>
                  <a:pt x="678815" y="5630256"/>
                  <a:pt x="699135" y="5627716"/>
                </a:cubicBezTo>
                <a:cubicBezTo>
                  <a:pt x="719455" y="5625176"/>
                  <a:pt x="715645" y="5592791"/>
                  <a:pt x="695325" y="5595966"/>
                </a:cubicBezTo>
                <a:close/>
                <a:moveTo>
                  <a:pt x="900430" y="5677246"/>
                </a:moveTo>
                <a:cubicBezTo>
                  <a:pt x="864235" y="5710901"/>
                  <a:pt x="918210" y="5766781"/>
                  <a:pt x="953135" y="5732491"/>
                </a:cubicBezTo>
                <a:cubicBezTo>
                  <a:pt x="989330" y="5698836"/>
                  <a:pt x="935355" y="5642956"/>
                  <a:pt x="900430" y="5677246"/>
                </a:cubicBezTo>
                <a:close/>
                <a:moveTo>
                  <a:pt x="1282700" y="5893781"/>
                </a:moveTo>
                <a:cubicBezTo>
                  <a:pt x="1235075" y="5879811"/>
                  <a:pt x="1214755" y="5954741"/>
                  <a:pt x="1262380" y="5967441"/>
                </a:cubicBezTo>
                <a:cubicBezTo>
                  <a:pt x="1310005" y="5981411"/>
                  <a:pt x="1330960" y="5906481"/>
                  <a:pt x="1282700" y="5893781"/>
                </a:cubicBezTo>
                <a:close/>
                <a:moveTo>
                  <a:pt x="1316990" y="5668991"/>
                </a:moveTo>
                <a:cubicBezTo>
                  <a:pt x="1278890" y="5657561"/>
                  <a:pt x="1262380" y="5718521"/>
                  <a:pt x="1301115" y="5728046"/>
                </a:cubicBezTo>
                <a:cubicBezTo>
                  <a:pt x="1338580" y="5739476"/>
                  <a:pt x="1355725" y="5679151"/>
                  <a:pt x="1316990" y="5668991"/>
                </a:cubicBezTo>
                <a:close/>
                <a:moveTo>
                  <a:pt x="1136015" y="5663911"/>
                </a:moveTo>
                <a:cubicBezTo>
                  <a:pt x="1087755" y="5637876"/>
                  <a:pt x="1064895" y="5724871"/>
                  <a:pt x="1119505" y="5726141"/>
                </a:cubicBezTo>
                <a:cubicBezTo>
                  <a:pt x="1152525" y="5727411"/>
                  <a:pt x="1165225" y="5679151"/>
                  <a:pt x="1136015" y="5663911"/>
                </a:cubicBezTo>
                <a:close/>
                <a:moveTo>
                  <a:pt x="1264920" y="5802976"/>
                </a:moveTo>
                <a:cubicBezTo>
                  <a:pt x="1213485" y="5784561"/>
                  <a:pt x="1198245" y="5871556"/>
                  <a:pt x="1252855" y="5872191"/>
                </a:cubicBezTo>
                <a:cubicBezTo>
                  <a:pt x="1290955" y="5873461"/>
                  <a:pt x="1301750" y="5815041"/>
                  <a:pt x="1264920" y="5802976"/>
                </a:cubicBezTo>
                <a:close/>
                <a:moveTo>
                  <a:pt x="1116330" y="5811866"/>
                </a:moveTo>
                <a:cubicBezTo>
                  <a:pt x="1155700" y="5835361"/>
                  <a:pt x="1192530" y="5772496"/>
                  <a:pt x="1151890" y="5750271"/>
                </a:cubicBezTo>
                <a:cubicBezTo>
                  <a:pt x="1112520" y="5726776"/>
                  <a:pt x="1075690" y="5789641"/>
                  <a:pt x="1116330" y="5811866"/>
                </a:cubicBezTo>
                <a:close/>
                <a:moveTo>
                  <a:pt x="1162685" y="5844251"/>
                </a:moveTo>
                <a:cubicBezTo>
                  <a:pt x="1119505" y="5819486"/>
                  <a:pt x="1082040" y="5888066"/>
                  <a:pt x="1125855" y="5910926"/>
                </a:cubicBezTo>
                <a:cubicBezTo>
                  <a:pt x="1169035" y="5935691"/>
                  <a:pt x="1206500" y="5867746"/>
                  <a:pt x="1162685" y="5844251"/>
                </a:cubicBezTo>
                <a:close/>
                <a:moveTo>
                  <a:pt x="1242060" y="5715346"/>
                </a:moveTo>
                <a:cubicBezTo>
                  <a:pt x="1193800" y="5696931"/>
                  <a:pt x="1177925" y="5778846"/>
                  <a:pt x="1229995" y="5779481"/>
                </a:cubicBezTo>
                <a:cubicBezTo>
                  <a:pt x="1264920" y="5780116"/>
                  <a:pt x="1275715" y="5727411"/>
                  <a:pt x="1242060" y="5715346"/>
                </a:cubicBezTo>
                <a:close/>
                <a:moveTo>
                  <a:pt x="647065" y="5441661"/>
                </a:moveTo>
                <a:cubicBezTo>
                  <a:pt x="640715" y="5467696"/>
                  <a:pt x="681990" y="5477221"/>
                  <a:pt x="687705" y="5450551"/>
                </a:cubicBezTo>
                <a:cubicBezTo>
                  <a:pt x="694055" y="5424516"/>
                  <a:pt x="652780" y="5415626"/>
                  <a:pt x="647065" y="5441661"/>
                </a:cubicBezTo>
                <a:close/>
                <a:moveTo>
                  <a:pt x="480695" y="5237826"/>
                </a:moveTo>
                <a:cubicBezTo>
                  <a:pt x="507365" y="5257511"/>
                  <a:pt x="538480" y="5215601"/>
                  <a:pt x="511175" y="5195916"/>
                </a:cubicBezTo>
                <a:cubicBezTo>
                  <a:pt x="484505" y="5176231"/>
                  <a:pt x="453390" y="5218776"/>
                  <a:pt x="480695" y="5237826"/>
                </a:cubicBezTo>
                <a:close/>
                <a:moveTo>
                  <a:pt x="506095" y="5616921"/>
                </a:moveTo>
                <a:cubicBezTo>
                  <a:pt x="485775" y="5618826"/>
                  <a:pt x="488950" y="5650576"/>
                  <a:pt x="509270" y="5648671"/>
                </a:cubicBezTo>
                <a:cubicBezTo>
                  <a:pt x="530225" y="5646766"/>
                  <a:pt x="527050" y="5615016"/>
                  <a:pt x="506095" y="5616921"/>
                </a:cubicBezTo>
                <a:close/>
                <a:moveTo>
                  <a:pt x="505460" y="5514686"/>
                </a:moveTo>
                <a:cubicBezTo>
                  <a:pt x="508000" y="5491191"/>
                  <a:pt x="470535" y="5488016"/>
                  <a:pt x="468630" y="5511511"/>
                </a:cubicBezTo>
                <a:cubicBezTo>
                  <a:pt x="466725" y="5535006"/>
                  <a:pt x="503555" y="5538181"/>
                  <a:pt x="505460" y="5514686"/>
                </a:cubicBezTo>
                <a:close/>
                <a:moveTo>
                  <a:pt x="379730" y="5628351"/>
                </a:moveTo>
                <a:cubicBezTo>
                  <a:pt x="359410" y="5629621"/>
                  <a:pt x="361950" y="5662006"/>
                  <a:pt x="382270" y="5660101"/>
                </a:cubicBezTo>
                <a:cubicBezTo>
                  <a:pt x="403225" y="5658831"/>
                  <a:pt x="400685" y="5626446"/>
                  <a:pt x="379730" y="5628351"/>
                </a:cubicBezTo>
                <a:close/>
                <a:moveTo>
                  <a:pt x="516890" y="5387051"/>
                </a:moveTo>
                <a:cubicBezTo>
                  <a:pt x="490855" y="5379431"/>
                  <a:pt x="479425" y="5420071"/>
                  <a:pt x="506095" y="5427056"/>
                </a:cubicBezTo>
                <a:cubicBezTo>
                  <a:pt x="531495" y="5435311"/>
                  <a:pt x="543560" y="5394036"/>
                  <a:pt x="516890" y="5387051"/>
                </a:cubicBezTo>
                <a:close/>
                <a:moveTo>
                  <a:pt x="417195" y="5488016"/>
                </a:moveTo>
                <a:cubicBezTo>
                  <a:pt x="393700" y="5485476"/>
                  <a:pt x="389890" y="5522306"/>
                  <a:pt x="413385" y="5524846"/>
                </a:cubicBezTo>
                <a:cubicBezTo>
                  <a:pt x="437515" y="5527386"/>
                  <a:pt x="441325" y="5489921"/>
                  <a:pt x="417195" y="5488016"/>
                </a:cubicBezTo>
                <a:close/>
                <a:moveTo>
                  <a:pt x="443230" y="5623271"/>
                </a:moveTo>
                <a:cubicBezTo>
                  <a:pt x="422910" y="5624541"/>
                  <a:pt x="425450" y="5656926"/>
                  <a:pt x="445770" y="5655021"/>
                </a:cubicBezTo>
                <a:cubicBezTo>
                  <a:pt x="466725" y="5653116"/>
                  <a:pt x="463550" y="5620731"/>
                  <a:pt x="443230" y="5623271"/>
                </a:cubicBezTo>
                <a:close/>
                <a:moveTo>
                  <a:pt x="523875" y="5291166"/>
                </a:moveTo>
                <a:cubicBezTo>
                  <a:pt x="497205" y="5277831"/>
                  <a:pt x="476250" y="5320376"/>
                  <a:pt x="503555" y="5333076"/>
                </a:cubicBezTo>
                <a:cubicBezTo>
                  <a:pt x="530225" y="5347046"/>
                  <a:pt x="551180" y="5304501"/>
                  <a:pt x="523875" y="5291166"/>
                </a:cubicBezTo>
                <a:close/>
                <a:moveTo>
                  <a:pt x="631825" y="5504526"/>
                </a:moveTo>
                <a:cubicBezTo>
                  <a:pt x="607695" y="5502621"/>
                  <a:pt x="606425" y="5541356"/>
                  <a:pt x="631190" y="5541356"/>
                </a:cubicBezTo>
                <a:cubicBezTo>
                  <a:pt x="654050" y="5541356"/>
                  <a:pt x="654685" y="5505161"/>
                  <a:pt x="631825" y="5504526"/>
                </a:cubicBezTo>
                <a:close/>
                <a:moveTo>
                  <a:pt x="346075" y="5480396"/>
                </a:moveTo>
                <a:cubicBezTo>
                  <a:pt x="322580" y="5477221"/>
                  <a:pt x="318135" y="5514686"/>
                  <a:pt x="341630" y="5516591"/>
                </a:cubicBezTo>
                <a:cubicBezTo>
                  <a:pt x="365125" y="5519766"/>
                  <a:pt x="370205" y="5482301"/>
                  <a:pt x="346075" y="5480396"/>
                </a:cubicBezTo>
                <a:close/>
                <a:moveTo>
                  <a:pt x="179070" y="4354541"/>
                </a:moveTo>
                <a:cubicBezTo>
                  <a:pt x="100965" y="4390101"/>
                  <a:pt x="212090" y="4472651"/>
                  <a:pt x="223520" y="4387561"/>
                </a:cubicBezTo>
                <a:cubicBezTo>
                  <a:pt x="246380" y="4383751"/>
                  <a:pt x="260985" y="4358986"/>
                  <a:pt x="252730" y="4336761"/>
                </a:cubicBezTo>
                <a:cubicBezTo>
                  <a:pt x="238760" y="4294851"/>
                  <a:pt x="173355" y="4311361"/>
                  <a:pt x="179070" y="4354541"/>
                </a:cubicBezTo>
                <a:close/>
                <a:moveTo>
                  <a:pt x="632460" y="5603586"/>
                </a:moveTo>
                <a:cubicBezTo>
                  <a:pt x="612140" y="5605491"/>
                  <a:pt x="615950" y="5637876"/>
                  <a:pt x="636270" y="5635336"/>
                </a:cubicBezTo>
                <a:cubicBezTo>
                  <a:pt x="656590" y="5632796"/>
                  <a:pt x="652780" y="5600411"/>
                  <a:pt x="632460" y="5603586"/>
                </a:cubicBezTo>
                <a:close/>
                <a:moveTo>
                  <a:pt x="560070" y="5500081"/>
                </a:moveTo>
                <a:cubicBezTo>
                  <a:pt x="535305" y="5498176"/>
                  <a:pt x="534035" y="5536911"/>
                  <a:pt x="558800" y="5536911"/>
                </a:cubicBezTo>
                <a:cubicBezTo>
                  <a:pt x="581660" y="5537546"/>
                  <a:pt x="583565" y="5501351"/>
                  <a:pt x="560070" y="5500081"/>
                </a:cubicBezTo>
                <a:close/>
                <a:moveTo>
                  <a:pt x="569595" y="5610571"/>
                </a:moveTo>
                <a:cubicBezTo>
                  <a:pt x="548640" y="5612476"/>
                  <a:pt x="552450" y="5644861"/>
                  <a:pt x="572770" y="5642321"/>
                </a:cubicBezTo>
                <a:cubicBezTo>
                  <a:pt x="593090" y="5640416"/>
                  <a:pt x="589915" y="5608031"/>
                  <a:pt x="569595" y="5610571"/>
                </a:cubicBezTo>
                <a:close/>
                <a:moveTo>
                  <a:pt x="594360" y="5407371"/>
                </a:moveTo>
                <a:cubicBezTo>
                  <a:pt x="568325" y="5400386"/>
                  <a:pt x="558165" y="5441661"/>
                  <a:pt x="584200" y="5448011"/>
                </a:cubicBezTo>
                <a:cubicBezTo>
                  <a:pt x="610235" y="5454996"/>
                  <a:pt x="621030" y="5413721"/>
                  <a:pt x="594360" y="5407371"/>
                </a:cubicBezTo>
                <a:close/>
              </a:path>
            </a:pathLst>
          </a:custGeom>
          <a:gradFill>
            <a:gsLst>
              <a:gs pos="0">
                <a:schemeClr val="accent1"/>
              </a:gs>
              <a:gs pos="100000">
                <a:schemeClr val="accent2"/>
              </a:gs>
            </a:gsLst>
            <a:lin ang="10800025"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Calibri"/>
              <a:ea typeface="Calibri"/>
              <a:cs typeface="Calibri"/>
              <a:sym typeface="Calibri"/>
            </a:endParaRPr>
          </a:p>
        </p:txBody>
      </p:sp>
      <p:sp>
        <p:nvSpPr>
          <p:cNvPr id="11" name="Google Shape;11;p2"/>
          <p:cNvSpPr txBox="1">
            <a:spLocks noGrp="1"/>
          </p:cNvSpPr>
          <p:nvPr>
            <p:ph type="ctrTitle"/>
          </p:nvPr>
        </p:nvSpPr>
        <p:spPr>
          <a:xfrm>
            <a:off x="1037875" y="1662450"/>
            <a:ext cx="7068300" cy="1818600"/>
          </a:xfrm>
          <a:prstGeom prst="rect">
            <a:avLst/>
          </a:prstGeom>
        </p:spPr>
        <p:txBody>
          <a:bodyPr spcFirstLastPara="1" wrap="square" lIns="0" tIns="0" rIns="0" bIns="0" anchor="ctr" anchorCtr="0">
            <a:noAutofit/>
          </a:bodyPr>
          <a:lstStyle>
            <a:lvl1pPr lvl="0" rtl="0">
              <a:lnSpc>
                <a:spcPct val="100000"/>
              </a:lnSpc>
              <a:spcBef>
                <a:spcPts val="0"/>
              </a:spcBef>
              <a:spcAft>
                <a:spcPts val="0"/>
              </a:spcAft>
              <a:buClr>
                <a:schemeClr val="lt1"/>
              </a:buClr>
              <a:buSzPts val="6800"/>
              <a:buNone/>
              <a:defRPr sz="6800">
                <a:solidFill>
                  <a:schemeClr val="lt1"/>
                </a:solidFill>
              </a:defRPr>
            </a:lvl1pPr>
            <a:lvl2pPr lvl="1" rtl="0">
              <a:lnSpc>
                <a:spcPct val="100000"/>
              </a:lnSpc>
              <a:spcBef>
                <a:spcPts val="0"/>
              </a:spcBef>
              <a:spcAft>
                <a:spcPts val="0"/>
              </a:spcAft>
              <a:buClr>
                <a:schemeClr val="lt1"/>
              </a:buClr>
              <a:buSzPts val="6800"/>
              <a:buNone/>
              <a:defRPr sz="6800">
                <a:solidFill>
                  <a:schemeClr val="lt1"/>
                </a:solidFill>
              </a:defRPr>
            </a:lvl2pPr>
            <a:lvl3pPr lvl="2" rtl="0">
              <a:lnSpc>
                <a:spcPct val="100000"/>
              </a:lnSpc>
              <a:spcBef>
                <a:spcPts val="0"/>
              </a:spcBef>
              <a:spcAft>
                <a:spcPts val="0"/>
              </a:spcAft>
              <a:buClr>
                <a:schemeClr val="lt1"/>
              </a:buClr>
              <a:buSzPts val="6800"/>
              <a:buNone/>
              <a:defRPr sz="6800">
                <a:solidFill>
                  <a:schemeClr val="lt1"/>
                </a:solidFill>
              </a:defRPr>
            </a:lvl3pPr>
            <a:lvl4pPr lvl="3" rtl="0">
              <a:lnSpc>
                <a:spcPct val="100000"/>
              </a:lnSpc>
              <a:spcBef>
                <a:spcPts val="0"/>
              </a:spcBef>
              <a:spcAft>
                <a:spcPts val="0"/>
              </a:spcAft>
              <a:buClr>
                <a:schemeClr val="lt1"/>
              </a:buClr>
              <a:buSzPts val="6800"/>
              <a:buNone/>
              <a:defRPr sz="6800">
                <a:solidFill>
                  <a:schemeClr val="lt1"/>
                </a:solidFill>
              </a:defRPr>
            </a:lvl4pPr>
            <a:lvl5pPr lvl="4" rtl="0">
              <a:lnSpc>
                <a:spcPct val="100000"/>
              </a:lnSpc>
              <a:spcBef>
                <a:spcPts val="0"/>
              </a:spcBef>
              <a:spcAft>
                <a:spcPts val="0"/>
              </a:spcAft>
              <a:buClr>
                <a:schemeClr val="lt1"/>
              </a:buClr>
              <a:buSzPts val="6800"/>
              <a:buNone/>
              <a:defRPr sz="6800">
                <a:solidFill>
                  <a:schemeClr val="lt1"/>
                </a:solidFill>
              </a:defRPr>
            </a:lvl5pPr>
            <a:lvl6pPr lvl="5" rtl="0">
              <a:lnSpc>
                <a:spcPct val="100000"/>
              </a:lnSpc>
              <a:spcBef>
                <a:spcPts val="0"/>
              </a:spcBef>
              <a:spcAft>
                <a:spcPts val="0"/>
              </a:spcAft>
              <a:buClr>
                <a:schemeClr val="lt1"/>
              </a:buClr>
              <a:buSzPts val="6800"/>
              <a:buNone/>
              <a:defRPr sz="6800">
                <a:solidFill>
                  <a:schemeClr val="lt1"/>
                </a:solidFill>
              </a:defRPr>
            </a:lvl6pPr>
            <a:lvl7pPr lvl="6" rtl="0">
              <a:lnSpc>
                <a:spcPct val="100000"/>
              </a:lnSpc>
              <a:spcBef>
                <a:spcPts val="0"/>
              </a:spcBef>
              <a:spcAft>
                <a:spcPts val="0"/>
              </a:spcAft>
              <a:buClr>
                <a:schemeClr val="lt1"/>
              </a:buClr>
              <a:buSzPts val="6800"/>
              <a:buNone/>
              <a:defRPr sz="6800">
                <a:solidFill>
                  <a:schemeClr val="lt1"/>
                </a:solidFill>
              </a:defRPr>
            </a:lvl7pPr>
            <a:lvl8pPr lvl="7" rtl="0">
              <a:lnSpc>
                <a:spcPct val="100000"/>
              </a:lnSpc>
              <a:spcBef>
                <a:spcPts val="0"/>
              </a:spcBef>
              <a:spcAft>
                <a:spcPts val="0"/>
              </a:spcAft>
              <a:buClr>
                <a:schemeClr val="lt1"/>
              </a:buClr>
              <a:buSzPts val="6800"/>
              <a:buNone/>
              <a:defRPr sz="6800">
                <a:solidFill>
                  <a:schemeClr val="lt1"/>
                </a:solidFill>
              </a:defRPr>
            </a:lvl8pPr>
            <a:lvl9pPr lvl="8" rtl="0">
              <a:lnSpc>
                <a:spcPct val="100000"/>
              </a:lnSpc>
              <a:spcBef>
                <a:spcPts val="0"/>
              </a:spcBef>
              <a:spcAft>
                <a:spcPts val="0"/>
              </a:spcAft>
              <a:buClr>
                <a:schemeClr val="lt1"/>
              </a:buClr>
              <a:buSzPts val="6800"/>
              <a:buNone/>
              <a:defRPr sz="6800">
                <a:solidFill>
                  <a:schemeClr val="lt1"/>
                </a:solidFill>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 1 column" type="tx">
  <p:cSld name="TITLE_AND_BODY">
    <p:spTree>
      <p:nvGrpSpPr>
        <p:cNvPr id="1" name="Shape 21"/>
        <p:cNvGrpSpPr/>
        <p:nvPr/>
      </p:nvGrpSpPr>
      <p:grpSpPr>
        <a:xfrm>
          <a:off x="0" y="0"/>
          <a:ext cx="0" cy="0"/>
          <a:chOff x="0" y="0"/>
          <a:chExt cx="0" cy="0"/>
        </a:xfrm>
      </p:grpSpPr>
      <p:sp>
        <p:nvSpPr>
          <p:cNvPr id="22" name="Google Shape;22;p5"/>
          <p:cNvSpPr/>
          <p:nvPr/>
        </p:nvSpPr>
        <p:spPr>
          <a:xfrm>
            <a:off x="0" y="2625824"/>
            <a:ext cx="9144000" cy="2232329"/>
          </a:xfrm>
          <a:custGeom>
            <a:avLst/>
            <a:gdLst/>
            <a:ahLst/>
            <a:cxnLst/>
            <a:rect l="l" t="t" r="r" b="b"/>
            <a:pathLst>
              <a:path w="12192000" h="2976439" extrusionOk="0">
                <a:moveTo>
                  <a:pt x="6456680" y="1376234"/>
                </a:moveTo>
                <a:cubicBezTo>
                  <a:pt x="6463665" y="1380044"/>
                  <a:pt x="6471920" y="1378138"/>
                  <a:pt x="6476365" y="1371788"/>
                </a:cubicBezTo>
                <a:cubicBezTo>
                  <a:pt x="6503670" y="1378138"/>
                  <a:pt x="6495415" y="1331784"/>
                  <a:pt x="6471920" y="1347024"/>
                </a:cubicBezTo>
                <a:cubicBezTo>
                  <a:pt x="6454775" y="1340674"/>
                  <a:pt x="6438900" y="1365438"/>
                  <a:pt x="6456680" y="1376234"/>
                </a:cubicBezTo>
                <a:close/>
                <a:moveTo>
                  <a:pt x="6391910" y="1339404"/>
                </a:moveTo>
                <a:cubicBezTo>
                  <a:pt x="6393180" y="1340038"/>
                  <a:pt x="6395085" y="1340674"/>
                  <a:pt x="6396355" y="1341309"/>
                </a:cubicBezTo>
                <a:cubicBezTo>
                  <a:pt x="6399530" y="1350199"/>
                  <a:pt x="6413500" y="1352104"/>
                  <a:pt x="6418580" y="1343213"/>
                </a:cubicBezTo>
                <a:cubicBezTo>
                  <a:pt x="6441440" y="1342579"/>
                  <a:pt x="6431915" y="1306384"/>
                  <a:pt x="6411595" y="1316544"/>
                </a:cubicBezTo>
                <a:cubicBezTo>
                  <a:pt x="6396990" y="1296859"/>
                  <a:pt x="6370320" y="1327338"/>
                  <a:pt x="6391910" y="1339404"/>
                </a:cubicBezTo>
                <a:close/>
                <a:moveTo>
                  <a:pt x="6412865" y="1360359"/>
                </a:moveTo>
                <a:cubicBezTo>
                  <a:pt x="6400800" y="1378774"/>
                  <a:pt x="6429375" y="1397188"/>
                  <a:pt x="6440805" y="1378774"/>
                </a:cubicBezTo>
                <a:cubicBezTo>
                  <a:pt x="6453505" y="1360994"/>
                  <a:pt x="6424295" y="1341944"/>
                  <a:pt x="6412865" y="1360359"/>
                </a:cubicBezTo>
                <a:close/>
                <a:moveTo>
                  <a:pt x="6502400" y="1514029"/>
                </a:moveTo>
                <a:cubicBezTo>
                  <a:pt x="6482715" y="1497519"/>
                  <a:pt x="6457315" y="1529269"/>
                  <a:pt x="6477635" y="1545144"/>
                </a:cubicBezTo>
                <a:cubicBezTo>
                  <a:pt x="6497320" y="1561019"/>
                  <a:pt x="6522720" y="1529269"/>
                  <a:pt x="6502400" y="1514029"/>
                </a:cubicBezTo>
                <a:close/>
                <a:moveTo>
                  <a:pt x="6382385" y="1402269"/>
                </a:moveTo>
                <a:cubicBezTo>
                  <a:pt x="6399530" y="1402904"/>
                  <a:pt x="6407785" y="1378774"/>
                  <a:pt x="6393180" y="1369249"/>
                </a:cubicBezTo>
                <a:cubicBezTo>
                  <a:pt x="6367145" y="1350834"/>
                  <a:pt x="6350635" y="1400999"/>
                  <a:pt x="6382385" y="1402269"/>
                </a:cubicBezTo>
                <a:close/>
                <a:moveTo>
                  <a:pt x="6216015" y="1284794"/>
                </a:moveTo>
                <a:cubicBezTo>
                  <a:pt x="6196330" y="1268284"/>
                  <a:pt x="6170930" y="1300034"/>
                  <a:pt x="6191250" y="1315909"/>
                </a:cubicBezTo>
                <a:cubicBezTo>
                  <a:pt x="6210935" y="1331784"/>
                  <a:pt x="6236335" y="1300669"/>
                  <a:pt x="6216015" y="1284794"/>
                </a:cubicBezTo>
                <a:close/>
                <a:moveTo>
                  <a:pt x="6049645" y="1169859"/>
                </a:moveTo>
                <a:cubicBezTo>
                  <a:pt x="6049010" y="1164779"/>
                  <a:pt x="6045835" y="1159699"/>
                  <a:pt x="6040755" y="1157794"/>
                </a:cubicBezTo>
                <a:cubicBezTo>
                  <a:pt x="6017260" y="1150174"/>
                  <a:pt x="6015355" y="1190813"/>
                  <a:pt x="6039485" y="1184463"/>
                </a:cubicBezTo>
                <a:cubicBezTo>
                  <a:pt x="6038850" y="1189544"/>
                  <a:pt x="6040120" y="1194624"/>
                  <a:pt x="6043295" y="1198434"/>
                </a:cubicBezTo>
                <a:cubicBezTo>
                  <a:pt x="5981700" y="1191449"/>
                  <a:pt x="6039485" y="1279079"/>
                  <a:pt x="6057265" y="1220024"/>
                </a:cubicBezTo>
                <a:cubicBezTo>
                  <a:pt x="6060440" y="1216213"/>
                  <a:pt x="6061075" y="1210499"/>
                  <a:pt x="6059170" y="1206688"/>
                </a:cubicBezTo>
                <a:cubicBezTo>
                  <a:pt x="6075045" y="1207324"/>
                  <a:pt x="6085205" y="1186369"/>
                  <a:pt x="6074410" y="1174938"/>
                </a:cubicBezTo>
                <a:cubicBezTo>
                  <a:pt x="6077585" y="1176844"/>
                  <a:pt x="6081395" y="1178113"/>
                  <a:pt x="6084570" y="1177479"/>
                </a:cubicBezTo>
                <a:cubicBezTo>
                  <a:pt x="6082030" y="1183194"/>
                  <a:pt x="6082665" y="1190179"/>
                  <a:pt x="6085840" y="1195259"/>
                </a:cubicBezTo>
                <a:cubicBezTo>
                  <a:pt x="6085205" y="1211769"/>
                  <a:pt x="6111240" y="1214944"/>
                  <a:pt x="6113780" y="1197799"/>
                </a:cubicBezTo>
                <a:cubicBezTo>
                  <a:pt x="6115050" y="1196529"/>
                  <a:pt x="6116320" y="1194624"/>
                  <a:pt x="6117590" y="1192719"/>
                </a:cubicBezTo>
                <a:cubicBezTo>
                  <a:pt x="6118860" y="1200974"/>
                  <a:pt x="6128385" y="1207324"/>
                  <a:pt x="6137275" y="1204784"/>
                </a:cubicBezTo>
                <a:cubicBezTo>
                  <a:pt x="6139180" y="1210499"/>
                  <a:pt x="6144895" y="1216213"/>
                  <a:pt x="6151245" y="1216849"/>
                </a:cubicBezTo>
                <a:cubicBezTo>
                  <a:pt x="6149975" y="1221929"/>
                  <a:pt x="6151245" y="1227009"/>
                  <a:pt x="6155055" y="1230819"/>
                </a:cubicBezTo>
                <a:cubicBezTo>
                  <a:pt x="6154420" y="1235263"/>
                  <a:pt x="6155690" y="1240344"/>
                  <a:pt x="6158865" y="1244154"/>
                </a:cubicBezTo>
                <a:cubicBezTo>
                  <a:pt x="6145530" y="1263838"/>
                  <a:pt x="6184265" y="1273363"/>
                  <a:pt x="6181725" y="1249234"/>
                </a:cubicBezTo>
                <a:cubicBezTo>
                  <a:pt x="6187440" y="1246694"/>
                  <a:pt x="6191250" y="1240344"/>
                  <a:pt x="6191885" y="1234629"/>
                </a:cubicBezTo>
                <a:cubicBezTo>
                  <a:pt x="6196330" y="1237804"/>
                  <a:pt x="6202045" y="1238438"/>
                  <a:pt x="6207125" y="1236534"/>
                </a:cubicBezTo>
                <a:cubicBezTo>
                  <a:pt x="6203315" y="1248599"/>
                  <a:pt x="6214745" y="1256219"/>
                  <a:pt x="6224905" y="1260029"/>
                </a:cubicBezTo>
                <a:cubicBezTo>
                  <a:pt x="6213475" y="1263838"/>
                  <a:pt x="6214110" y="1280984"/>
                  <a:pt x="6225540" y="1284159"/>
                </a:cubicBezTo>
                <a:cubicBezTo>
                  <a:pt x="6239510" y="1333054"/>
                  <a:pt x="6290945" y="1263204"/>
                  <a:pt x="6239510" y="1265109"/>
                </a:cubicBezTo>
                <a:cubicBezTo>
                  <a:pt x="6238240" y="1263204"/>
                  <a:pt x="6235700" y="1261299"/>
                  <a:pt x="6233160" y="1260029"/>
                </a:cubicBezTo>
                <a:cubicBezTo>
                  <a:pt x="6254750" y="1252409"/>
                  <a:pt x="6235065" y="1214944"/>
                  <a:pt x="6216015" y="1225738"/>
                </a:cubicBezTo>
                <a:cubicBezTo>
                  <a:pt x="6220460" y="1206054"/>
                  <a:pt x="6188710" y="1199704"/>
                  <a:pt x="6185535" y="1220024"/>
                </a:cubicBezTo>
                <a:cubicBezTo>
                  <a:pt x="6183630" y="1218119"/>
                  <a:pt x="6180455" y="1216849"/>
                  <a:pt x="6177915" y="1215579"/>
                </a:cubicBezTo>
                <a:cubicBezTo>
                  <a:pt x="6176645" y="1211769"/>
                  <a:pt x="6172835" y="1208594"/>
                  <a:pt x="6169025" y="1207324"/>
                </a:cubicBezTo>
                <a:cubicBezTo>
                  <a:pt x="6176010" y="1193988"/>
                  <a:pt x="6161405" y="1178749"/>
                  <a:pt x="6147435" y="1184463"/>
                </a:cubicBezTo>
                <a:cubicBezTo>
                  <a:pt x="6142990" y="1172399"/>
                  <a:pt x="6125210" y="1171129"/>
                  <a:pt x="6119495" y="1182559"/>
                </a:cubicBezTo>
                <a:cubicBezTo>
                  <a:pt x="6118860" y="1173034"/>
                  <a:pt x="6108065" y="1165413"/>
                  <a:pt x="6098540" y="1167319"/>
                </a:cubicBezTo>
                <a:cubicBezTo>
                  <a:pt x="6104890" y="1152713"/>
                  <a:pt x="6087110" y="1138109"/>
                  <a:pt x="6073775" y="1146999"/>
                </a:cubicBezTo>
                <a:cubicBezTo>
                  <a:pt x="6059805" y="1135569"/>
                  <a:pt x="6040755" y="1155888"/>
                  <a:pt x="6052820" y="1169224"/>
                </a:cubicBezTo>
                <a:cubicBezTo>
                  <a:pt x="6052185" y="1168588"/>
                  <a:pt x="6050915" y="1169224"/>
                  <a:pt x="6049645" y="1169859"/>
                </a:cubicBezTo>
                <a:close/>
                <a:moveTo>
                  <a:pt x="6279515" y="1267649"/>
                </a:moveTo>
                <a:cubicBezTo>
                  <a:pt x="6278880" y="1268919"/>
                  <a:pt x="6278880" y="1270824"/>
                  <a:pt x="6278245" y="1272094"/>
                </a:cubicBezTo>
                <a:cubicBezTo>
                  <a:pt x="6273800" y="1277174"/>
                  <a:pt x="6273800" y="1284794"/>
                  <a:pt x="6276340" y="1289874"/>
                </a:cubicBezTo>
                <a:cubicBezTo>
                  <a:pt x="6272530" y="1305113"/>
                  <a:pt x="6296660" y="1311463"/>
                  <a:pt x="6300470" y="1296224"/>
                </a:cubicBezTo>
                <a:cubicBezTo>
                  <a:pt x="6308090" y="1291779"/>
                  <a:pt x="6309995" y="1280984"/>
                  <a:pt x="6305550" y="1273999"/>
                </a:cubicBezTo>
                <a:cubicBezTo>
                  <a:pt x="6308090" y="1258759"/>
                  <a:pt x="6285230" y="1253044"/>
                  <a:pt x="6279515" y="1267649"/>
                </a:cubicBezTo>
                <a:close/>
                <a:moveTo>
                  <a:pt x="6260465" y="1269554"/>
                </a:moveTo>
                <a:cubicBezTo>
                  <a:pt x="6278245" y="1279079"/>
                  <a:pt x="6292850" y="1250504"/>
                  <a:pt x="6274435" y="1241613"/>
                </a:cubicBezTo>
                <a:cubicBezTo>
                  <a:pt x="6256655" y="1232724"/>
                  <a:pt x="6242050" y="1260663"/>
                  <a:pt x="6260465" y="1269554"/>
                </a:cubicBezTo>
                <a:close/>
                <a:moveTo>
                  <a:pt x="6492875" y="1740088"/>
                </a:moveTo>
                <a:cubicBezTo>
                  <a:pt x="6512560" y="1740724"/>
                  <a:pt x="6523356" y="1714054"/>
                  <a:pt x="6508115" y="1700719"/>
                </a:cubicBezTo>
                <a:cubicBezTo>
                  <a:pt x="6476365" y="1674049"/>
                  <a:pt x="6451600" y="1738184"/>
                  <a:pt x="6492875" y="1740088"/>
                </a:cubicBezTo>
                <a:close/>
                <a:moveTo>
                  <a:pt x="6313805" y="1461324"/>
                </a:moveTo>
                <a:cubicBezTo>
                  <a:pt x="6285230" y="1508949"/>
                  <a:pt x="6378575" y="1502599"/>
                  <a:pt x="6343650" y="1459419"/>
                </a:cubicBezTo>
                <a:cubicBezTo>
                  <a:pt x="6343650" y="1459419"/>
                  <a:pt x="6343650" y="1459419"/>
                  <a:pt x="6343650" y="1459419"/>
                </a:cubicBezTo>
                <a:cubicBezTo>
                  <a:pt x="6334760" y="1451163"/>
                  <a:pt x="6321425" y="1452434"/>
                  <a:pt x="6313805" y="1461324"/>
                </a:cubicBezTo>
                <a:close/>
                <a:moveTo>
                  <a:pt x="6298565" y="1322259"/>
                </a:moveTo>
                <a:cubicBezTo>
                  <a:pt x="6284595" y="1341309"/>
                  <a:pt x="6314440" y="1363534"/>
                  <a:pt x="6328410" y="1343849"/>
                </a:cubicBezTo>
                <a:cubicBezTo>
                  <a:pt x="6342380" y="1324799"/>
                  <a:pt x="6311900" y="1302574"/>
                  <a:pt x="6298565" y="1322259"/>
                </a:cubicBezTo>
                <a:close/>
                <a:moveTo>
                  <a:pt x="6326505" y="1303844"/>
                </a:moveTo>
                <a:cubicBezTo>
                  <a:pt x="6331585" y="1306384"/>
                  <a:pt x="6337300" y="1306384"/>
                  <a:pt x="6341745" y="1303209"/>
                </a:cubicBezTo>
                <a:cubicBezTo>
                  <a:pt x="6334125" y="1308288"/>
                  <a:pt x="6334760" y="1320988"/>
                  <a:pt x="6343015" y="1324799"/>
                </a:cubicBezTo>
                <a:cubicBezTo>
                  <a:pt x="6346825" y="1362263"/>
                  <a:pt x="6399530" y="1327974"/>
                  <a:pt x="6366510" y="1309559"/>
                </a:cubicBezTo>
                <a:cubicBezTo>
                  <a:pt x="6376670" y="1298129"/>
                  <a:pt x="6362065" y="1280349"/>
                  <a:pt x="6349365" y="1287969"/>
                </a:cubicBezTo>
                <a:cubicBezTo>
                  <a:pt x="6343015" y="1257488"/>
                  <a:pt x="6299835" y="1287334"/>
                  <a:pt x="6326505" y="1303844"/>
                </a:cubicBezTo>
                <a:close/>
                <a:moveTo>
                  <a:pt x="6341745" y="1303844"/>
                </a:moveTo>
                <a:cubicBezTo>
                  <a:pt x="6341745" y="1303844"/>
                  <a:pt x="6341745" y="1303844"/>
                  <a:pt x="6341745" y="1303844"/>
                </a:cubicBezTo>
                <a:cubicBezTo>
                  <a:pt x="6341745" y="1303844"/>
                  <a:pt x="6341745" y="1303844"/>
                  <a:pt x="6341745" y="1303844"/>
                </a:cubicBezTo>
                <a:cubicBezTo>
                  <a:pt x="6341745" y="1303844"/>
                  <a:pt x="6341745" y="1303844"/>
                  <a:pt x="6341745" y="1303844"/>
                </a:cubicBezTo>
                <a:close/>
                <a:moveTo>
                  <a:pt x="6287135" y="1341944"/>
                </a:moveTo>
                <a:cubicBezTo>
                  <a:pt x="6267450" y="1325434"/>
                  <a:pt x="6242050" y="1357184"/>
                  <a:pt x="6262370" y="1373059"/>
                </a:cubicBezTo>
                <a:cubicBezTo>
                  <a:pt x="6282690" y="1388934"/>
                  <a:pt x="6307455" y="1357819"/>
                  <a:pt x="6287135" y="1341944"/>
                </a:cubicBezTo>
                <a:close/>
                <a:moveTo>
                  <a:pt x="6242685" y="1427034"/>
                </a:moveTo>
                <a:cubicBezTo>
                  <a:pt x="6263005" y="1445449"/>
                  <a:pt x="6291580" y="1413063"/>
                  <a:pt x="6270625" y="1395284"/>
                </a:cubicBezTo>
                <a:cubicBezTo>
                  <a:pt x="6250305" y="1376869"/>
                  <a:pt x="6221730" y="1409254"/>
                  <a:pt x="6242685" y="1427034"/>
                </a:cubicBezTo>
                <a:close/>
                <a:moveTo>
                  <a:pt x="6574156" y="1570544"/>
                </a:moveTo>
                <a:cubicBezTo>
                  <a:pt x="6554470" y="1554669"/>
                  <a:pt x="6529070" y="1585784"/>
                  <a:pt x="6550025" y="1601659"/>
                </a:cubicBezTo>
                <a:cubicBezTo>
                  <a:pt x="6569710" y="1618169"/>
                  <a:pt x="6594475" y="1586419"/>
                  <a:pt x="6574156" y="1570544"/>
                </a:cubicBezTo>
                <a:close/>
                <a:moveTo>
                  <a:pt x="6614795" y="1493074"/>
                </a:moveTo>
                <a:cubicBezTo>
                  <a:pt x="6602731" y="1511488"/>
                  <a:pt x="6631306" y="1529904"/>
                  <a:pt x="6643370" y="1511488"/>
                </a:cubicBezTo>
                <a:cubicBezTo>
                  <a:pt x="6655435" y="1493074"/>
                  <a:pt x="6626225" y="1474024"/>
                  <a:pt x="6614795" y="1493074"/>
                </a:cubicBezTo>
                <a:close/>
                <a:moveTo>
                  <a:pt x="6580506" y="1418144"/>
                </a:moveTo>
                <a:cubicBezTo>
                  <a:pt x="6583681" y="1419413"/>
                  <a:pt x="6587490" y="1419413"/>
                  <a:pt x="6590031" y="1418144"/>
                </a:cubicBezTo>
                <a:cubicBezTo>
                  <a:pt x="6590031" y="1420049"/>
                  <a:pt x="6590031" y="1421954"/>
                  <a:pt x="6590031" y="1423224"/>
                </a:cubicBezTo>
                <a:cubicBezTo>
                  <a:pt x="6549390" y="1439099"/>
                  <a:pt x="6612890" y="1476563"/>
                  <a:pt x="6607175" y="1433384"/>
                </a:cubicBezTo>
                <a:cubicBezTo>
                  <a:pt x="6626860" y="1428304"/>
                  <a:pt x="6615431" y="1397824"/>
                  <a:pt x="6597015" y="1407349"/>
                </a:cubicBezTo>
                <a:cubicBezTo>
                  <a:pt x="6597015" y="1378138"/>
                  <a:pt x="6555106" y="1403538"/>
                  <a:pt x="6580506" y="1418144"/>
                </a:cubicBezTo>
                <a:close/>
                <a:moveTo>
                  <a:pt x="6639560" y="1442274"/>
                </a:moveTo>
                <a:cubicBezTo>
                  <a:pt x="6654800" y="1449259"/>
                  <a:pt x="6664960" y="1425129"/>
                  <a:pt x="6649085" y="1418779"/>
                </a:cubicBezTo>
                <a:cubicBezTo>
                  <a:pt x="6634481" y="1412429"/>
                  <a:pt x="6624320" y="1435924"/>
                  <a:pt x="6639560" y="1442274"/>
                </a:cubicBezTo>
                <a:close/>
                <a:moveTo>
                  <a:pt x="6547485" y="1448624"/>
                </a:moveTo>
                <a:cubicBezTo>
                  <a:pt x="6535420" y="1467038"/>
                  <a:pt x="6563995" y="1485454"/>
                  <a:pt x="6576060" y="1467038"/>
                </a:cubicBezTo>
                <a:cubicBezTo>
                  <a:pt x="6588125" y="1449259"/>
                  <a:pt x="6558915" y="1430209"/>
                  <a:pt x="6547485" y="1448624"/>
                </a:cubicBezTo>
                <a:close/>
                <a:moveTo>
                  <a:pt x="6569075" y="1809304"/>
                </a:moveTo>
                <a:cubicBezTo>
                  <a:pt x="6588760" y="1809938"/>
                  <a:pt x="6599556" y="1782634"/>
                  <a:pt x="6584315" y="1769934"/>
                </a:cubicBezTo>
                <a:cubicBezTo>
                  <a:pt x="6551931" y="1743899"/>
                  <a:pt x="6527800" y="1807399"/>
                  <a:pt x="6569075" y="1809304"/>
                </a:cubicBezTo>
                <a:close/>
                <a:moveTo>
                  <a:pt x="6653531" y="1444813"/>
                </a:moveTo>
                <a:cubicBezTo>
                  <a:pt x="6650990" y="1449894"/>
                  <a:pt x="6651625" y="1456244"/>
                  <a:pt x="6655435" y="1460688"/>
                </a:cubicBezTo>
                <a:cubicBezTo>
                  <a:pt x="6609081" y="1484184"/>
                  <a:pt x="6693535" y="1510854"/>
                  <a:pt x="6668770" y="1465134"/>
                </a:cubicBezTo>
                <a:cubicBezTo>
                  <a:pt x="6695440" y="1457513"/>
                  <a:pt x="6667500" y="1421319"/>
                  <a:pt x="6653531" y="1444813"/>
                </a:cubicBezTo>
                <a:close/>
                <a:moveTo>
                  <a:pt x="6646545" y="1627059"/>
                </a:moveTo>
                <a:cubicBezTo>
                  <a:pt x="6626225" y="1611184"/>
                  <a:pt x="6602095" y="1642934"/>
                  <a:pt x="6622415" y="1658174"/>
                </a:cubicBezTo>
                <a:cubicBezTo>
                  <a:pt x="6642100" y="1674684"/>
                  <a:pt x="6666865" y="1642299"/>
                  <a:pt x="6646545" y="1627059"/>
                </a:cubicBezTo>
                <a:close/>
                <a:moveTo>
                  <a:pt x="6629400" y="1840419"/>
                </a:moveTo>
                <a:cubicBezTo>
                  <a:pt x="6609715" y="1862009"/>
                  <a:pt x="6644006" y="1892488"/>
                  <a:pt x="6663056" y="1870263"/>
                </a:cubicBezTo>
                <a:cubicBezTo>
                  <a:pt x="6682740" y="1848674"/>
                  <a:pt x="6648450" y="1818194"/>
                  <a:pt x="6629400" y="1840419"/>
                </a:cubicBezTo>
                <a:close/>
                <a:moveTo>
                  <a:pt x="6677025" y="1595944"/>
                </a:moveTo>
                <a:cubicBezTo>
                  <a:pt x="6690995" y="1576894"/>
                  <a:pt x="6660515" y="1555304"/>
                  <a:pt x="6647181" y="1574988"/>
                </a:cubicBezTo>
                <a:cubicBezTo>
                  <a:pt x="6633210" y="1594038"/>
                  <a:pt x="6663690" y="1615629"/>
                  <a:pt x="6677025" y="1595944"/>
                </a:cubicBezTo>
                <a:close/>
                <a:moveTo>
                  <a:pt x="6419215" y="1552763"/>
                </a:moveTo>
                <a:cubicBezTo>
                  <a:pt x="6437630" y="1532444"/>
                  <a:pt x="6404610" y="1503869"/>
                  <a:pt x="6387465" y="1524824"/>
                </a:cubicBezTo>
                <a:cubicBezTo>
                  <a:pt x="6369050" y="1545144"/>
                  <a:pt x="6401435" y="1573719"/>
                  <a:pt x="6419215" y="1552763"/>
                </a:cubicBezTo>
                <a:close/>
                <a:moveTo>
                  <a:pt x="6405880" y="1487359"/>
                </a:moveTo>
                <a:cubicBezTo>
                  <a:pt x="6425565" y="1503869"/>
                  <a:pt x="6450965" y="1472119"/>
                  <a:pt x="6430645" y="1456244"/>
                </a:cubicBezTo>
                <a:cubicBezTo>
                  <a:pt x="6410960" y="1440369"/>
                  <a:pt x="6385560" y="1472119"/>
                  <a:pt x="6405880" y="1487359"/>
                </a:cubicBezTo>
                <a:close/>
                <a:moveTo>
                  <a:pt x="6417310" y="1670238"/>
                </a:moveTo>
                <a:cubicBezTo>
                  <a:pt x="6436995" y="1670874"/>
                  <a:pt x="6447790" y="1644204"/>
                  <a:pt x="6432550" y="1630869"/>
                </a:cubicBezTo>
                <a:cubicBezTo>
                  <a:pt x="6400800" y="1604199"/>
                  <a:pt x="6376035" y="1668334"/>
                  <a:pt x="6417310" y="1670238"/>
                </a:cubicBezTo>
                <a:close/>
                <a:moveTo>
                  <a:pt x="6467475" y="1445449"/>
                </a:moveTo>
                <a:cubicBezTo>
                  <a:pt x="6481445" y="1426399"/>
                  <a:pt x="6451600" y="1404174"/>
                  <a:pt x="6437630" y="1423859"/>
                </a:cubicBezTo>
                <a:cubicBezTo>
                  <a:pt x="6423025" y="1442909"/>
                  <a:pt x="6453505" y="1464499"/>
                  <a:pt x="6467475" y="1445449"/>
                </a:cubicBezTo>
                <a:close/>
                <a:moveTo>
                  <a:pt x="6564631" y="1649919"/>
                </a:moveTo>
                <a:cubicBezTo>
                  <a:pt x="6543675" y="1631504"/>
                  <a:pt x="6515735" y="1664524"/>
                  <a:pt x="6537325" y="1682304"/>
                </a:cubicBezTo>
                <a:cubicBezTo>
                  <a:pt x="6557645" y="1700084"/>
                  <a:pt x="6585585" y="1667063"/>
                  <a:pt x="6564631" y="1649919"/>
                </a:cubicBezTo>
                <a:close/>
                <a:moveTo>
                  <a:pt x="6492875" y="1616263"/>
                </a:moveTo>
                <a:cubicBezTo>
                  <a:pt x="6511290" y="1595944"/>
                  <a:pt x="6478270" y="1567369"/>
                  <a:pt x="6460490" y="1588959"/>
                </a:cubicBezTo>
                <a:cubicBezTo>
                  <a:pt x="6442710" y="1609279"/>
                  <a:pt x="6475095" y="1637219"/>
                  <a:pt x="6492875" y="1616263"/>
                </a:cubicBezTo>
                <a:close/>
                <a:moveTo>
                  <a:pt x="6480175" y="1404809"/>
                </a:moveTo>
                <a:cubicBezTo>
                  <a:pt x="6468110" y="1423224"/>
                  <a:pt x="6496685" y="1441638"/>
                  <a:pt x="6508750" y="1423224"/>
                </a:cubicBezTo>
                <a:cubicBezTo>
                  <a:pt x="6520815" y="1404809"/>
                  <a:pt x="6491605" y="1386394"/>
                  <a:pt x="6480175" y="1404809"/>
                </a:cubicBezTo>
                <a:close/>
                <a:moveTo>
                  <a:pt x="6167120" y="1333054"/>
                </a:moveTo>
                <a:cubicBezTo>
                  <a:pt x="6148705" y="1353374"/>
                  <a:pt x="6181090" y="1381949"/>
                  <a:pt x="6198870" y="1360994"/>
                </a:cubicBezTo>
                <a:cubicBezTo>
                  <a:pt x="6217920" y="1340674"/>
                  <a:pt x="6184900" y="1312099"/>
                  <a:pt x="6167120" y="1333054"/>
                </a:cubicBezTo>
                <a:close/>
                <a:moveTo>
                  <a:pt x="6521450" y="1413699"/>
                </a:moveTo>
                <a:cubicBezTo>
                  <a:pt x="6530340" y="1419413"/>
                  <a:pt x="6543675" y="1413063"/>
                  <a:pt x="6544945" y="1402269"/>
                </a:cubicBezTo>
                <a:cubicBezTo>
                  <a:pt x="6565900" y="1399729"/>
                  <a:pt x="6557010" y="1367344"/>
                  <a:pt x="6537960" y="1375599"/>
                </a:cubicBezTo>
                <a:cubicBezTo>
                  <a:pt x="6528435" y="1360359"/>
                  <a:pt x="6505575" y="1377504"/>
                  <a:pt x="6517640" y="1390838"/>
                </a:cubicBezTo>
                <a:cubicBezTo>
                  <a:pt x="6511290" y="1397824"/>
                  <a:pt x="6513195" y="1409254"/>
                  <a:pt x="6521450" y="1413699"/>
                </a:cubicBezTo>
                <a:close/>
                <a:moveTo>
                  <a:pt x="5005705" y="532954"/>
                </a:moveTo>
                <a:cubicBezTo>
                  <a:pt x="5010785" y="535494"/>
                  <a:pt x="5015865" y="536763"/>
                  <a:pt x="5020945" y="536129"/>
                </a:cubicBezTo>
                <a:cubicBezTo>
                  <a:pt x="5027295" y="541209"/>
                  <a:pt x="5034915" y="542479"/>
                  <a:pt x="5042535" y="541209"/>
                </a:cubicBezTo>
                <a:cubicBezTo>
                  <a:pt x="5029835" y="550734"/>
                  <a:pt x="5031740" y="572324"/>
                  <a:pt x="5046345" y="579309"/>
                </a:cubicBezTo>
                <a:cubicBezTo>
                  <a:pt x="4991100" y="625663"/>
                  <a:pt x="5114290" y="632649"/>
                  <a:pt x="5064125" y="580579"/>
                </a:cubicBezTo>
                <a:cubicBezTo>
                  <a:pt x="5090160" y="571688"/>
                  <a:pt x="5078095" y="531049"/>
                  <a:pt x="5051425" y="537399"/>
                </a:cubicBezTo>
                <a:cubicBezTo>
                  <a:pt x="5074285" y="522158"/>
                  <a:pt x="5055870" y="484694"/>
                  <a:pt x="5029835" y="492313"/>
                </a:cubicBezTo>
                <a:cubicBezTo>
                  <a:pt x="5003165" y="475169"/>
                  <a:pt x="4978400" y="517713"/>
                  <a:pt x="5005705" y="532954"/>
                </a:cubicBezTo>
                <a:close/>
                <a:moveTo>
                  <a:pt x="4829810" y="618044"/>
                </a:moveTo>
                <a:cubicBezTo>
                  <a:pt x="4853305" y="618679"/>
                  <a:pt x="4856480" y="582484"/>
                  <a:pt x="4833620" y="578674"/>
                </a:cubicBezTo>
                <a:cubicBezTo>
                  <a:pt x="4808220" y="573594"/>
                  <a:pt x="4801235" y="613599"/>
                  <a:pt x="4826635" y="617409"/>
                </a:cubicBezTo>
                <a:lnTo>
                  <a:pt x="4826635" y="617409"/>
                </a:lnTo>
                <a:cubicBezTo>
                  <a:pt x="4827270" y="618044"/>
                  <a:pt x="4828540" y="618044"/>
                  <a:pt x="4829810" y="618044"/>
                </a:cubicBezTo>
                <a:close/>
                <a:moveTo>
                  <a:pt x="4923790" y="597724"/>
                </a:moveTo>
                <a:cubicBezTo>
                  <a:pt x="4899025" y="591374"/>
                  <a:pt x="4890135" y="630744"/>
                  <a:pt x="4914900" y="636459"/>
                </a:cubicBezTo>
                <a:cubicBezTo>
                  <a:pt x="4939665" y="642174"/>
                  <a:pt x="4949190" y="603438"/>
                  <a:pt x="4923790" y="597724"/>
                </a:cubicBezTo>
                <a:close/>
                <a:moveTo>
                  <a:pt x="4648200" y="411669"/>
                </a:moveTo>
                <a:cubicBezTo>
                  <a:pt x="4640580" y="440244"/>
                  <a:pt x="4685665" y="451038"/>
                  <a:pt x="4692015" y="422463"/>
                </a:cubicBezTo>
                <a:cubicBezTo>
                  <a:pt x="4699000" y="393888"/>
                  <a:pt x="4654550" y="383094"/>
                  <a:pt x="4648200" y="411669"/>
                </a:cubicBezTo>
                <a:close/>
                <a:moveTo>
                  <a:pt x="4831715" y="694879"/>
                </a:moveTo>
                <a:cubicBezTo>
                  <a:pt x="4855210" y="698688"/>
                  <a:pt x="4860290" y="661224"/>
                  <a:pt x="4836795" y="658684"/>
                </a:cubicBezTo>
                <a:cubicBezTo>
                  <a:pt x="4813300" y="654874"/>
                  <a:pt x="4808220" y="692338"/>
                  <a:pt x="4831715" y="694879"/>
                </a:cubicBezTo>
                <a:close/>
                <a:moveTo>
                  <a:pt x="4911090" y="481519"/>
                </a:moveTo>
                <a:cubicBezTo>
                  <a:pt x="4919980" y="486599"/>
                  <a:pt x="4932045" y="484694"/>
                  <a:pt x="4939030" y="477074"/>
                </a:cubicBezTo>
                <a:cubicBezTo>
                  <a:pt x="4991735" y="478344"/>
                  <a:pt x="4957445" y="397699"/>
                  <a:pt x="4921885" y="436433"/>
                </a:cubicBezTo>
                <a:cubicBezTo>
                  <a:pt x="4897755" y="435799"/>
                  <a:pt x="4888865" y="470724"/>
                  <a:pt x="4911090" y="481519"/>
                </a:cubicBezTo>
                <a:close/>
                <a:moveTo>
                  <a:pt x="5000625" y="723454"/>
                </a:moveTo>
                <a:cubicBezTo>
                  <a:pt x="5023485" y="728534"/>
                  <a:pt x="5031740" y="691704"/>
                  <a:pt x="5008245" y="687259"/>
                </a:cubicBezTo>
                <a:cubicBezTo>
                  <a:pt x="4984750" y="682813"/>
                  <a:pt x="4977130" y="719009"/>
                  <a:pt x="5000625" y="723454"/>
                </a:cubicBezTo>
                <a:close/>
                <a:moveTo>
                  <a:pt x="4941570" y="506919"/>
                </a:moveTo>
                <a:cubicBezTo>
                  <a:pt x="4929505" y="533588"/>
                  <a:pt x="4971415" y="552004"/>
                  <a:pt x="4982845" y="524699"/>
                </a:cubicBezTo>
                <a:cubicBezTo>
                  <a:pt x="4994910" y="498029"/>
                  <a:pt x="4952365" y="479613"/>
                  <a:pt x="4941570" y="506919"/>
                </a:cubicBezTo>
                <a:close/>
                <a:moveTo>
                  <a:pt x="5003165" y="658684"/>
                </a:moveTo>
                <a:cubicBezTo>
                  <a:pt x="5027295" y="665669"/>
                  <a:pt x="5038725" y="626934"/>
                  <a:pt x="5013325" y="620584"/>
                </a:cubicBezTo>
                <a:cubicBezTo>
                  <a:pt x="4989195" y="613599"/>
                  <a:pt x="4978400" y="652334"/>
                  <a:pt x="5003165" y="658684"/>
                </a:cubicBezTo>
                <a:close/>
                <a:moveTo>
                  <a:pt x="6147435" y="1255584"/>
                </a:moveTo>
                <a:cubicBezTo>
                  <a:pt x="6154420" y="1246694"/>
                  <a:pt x="6152515" y="1234629"/>
                  <a:pt x="6144260" y="1227644"/>
                </a:cubicBezTo>
                <a:cubicBezTo>
                  <a:pt x="6144260" y="1227644"/>
                  <a:pt x="6144260" y="1227644"/>
                  <a:pt x="6144260" y="1227644"/>
                </a:cubicBezTo>
                <a:cubicBezTo>
                  <a:pt x="6137275" y="1221929"/>
                  <a:pt x="6127115" y="1221929"/>
                  <a:pt x="6120765" y="1227644"/>
                </a:cubicBezTo>
                <a:cubicBezTo>
                  <a:pt x="6104890" y="1199069"/>
                  <a:pt x="6080125" y="1248599"/>
                  <a:pt x="6112510" y="1244154"/>
                </a:cubicBezTo>
                <a:cubicBezTo>
                  <a:pt x="6111875" y="1261299"/>
                  <a:pt x="6136640" y="1270188"/>
                  <a:pt x="6147435" y="1255584"/>
                </a:cubicBezTo>
                <a:close/>
                <a:moveTo>
                  <a:pt x="4863465" y="557084"/>
                </a:moveTo>
                <a:cubicBezTo>
                  <a:pt x="4889500" y="564704"/>
                  <a:pt x="4901565" y="523429"/>
                  <a:pt x="4874895" y="516444"/>
                </a:cubicBezTo>
                <a:cubicBezTo>
                  <a:pt x="4848225" y="508824"/>
                  <a:pt x="4836795" y="550099"/>
                  <a:pt x="4863465" y="557084"/>
                </a:cubicBezTo>
                <a:close/>
                <a:moveTo>
                  <a:pt x="4658360" y="491044"/>
                </a:moveTo>
                <a:cubicBezTo>
                  <a:pt x="4653280" y="517713"/>
                  <a:pt x="4695825" y="525334"/>
                  <a:pt x="4700270" y="498029"/>
                </a:cubicBezTo>
                <a:cubicBezTo>
                  <a:pt x="4704715" y="470724"/>
                  <a:pt x="4662170" y="463738"/>
                  <a:pt x="4658360" y="491044"/>
                </a:cubicBezTo>
                <a:close/>
                <a:moveTo>
                  <a:pt x="4715510" y="393254"/>
                </a:moveTo>
                <a:cubicBezTo>
                  <a:pt x="4733925" y="401508"/>
                  <a:pt x="4754880" y="379919"/>
                  <a:pt x="4745990" y="361504"/>
                </a:cubicBezTo>
                <a:cubicBezTo>
                  <a:pt x="4819015" y="337374"/>
                  <a:pt x="4705985" y="271333"/>
                  <a:pt x="4721225" y="346899"/>
                </a:cubicBezTo>
                <a:cubicBezTo>
                  <a:pt x="4697730" y="348804"/>
                  <a:pt x="4692015" y="385633"/>
                  <a:pt x="4715510" y="393254"/>
                </a:cubicBezTo>
                <a:close/>
                <a:moveTo>
                  <a:pt x="4845685" y="469454"/>
                </a:moveTo>
                <a:cubicBezTo>
                  <a:pt x="4834890" y="496758"/>
                  <a:pt x="4878070" y="512633"/>
                  <a:pt x="4888230" y="485329"/>
                </a:cubicBezTo>
                <a:cubicBezTo>
                  <a:pt x="4898390" y="458024"/>
                  <a:pt x="4855210" y="442149"/>
                  <a:pt x="4845685" y="469454"/>
                </a:cubicBezTo>
                <a:close/>
                <a:moveTo>
                  <a:pt x="4747260" y="437704"/>
                </a:moveTo>
                <a:cubicBezTo>
                  <a:pt x="4738370" y="465644"/>
                  <a:pt x="4782185" y="478979"/>
                  <a:pt x="4790440" y="451038"/>
                </a:cubicBezTo>
                <a:cubicBezTo>
                  <a:pt x="4799965" y="423099"/>
                  <a:pt x="4755515" y="409129"/>
                  <a:pt x="4747260" y="437704"/>
                </a:cubicBezTo>
                <a:close/>
                <a:moveTo>
                  <a:pt x="4649470" y="553909"/>
                </a:moveTo>
                <a:cubicBezTo>
                  <a:pt x="4624070" y="551369"/>
                  <a:pt x="4620260" y="591374"/>
                  <a:pt x="4645660" y="593279"/>
                </a:cubicBezTo>
                <a:cubicBezTo>
                  <a:pt x="4671695" y="595819"/>
                  <a:pt x="4675505" y="555813"/>
                  <a:pt x="4649470" y="553909"/>
                </a:cubicBezTo>
                <a:close/>
                <a:moveTo>
                  <a:pt x="4814570" y="434529"/>
                </a:moveTo>
                <a:cubicBezTo>
                  <a:pt x="4827905" y="440879"/>
                  <a:pt x="4845685" y="431988"/>
                  <a:pt x="4848225" y="416749"/>
                </a:cubicBezTo>
                <a:cubicBezTo>
                  <a:pt x="4907280" y="400874"/>
                  <a:pt x="4832985" y="329754"/>
                  <a:pt x="4819650" y="389444"/>
                </a:cubicBezTo>
                <a:cubicBezTo>
                  <a:pt x="4797425" y="393254"/>
                  <a:pt x="4793615" y="426274"/>
                  <a:pt x="4814570" y="434529"/>
                </a:cubicBezTo>
                <a:close/>
                <a:moveTo>
                  <a:pt x="4779010" y="492313"/>
                </a:moveTo>
                <a:cubicBezTo>
                  <a:pt x="4749165" y="485963"/>
                  <a:pt x="4744085" y="534224"/>
                  <a:pt x="4774565" y="534224"/>
                </a:cubicBezTo>
                <a:cubicBezTo>
                  <a:pt x="4798695" y="534859"/>
                  <a:pt x="4803775" y="497394"/>
                  <a:pt x="4779010" y="492313"/>
                </a:cubicBezTo>
                <a:close/>
                <a:moveTo>
                  <a:pt x="4747260" y="685354"/>
                </a:moveTo>
                <a:cubicBezTo>
                  <a:pt x="4770755" y="687894"/>
                  <a:pt x="4774565" y="651063"/>
                  <a:pt x="4750435" y="648524"/>
                </a:cubicBezTo>
                <a:cubicBezTo>
                  <a:pt x="4726940" y="645984"/>
                  <a:pt x="4723765" y="683449"/>
                  <a:pt x="4747260" y="685354"/>
                </a:cubicBezTo>
                <a:close/>
                <a:moveTo>
                  <a:pt x="4968875" y="545019"/>
                </a:moveTo>
                <a:cubicBezTo>
                  <a:pt x="4942840" y="536129"/>
                  <a:pt x="4929505" y="576769"/>
                  <a:pt x="4955540" y="585024"/>
                </a:cubicBezTo>
                <a:cubicBezTo>
                  <a:pt x="4980940" y="594549"/>
                  <a:pt x="4994910" y="553274"/>
                  <a:pt x="4968875" y="545019"/>
                </a:cubicBezTo>
                <a:close/>
                <a:moveTo>
                  <a:pt x="5702300" y="1018094"/>
                </a:moveTo>
                <a:cubicBezTo>
                  <a:pt x="5678170" y="1018729"/>
                  <a:pt x="5671185" y="1054288"/>
                  <a:pt x="5693410" y="1063813"/>
                </a:cubicBezTo>
                <a:cubicBezTo>
                  <a:pt x="5691505" y="1087309"/>
                  <a:pt x="5729605" y="1080959"/>
                  <a:pt x="5720080" y="1059369"/>
                </a:cubicBezTo>
                <a:cubicBezTo>
                  <a:pt x="5726430" y="1053654"/>
                  <a:pt x="5728335" y="1045399"/>
                  <a:pt x="5727065" y="1037779"/>
                </a:cubicBezTo>
                <a:cubicBezTo>
                  <a:pt x="5749925" y="1050479"/>
                  <a:pt x="5772150" y="1016824"/>
                  <a:pt x="5751830" y="1000313"/>
                </a:cubicBezTo>
                <a:cubicBezTo>
                  <a:pt x="5748655" y="997774"/>
                  <a:pt x="5745480" y="996504"/>
                  <a:pt x="5741670" y="995869"/>
                </a:cubicBezTo>
                <a:cubicBezTo>
                  <a:pt x="5742305" y="995234"/>
                  <a:pt x="5742940" y="995234"/>
                  <a:pt x="5743575" y="994599"/>
                </a:cubicBezTo>
                <a:cubicBezTo>
                  <a:pt x="5780405" y="1020634"/>
                  <a:pt x="5788660" y="945704"/>
                  <a:pt x="5747385" y="962849"/>
                </a:cubicBezTo>
                <a:cubicBezTo>
                  <a:pt x="5738495" y="939988"/>
                  <a:pt x="5709285" y="952054"/>
                  <a:pt x="5710555" y="973644"/>
                </a:cubicBezTo>
                <a:cubicBezTo>
                  <a:pt x="5701030" y="981263"/>
                  <a:pt x="5702935" y="997774"/>
                  <a:pt x="5715000" y="1002219"/>
                </a:cubicBezTo>
                <a:lnTo>
                  <a:pt x="5715000" y="1002219"/>
                </a:lnTo>
                <a:cubicBezTo>
                  <a:pt x="5716905" y="1002854"/>
                  <a:pt x="5718810" y="1003488"/>
                  <a:pt x="5720715" y="1003488"/>
                </a:cubicBezTo>
                <a:cubicBezTo>
                  <a:pt x="5720080" y="1004124"/>
                  <a:pt x="5719445" y="1005394"/>
                  <a:pt x="5718810" y="1006029"/>
                </a:cubicBezTo>
                <a:cubicBezTo>
                  <a:pt x="5711190" y="1004759"/>
                  <a:pt x="5703570" y="1010474"/>
                  <a:pt x="5702300" y="1018094"/>
                </a:cubicBezTo>
                <a:close/>
                <a:moveTo>
                  <a:pt x="5913755" y="1172399"/>
                </a:moveTo>
                <a:cubicBezTo>
                  <a:pt x="5908675" y="1188274"/>
                  <a:pt x="5934075" y="1195259"/>
                  <a:pt x="5937885" y="1179384"/>
                </a:cubicBezTo>
                <a:cubicBezTo>
                  <a:pt x="5942965" y="1163509"/>
                  <a:pt x="5918200" y="1156524"/>
                  <a:pt x="5913755" y="1172399"/>
                </a:cubicBezTo>
                <a:close/>
                <a:moveTo>
                  <a:pt x="5773420" y="1040319"/>
                </a:moveTo>
                <a:cubicBezTo>
                  <a:pt x="5767070" y="1056829"/>
                  <a:pt x="5791200" y="1069529"/>
                  <a:pt x="5800725" y="1054288"/>
                </a:cubicBezTo>
                <a:cubicBezTo>
                  <a:pt x="5809615" y="1058099"/>
                  <a:pt x="5821045" y="1055559"/>
                  <a:pt x="5826760" y="1046669"/>
                </a:cubicBezTo>
                <a:cubicBezTo>
                  <a:pt x="5864225" y="1058734"/>
                  <a:pt x="5859145" y="993329"/>
                  <a:pt x="5824220" y="1011744"/>
                </a:cubicBezTo>
                <a:cubicBezTo>
                  <a:pt x="5829935" y="990154"/>
                  <a:pt x="5795645" y="979994"/>
                  <a:pt x="5789295" y="1001584"/>
                </a:cubicBezTo>
                <a:cubicBezTo>
                  <a:pt x="5777230" y="1005394"/>
                  <a:pt x="5774690" y="1023174"/>
                  <a:pt x="5784850" y="1030794"/>
                </a:cubicBezTo>
                <a:cubicBezTo>
                  <a:pt x="5779770" y="1032063"/>
                  <a:pt x="5775325" y="1035238"/>
                  <a:pt x="5773420" y="1040319"/>
                </a:cubicBezTo>
                <a:close/>
                <a:moveTo>
                  <a:pt x="5259070" y="753299"/>
                </a:moveTo>
                <a:cubicBezTo>
                  <a:pt x="5236210" y="745679"/>
                  <a:pt x="5225415" y="781874"/>
                  <a:pt x="5248275" y="788224"/>
                </a:cubicBezTo>
                <a:cubicBezTo>
                  <a:pt x="5270500" y="795844"/>
                  <a:pt x="5281930" y="759649"/>
                  <a:pt x="5259070" y="753299"/>
                </a:cubicBezTo>
                <a:close/>
                <a:moveTo>
                  <a:pt x="5250180" y="720279"/>
                </a:moveTo>
                <a:cubicBezTo>
                  <a:pt x="5241925" y="739329"/>
                  <a:pt x="5268595" y="757109"/>
                  <a:pt x="5282565" y="741234"/>
                </a:cubicBezTo>
                <a:cubicBezTo>
                  <a:pt x="5292090" y="759649"/>
                  <a:pt x="5321300" y="757744"/>
                  <a:pt x="5328285" y="738059"/>
                </a:cubicBezTo>
                <a:cubicBezTo>
                  <a:pt x="5358130" y="724724"/>
                  <a:pt x="5347970" y="674559"/>
                  <a:pt x="5313045" y="690434"/>
                </a:cubicBezTo>
                <a:cubicBezTo>
                  <a:pt x="5309870" y="645984"/>
                  <a:pt x="5242560" y="675194"/>
                  <a:pt x="5272405" y="708213"/>
                </a:cubicBezTo>
                <a:cubicBezTo>
                  <a:pt x="5263515" y="706309"/>
                  <a:pt x="5253990" y="710754"/>
                  <a:pt x="5250180" y="720279"/>
                </a:cubicBezTo>
                <a:close/>
                <a:moveTo>
                  <a:pt x="5283835" y="714563"/>
                </a:moveTo>
                <a:cubicBezTo>
                  <a:pt x="5283835" y="714563"/>
                  <a:pt x="5283835" y="714563"/>
                  <a:pt x="5283835" y="714563"/>
                </a:cubicBezTo>
                <a:cubicBezTo>
                  <a:pt x="5283835" y="714563"/>
                  <a:pt x="5283835" y="714563"/>
                  <a:pt x="5283835" y="714563"/>
                </a:cubicBezTo>
                <a:cubicBezTo>
                  <a:pt x="5283835" y="714563"/>
                  <a:pt x="5283835" y="714563"/>
                  <a:pt x="5283835" y="714563"/>
                </a:cubicBezTo>
                <a:close/>
                <a:moveTo>
                  <a:pt x="6687185" y="1559749"/>
                </a:moveTo>
                <a:cubicBezTo>
                  <a:pt x="6705600" y="1571813"/>
                  <a:pt x="6724015" y="1542604"/>
                  <a:pt x="6705600" y="1531174"/>
                </a:cubicBezTo>
                <a:cubicBezTo>
                  <a:pt x="6687185" y="1519109"/>
                  <a:pt x="6668770" y="1548319"/>
                  <a:pt x="6687185" y="1559749"/>
                </a:cubicBezTo>
                <a:close/>
                <a:moveTo>
                  <a:pt x="6094095" y="1268919"/>
                </a:moveTo>
                <a:cubicBezTo>
                  <a:pt x="6075680" y="1289238"/>
                  <a:pt x="6108065" y="1317813"/>
                  <a:pt x="6125845" y="1296859"/>
                </a:cubicBezTo>
                <a:cubicBezTo>
                  <a:pt x="6144260" y="1276538"/>
                  <a:pt x="6111875" y="1247963"/>
                  <a:pt x="6094095" y="1268919"/>
                </a:cubicBezTo>
                <a:close/>
                <a:moveTo>
                  <a:pt x="5969000" y="1120963"/>
                </a:moveTo>
                <a:cubicBezTo>
                  <a:pt x="5965825" y="1125409"/>
                  <a:pt x="5965190" y="1129854"/>
                  <a:pt x="5965190" y="1134934"/>
                </a:cubicBezTo>
                <a:cubicBezTo>
                  <a:pt x="5965190" y="1134934"/>
                  <a:pt x="5964555" y="1134934"/>
                  <a:pt x="5964555" y="1134934"/>
                </a:cubicBezTo>
                <a:cubicBezTo>
                  <a:pt x="5904230" y="1138744"/>
                  <a:pt x="5973445" y="1214309"/>
                  <a:pt x="5982335" y="1154619"/>
                </a:cubicBezTo>
                <a:cubicBezTo>
                  <a:pt x="5982970" y="1153984"/>
                  <a:pt x="5983605" y="1153349"/>
                  <a:pt x="5983605" y="1152079"/>
                </a:cubicBezTo>
                <a:cubicBezTo>
                  <a:pt x="5990590" y="1152713"/>
                  <a:pt x="5998210" y="1148904"/>
                  <a:pt x="6001385" y="1142554"/>
                </a:cubicBezTo>
                <a:cubicBezTo>
                  <a:pt x="6003925" y="1141919"/>
                  <a:pt x="6005830" y="1140649"/>
                  <a:pt x="6007100" y="1138744"/>
                </a:cubicBezTo>
                <a:cubicBezTo>
                  <a:pt x="6008370" y="1138744"/>
                  <a:pt x="6009005" y="1139379"/>
                  <a:pt x="6009640" y="1139379"/>
                </a:cubicBezTo>
                <a:cubicBezTo>
                  <a:pt x="6019800" y="1185099"/>
                  <a:pt x="6074410" y="1127313"/>
                  <a:pt x="6028055" y="1119694"/>
                </a:cubicBezTo>
                <a:cubicBezTo>
                  <a:pt x="6026150" y="1105088"/>
                  <a:pt x="6005195" y="1100644"/>
                  <a:pt x="5997575" y="1112709"/>
                </a:cubicBezTo>
                <a:cubicBezTo>
                  <a:pt x="5995035" y="1112709"/>
                  <a:pt x="5992495" y="1112709"/>
                  <a:pt x="5990590" y="1113344"/>
                </a:cubicBezTo>
                <a:cubicBezTo>
                  <a:pt x="5983605" y="1111438"/>
                  <a:pt x="5974715" y="1113979"/>
                  <a:pt x="5969000" y="1120963"/>
                </a:cubicBezTo>
                <a:close/>
                <a:moveTo>
                  <a:pt x="5852795" y="1057463"/>
                </a:moveTo>
                <a:cubicBezTo>
                  <a:pt x="5839460" y="1061909"/>
                  <a:pt x="5839460" y="1081594"/>
                  <a:pt x="5852795" y="1086674"/>
                </a:cubicBezTo>
                <a:lnTo>
                  <a:pt x="5852795" y="1086674"/>
                </a:lnTo>
                <a:cubicBezTo>
                  <a:pt x="5858510" y="1088579"/>
                  <a:pt x="5864860" y="1087309"/>
                  <a:pt x="5869305" y="1083499"/>
                </a:cubicBezTo>
                <a:cubicBezTo>
                  <a:pt x="5851525" y="1110804"/>
                  <a:pt x="5900420" y="1131759"/>
                  <a:pt x="5907405" y="1099374"/>
                </a:cubicBezTo>
                <a:cubicBezTo>
                  <a:pt x="5909310" y="1099374"/>
                  <a:pt x="5910580" y="1100009"/>
                  <a:pt x="5912485" y="1099374"/>
                </a:cubicBezTo>
                <a:cubicBezTo>
                  <a:pt x="5911215" y="1115884"/>
                  <a:pt x="5937250" y="1121599"/>
                  <a:pt x="5942330" y="1105088"/>
                </a:cubicBezTo>
                <a:cubicBezTo>
                  <a:pt x="5969000" y="1131759"/>
                  <a:pt x="5991225" y="1072704"/>
                  <a:pt x="5953760" y="1075244"/>
                </a:cubicBezTo>
                <a:cubicBezTo>
                  <a:pt x="5948045" y="1068259"/>
                  <a:pt x="5935980" y="1067624"/>
                  <a:pt x="5929630" y="1073974"/>
                </a:cubicBezTo>
                <a:cubicBezTo>
                  <a:pt x="5924550" y="1055559"/>
                  <a:pt x="5896610" y="1056194"/>
                  <a:pt x="5892165" y="1074609"/>
                </a:cubicBezTo>
                <a:cubicBezTo>
                  <a:pt x="5885180" y="1072704"/>
                  <a:pt x="5876925" y="1075244"/>
                  <a:pt x="5871845" y="1080324"/>
                </a:cubicBezTo>
                <a:cubicBezTo>
                  <a:pt x="5874385" y="1076513"/>
                  <a:pt x="5875020" y="1071434"/>
                  <a:pt x="5873750" y="1067624"/>
                </a:cubicBezTo>
                <a:cubicBezTo>
                  <a:pt x="5874385" y="1067624"/>
                  <a:pt x="5875020" y="1066988"/>
                  <a:pt x="5876290" y="1066354"/>
                </a:cubicBezTo>
                <a:cubicBezTo>
                  <a:pt x="5911850" y="1077784"/>
                  <a:pt x="5904865" y="1015554"/>
                  <a:pt x="5872480" y="1034604"/>
                </a:cubicBezTo>
                <a:cubicBezTo>
                  <a:pt x="5859145" y="1031429"/>
                  <a:pt x="5847080" y="1046034"/>
                  <a:pt x="5852795" y="1057463"/>
                </a:cubicBezTo>
                <a:close/>
                <a:moveTo>
                  <a:pt x="5097780" y="588834"/>
                </a:moveTo>
                <a:cubicBezTo>
                  <a:pt x="5099685" y="590104"/>
                  <a:pt x="5102225" y="590738"/>
                  <a:pt x="5104130" y="591374"/>
                </a:cubicBezTo>
                <a:cubicBezTo>
                  <a:pt x="5106670" y="600899"/>
                  <a:pt x="5116195" y="608519"/>
                  <a:pt x="5125720" y="609154"/>
                </a:cubicBezTo>
                <a:cubicBezTo>
                  <a:pt x="5126355" y="612963"/>
                  <a:pt x="5127625" y="616138"/>
                  <a:pt x="5130165" y="619313"/>
                </a:cubicBezTo>
                <a:cubicBezTo>
                  <a:pt x="5097145" y="659954"/>
                  <a:pt x="5184140" y="670749"/>
                  <a:pt x="5161915" y="623124"/>
                </a:cubicBezTo>
                <a:cubicBezTo>
                  <a:pt x="5176520" y="612329"/>
                  <a:pt x="5171440" y="587563"/>
                  <a:pt x="5153660" y="583754"/>
                </a:cubicBezTo>
                <a:cubicBezTo>
                  <a:pt x="5153660" y="572324"/>
                  <a:pt x="5144770" y="560894"/>
                  <a:pt x="5132705" y="558988"/>
                </a:cubicBezTo>
                <a:cubicBezTo>
                  <a:pt x="5114925" y="521524"/>
                  <a:pt x="5063490" y="565338"/>
                  <a:pt x="5097780" y="588834"/>
                </a:cubicBezTo>
                <a:close/>
                <a:moveTo>
                  <a:pt x="5106035" y="728534"/>
                </a:moveTo>
                <a:cubicBezTo>
                  <a:pt x="5111750" y="705674"/>
                  <a:pt x="5075555" y="696784"/>
                  <a:pt x="5070475" y="719644"/>
                </a:cubicBezTo>
                <a:cubicBezTo>
                  <a:pt x="5064125" y="743138"/>
                  <a:pt x="5100320" y="752029"/>
                  <a:pt x="5106035" y="728534"/>
                </a:cubicBezTo>
                <a:close/>
                <a:moveTo>
                  <a:pt x="5111115" y="779969"/>
                </a:moveTo>
                <a:cubicBezTo>
                  <a:pt x="5102225" y="778063"/>
                  <a:pt x="5092700" y="783779"/>
                  <a:pt x="5091430" y="793304"/>
                </a:cubicBezTo>
                <a:cubicBezTo>
                  <a:pt x="5090160" y="837754"/>
                  <a:pt x="5152390" y="795844"/>
                  <a:pt x="5111115" y="779969"/>
                </a:cubicBezTo>
                <a:close/>
                <a:moveTo>
                  <a:pt x="5090160" y="684084"/>
                </a:moveTo>
                <a:lnTo>
                  <a:pt x="5090160" y="684084"/>
                </a:lnTo>
                <a:cubicBezTo>
                  <a:pt x="5114290" y="692338"/>
                  <a:pt x="5126990" y="653604"/>
                  <a:pt x="5102225" y="646619"/>
                </a:cubicBezTo>
                <a:cubicBezTo>
                  <a:pt x="5078095" y="638363"/>
                  <a:pt x="5065395" y="677099"/>
                  <a:pt x="5090160" y="684084"/>
                </a:cubicBezTo>
                <a:close/>
                <a:moveTo>
                  <a:pt x="5182870" y="714563"/>
                </a:moveTo>
                <a:cubicBezTo>
                  <a:pt x="5204460" y="715199"/>
                  <a:pt x="5210175" y="682813"/>
                  <a:pt x="5189220" y="676463"/>
                </a:cubicBezTo>
                <a:cubicBezTo>
                  <a:pt x="5161280" y="666304"/>
                  <a:pt x="5153025" y="714563"/>
                  <a:pt x="5182870" y="714563"/>
                </a:cubicBezTo>
                <a:close/>
                <a:moveTo>
                  <a:pt x="5153660" y="741234"/>
                </a:moveTo>
                <a:cubicBezTo>
                  <a:pt x="5146675" y="764094"/>
                  <a:pt x="5182870" y="774254"/>
                  <a:pt x="5189220" y="750759"/>
                </a:cubicBezTo>
                <a:cubicBezTo>
                  <a:pt x="5195570" y="728534"/>
                  <a:pt x="5159375" y="718374"/>
                  <a:pt x="5153660" y="741234"/>
                </a:cubicBezTo>
                <a:close/>
                <a:moveTo>
                  <a:pt x="5187315" y="647888"/>
                </a:moveTo>
                <a:cubicBezTo>
                  <a:pt x="5189220" y="649159"/>
                  <a:pt x="5190490" y="649794"/>
                  <a:pt x="5192395" y="650429"/>
                </a:cubicBezTo>
                <a:cubicBezTo>
                  <a:pt x="5189855" y="663129"/>
                  <a:pt x="5198745" y="677099"/>
                  <a:pt x="5211445" y="679638"/>
                </a:cubicBezTo>
                <a:cubicBezTo>
                  <a:pt x="5216525" y="705674"/>
                  <a:pt x="5257800" y="698054"/>
                  <a:pt x="5252720" y="672019"/>
                </a:cubicBezTo>
                <a:cubicBezTo>
                  <a:pt x="5268595" y="656779"/>
                  <a:pt x="5252085" y="628204"/>
                  <a:pt x="5231130" y="634554"/>
                </a:cubicBezTo>
                <a:cubicBezTo>
                  <a:pt x="5229225" y="633284"/>
                  <a:pt x="5226685" y="632013"/>
                  <a:pt x="5224145" y="631379"/>
                </a:cubicBezTo>
                <a:cubicBezTo>
                  <a:pt x="5225415" y="579944"/>
                  <a:pt x="5147945" y="615504"/>
                  <a:pt x="5187315" y="647888"/>
                </a:cubicBezTo>
                <a:close/>
                <a:moveTo>
                  <a:pt x="5182870" y="829499"/>
                </a:moveTo>
                <a:cubicBezTo>
                  <a:pt x="5203825" y="834579"/>
                  <a:pt x="5212080" y="800924"/>
                  <a:pt x="5190490" y="796479"/>
                </a:cubicBezTo>
                <a:cubicBezTo>
                  <a:pt x="5168900" y="791399"/>
                  <a:pt x="5161280" y="825054"/>
                  <a:pt x="5182870" y="829499"/>
                </a:cubicBezTo>
                <a:close/>
                <a:moveTo>
                  <a:pt x="4922520" y="671384"/>
                </a:moveTo>
                <a:cubicBezTo>
                  <a:pt x="4899025" y="666938"/>
                  <a:pt x="4892675" y="703769"/>
                  <a:pt x="4916170" y="707579"/>
                </a:cubicBezTo>
                <a:cubicBezTo>
                  <a:pt x="4939665" y="712024"/>
                  <a:pt x="4946015" y="675194"/>
                  <a:pt x="4922520" y="671384"/>
                </a:cubicBezTo>
                <a:close/>
                <a:moveTo>
                  <a:pt x="7166610" y="1664524"/>
                </a:moveTo>
                <a:cubicBezTo>
                  <a:pt x="7181850" y="1670874"/>
                  <a:pt x="7191375" y="1646744"/>
                  <a:pt x="7175500" y="1641029"/>
                </a:cubicBezTo>
                <a:cubicBezTo>
                  <a:pt x="7160260" y="1634679"/>
                  <a:pt x="7150735" y="1658809"/>
                  <a:pt x="7166610" y="1664524"/>
                </a:cubicBezTo>
                <a:close/>
                <a:moveTo>
                  <a:pt x="7169150" y="1755963"/>
                </a:moveTo>
                <a:cubicBezTo>
                  <a:pt x="7159625" y="1773744"/>
                  <a:pt x="7188200" y="1788349"/>
                  <a:pt x="7197090" y="1769934"/>
                </a:cubicBezTo>
                <a:cubicBezTo>
                  <a:pt x="7206615" y="1752154"/>
                  <a:pt x="7178040" y="1737549"/>
                  <a:pt x="7169150" y="1755963"/>
                </a:cubicBezTo>
                <a:close/>
                <a:moveTo>
                  <a:pt x="7186295" y="1822638"/>
                </a:moveTo>
                <a:cubicBezTo>
                  <a:pt x="7167245" y="1811844"/>
                  <a:pt x="7150100" y="1841688"/>
                  <a:pt x="7169785" y="1851849"/>
                </a:cubicBezTo>
                <a:cubicBezTo>
                  <a:pt x="7188835" y="1862644"/>
                  <a:pt x="7205981" y="1832799"/>
                  <a:pt x="7186295" y="1822638"/>
                </a:cubicBezTo>
                <a:close/>
                <a:moveTo>
                  <a:pt x="7157720" y="1705799"/>
                </a:moveTo>
                <a:cubicBezTo>
                  <a:pt x="7174231" y="1713419"/>
                  <a:pt x="7186295" y="1687384"/>
                  <a:pt x="7169150" y="1679763"/>
                </a:cubicBezTo>
                <a:cubicBezTo>
                  <a:pt x="7152640" y="1672779"/>
                  <a:pt x="7140575" y="1698813"/>
                  <a:pt x="7157720" y="1705799"/>
                </a:cubicBezTo>
                <a:close/>
                <a:moveTo>
                  <a:pt x="7122795" y="1806129"/>
                </a:moveTo>
                <a:cubicBezTo>
                  <a:pt x="7134225" y="1787079"/>
                  <a:pt x="7104381" y="1769934"/>
                  <a:pt x="7093585" y="1788984"/>
                </a:cubicBezTo>
                <a:cubicBezTo>
                  <a:pt x="7082156" y="1808034"/>
                  <a:pt x="7112000" y="1825179"/>
                  <a:pt x="7122795" y="1806129"/>
                </a:cubicBezTo>
                <a:close/>
                <a:moveTo>
                  <a:pt x="7221220" y="2085529"/>
                </a:moveTo>
                <a:cubicBezTo>
                  <a:pt x="7242810" y="2099499"/>
                  <a:pt x="7264400" y="2065209"/>
                  <a:pt x="7242175" y="2051874"/>
                </a:cubicBezTo>
                <a:cubicBezTo>
                  <a:pt x="7221220" y="2038538"/>
                  <a:pt x="7199631" y="2072194"/>
                  <a:pt x="7221220" y="2085529"/>
                </a:cubicBezTo>
                <a:close/>
                <a:moveTo>
                  <a:pt x="7115175" y="2261424"/>
                </a:moveTo>
                <a:cubicBezTo>
                  <a:pt x="7138670" y="2278569"/>
                  <a:pt x="7165340" y="2241104"/>
                  <a:pt x="7141210" y="2224594"/>
                </a:cubicBezTo>
                <a:cubicBezTo>
                  <a:pt x="7117715" y="2207449"/>
                  <a:pt x="7091045" y="2244914"/>
                  <a:pt x="7115175" y="2261424"/>
                </a:cubicBezTo>
                <a:close/>
                <a:moveTo>
                  <a:pt x="7193915" y="2288729"/>
                </a:moveTo>
                <a:cubicBezTo>
                  <a:pt x="7169785" y="2342704"/>
                  <a:pt x="7268210" y="2323654"/>
                  <a:pt x="7225031" y="2282379"/>
                </a:cubicBezTo>
                <a:cubicBezTo>
                  <a:pt x="7225031" y="2282379"/>
                  <a:pt x="7225031" y="2282379"/>
                  <a:pt x="7225031" y="2282379"/>
                </a:cubicBezTo>
                <a:cubicBezTo>
                  <a:pt x="7214870" y="2276029"/>
                  <a:pt x="7200900" y="2278569"/>
                  <a:pt x="7193915" y="2288729"/>
                </a:cubicBezTo>
                <a:close/>
                <a:moveTo>
                  <a:pt x="7154545" y="1935669"/>
                </a:moveTo>
                <a:cubicBezTo>
                  <a:pt x="7174231" y="1948369"/>
                  <a:pt x="7193915" y="1916619"/>
                  <a:pt x="7173595" y="1904554"/>
                </a:cubicBezTo>
                <a:cubicBezTo>
                  <a:pt x="7153275" y="1891854"/>
                  <a:pt x="7133590" y="1923604"/>
                  <a:pt x="7154545" y="1935669"/>
                </a:cubicBezTo>
                <a:close/>
                <a:moveTo>
                  <a:pt x="7154545" y="2161094"/>
                </a:moveTo>
                <a:cubicBezTo>
                  <a:pt x="7176770" y="2176969"/>
                  <a:pt x="7201535" y="2141409"/>
                  <a:pt x="7178040" y="2126169"/>
                </a:cubicBezTo>
                <a:cubicBezTo>
                  <a:pt x="7155815" y="2110294"/>
                  <a:pt x="7131050" y="2146489"/>
                  <a:pt x="7154545" y="2161094"/>
                </a:cubicBezTo>
                <a:close/>
                <a:moveTo>
                  <a:pt x="6860540" y="1573719"/>
                </a:moveTo>
                <a:cubicBezTo>
                  <a:pt x="6852920" y="1569274"/>
                  <a:pt x="6843395" y="1572449"/>
                  <a:pt x="6839585" y="1579434"/>
                </a:cubicBezTo>
                <a:cubicBezTo>
                  <a:pt x="6826250" y="1618169"/>
                  <a:pt x="6892290" y="1599119"/>
                  <a:pt x="6860540" y="1573719"/>
                </a:cubicBezTo>
                <a:close/>
                <a:moveTo>
                  <a:pt x="6859270" y="1722944"/>
                </a:moveTo>
                <a:cubicBezTo>
                  <a:pt x="6845935" y="1742629"/>
                  <a:pt x="6876415" y="1763584"/>
                  <a:pt x="6889750" y="1743263"/>
                </a:cubicBezTo>
                <a:cubicBezTo>
                  <a:pt x="6903720" y="1724213"/>
                  <a:pt x="6872606" y="1703259"/>
                  <a:pt x="6859270" y="1722944"/>
                </a:cubicBezTo>
                <a:close/>
                <a:moveTo>
                  <a:pt x="6837681" y="1797874"/>
                </a:moveTo>
                <a:cubicBezTo>
                  <a:pt x="6814820" y="1844229"/>
                  <a:pt x="6901181" y="1830894"/>
                  <a:pt x="6865620" y="1793429"/>
                </a:cubicBezTo>
                <a:cubicBezTo>
                  <a:pt x="6865620" y="1793429"/>
                  <a:pt x="6865620" y="1793429"/>
                  <a:pt x="6865620" y="1793429"/>
                </a:cubicBezTo>
                <a:cubicBezTo>
                  <a:pt x="6856731" y="1787079"/>
                  <a:pt x="6844031" y="1788984"/>
                  <a:pt x="6837681" y="1797874"/>
                </a:cubicBezTo>
                <a:close/>
                <a:moveTo>
                  <a:pt x="6838950" y="1929954"/>
                </a:moveTo>
                <a:lnTo>
                  <a:pt x="6838950" y="1929954"/>
                </a:lnTo>
                <a:cubicBezTo>
                  <a:pt x="6860540" y="1947099"/>
                  <a:pt x="6887210" y="1913444"/>
                  <a:pt x="6864985" y="1896299"/>
                </a:cubicBezTo>
                <a:cubicBezTo>
                  <a:pt x="6844031" y="1879154"/>
                  <a:pt x="6817360" y="1913444"/>
                  <a:pt x="6838950" y="1929954"/>
                </a:cubicBezTo>
                <a:close/>
                <a:moveTo>
                  <a:pt x="7094856" y="1677224"/>
                </a:moveTo>
                <a:cubicBezTo>
                  <a:pt x="7111365" y="1684844"/>
                  <a:pt x="7123431" y="1658809"/>
                  <a:pt x="7106920" y="1651824"/>
                </a:cubicBezTo>
                <a:cubicBezTo>
                  <a:pt x="7089775" y="1643569"/>
                  <a:pt x="7077710" y="1669604"/>
                  <a:pt x="7094856" y="1677224"/>
                </a:cubicBezTo>
                <a:close/>
                <a:moveTo>
                  <a:pt x="7106920" y="1641029"/>
                </a:moveTo>
                <a:cubicBezTo>
                  <a:pt x="7122160" y="1647379"/>
                  <a:pt x="7131685" y="1623249"/>
                  <a:pt x="7116445" y="1617534"/>
                </a:cubicBezTo>
                <a:cubicBezTo>
                  <a:pt x="7101206" y="1611184"/>
                  <a:pt x="7091681" y="1635313"/>
                  <a:pt x="7106920" y="1641029"/>
                </a:cubicBezTo>
                <a:close/>
                <a:moveTo>
                  <a:pt x="7080885" y="1890584"/>
                </a:moveTo>
                <a:cubicBezTo>
                  <a:pt x="7100570" y="1903919"/>
                  <a:pt x="7120890" y="1872169"/>
                  <a:pt x="7100570" y="1859469"/>
                </a:cubicBezTo>
                <a:cubicBezTo>
                  <a:pt x="7080885" y="1846134"/>
                  <a:pt x="7060565" y="1877884"/>
                  <a:pt x="7080885" y="1890584"/>
                </a:cubicBezTo>
                <a:close/>
                <a:moveTo>
                  <a:pt x="7102475" y="1721674"/>
                </a:moveTo>
                <a:cubicBezTo>
                  <a:pt x="7092950" y="1739454"/>
                  <a:pt x="7120890" y="1754059"/>
                  <a:pt x="7129781" y="1735644"/>
                </a:cubicBezTo>
                <a:cubicBezTo>
                  <a:pt x="7139940" y="1718499"/>
                  <a:pt x="7112000" y="1703894"/>
                  <a:pt x="7102475" y="1721674"/>
                </a:cubicBezTo>
                <a:close/>
                <a:moveTo>
                  <a:pt x="7143750" y="2035999"/>
                </a:moveTo>
                <a:cubicBezTo>
                  <a:pt x="7164706" y="2050604"/>
                  <a:pt x="7186931" y="2016949"/>
                  <a:pt x="7165340" y="2002979"/>
                </a:cubicBezTo>
                <a:cubicBezTo>
                  <a:pt x="7144385" y="1988374"/>
                  <a:pt x="7122160" y="2022663"/>
                  <a:pt x="7143750" y="2035999"/>
                </a:cubicBezTo>
                <a:close/>
                <a:moveTo>
                  <a:pt x="7221856" y="1955354"/>
                </a:moveTo>
                <a:cubicBezTo>
                  <a:pt x="7209790" y="1975674"/>
                  <a:pt x="7241540" y="1994724"/>
                  <a:pt x="7253606" y="1973769"/>
                </a:cubicBezTo>
                <a:cubicBezTo>
                  <a:pt x="7265670" y="1953449"/>
                  <a:pt x="7233920" y="1934399"/>
                  <a:pt x="7221856" y="1955354"/>
                </a:cubicBezTo>
                <a:close/>
                <a:moveTo>
                  <a:pt x="7320915" y="1991549"/>
                </a:moveTo>
                <a:cubicBezTo>
                  <a:pt x="7300595" y="1979484"/>
                  <a:pt x="7282181" y="2011869"/>
                  <a:pt x="7303135" y="2023299"/>
                </a:cubicBezTo>
                <a:cubicBezTo>
                  <a:pt x="7323456" y="2035999"/>
                  <a:pt x="7341870" y="2003613"/>
                  <a:pt x="7320915" y="1991549"/>
                </a:cubicBezTo>
                <a:close/>
                <a:moveTo>
                  <a:pt x="7345045" y="1731199"/>
                </a:moveTo>
                <a:cubicBezTo>
                  <a:pt x="7360285" y="1736913"/>
                  <a:pt x="7369175" y="1712784"/>
                  <a:pt x="7353300" y="1707069"/>
                </a:cubicBezTo>
                <a:cubicBezTo>
                  <a:pt x="7338060" y="1701354"/>
                  <a:pt x="7329806" y="1726119"/>
                  <a:pt x="7345045" y="1731199"/>
                </a:cubicBezTo>
                <a:close/>
                <a:moveTo>
                  <a:pt x="7378700" y="2065844"/>
                </a:moveTo>
                <a:cubicBezTo>
                  <a:pt x="7399020" y="2077274"/>
                  <a:pt x="7417435" y="2044888"/>
                  <a:pt x="7396481" y="2033459"/>
                </a:cubicBezTo>
                <a:cubicBezTo>
                  <a:pt x="7375525" y="2022029"/>
                  <a:pt x="7357745" y="2054413"/>
                  <a:pt x="7378700" y="2065844"/>
                </a:cubicBezTo>
                <a:close/>
                <a:moveTo>
                  <a:pt x="7299960" y="2133789"/>
                </a:moveTo>
                <a:lnTo>
                  <a:pt x="7299960" y="2133789"/>
                </a:lnTo>
                <a:cubicBezTo>
                  <a:pt x="7309485" y="2139504"/>
                  <a:pt x="7321550" y="2136329"/>
                  <a:pt x="7327265" y="2126804"/>
                </a:cubicBezTo>
                <a:cubicBezTo>
                  <a:pt x="7345681" y="2078544"/>
                  <a:pt x="7260590" y="2100134"/>
                  <a:pt x="7299960" y="2133789"/>
                </a:cubicBezTo>
                <a:close/>
                <a:moveTo>
                  <a:pt x="7383781" y="1965513"/>
                </a:moveTo>
                <a:cubicBezTo>
                  <a:pt x="7402831" y="1975674"/>
                  <a:pt x="7418706" y="1945194"/>
                  <a:pt x="7399020" y="1935034"/>
                </a:cubicBezTo>
                <a:cubicBezTo>
                  <a:pt x="7379335" y="1925509"/>
                  <a:pt x="7364095" y="1955988"/>
                  <a:pt x="7383781" y="1965513"/>
                </a:cubicBezTo>
                <a:close/>
                <a:moveTo>
                  <a:pt x="7334885" y="1921699"/>
                </a:moveTo>
                <a:cubicBezTo>
                  <a:pt x="7345045" y="1902649"/>
                  <a:pt x="7314565" y="1886138"/>
                  <a:pt x="7305040" y="1905824"/>
                </a:cubicBezTo>
                <a:cubicBezTo>
                  <a:pt x="7294245" y="1925509"/>
                  <a:pt x="7324725" y="1941384"/>
                  <a:pt x="7334885" y="1921699"/>
                </a:cubicBezTo>
                <a:close/>
                <a:moveTo>
                  <a:pt x="7367270" y="2400489"/>
                </a:moveTo>
                <a:cubicBezTo>
                  <a:pt x="7352031" y="2425254"/>
                  <a:pt x="7391400" y="2448749"/>
                  <a:pt x="7406006" y="2423349"/>
                </a:cubicBezTo>
                <a:cubicBezTo>
                  <a:pt x="7421245" y="2398584"/>
                  <a:pt x="7381875" y="2375089"/>
                  <a:pt x="7367270" y="2400489"/>
                </a:cubicBezTo>
                <a:close/>
                <a:moveTo>
                  <a:pt x="7378700" y="1874709"/>
                </a:moveTo>
                <a:cubicBezTo>
                  <a:pt x="7396481" y="1883599"/>
                  <a:pt x="7410450" y="1854388"/>
                  <a:pt x="7391400" y="1846134"/>
                </a:cubicBezTo>
                <a:cubicBezTo>
                  <a:pt x="7373620" y="1837879"/>
                  <a:pt x="7360285" y="1866454"/>
                  <a:pt x="7378700" y="1874709"/>
                </a:cubicBezTo>
                <a:close/>
                <a:moveTo>
                  <a:pt x="7404735" y="1752788"/>
                </a:moveTo>
                <a:cubicBezTo>
                  <a:pt x="7419975" y="1758504"/>
                  <a:pt x="7428865" y="1734374"/>
                  <a:pt x="7412990" y="1728659"/>
                </a:cubicBezTo>
                <a:cubicBezTo>
                  <a:pt x="7397750" y="1722944"/>
                  <a:pt x="7389495" y="1747074"/>
                  <a:pt x="7404735" y="1752788"/>
                </a:cubicBezTo>
                <a:close/>
                <a:moveTo>
                  <a:pt x="1226820" y="2274124"/>
                </a:moveTo>
                <a:cubicBezTo>
                  <a:pt x="1200785" y="2284284"/>
                  <a:pt x="1217295" y="2324289"/>
                  <a:pt x="1242695" y="2313494"/>
                </a:cubicBezTo>
                <a:cubicBezTo>
                  <a:pt x="1268095" y="2303969"/>
                  <a:pt x="1252220" y="2263964"/>
                  <a:pt x="1226820" y="2274124"/>
                </a:cubicBezTo>
                <a:close/>
                <a:moveTo>
                  <a:pt x="7263765" y="1884234"/>
                </a:moveTo>
                <a:cubicBezTo>
                  <a:pt x="7274560" y="1865184"/>
                  <a:pt x="7244081" y="1848674"/>
                  <a:pt x="7233920" y="1868359"/>
                </a:cubicBezTo>
                <a:cubicBezTo>
                  <a:pt x="7223125" y="1886774"/>
                  <a:pt x="7253606" y="1903284"/>
                  <a:pt x="7263765" y="1884234"/>
                </a:cubicBezTo>
                <a:close/>
                <a:moveTo>
                  <a:pt x="7236460" y="1789619"/>
                </a:moveTo>
                <a:cubicBezTo>
                  <a:pt x="7227570" y="1807399"/>
                  <a:pt x="7255510" y="1821369"/>
                  <a:pt x="7264400" y="1803588"/>
                </a:cubicBezTo>
                <a:cubicBezTo>
                  <a:pt x="7273290" y="1785174"/>
                  <a:pt x="7244715" y="1771204"/>
                  <a:pt x="7236460" y="1789619"/>
                </a:cubicBezTo>
                <a:close/>
                <a:moveTo>
                  <a:pt x="7220585" y="1734374"/>
                </a:moveTo>
                <a:cubicBezTo>
                  <a:pt x="7284085" y="1724213"/>
                  <a:pt x="7185025" y="1681034"/>
                  <a:pt x="7220585" y="1734374"/>
                </a:cubicBezTo>
                <a:lnTo>
                  <a:pt x="7220585" y="1734374"/>
                </a:lnTo>
                <a:close/>
                <a:moveTo>
                  <a:pt x="7225665" y="1687384"/>
                </a:moveTo>
                <a:cubicBezTo>
                  <a:pt x="7240906" y="1693734"/>
                  <a:pt x="7250431" y="1668969"/>
                  <a:pt x="7234556" y="1663254"/>
                </a:cubicBezTo>
                <a:cubicBezTo>
                  <a:pt x="7219315" y="1657538"/>
                  <a:pt x="7210425" y="1681669"/>
                  <a:pt x="7225665" y="1687384"/>
                </a:cubicBezTo>
                <a:close/>
                <a:moveTo>
                  <a:pt x="7285356" y="1709609"/>
                </a:moveTo>
                <a:cubicBezTo>
                  <a:pt x="7300595" y="1715324"/>
                  <a:pt x="7309485" y="1691194"/>
                  <a:pt x="7294245" y="1685479"/>
                </a:cubicBezTo>
                <a:cubicBezTo>
                  <a:pt x="7279006" y="1679763"/>
                  <a:pt x="7270115" y="1703894"/>
                  <a:pt x="7285356" y="1709609"/>
                </a:cubicBezTo>
                <a:close/>
                <a:moveTo>
                  <a:pt x="7317740" y="2370009"/>
                </a:moveTo>
                <a:cubicBezTo>
                  <a:pt x="7333615" y="2345244"/>
                  <a:pt x="7294881" y="2321114"/>
                  <a:pt x="7279640" y="2345879"/>
                </a:cubicBezTo>
                <a:cubicBezTo>
                  <a:pt x="7263765" y="2370644"/>
                  <a:pt x="7302500" y="2395409"/>
                  <a:pt x="7317740" y="2370009"/>
                </a:cubicBezTo>
                <a:close/>
                <a:moveTo>
                  <a:pt x="7310756" y="1842959"/>
                </a:moveTo>
                <a:cubicBezTo>
                  <a:pt x="7328535" y="1851849"/>
                  <a:pt x="7342506" y="1823274"/>
                  <a:pt x="7324090" y="1815019"/>
                </a:cubicBezTo>
                <a:cubicBezTo>
                  <a:pt x="7306310" y="1806129"/>
                  <a:pt x="7292340" y="1834069"/>
                  <a:pt x="7310756" y="1842959"/>
                </a:cubicBezTo>
                <a:close/>
                <a:moveTo>
                  <a:pt x="7284720" y="1761679"/>
                </a:moveTo>
                <a:cubicBezTo>
                  <a:pt x="7301231" y="1769299"/>
                  <a:pt x="7312660" y="1742629"/>
                  <a:pt x="7295515" y="1735644"/>
                </a:cubicBezTo>
                <a:cubicBezTo>
                  <a:pt x="7279006" y="1728024"/>
                  <a:pt x="7267575" y="1754694"/>
                  <a:pt x="7284720" y="1761679"/>
                </a:cubicBezTo>
                <a:close/>
                <a:moveTo>
                  <a:pt x="6793231" y="1699449"/>
                </a:moveTo>
                <a:lnTo>
                  <a:pt x="6793231" y="1699449"/>
                </a:lnTo>
                <a:cubicBezTo>
                  <a:pt x="6837045" y="1719769"/>
                  <a:pt x="6822440" y="1639759"/>
                  <a:pt x="6788785" y="1674049"/>
                </a:cubicBezTo>
                <a:cubicBezTo>
                  <a:pt x="6782435" y="1682304"/>
                  <a:pt x="6784975" y="1693734"/>
                  <a:pt x="6793231" y="1699449"/>
                </a:cubicBezTo>
                <a:close/>
                <a:moveTo>
                  <a:pt x="6767831" y="1769934"/>
                </a:moveTo>
                <a:cubicBezTo>
                  <a:pt x="6788150" y="1785809"/>
                  <a:pt x="6812281" y="1753424"/>
                  <a:pt x="6791325" y="1738184"/>
                </a:cubicBezTo>
                <a:cubicBezTo>
                  <a:pt x="6771640" y="1722944"/>
                  <a:pt x="6747510" y="1755329"/>
                  <a:pt x="6767831" y="1769934"/>
                </a:cubicBezTo>
                <a:close/>
                <a:moveTo>
                  <a:pt x="6802756" y="2012504"/>
                </a:moveTo>
                <a:cubicBezTo>
                  <a:pt x="6823075" y="2013138"/>
                  <a:pt x="6833870" y="1985199"/>
                  <a:pt x="6817360" y="1972499"/>
                </a:cubicBezTo>
                <a:cubicBezTo>
                  <a:pt x="6784340" y="1947734"/>
                  <a:pt x="6762115" y="2010599"/>
                  <a:pt x="6802756" y="2012504"/>
                </a:cubicBezTo>
                <a:close/>
                <a:moveTo>
                  <a:pt x="6814185" y="1518474"/>
                </a:moveTo>
                <a:cubicBezTo>
                  <a:pt x="6829425" y="1525459"/>
                  <a:pt x="6839585" y="1501329"/>
                  <a:pt x="6824345" y="1494979"/>
                </a:cubicBezTo>
                <a:cubicBezTo>
                  <a:pt x="6809106" y="1487994"/>
                  <a:pt x="6798945" y="1512124"/>
                  <a:pt x="6814185" y="1518474"/>
                </a:cubicBezTo>
                <a:close/>
                <a:moveTo>
                  <a:pt x="6762750" y="1868994"/>
                </a:moveTo>
                <a:cubicBezTo>
                  <a:pt x="6783706" y="1886774"/>
                  <a:pt x="6811010" y="1853119"/>
                  <a:pt x="6789420" y="1835974"/>
                </a:cubicBezTo>
                <a:cubicBezTo>
                  <a:pt x="6767831" y="1818194"/>
                  <a:pt x="6740525" y="1852484"/>
                  <a:pt x="6762750" y="1868994"/>
                </a:cubicBezTo>
                <a:close/>
                <a:moveTo>
                  <a:pt x="6871970" y="1543874"/>
                </a:moveTo>
                <a:cubicBezTo>
                  <a:pt x="6886575" y="1550859"/>
                  <a:pt x="6897370" y="1526729"/>
                  <a:pt x="6882131" y="1520379"/>
                </a:cubicBezTo>
                <a:cubicBezTo>
                  <a:pt x="6867525" y="1513394"/>
                  <a:pt x="6856731" y="1537524"/>
                  <a:pt x="6871970" y="1543874"/>
                </a:cubicBezTo>
                <a:close/>
                <a:moveTo>
                  <a:pt x="6906895" y="1588324"/>
                </a:moveTo>
                <a:cubicBezTo>
                  <a:pt x="6922770" y="1596579"/>
                  <a:pt x="6936106" y="1570544"/>
                  <a:pt x="6918960" y="1562924"/>
                </a:cubicBezTo>
                <a:cubicBezTo>
                  <a:pt x="6903085" y="1554669"/>
                  <a:pt x="6890385" y="1580704"/>
                  <a:pt x="6906895" y="1588324"/>
                </a:cubicBezTo>
                <a:close/>
                <a:moveTo>
                  <a:pt x="6697981" y="1467038"/>
                </a:moveTo>
                <a:cubicBezTo>
                  <a:pt x="6712585" y="1474024"/>
                  <a:pt x="6723381" y="1449894"/>
                  <a:pt x="6708140" y="1443544"/>
                </a:cubicBezTo>
                <a:cubicBezTo>
                  <a:pt x="6692900" y="1437194"/>
                  <a:pt x="6682740" y="1460688"/>
                  <a:pt x="6697981" y="1467038"/>
                </a:cubicBezTo>
                <a:close/>
                <a:moveTo>
                  <a:pt x="6817995" y="1622613"/>
                </a:moveTo>
                <a:cubicBezTo>
                  <a:pt x="6805931" y="1641029"/>
                  <a:pt x="6835140" y="1659444"/>
                  <a:pt x="6846570" y="1640394"/>
                </a:cubicBezTo>
                <a:cubicBezTo>
                  <a:pt x="6858635" y="1621979"/>
                  <a:pt x="6829425" y="1604199"/>
                  <a:pt x="6817995" y="1622613"/>
                </a:cubicBezTo>
                <a:close/>
                <a:moveTo>
                  <a:pt x="6844665" y="1557844"/>
                </a:moveTo>
                <a:cubicBezTo>
                  <a:pt x="6860540" y="1566099"/>
                  <a:pt x="6873875" y="1540699"/>
                  <a:pt x="6857365" y="1532444"/>
                </a:cubicBezTo>
                <a:cubicBezTo>
                  <a:pt x="6840856" y="1524188"/>
                  <a:pt x="6828156" y="1549588"/>
                  <a:pt x="6844665" y="1557844"/>
                </a:cubicBezTo>
                <a:close/>
                <a:moveTo>
                  <a:pt x="6724015" y="1945829"/>
                </a:moveTo>
                <a:cubicBezTo>
                  <a:pt x="6744335" y="1946463"/>
                  <a:pt x="6754495" y="1919159"/>
                  <a:pt x="6738620" y="1905824"/>
                </a:cubicBezTo>
                <a:cubicBezTo>
                  <a:pt x="6706235" y="1880424"/>
                  <a:pt x="6682740" y="1943924"/>
                  <a:pt x="6724015" y="1945829"/>
                </a:cubicBezTo>
                <a:close/>
                <a:moveTo>
                  <a:pt x="6931025" y="1568638"/>
                </a:moveTo>
                <a:cubicBezTo>
                  <a:pt x="6946265" y="1574988"/>
                  <a:pt x="6956425" y="1551494"/>
                  <a:pt x="6941185" y="1545144"/>
                </a:cubicBezTo>
                <a:cubicBezTo>
                  <a:pt x="6925310" y="1538794"/>
                  <a:pt x="6915150" y="1562288"/>
                  <a:pt x="6931025" y="1568638"/>
                </a:cubicBezTo>
                <a:close/>
                <a:moveTo>
                  <a:pt x="6690995" y="1686749"/>
                </a:moveTo>
                <a:cubicBezTo>
                  <a:pt x="6666865" y="1732469"/>
                  <a:pt x="6753860" y="1721038"/>
                  <a:pt x="6718935" y="1682938"/>
                </a:cubicBezTo>
                <a:cubicBezTo>
                  <a:pt x="6718935" y="1682938"/>
                  <a:pt x="6718935" y="1682938"/>
                  <a:pt x="6718935" y="1682938"/>
                </a:cubicBezTo>
                <a:cubicBezTo>
                  <a:pt x="6710045" y="1676588"/>
                  <a:pt x="6697981" y="1678494"/>
                  <a:pt x="6690995" y="1686749"/>
                </a:cubicBezTo>
                <a:close/>
                <a:moveTo>
                  <a:pt x="6795770" y="1536888"/>
                </a:moveTo>
                <a:cubicBezTo>
                  <a:pt x="6778625" y="1526729"/>
                  <a:pt x="6762750" y="1554034"/>
                  <a:pt x="6780531" y="1564194"/>
                </a:cubicBezTo>
                <a:cubicBezTo>
                  <a:pt x="6797675" y="1574354"/>
                  <a:pt x="6813550" y="1546413"/>
                  <a:pt x="6795770" y="1536888"/>
                </a:cubicBezTo>
                <a:close/>
                <a:moveTo>
                  <a:pt x="6720840" y="1495613"/>
                </a:moveTo>
                <a:cubicBezTo>
                  <a:pt x="6736715" y="1503869"/>
                  <a:pt x="6750050" y="1478469"/>
                  <a:pt x="6733540" y="1470213"/>
                </a:cubicBezTo>
                <a:cubicBezTo>
                  <a:pt x="6717665" y="1461959"/>
                  <a:pt x="6704965" y="1487359"/>
                  <a:pt x="6720840" y="1495613"/>
                </a:cubicBezTo>
                <a:close/>
                <a:moveTo>
                  <a:pt x="6736715" y="1521013"/>
                </a:moveTo>
                <a:cubicBezTo>
                  <a:pt x="6746875" y="1503869"/>
                  <a:pt x="6719570" y="1487994"/>
                  <a:pt x="6710045" y="1505774"/>
                </a:cubicBezTo>
                <a:cubicBezTo>
                  <a:pt x="6699250" y="1522919"/>
                  <a:pt x="6726556" y="1538794"/>
                  <a:pt x="6736715" y="1521013"/>
                </a:cubicBezTo>
                <a:close/>
                <a:moveTo>
                  <a:pt x="6755765" y="1492438"/>
                </a:moveTo>
                <a:cubicBezTo>
                  <a:pt x="6770370" y="1499424"/>
                  <a:pt x="6781165" y="1475929"/>
                  <a:pt x="6765925" y="1468944"/>
                </a:cubicBezTo>
                <a:cubicBezTo>
                  <a:pt x="6751320" y="1462594"/>
                  <a:pt x="6740525" y="1486088"/>
                  <a:pt x="6755765" y="1492438"/>
                </a:cubicBezTo>
                <a:close/>
                <a:moveTo>
                  <a:pt x="6717665" y="1624519"/>
                </a:moveTo>
                <a:cubicBezTo>
                  <a:pt x="6703695" y="1643569"/>
                  <a:pt x="6734175" y="1665159"/>
                  <a:pt x="6747510" y="1645474"/>
                </a:cubicBezTo>
                <a:cubicBezTo>
                  <a:pt x="6761481" y="1626424"/>
                  <a:pt x="6731000" y="1604834"/>
                  <a:pt x="6717665" y="1624519"/>
                </a:cubicBezTo>
                <a:close/>
                <a:moveTo>
                  <a:pt x="6783070" y="1526729"/>
                </a:moveTo>
                <a:cubicBezTo>
                  <a:pt x="6798945" y="1534984"/>
                  <a:pt x="6812281" y="1509584"/>
                  <a:pt x="6795770" y="1501329"/>
                </a:cubicBezTo>
                <a:cubicBezTo>
                  <a:pt x="6779260" y="1493074"/>
                  <a:pt x="6766560" y="1519109"/>
                  <a:pt x="6783070" y="1526729"/>
                </a:cubicBezTo>
                <a:close/>
                <a:moveTo>
                  <a:pt x="6755131" y="1602929"/>
                </a:moveTo>
                <a:cubicBezTo>
                  <a:pt x="6773545" y="1614994"/>
                  <a:pt x="6791960" y="1585784"/>
                  <a:pt x="6773545" y="1574354"/>
                </a:cubicBezTo>
                <a:cubicBezTo>
                  <a:pt x="6755131" y="1562924"/>
                  <a:pt x="6736715" y="1591499"/>
                  <a:pt x="6755131" y="1602929"/>
                </a:cubicBezTo>
                <a:close/>
                <a:moveTo>
                  <a:pt x="6994525" y="2048063"/>
                </a:moveTo>
                <a:cubicBezTo>
                  <a:pt x="7016115" y="2064574"/>
                  <a:pt x="7042150" y="2029649"/>
                  <a:pt x="7019290" y="2013774"/>
                </a:cubicBezTo>
                <a:cubicBezTo>
                  <a:pt x="7019290" y="2013774"/>
                  <a:pt x="7019290" y="2013774"/>
                  <a:pt x="7019290" y="2013774"/>
                </a:cubicBezTo>
                <a:cubicBezTo>
                  <a:pt x="6997700" y="1997899"/>
                  <a:pt x="6972300" y="2032188"/>
                  <a:pt x="6994525" y="2048063"/>
                </a:cubicBezTo>
                <a:close/>
                <a:moveTo>
                  <a:pt x="6948806" y="2137599"/>
                </a:moveTo>
                <a:cubicBezTo>
                  <a:pt x="6971665" y="2156014"/>
                  <a:pt x="7000240" y="2119819"/>
                  <a:pt x="6976745" y="2102039"/>
                </a:cubicBezTo>
                <a:cubicBezTo>
                  <a:pt x="6953885" y="2083624"/>
                  <a:pt x="6925945" y="2119819"/>
                  <a:pt x="6948806" y="2137599"/>
                </a:cubicBezTo>
                <a:close/>
                <a:moveTo>
                  <a:pt x="6991350" y="1645474"/>
                </a:moveTo>
                <a:cubicBezTo>
                  <a:pt x="6983731" y="1641029"/>
                  <a:pt x="6974206" y="1644204"/>
                  <a:pt x="6970395" y="1651824"/>
                </a:cubicBezTo>
                <a:cubicBezTo>
                  <a:pt x="6957695" y="1690559"/>
                  <a:pt x="7023735" y="1670874"/>
                  <a:pt x="6991350" y="1645474"/>
                </a:cubicBezTo>
                <a:close/>
                <a:moveTo>
                  <a:pt x="6991350" y="1932494"/>
                </a:moveTo>
                <a:cubicBezTo>
                  <a:pt x="7012306" y="1947734"/>
                  <a:pt x="7035165" y="1914713"/>
                  <a:pt x="7014210" y="1900109"/>
                </a:cubicBezTo>
                <a:cubicBezTo>
                  <a:pt x="7014210" y="1900109"/>
                  <a:pt x="7014210" y="1900109"/>
                  <a:pt x="7014210" y="1900109"/>
                </a:cubicBezTo>
                <a:cubicBezTo>
                  <a:pt x="6993256" y="1885504"/>
                  <a:pt x="6970395" y="1918524"/>
                  <a:pt x="6991350" y="1932494"/>
                </a:cubicBezTo>
                <a:close/>
                <a:moveTo>
                  <a:pt x="6915150" y="1682938"/>
                </a:moveTo>
                <a:cubicBezTo>
                  <a:pt x="6927215" y="1664524"/>
                  <a:pt x="6897370" y="1646109"/>
                  <a:pt x="6886575" y="1665159"/>
                </a:cubicBezTo>
                <a:cubicBezTo>
                  <a:pt x="6874510" y="1683574"/>
                  <a:pt x="6904356" y="1701988"/>
                  <a:pt x="6915150" y="1682938"/>
                </a:cubicBezTo>
                <a:close/>
                <a:moveTo>
                  <a:pt x="7031356" y="2200464"/>
                </a:moveTo>
                <a:cubicBezTo>
                  <a:pt x="7054215" y="2218244"/>
                  <a:pt x="7082156" y="2181414"/>
                  <a:pt x="7058660" y="2164269"/>
                </a:cubicBezTo>
                <a:cubicBezTo>
                  <a:pt x="7035165" y="2146489"/>
                  <a:pt x="7007860" y="2183319"/>
                  <a:pt x="7031356" y="2200464"/>
                </a:cubicBezTo>
                <a:close/>
                <a:moveTo>
                  <a:pt x="6961506" y="1791524"/>
                </a:moveTo>
                <a:cubicBezTo>
                  <a:pt x="6974840" y="1771838"/>
                  <a:pt x="6943725" y="1751519"/>
                  <a:pt x="6931025" y="1771204"/>
                </a:cubicBezTo>
                <a:cubicBezTo>
                  <a:pt x="6917690" y="1790888"/>
                  <a:pt x="6948806" y="1811209"/>
                  <a:pt x="6961506" y="1791524"/>
                </a:cubicBezTo>
                <a:close/>
                <a:moveTo>
                  <a:pt x="6939281" y="1847404"/>
                </a:moveTo>
                <a:cubicBezTo>
                  <a:pt x="6918325" y="1832163"/>
                  <a:pt x="6895465" y="1864549"/>
                  <a:pt x="6916420" y="1879154"/>
                </a:cubicBezTo>
                <a:cubicBezTo>
                  <a:pt x="6936740" y="1895029"/>
                  <a:pt x="6960870" y="1862009"/>
                  <a:pt x="6939281" y="1847404"/>
                </a:cubicBezTo>
                <a:close/>
                <a:moveTo>
                  <a:pt x="6925945" y="1609913"/>
                </a:moveTo>
                <a:cubicBezTo>
                  <a:pt x="6908165" y="1599754"/>
                  <a:pt x="6892925" y="1627694"/>
                  <a:pt x="6910706" y="1637219"/>
                </a:cubicBezTo>
                <a:cubicBezTo>
                  <a:pt x="6928485" y="1646744"/>
                  <a:pt x="6943725" y="1619438"/>
                  <a:pt x="6925945" y="1609913"/>
                </a:cubicBezTo>
                <a:close/>
                <a:moveTo>
                  <a:pt x="6916420" y="1989644"/>
                </a:moveTo>
                <a:cubicBezTo>
                  <a:pt x="6938010" y="2006788"/>
                  <a:pt x="6964045" y="1972499"/>
                  <a:pt x="6941820" y="1955988"/>
                </a:cubicBezTo>
                <a:cubicBezTo>
                  <a:pt x="6920231" y="1939479"/>
                  <a:pt x="6894195" y="1973769"/>
                  <a:pt x="6916420" y="1989644"/>
                </a:cubicBezTo>
                <a:close/>
                <a:moveTo>
                  <a:pt x="7002781" y="1818194"/>
                </a:moveTo>
                <a:cubicBezTo>
                  <a:pt x="6989445" y="1837879"/>
                  <a:pt x="7020560" y="1858199"/>
                  <a:pt x="7033260" y="1837879"/>
                </a:cubicBezTo>
                <a:cubicBezTo>
                  <a:pt x="7046595" y="1818829"/>
                  <a:pt x="7015481" y="1798509"/>
                  <a:pt x="7002781" y="1818194"/>
                </a:cubicBezTo>
                <a:close/>
                <a:moveTo>
                  <a:pt x="6960870" y="1730563"/>
                </a:moveTo>
                <a:cubicBezTo>
                  <a:pt x="6979285" y="1741994"/>
                  <a:pt x="6997700" y="1712784"/>
                  <a:pt x="6978015" y="1701354"/>
                </a:cubicBezTo>
                <a:cubicBezTo>
                  <a:pt x="6959600" y="1689924"/>
                  <a:pt x="6941820" y="1719134"/>
                  <a:pt x="6960870" y="1730563"/>
                </a:cubicBezTo>
                <a:close/>
                <a:moveTo>
                  <a:pt x="6989445" y="1593404"/>
                </a:moveTo>
                <a:cubicBezTo>
                  <a:pt x="7004685" y="1600388"/>
                  <a:pt x="7014845" y="1576259"/>
                  <a:pt x="6998970" y="1569909"/>
                </a:cubicBezTo>
                <a:cubicBezTo>
                  <a:pt x="6983731" y="1562924"/>
                  <a:pt x="6974206" y="1587054"/>
                  <a:pt x="6989445" y="1593404"/>
                </a:cubicBezTo>
                <a:close/>
                <a:moveTo>
                  <a:pt x="7030085" y="1771204"/>
                </a:moveTo>
                <a:cubicBezTo>
                  <a:pt x="7048500" y="1782634"/>
                  <a:pt x="7066281" y="1752788"/>
                  <a:pt x="7047231" y="1741994"/>
                </a:cubicBezTo>
                <a:cubicBezTo>
                  <a:pt x="7028815" y="1731199"/>
                  <a:pt x="7011035" y="1760409"/>
                  <a:pt x="7030085" y="1771204"/>
                </a:cubicBezTo>
                <a:close/>
                <a:moveTo>
                  <a:pt x="7067550" y="1985199"/>
                </a:moveTo>
                <a:cubicBezTo>
                  <a:pt x="7088506" y="1999804"/>
                  <a:pt x="7111365" y="1966784"/>
                  <a:pt x="7089775" y="1952179"/>
                </a:cubicBezTo>
                <a:cubicBezTo>
                  <a:pt x="7068185" y="1937574"/>
                  <a:pt x="7045960" y="1971229"/>
                  <a:pt x="7067550" y="1985199"/>
                </a:cubicBezTo>
                <a:lnTo>
                  <a:pt x="7067550" y="1985199"/>
                </a:lnTo>
                <a:close/>
                <a:moveTo>
                  <a:pt x="6969125" y="1618169"/>
                </a:moveTo>
                <a:cubicBezTo>
                  <a:pt x="6985635" y="1626424"/>
                  <a:pt x="6997700" y="1600388"/>
                  <a:pt x="6981190" y="1592769"/>
                </a:cubicBezTo>
                <a:cubicBezTo>
                  <a:pt x="6965315" y="1584513"/>
                  <a:pt x="6952615" y="1610549"/>
                  <a:pt x="6969125" y="1618169"/>
                </a:cubicBezTo>
                <a:close/>
                <a:moveTo>
                  <a:pt x="7057390" y="1680399"/>
                </a:moveTo>
                <a:cubicBezTo>
                  <a:pt x="7039610" y="1670874"/>
                  <a:pt x="7025006" y="1698813"/>
                  <a:pt x="7042785" y="1707704"/>
                </a:cubicBezTo>
                <a:cubicBezTo>
                  <a:pt x="7060565" y="1717863"/>
                  <a:pt x="7075806" y="1689924"/>
                  <a:pt x="7057390" y="1680399"/>
                </a:cubicBezTo>
                <a:close/>
                <a:moveTo>
                  <a:pt x="7048500" y="1617534"/>
                </a:moveTo>
                <a:cubicBezTo>
                  <a:pt x="7063740" y="1623884"/>
                  <a:pt x="7073265" y="1599754"/>
                  <a:pt x="7058025" y="1594038"/>
                </a:cubicBezTo>
                <a:cubicBezTo>
                  <a:pt x="7042785" y="1587688"/>
                  <a:pt x="7032625" y="1611184"/>
                  <a:pt x="7048500" y="1617534"/>
                </a:cubicBezTo>
                <a:close/>
                <a:moveTo>
                  <a:pt x="7031990" y="1648013"/>
                </a:moveTo>
                <a:cubicBezTo>
                  <a:pt x="7048500" y="1656269"/>
                  <a:pt x="7060565" y="1630234"/>
                  <a:pt x="7044056" y="1622613"/>
                </a:cubicBezTo>
                <a:cubicBezTo>
                  <a:pt x="7027545" y="1614359"/>
                  <a:pt x="7014845" y="1640394"/>
                  <a:pt x="7031990" y="1648013"/>
                </a:cubicBezTo>
                <a:close/>
                <a:moveTo>
                  <a:pt x="1636395" y="2007424"/>
                </a:moveTo>
                <a:cubicBezTo>
                  <a:pt x="1638300" y="2007424"/>
                  <a:pt x="1640840" y="2006788"/>
                  <a:pt x="1642745" y="2006154"/>
                </a:cubicBezTo>
                <a:lnTo>
                  <a:pt x="1642745" y="2006154"/>
                </a:lnTo>
                <a:cubicBezTo>
                  <a:pt x="1688465" y="1954719"/>
                  <a:pt x="1574800" y="1977579"/>
                  <a:pt x="1636395" y="2007424"/>
                </a:cubicBezTo>
                <a:close/>
                <a:moveTo>
                  <a:pt x="2730500" y="1218754"/>
                </a:moveTo>
                <a:cubicBezTo>
                  <a:pt x="2708910" y="1235899"/>
                  <a:pt x="2735580" y="1269554"/>
                  <a:pt x="2757170" y="1251774"/>
                </a:cubicBezTo>
                <a:cubicBezTo>
                  <a:pt x="2778760" y="1235263"/>
                  <a:pt x="2752090" y="1201609"/>
                  <a:pt x="2730500" y="1218754"/>
                </a:cubicBezTo>
                <a:close/>
                <a:moveTo>
                  <a:pt x="2712085" y="1137474"/>
                </a:moveTo>
                <a:cubicBezTo>
                  <a:pt x="2714625" y="1137474"/>
                  <a:pt x="2717165" y="1136838"/>
                  <a:pt x="2719705" y="1136204"/>
                </a:cubicBezTo>
                <a:cubicBezTo>
                  <a:pt x="2712720" y="1150174"/>
                  <a:pt x="2724150" y="1169224"/>
                  <a:pt x="2740025" y="1169859"/>
                </a:cubicBezTo>
                <a:cubicBezTo>
                  <a:pt x="2693670" y="1237169"/>
                  <a:pt x="2828925" y="1201609"/>
                  <a:pt x="2755265" y="1166049"/>
                </a:cubicBezTo>
                <a:cubicBezTo>
                  <a:pt x="2777490" y="1151444"/>
                  <a:pt x="2759710" y="1115249"/>
                  <a:pt x="2734945" y="1123504"/>
                </a:cubicBezTo>
                <a:cubicBezTo>
                  <a:pt x="2748915" y="1045399"/>
                  <a:pt x="2635250" y="1117788"/>
                  <a:pt x="2712085" y="1137474"/>
                </a:cubicBezTo>
                <a:close/>
                <a:moveTo>
                  <a:pt x="2249805" y="1568638"/>
                </a:moveTo>
                <a:cubicBezTo>
                  <a:pt x="2249805" y="1579434"/>
                  <a:pt x="2263140" y="1586419"/>
                  <a:pt x="2271395" y="1580069"/>
                </a:cubicBezTo>
                <a:lnTo>
                  <a:pt x="2271395" y="1580069"/>
                </a:lnTo>
                <a:cubicBezTo>
                  <a:pt x="2281555" y="1573719"/>
                  <a:pt x="2278380" y="1557844"/>
                  <a:pt x="2267585" y="1554669"/>
                </a:cubicBezTo>
                <a:cubicBezTo>
                  <a:pt x="2261870" y="1529904"/>
                  <a:pt x="2227580" y="1555938"/>
                  <a:pt x="2249805" y="1568638"/>
                </a:cubicBezTo>
                <a:close/>
                <a:moveTo>
                  <a:pt x="2787650" y="1051749"/>
                </a:moveTo>
                <a:cubicBezTo>
                  <a:pt x="2809875" y="1052384"/>
                  <a:pt x="2821940" y="1021904"/>
                  <a:pt x="2804160" y="1007299"/>
                </a:cubicBezTo>
                <a:cubicBezTo>
                  <a:pt x="2767965" y="978088"/>
                  <a:pt x="2741295" y="1049844"/>
                  <a:pt x="2787650" y="1051749"/>
                </a:cubicBezTo>
                <a:close/>
                <a:moveTo>
                  <a:pt x="2878455" y="1009204"/>
                </a:moveTo>
                <a:cubicBezTo>
                  <a:pt x="2900045" y="1031429"/>
                  <a:pt x="2934970" y="997774"/>
                  <a:pt x="2912745" y="975549"/>
                </a:cubicBezTo>
                <a:cubicBezTo>
                  <a:pt x="2891155" y="953324"/>
                  <a:pt x="2856230" y="987613"/>
                  <a:pt x="2878455" y="1009204"/>
                </a:cubicBezTo>
                <a:close/>
                <a:moveTo>
                  <a:pt x="2892425" y="1034604"/>
                </a:moveTo>
                <a:cubicBezTo>
                  <a:pt x="2870200" y="1053654"/>
                  <a:pt x="2900045" y="1088579"/>
                  <a:pt x="2921635" y="1068894"/>
                </a:cubicBezTo>
                <a:cubicBezTo>
                  <a:pt x="2944495" y="1049844"/>
                  <a:pt x="2914650" y="1014919"/>
                  <a:pt x="2892425" y="1034604"/>
                </a:cubicBezTo>
                <a:close/>
                <a:moveTo>
                  <a:pt x="2214880" y="1595944"/>
                </a:moveTo>
                <a:cubicBezTo>
                  <a:pt x="2219325" y="1569909"/>
                  <a:pt x="2176780" y="1581338"/>
                  <a:pt x="2193290" y="1601659"/>
                </a:cubicBezTo>
                <a:cubicBezTo>
                  <a:pt x="2184400" y="1634044"/>
                  <a:pt x="2239010" y="1619438"/>
                  <a:pt x="2214880" y="1595944"/>
                </a:cubicBezTo>
                <a:close/>
                <a:moveTo>
                  <a:pt x="2863850" y="966659"/>
                </a:moveTo>
                <a:cubicBezTo>
                  <a:pt x="2886075" y="967294"/>
                  <a:pt x="2898140" y="936813"/>
                  <a:pt x="2880995" y="922209"/>
                </a:cubicBezTo>
                <a:cubicBezTo>
                  <a:pt x="2844165" y="892999"/>
                  <a:pt x="2816860" y="964119"/>
                  <a:pt x="2863850" y="966659"/>
                </a:cubicBezTo>
                <a:close/>
                <a:moveTo>
                  <a:pt x="2814955" y="1102549"/>
                </a:moveTo>
                <a:cubicBezTo>
                  <a:pt x="2792730" y="1121599"/>
                  <a:pt x="2823210" y="1155888"/>
                  <a:pt x="2844800" y="1136204"/>
                </a:cubicBezTo>
                <a:cubicBezTo>
                  <a:pt x="2867025" y="1117154"/>
                  <a:pt x="2836545" y="1082863"/>
                  <a:pt x="2814955" y="1102549"/>
                </a:cubicBezTo>
                <a:close/>
                <a:moveTo>
                  <a:pt x="2800985" y="1086038"/>
                </a:moveTo>
                <a:cubicBezTo>
                  <a:pt x="2822575" y="1108263"/>
                  <a:pt x="2857500" y="1073974"/>
                  <a:pt x="2835275" y="1052384"/>
                </a:cubicBezTo>
                <a:cubicBezTo>
                  <a:pt x="2813685" y="1029524"/>
                  <a:pt x="2778760" y="1064449"/>
                  <a:pt x="2800985" y="1086038"/>
                </a:cubicBezTo>
                <a:close/>
                <a:moveTo>
                  <a:pt x="1876425" y="1800413"/>
                </a:moveTo>
                <a:cubicBezTo>
                  <a:pt x="1896110" y="1800413"/>
                  <a:pt x="1889760" y="1768663"/>
                  <a:pt x="1871345" y="1776284"/>
                </a:cubicBezTo>
                <a:cubicBezTo>
                  <a:pt x="1858645" y="1780729"/>
                  <a:pt x="1863090" y="1801049"/>
                  <a:pt x="1876425" y="1800413"/>
                </a:cubicBezTo>
                <a:close/>
                <a:moveTo>
                  <a:pt x="1817370" y="1823909"/>
                </a:moveTo>
                <a:cubicBezTo>
                  <a:pt x="1837055" y="1823909"/>
                  <a:pt x="1831340" y="1792794"/>
                  <a:pt x="1812925" y="1799144"/>
                </a:cubicBezTo>
                <a:cubicBezTo>
                  <a:pt x="1799590" y="1803588"/>
                  <a:pt x="1803400" y="1824544"/>
                  <a:pt x="1817370" y="1823909"/>
                </a:cubicBezTo>
                <a:close/>
                <a:moveTo>
                  <a:pt x="1853565" y="1841688"/>
                </a:moveTo>
                <a:cubicBezTo>
                  <a:pt x="1838325" y="1889313"/>
                  <a:pt x="1914525" y="1851849"/>
                  <a:pt x="1867535" y="1834704"/>
                </a:cubicBezTo>
                <a:cubicBezTo>
                  <a:pt x="1879600" y="1792794"/>
                  <a:pt x="1813560" y="1825813"/>
                  <a:pt x="1853565" y="1841688"/>
                </a:cubicBezTo>
                <a:close/>
                <a:moveTo>
                  <a:pt x="1757045" y="1843594"/>
                </a:moveTo>
                <a:cubicBezTo>
                  <a:pt x="1776095" y="1843594"/>
                  <a:pt x="1771650" y="1813113"/>
                  <a:pt x="1753235" y="1818829"/>
                </a:cubicBezTo>
                <a:cubicBezTo>
                  <a:pt x="1739265" y="1822638"/>
                  <a:pt x="1743075" y="1844229"/>
                  <a:pt x="1757045" y="1843594"/>
                </a:cubicBezTo>
                <a:close/>
                <a:moveTo>
                  <a:pt x="1931670" y="1828988"/>
                </a:moveTo>
                <a:cubicBezTo>
                  <a:pt x="1951990" y="1828988"/>
                  <a:pt x="1951355" y="1797238"/>
                  <a:pt x="1931035" y="1797874"/>
                </a:cubicBezTo>
                <a:cubicBezTo>
                  <a:pt x="1927225" y="1761044"/>
                  <a:pt x="1880235" y="1802319"/>
                  <a:pt x="1915795" y="1811209"/>
                </a:cubicBezTo>
                <a:cubicBezTo>
                  <a:pt x="1915160" y="1816288"/>
                  <a:pt x="1917065" y="1822004"/>
                  <a:pt x="1920875" y="1825179"/>
                </a:cubicBezTo>
                <a:cubicBezTo>
                  <a:pt x="1862455" y="1846134"/>
                  <a:pt x="1962785" y="1882963"/>
                  <a:pt x="1931670" y="1828988"/>
                </a:cubicBezTo>
                <a:close/>
                <a:moveTo>
                  <a:pt x="1978025" y="1777554"/>
                </a:moveTo>
                <a:cubicBezTo>
                  <a:pt x="1978660" y="1777554"/>
                  <a:pt x="1979295" y="1777554"/>
                  <a:pt x="1979930" y="1777554"/>
                </a:cubicBezTo>
                <a:cubicBezTo>
                  <a:pt x="1980565" y="1778824"/>
                  <a:pt x="1980565" y="1780729"/>
                  <a:pt x="1981835" y="1781999"/>
                </a:cubicBezTo>
                <a:cubicBezTo>
                  <a:pt x="1941195" y="1809938"/>
                  <a:pt x="2021205" y="1832799"/>
                  <a:pt x="2002155" y="1787713"/>
                </a:cubicBezTo>
                <a:cubicBezTo>
                  <a:pt x="2019300" y="1780729"/>
                  <a:pt x="2008505" y="1753424"/>
                  <a:pt x="1991360" y="1759138"/>
                </a:cubicBezTo>
                <a:cubicBezTo>
                  <a:pt x="1977390" y="1729294"/>
                  <a:pt x="1945640" y="1773744"/>
                  <a:pt x="1978025" y="1777554"/>
                </a:cubicBezTo>
                <a:close/>
                <a:moveTo>
                  <a:pt x="2045335" y="1713419"/>
                </a:moveTo>
                <a:cubicBezTo>
                  <a:pt x="2066925" y="1712784"/>
                  <a:pt x="2057400" y="1679129"/>
                  <a:pt x="2038350" y="1689924"/>
                </a:cubicBezTo>
                <a:cubicBezTo>
                  <a:pt x="2028190" y="1696274"/>
                  <a:pt x="2033270" y="1714054"/>
                  <a:pt x="2045335" y="1713419"/>
                </a:cubicBezTo>
                <a:close/>
                <a:moveTo>
                  <a:pt x="1990725" y="1745169"/>
                </a:moveTo>
                <a:cubicBezTo>
                  <a:pt x="2011680" y="1744534"/>
                  <a:pt x="2003425" y="1711513"/>
                  <a:pt x="1984375" y="1721674"/>
                </a:cubicBezTo>
                <a:cubicBezTo>
                  <a:pt x="1972945" y="1727388"/>
                  <a:pt x="1978025" y="1745804"/>
                  <a:pt x="1990725" y="1745169"/>
                </a:cubicBezTo>
                <a:close/>
                <a:moveTo>
                  <a:pt x="1934210" y="1774379"/>
                </a:moveTo>
                <a:cubicBezTo>
                  <a:pt x="1954530" y="1773744"/>
                  <a:pt x="1947545" y="1741994"/>
                  <a:pt x="1928495" y="1750249"/>
                </a:cubicBezTo>
                <a:cubicBezTo>
                  <a:pt x="1916430" y="1755329"/>
                  <a:pt x="1921510" y="1775013"/>
                  <a:pt x="1934210" y="1774379"/>
                </a:cubicBezTo>
                <a:close/>
                <a:moveTo>
                  <a:pt x="1791970" y="1868994"/>
                </a:moveTo>
                <a:cubicBezTo>
                  <a:pt x="1793240" y="1868994"/>
                  <a:pt x="1794510" y="1868994"/>
                  <a:pt x="1795145" y="1868359"/>
                </a:cubicBezTo>
                <a:cubicBezTo>
                  <a:pt x="1794510" y="1868359"/>
                  <a:pt x="1793875" y="1868994"/>
                  <a:pt x="1792605" y="1868994"/>
                </a:cubicBezTo>
                <a:cubicBezTo>
                  <a:pt x="1774190" y="1877249"/>
                  <a:pt x="1788160" y="1905824"/>
                  <a:pt x="1805940" y="1896934"/>
                </a:cubicBezTo>
                <a:cubicBezTo>
                  <a:pt x="1823085" y="1889313"/>
                  <a:pt x="1812290" y="1863913"/>
                  <a:pt x="1796415" y="1867724"/>
                </a:cubicBezTo>
                <a:cubicBezTo>
                  <a:pt x="1812290" y="1862644"/>
                  <a:pt x="1805305" y="1834069"/>
                  <a:pt x="1786255" y="1841054"/>
                </a:cubicBezTo>
                <a:cubicBezTo>
                  <a:pt x="1772920" y="1847404"/>
                  <a:pt x="1777365" y="1869629"/>
                  <a:pt x="1791970" y="1868994"/>
                </a:cubicBezTo>
                <a:close/>
                <a:moveTo>
                  <a:pt x="3213100" y="908874"/>
                </a:moveTo>
                <a:cubicBezTo>
                  <a:pt x="3249295" y="907604"/>
                  <a:pt x="3232150" y="851088"/>
                  <a:pt x="3201670" y="870138"/>
                </a:cubicBezTo>
                <a:cubicBezTo>
                  <a:pt x="3183890" y="880934"/>
                  <a:pt x="3192780" y="909509"/>
                  <a:pt x="3213100" y="908874"/>
                </a:cubicBezTo>
                <a:close/>
                <a:moveTo>
                  <a:pt x="3178175" y="1046034"/>
                </a:moveTo>
                <a:cubicBezTo>
                  <a:pt x="3208020" y="1045399"/>
                  <a:pt x="3196590" y="998409"/>
                  <a:pt x="3169285" y="1011744"/>
                </a:cubicBezTo>
                <a:cubicBezTo>
                  <a:pt x="3152775" y="1019363"/>
                  <a:pt x="3159125" y="1046669"/>
                  <a:pt x="3178175" y="1046034"/>
                </a:cubicBezTo>
                <a:close/>
                <a:moveTo>
                  <a:pt x="3250565" y="953324"/>
                </a:moveTo>
                <a:cubicBezTo>
                  <a:pt x="3283585" y="952688"/>
                  <a:pt x="3269615" y="900619"/>
                  <a:pt x="3240405" y="916494"/>
                </a:cubicBezTo>
                <a:cubicBezTo>
                  <a:pt x="3222625" y="926019"/>
                  <a:pt x="3230880" y="954594"/>
                  <a:pt x="3250565" y="953324"/>
                </a:cubicBezTo>
                <a:close/>
                <a:moveTo>
                  <a:pt x="3171190" y="999679"/>
                </a:moveTo>
                <a:cubicBezTo>
                  <a:pt x="3204210" y="999044"/>
                  <a:pt x="3189605" y="946974"/>
                  <a:pt x="3161030" y="962849"/>
                </a:cubicBezTo>
                <a:cubicBezTo>
                  <a:pt x="3143885" y="973009"/>
                  <a:pt x="3152140" y="1000949"/>
                  <a:pt x="3171190" y="999679"/>
                </a:cubicBezTo>
                <a:close/>
                <a:moveTo>
                  <a:pt x="3131820" y="837754"/>
                </a:moveTo>
                <a:cubicBezTo>
                  <a:pt x="3114675" y="849819"/>
                  <a:pt x="3124835" y="879029"/>
                  <a:pt x="3145790" y="878394"/>
                </a:cubicBezTo>
                <a:cubicBezTo>
                  <a:pt x="3185795" y="876488"/>
                  <a:pt x="3164840" y="814259"/>
                  <a:pt x="3131820" y="837754"/>
                </a:cubicBezTo>
                <a:close/>
                <a:moveTo>
                  <a:pt x="3215005" y="774888"/>
                </a:moveTo>
                <a:cubicBezTo>
                  <a:pt x="3190875" y="792034"/>
                  <a:pt x="3218815" y="828863"/>
                  <a:pt x="3241675" y="811084"/>
                </a:cubicBezTo>
                <a:lnTo>
                  <a:pt x="3241675" y="811084"/>
                </a:lnTo>
                <a:cubicBezTo>
                  <a:pt x="3265170" y="794574"/>
                  <a:pt x="3237865" y="757109"/>
                  <a:pt x="3215005" y="774888"/>
                </a:cubicBezTo>
                <a:close/>
                <a:moveTo>
                  <a:pt x="3101975" y="1086674"/>
                </a:moveTo>
                <a:cubicBezTo>
                  <a:pt x="3132455" y="1086038"/>
                  <a:pt x="3119755" y="1038413"/>
                  <a:pt x="3093085" y="1052384"/>
                </a:cubicBezTo>
                <a:cubicBezTo>
                  <a:pt x="3076575" y="1060638"/>
                  <a:pt x="3083560" y="1087309"/>
                  <a:pt x="3101975" y="1086674"/>
                </a:cubicBezTo>
                <a:close/>
                <a:moveTo>
                  <a:pt x="3093085" y="1047938"/>
                </a:moveTo>
                <a:cubicBezTo>
                  <a:pt x="3126105" y="1047304"/>
                  <a:pt x="3111500" y="994599"/>
                  <a:pt x="3082290" y="1011744"/>
                </a:cubicBezTo>
                <a:cubicBezTo>
                  <a:pt x="3065780" y="1021269"/>
                  <a:pt x="3074035" y="1048574"/>
                  <a:pt x="3093085" y="1047938"/>
                </a:cubicBezTo>
                <a:close/>
                <a:moveTo>
                  <a:pt x="3144520" y="959674"/>
                </a:moveTo>
                <a:cubicBezTo>
                  <a:pt x="3167380" y="944434"/>
                  <a:pt x="3142615" y="908874"/>
                  <a:pt x="3120390" y="924749"/>
                </a:cubicBezTo>
                <a:cubicBezTo>
                  <a:pt x="3097530" y="939988"/>
                  <a:pt x="3122295" y="975549"/>
                  <a:pt x="3144520" y="959674"/>
                </a:cubicBezTo>
                <a:close/>
                <a:moveTo>
                  <a:pt x="3202305" y="682179"/>
                </a:moveTo>
                <a:cubicBezTo>
                  <a:pt x="3178175" y="701863"/>
                  <a:pt x="3209290" y="739329"/>
                  <a:pt x="3232785" y="719009"/>
                </a:cubicBezTo>
                <a:cubicBezTo>
                  <a:pt x="3257550" y="699959"/>
                  <a:pt x="3226435" y="661859"/>
                  <a:pt x="3202305" y="682179"/>
                </a:cubicBezTo>
                <a:cubicBezTo>
                  <a:pt x="3202305" y="682179"/>
                  <a:pt x="3202305" y="682179"/>
                  <a:pt x="3202305" y="682179"/>
                </a:cubicBezTo>
                <a:close/>
                <a:moveTo>
                  <a:pt x="2968625" y="999679"/>
                </a:moveTo>
                <a:cubicBezTo>
                  <a:pt x="2987040" y="1022538"/>
                  <a:pt x="3022600" y="992694"/>
                  <a:pt x="3002915" y="970469"/>
                </a:cubicBezTo>
                <a:cubicBezTo>
                  <a:pt x="2984500" y="947609"/>
                  <a:pt x="2948940" y="977454"/>
                  <a:pt x="2968625" y="999679"/>
                </a:cubicBezTo>
                <a:close/>
                <a:moveTo>
                  <a:pt x="3019425" y="799019"/>
                </a:moveTo>
                <a:cubicBezTo>
                  <a:pt x="3041015" y="799654"/>
                  <a:pt x="3053715" y="770444"/>
                  <a:pt x="3037205" y="755204"/>
                </a:cubicBezTo>
                <a:cubicBezTo>
                  <a:pt x="3001645" y="724724"/>
                  <a:pt x="2972435" y="797113"/>
                  <a:pt x="3019425" y="799019"/>
                </a:cubicBezTo>
                <a:close/>
                <a:moveTo>
                  <a:pt x="2957195" y="899984"/>
                </a:moveTo>
                <a:cubicBezTo>
                  <a:pt x="2934335" y="920938"/>
                  <a:pt x="2967990" y="956499"/>
                  <a:pt x="2990215" y="934909"/>
                </a:cubicBezTo>
                <a:cubicBezTo>
                  <a:pt x="3013075" y="913319"/>
                  <a:pt x="2979420" y="877759"/>
                  <a:pt x="2957195" y="899984"/>
                </a:cubicBezTo>
                <a:cubicBezTo>
                  <a:pt x="2957195" y="899984"/>
                  <a:pt x="2957195" y="899984"/>
                  <a:pt x="2957195" y="899984"/>
                </a:cubicBezTo>
                <a:close/>
                <a:moveTo>
                  <a:pt x="2940685" y="882204"/>
                </a:moveTo>
                <a:cubicBezTo>
                  <a:pt x="2962910" y="882838"/>
                  <a:pt x="2974975" y="852994"/>
                  <a:pt x="2957830" y="838388"/>
                </a:cubicBezTo>
                <a:cubicBezTo>
                  <a:pt x="2922270" y="807909"/>
                  <a:pt x="2894330" y="880299"/>
                  <a:pt x="2940685" y="882204"/>
                </a:cubicBezTo>
                <a:close/>
                <a:moveTo>
                  <a:pt x="3035935" y="859344"/>
                </a:moveTo>
                <a:cubicBezTo>
                  <a:pt x="3056255" y="882838"/>
                  <a:pt x="3092450" y="849819"/>
                  <a:pt x="3071495" y="826959"/>
                </a:cubicBezTo>
                <a:cubicBezTo>
                  <a:pt x="3050540" y="803463"/>
                  <a:pt x="3014345" y="836484"/>
                  <a:pt x="3035935" y="859344"/>
                </a:cubicBezTo>
                <a:close/>
                <a:moveTo>
                  <a:pt x="3183255" y="639634"/>
                </a:moveTo>
                <a:cubicBezTo>
                  <a:pt x="3229610" y="637729"/>
                  <a:pt x="3202305" y="565338"/>
                  <a:pt x="3166110" y="595819"/>
                </a:cubicBezTo>
                <a:cubicBezTo>
                  <a:pt x="3148965" y="610424"/>
                  <a:pt x="3161030" y="640269"/>
                  <a:pt x="3183255" y="639634"/>
                </a:cubicBezTo>
                <a:close/>
                <a:moveTo>
                  <a:pt x="3116580" y="786319"/>
                </a:moveTo>
                <a:cubicBezTo>
                  <a:pt x="3136900" y="810449"/>
                  <a:pt x="3173730" y="778063"/>
                  <a:pt x="3152775" y="754569"/>
                </a:cubicBezTo>
                <a:cubicBezTo>
                  <a:pt x="3132455" y="731074"/>
                  <a:pt x="3095625" y="763459"/>
                  <a:pt x="3116580" y="786319"/>
                </a:cubicBezTo>
                <a:close/>
                <a:moveTo>
                  <a:pt x="3100070" y="718374"/>
                </a:moveTo>
                <a:cubicBezTo>
                  <a:pt x="3121660" y="719009"/>
                  <a:pt x="3134360" y="690434"/>
                  <a:pt x="3118485" y="675194"/>
                </a:cubicBezTo>
                <a:cubicBezTo>
                  <a:pt x="3082925" y="642809"/>
                  <a:pt x="3052445" y="715834"/>
                  <a:pt x="3100070" y="718374"/>
                </a:cubicBezTo>
                <a:close/>
                <a:moveTo>
                  <a:pt x="1534160" y="1982659"/>
                </a:moveTo>
                <a:cubicBezTo>
                  <a:pt x="1529080" y="1962974"/>
                  <a:pt x="1498600" y="1971229"/>
                  <a:pt x="1504315" y="1990279"/>
                </a:cubicBezTo>
                <a:cubicBezTo>
                  <a:pt x="1509395" y="2009963"/>
                  <a:pt x="1539875" y="2001709"/>
                  <a:pt x="1534160" y="1982659"/>
                </a:cubicBezTo>
                <a:close/>
                <a:moveTo>
                  <a:pt x="1376680" y="1955354"/>
                </a:moveTo>
                <a:cubicBezTo>
                  <a:pt x="1378585" y="1973769"/>
                  <a:pt x="1407160" y="1970594"/>
                  <a:pt x="1404620" y="1952813"/>
                </a:cubicBezTo>
                <a:cubicBezTo>
                  <a:pt x="1403350" y="1934399"/>
                  <a:pt x="1374775" y="1936938"/>
                  <a:pt x="1376680" y="1955354"/>
                </a:cubicBezTo>
                <a:close/>
                <a:moveTo>
                  <a:pt x="1408430" y="2121089"/>
                </a:moveTo>
                <a:cubicBezTo>
                  <a:pt x="1416050" y="2143949"/>
                  <a:pt x="1450975" y="2131249"/>
                  <a:pt x="1443355" y="2109024"/>
                </a:cubicBezTo>
                <a:cubicBezTo>
                  <a:pt x="1435735" y="2086163"/>
                  <a:pt x="1400175" y="2098864"/>
                  <a:pt x="1408430" y="2121089"/>
                </a:cubicBezTo>
                <a:close/>
                <a:moveTo>
                  <a:pt x="1391920" y="2072194"/>
                </a:moveTo>
                <a:cubicBezTo>
                  <a:pt x="1397000" y="2093784"/>
                  <a:pt x="1430655" y="2084259"/>
                  <a:pt x="1424305" y="2063304"/>
                </a:cubicBezTo>
                <a:cubicBezTo>
                  <a:pt x="1419225" y="2042349"/>
                  <a:pt x="1385570" y="2051238"/>
                  <a:pt x="1391920" y="2072194"/>
                </a:cubicBezTo>
                <a:close/>
                <a:moveTo>
                  <a:pt x="1381760" y="1902013"/>
                </a:moveTo>
                <a:cubicBezTo>
                  <a:pt x="1398270" y="1902013"/>
                  <a:pt x="1398270" y="1875979"/>
                  <a:pt x="1381760" y="1876613"/>
                </a:cubicBezTo>
                <a:cubicBezTo>
                  <a:pt x="1365250" y="1876613"/>
                  <a:pt x="1365250" y="1902013"/>
                  <a:pt x="1381760" y="1902013"/>
                </a:cubicBezTo>
                <a:close/>
                <a:moveTo>
                  <a:pt x="1445260" y="1899474"/>
                </a:moveTo>
                <a:cubicBezTo>
                  <a:pt x="1462405" y="1900109"/>
                  <a:pt x="1461770" y="1872804"/>
                  <a:pt x="1444625" y="1874074"/>
                </a:cubicBezTo>
                <a:cubicBezTo>
                  <a:pt x="1428750" y="1874709"/>
                  <a:pt x="1429385" y="1900109"/>
                  <a:pt x="1445260" y="1899474"/>
                </a:cubicBezTo>
                <a:close/>
                <a:moveTo>
                  <a:pt x="1372870" y="2033459"/>
                </a:moveTo>
                <a:cubicBezTo>
                  <a:pt x="1394460" y="2033459"/>
                  <a:pt x="1391920" y="1999169"/>
                  <a:pt x="1370330" y="2002344"/>
                </a:cubicBezTo>
                <a:cubicBezTo>
                  <a:pt x="1351915" y="2005519"/>
                  <a:pt x="1354455" y="2034094"/>
                  <a:pt x="1372870" y="2033459"/>
                </a:cubicBezTo>
                <a:close/>
                <a:moveTo>
                  <a:pt x="1446530" y="2019488"/>
                </a:moveTo>
                <a:cubicBezTo>
                  <a:pt x="1468755" y="2019488"/>
                  <a:pt x="1464945" y="1983929"/>
                  <a:pt x="1443355" y="1989009"/>
                </a:cubicBezTo>
                <a:cubicBezTo>
                  <a:pt x="1425575" y="1992184"/>
                  <a:pt x="1428750" y="2020124"/>
                  <a:pt x="1446530" y="2019488"/>
                </a:cubicBezTo>
                <a:close/>
                <a:moveTo>
                  <a:pt x="1445260" y="2154744"/>
                </a:moveTo>
                <a:cubicBezTo>
                  <a:pt x="1435735" y="2131249"/>
                  <a:pt x="1398270" y="2147124"/>
                  <a:pt x="1409065" y="2169984"/>
                </a:cubicBezTo>
                <a:cubicBezTo>
                  <a:pt x="1418590" y="2194114"/>
                  <a:pt x="1455420" y="2178239"/>
                  <a:pt x="1445260" y="2154744"/>
                </a:cubicBezTo>
                <a:close/>
                <a:moveTo>
                  <a:pt x="1402715" y="2195384"/>
                </a:moveTo>
                <a:cubicBezTo>
                  <a:pt x="1377950" y="2207449"/>
                  <a:pt x="1397635" y="2246184"/>
                  <a:pt x="1421765" y="2233484"/>
                </a:cubicBezTo>
                <a:cubicBezTo>
                  <a:pt x="1446530" y="2221419"/>
                  <a:pt x="1427480" y="2182684"/>
                  <a:pt x="1402715" y="2195384"/>
                </a:cubicBezTo>
                <a:close/>
                <a:moveTo>
                  <a:pt x="1725930" y="1900109"/>
                </a:moveTo>
                <a:cubicBezTo>
                  <a:pt x="1706880" y="1907729"/>
                  <a:pt x="1719580" y="1936938"/>
                  <a:pt x="1737995" y="1928684"/>
                </a:cubicBezTo>
                <a:cubicBezTo>
                  <a:pt x="1756410" y="1921063"/>
                  <a:pt x="1744345" y="1891854"/>
                  <a:pt x="1725930" y="1900109"/>
                </a:cubicBezTo>
                <a:close/>
                <a:moveTo>
                  <a:pt x="1318260" y="1902013"/>
                </a:moveTo>
                <a:cubicBezTo>
                  <a:pt x="1334770" y="1902649"/>
                  <a:pt x="1335405" y="1876613"/>
                  <a:pt x="1318895" y="1876613"/>
                </a:cubicBezTo>
                <a:cubicBezTo>
                  <a:pt x="1302385" y="1875979"/>
                  <a:pt x="1301750" y="1902013"/>
                  <a:pt x="1318260" y="1902013"/>
                </a:cubicBezTo>
                <a:close/>
                <a:moveTo>
                  <a:pt x="1256665" y="2147124"/>
                </a:moveTo>
                <a:cubicBezTo>
                  <a:pt x="1233170" y="2152839"/>
                  <a:pt x="1242695" y="2189034"/>
                  <a:pt x="1265555" y="2182684"/>
                </a:cubicBezTo>
                <a:cubicBezTo>
                  <a:pt x="1288415" y="2176969"/>
                  <a:pt x="1279525" y="2140774"/>
                  <a:pt x="1256665" y="2147124"/>
                </a:cubicBezTo>
                <a:close/>
                <a:moveTo>
                  <a:pt x="1299210" y="2044254"/>
                </a:moveTo>
                <a:cubicBezTo>
                  <a:pt x="1320800" y="2044254"/>
                  <a:pt x="1318895" y="2010599"/>
                  <a:pt x="1297305" y="2013138"/>
                </a:cubicBezTo>
                <a:cubicBezTo>
                  <a:pt x="1278255" y="2015044"/>
                  <a:pt x="1280160" y="2044254"/>
                  <a:pt x="1299210" y="2044254"/>
                </a:cubicBezTo>
                <a:close/>
                <a:moveTo>
                  <a:pt x="1326515" y="2147124"/>
                </a:moveTo>
                <a:cubicBezTo>
                  <a:pt x="1333500" y="2169984"/>
                  <a:pt x="1369060" y="2159189"/>
                  <a:pt x="1361440" y="2136329"/>
                </a:cubicBezTo>
                <a:cubicBezTo>
                  <a:pt x="1355090" y="2113469"/>
                  <a:pt x="1318895" y="2124264"/>
                  <a:pt x="1326515" y="2147124"/>
                </a:cubicBezTo>
                <a:close/>
                <a:moveTo>
                  <a:pt x="1274445" y="2221419"/>
                </a:moveTo>
                <a:cubicBezTo>
                  <a:pt x="1266825" y="2197289"/>
                  <a:pt x="1228725" y="2209989"/>
                  <a:pt x="1236980" y="2234119"/>
                </a:cubicBezTo>
                <a:cubicBezTo>
                  <a:pt x="1244600" y="2258249"/>
                  <a:pt x="1282700" y="2245549"/>
                  <a:pt x="1274445" y="2221419"/>
                </a:cubicBezTo>
                <a:close/>
                <a:moveTo>
                  <a:pt x="1315720" y="2236659"/>
                </a:moveTo>
                <a:cubicBezTo>
                  <a:pt x="1290320" y="2247454"/>
                  <a:pt x="1308100" y="2286824"/>
                  <a:pt x="1332865" y="2275394"/>
                </a:cubicBezTo>
                <a:cubicBezTo>
                  <a:pt x="1358265" y="2263964"/>
                  <a:pt x="1340485" y="2224594"/>
                  <a:pt x="1315720" y="2236659"/>
                </a:cubicBezTo>
                <a:close/>
                <a:moveTo>
                  <a:pt x="1445260" y="1947099"/>
                </a:moveTo>
                <a:cubicBezTo>
                  <a:pt x="1446530" y="1954719"/>
                  <a:pt x="1453515" y="1960434"/>
                  <a:pt x="1461135" y="1959163"/>
                </a:cubicBezTo>
                <a:lnTo>
                  <a:pt x="1461135" y="1959163"/>
                </a:lnTo>
                <a:cubicBezTo>
                  <a:pt x="1496695" y="1947734"/>
                  <a:pt x="1446530" y="1910269"/>
                  <a:pt x="1445260" y="1947099"/>
                </a:cubicBezTo>
                <a:close/>
                <a:moveTo>
                  <a:pt x="1307465" y="1959799"/>
                </a:moveTo>
                <a:cubicBezTo>
                  <a:pt x="1308100" y="1978213"/>
                  <a:pt x="1336675" y="1976309"/>
                  <a:pt x="1335405" y="1957894"/>
                </a:cubicBezTo>
                <a:cubicBezTo>
                  <a:pt x="1334770" y="1940113"/>
                  <a:pt x="1306195" y="1941384"/>
                  <a:pt x="1307465" y="1959799"/>
                </a:cubicBezTo>
                <a:close/>
                <a:moveTo>
                  <a:pt x="1325880" y="2070288"/>
                </a:moveTo>
                <a:cubicBezTo>
                  <a:pt x="1304290" y="2074734"/>
                  <a:pt x="1311910" y="2108389"/>
                  <a:pt x="1332865" y="2103309"/>
                </a:cubicBezTo>
                <a:cubicBezTo>
                  <a:pt x="1355090" y="2099499"/>
                  <a:pt x="1347470" y="2065209"/>
                  <a:pt x="1325880" y="2070288"/>
                </a:cubicBezTo>
                <a:close/>
                <a:moveTo>
                  <a:pt x="1360170" y="2189669"/>
                </a:moveTo>
                <a:cubicBezTo>
                  <a:pt x="1351280" y="2165539"/>
                  <a:pt x="1313815" y="2180144"/>
                  <a:pt x="1323340" y="2203639"/>
                </a:cubicBezTo>
                <a:cubicBezTo>
                  <a:pt x="1332230" y="2227769"/>
                  <a:pt x="1369695" y="2213799"/>
                  <a:pt x="1360170" y="2189669"/>
                </a:cubicBezTo>
                <a:close/>
                <a:moveTo>
                  <a:pt x="1633855" y="1875344"/>
                </a:moveTo>
                <a:cubicBezTo>
                  <a:pt x="1652270" y="1875344"/>
                  <a:pt x="1649095" y="1846769"/>
                  <a:pt x="1631315" y="1849944"/>
                </a:cubicBezTo>
                <a:cubicBezTo>
                  <a:pt x="1616710" y="1852484"/>
                  <a:pt x="1619250" y="1875344"/>
                  <a:pt x="1633855" y="1875344"/>
                </a:cubicBezTo>
                <a:close/>
                <a:moveTo>
                  <a:pt x="1571625" y="1886138"/>
                </a:moveTo>
                <a:cubicBezTo>
                  <a:pt x="1589405" y="1886138"/>
                  <a:pt x="1587500" y="1858199"/>
                  <a:pt x="1569720" y="1860738"/>
                </a:cubicBezTo>
                <a:cubicBezTo>
                  <a:pt x="1554480" y="1862644"/>
                  <a:pt x="1556385" y="1886774"/>
                  <a:pt x="1571625" y="1886138"/>
                </a:cubicBezTo>
                <a:close/>
                <a:moveTo>
                  <a:pt x="7406640" y="2173159"/>
                </a:moveTo>
                <a:cubicBezTo>
                  <a:pt x="7419340" y="2150934"/>
                  <a:pt x="7384415" y="2131249"/>
                  <a:pt x="7372350" y="2153474"/>
                </a:cubicBezTo>
                <a:cubicBezTo>
                  <a:pt x="7359650" y="2175699"/>
                  <a:pt x="7393940" y="2195384"/>
                  <a:pt x="7406640" y="2173159"/>
                </a:cubicBezTo>
                <a:close/>
                <a:moveTo>
                  <a:pt x="1586865" y="1950909"/>
                </a:moveTo>
                <a:cubicBezTo>
                  <a:pt x="1567180" y="1956624"/>
                  <a:pt x="1577340" y="1987104"/>
                  <a:pt x="1596390" y="1980754"/>
                </a:cubicBezTo>
                <a:cubicBezTo>
                  <a:pt x="1615440" y="1975038"/>
                  <a:pt x="1605915" y="1944559"/>
                  <a:pt x="1586865" y="1950909"/>
                </a:cubicBezTo>
                <a:close/>
                <a:moveTo>
                  <a:pt x="1581150" y="1922334"/>
                </a:moveTo>
                <a:cubicBezTo>
                  <a:pt x="1585595" y="1940113"/>
                  <a:pt x="1612900" y="1933129"/>
                  <a:pt x="1608455" y="1915349"/>
                </a:cubicBezTo>
                <a:cubicBezTo>
                  <a:pt x="1604645" y="1897569"/>
                  <a:pt x="1576705" y="1904554"/>
                  <a:pt x="1581150" y="1922334"/>
                </a:cubicBezTo>
                <a:close/>
                <a:moveTo>
                  <a:pt x="1696085" y="1860738"/>
                </a:moveTo>
                <a:cubicBezTo>
                  <a:pt x="1714500" y="1860738"/>
                  <a:pt x="1710690" y="1830894"/>
                  <a:pt x="1692910" y="1835974"/>
                </a:cubicBezTo>
                <a:cubicBezTo>
                  <a:pt x="1678305" y="1839149"/>
                  <a:pt x="1681480" y="1861374"/>
                  <a:pt x="1696085" y="1860738"/>
                </a:cubicBezTo>
                <a:close/>
                <a:moveTo>
                  <a:pt x="1483360" y="2240469"/>
                </a:moveTo>
                <a:cubicBezTo>
                  <a:pt x="1508760" y="2225864"/>
                  <a:pt x="1485265" y="2186494"/>
                  <a:pt x="1460500" y="2201734"/>
                </a:cubicBezTo>
                <a:cubicBezTo>
                  <a:pt x="1435100" y="2216339"/>
                  <a:pt x="1458595" y="2255709"/>
                  <a:pt x="1483360" y="2240469"/>
                </a:cubicBezTo>
                <a:close/>
                <a:moveTo>
                  <a:pt x="1667510" y="1955988"/>
                </a:moveTo>
                <a:cubicBezTo>
                  <a:pt x="1686560" y="1949638"/>
                  <a:pt x="1675765" y="1919794"/>
                  <a:pt x="1656715" y="1926779"/>
                </a:cubicBezTo>
                <a:cubicBezTo>
                  <a:pt x="1637665" y="1933763"/>
                  <a:pt x="1649095" y="1963609"/>
                  <a:pt x="1667510" y="1955988"/>
                </a:cubicBezTo>
                <a:close/>
                <a:moveTo>
                  <a:pt x="1661795" y="1914713"/>
                </a:moveTo>
                <a:cubicBezTo>
                  <a:pt x="1682750" y="1914713"/>
                  <a:pt x="1677670" y="1881059"/>
                  <a:pt x="1657985" y="1887409"/>
                </a:cubicBezTo>
                <a:cubicBezTo>
                  <a:pt x="1642110" y="1891219"/>
                  <a:pt x="1645920" y="1915349"/>
                  <a:pt x="1661795" y="1914713"/>
                </a:cubicBezTo>
                <a:close/>
                <a:moveTo>
                  <a:pt x="1727200" y="1893759"/>
                </a:moveTo>
                <a:cubicBezTo>
                  <a:pt x="1748790" y="1893759"/>
                  <a:pt x="1743075" y="1859469"/>
                  <a:pt x="1722755" y="1866454"/>
                </a:cubicBezTo>
                <a:cubicBezTo>
                  <a:pt x="1708150" y="1870899"/>
                  <a:pt x="1711960" y="1894394"/>
                  <a:pt x="1727200" y="1893759"/>
                </a:cubicBezTo>
                <a:close/>
                <a:moveTo>
                  <a:pt x="3079115" y="936813"/>
                </a:moveTo>
                <a:cubicBezTo>
                  <a:pt x="3101975" y="919034"/>
                  <a:pt x="3073400" y="882838"/>
                  <a:pt x="3050540" y="901888"/>
                </a:cubicBezTo>
                <a:cubicBezTo>
                  <a:pt x="3027680" y="919669"/>
                  <a:pt x="3056890" y="955863"/>
                  <a:pt x="3079115" y="936813"/>
                </a:cubicBezTo>
                <a:close/>
                <a:moveTo>
                  <a:pt x="1508760" y="1894394"/>
                </a:moveTo>
                <a:cubicBezTo>
                  <a:pt x="1525905" y="1894394"/>
                  <a:pt x="1524635" y="1867088"/>
                  <a:pt x="1507490" y="1868994"/>
                </a:cubicBezTo>
                <a:cubicBezTo>
                  <a:pt x="1491615" y="1870263"/>
                  <a:pt x="1492885" y="1894394"/>
                  <a:pt x="1508760" y="1894394"/>
                </a:cubicBezTo>
                <a:close/>
                <a:moveTo>
                  <a:pt x="1499235" y="2067113"/>
                </a:moveTo>
                <a:cubicBezTo>
                  <a:pt x="1480820" y="2074099"/>
                  <a:pt x="1486535" y="2103309"/>
                  <a:pt x="1506220" y="2102674"/>
                </a:cubicBezTo>
                <a:cubicBezTo>
                  <a:pt x="1534795" y="2102674"/>
                  <a:pt x="1525905" y="2056954"/>
                  <a:pt x="1499235" y="2067113"/>
                </a:cubicBezTo>
                <a:close/>
                <a:moveTo>
                  <a:pt x="1468755" y="2050604"/>
                </a:moveTo>
                <a:cubicBezTo>
                  <a:pt x="1475105" y="2071559"/>
                  <a:pt x="1508125" y="2061399"/>
                  <a:pt x="1501140" y="2040444"/>
                </a:cubicBezTo>
                <a:cubicBezTo>
                  <a:pt x="1495425" y="2019488"/>
                  <a:pt x="1462405" y="2030284"/>
                  <a:pt x="1468755" y="2050604"/>
                </a:cubicBezTo>
                <a:close/>
                <a:moveTo>
                  <a:pt x="1540510" y="2178874"/>
                </a:moveTo>
                <a:cubicBezTo>
                  <a:pt x="1555750" y="2203639"/>
                  <a:pt x="1594485" y="2178874"/>
                  <a:pt x="1578610" y="2154744"/>
                </a:cubicBezTo>
                <a:cubicBezTo>
                  <a:pt x="1563370" y="2129979"/>
                  <a:pt x="1524635" y="2154744"/>
                  <a:pt x="1540510" y="2178874"/>
                </a:cubicBezTo>
                <a:close/>
                <a:moveTo>
                  <a:pt x="1561465" y="2036634"/>
                </a:moveTo>
                <a:cubicBezTo>
                  <a:pt x="1587500" y="2036634"/>
                  <a:pt x="1579880" y="1994724"/>
                  <a:pt x="1555750" y="2003613"/>
                </a:cubicBezTo>
                <a:cubicBezTo>
                  <a:pt x="1537970" y="2009963"/>
                  <a:pt x="1543050" y="2037269"/>
                  <a:pt x="1561465" y="2036634"/>
                </a:cubicBezTo>
                <a:close/>
                <a:moveTo>
                  <a:pt x="1513840" y="1936304"/>
                </a:moveTo>
                <a:cubicBezTo>
                  <a:pt x="1517015" y="1954719"/>
                  <a:pt x="1545590" y="1949004"/>
                  <a:pt x="1541780" y="1931224"/>
                </a:cubicBezTo>
                <a:cubicBezTo>
                  <a:pt x="1537970" y="1912809"/>
                  <a:pt x="1510030" y="1918524"/>
                  <a:pt x="1513840" y="1936304"/>
                </a:cubicBezTo>
                <a:close/>
                <a:moveTo>
                  <a:pt x="1528445" y="2116009"/>
                </a:moveTo>
                <a:cubicBezTo>
                  <a:pt x="1517650" y="2092513"/>
                  <a:pt x="1481455" y="2110294"/>
                  <a:pt x="1492885" y="2133154"/>
                </a:cubicBezTo>
                <a:cubicBezTo>
                  <a:pt x="1503680" y="2156649"/>
                  <a:pt x="1539875" y="2138869"/>
                  <a:pt x="1528445" y="2116009"/>
                </a:cubicBezTo>
                <a:close/>
                <a:moveTo>
                  <a:pt x="4215765" y="677099"/>
                </a:moveTo>
                <a:cubicBezTo>
                  <a:pt x="4218305" y="700594"/>
                  <a:pt x="4255135" y="696149"/>
                  <a:pt x="4251960" y="672654"/>
                </a:cubicBezTo>
                <a:cubicBezTo>
                  <a:pt x="4249420" y="648524"/>
                  <a:pt x="4212590" y="653604"/>
                  <a:pt x="4215765" y="677099"/>
                </a:cubicBezTo>
                <a:close/>
                <a:moveTo>
                  <a:pt x="4094480" y="478344"/>
                </a:moveTo>
                <a:cubicBezTo>
                  <a:pt x="4067175" y="482788"/>
                  <a:pt x="4075430" y="525334"/>
                  <a:pt x="4102100" y="519619"/>
                </a:cubicBezTo>
                <a:cubicBezTo>
                  <a:pt x="4129405" y="515174"/>
                  <a:pt x="4121150" y="472629"/>
                  <a:pt x="4094480" y="478344"/>
                </a:cubicBezTo>
                <a:close/>
                <a:moveTo>
                  <a:pt x="4086860" y="198308"/>
                </a:moveTo>
                <a:cubicBezTo>
                  <a:pt x="4120515" y="198944"/>
                  <a:pt x="4119245" y="145604"/>
                  <a:pt x="4085590" y="147508"/>
                </a:cubicBezTo>
                <a:cubicBezTo>
                  <a:pt x="4053205" y="148144"/>
                  <a:pt x="4054475" y="198944"/>
                  <a:pt x="4086860" y="198308"/>
                </a:cubicBezTo>
                <a:close/>
                <a:moveTo>
                  <a:pt x="4131310" y="773619"/>
                </a:moveTo>
                <a:cubicBezTo>
                  <a:pt x="4133850" y="795209"/>
                  <a:pt x="4168140" y="790763"/>
                  <a:pt x="4164965" y="768538"/>
                </a:cubicBezTo>
                <a:cubicBezTo>
                  <a:pt x="4162425" y="746949"/>
                  <a:pt x="4128135" y="752029"/>
                  <a:pt x="4131310" y="773619"/>
                </a:cubicBezTo>
                <a:close/>
                <a:moveTo>
                  <a:pt x="4084955" y="305624"/>
                </a:moveTo>
                <a:cubicBezTo>
                  <a:pt x="4117975" y="305624"/>
                  <a:pt x="4114800" y="253554"/>
                  <a:pt x="4082415" y="257999"/>
                </a:cubicBezTo>
                <a:cubicBezTo>
                  <a:pt x="4053205" y="260538"/>
                  <a:pt x="4056380" y="306258"/>
                  <a:pt x="4084955" y="305624"/>
                </a:cubicBezTo>
                <a:close/>
                <a:moveTo>
                  <a:pt x="4193540" y="298004"/>
                </a:moveTo>
                <a:cubicBezTo>
                  <a:pt x="4225290" y="298004"/>
                  <a:pt x="4224655" y="248474"/>
                  <a:pt x="4192905" y="249744"/>
                </a:cubicBezTo>
                <a:cubicBezTo>
                  <a:pt x="4161790" y="250379"/>
                  <a:pt x="4163060" y="298638"/>
                  <a:pt x="4193540" y="298004"/>
                </a:cubicBezTo>
                <a:close/>
                <a:moveTo>
                  <a:pt x="4057015" y="420558"/>
                </a:moveTo>
                <a:cubicBezTo>
                  <a:pt x="4088765" y="420558"/>
                  <a:pt x="4084320" y="369758"/>
                  <a:pt x="4052570" y="376108"/>
                </a:cubicBezTo>
                <a:cubicBezTo>
                  <a:pt x="4026535" y="379919"/>
                  <a:pt x="4030980" y="421194"/>
                  <a:pt x="4057015" y="420558"/>
                </a:cubicBezTo>
                <a:close/>
                <a:moveTo>
                  <a:pt x="4149090" y="705038"/>
                </a:moveTo>
                <a:cubicBezTo>
                  <a:pt x="4175125" y="705038"/>
                  <a:pt x="4171315" y="664399"/>
                  <a:pt x="4146550" y="668844"/>
                </a:cubicBezTo>
                <a:cubicBezTo>
                  <a:pt x="4124325" y="671384"/>
                  <a:pt x="4126865" y="705674"/>
                  <a:pt x="4149090" y="705038"/>
                </a:cubicBezTo>
                <a:close/>
                <a:moveTo>
                  <a:pt x="4199255" y="199579"/>
                </a:moveTo>
                <a:cubicBezTo>
                  <a:pt x="4232275" y="202119"/>
                  <a:pt x="4235450" y="150683"/>
                  <a:pt x="4202430" y="148779"/>
                </a:cubicBezTo>
                <a:cubicBezTo>
                  <a:pt x="4170045" y="146238"/>
                  <a:pt x="4166235" y="197674"/>
                  <a:pt x="4199255" y="199579"/>
                </a:cubicBezTo>
                <a:close/>
                <a:moveTo>
                  <a:pt x="4159250" y="404683"/>
                </a:moveTo>
                <a:cubicBezTo>
                  <a:pt x="4190365" y="405319"/>
                  <a:pt x="4187190" y="355788"/>
                  <a:pt x="4156710" y="359599"/>
                </a:cubicBezTo>
                <a:cubicBezTo>
                  <a:pt x="4128770" y="362774"/>
                  <a:pt x="4131310" y="405954"/>
                  <a:pt x="4159250" y="404683"/>
                </a:cubicBezTo>
                <a:close/>
                <a:moveTo>
                  <a:pt x="3891915" y="722819"/>
                </a:moveTo>
                <a:cubicBezTo>
                  <a:pt x="3868420" y="728534"/>
                  <a:pt x="3878580" y="764729"/>
                  <a:pt x="3901440" y="758379"/>
                </a:cubicBezTo>
                <a:cubicBezTo>
                  <a:pt x="3924300" y="752663"/>
                  <a:pt x="3914775" y="716469"/>
                  <a:pt x="3891915" y="722819"/>
                </a:cubicBezTo>
                <a:close/>
                <a:moveTo>
                  <a:pt x="3973195" y="209104"/>
                </a:moveTo>
                <a:cubicBezTo>
                  <a:pt x="4008755" y="209104"/>
                  <a:pt x="4004310" y="153224"/>
                  <a:pt x="3969385" y="158938"/>
                </a:cubicBezTo>
                <a:cubicBezTo>
                  <a:pt x="3938905" y="162113"/>
                  <a:pt x="3942715" y="209738"/>
                  <a:pt x="3973195" y="209104"/>
                </a:cubicBezTo>
                <a:close/>
                <a:moveTo>
                  <a:pt x="3927475" y="661859"/>
                </a:moveTo>
                <a:cubicBezTo>
                  <a:pt x="3952240" y="655509"/>
                  <a:pt x="3941445" y="616774"/>
                  <a:pt x="3916680" y="623759"/>
                </a:cubicBezTo>
                <a:cubicBezTo>
                  <a:pt x="3891915" y="630744"/>
                  <a:pt x="3903345" y="669479"/>
                  <a:pt x="3927475" y="661859"/>
                </a:cubicBezTo>
                <a:close/>
                <a:moveTo>
                  <a:pt x="3889375" y="550734"/>
                </a:moveTo>
                <a:cubicBezTo>
                  <a:pt x="3914140" y="600263"/>
                  <a:pt x="3958590" y="517713"/>
                  <a:pt x="3903345" y="524699"/>
                </a:cubicBezTo>
                <a:cubicBezTo>
                  <a:pt x="3891915" y="527874"/>
                  <a:pt x="3885565" y="539938"/>
                  <a:pt x="3889375" y="550734"/>
                </a:cubicBezTo>
                <a:close/>
                <a:moveTo>
                  <a:pt x="4060825" y="684084"/>
                </a:moveTo>
                <a:cubicBezTo>
                  <a:pt x="4037330" y="688529"/>
                  <a:pt x="4044950" y="724724"/>
                  <a:pt x="4067810" y="720279"/>
                </a:cubicBezTo>
                <a:cubicBezTo>
                  <a:pt x="4091305" y="715834"/>
                  <a:pt x="4083685" y="679004"/>
                  <a:pt x="4060825" y="684084"/>
                </a:cubicBezTo>
                <a:close/>
                <a:moveTo>
                  <a:pt x="4191635" y="463104"/>
                </a:moveTo>
                <a:cubicBezTo>
                  <a:pt x="4164330" y="466279"/>
                  <a:pt x="4170045" y="508824"/>
                  <a:pt x="4196715" y="505013"/>
                </a:cubicBezTo>
                <a:cubicBezTo>
                  <a:pt x="4224020" y="501838"/>
                  <a:pt x="4218940" y="459294"/>
                  <a:pt x="4191635" y="463104"/>
                </a:cubicBezTo>
                <a:close/>
                <a:moveTo>
                  <a:pt x="3986530" y="781238"/>
                </a:moveTo>
                <a:cubicBezTo>
                  <a:pt x="3964940" y="785049"/>
                  <a:pt x="3971925" y="819338"/>
                  <a:pt x="3992880" y="814259"/>
                </a:cubicBezTo>
                <a:cubicBezTo>
                  <a:pt x="4015105" y="811084"/>
                  <a:pt x="4008120" y="776794"/>
                  <a:pt x="3986530" y="781238"/>
                </a:cubicBezTo>
                <a:close/>
                <a:moveTo>
                  <a:pt x="4006850" y="600899"/>
                </a:moveTo>
                <a:cubicBezTo>
                  <a:pt x="3981450" y="606613"/>
                  <a:pt x="3990975" y="645349"/>
                  <a:pt x="4015740" y="639634"/>
                </a:cubicBezTo>
                <a:cubicBezTo>
                  <a:pt x="4040505" y="633919"/>
                  <a:pt x="4031615" y="594549"/>
                  <a:pt x="4006850" y="600899"/>
                </a:cubicBezTo>
                <a:close/>
                <a:moveTo>
                  <a:pt x="3982720" y="524063"/>
                </a:moveTo>
                <a:cubicBezTo>
                  <a:pt x="3989070" y="550734"/>
                  <a:pt x="4030980" y="540574"/>
                  <a:pt x="4023995" y="513904"/>
                </a:cubicBezTo>
                <a:cubicBezTo>
                  <a:pt x="4017645" y="487869"/>
                  <a:pt x="3975735" y="498029"/>
                  <a:pt x="3982720" y="524063"/>
                </a:cubicBezTo>
                <a:close/>
                <a:moveTo>
                  <a:pt x="3973195" y="275779"/>
                </a:moveTo>
                <a:cubicBezTo>
                  <a:pt x="3942715" y="281494"/>
                  <a:pt x="3952875" y="329754"/>
                  <a:pt x="3983355" y="322769"/>
                </a:cubicBezTo>
                <a:cubicBezTo>
                  <a:pt x="4013835" y="317054"/>
                  <a:pt x="4003675" y="268794"/>
                  <a:pt x="3973195" y="275779"/>
                </a:cubicBezTo>
                <a:close/>
                <a:moveTo>
                  <a:pt x="3957320" y="442783"/>
                </a:moveTo>
                <a:cubicBezTo>
                  <a:pt x="3990340" y="442783"/>
                  <a:pt x="3983990" y="390079"/>
                  <a:pt x="3951605" y="398333"/>
                </a:cubicBezTo>
                <a:cubicBezTo>
                  <a:pt x="3926205" y="404683"/>
                  <a:pt x="3931285" y="443419"/>
                  <a:pt x="3957320" y="442783"/>
                </a:cubicBezTo>
                <a:close/>
                <a:moveTo>
                  <a:pt x="4353560" y="569149"/>
                </a:moveTo>
                <a:cubicBezTo>
                  <a:pt x="4354830" y="594549"/>
                  <a:pt x="4394835" y="592644"/>
                  <a:pt x="4392930" y="567244"/>
                </a:cubicBezTo>
                <a:cubicBezTo>
                  <a:pt x="4392295" y="541209"/>
                  <a:pt x="4351655" y="543749"/>
                  <a:pt x="4353560" y="569149"/>
                </a:cubicBezTo>
                <a:close/>
                <a:moveTo>
                  <a:pt x="4406265" y="310704"/>
                </a:moveTo>
                <a:cubicBezTo>
                  <a:pt x="4436745" y="315783"/>
                  <a:pt x="4444365" y="267524"/>
                  <a:pt x="4413250" y="263079"/>
                </a:cubicBezTo>
                <a:cubicBezTo>
                  <a:pt x="4382770" y="258633"/>
                  <a:pt x="4375785" y="306894"/>
                  <a:pt x="4406265" y="310704"/>
                </a:cubicBezTo>
                <a:close/>
                <a:moveTo>
                  <a:pt x="4388485" y="492313"/>
                </a:moveTo>
                <a:cubicBezTo>
                  <a:pt x="4415790" y="492949"/>
                  <a:pt x="4415790" y="449133"/>
                  <a:pt x="4388485" y="449769"/>
                </a:cubicBezTo>
                <a:cubicBezTo>
                  <a:pt x="4360545" y="449769"/>
                  <a:pt x="4361180" y="492949"/>
                  <a:pt x="4388485" y="492313"/>
                </a:cubicBezTo>
                <a:close/>
                <a:moveTo>
                  <a:pt x="4404995" y="677734"/>
                </a:moveTo>
                <a:cubicBezTo>
                  <a:pt x="4429760" y="677734"/>
                  <a:pt x="4428490" y="639634"/>
                  <a:pt x="4404360" y="640904"/>
                </a:cubicBezTo>
                <a:cubicBezTo>
                  <a:pt x="4380865" y="642174"/>
                  <a:pt x="4381500" y="678369"/>
                  <a:pt x="4404995" y="677734"/>
                </a:cubicBezTo>
                <a:close/>
                <a:moveTo>
                  <a:pt x="4363720" y="397063"/>
                </a:moveTo>
                <a:cubicBezTo>
                  <a:pt x="4392930" y="398333"/>
                  <a:pt x="4394200" y="352613"/>
                  <a:pt x="4364990" y="351979"/>
                </a:cubicBezTo>
                <a:cubicBezTo>
                  <a:pt x="4335780" y="350074"/>
                  <a:pt x="4334510" y="396429"/>
                  <a:pt x="4363720" y="397063"/>
                </a:cubicBezTo>
                <a:close/>
                <a:moveTo>
                  <a:pt x="4614545" y="358329"/>
                </a:moveTo>
                <a:cubicBezTo>
                  <a:pt x="4643755" y="367854"/>
                  <a:pt x="4658995" y="321499"/>
                  <a:pt x="4628515" y="312608"/>
                </a:cubicBezTo>
                <a:cubicBezTo>
                  <a:pt x="4598670" y="303083"/>
                  <a:pt x="4584700" y="350074"/>
                  <a:pt x="4614545" y="358329"/>
                </a:cubicBezTo>
                <a:close/>
                <a:moveTo>
                  <a:pt x="4546600" y="391983"/>
                </a:moveTo>
                <a:cubicBezTo>
                  <a:pt x="4540885" y="420558"/>
                  <a:pt x="4586605" y="428813"/>
                  <a:pt x="4591050" y="399604"/>
                </a:cubicBezTo>
                <a:cubicBezTo>
                  <a:pt x="4596765" y="371029"/>
                  <a:pt x="4551680" y="362774"/>
                  <a:pt x="4546600" y="391983"/>
                </a:cubicBezTo>
                <a:close/>
                <a:moveTo>
                  <a:pt x="4526915" y="269429"/>
                </a:moveTo>
                <a:cubicBezTo>
                  <a:pt x="4557395" y="280858"/>
                  <a:pt x="4575175" y="231963"/>
                  <a:pt x="4544060" y="221804"/>
                </a:cubicBezTo>
                <a:cubicBezTo>
                  <a:pt x="4512310" y="210374"/>
                  <a:pt x="4495165" y="259269"/>
                  <a:pt x="4526915" y="269429"/>
                </a:cubicBezTo>
                <a:close/>
                <a:moveTo>
                  <a:pt x="4537075" y="566609"/>
                </a:moveTo>
                <a:cubicBezTo>
                  <a:pt x="4535805" y="592009"/>
                  <a:pt x="4575810" y="593913"/>
                  <a:pt x="4576445" y="568513"/>
                </a:cubicBezTo>
                <a:cubicBezTo>
                  <a:pt x="4577715" y="542479"/>
                  <a:pt x="4537710" y="541209"/>
                  <a:pt x="4537075" y="566609"/>
                </a:cubicBezTo>
                <a:close/>
                <a:moveTo>
                  <a:pt x="4337685" y="663763"/>
                </a:moveTo>
                <a:cubicBezTo>
                  <a:pt x="4335780" y="640269"/>
                  <a:pt x="4298950" y="643444"/>
                  <a:pt x="4300855" y="666938"/>
                </a:cubicBezTo>
                <a:cubicBezTo>
                  <a:pt x="4302760" y="691069"/>
                  <a:pt x="4340225" y="687259"/>
                  <a:pt x="4337685" y="663763"/>
                </a:cubicBezTo>
                <a:close/>
                <a:moveTo>
                  <a:pt x="4300220" y="299908"/>
                </a:moveTo>
                <a:cubicBezTo>
                  <a:pt x="4331335" y="302449"/>
                  <a:pt x="4334510" y="253554"/>
                  <a:pt x="4303395" y="252283"/>
                </a:cubicBezTo>
                <a:cubicBezTo>
                  <a:pt x="4272280" y="249744"/>
                  <a:pt x="4269740" y="298638"/>
                  <a:pt x="4300220" y="299908"/>
                </a:cubicBezTo>
                <a:close/>
                <a:moveTo>
                  <a:pt x="4227830" y="778063"/>
                </a:moveTo>
                <a:cubicBezTo>
                  <a:pt x="4251325" y="778063"/>
                  <a:pt x="4248785" y="741234"/>
                  <a:pt x="4225925" y="744409"/>
                </a:cubicBezTo>
                <a:cubicBezTo>
                  <a:pt x="4205605" y="746313"/>
                  <a:pt x="4207510" y="778063"/>
                  <a:pt x="4227830" y="778063"/>
                </a:cubicBezTo>
                <a:close/>
                <a:moveTo>
                  <a:pt x="4261485" y="397063"/>
                </a:moveTo>
                <a:cubicBezTo>
                  <a:pt x="4291330" y="397699"/>
                  <a:pt x="4290695" y="350074"/>
                  <a:pt x="4260850" y="351979"/>
                </a:cubicBezTo>
                <a:cubicBezTo>
                  <a:pt x="4231640" y="352613"/>
                  <a:pt x="4232910" y="397699"/>
                  <a:pt x="4261485" y="397063"/>
                </a:cubicBezTo>
                <a:close/>
                <a:moveTo>
                  <a:pt x="4631055" y="310704"/>
                </a:moveTo>
                <a:cubicBezTo>
                  <a:pt x="4660900" y="324674"/>
                  <a:pt x="4681855" y="277049"/>
                  <a:pt x="4651375" y="264349"/>
                </a:cubicBezTo>
                <a:cubicBezTo>
                  <a:pt x="4621530" y="250379"/>
                  <a:pt x="4600575" y="298004"/>
                  <a:pt x="4631055" y="310704"/>
                </a:cubicBezTo>
                <a:close/>
                <a:moveTo>
                  <a:pt x="4310380" y="212279"/>
                </a:moveTo>
                <a:cubicBezTo>
                  <a:pt x="4342765" y="218629"/>
                  <a:pt x="4351655" y="167194"/>
                  <a:pt x="4318635" y="162113"/>
                </a:cubicBezTo>
                <a:cubicBezTo>
                  <a:pt x="4286250" y="156399"/>
                  <a:pt x="4277360" y="207833"/>
                  <a:pt x="4310380" y="212279"/>
                </a:cubicBezTo>
                <a:close/>
                <a:moveTo>
                  <a:pt x="3065780" y="1015554"/>
                </a:moveTo>
                <a:cubicBezTo>
                  <a:pt x="3088005" y="999679"/>
                  <a:pt x="3063240" y="964754"/>
                  <a:pt x="3041015" y="981263"/>
                </a:cubicBezTo>
                <a:cubicBezTo>
                  <a:pt x="3018155" y="997138"/>
                  <a:pt x="3043555" y="1032063"/>
                  <a:pt x="3065780" y="1015554"/>
                </a:cubicBezTo>
                <a:close/>
                <a:moveTo>
                  <a:pt x="4307840" y="769809"/>
                </a:moveTo>
                <a:cubicBezTo>
                  <a:pt x="4330700" y="769809"/>
                  <a:pt x="4329430" y="733613"/>
                  <a:pt x="4306570" y="736154"/>
                </a:cubicBezTo>
                <a:cubicBezTo>
                  <a:pt x="4285615" y="737424"/>
                  <a:pt x="4286885" y="770444"/>
                  <a:pt x="4307840" y="769809"/>
                </a:cubicBezTo>
                <a:close/>
                <a:moveTo>
                  <a:pt x="4289425" y="453579"/>
                </a:moveTo>
                <a:cubicBezTo>
                  <a:pt x="4262120" y="454849"/>
                  <a:pt x="4264660" y="498029"/>
                  <a:pt x="4292600" y="496124"/>
                </a:cubicBezTo>
                <a:cubicBezTo>
                  <a:pt x="4319905" y="494219"/>
                  <a:pt x="4317365" y="451038"/>
                  <a:pt x="4289425" y="453579"/>
                </a:cubicBezTo>
                <a:close/>
                <a:moveTo>
                  <a:pt x="4262120" y="576769"/>
                </a:moveTo>
                <a:cubicBezTo>
                  <a:pt x="4264025" y="602169"/>
                  <a:pt x="4304030" y="598359"/>
                  <a:pt x="4301490" y="572959"/>
                </a:cubicBezTo>
                <a:cubicBezTo>
                  <a:pt x="4299585" y="547559"/>
                  <a:pt x="4258945" y="551369"/>
                  <a:pt x="4262120" y="576769"/>
                </a:cubicBezTo>
                <a:close/>
                <a:moveTo>
                  <a:pt x="3395980" y="773619"/>
                </a:moveTo>
                <a:cubicBezTo>
                  <a:pt x="3382645" y="750124"/>
                  <a:pt x="3345180" y="771713"/>
                  <a:pt x="3359785" y="795209"/>
                </a:cubicBezTo>
                <a:cubicBezTo>
                  <a:pt x="3373755" y="818704"/>
                  <a:pt x="3410585" y="797113"/>
                  <a:pt x="3395980" y="773619"/>
                </a:cubicBezTo>
                <a:close/>
                <a:moveTo>
                  <a:pt x="3402965" y="897444"/>
                </a:moveTo>
                <a:cubicBezTo>
                  <a:pt x="3380740" y="906969"/>
                  <a:pt x="3396615" y="941259"/>
                  <a:pt x="3418205" y="931099"/>
                </a:cubicBezTo>
                <a:cubicBezTo>
                  <a:pt x="3439795" y="921574"/>
                  <a:pt x="3424555" y="887284"/>
                  <a:pt x="3402965" y="897444"/>
                </a:cubicBezTo>
                <a:close/>
                <a:moveTo>
                  <a:pt x="3402330" y="828863"/>
                </a:moveTo>
                <a:cubicBezTo>
                  <a:pt x="3379470" y="840294"/>
                  <a:pt x="3397885" y="875854"/>
                  <a:pt x="3420110" y="863788"/>
                </a:cubicBezTo>
                <a:cubicBezTo>
                  <a:pt x="3443605" y="852994"/>
                  <a:pt x="3425190" y="816799"/>
                  <a:pt x="3402330" y="828863"/>
                </a:cubicBezTo>
                <a:close/>
                <a:moveTo>
                  <a:pt x="3385185" y="657413"/>
                </a:moveTo>
                <a:cubicBezTo>
                  <a:pt x="3360420" y="672654"/>
                  <a:pt x="3385185" y="711388"/>
                  <a:pt x="3409315" y="695513"/>
                </a:cubicBezTo>
                <a:cubicBezTo>
                  <a:pt x="3434715" y="679638"/>
                  <a:pt x="3409950" y="640904"/>
                  <a:pt x="3385185" y="657413"/>
                </a:cubicBezTo>
                <a:close/>
                <a:moveTo>
                  <a:pt x="3367405" y="966659"/>
                </a:moveTo>
                <a:cubicBezTo>
                  <a:pt x="3347085" y="974279"/>
                  <a:pt x="3359785" y="1006663"/>
                  <a:pt x="3380105" y="998409"/>
                </a:cubicBezTo>
                <a:cubicBezTo>
                  <a:pt x="3400425" y="990154"/>
                  <a:pt x="3387725" y="958404"/>
                  <a:pt x="3367405" y="966659"/>
                </a:cubicBezTo>
                <a:close/>
                <a:moveTo>
                  <a:pt x="3547110" y="364679"/>
                </a:moveTo>
                <a:cubicBezTo>
                  <a:pt x="3589655" y="363408"/>
                  <a:pt x="3571240" y="296733"/>
                  <a:pt x="3534410" y="317054"/>
                </a:cubicBezTo>
                <a:cubicBezTo>
                  <a:pt x="3512185" y="329119"/>
                  <a:pt x="3522345" y="365949"/>
                  <a:pt x="3547110" y="364679"/>
                </a:cubicBezTo>
                <a:close/>
                <a:moveTo>
                  <a:pt x="3485515" y="788224"/>
                </a:moveTo>
                <a:cubicBezTo>
                  <a:pt x="3462020" y="799019"/>
                  <a:pt x="3479800" y="835213"/>
                  <a:pt x="3502660" y="823784"/>
                </a:cubicBezTo>
                <a:cubicBezTo>
                  <a:pt x="3525520" y="812988"/>
                  <a:pt x="3508375" y="776794"/>
                  <a:pt x="3485515" y="788224"/>
                </a:cubicBezTo>
                <a:close/>
                <a:moveTo>
                  <a:pt x="3474085" y="602804"/>
                </a:moveTo>
                <a:cubicBezTo>
                  <a:pt x="3448685" y="617409"/>
                  <a:pt x="3472180" y="656779"/>
                  <a:pt x="3496945" y="641538"/>
                </a:cubicBezTo>
                <a:cubicBezTo>
                  <a:pt x="3522345" y="627569"/>
                  <a:pt x="3498850" y="587563"/>
                  <a:pt x="3474085" y="602804"/>
                </a:cubicBezTo>
                <a:close/>
                <a:moveTo>
                  <a:pt x="3460750" y="522158"/>
                </a:moveTo>
                <a:cubicBezTo>
                  <a:pt x="3477260" y="548829"/>
                  <a:pt x="3518535" y="522794"/>
                  <a:pt x="3501390" y="496758"/>
                </a:cubicBezTo>
                <a:cubicBezTo>
                  <a:pt x="3484880" y="470088"/>
                  <a:pt x="3443605" y="496124"/>
                  <a:pt x="3460750" y="522158"/>
                </a:cubicBezTo>
                <a:close/>
                <a:moveTo>
                  <a:pt x="3450590" y="425638"/>
                </a:moveTo>
                <a:cubicBezTo>
                  <a:pt x="3494405" y="424369"/>
                  <a:pt x="3473450" y="355788"/>
                  <a:pt x="3435985" y="379283"/>
                </a:cubicBezTo>
                <a:cubicBezTo>
                  <a:pt x="3415665" y="391983"/>
                  <a:pt x="3426460" y="426274"/>
                  <a:pt x="3450590" y="425638"/>
                </a:cubicBezTo>
                <a:close/>
                <a:moveTo>
                  <a:pt x="3298825" y="714563"/>
                </a:moveTo>
                <a:cubicBezTo>
                  <a:pt x="3274695" y="731074"/>
                  <a:pt x="3300730" y="768538"/>
                  <a:pt x="3324225" y="752029"/>
                </a:cubicBezTo>
                <a:lnTo>
                  <a:pt x="3324225" y="752029"/>
                </a:lnTo>
                <a:cubicBezTo>
                  <a:pt x="3348990" y="735519"/>
                  <a:pt x="3322955" y="698054"/>
                  <a:pt x="3298825" y="714563"/>
                </a:cubicBezTo>
                <a:close/>
                <a:moveTo>
                  <a:pt x="3283585" y="647888"/>
                </a:moveTo>
                <a:cubicBezTo>
                  <a:pt x="3302000" y="672654"/>
                  <a:pt x="3340735" y="643444"/>
                  <a:pt x="3321685" y="618679"/>
                </a:cubicBezTo>
                <a:cubicBezTo>
                  <a:pt x="3303270" y="593913"/>
                  <a:pt x="3264535" y="623759"/>
                  <a:pt x="3283585" y="647888"/>
                </a:cubicBezTo>
                <a:close/>
                <a:moveTo>
                  <a:pt x="3348355" y="942529"/>
                </a:moveTo>
                <a:cubicBezTo>
                  <a:pt x="3338195" y="920938"/>
                  <a:pt x="3304540" y="936813"/>
                  <a:pt x="3315335" y="958404"/>
                </a:cubicBezTo>
                <a:cubicBezTo>
                  <a:pt x="3325495" y="979994"/>
                  <a:pt x="3359150" y="964119"/>
                  <a:pt x="3348355" y="942529"/>
                </a:cubicBezTo>
                <a:close/>
                <a:moveTo>
                  <a:pt x="3268980" y="564069"/>
                </a:moveTo>
                <a:cubicBezTo>
                  <a:pt x="3314700" y="562163"/>
                  <a:pt x="3289300" y="491044"/>
                  <a:pt x="3252470" y="518983"/>
                </a:cubicBezTo>
                <a:cubicBezTo>
                  <a:pt x="3252470" y="518983"/>
                  <a:pt x="3252470" y="518983"/>
                  <a:pt x="3252470" y="518983"/>
                </a:cubicBezTo>
                <a:cubicBezTo>
                  <a:pt x="3234690" y="533588"/>
                  <a:pt x="3246120" y="564704"/>
                  <a:pt x="3268980" y="564069"/>
                </a:cubicBezTo>
                <a:close/>
                <a:moveTo>
                  <a:pt x="3292475" y="997138"/>
                </a:moveTo>
                <a:cubicBezTo>
                  <a:pt x="3272155" y="1005394"/>
                  <a:pt x="3285490" y="1037144"/>
                  <a:pt x="3305810" y="1028254"/>
                </a:cubicBezTo>
                <a:cubicBezTo>
                  <a:pt x="3326130" y="1019999"/>
                  <a:pt x="3312795" y="988249"/>
                  <a:pt x="3292475" y="997138"/>
                </a:cubicBezTo>
                <a:close/>
                <a:moveTo>
                  <a:pt x="3357880" y="492313"/>
                </a:moveTo>
                <a:cubicBezTo>
                  <a:pt x="3402965" y="490408"/>
                  <a:pt x="3379470" y="420558"/>
                  <a:pt x="3342640" y="446594"/>
                </a:cubicBezTo>
                <a:cubicBezTo>
                  <a:pt x="3322955" y="460563"/>
                  <a:pt x="3335020" y="493583"/>
                  <a:pt x="3357880" y="492313"/>
                </a:cubicBezTo>
                <a:close/>
                <a:moveTo>
                  <a:pt x="3371215" y="583119"/>
                </a:moveTo>
                <a:cubicBezTo>
                  <a:pt x="3388995" y="609154"/>
                  <a:pt x="3429000" y="580579"/>
                  <a:pt x="3410585" y="555813"/>
                </a:cubicBezTo>
                <a:cubicBezTo>
                  <a:pt x="3392805" y="529779"/>
                  <a:pt x="3352800" y="557719"/>
                  <a:pt x="3371215" y="583119"/>
                </a:cubicBezTo>
                <a:close/>
                <a:moveTo>
                  <a:pt x="3330575" y="908874"/>
                </a:moveTo>
                <a:cubicBezTo>
                  <a:pt x="3362960" y="908238"/>
                  <a:pt x="3350260" y="856804"/>
                  <a:pt x="3321050" y="872044"/>
                </a:cubicBezTo>
                <a:cubicBezTo>
                  <a:pt x="3302635" y="880934"/>
                  <a:pt x="3310890" y="909509"/>
                  <a:pt x="3330575" y="908874"/>
                </a:cubicBezTo>
                <a:close/>
                <a:moveTo>
                  <a:pt x="3576955" y="787588"/>
                </a:moveTo>
                <a:cubicBezTo>
                  <a:pt x="3608070" y="786954"/>
                  <a:pt x="3597910" y="737424"/>
                  <a:pt x="3568700" y="749488"/>
                </a:cubicBezTo>
                <a:cubicBezTo>
                  <a:pt x="3549650" y="757744"/>
                  <a:pt x="3556635" y="788224"/>
                  <a:pt x="3576955" y="787588"/>
                </a:cubicBezTo>
                <a:close/>
                <a:moveTo>
                  <a:pt x="3762375" y="338644"/>
                </a:moveTo>
                <a:cubicBezTo>
                  <a:pt x="3733165" y="349438"/>
                  <a:pt x="3750945" y="395158"/>
                  <a:pt x="3779520" y="383729"/>
                </a:cubicBezTo>
                <a:cubicBezTo>
                  <a:pt x="3808730" y="372933"/>
                  <a:pt x="3790950" y="327213"/>
                  <a:pt x="3762375" y="338644"/>
                </a:cubicBezTo>
                <a:close/>
                <a:moveTo>
                  <a:pt x="3752850" y="266254"/>
                </a:moveTo>
                <a:cubicBezTo>
                  <a:pt x="3792220" y="265619"/>
                  <a:pt x="3780790" y="204024"/>
                  <a:pt x="3743960" y="216724"/>
                </a:cubicBezTo>
                <a:cubicBezTo>
                  <a:pt x="3717925" y="226249"/>
                  <a:pt x="3725545" y="267524"/>
                  <a:pt x="3752850" y="266254"/>
                </a:cubicBezTo>
                <a:close/>
                <a:moveTo>
                  <a:pt x="3648075" y="311338"/>
                </a:moveTo>
                <a:cubicBezTo>
                  <a:pt x="3688715" y="310704"/>
                  <a:pt x="3674110" y="245933"/>
                  <a:pt x="3637280" y="263079"/>
                </a:cubicBezTo>
                <a:cubicBezTo>
                  <a:pt x="3613150" y="273874"/>
                  <a:pt x="3622040" y="311974"/>
                  <a:pt x="3648075" y="311338"/>
                </a:cubicBezTo>
                <a:close/>
                <a:moveTo>
                  <a:pt x="3813810" y="781874"/>
                </a:moveTo>
                <a:cubicBezTo>
                  <a:pt x="3841115" y="781874"/>
                  <a:pt x="3834765" y="738059"/>
                  <a:pt x="3808730" y="745679"/>
                </a:cubicBezTo>
                <a:cubicBezTo>
                  <a:pt x="3788410" y="751394"/>
                  <a:pt x="3793490" y="782509"/>
                  <a:pt x="3813810" y="781874"/>
                </a:cubicBezTo>
                <a:close/>
                <a:moveTo>
                  <a:pt x="3828415" y="650429"/>
                </a:moveTo>
                <a:cubicBezTo>
                  <a:pt x="3803650" y="658049"/>
                  <a:pt x="3816350" y="696149"/>
                  <a:pt x="3840480" y="687894"/>
                </a:cubicBezTo>
                <a:cubicBezTo>
                  <a:pt x="3865245" y="680909"/>
                  <a:pt x="3852545" y="642174"/>
                  <a:pt x="3828415" y="650429"/>
                </a:cubicBezTo>
                <a:close/>
                <a:moveTo>
                  <a:pt x="3861435" y="231963"/>
                </a:moveTo>
                <a:cubicBezTo>
                  <a:pt x="3898900" y="231963"/>
                  <a:pt x="3891280" y="172908"/>
                  <a:pt x="3855085" y="181799"/>
                </a:cubicBezTo>
                <a:cubicBezTo>
                  <a:pt x="3827145" y="188783"/>
                  <a:pt x="3832860" y="232599"/>
                  <a:pt x="3861435" y="231963"/>
                </a:cubicBezTo>
                <a:close/>
                <a:moveTo>
                  <a:pt x="3816985" y="596454"/>
                </a:moveTo>
                <a:cubicBezTo>
                  <a:pt x="3849370" y="596454"/>
                  <a:pt x="3840480" y="545019"/>
                  <a:pt x="3810000" y="555179"/>
                </a:cubicBezTo>
                <a:cubicBezTo>
                  <a:pt x="3787775" y="562163"/>
                  <a:pt x="3794125" y="597088"/>
                  <a:pt x="3816985" y="596454"/>
                </a:cubicBezTo>
                <a:close/>
                <a:moveTo>
                  <a:pt x="3858260" y="471994"/>
                </a:moveTo>
                <a:cubicBezTo>
                  <a:pt x="3892550" y="471994"/>
                  <a:pt x="3883660" y="417383"/>
                  <a:pt x="3851275" y="428179"/>
                </a:cubicBezTo>
                <a:cubicBezTo>
                  <a:pt x="3827145" y="435163"/>
                  <a:pt x="3833495" y="473263"/>
                  <a:pt x="3858260" y="471994"/>
                </a:cubicBezTo>
                <a:close/>
                <a:moveTo>
                  <a:pt x="3595370" y="561529"/>
                </a:moveTo>
                <a:cubicBezTo>
                  <a:pt x="3582035" y="535494"/>
                  <a:pt x="3541395" y="557084"/>
                  <a:pt x="3555365" y="582484"/>
                </a:cubicBezTo>
                <a:cubicBezTo>
                  <a:pt x="3568700" y="608519"/>
                  <a:pt x="3609340" y="586929"/>
                  <a:pt x="3595370" y="561529"/>
                </a:cubicBezTo>
                <a:close/>
                <a:moveTo>
                  <a:pt x="3688080" y="516444"/>
                </a:moveTo>
                <a:cubicBezTo>
                  <a:pt x="3676015" y="489774"/>
                  <a:pt x="3634740" y="509458"/>
                  <a:pt x="3647440" y="535494"/>
                </a:cubicBezTo>
                <a:cubicBezTo>
                  <a:pt x="3658870" y="562163"/>
                  <a:pt x="3700780" y="543113"/>
                  <a:pt x="3688080" y="516444"/>
                </a:cubicBezTo>
                <a:close/>
                <a:moveTo>
                  <a:pt x="3472180" y="887284"/>
                </a:moveTo>
                <a:cubicBezTo>
                  <a:pt x="3481070" y="909509"/>
                  <a:pt x="3515360" y="894904"/>
                  <a:pt x="3505835" y="873313"/>
                </a:cubicBezTo>
                <a:cubicBezTo>
                  <a:pt x="3497580" y="851088"/>
                  <a:pt x="3462655" y="865694"/>
                  <a:pt x="3472180" y="887284"/>
                </a:cubicBezTo>
                <a:close/>
                <a:moveTo>
                  <a:pt x="3540760" y="920304"/>
                </a:moveTo>
                <a:cubicBezTo>
                  <a:pt x="3533775" y="899349"/>
                  <a:pt x="3501390" y="910779"/>
                  <a:pt x="3509010" y="931734"/>
                </a:cubicBezTo>
                <a:cubicBezTo>
                  <a:pt x="3515995" y="952054"/>
                  <a:pt x="3548380" y="940624"/>
                  <a:pt x="3540760" y="920304"/>
                </a:cubicBezTo>
                <a:close/>
                <a:moveTo>
                  <a:pt x="3567430" y="680909"/>
                </a:moveTo>
                <a:cubicBezTo>
                  <a:pt x="3555365" y="656144"/>
                  <a:pt x="3516630" y="675829"/>
                  <a:pt x="3529965" y="699959"/>
                </a:cubicBezTo>
                <a:cubicBezTo>
                  <a:pt x="3542030" y="724724"/>
                  <a:pt x="3580130" y="705038"/>
                  <a:pt x="3567430" y="680909"/>
                </a:cubicBezTo>
                <a:close/>
                <a:moveTo>
                  <a:pt x="3866515" y="303083"/>
                </a:moveTo>
                <a:cubicBezTo>
                  <a:pt x="3836670" y="311338"/>
                  <a:pt x="3850640" y="358329"/>
                  <a:pt x="3880485" y="348804"/>
                </a:cubicBezTo>
                <a:cubicBezTo>
                  <a:pt x="3910330" y="340549"/>
                  <a:pt x="3896360" y="293558"/>
                  <a:pt x="3866515" y="303083"/>
                </a:cubicBezTo>
                <a:close/>
                <a:moveTo>
                  <a:pt x="3481070" y="725994"/>
                </a:moveTo>
                <a:cubicBezTo>
                  <a:pt x="3468370" y="701863"/>
                  <a:pt x="3430270" y="722184"/>
                  <a:pt x="3444240" y="746313"/>
                </a:cubicBezTo>
                <a:cubicBezTo>
                  <a:pt x="3456940" y="770444"/>
                  <a:pt x="3494405" y="749488"/>
                  <a:pt x="3481070" y="725994"/>
                </a:cubicBezTo>
                <a:close/>
                <a:moveTo>
                  <a:pt x="3442970" y="937449"/>
                </a:moveTo>
                <a:cubicBezTo>
                  <a:pt x="3422015" y="945069"/>
                  <a:pt x="3434715" y="977454"/>
                  <a:pt x="3455035" y="969199"/>
                </a:cubicBezTo>
                <a:cubicBezTo>
                  <a:pt x="3475355" y="961579"/>
                  <a:pt x="3463290" y="929194"/>
                  <a:pt x="3442970" y="937449"/>
                </a:cubicBezTo>
                <a:close/>
                <a:moveTo>
                  <a:pt x="3553460" y="465644"/>
                </a:moveTo>
                <a:cubicBezTo>
                  <a:pt x="3568065" y="492949"/>
                  <a:pt x="3610610" y="469454"/>
                  <a:pt x="3595370" y="442149"/>
                </a:cubicBezTo>
                <a:cubicBezTo>
                  <a:pt x="3580765" y="414844"/>
                  <a:pt x="3538220" y="438338"/>
                  <a:pt x="3553460" y="465644"/>
                </a:cubicBezTo>
                <a:close/>
                <a:moveTo>
                  <a:pt x="3654425" y="713929"/>
                </a:moveTo>
                <a:cubicBezTo>
                  <a:pt x="3630295" y="723454"/>
                  <a:pt x="3645535" y="760284"/>
                  <a:pt x="3669030" y="750759"/>
                </a:cubicBezTo>
                <a:cubicBezTo>
                  <a:pt x="3693160" y="741234"/>
                  <a:pt x="3677920" y="703769"/>
                  <a:pt x="3654425" y="713929"/>
                </a:cubicBezTo>
                <a:close/>
                <a:moveTo>
                  <a:pt x="6868160" y="2072829"/>
                </a:moveTo>
                <a:cubicBezTo>
                  <a:pt x="6890385" y="2091879"/>
                  <a:pt x="6919595" y="2055684"/>
                  <a:pt x="6896735" y="2037904"/>
                </a:cubicBezTo>
                <a:cubicBezTo>
                  <a:pt x="6873875" y="2019488"/>
                  <a:pt x="6845300" y="2055049"/>
                  <a:pt x="6868160" y="2072829"/>
                </a:cubicBezTo>
                <a:close/>
                <a:moveTo>
                  <a:pt x="9773920" y="1907094"/>
                </a:moveTo>
                <a:cubicBezTo>
                  <a:pt x="9783445" y="1919794"/>
                  <a:pt x="9804400" y="1913444"/>
                  <a:pt x="9806305" y="1898204"/>
                </a:cubicBezTo>
                <a:cubicBezTo>
                  <a:pt x="9853930" y="1966784"/>
                  <a:pt x="9854565" y="1825179"/>
                  <a:pt x="9806305" y="1893124"/>
                </a:cubicBezTo>
                <a:cubicBezTo>
                  <a:pt x="9801860" y="1862644"/>
                  <a:pt x="9754870" y="1882329"/>
                  <a:pt x="9773920" y="1907094"/>
                </a:cubicBezTo>
                <a:close/>
                <a:moveTo>
                  <a:pt x="9812020" y="1806129"/>
                </a:moveTo>
                <a:cubicBezTo>
                  <a:pt x="9835515" y="1805494"/>
                  <a:pt x="9825355" y="1768663"/>
                  <a:pt x="9805035" y="1779459"/>
                </a:cubicBezTo>
                <a:cubicBezTo>
                  <a:pt x="9792335" y="1786444"/>
                  <a:pt x="9798050" y="1806763"/>
                  <a:pt x="9812020" y="1806129"/>
                </a:cubicBezTo>
                <a:close/>
                <a:moveTo>
                  <a:pt x="9760585" y="1803588"/>
                </a:moveTo>
                <a:cubicBezTo>
                  <a:pt x="9780905" y="1803588"/>
                  <a:pt x="9773920" y="1771204"/>
                  <a:pt x="9755505" y="1779459"/>
                </a:cubicBezTo>
                <a:cubicBezTo>
                  <a:pt x="9742805" y="1784538"/>
                  <a:pt x="9747250" y="1804224"/>
                  <a:pt x="9760585" y="1803588"/>
                </a:cubicBezTo>
                <a:close/>
                <a:moveTo>
                  <a:pt x="9786620" y="1938209"/>
                </a:moveTo>
                <a:cubicBezTo>
                  <a:pt x="9766300" y="1956624"/>
                  <a:pt x="9796145" y="1988374"/>
                  <a:pt x="9815830" y="1968688"/>
                </a:cubicBezTo>
                <a:cubicBezTo>
                  <a:pt x="9836150" y="1950274"/>
                  <a:pt x="9806305" y="1919159"/>
                  <a:pt x="9786620" y="1938209"/>
                </a:cubicBezTo>
                <a:close/>
                <a:moveTo>
                  <a:pt x="9795510" y="1838513"/>
                </a:moveTo>
                <a:cubicBezTo>
                  <a:pt x="9773920" y="1882963"/>
                  <a:pt x="9855200" y="1862644"/>
                  <a:pt x="9815195" y="1833434"/>
                </a:cubicBezTo>
                <a:cubicBezTo>
                  <a:pt x="9832340" y="1794063"/>
                  <a:pt x="9761855" y="1811844"/>
                  <a:pt x="9795510" y="1838513"/>
                </a:cubicBezTo>
                <a:close/>
                <a:moveTo>
                  <a:pt x="9856470" y="1795969"/>
                </a:moveTo>
                <a:cubicBezTo>
                  <a:pt x="9851390" y="1837244"/>
                  <a:pt x="9914890" y="1808034"/>
                  <a:pt x="9879965" y="1785174"/>
                </a:cubicBezTo>
                <a:cubicBezTo>
                  <a:pt x="9880600" y="1780094"/>
                  <a:pt x="9878695" y="1773744"/>
                  <a:pt x="9873615" y="1770569"/>
                </a:cubicBezTo>
                <a:cubicBezTo>
                  <a:pt x="9885045" y="1769299"/>
                  <a:pt x="9889490" y="1754059"/>
                  <a:pt x="9881235" y="1746438"/>
                </a:cubicBezTo>
                <a:cubicBezTo>
                  <a:pt x="9906635" y="1721674"/>
                  <a:pt x="9847580" y="1713419"/>
                  <a:pt x="9864725" y="1743899"/>
                </a:cubicBezTo>
                <a:cubicBezTo>
                  <a:pt x="9855835" y="1748344"/>
                  <a:pt x="9854565" y="1761679"/>
                  <a:pt x="9862185" y="1767394"/>
                </a:cubicBezTo>
                <a:cubicBezTo>
                  <a:pt x="9848215" y="1768663"/>
                  <a:pt x="9843770" y="1788984"/>
                  <a:pt x="9856470" y="1795969"/>
                </a:cubicBezTo>
                <a:close/>
                <a:moveTo>
                  <a:pt x="10309860" y="1387663"/>
                </a:moveTo>
                <a:cubicBezTo>
                  <a:pt x="10313670" y="1402904"/>
                  <a:pt x="10333990" y="1407984"/>
                  <a:pt x="10344785" y="1396554"/>
                </a:cubicBezTo>
                <a:cubicBezTo>
                  <a:pt x="10346690" y="1396554"/>
                  <a:pt x="10349230" y="1395919"/>
                  <a:pt x="10351135" y="1395284"/>
                </a:cubicBezTo>
                <a:cubicBezTo>
                  <a:pt x="10362565" y="1415604"/>
                  <a:pt x="10393680" y="1395284"/>
                  <a:pt x="10379710" y="1376869"/>
                </a:cubicBezTo>
                <a:cubicBezTo>
                  <a:pt x="10380980" y="1369249"/>
                  <a:pt x="10376535" y="1360359"/>
                  <a:pt x="10368915" y="1357819"/>
                </a:cubicBezTo>
                <a:cubicBezTo>
                  <a:pt x="10391775" y="1329244"/>
                  <a:pt x="10340340" y="1300669"/>
                  <a:pt x="10327640" y="1334324"/>
                </a:cubicBezTo>
                <a:cubicBezTo>
                  <a:pt x="10314305" y="1336863"/>
                  <a:pt x="10304780" y="1352104"/>
                  <a:pt x="10308590" y="1365438"/>
                </a:cubicBezTo>
                <a:cubicBezTo>
                  <a:pt x="10305415" y="1372424"/>
                  <a:pt x="10306050" y="1380679"/>
                  <a:pt x="10309860" y="1387663"/>
                </a:cubicBezTo>
                <a:close/>
                <a:moveTo>
                  <a:pt x="9817735" y="1776919"/>
                </a:moveTo>
                <a:cubicBezTo>
                  <a:pt x="9838055" y="1776284"/>
                  <a:pt x="9831070" y="1743899"/>
                  <a:pt x="9812020" y="1752788"/>
                </a:cubicBezTo>
                <a:cubicBezTo>
                  <a:pt x="9799955" y="1757869"/>
                  <a:pt x="9805035" y="1777554"/>
                  <a:pt x="9817735" y="1776919"/>
                </a:cubicBezTo>
                <a:close/>
                <a:moveTo>
                  <a:pt x="9854565" y="1859469"/>
                </a:moveTo>
                <a:cubicBezTo>
                  <a:pt x="9887585" y="1858199"/>
                  <a:pt x="9869170" y="1806763"/>
                  <a:pt x="9842500" y="1827084"/>
                </a:cubicBezTo>
                <a:cubicBezTo>
                  <a:pt x="9829800" y="1837244"/>
                  <a:pt x="9838055" y="1860104"/>
                  <a:pt x="9854565" y="1859469"/>
                </a:cubicBezTo>
                <a:close/>
                <a:moveTo>
                  <a:pt x="9690735" y="1872169"/>
                </a:moveTo>
                <a:cubicBezTo>
                  <a:pt x="9713595" y="1871534"/>
                  <a:pt x="9704705" y="1835338"/>
                  <a:pt x="9684385" y="1845499"/>
                </a:cubicBezTo>
                <a:cubicBezTo>
                  <a:pt x="9671050" y="1851213"/>
                  <a:pt x="9676130" y="1872804"/>
                  <a:pt x="9690735" y="1872169"/>
                </a:cubicBezTo>
                <a:close/>
                <a:moveTo>
                  <a:pt x="9676765" y="1957894"/>
                </a:moveTo>
                <a:cubicBezTo>
                  <a:pt x="9705340" y="1957259"/>
                  <a:pt x="9692005" y="1911538"/>
                  <a:pt x="9667240" y="1926779"/>
                </a:cubicBezTo>
                <a:cubicBezTo>
                  <a:pt x="9653270" y="1935669"/>
                  <a:pt x="9660255" y="1958529"/>
                  <a:pt x="9676765" y="1957894"/>
                </a:cubicBezTo>
                <a:close/>
                <a:moveTo>
                  <a:pt x="10376535" y="1307654"/>
                </a:moveTo>
                <a:cubicBezTo>
                  <a:pt x="10373360" y="1322259"/>
                  <a:pt x="10389235" y="1336229"/>
                  <a:pt x="10403205" y="1331149"/>
                </a:cubicBezTo>
                <a:cubicBezTo>
                  <a:pt x="10406380" y="1332419"/>
                  <a:pt x="10410190" y="1333054"/>
                  <a:pt x="10413365" y="1332419"/>
                </a:cubicBezTo>
                <a:cubicBezTo>
                  <a:pt x="10406380" y="1366074"/>
                  <a:pt x="10462260" y="1354644"/>
                  <a:pt x="10442575" y="1326069"/>
                </a:cubicBezTo>
                <a:cubicBezTo>
                  <a:pt x="10450195" y="1314004"/>
                  <a:pt x="10439400" y="1297494"/>
                  <a:pt x="10425430" y="1298763"/>
                </a:cubicBezTo>
                <a:cubicBezTo>
                  <a:pt x="10423525" y="1296859"/>
                  <a:pt x="10421620" y="1295588"/>
                  <a:pt x="10419080" y="1294319"/>
                </a:cubicBezTo>
                <a:cubicBezTo>
                  <a:pt x="10419080" y="1291779"/>
                  <a:pt x="10418445" y="1289238"/>
                  <a:pt x="10417175" y="1286699"/>
                </a:cubicBezTo>
                <a:cubicBezTo>
                  <a:pt x="10419080" y="1284794"/>
                  <a:pt x="10421620" y="1283524"/>
                  <a:pt x="10422890" y="1280984"/>
                </a:cubicBezTo>
                <a:cubicBezTo>
                  <a:pt x="10464800" y="1272729"/>
                  <a:pt x="10431145" y="1211134"/>
                  <a:pt x="10401300" y="1240979"/>
                </a:cubicBezTo>
                <a:cubicBezTo>
                  <a:pt x="10382250" y="1240344"/>
                  <a:pt x="10369550" y="1265109"/>
                  <a:pt x="10380980" y="1280349"/>
                </a:cubicBezTo>
                <a:cubicBezTo>
                  <a:pt x="10373995" y="1287969"/>
                  <a:pt x="10372090" y="1299399"/>
                  <a:pt x="10376535" y="1307654"/>
                </a:cubicBezTo>
                <a:close/>
                <a:moveTo>
                  <a:pt x="9675495" y="1919159"/>
                </a:moveTo>
                <a:cubicBezTo>
                  <a:pt x="9701530" y="1918524"/>
                  <a:pt x="9690735" y="1877884"/>
                  <a:pt x="9667875" y="1889949"/>
                </a:cubicBezTo>
                <a:cubicBezTo>
                  <a:pt x="9653905" y="1897569"/>
                  <a:pt x="9660255" y="1919794"/>
                  <a:pt x="9675495" y="1919159"/>
                </a:cubicBezTo>
                <a:close/>
                <a:moveTo>
                  <a:pt x="9665970" y="1989009"/>
                </a:moveTo>
                <a:cubicBezTo>
                  <a:pt x="9652635" y="1969324"/>
                  <a:pt x="9622155" y="1990913"/>
                  <a:pt x="9636125" y="2010599"/>
                </a:cubicBezTo>
                <a:cubicBezTo>
                  <a:pt x="9649460" y="2029649"/>
                  <a:pt x="9679940" y="2008059"/>
                  <a:pt x="9665970" y="1989009"/>
                </a:cubicBezTo>
                <a:close/>
                <a:moveTo>
                  <a:pt x="9751695" y="1839784"/>
                </a:moveTo>
                <a:cubicBezTo>
                  <a:pt x="9775190" y="1839149"/>
                  <a:pt x="9765665" y="1802319"/>
                  <a:pt x="9744710" y="1813113"/>
                </a:cubicBezTo>
                <a:cubicBezTo>
                  <a:pt x="9732010" y="1820099"/>
                  <a:pt x="9737725" y="1840419"/>
                  <a:pt x="9751695" y="1839784"/>
                </a:cubicBezTo>
                <a:close/>
                <a:moveTo>
                  <a:pt x="9702165" y="1828988"/>
                </a:moveTo>
                <a:cubicBezTo>
                  <a:pt x="9721850" y="1828354"/>
                  <a:pt x="9715500" y="1797238"/>
                  <a:pt x="9697085" y="1804859"/>
                </a:cubicBezTo>
                <a:cubicBezTo>
                  <a:pt x="9684385" y="1809938"/>
                  <a:pt x="9688830" y="1829624"/>
                  <a:pt x="9702165" y="1828988"/>
                </a:cubicBezTo>
                <a:close/>
                <a:moveTo>
                  <a:pt x="9670415" y="2100134"/>
                </a:moveTo>
                <a:cubicBezTo>
                  <a:pt x="9691370" y="2082988"/>
                  <a:pt x="9663430" y="2049969"/>
                  <a:pt x="9643110" y="2067749"/>
                </a:cubicBezTo>
                <a:cubicBezTo>
                  <a:pt x="9621520" y="2085529"/>
                  <a:pt x="9650095" y="2118549"/>
                  <a:pt x="9670415" y="2100134"/>
                </a:cubicBezTo>
                <a:close/>
                <a:moveTo>
                  <a:pt x="9705975" y="1959799"/>
                </a:moveTo>
                <a:cubicBezTo>
                  <a:pt x="9714230" y="1971229"/>
                  <a:pt x="9732645" y="1968688"/>
                  <a:pt x="9737725" y="1955988"/>
                </a:cubicBezTo>
                <a:cubicBezTo>
                  <a:pt x="9770745" y="2030919"/>
                  <a:pt x="9799320" y="1895029"/>
                  <a:pt x="9738995" y="1949638"/>
                </a:cubicBezTo>
                <a:cubicBezTo>
                  <a:pt x="9738995" y="1916619"/>
                  <a:pt x="9686925" y="1932494"/>
                  <a:pt x="9705975" y="1959799"/>
                </a:cubicBezTo>
                <a:close/>
                <a:moveTo>
                  <a:pt x="9745345" y="2005519"/>
                </a:moveTo>
                <a:cubicBezTo>
                  <a:pt x="9701530" y="1971229"/>
                  <a:pt x="9697085" y="2065209"/>
                  <a:pt x="9744075" y="2035363"/>
                </a:cubicBezTo>
                <a:lnTo>
                  <a:pt x="9744075" y="2035363"/>
                </a:lnTo>
                <a:cubicBezTo>
                  <a:pt x="9752965" y="2027744"/>
                  <a:pt x="9753600" y="2014409"/>
                  <a:pt x="9745345" y="2005519"/>
                </a:cubicBezTo>
                <a:close/>
                <a:moveTo>
                  <a:pt x="9737090" y="1880424"/>
                </a:moveTo>
                <a:cubicBezTo>
                  <a:pt x="9688830" y="1926779"/>
                  <a:pt x="9803130" y="1912809"/>
                  <a:pt x="9744710" y="1879788"/>
                </a:cubicBezTo>
                <a:cubicBezTo>
                  <a:pt x="9788525" y="1837244"/>
                  <a:pt x="9685020" y="1849309"/>
                  <a:pt x="9737090" y="1880424"/>
                </a:cubicBezTo>
                <a:close/>
                <a:moveTo>
                  <a:pt x="10817225" y="939354"/>
                </a:moveTo>
                <a:cubicBezTo>
                  <a:pt x="10796270" y="954594"/>
                  <a:pt x="10821035" y="986344"/>
                  <a:pt x="10840720" y="971104"/>
                </a:cubicBezTo>
                <a:cubicBezTo>
                  <a:pt x="10861675" y="955863"/>
                  <a:pt x="10837545" y="924113"/>
                  <a:pt x="10817225" y="939354"/>
                </a:cubicBezTo>
                <a:close/>
                <a:moveTo>
                  <a:pt x="10849610" y="990788"/>
                </a:moveTo>
                <a:cubicBezTo>
                  <a:pt x="10836275" y="971104"/>
                  <a:pt x="10805795" y="992059"/>
                  <a:pt x="10819130" y="1011744"/>
                </a:cubicBezTo>
                <a:cubicBezTo>
                  <a:pt x="10832465" y="1031429"/>
                  <a:pt x="10863580" y="1010474"/>
                  <a:pt x="10849610" y="990788"/>
                </a:cubicBezTo>
                <a:close/>
                <a:moveTo>
                  <a:pt x="10823575" y="1075879"/>
                </a:moveTo>
                <a:cubicBezTo>
                  <a:pt x="10852150" y="1075244"/>
                  <a:pt x="10839450" y="1030159"/>
                  <a:pt x="10814685" y="1044763"/>
                </a:cubicBezTo>
                <a:cubicBezTo>
                  <a:pt x="10800080" y="1053019"/>
                  <a:pt x="10807065" y="1076513"/>
                  <a:pt x="10823575" y="1075879"/>
                </a:cubicBezTo>
                <a:close/>
                <a:moveTo>
                  <a:pt x="10760075" y="852359"/>
                </a:moveTo>
                <a:cubicBezTo>
                  <a:pt x="10759440" y="893634"/>
                  <a:pt x="10803255" y="879663"/>
                  <a:pt x="10808335" y="858074"/>
                </a:cubicBezTo>
                <a:cubicBezTo>
                  <a:pt x="10808970" y="869504"/>
                  <a:pt x="10817860" y="880299"/>
                  <a:pt x="10830560" y="879663"/>
                </a:cubicBezTo>
                <a:cubicBezTo>
                  <a:pt x="10871835" y="877759"/>
                  <a:pt x="10847705" y="814259"/>
                  <a:pt x="10815320" y="840294"/>
                </a:cubicBezTo>
                <a:cubicBezTo>
                  <a:pt x="10811510" y="843469"/>
                  <a:pt x="10808970" y="847913"/>
                  <a:pt x="10808335" y="852359"/>
                </a:cubicBezTo>
                <a:cubicBezTo>
                  <a:pt x="10807700" y="846009"/>
                  <a:pt x="10803255" y="839024"/>
                  <a:pt x="10793095" y="833309"/>
                </a:cubicBezTo>
                <a:cubicBezTo>
                  <a:pt x="10796905" y="770444"/>
                  <a:pt x="10704195" y="823149"/>
                  <a:pt x="10760075" y="852359"/>
                </a:cubicBezTo>
                <a:close/>
                <a:moveTo>
                  <a:pt x="10810240" y="894904"/>
                </a:moveTo>
                <a:cubicBezTo>
                  <a:pt x="10788650" y="912049"/>
                  <a:pt x="10815955" y="945069"/>
                  <a:pt x="10836910" y="927288"/>
                </a:cubicBezTo>
                <a:cubicBezTo>
                  <a:pt x="10858500" y="910779"/>
                  <a:pt x="10831195" y="877124"/>
                  <a:pt x="10810240" y="894904"/>
                </a:cubicBezTo>
                <a:close/>
                <a:moveTo>
                  <a:pt x="10877550" y="1025713"/>
                </a:moveTo>
                <a:cubicBezTo>
                  <a:pt x="10888345" y="1044763"/>
                  <a:pt x="10918190" y="1026984"/>
                  <a:pt x="10906760" y="1008569"/>
                </a:cubicBezTo>
                <a:cubicBezTo>
                  <a:pt x="10895965" y="989519"/>
                  <a:pt x="10866120" y="1007299"/>
                  <a:pt x="10877550" y="1025713"/>
                </a:cubicBezTo>
                <a:close/>
                <a:moveTo>
                  <a:pt x="10779125" y="1039684"/>
                </a:moveTo>
                <a:cubicBezTo>
                  <a:pt x="10765790" y="1019999"/>
                  <a:pt x="10735310" y="1041588"/>
                  <a:pt x="10749280" y="1061274"/>
                </a:cubicBezTo>
                <a:cubicBezTo>
                  <a:pt x="10762615" y="1080959"/>
                  <a:pt x="10793095" y="1058734"/>
                  <a:pt x="10779125" y="1039684"/>
                </a:cubicBezTo>
                <a:close/>
                <a:moveTo>
                  <a:pt x="10921365" y="943163"/>
                </a:moveTo>
                <a:cubicBezTo>
                  <a:pt x="10908665" y="922844"/>
                  <a:pt x="10877550" y="943163"/>
                  <a:pt x="10890885" y="962849"/>
                </a:cubicBezTo>
                <a:cubicBezTo>
                  <a:pt x="10903585" y="983804"/>
                  <a:pt x="10934700" y="963484"/>
                  <a:pt x="10921365" y="943163"/>
                </a:cubicBezTo>
                <a:close/>
                <a:moveTo>
                  <a:pt x="10445750" y="1232088"/>
                </a:moveTo>
                <a:cubicBezTo>
                  <a:pt x="10439400" y="1244154"/>
                  <a:pt x="10448290" y="1260029"/>
                  <a:pt x="10461625" y="1261934"/>
                </a:cubicBezTo>
                <a:cubicBezTo>
                  <a:pt x="10464800" y="1266379"/>
                  <a:pt x="10469880" y="1269554"/>
                  <a:pt x="10475595" y="1270188"/>
                </a:cubicBezTo>
                <a:cubicBezTo>
                  <a:pt x="10476865" y="1272729"/>
                  <a:pt x="10478770" y="1275269"/>
                  <a:pt x="10480675" y="1276538"/>
                </a:cubicBezTo>
                <a:cubicBezTo>
                  <a:pt x="10455910" y="1314004"/>
                  <a:pt x="10531475" y="1311463"/>
                  <a:pt x="10504170" y="1275904"/>
                </a:cubicBezTo>
                <a:cubicBezTo>
                  <a:pt x="10514965" y="1267013"/>
                  <a:pt x="10510520" y="1247329"/>
                  <a:pt x="10496550" y="1244788"/>
                </a:cubicBezTo>
                <a:cubicBezTo>
                  <a:pt x="10495280" y="1239074"/>
                  <a:pt x="10490200" y="1234629"/>
                  <a:pt x="10485120" y="1232724"/>
                </a:cubicBezTo>
                <a:cubicBezTo>
                  <a:pt x="10490835" y="1222563"/>
                  <a:pt x="10487660" y="1208594"/>
                  <a:pt x="10477500" y="1202244"/>
                </a:cubicBezTo>
                <a:cubicBezTo>
                  <a:pt x="10480040" y="1201609"/>
                  <a:pt x="10482580" y="1200338"/>
                  <a:pt x="10485120" y="1199069"/>
                </a:cubicBezTo>
                <a:cubicBezTo>
                  <a:pt x="10525125" y="1204784"/>
                  <a:pt x="10518140" y="1139379"/>
                  <a:pt x="10480040" y="1153349"/>
                </a:cubicBezTo>
                <a:cubicBezTo>
                  <a:pt x="10452100" y="1143188"/>
                  <a:pt x="10433050" y="1185734"/>
                  <a:pt x="10459720" y="1199704"/>
                </a:cubicBezTo>
                <a:cubicBezTo>
                  <a:pt x="10445750" y="1202244"/>
                  <a:pt x="10438765" y="1220024"/>
                  <a:pt x="10445750" y="1232088"/>
                </a:cubicBezTo>
                <a:close/>
                <a:moveTo>
                  <a:pt x="10840720" y="770444"/>
                </a:moveTo>
                <a:cubicBezTo>
                  <a:pt x="10824845" y="833944"/>
                  <a:pt x="10927080" y="790763"/>
                  <a:pt x="10870565" y="757744"/>
                </a:cubicBezTo>
                <a:cubicBezTo>
                  <a:pt x="10890250" y="688529"/>
                  <a:pt x="10777220" y="736154"/>
                  <a:pt x="10840720" y="770444"/>
                </a:cubicBezTo>
                <a:close/>
                <a:moveTo>
                  <a:pt x="10543540" y="1112709"/>
                </a:moveTo>
                <a:cubicBezTo>
                  <a:pt x="10544810" y="1112709"/>
                  <a:pt x="10545445" y="1112709"/>
                  <a:pt x="10546715" y="1112074"/>
                </a:cubicBezTo>
                <a:cubicBezTo>
                  <a:pt x="10581005" y="1134299"/>
                  <a:pt x="10601960" y="1070799"/>
                  <a:pt x="10560685" y="1068259"/>
                </a:cubicBezTo>
                <a:cubicBezTo>
                  <a:pt x="10525125" y="1038413"/>
                  <a:pt x="10496550" y="1110804"/>
                  <a:pt x="10543540" y="1112709"/>
                </a:cubicBezTo>
                <a:close/>
                <a:moveTo>
                  <a:pt x="10581005" y="1240344"/>
                </a:moveTo>
                <a:cubicBezTo>
                  <a:pt x="10563860" y="1251138"/>
                  <a:pt x="10581005" y="1277809"/>
                  <a:pt x="10598150" y="1266379"/>
                </a:cubicBezTo>
                <a:cubicBezTo>
                  <a:pt x="10614660" y="1255584"/>
                  <a:pt x="10597515" y="1228913"/>
                  <a:pt x="10581005" y="1240344"/>
                </a:cubicBezTo>
                <a:close/>
                <a:moveTo>
                  <a:pt x="10518775" y="1187004"/>
                </a:moveTo>
                <a:cubicBezTo>
                  <a:pt x="10520680" y="1188909"/>
                  <a:pt x="10523220" y="1190813"/>
                  <a:pt x="10525760" y="1192084"/>
                </a:cubicBezTo>
                <a:cubicBezTo>
                  <a:pt x="10526395" y="1199069"/>
                  <a:pt x="10532745" y="1206054"/>
                  <a:pt x="10539730" y="1207959"/>
                </a:cubicBezTo>
                <a:cubicBezTo>
                  <a:pt x="10539730" y="1214944"/>
                  <a:pt x="10544175" y="1221929"/>
                  <a:pt x="10551160" y="1224469"/>
                </a:cubicBezTo>
                <a:cubicBezTo>
                  <a:pt x="10504805" y="1262569"/>
                  <a:pt x="10607675" y="1266379"/>
                  <a:pt x="10563860" y="1225104"/>
                </a:cubicBezTo>
                <a:cubicBezTo>
                  <a:pt x="10579735" y="1220024"/>
                  <a:pt x="10580370" y="1196529"/>
                  <a:pt x="10564495" y="1190813"/>
                </a:cubicBezTo>
                <a:cubicBezTo>
                  <a:pt x="10565130" y="1183829"/>
                  <a:pt x="10561320" y="1175574"/>
                  <a:pt x="10554335" y="1171763"/>
                </a:cubicBezTo>
                <a:cubicBezTo>
                  <a:pt x="10554335" y="1167954"/>
                  <a:pt x="10553065" y="1164144"/>
                  <a:pt x="10551160" y="1160969"/>
                </a:cubicBezTo>
                <a:cubicBezTo>
                  <a:pt x="10582910" y="1115249"/>
                  <a:pt x="10489565" y="1110804"/>
                  <a:pt x="10516870" y="1159063"/>
                </a:cubicBezTo>
                <a:cubicBezTo>
                  <a:pt x="10511155" y="1167319"/>
                  <a:pt x="10511790" y="1179384"/>
                  <a:pt x="10518775" y="1187004"/>
                </a:cubicBezTo>
                <a:close/>
                <a:moveTo>
                  <a:pt x="10551795" y="1160334"/>
                </a:moveTo>
                <a:lnTo>
                  <a:pt x="10551795" y="1160334"/>
                </a:lnTo>
                <a:cubicBezTo>
                  <a:pt x="10551795" y="1160969"/>
                  <a:pt x="10551795" y="1160969"/>
                  <a:pt x="10551795" y="1160334"/>
                </a:cubicBezTo>
                <a:cubicBezTo>
                  <a:pt x="10551795" y="1160969"/>
                  <a:pt x="10551795" y="1160969"/>
                  <a:pt x="10551795" y="1160334"/>
                </a:cubicBezTo>
                <a:close/>
                <a:moveTo>
                  <a:pt x="10746740" y="1087944"/>
                </a:moveTo>
                <a:cubicBezTo>
                  <a:pt x="10746740" y="1087944"/>
                  <a:pt x="10746740" y="1087944"/>
                  <a:pt x="10746740" y="1087944"/>
                </a:cubicBezTo>
                <a:cubicBezTo>
                  <a:pt x="10728325" y="1100009"/>
                  <a:pt x="10747375" y="1128584"/>
                  <a:pt x="10765155" y="1116519"/>
                </a:cubicBezTo>
                <a:cubicBezTo>
                  <a:pt x="10783570" y="1105088"/>
                  <a:pt x="10764520" y="1075879"/>
                  <a:pt x="10746740" y="1087944"/>
                </a:cubicBezTo>
                <a:close/>
                <a:moveTo>
                  <a:pt x="10595610" y="1123504"/>
                </a:moveTo>
                <a:cubicBezTo>
                  <a:pt x="10593070" y="1133029"/>
                  <a:pt x="10599420" y="1143824"/>
                  <a:pt x="10608945" y="1146363"/>
                </a:cubicBezTo>
                <a:cubicBezTo>
                  <a:pt x="10598785" y="1193988"/>
                  <a:pt x="10674350" y="1160969"/>
                  <a:pt x="10632440" y="1136204"/>
                </a:cubicBezTo>
                <a:cubicBezTo>
                  <a:pt x="10636885" y="1127313"/>
                  <a:pt x="10633710" y="1115249"/>
                  <a:pt x="10624185" y="1110804"/>
                </a:cubicBezTo>
                <a:cubicBezTo>
                  <a:pt x="10626725" y="1103819"/>
                  <a:pt x="10624820" y="1094929"/>
                  <a:pt x="10619105" y="1089213"/>
                </a:cubicBezTo>
                <a:cubicBezTo>
                  <a:pt x="10664825" y="1041588"/>
                  <a:pt x="10553065" y="1033969"/>
                  <a:pt x="10591800" y="1087309"/>
                </a:cubicBezTo>
                <a:cubicBezTo>
                  <a:pt x="10579100" y="1096199"/>
                  <a:pt x="10581005" y="1117788"/>
                  <a:pt x="10595610" y="1123504"/>
                </a:cubicBezTo>
                <a:close/>
                <a:moveTo>
                  <a:pt x="10754360" y="949513"/>
                </a:moveTo>
                <a:cubicBezTo>
                  <a:pt x="10796270" y="947609"/>
                  <a:pt x="10770870" y="883474"/>
                  <a:pt x="10739120" y="910144"/>
                </a:cubicBezTo>
                <a:cubicBezTo>
                  <a:pt x="10723880" y="923479"/>
                  <a:pt x="10734675" y="950149"/>
                  <a:pt x="10754360" y="949513"/>
                </a:cubicBezTo>
                <a:close/>
                <a:moveTo>
                  <a:pt x="10683875" y="937449"/>
                </a:moveTo>
                <a:cubicBezTo>
                  <a:pt x="10696575" y="985074"/>
                  <a:pt x="10760710" y="933638"/>
                  <a:pt x="10716895" y="911413"/>
                </a:cubicBezTo>
                <a:cubicBezTo>
                  <a:pt x="10706100" y="855534"/>
                  <a:pt x="10632440" y="914588"/>
                  <a:pt x="10683875" y="937449"/>
                </a:cubicBezTo>
                <a:close/>
                <a:moveTo>
                  <a:pt x="10612755" y="1024444"/>
                </a:moveTo>
                <a:cubicBezTo>
                  <a:pt x="10636885" y="1061274"/>
                  <a:pt x="10681335" y="1003488"/>
                  <a:pt x="10640060" y="988884"/>
                </a:cubicBezTo>
                <a:cubicBezTo>
                  <a:pt x="10614660" y="943163"/>
                  <a:pt x="10561955" y="1012379"/>
                  <a:pt x="10612755" y="1024444"/>
                </a:cubicBezTo>
                <a:close/>
                <a:moveTo>
                  <a:pt x="9133840" y="2333179"/>
                </a:moveTo>
                <a:cubicBezTo>
                  <a:pt x="9123680" y="2336989"/>
                  <a:pt x="9119235" y="2349054"/>
                  <a:pt x="9123680" y="2359214"/>
                </a:cubicBezTo>
                <a:cubicBezTo>
                  <a:pt x="9152255" y="2402394"/>
                  <a:pt x="9184005" y="2321114"/>
                  <a:pt x="9133840" y="2333179"/>
                </a:cubicBezTo>
                <a:close/>
                <a:moveTo>
                  <a:pt x="9323705" y="2261424"/>
                </a:moveTo>
                <a:cubicBezTo>
                  <a:pt x="9311640" y="2238564"/>
                  <a:pt x="9276715" y="2258249"/>
                  <a:pt x="9288780" y="2280474"/>
                </a:cubicBezTo>
                <a:cubicBezTo>
                  <a:pt x="9301480" y="2302699"/>
                  <a:pt x="9336405" y="2283649"/>
                  <a:pt x="9323705" y="2261424"/>
                </a:cubicBezTo>
                <a:close/>
                <a:moveTo>
                  <a:pt x="9302750" y="2412554"/>
                </a:moveTo>
                <a:cubicBezTo>
                  <a:pt x="9318625" y="2437319"/>
                  <a:pt x="9356725" y="2411284"/>
                  <a:pt x="9340215" y="2387154"/>
                </a:cubicBezTo>
                <a:cubicBezTo>
                  <a:pt x="9324340" y="2363024"/>
                  <a:pt x="9286240" y="2388424"/>
                  <a:pt x="9302750" y="2412554"/>
                </a:cubicBezTo>
                <a:close/>
                <a:moveTo>
                  <a:pt x="9387840" y="2354134"/>
                </a:moveTo>
                <a:cubicBezTo>
                  <a:pt x="9404985" y="2378264"/>
                  <a:pt x="9441815" y="2350959"/>
                  <a:pt x="9424035" y="2327464"/>
                </a:cubicBezTo>
                <a:cubicBezTo>
                  <a:pt x="9406890" y="2303334"/>
                  <a:pt x="9370060" y="2330639"/>
                  <a:pt x="9387840" y="2354134"/>
                </a:cubicBezTo>
                <a:close/>
                <a:moveTo>
                  <a:pt x="10891520" y="884744"/>
                </a:moveTo>
                <a:cubicBezTo>
                  <a:pt x="10870565" y="899349"/>
                  <a:pt x="10894060" y="931734"/>
                  <a:pt x="10914380" y="917129"/>
                </a:cubicBezTo>
                <a:cubicBezTo>
                  <a:pt x="10935970" y="902524"/>
                  <a:pt x="10912475" y="870138"/>
                  <a:pt x="10891520" y="884744"/>
                </a:cubicBezTo>
                <a:close/>
                <a:moveTo>
                  <a:pt x="9436735" y="1981388"/>
                </a:moveTo>
                <a:cubicBezTo>
                  <a:pt x="9458325" y="1981388"/>
                  <a:pt x="9452610" y="1947099"/>
                  <a:pt x="9431655" y="1954084"/>
                </a:cubicBezTo>
                <a:cubicBezTo>
                  <a:pt x="9417685" y="1959163"/>
                  <a:pt x="9421495" y="1982024"/>
                  <a:pt x="9436735" y="1981388"/>
                </a:cubicBezTo>
                <a:close/>
                <a:moveTo>
                  <a:pt x="9403080" y="2215069"/>
                </a:moveTo>
                <a:cubicBezTo>
                  <a:pt x="9397365" y="2205544"/>
                  <a:pt x="9385300" y="2202369"/>
                  <a:pt x="9375775" y="2208084"/>
                </a:cubicBezTo>
                <a:cubicBezTo>
                  <a:pt x="9375775" y="2208084"/>
                  <a:pt x="9375775" y="2208084"/>
                  <a:pt x="9375775" y="2208084"/>
                </a:cubicBezTo>
                <a:cubicBezTo>
                  <a:pt x="9337040" y="2242374"/>
                  <a:pt x="9421495" y="2263329"/>
                  <a:pt x="9403080" y="2215069"/>
                </a:cubicBezTo>
                <a:close/>
                <a:moveTo>
                  <a:pt x="9460865" y="2048063"/>
                </a:moveTo>
                <a:cubicBezTo>
                  <a:pt x="9441180" y="2058224"/>
                  <a:pt x="9457055" y="2088704"/>
                  <a:pt x="9476740" y="2077909"/>
                </a:cubicBezTo>
                <a:cubicBezTo>
                  <a:pt x="9496425" y="2068384"/>
                  <a:pt x="9480550" y="2037904"/>
                  <a:pt x="9460865" y="2048063"/>
                </a:cubicBezTo>
                <a:close/>
                <a:moveTo>
                  <a:pt x="9463405" y="1915349"/>
                </a:moveTo>
                <a:cubicBezTo>
                  <a:pt x="9482455" y="1915349"/>
                  <a:pt x="9478010" y="1884869"/>
                  <a:pt x="9459595" y="1890584"/>
                </a:cubicBezTo>
                <a:cubicBezTo>
                  <a:pt x="9445625" y="1893759"/>
                  <a:pt x="9449435" y="1915349"/>
                  <a:pt x="9463405" y="1915349"/>
                </a:cubicBezTo>
                <a:close/>
                <a:moveTo>
                  <a:pt x="9401810" y="2022029"/>
                </a:moveTo>
                <a:cubicBezTo>
                  <a:pt x="9383395" y="2029649"/>
                  <a:pt x="9395460" y="2058859"/>
                  <a:pt x="9413875" y="2050604"/>
                </a:cubicBezTo>
                <a:cubicBezTo>
                  <a:pt x="9432290" y="2042984"/>
                  <a:pt x="9420225" y="2013774"/>
                  <a:pt x="9401810" y="2022029"/>
                </a:cubicBezTo>
                <a:close/>
                <a:moveTo>
                  <a:pt x="9145905" y="2530029"/>
                </a:moveTo>
                <a:cubicBezTo>
                  <a:pt x="9182735" y="2529394"/>
                  <a:pt x="9168130" y="2470339"/>
                  <a:pt x="9135110" y="2487484"/>
                </a:cubicBezTo>
                <a:cubicBezTo>
                  <a:pt x="9114790" y="2497644"/>
                  <a:pt x="9123680" y="2530664"/>
                  <a:pt x="9145905" y="2530029"/>
                </a:cubicBezTo>
                <a:close/>
                <a:moveTo>
                  <a:pt x="9255125" y="2178239"/>
                </a:moveTo>
                <a:cubicBezTo>
                  <a:pt x="9276080" y="2170619"/>
                  <a:pt x="9263380" y="2138234"/>
                  <a:pt x="9243060" y="2146489"/>
                </a:cubicBezTo>
                <a:cubicBezTo>
                  <a:pt x="9222105" y="2154109"/>
                  <a:pt x="9234805" y="2186494"/>
                  <a:pt x="9255125" y="2178239"/>
                </a:cubicBezTo>
                <a:close/>
                <a:moveTo>
                  <a:pt x="9242425" y="2303969"/>
                </a:moveTo>
                <a:cubicBezTo>
                  <a:pt x="9231630" y="2281109"/>
                  <a:pt x="9195435" y="2298254"/>
                  <a:pt x="9206865" y="2321114"/>
                </a:cubicBezTo>
                <a:cubicBezTo>
                  <a:pt x="9218295" y="2344609"/>
                  <a:pt x="9254490" y="2326829"/>
                  <a:pt x="9242425" y="2303969"/>
                </a:cubicBezTo>
                <a:close/>
                <a:moveTo>
                  <a:pt x="9208135" y="2268409"/>
                </a:moveTo>
                <a:cubicBezTo>
                  <a:pt x="9230360" y="2259519"/>
                  <a:pt x="9215755" y="2225229"/>
                  <a:pt x="9194165" y="2234754"/>
                </a:cubicBezTo>
                <a:cubicBezTo>
                  <a:pt x="9171940" y="2243009"/>
                  <a:pt x="9186545" y="2277934"/>
                  <a:pt x="9208135" y="2268409"/>
                </a:cubicBezTo>
                <a:close/>
                <a:moveTo>
                  <a:pt x="9096375" y="2473514"/>
                </a:moveTo>
                <a:cubicBezTo>
                  <a:pt x="9121775" y="2462719"/>
                  <a:pt x="9103995" y="2423349"/>
                  <a:pt x="9079230" y="2434779"/>
                </a:cubicBezTo>
                <a:cubicBezTo>
                  <a:pt x="9053195" y="2446209"/>
                  <a:pt x="9071610" y="2485579"/>
                  <a:pt x="9096375" y="2473514"/>
                </a:cubicBezTo>
                <a:close/>
                <a:moveTo>
                  <a:pt x="9254490" y="2443669"/>
                </a:moveTo>
                <a:cubicBezTo>
                  <a:pt x="9239250" y="2418269"/>
                  <a:pt x="9200515" y="2442399"/>
                  <a:pt x="9215755" y="2467164"/>
                </a:cubicBezTo>
                <a:cubicBezTo>
                  <a:pt x="9230995" y="2492564"/>
                  <a:pt x="9269730" y="2468434"/>
                  <a:pt x="9254490" y="2443669"/>
                </a:cubicBezTo>
                <a:close/>
                <a:moveTo>
                  <a:pt x="9091930" y="2197289"/>
                </a:moveTo>
                <a:cubicBezTo>
                  <a:pt x="9073515" y="2202369"/>
                  <a:pt x="9077960" y="2230944"/>
                  <a:pt x="9096375" y="2230309"/>
                </a:cubicBezTo>
                <a:cubicBezTo>
                  <a:pt x="9121775" y="2230944"/>
                  <a:pt x="9116060" y="2190304"/>
                  <a:pt x="9091930" y="2197289"/>
                </a:cubicBezTo>
                <a:close/>
                <a:moveTo>
                  <a:pt x="9598025" y="2133154"/>
                </a:moveTo>
                <a:cubicBezTo>
                  <a:pt x="9580880" y="2111564"/>
                  <a:pt x="9547860" y="2138234"/>
                  <a:pt x="9565005" y="2159824"/>
                </a:cubicBezTo>
                <a:cubicBezTo>
                  <a:pt x="9582150" y="2181414"/>
                  <a:pt x="9615805" y="2154109"/>
                  <a:pt x="9598025" y="2133154"/>
                </a:cubicBezTo>
                <a:close/>
                <a:moveTo>
                  <a:pt x="9044305" y="2533839"/>
                </a:moveTo>
                <a:cubicBezTo>
                  <a:pt x="9033510" y="2538919"/>
                  <a:pt x="9028430" y="2552889"/>
                  <a:pt x="9033510" y="2563684"/>
                </a:cubicBezTo>
                <a:cubicBezTo>
                  <a:pt x="9068435" y="2611944"/>
                  <a:pt x="9101455" y="2517329"/>
                  <a:pt x="9044305" y="2533839"/>
                </a:cubicBezTo>
                <a:close/>
                <a:moveTo>
                  <a:pt x="9127490" y="2300159"/>
                </a:moveTo>
                <a:cubicBezTo>
                  <a:pt x="9149715" y="2292539"/>
                  <a:pt x="9137015" y="2256979"/>
                  <a:pt x="9114790" y="2265869"/>
                </a:cubicBezTo>
                <a:cubicBezTo>
                  <a:pt x="9092565" y="2273489"/>
                  <a:pt x="9105265" y="2308414"/>
                  <a:pt x="9127490" y="2300159"/>
                </a:cubicBezTo>
                <a:close/>
                <a:moveTo>
                  <a:pt x="9173210" y="2206814"/>
                </a:moveTo>
                <a:cubicBezTo>
                  <a:pt x="9198610" y="2206814"/>
                  <a:pt x="9192260" y="2165539"/>
                  <a:pt x="9168130" y="2173794"/>
                </a:cubicBezTo>
                <a:cubicBezTo>
                  <a:pt x="9149715" y="2178874"/>
                  <a:pt x="9154795" y="2207449"/>
                  <a:pt x="9173210" y="2206814"/>
                </a:cubicBezTo>
                <a:close/>
                <a:moveTo>
                  <a:pt x="9643110" y="1853119"/>
                </a:moveTo>
                <a:cubicBezTo>
                  <a:pt x="9662795" y="1853119"/>
                  <a:pt x="9657080" y="1821369"/>
                  <a:pt x="9638665" y="1828354"/>
                </a:cubicBezTo>
                <a:cubicBezTo>
                  <a:pt x="9625965" y="1833434"/>
                  <a:pt x="9629775" y="1853754"/>
                  <a:pt x="9643110" y="1853119"/>
                </a:cubicBezTo>
                <a:close/>
                <a:moveTo>
                  <a:pt x="9596120" y="1947099"/>
                </a:moveTo>
                <a:cubicBezTo>
                  <a:pt x="9605645" y="1964879"/>
                  <a:pt x="9632950" y="1950274"/>
                  <a:pt x="9623425" y="1932494"/>
                </a:cubicBezTo>
                <a:cubicBezTo>
                  <a:pt x="9614535" y="1914713"/>
                  <a:pt x="9586595" y="1929319"/>
                  <a:pt x="9596120" y="1947099"/>
                </a:cubicBezTo>
                <a:close/>
                <a:moveTo>
                  <a:pt x="9628505" y="1902013"/>
                </a:moveTo>
                <a:cubicBezTo>
                  <a:pt x="9651365" y="1901379"/>
                  <a:pt x="9643110" y="1865819"/>
                  <a:pt x="9622155" y="1875344"/>
                </a:cubicBezTo>
                <a:cubicBezTo>
                  <a:pt x="9608820" y="1881059"/>
                  <a:pt x="9613900" y="1902649"/>
                  <a:pt x="9628505" y="1902013"/>
                </a:cubicBezTo>
                <a:close/>
                <a:moveTo>
                  <a:pt x="9584055" y="1875344"/>
                </a:moveTo>
                <a:cubicBezTo>
                  <a:pt x="9603740" y="1875344"/>
                  <a:pt x="9598025" y="1844229"/>
                  <a:pt x="9579610" y="1850579"/>
                </a:cubicBezTo>
                <a:cubicBezTo>
                  <a:pt x="9566275" y="1855024"/>
                  <a:pt x="9570085" y="1875979"/>
                  <a:pt x="9584055" y="1875344"/>
                </a:cubicBezTo>
                <a:close/>
                <a:moveTo>
                  <a:pt x="9552305" y="2195384"/>
                </a:moveTo>
                <a:cubicBezTo>
                  <a:pt x="9530080" y="2214434"/>
                  <a:pt x="9559925" y="2248724"/>
                  <a:pt x="9581515" y="2229674"/>
                </a:cubicBezTo>
                <a:cubicBezTo>
                  <a:pt x="9604375" y="2211259"/>
                  <a:pt x="9574530" y="2176334"/>
                  <a:pt x="9552305" y="2195384"/>
                </a:cubicBezTo>
                <a:close/>
                <a:moveTo>
                  <a:pt x="9569450" y="2032824"/>
                </a:moveTo>
                <a:cubicBezTo>
                  <a:pt x="9549130" y="2045524"/>
                  <a:pt x="9570085" y="2076638"/>
                  <a:pt x="9589770" y="2063304"/>
                </a:cubicBezTo>
                <a:cubicBezTo>
                  <a:pt x="9610090" y="2050604"/>
                  <a:pt x="9589135" y="2019488"/>
                  <a:pt x="9569450" y="2032824"/>
                </a:cubicBezTo>
                <a:close/>
                <a:moveTo>
                  <a:pt x="9565640" y="1930588"/>
                </a:moveTo>
                <a:cubicBezTo>
                  <a:pt x="9587865" y="1930588"/>
                  <a:pt x="9580880" y="1895029"/>
                  <a:pt x="9559925" y="1903284"/>
                </a:cubicBezTo>
                <a:cubicBezTo>
                  <a:pt x="9545955" y="1908999"/>
                  <a:pt x="9550400" y="1931224"/>
                  <a:pt x="9565640" y="1930588"/>
                </a:cubicBezTo>
                <a:close/>
                <a:moveTo>
                  <a:pt x="9608820" y="2001074"/>
                </a:moveTo>
                <a:cubicBezTo>
                  <a:pt x="9637395" y="2000438"/>
                  <a:pt x="9624695" y="1955354"/>
                  <a:pt x="9599930" y="1969959"/>
                </a:cubicBezTo>
                <a:cubicBezTo>
                  <a:pt x="9585325" y="1978213"/>
                  <a:pt x="9592310" y="2001709"/>
                  <a:pt x="9608820" y="2001074"/>
                </a:cubicBezTo>
                <a:close/>
                <a:moveTo>
                  <a:pt x="9625965" y="2087434"/>
                </a:moveTo>
                <a:cubicBezTo>
                  <a:pt x="9646920" y="2072194"/>
                  <a:pt x="9622790" y="2040444"/>
                  <a:pt x="9602470" y="2055684"/>
                </a:cubicBezTo>
                <a:cubicBezTo>
                  <a:pt x="9581515" y="2070924"/>
                  <a:pt x="9605645" y="2102674"/>
                  <a:pt x="9625965" y="2087434"/>
                </a:cubicBezTo>
                <a:close/>
                <a:moveTo>
                  <a:pt x="9469755" y="2292539"/>
                </a:moveTo>
                <a:cubicBezTo>
                  <a:pt x="9487535" y="2316034"/>
                  <a:pt x="9523730" y="2286824"/>
                  <a:pt x="9505315" y="2264599"/>
                </a:cubicBezTo>
                <a:cubicBezTo>
                  <a:pt x="9487535" y="2241104"/>
                  <a:pt x="9451340" y="2269679"/>
                  <a:pt x="9469755" y="2292539"/>
                </a:cubicBezTo>
                <a:close/>
                <a:moveTo>
                  <a:pt x="9482455" y="2020759"/>
                </a:moveTo>
                <a:cubicBezTo>
                  <a:pt x="9500870" y="2012504"/>
                  <a:pt x="9487535" y="1983929"/>
                  <a:pt x="9469755" y="1992819"/>
                </a:cubicBezTo>
                <a:cubicBezTo>
                  <a:pt x="9451340" y="2000438"/>
                  <a:pt x="9464675" y="2029013"/>
                  <a:pt x="9482455" y="2020759"/>
                </a:cubicBezTo>
                <a:close/>
                <a:moveTo>
                  <a:pt x="9501505" y="1957259"/>
                </a:moveTo>
                <a:cubicBezTo>
                  <a:pt x="9523730" y="1957259"/>
                  <a:pt x="9516745" y="1922334"/>
                  <a:pt x="9496425" y="1929954"/>
                </a:cubicBezTo>
                <a:cubicBezTo>
                  <a:pt x="9481820" y="1935034"/>
                  <a:pt x="9486900" y="1957894"/>
                  <a:pt x="9501505" y="1957259"/>
                </a:cubicBezTo>
                <a:close/>
                <a:moveTo>
                  <a:pt x="9453245" y="2160459"/>
                </a:moveTo>
                <a:cubicBezTo>
                  <a:pt x="9436735" y="2170619"/>
                  <a:pt x="9444990" y="2197289"/>
                  <a:pt x="9464040" y="2196654"/>
                </a:cubicBezTo>
                <a:cubicBezTo>
                  <a:pt x="9497695" y="2195384"/>
                  <a:pt x="9481820" y="2142679"/>
                  <a:pt x="9453245" y="2160459"/>
                </a:cubicBezTo>
                <a:close/>
                <a:moveTo>
                  <a:pt x="9424035" y="2122359"/>
                </a:moveTo>
                <a:cubicBezTo>
                  <a:pt x="9403080" y="2133789"/>
                  <a:pt x="9421495" y="2166174"/>
                  <a:pt x="9441815" y="2154109"/>
                </a:cubicBezTo>
                <a:cubicBezTo>
                  <a:pt x="9463405" y="2142679"/>
                  <a:pt x="9444990" y="2110294"/>
                  <a:pt x="9424035" y="2122359"/>
                </a:cubicBezTo>
                <a:close/>
                <a:moveTo>
                  <a:pt x="9539605" y="2041713"/>
                </a:moveTo>
                <a:cubicBezTo>
                  <a:pt x="9567545" y="2041079"/>
                  <a:pt x="9556115" y="1996629"/>
                  <a:pt x="9531350" y="2009963"/>
                </a:cubicBezTo>
                <a:cubicBezTo>
                  <a:pt x="9516110" y="2018219"/>
                  <a:pt x="9522460" y="2042349"/>
                  <a:pt x="9539605" y="2041713"/>
                </a:cubicBezTo>
                <a:close/>
                <a:moveTo>
                  <a:pt x="9529445" y="1981388"/>
                </a:moveTo>
                <a:cubicBezTo>
                  <a:pt x="9538335" y="1999804"/>
                  <a:pt x="9566275" y="1985199"/>
                  <a:pt x="9557385" y="1967419"/>
                </a:cubicBezTo>
                <a:cubicBezTo>
                  <a:pt x="9548495" y="1949004"/>
                  <a:pt x="9520555" y="1962974"/>
                  <a:pt x="9529445" y="1981388"/>
                </a:cubicBezTo>
                <a:close/>
                <a:moveTo>
                  <a:pt x="9497695" y="2078544"/>
                </a:moveTo>
                <a:cubicBezTo>
                  <a:pt x="9477375" y="2090609"/>
                  <a:pt x="9497060" y="2122359"/>
                  <a:pt x="9516745" y="2109659"/>
                </a:cubicBezTo>
                <a:cubicBezTo>
                  <a:pt x="9537700" y="2098229"/>
                  <a:pt x="9518015" y="2065844"/>
                  <a:pt x="9497695" y="2078544"/>
                </a:cubicBezTo>
                <a:close/>
                <a:moveTo>
                  <a:pt x="9523730" y="1896299"/>
                </a:moveTo>
                <a:cubicBezTo>
                  <a:pt x="9542780" y="1896299"/>
                  <a:pt x="9537700" y="1865819"/>
                  <a:pt x="9519920" y="1871534"/>
                </a:cubicBezTo>
                <a:cubicBezTo>
                  <a:pt x="9506585" y="1875344"/>
                  <a:pt x="9509760" y="1896299"/>
                  <a:pt x="9523730" y="1896299"/>
                </a:cubicBezTo>
                <a:close/>
                <a:moveTo>
                  <a:pt x="11238230" y="618679"/>
                </a:moveTo>
                <a:cubicBezTo>
                  <a:pt x="11224260" y="595184"/>
                  <a:pt x="11187430" y="617409"/>
                  <a:pt x="11202035" y="640269"/>
                </a:cubicBezTo>
                <a:cubicBezTo>
                  <a:pt x="11215370" y="664399"/>
                  <a:pt x="11252200" y="642174"/>
                  <a:pt x="11238230" y="618679"/>
                </a:cubicBezTo>
                <a:close/>
                <a:moveTo>
                  <a:pt x="11771630" y="224344"/>
                </a:moveTo>
                <a:cubicBezTo>
                  <a:pt x="11807825" y="224344"/>
                  <a:pt x="11798300" y="166558"/>
                  <a:pt x="11764010" y="177354"/>
                </a:cubicBezTo>
                <a:cubicBezTo>
                  <a:pt x="11738610" y="184974"/>
                  <a:pt x="11745595" y="224979"/>
                  <a:pt x="11771630" y="224344"/>
                </a:cubicBezTo>
                <a:close/>
                <a:moveTo>
                  <a:pt x="11750675" y="413574"/>
                </a:moveTo>
                <a:cubicBezTo>
                  <a:pt x="11782425" y="413574"/>
                  <a:pt x="11774805" y="363408"/>
                  <a:pt x="11744960" y="372299"/>
                </a:cubicBezTo>
                <a:cubicBezTo>
                  <a:pt x="11722100" y="378649"/>
                  <a:pt x="11727180" y="414844"/>
                  <a:pt x="11750675" y="413574"/>
                </a:cubicBezTo>
                <a:close/>
                <a:moveTo>
                  <a:pt x="11783060" y="128458"/>
                </a:moveTo>
                <a:cubicBezTo>
                  <a:pt x="11821795" y="128458"/>
                  <a:pt x="11811000" y="66229"/>
                  <a:pt x="11774805" y="78929"/>
                </a:cubicBezTo>
                <a:cubicBezTo>
                  <a:pt x="11748135" y="87819"/>
                  <a:pt x="11755755" y="129729"/>
                  <a:pt x="11783060" y="128458"/>
                </a:cubicBezTo>
                <a:close/>
                <a:moveTo>
                  <a:pt x="11567795" y="477074"/>
                </a:moveTo>
                <a:cubicBezTo>
                  <a:pt x="11600815" y="476438"/>
                  <a:pt x="11590655" y="424369"/>
                  <a:pt x="11560175" y="436433"/>
                </a:cubicBezTo>
                <a:cubicBezTo>
                  <a:pt x="11537950" y="444054"/>
                  <a:pt x="11544935" y="478344"/>
                  <a:pt x="11567795" y="477074"/>
                </a:cubicBezTo>
                <a:close/>
                <a:moveTo>
                  <a:pt x="11791315" y="263713"/>
                </a:moveTo>
                <a:cubicBezTo>
                  <a:pt x="11762740" y="271333"/>
                  <a:pt x="11776075" y="315783"/>
                  <a:pt x="11804015" y="306894"/>
                </a:cubicBezTo>
                <a:cubicBezTo>
                  <a:pt x="11832590" y="299274"/>
                  <a:pt x="11819255" y="255458"/>
                  <a:pt x="11791315" y="263713"/>
                </a:cubicBezTo>
                <a:close/>
                <a:moveTo>
                  <a:pt x="11845290" y="388808"/>
                </a:moveTo>
                <a:cubicBezTo>
                  <a:pt x="11875770" y="388808"/>
                  <a:pt x="11870055" y="339913"/>
                  <a:pt x="11840210" y="346899"/>
                </a:cubicBezTo>
                <a:cubicBezTo>
                  <a:pt x="11816080" y="351979"/>
                  <a:pt x="11821160" y="389444"/>
                  <a:pt x="11845290" y="388808"/>
                </a:cubicBezTo>
                <a:close/>
                <a:moveTo>
                  <a:pt x="11764010" y="556449"/>
                </a:moveTo>
                <a:cubicBezTo>
                  <a:pt x="11740515" y="561529"/>
                  <a:pt x="11749405" y="597724"/>
                  <a:pt x="11772265" y="592009"/>
                </a:cubicBezTo>
                <a:cubicBezTo>
                  <a:pt x="11795760" y="586929"/>
                  <a:pt x="11787505" y="550734"/>
                  <a:pt x="11764010" y="556449"/>
                </a:cubicBezTo>
                <a:close/>
                <a:moveTo>
                  <a:pt x="11804015" y="451674"/>
                </a:moveTo>
                <a:cubicBezTo>
                  <a:pt x="11778615" y="457388"/>
                  <a:pt x="11788140" y="496124"/>
                  <a:pt x="11812905" y="490408"/>
                </a:cubicBezTo>
                <a:cubicBezTo>
                  <a:pt x="11838305" y="484694"/>
                  <a:pt x="11828780" y="445324"/>
                  <a:pt x="11804015" y="451674"/>
                </a:cubicBezTo>
                <a:close/>
                <a:moveTo>
                  <a:pt x="11680190" y="577404"/>
                </a:moveTo>
                <a:cubicBezTo>
                  <a:pt x="11657330" y="583119"/>
                  <a:pt x="11666855" y="619313"/>
                  <a:pt x="11689715" y="612963"/>
                </a:cubicBezTo>
                <a:cubicBezTo>
                  <a:pt x="11712575" y="606613"/>
                  <a:pt x="11703050" y="570419"/>
                  <a:pt x="11680190" y="577404"/>
                </a:cubicBezTo>
                <a:close/>
                <a:moveTo>
                  <a:pt x="11834495" y="559624"/>
                </a:moveTo>
                <a:cubicBezTo>
                  <a:pt x="11851640" y="604709"/>
                  <a:pt x="11897360" y="537399"/>
                  <a:pt x="11849100" y="538034"/>
                </a:cubicBezTo>
                <a:cubicBezTo>
                  <a:pt x="11839575" y="539938"/>
                  <a:pt x="11832590" y="549463"/>
                  <a:pt x="11834495" y="559624"/>
                </a:cubicBezTo>
                <a:close/>
                <a:moveTo>
                  <a:pt x="11707495" y="338644"/>
                </a:moveTo>
                <a:cubicBezTo>
                  <a:pt x="11735435" y="329119"/>
                  <a:pt x="11720195" y="285938"/>
                  <a:pt x="11692255" y="296099"/>
                </a:cubicBezTo>
                <a:cubicBezTo>
                  <a:pt x="11664315" y="304988"/>
                  <a:pt x="11680190" y="348804"/>
                  <a:pt x="11707495" y="338644"/>
                </a:cubicBezTo>
                <a:close/>
                <a:moveTo>
                  <a:pt x="11597005" y="601534"/>
                </a:moveTo>
                <a:cubicBezTo>
                  <a:pt x="11574145" y="608519"/>
                  <a:pt x="11585575" y="644079"/>
                  <a:pt x="11607800" y="636459"/>
                </a:cubicBezTo>
                <a:cubicBezTo>
                  <a:pt x="11630660" y="630109"/>
                  <a:pt x="11619230" y="593913"/>
                  <a:pt x="11597005" y="601534"/>
                </a:cubicBezTo>
                <a:close/>
                <a:moveTo>
                  <a:pt x="11583035" y="362774"/>
                </a:moveTo>
                <a:cubicBezTo>
                  <a:pt x="11593830" y="390079"/>
                  <a:pt x="11636375" y="372299"/>
                  <a:pt x="11624945" y="345629"/>
                </a:cubicBezTo>
                <a:cubicBezTo>
                  <a:pt x="11614150" y="318324"/>
                  <a:pt x="11571605" y="335469"/>
                  <a:pt x="11583035" y="362774"/>
                </a:cubicBezTo>
                <a:close/>
                <a:moveTo>
                  <a:pt x="11570335" y="305624"/>
                </a:moveTo>
                <a:cubicBezTo>
                  <a:pt x="11608435" y="304988"/>
                  <a:pt x="11595100" y="244029"/>
                  <a:pt x="11560175" y="259904"/>
                </a:cubicBezTo>
                <a:cubicBezTo>
                  <a:pt x="11537315" y="269429"/>
                  <a:pt x="11545570" y="306258"/>
                  <a:pt x="11570335" y="305624"/>
                </a:cubicBezTo>
                <a:close/>
                <a:moveTo>
                  <a:pt x="11572875" y="218629"/>
                </a:moveTo>
                <a:cubicBezTo>
                  <a:pt x="11614150" y="217994"/>
                  <a:pt x="11598275" y="152588"/>
                  <a:pt x="11561445" y="170369"/>
                </a:cubicBezTo>
                <a:cubicBezTo>
                  <a:pt x="11537950" y="181799"/>
                  <a:pt x="11547475" y="219899"/>
                  <a:pt x="11572875" y="218629"/>
                </a:cubicBezTo>
                <a:close/>
                <a:moveTo>
                  <a:pt x="11670030" y="261808"/>
                </a:moveTo>
                <a:cubicBezTo>
                  <a:pt x="11707495" y="261174"/>
                  <a:pt x="11696065" y="202119"/>
                  <a:pt x="11661140" y="215454"/>
                </a:cubicBezTo>
                <a:cubicBezTo>
                  <a:pt x="11637010" y="224344"/>
                  <a:pt x="11644630" y="263079"/>
                  <a:pt x="11670030" y="261808"/>
                </a:cubicBezTo>
                <a:close/>
                <a:moveTo>
                  <a:pt x="11613515" y="526604"/>
                </a:moveTo>
                <a:cubicBezTo>
                  <a:pt x="11621135" y="551369"/>
                  <a:pt x="11659235" y="538034"/>
                  <a:pt x="11650980" y="513904"/>
                </a:cubicBezTo>
                <a:cubicBezTo>
                  <a:pt x="11643360" y="489774"/>
                  <a:pt x="11605260" y="502474"/>
                  <a:pt x="11613515" y="526604"/>
                </a:cubicBezTo>
                <a:close/>
                <a:moveTo>
                  <a:pt x="11676380" y="170369"/>
                </a:moveTo>
                <a:cubicBezTo>
                  <a:pt x="11716385" y="169733"/>
                  <a:pt x="11703685" y="106233"/>
                  <a:pt x="11666220" y="121474"/>
                </a:cubicBezTo>
                <a:cubicBezTo>
                  <a:pt x="11641455" y="131633"/>
                  <a:pt x="11649710" y="171004"/>
                  <a:pt x="11676380" y="170369"/>
                </a:cubicBezTo>
                <a:close/>
                <a:moveTo>
                  <a:pt x="11658600" y="443419"/>
                </a:moveTo>
                <a:cubicBezTo>
                  <a:pt x="11690985" y="442783"/>
                  <a:pt x="11682095" y="391983"/>
                  <a:pt x="11651615" y="402144"/>
                </a:cubicBezTo>
                <a:cubicBezTo>
                  <a:pt x="11629390" y="409129"/>
                  <a:pt x="11635740" y="444054"/>
                  <a:pt x="11658600" y="443419"/>
                </a:cubicBezTo>
                <a:close/>
                <a:moveTo>
                  <a:pt x="11738610" y="488504"/>
                </a:moveTo>
                <a:cubicBezTo>
                  <a:pt x="11716385" y="441513"/>
                  <a:pt x="11673205" y="518349"/>
                  <a:pt x="11725275" y="512633"/>
                </a:cubicBezTo>
                <a:lnTo>
                  <a:pt x="11725275" y="512633"/>
                </a:lnTo>
                <a:cubicBezTo>
                  <a:pt x="11736070" y="510094"/>
                  <a:pt x="11741785" y="498663"/>
                  <a:pt x="11738610" y="488504"/>
                </a:cubicBezTo>
                <a:close/>
                <a:moveTo>
                  <a:pt x="12115800" y="50988"/>
                </a:moveTo>
                <a:cubicBezTo>
                  <a:pt x="12150725" y="51624"/>
                  <a:pt x="12147550" y="-3621"/>
                  <a:pt x="12113260" y="188"/>
                </a:cubicBezTo>
                <a:cubicBezTo>
                  <a:pt x="12082145" y="3363"/>
                  <a:pt x="12084685" y="52258"/>
                  <a:pt x="12115800" y="50988"/>
                </a:cubicBezTo>
                <a:close/>
                <a:moveTo>
                  <a:pt x="12099290" y="424369"/>
                </a:moveTo>
                <a:cubicBezTo>
                  <a:pt x="12097385" y="398969"/>
                  <a:pt x="12057380" y="402779"/>
                  <a:pt x="12059920" y="428179"/>
                </a:cubicBezTo>
                <a:cubicBezTo>
                  <a:pt x="12062460" y="453579"/>
                  <a:pt x="12102465" y="449769"/>
                  <a:pt x="12099290" y="424369"/>
                </a:cubicBezTo>
                <a:close/>
                <a:moveTo>
                  <a:pt x="12088495" y="151954"/>
                </a:moveTo>
                <a:cubicBezTo>
                  <a:pt x="12089765" y="151954"/>
                  <a:pt x="12090400" y="151954"/>
                  <a:pt x="12091670" y="151954"/>
                </a:cubicBezTo>
                <a:lnTo>
                  <a:pt x="12091670" y="151954"/>
                </a:lnTo>
                <a:cubicBezTo>
                  <a:pt x="12122785" y="148779"/>
                  <a:pt x="12117070" y="99883"/>
                  <a:pt x="12085955" y="104329"/>
                </a:cubicBezTo>
                <a:cubicBezTo>
                  <a:pt x="12056745" y="107504"/>
                  <a:pt x="12059285" y="153224"/>
                  <a:pt x="12088495" y="151954"/>
                </a:cubicBezTo>
                <a:close/>
                <a:moveTo>
                  <a:pt x="12015470" y="334833"/>
                </a:moveTo>
                <a:cubicBezTo>
                  <a:pt x="12018645" y="362138"/>
                  <a:pt x="12061190" y="356424"/>
                  <a:pt x="12057380" y="329119"/>
                </a:cubicBezTo>
                <a:cubicBezTo>
                  <a:pt x="12054205" y="302449"/>
                  <a:pt x="12011660" y="308163"/>
                  <a:pt x="12015470" y="334833"/>
                </a:cubicBezTo>
                <a:close/>
                <a:moveTo>
                  <a:pt x="12090400" y="524699"/>
                </a:moveTo>
                <a:cubicBezTo>
                  <a:pt x="12091670" y="548829"/>
                  <a:pt x="12129135" y="545654"/>
                  <a:pt x="12127230" y="522158"/>
                </a:cubicBezTo>
                <a:cubicBezTo>
                  <a:pt x="12125325" y="498029"/>
                  <a:pt x="12087860" y="500569"/>
                  <a:pt x="12090400" y="524699"/>
                </a:cubicBezTo>
                <a:close/>
                <a:moveTo>
                  <a:pt x="12111990" y="324038"/>
                </a:moveTo>
                <a:cubicBezTo>
                  <a:pt x="12113895" y="351344"/>
                  <a:pt x="12156440" y="348169"/>
                  <a:pt x="12154535" y="320863"/>
                </a:cubicBezTo>
                <a:cubicBezTo>
                  <a:pt x="12152630" y="293558"/>
                  <a:pt x="12109450" y="296733"/>
                  <a:pt x="12111990" y="324038"/>
                </a:cubicBezTo>
                <a:close/>
                <a:moveTo>
                  <a:pt x="12122785" y="223708"/>
                </a:moveTo>
                <a:cubicBezTo>
                  <a:pt x="12120245" y="194499"/>
                  <a:pt x="12074525" y="198944"/>
                  <a:pt x="12077700" y="228154"/>
                </a:cubicBezTo>
                <a:cubicBezTo>
                  <a:pt x="12080240" y="257999"/>
                  <a:pt x="12125960" y="252919"/>
                  <a:pt x="12122785" y="223708"/>
                </a:cubicBezTo>
                <a:close/>
                <a:moveTo>
                  <a:pt x="12109450" y="722184"/>
                </a:moveTo>
                <a:cubicBezTo>
                  <a:pt x="12110085" y="742504"/>
                  <a:pt x="12141835" y="741234"/>
                  <a:pt x="12140565" y="720913"/>
                </a:cubicBezTo>
                <a:cubicBezTo>
                  <a:pt x="12139295" y="700594"/>
                  <a:pt x="12108180" y="701863"/>
                  <a:pt x="12109450" y="722184"/>
                </a:cubicBezTo>
                <a:close/>
                <a:moveTo>
                  <a:pt x="11969115" y="439608"/>
                </a:moveTo>
                <a:cubicBezTo>
                  <a:pt x="11972290" y="465008"/>
                  <a:pt x="12012295" y="459294"/>
                  <a:pt x="12008485" y="433894"/>
                </a:cubicBezTo>
                <a:cubicBezTo>
                  <a:pt x="12005310" y="409129"/>
                  <a:pt x="11965305" y="414208"/>
                  <a:pt x="11969115" y="439608"/>
                </a:cubicBezTo>
                <a:close/>
                <a:moveTo>
                  <a:pt x="11892280" y="94169"/>
                </a:moveTo>
                <a:cubicBezTo>
                  <a:pt x="11929745" y="94169"/>
                  <a:pt x="11922125" y="34479"/>
                  <a:pt x="11885295" y="44004"/>
                </a:cubicBezTo>
                <a:cubicBezTo>
                  <a:pt x="11857355" y="51624"/>
                  <a:pt x="11863705" y="95438"/>
                  <a:pt x="11892280" y="94169"/>
                </a:cubicBezTo>
                <a:close/>
                <a:moveTo>
                  <a:pt x="11892280" y="237679"/>
                </a:moveTo>
                <a:cubicBezTo>
                  <a:pt x="11863705" y="244029"/>
                  <a:pt x="11873865" y="288479"/>
                  <a:pt x="11902440" y="281494"/>
                </a:cubicBezTo>
                <a:cubicBezTo>
                  <a:pt x="11931015" y="275779"/>
                  <a:pt x="11920855" y="230694"/>
                  <a:pt x="11892280" y="237679"/>
                </a:cubicBezTo>
                <a:close/>
                <a:moveTo>
                  <a:pt x="11994515" y="217358"/>
                </a:moveTo>
                <a:cubicBezTo>
                  <a:pt x="11967845" y="221169"/>
                  <a:pt x="11971020" y="263079"/>
                  <a:pt x="11998325" y="262444"/>
                </a:cubicBezTo>
                <a:cubicBezTo>
                  <a:pt x="12030075" y="262444"/>
                  <a:pt x="12025630" y="212279"/>
                  <a:pt x="11994515" y="217358"/>
                </a:cubicBezTo>
                <a:close/>
                <a:moveTo>
                  <a:pt x="11934825" y="523429"/>
                </a:moveTo>
                <a:cubicBezTo>
                  <a:pt x="11911330" y="526604"/>
                  <a:pt x="11917045" y="563434"/>
                  <a:pt x="11940540" y="559624"/>
                </a:cubicBezTo>
                <a:cubicBezTo>
                  <a:pt x="11963400" y="557084"/>
                  <a:pt x="11958320" y="519619"/>
                  <a:pt x="11934825" y="523429"/>
                </a:cubicBezTo>
                <a:close/>
                <a:moveTo>
                  <a:pt x="11875770" y="193229"/>
                </a:moveTo>
                <a:cubicBezTo>
                  <a:pt x="11910695" y="193229"/>
                  <a:pt x="11903710" y="136713"/>
                  <a:pt x="11869420" y="146238"/>
                </a:cubicBezTo>
                <a:cubicBezTo>
                  <a:pt x="11842750" y="152588"/>
                  <a:pt x="11848465" y="193863"/>
                  <a:pt x="11875770" y="193229"/>
                </a:cubicBezTo>
                <a:close/>
                <a:moveTo>
                  <a:pt x="11919585" y="351344"/>
                </a:moveTo>
                <a:cubicBezTo>
                  <a:pt x="11924030" y="378649"/>
                  <a:pt x="11966575" y="370394"/>
                  <a:pt x="11961495" y="343724"/>
                </a:cubicBezTo>
                <a:cubicBezTo>
                  <a:pt x="11956415" y="316419"/>
                  <a:pt x="11913870" y="324674"/>
                  <a:pt x="11919585" y="351344"/>
                </a:cubicBezTo>
                <a:close/>
                <a:moveTo>
                  <a:pt x="11981180" y="169099"/>
                </a:moveTo>
                <a:cubicBezTo>
                  <a:pt x="12015470" y="169099"/>
                  <a:pt x="12010390" y="115124"/>
                  <a:pt x="11976735" y="121474"/>
                </a:cubicBezTo>
                <a:cubicBezTo>
                  <a:pt x="11948795" y="125919"/>
                  <a:pt x="11953240" y="169733"/>
                  <a:pt x="11981180" y="169099"/>
                </a:cubicBezTo>
                <a:close/>
                <a:moveTo>
                  <a:pt x="12022455" y="549463"/>
                </a:moveTo>
                <a:cubicBezTo>
                  <a:pt x="12047855" y="549463"/>
                  <a:pt x="12045315" y="510094"/>
                  <a:pt x="12020550" y="512633"/>
                </a:cubicBezTo>
                <a:cubicBezTo>
                  <a:pt x="11998325" y="514538"/>
                  <a:pt x="12000230" y="549463"/>
                  <a:pt x="12022455" y="549463"/>
                </a:cubicBezTo>
                <a:close/>
                <a:moveTo>
                  <a:pt x="12002770" y="68133"/>
                </a:moveTo>
                <a:cubicBezTo>
                  <a:pt x="12038965" y="68133"/>
                  <a:pt x="12033250" y="10983"/>
                  <a:pt x="11997690" y="17969"/>
                </a:cubicBezTo>
                <a:cubicBezTo>
                  <a:pt x="11968480" y="23049"/>
                  <a:pt x="11973560" y="69404"/>
                  <a:pt x="12002770" y="68133"/>
                </a:cubicBezTo>
                <a:close/>
                <a:moveTo>
                  <a:pt x="11460480" y="604709"/>
                </a:moveTo>
                <a:cubicBezTo>
                  <a:pt x="11491595" y="604074"/>
                  <a:pt x="11481435" y="555179"/>
                  <a:pt x="11452860" y="566609"/>
                </a:cubicBezTo>
                <a:cubicBezTo>
                  <a:pt x="11433175" y="574229"/>
                  <a:pt x="11439525" y="605344"/>
                  <a:pt x="11460480" y="604709"/>
                </a:cubicBezTo>
                <a:close/>
                <a:moveTo>
                  <a:pt x="11099165" y="538034"/>
                </a:moveTo>
                <a:cubicBezTo>
                  <a:pt x="11144885" y="536129"/>
                  <a:pt x="11119485" y="465008"/>
                  <a:pt x="11082655" y="492949"/>
                </a:cubicBezTo>
                <a:cubicBezTo>
                  <a:pt x="11064240" y="507554"/>
                  <a:pt x="11076305" y="538669"/>
                  <a:pt x="11099165" y="538034"/>
                </a:cubicBezTo>
                <a:close/>
                <a:moveTo>
                  <a:pt x="11135360" y="615504"/>
                </a:moveTo>
                <a:cubicBezTo>
                  <a:pt x="11151870" y="639634"/>
                  <a:pt x="11189335" y="613599"/>
                  <a:pt x="11172825" y="590104"/>
                </a:cubicBezTo>
                <a:cubicBezTo>
                  <a:pt x="11156315" y="565338"/>
                  <a:pt x="11118215" y="591374"/>
                  <a:pt x="11135360" y="615504"/>
                </a:cubicBezTo>
                <a:close/>
                <a:moveTo>
                  <a:pt x="11095355" y="549463"/>
                </a:moveTo>
                <a:cubicBezTo>
                  <a:pt x="11070590" y="567879"/>
                  <a:pt x="11100435" y="606613"/>
                  <a:pt x="11124565" y="587563"/>
                </a:cubicBezTo>
                <a:cubicBezTo>
                  <a:pt x="11149330" y="568513"/>
                  <a:pt x="11119485" y="529779"/>
                  <a:pt x="11095355" y="549463"/>
                </a:cubicBezTo>
                <a:close/>
                <a:moveTo>
                  <a:pt x="11038840" y="809179"/>
                </a:moveTo>
                <a:cubicBezTo>
                  <a:pt x="11073765" y="847913"/>
                  <a:pt x="11092815" y="762188"/>
                  <a:pt x="11045190" y="781874"/>
                </a:cubicBezTo>
                <a:cubicBezTo>
                  <a:pt x="11045190" y="781874"/>
                  <a:pt x="11045190" y="781874"/>
                  <a:pt x="11045190" y="781874"/>
                </a:cubicBezTo>
                <a:cubicBezTo>
                  <a:pt x="11035665" y="787588"/>
                  <a:pt x="11032490" y="799654"/>
                  <a:pt x="11038840" y="809179"/>
                </a:cubicBezTo>
                <a:close/>
                <a:moveTo>
                  <a:pt x="11009630" y="618044"/>
                </a:moveTo>
                <a:cubicBezTo>
                  <a:pt x="11009630" y="618044"/>
                  <a:pt x="11009630" y="618044"/>
                  <a:pt x="11009630" y="618044"/>
                </a:cubicBezTo>
                <a:cubicBezTo>
                  <a:pt x="10985500" y="637729"/>
                  <a:pt x="11016615" y="675194"/>
                  <a:pt x="11040110" y="654874"/>
                </a:cubicBezTo>
                <a:cubicBezTo>
                  <a:pt x="11064875" y="635188"/>
                  <a:pt x="11033760" y="597724"/>
                  <a:pt x="11009630" y="618044"/>
                </a:cubicBezTo>
                <a:close/>
                <a:moveTo>
                  <a:pt x="11220450" y="557719"/>
                </a:moveTo>
                <a:cubicBezTo>
                  <a:pt x="11260455" y="601534"/>
                  <a:pt x="11282045" y="503744"/>
                  <a:pt x="11227435" y="526604"/>
                </a:cubicBezTo>
                <a:cubicBezTo>
                  <a:pt x="11227435" y="526604"/>
                  <a:pt x="11227435" y="526604"/>
                  <a:pt x="11227435" y="526604"/>
                </a:cubicBezTo>
                <a:cubicBezTo>
                  <a:pt x="11217275" y="532954"/>
                  <a:pt x="11214100" y="546924"/>
                  <a:pt x="11220450" y="557719"/>
                </a:cubicBezTo>
                <a:close/>
                <a:moveTo>
                  <a:pt x="11188065" y="465644"/>
                </a:moveTo>
                <a:cubicBezTo>
                  <a:pt x="11233150" y="463738"/>
                  <a:pt x="11209020" y="393888"/>
                  <a:pt x="11172190" y="419924"/>
                </a:cubicBezTo>
                <a:cubicBezTo>
                  <a:pt x="11153140" y="434529"/>
                  <a:pt x="11164570" y="466913"/>
                  <a:pt x="11188065" y="465644"/>
                </a:cubicBezTo>
                <a:close/>
                <a:moveTo>
                  <a:pt x="11279505" y="397699"/>
                </a:moveTo>
                <a:cubicBezTo>
                  <a:pt x="11323320" y="395794"/>
                  <a:pt x="11301730" y="327213"/>
                  <a:pt x="11264900" y="351344"/>
                </a:cubicBezTo>
                <a:cubicBezTo>
                  <a:pt x="11244580" y="364679"/>
                  <a:pt x="11256010" y="398333"/>
                  <a:pt x="11279505" y="397699"/>
                </a:cubicBezTo>
                <a:close/>
                <a:moveTo>
                  <a:pt x="11182985" y="484058"/>
                </a:moveTo>
                <a:cubicBezTo>
                  <a:pt x="11157585" y="501838"/>
                  <a:pt x="11186160" y="541209"/>
                  <a:pt x="11210925" y="522794"/>
                </a:cubicBezTo>
                <a:cubicBezTo>
                  <a:pt x="11236325" y="505013"/>
                  <a:pt x="11207750" y="465008"/>
                  <a:pt x="11182985" y="484058"/>
                </a:cubicBezTo>
                <a:close/>
                <a:moveTo>
                  <a:pt x="11527155" y="557719"/>
                </a:moveTo>
                <a:cubicBezTo>
                  <a:pt x="11536045" y="581849"/>
                  <a:pt x="11573510" y="567879"/>
                  <a:pt x="11563985" y="543749"/>
                </a:cubicBezTo>
                <a:cubicBezTo>
                  <a:pt x="11555730" y="520254"/>
                  <a:pt x="11517630" y="534224"/>
                  <a:pt x="11527155" y="557719"/>
                </a:cubicBezTo>
                <a:close/>
                <a:moveTo>
                  <a:pt x="11036935" y="872679"/>
                </a:moveTo>
                <a:cubicBezTo>
                  <a:pt x="11049000" y="893634"/>
                  <a:pt x="11080750" y="874584"/>
                  <a:pt x="11068685" y="854263"/>
                </a:cubicBezTo>
                <a:cubicBezTo>
                  <a:pt x="11057255" y="833309"/>
                  <a:pt x="11024870" y="852359"/>
                  <a:pt x="11036935" y="872679"/>
                </a:cubicBezTo>
                <a:close/>
                <a:moveTo>
                  <a:pt x="10925810" y="690434"/>
                </a:moveTo>
                <a:cubicBezTo>
                  <a:pt x="10889615" y="760919"/>
                  <a:pt x="11017885" y="719009"/>
                  <a:pt x="10947400" y="683449"/>
                </a:cubicBezTo>
                <a:cubicBezTo>
                  <a:pt x="10986770" y="607884"/>
                  <a:pt x="10848340" y="653604"/>
                  <a:pt x="10925810" y="690434"/>
                </a:cubicBezTo>
                <a:close/>
                <a:moveTo>
                  <a:pt x="10969625" y="891729"/>
                </a:moveTo>
                <a:cubicBezTo>
                  <a:pt x="10949305" y="903794"/>
                  <a:pt x="10968990" y="935544"/>
                  <a:pt x="10988675" y="922844"/>
                </a:cubicBezTo>
                <a:cubicBezTo>
                  <a:pt x="11008995" y="910779"/>
                  <a:pt x="10989310" y="879029"/>
                  <a:pt x="10969625" y="891729"/>
                </a:cubicBezTo>
                <a:close/>
                <a:moveTo>
                  <a:pt x="9279255" y="2355404"/>
                </a:moveTo>
                <a:cubicBezTo>
                  <a:pt x="9265920" y="2331274"/>
                  <a:pt x="9228455" y="2352864"/>
                  <a:pt x="9242425" y="2376359"/>
                </a:cubicBezTo>
                <a:cubicBezTo>
                  <a:pt x="9255760" y="2400489"/>
                  <a:pt x="9293225" y="2378899"/>
                  <a:pt x="9279255" y="2355404"/>
                </a:cubicBezTo>
                <a:close/>
                <a:moveTo>
                  <a:pt x="10994390" y="779334"/>
                </a:moveTo>
                <a:cubicBezTo>
                  <a:pt x="10978515" y="757109"/>
                  <a:pt x="10943590" y="782509"/>
                  <a:pt x="10960100" y="804099"/>
                </a:cubicBezTo>
                <a:cubicBezTo>
                  <a:pt x="10976610" y="826324"/>
                  <a:pt x="11010900" y="800924"/>
                  <a:pt x="10994390" y="779334"/>
                </a:cubicBezTo>
                <a:close/>
                <a:moveTo>
                  <a:pt x="10995025" y="837754"/>
                </a:moveTo>
                <a:cubicBezTo>
                  <a:pt x="10981055" y="816163"/>
                  <a:pt x="10947400" y="839024"/>
                  <a:pt x="10962005" y="859979"/>
                </a:cubicBezTo>
                <a:cubicBezTo>
                  <a:pt x="10975975" y="881569"/>
                  <a:pt x="11009630" y="858709"/>
                  <a:pt x="10995025" y="837754"/>
                </a:cubicBezTo>
                <a:close/>
                <a:moveTo>
                  <a:pt x="11012805" y="612963"/>
                </a:moveTo>
                <a:cubicBezTo>
                  <a:pt x="11059160" y="611059"/>
                  <a:pt x="11031855" y="539304"/>
                  <a:pt x="10995660" y="568513"/>
                </a:cubicBezTo>
                <a:cubicBezTo>
                  <a:pt x="10978515" y="583754"/>
                  <a:pt x="10990580" y="613599"/>
                  <a:pt x="11012805" y="612963"/>
                </a:cubicBezTo>
                <a:close/>
                <a:moveTo>
                  <a:pt x="10970895" y="738694"/>
                </a:moveTo>
                <a:cubicBezTo>
                  <a:pt x="10988675" y="762188"/>
                  <a:pt x="11024870" y="733613"/>
                  <a:pt x="11006455" y="710754"/>
                </a:cubicBezTo>
                <a:cubicBezTo>
                  <a:pt x="10988675" y="687894"/>
                  <a:pt x="10952480" y="716469"/>
                  <a:pt x="10970895" y="738694"/>
                </a:cubicBezTo>
                <a:close/>
                <a:moveTo>
                  <a:pt x="10891520" y="804734"/>
                </a:moveTo>
                <a:cubicBezTo>
                  <a:pt x="10909935" y="827594"/>
                  <a:pt x="10945495" y="797749"/>
                  <a:pt x="10925810" y="775524"/>
                </a:cubicBezTo>
                <a:cubicBezTo>
                  <a:pt x="10907395" y="752663"/>
                  <a:pt x="10872470" y="782509"/>
                  <a:pt x="10891520" y="804734"/>
                </a:cubicBezTo>
                <a:close/>
                <a:moveTo>
                  <a:pt x="11448415" y="839659"/>
                </a:moveTo>
                <a:cubicBezTo>
                  <a:pt x="11454130" y="859344"/>
                  <a:pt x="11483975" y="849819"/>
                  <a:pt x="11478260" y="830769"/>
                </a:cubicBezTo>
                <a:cubicBezTo>
                  <a:pt x="11472545" y="811084"/>
                  <a:pt x="11442065" y="819974"/>
                  <a:pt x="11448415" y="839659"/>
                </a:cubicBezTo>
                <a:close/>
                <a:moveTo>
                  <a:pt x="11397615" y="452308"/>
                </a:moveTo>
                <a:cubicBezTo>
                  <a:pt x="11410950" y="478344"/>
                  <a:pt x="11451590" y="456754"/>
                  <a:pt x="11437620" y="431354"/>
                </a:cubicBezTo>
                <a:cubicBezTo>
                  <a:pt x="11424285" y="405319"/>
                  <a:pt x="11383645" y="426274"/>
                  <a:pt x="11397615" y="452308"/>
                </a:cubicBezTo>
                <a:close/>
                <a:moveTo>
                  <a:pt x="11384915" y="639634"/>
                </a:moveTo>
                <a:cubicBezTo>
                  <a:pt x="11408410" y="629474"/>
                  <a:pt x="11391265" y="592644"/>
                  <a:pt x="11368405" y="604074"/>
                </a:cubicBezTo>
                <a:cubicBezTo>
                  <a:pt x="11344910" y="614869"/>
                  <a:pt x="11362055" y="651063"/>
                  <a:pt x="11384915" y="639634"/>
                </a:cubicBezTo>
                <a:close/>
                <a:moveTo>
                  <a:pt x="11399520" y="555179"/>
                </a:moveTo>
                <a:lnTo>
                  <a:pt x="11399520" y="555179"/>
                </a:lnTo>
                <a:cubicBezTo>
                  <a:pt x="11424285" y="543113"/>
                  <a:pt x="11404600" y="504379"/>
                  <a:pt x="11380470" y="517079"/>
                </a:cubicBezTo>
                <a:cubicBezTo>
                  <a:pt x="11355705" y="529144"/>
                  <a:pt x="11375390" y="567244"/>
                  <a:pt x="11399520" y="555179"/>
                </a:cubicBezTo>
                <a:close/>
                <a:moveTo>
                  <a:pt x="11490960" y="741234"/>
                </a:moveTo>
                <a:cubicBezTo>
                  <a:pt x="11483975" y="720279"/>
                  <a:pt x="11451590" y="731074"/>
                  <a:pt x="11458575" y="752029"/>
                </a:cubicBezTo>
                <a:cubicBezTo>
                  <a:pt x="11465560" y="772984"/>
                  <a:pt x="11497945" y="762188"/>
                  <a:pt x="11490960" y="741234"/>
                </a:cubicBezTo>
                <a:close/>
                <a:moveTo>
                  <a:pt x="11452225" y="341183"/>
                </a:moveTo>
                <a:cubicBezTo>
                  <a:pt x="11466830" y="369124"/>
                  <a:pt x="11509375" y="345629"/>
                  <a:pt x="11494770" y="318324"/>
                </a:cubicBezTo>
                <a:cubicBezTo>
                  <a:pt x="11480165" y="291019"/>
                  <a:pt x="11436985" y="314513"/>
                  <a:pt x="11452225" y="341183"/>
                </a:cubicBezTo>
                <a:close/>
                <a:moveTo>
                  <a:pt x="11489055" y="405319"/>
                </a:moveTo>
                <a:cubicBezTo>
                  <a:pt x="11501120" y="431988"/>
                  <a:pt x="11543030" y="412304"/>
                  <a:pt x="11529695" y="386269"/>
                </a:cubicBezTo>
                <a:cubicBezTo>
                  <a:pt x="11518265" y="359599"/>
                  <a:pt x="11476355" y="378649"/>
                  <a:pt x="11489055" y="405319"/>
                </a:cubicBezTo>
                <a:close/>
                <a:moveTo>
                  <a:pt x="10886440" y="833944"/>
                </a:moveTo>
                <a:cubicBezTo>
                  <a:pt x="10864215" y="850454"/>
                  <a:pt x="10890885" y="884744"/>
                  <a:pt x="10912475" y="867599"/>
                </a:cubicBezTo>
                <a:cubicBezTo>
                  <a:pt x="10934700" y="850454"/>
                  <a:pt x="10908030" y="816799"/>
                  <a:pt x="10886440" y="833944"/>
                </a:cubicBezTo>
                <a:close/>
                <a:moveTo>
                  <a:pt x="11471910" y="273238"/>
                </a:moveTo>
                <a:cubicBezTo>
                  <a:pt x="11513820" y="271969"/>
                  <a:pt x="11496675" y="205294"/>
                  <a:pt x="11459210" y="225613"/>
                </a:cubicBezTo>
                <a:cubicBezTo>
                  <a:pt x="11436985" y="237679"/>
                  <a:pt x="11447145" y="274508"/>
                  <a:pt x="11471910" y="273238"/>
                </a:cubicBezTo>
                <a:close/>
                <a:moveTo>
                  <a:pt x="11366500" y="363408"/>
                </a:moveTo>
                <a:cubicBezTo>
                  <a:pt x="11339195" y="379283"/>
                  <a:pt x="11364595" y="421194"/>
                  <a:pt x="11391265" y="404683"/>
                </a:cubicBezTo>
                <a:cubicBezTo>
                  <a:pt x="11417935" y="388808"/>
                  <a:pt x="11392535" y="346899"/>
                  <a:pt x="11366500" y="363408"/>
                </a:cubicBezTo>
                <a:close/>
                <a:moveTo>
                  <a:pt x="11285220" y="644713"/>
                </a:moveTo>
                <a:cubicBezTo>
                  <a:pt x="11262360" y="656144"/>
                  <a:pt x="11280775" y="691704"/>
                  <a:pt x="11303000" y="679638"/>
                </a:cubicBezTo>
                <a:cubicBezTo>
                  <a:pt x="11325860" y="668209"/>
                  <a:pt x="11308080" y="632649"/>
                  <a:pt x="11285220" y="644713"/>
                </a:cubicBezTo>
                <a:close/>
                <a:moveTo>
                  <a:pt x="11273155" y="421829"/>
                </a:moveTo>
                <a:cubicBezTo>
                  <a:pt x="11247120" y="438974"/>
                  <a:pt x="11273790" y="479613"/>
                  <a:pt x="11299825" y="461833"/>
                </a:cubicBezTo>
                <a:cubicBezTo>
                  <a:pt x="11325860" y="444688"/>
                  <a:pt x="11299190" y="404049"/>
                  <a:pt x="11273155" y="421829"/>
                </a:cubicBezTo>
                <a:close/>
                <a:moveTo>
                  <a:pt x="11414760" y="767269"/>
                </a:moveTo>
                <a:cubicBezTo>
                  <a:pt x="11407140" y="746313"/>
                  <a:pt x="11374755" y="758379"/>
                  <a:pt x="11383010" y="779334"/>
                </a:cubicBezTo>
                <a:cubicBezTo>
                  <a:pt x="11390630" y="800288"/>
                  <a:pt x="11423015" y="788224"/>
                  <a:pt x="11414760" y="767269"/>
                </a:cubicBezTo>
                <a:close/>
                <a:moveTo>
                  <a:pt x="11242675" y="818069"/>
                </a:moveTo>
                <a:cubicBezTo>
                  <a:pt x="11222355" y="826324"/>
                  <a:pt x="11236325" y="858074"/>
                  <a:pt x="11256010" y="849184"/>
                </a:cubicBezTo>
                <a:cubicBezTo>
                  <a:pt x="11276965" y="840294"/>
                  <a:pt x="11262995" y="808544"/>
                  <a:pt x="11242675" y="818069"/>
                </a:cubicBezTo>
                <a:close/>
                <a:moveTo>
                  <a:pt x="11322685" y="571054"/>
                </a:moveTo>
                <a:cubicBezTo>
                  <a:pt x="11309985" y="546924"/>
                  <a:pt x="11271885" y="567879"/>
                  <a:pt x="11285855" y="591374"/>
                </a:cubicBezTo>
                <a:cubicBezTo>
                  <a:pt x="11298555" y="615504"/>
                  <a:pt x="11336020" y="594549"/>
                  <a:pt x="11322685" y="571054"/>
                </a:cubicBezTo>
                <a:close/>
                <a:moveTo>
                  <a:pt x="11245850" y="893634"/>
                </a:moveTo>
                <a:cubicBezTo>
                  <a:pt x="11226800" y="900619"/>
                  <a:pt x="11238865" y="930463"/>
                  <a:pt x="11257280" y="922209"/>
                </a:cubicBezTo>
                <a:cubicBezTo>
                  <a:pt x="11275695" y="915859"/>
                  <a:pt x="11264265" y="886013"/>
                  <a:pt x="11245850" y="893634"/>
                </a:cubicBezTo>
                <a:close/>
                <a:moveTo>
                  <a:pt x="11374755" y="332929"/>
                </a:moveTo>
                <a:cubicBezTo>
                  <a:pt x="11417935" y="331658"/>
                  <a:pt x="11398250" y="263713"/>
                  <a:pt x="11360785" y="285938"/>
                </a:cubicBezTo>
                <a:cubicBezTo>
                  <a:pt x="11339195" y="299274"/>
                  <a:pt x="11349990" y="334199"/>
                  <a:pt x="11374755" y="332929"/>
                </a:cubicBezTo>
                <a:close/>
                <a:moveTo>
                  <a:pt x="11308080" y="503108"/>
                </a:moveTo>
                <a:cubicBezTo>
                  <a:pt x="11322685" y="528509"/>
                  <a:pt x="11362055" y="505649"/>
                  <a:pt x="11346815" y="480249"/>
                </a:cubicBezTo>
                <a:cubicBezTo>
                  <a:pt x="11332845" y="454849"/>
                  <a:pt x="11292840" y="478344"/>
                  <a:pt x="11308080" y="503108"/>
                </a:cubicBezTo>
                <a:close/>
                <a:moveTo>
                  <a:pt x="8964930" y="2007424"/>
                </a:moveTo>
                <a:cubicBezTo>
                  <a:pt x="8982075" y="2007424"/>
                  <a:pt x="8980805" y="1980754"/>
                  <a:pt x="8963660" y="1982024"/>
                </a:cubicBezTo>
                <a:cubicBezTo>
                  <a:pt x="8947785" y="1983294"/>
                  <a:pt x="8949055" y="2008059"/>
                  <a:pt x="8964930" y="2007424"/>
                </a:cubicBezTo>
                <a:close/>
                <a:moveTo>
                  <a:pt x="8071485" y="2028379"/>
                </a:moveTo>
                <a:cubicBezTo>
                  <a:pt x="8089265" y="2032824"/>
                  <a:pt x="8095615" y="2004884"/>
                  <a:pt x="8077835" y="2001074"/>
                </a:cubicBezTo>
                <a:cubicBezTo>
                  <a:pt x="8060056" y="1996629"/>
                  <a:pt x="8053706" y="2024569"/>
                  <a:pt x="8071485" y="2028379"/>
                </a:cubicBezTo>
                <a:close/>
                <a:moveTo>
                  <a:pt x="8078470" y="1942019"/>
                </a:moveTo>
                <a:cubicBezTo>
                  <a:pt x="8094345" y="1945829"/>
                  <a:pt x="8100060" y="1920429"/>
                  <a:pt x="8083550" y="1917254"/>
                </a:cubicBezTo>
                <a:cubicBezTo>
                  <a:pt x="8067675" y="1914079"/>
                  <a:pt x="8062595" y="1938844"/>
                  <a:pt x="8078470" y="1942019"/>
                </a:cubicBezTo>
                <a:close/>
                <a:moveTo>
                  <a:pt x="8059420" y="2230309"/>
                </a:moveTo>
                <a:cubicBezTo>
                  <a:pt x="8080375" y="2236024"/>
                  <a:pt x="8089265" y="2203004"/>
                  <a:pt x="8067675" y="2197289"/>
                </a:cubicBezTo>
                <a:cubicBezTo>
                  <a:pt x="8047356" y="2191574"/>
                  <a:pt x="8038465" y="2225229"/>
                  <a:pt x="8059420" y="2230309"/>
                </a:cubicBezTo>
                <a:close/>
                <a:moveTo>
                  <a:pt x="8003540" y="2309684"/>
                </a:moveTo>
                <a:cubicBezTo>
                  <a:pt x="7997190" y="2332544"/>
                  <a:pt x="8032750" y="2342704"/>
                  <a:pt x="8039100" y="2319209"/>
                </a:cubicBezTo>
                <a:cubicBezTo>
                  <a:pt x="8046085" y="2296349"/>
                  <a:pt x="8009890" y="2286189"/>
                  <a:pt x="8003540" y="2309684"/>
                </a:cubicBezTo>
                <a:close/>
                <a:moveTo>
                  <a:pt x="8138160" y="2249359"/>
                </a:moveTo>
                <a:cubicBezTo>
                  <a:pt x="8159115" y="2254439"/>
                  <a:pt x="8167370" y="2220784"/>
                  <a:pt x="8145781" y="2216339"/>
                </a:cubicBezTo>
                <a:cubicBezTo>
                  <a:pt x="8124190" y="2211259"/>
                  <a:pt x="8117206" y="2244914"/>
                  <a:pt x="8138160" y="2249359"/>
                </a:cubicBezTo>
                <a:close/>
                <a:moveTo>
                  <a:pt x="8139431" y="2043619"/>
                </a:moveTo>
                <a:cubicBezTo>
                  <a:pt x="8157210" y="2048063"/>
                  <a:pt x="8163560" y="2019488"/>
                  <a:pt x="8145145" y="2016313"/>
                </a:cubicBezTo>
                <a:cubicBezTo>
                  <a:pt x="8127365" y="2011869"/>
                  <a:pt x="8121650" y="2039809"/>
                  <a:pt x="8139431" y="2043619"/>
                </a:cubicBezTo>
                <a:close/>
                <a:moveTo>
                  <a:pt x="8140700" y="2556064"/>
                </a:moveTo>
                <a:cubicBezTo>
                  <a:pt x="8113395" y="2550984"/>
                  <a:pt x="8106410" y="2593529"/>
                  <a:pt x="8133081" y="2597974"/>
                </a:cubicBezTo>
                <a:cubicBezTo>
                  <a:pt x="8160385" y="2603054"/>
                  <a:pt x="8168006" y="2560509"/>
                  <a:pt x="8140700" y="2556064"/>
                </a:cubicBezTo>
                <a:close/>
                <a:moveTo>
                  <a:pt x="8140700" y="1954719"/>
                </a:moveTo>
                <a:cubicBezTo>
                  <a:pt x="8140700" y="1954719"/>
                  <a:pt x="8140700" y="1954719"/>
                  <a:pt x="8140700" y="1954719"/>
                </a:cubicBezTo>
                <a:cubicBezTo>
                  <a:pt x="8140700" y="1954719"/>
                  <a:pt x="8140700" y="1954719"/>
                  <a:pt x="8140700" y="1954719"/>
                </a:cubicBezTo>
                <a:lnTo>
                  <a:pt x="8140700" y="1954719"/>
                </a:lnTo>
                <a:close/>
                <a:moveTo>
                  <a:pt x="8140700" y="1954719"/>
                </a:moveTo>
                <a:cubicBezTo>
                  <a:pt x="8194675" y="1933129"/>
                  <a:pt x="8098790" y="1915349"/>
                  <a:pt x="8140700" y="1954719"/>
                </a:cubicBezTo>
                <a:lnTo>
                  <a:pt x="8140700" y="1954719"/>
                </a:lnTo>
                <a:close/>
                <a:moveTo>
                  <a:pt x="8016240" y="1928684"/>
                </a:moveTo>
                <a:cubicBezTo>
                  <a:pt x="8032115" y="1932494"/>
                  <a:pt x="8037831" y="1907094"/>
                  <a:pt x="8021956" y="1903919"/>
                </a:cubicBezTo>
                <a:cubicBezTo>
                  <a:pt x="8005445" y="1900109"/>
                  <a:pt x="7999731" y="1925509"/>
                  <a:pt x="8016240" y="1928684"/>
                </a:cubicBezTo>
                <a:close/>
                <a:moveTo>
                  <a:pt x="7954010" y="1914713"/>
                </a:moveTo>
                <a:cubicBezTo>
                  <a:pt x="7969885" y="1919159"/>
                  <a:pt x="7976235" y="1893759"/>
                  <a:pt x="7959725" y="1889949"/>
                </a:cubicBezTo>
                <a:cubicBezTo>
                  <a:pt x="7943850" y="1886138"/>
                  <a:pt x="7938135" y="1910904"/>
                  <a:pt x="7954010" y="1914713"/>
                </a:cubicBezTo>
                <a:close/>
                <a:moveTo>
                  <a:pt x="7944485" y="2272219"/>
                </a:moveTo>
                <a:cubicBezTo>
                  <a:pt x="7921625" y="2264599"/>
                  <a:pt x="7910831" y="2300159"/>
                  <a:pt x="7933690" y="2307144"/>
                </a:cubicBezTo>
                <a:cubicBezTo>
                  <a:pt x="7955915" y="2314764"/>
                  <a:pt x="7967345" y="2279204"/>
                  <a:pt x="7944485" y="2272219"/>
                </a:cubicBezTo>
                <a:close/>
                <a:moveTo>
                  <a:pt x="7927340" y="2526219"/>
                </a:moveTo>
                <a:cubicBezTo>
                  <a:pt x="7919085" y="2552254"/>
                  <a:pt x="7960360" y="2564319"/>
                  <a:pt x="7967981" y="2538284"/>
                </a:cubicBezTo>
                <a:cubicBezTo>
                  <a:pt x="7976235" y="2511614"/>
                  <a:pt x="7934960" y="2499549"/>
                  <a:pt x="7927340" y="2526219"/>
                </a:cubicBezTo>
                <a:close/>
                <a:moveTo>
                  <a:pt x="7947660" y="2060763"/>
                </a:moveTo>
                <a:cubicBezTo>
                  <a:pt x="7928610" y="2054413"/>
                  <a:pt x="7919720" y="2084894"/>
                  <a:pt x="7938770" y="2090609"/>
                </a:cubicBezTo>
                <a:cubicBezTo>
                  <a:pt x="7957820" y="2096324"/>
                  <a:pt x="7966710" y="2065844"/>
                  <a:pt x="7947660" y="2060763"/>
                </a:cubicBezTo>
                <a:close/>
                <a:moveTo>
                  <a:pt x="8004175" y="2011869"/>
                </a:moveTo>
                <a:cubicBezTo>
                  <a:pt x="8021956" y="2016949"/>
                  <a:pt x="8028940" y="1989009"/>
                  <a:pt x="8011160" y="1984563"/>
                </a:cubicBezTo>
                <a:cubicBezTo>
                  <a:pt x="7993381" y="1980119"/>
                  <a:pt x="7986395" y="2008059"/>
                  <a:pt x="8004175" y="2011869"/>
                </a:cubicBezTo>
                <a:close/>
                <a:moveTo>
                  <a:pt x="7981950" y="2208719"/>
                </a:moveTo>
                <a:cubicBezTo>
                  <a:pt x="8002906" y="2215069"/>
                  <a:pt x="8013065" y="2182049"/>
                  <a:pt x="7991475" y="2176334"/>
                </a:cubicBezTo>
                <a:cubicBezTo>
                  <a:pt x="7970520" y="2169984"/>
                  <a:pt x="7960360" y="2203004"/>
                  <a:pt x="7981950" y="2208719"/>
                </a:cubicBezTo>
                <a:close/>
                <a:moveTo>
                  <a:pt x="8018781" y="2081084"/>
                </a:moveTo>
                <a:cubicBezTo>
                  <a:pt x="7996556" y="2075369"/>
                  <a:pt x="7991475" y="2111564"/>
                  <a:pt x="8014335" y="2111564"/>
                </a:cubicBezTo>
                <a:cubicBezTo>
                  <a:pt x="8032115" y="2112199"/>
                  <a:pt x="8036560" y="2084894"/>
                  <a:pt x="8018781" y="2081084"/>
                </a:cubicBezTo>
                <a:close/>
                <a:moveTo>
                  <a:pt x="8174356" y="2465259"/>
                </a:moveTo>
                <a:cubicBezTo>
                  <a:pt x="8179435" y="2440494"/>
                  <a:pt x="8140065" y="2432874"/>
                  <a:pt x="8135620" y="2457639"/>
                </a:cubicBezTo>
                <a:cubicBezTo>
                  <a:pt x="8130540" y="2483039"/>
                  <a:pt x="8169910" y="2490659"/>
                  <a:pt x="8174356" y="2465259"/>
                </a:cubicBezTo>
                <a:close/>
                <a:moveTo>
                  <a:pt x="8021320" y="2552254"/>
                </a:moveTo>
                <a:cubicBezTo>
                  <a:pt x="8014970" y="2578924"/>
                  <a:pt x="8056245" y="2589084"/>
                  <a:pt x="8062595" y="2561779"/>
                </a:cubicBezTo>
                <a:cubicBezTo>
                  <a:pt x="8069581" y="2535109"/>
                  <a:pt x="8027035" y="2525584"/>
                  <a:pt x="8021320" y="2552254"/>
                </a:cubicBezTo>
                <a:close/>
                <a:moveTo>
                  <a:pt x="8308975" y="2598609"/>
                </a:moveTo>
                <a:cubicBezTo>
                  <a:pt x="8307070" y="2625914"/>
                  <a:pt x="8350250" y="2628454"/>
                  <a:pt x="8351520" y="2601149"/>
                </a:cubicBezTo>
                <a:cubicBezTo>
                  <a:pt x="8353425" y="2573844"/>
                  <a:pt x="8310245" y="2570669"/>
                  <a:pt x="8308975" y="2598609"/>
                </a:cubicBezTo>
                <a:close/>
                <a:moveTo>
                  <a:pt x="8332470" y="2063938"/>
                </a:moveTo>
                <a:cubicBezTo>
                  <a:pt x="8333740" y="2100769"/>
                  <a:pt x="8383906" y="2063304"/>
                  <a:pt x="8348345" y="2051874"/>
                </a:cubicBezTo>
                <a:cubicBezTo>
                  <a:pt x="8340725" y="2051238"/>
                  <a:pt x="8333740" y="2056319"/>
                  <a:pt x="8332470" y="2063938"/>
                </a:cubicBezTo>
                <a:close/>
                <a:moveTo>
                  <a:pt x="8361045" y="2360484"/>
                </a:moveTo>
                <a:cubicBezTo>
                  <a:pt x="8337550" y="2357944"/>
                  <a:pt x="8333740" y="2394774"/>
                  <a:pt x="8357235" y="2397314"/>
                </a:cubicBezTo>
                <a:cubicBezTo>
                  <a:pt x="8381365" y="2399219"/>
                  <a:pt x="8385175" y="2362389"/>
                  <a:pt x="8361045" y="2360484"/>
                </a:cubicBezTo>
                <a:close/>
                <a:moveTo>
                  <a:pt x="8145145" y="2128074"/>
                </a:moveTo>
                <a:cubicBezTo>
                  <a:pt x="8140700" y="2147759"/>
                  <a:pt x="8171181" y="2154744"/>
                  <a:pt x="8175625" y="2134424"/>
                </a:cubicBezTo>
                <a:cubicBezTo>
                  <a:pt x="8180070" y="2115374"/>
                  <a:pt x="8148956" y="2108389"/>
                  <a:pt x="8145145" y="2128074"/>
                </a:cubicBezTo>
                <a:close/>
                <a:moveTo>
                  <a:pt x="8357870" y="2737674"/>
                </a:moveTo>
                <a:cubicBezTo>
                  <a:pt x="8387081" y="2738309"/>
                  <a:pt x="8387715" y="2692589"/>
                  <a:pt x="8358506" y="2692589"/>
                </a:cubicBezTo>
                <a:cubicBezTo>
                  <a:pt x="8329295" y="2691954"/>
                  <a:pt x="8328660" y="2738309"/>
                  <a:pt x="8357870" y="2737674"/>
                </a:cubicBezTo>
                <a:close/>
                <a:moveTo>
                  <a:pt x="8338185" y="2467164"/>
                </a:moveTo>
                <a:cubicBezTo>
                  <a:pt x="8311515" y="2464624"/>
                  <a:pt x="8309610" y="2507169"/>
                  <a:pt x="8336915" y="2506534"/>
                </a:cubicBezTo>
                <a:cubicBezTo>
                  <a:pt x="8361045" y="2507169"/>
                  <a:pt x="8362950" y="2469069"/>
                  <a:pt x="8338185" y="2467164"/>
                </a:cubicBezTo>
                <a:close/>
                <a:moveTo>
                  <a:pt x="8304531" y="2174429"/>
                </a:moveTo>
                <a:cubicBezTo>
                  <a:pt x="8324215" y="2178239"/>
                  <a:pt x="8329295" y="2146489"/>
                  <a:pt x="8309610" y="2143949"/>
                </a:cubicBezTo>
                <a:cubicBezTo>
                  <a:pt x="8289925" y="2140139"/>
                  <a:pt x="8284845" y="2171889"/>
                  <a:pt x="8304531" y="2174429"/>
                </a:cubicBezTo>
                <a:close/>
                <a:moveTo>
                  <a:pt x="8379460" y="2185224"/>
                </a:moveTo>
                <a:cubicBezTo>
                  <a:pt x="8399145" y="2188399"/>
                  <a:pt x="8403590" y="2156649"/>
                  <a:pt x="8383270" y="2154109"/>
                </a:cubicBezTo>
                <a:cubicBezTo>
                  <a:pt x="8363585" y="2151569"/>
                  <a:pt x="8359140" y="2182684"/>
                  <a:pt x="8379460" y="2185224"/>
                </a:cubicBezTo>
                <a:close/>
                <a:moveTo>
                  <a:pt x="8392795" y="1993454"/>
                </a:moveTo>
                <a:cubicBezTo>
                  <a:pt x="8409305" y="1995359"/>
                  <a:pt x="8412480" y="1969959"/>
                  <a:pt x="8395970" y="1968054"/>
                </a:cubicBezTo>
                <a:cubicBezTo>
                  <a:pt x="8379460" y="1966149"/>
                  <a:pt x="8376285" y="1991549"/>
                  <a:pt x="8392795" y="1993454"/>
                </a:cubicBezTo>
                <a:close/>
                <a:moveTo>
                  <a:pt x="7936865" y="1994088"/>
                </a:moveTo>
                <a:lnTo>
                  <a:pt x="7936865" y="1994088"/>
                </a:lnTo>
                <a:cubicBezTo>
                  <a:pt x="7954010" y="1999169"/>
                  <a:pt x="7962265" y="1971229"/>
                  <a:pt x="7944485" y="1966784"/>
                </a:cubicBezTo>
                <a:cubicBezTo>
                  <a:pt x="7926706" y="1961704"/>
                  <a:pt x="7919085" y="1989644"/>
                  <a:pt x="7936865" y="1994088"/>
                </a:cubicBezTo>
                <a:close/>
                <a:moveTo>
                  <a:pt x="8329295" y="1985199"/>
                </a:moveTo>
                <a:cubicBezTo>
                  <a:pt x="8345806" y="1987738"/>
                  <a:pt x="8348981" y="1961704"/>
                  <a:pt x="8332470" y="1959799"/>
                </a:cubicBezTo>
                <a:cubicBezTo>
                  <a:pt x="8316595" y="1957894"/>
                  <a:pt x="8313420" y="1983294"/>
                  <a:pt x="8329295" y="1985199"/>
                </a:cubicBezTo>
                <a:close/>
                <a:moveTo>
                  <a:pt x="8195945" y="2041079"/>
                </a:moveTo>
                <a:cubicBezTo>
                  <a:pt x="8192135" y="2058859"/>
                  <a:pt x="8220710" y="2064574"/>
                  <a:pt x="8223885" y="2046159"/>
                </a:cubicBezTo>
                <a:cubicBezTo>
                  <a:pt x="8227695" y="2028379"/>
                  <a:pt x="8199120" y="2022663"/>
                  <a:pt x="8195945" y="2041079"/>
                </a:cubicBezTo>
                <a:close/>
                <a:moveTo>
                  <a:pt x="8264525" y="2053144"/>
                </a:moveTo>
                <a:cubicBezTo>
                  <a:pt x="8261350" y="2070924"/>
                  <a:pt x="8289290" y="2076004"/>
                  <a:pt x="8292465" y="2057588"/>
                </a:cubicBezTo>
                <a:cubicBezTo>
                  <a:pt x="8295006" y="2039809"/>
                  <a:pt x="8267065" y="2035363"/>
                  <a:pt x="8264525" y="2053144"/>
                </a:cubicBezTo>
                <a:close/>
                <a:moveTo>
                  <a:pt x="8265160" y="2479229"/>
                </a:moveTo>
                <a:cubicBezTo>
                  <a:pt x="8266431" y="2468434"/>
                  <a:pt x="8258810" y="2458274"/>
                  <a:pt x="8248015" y="2457004"/>
                </a:cubicBezTo>
                <a:cubicBezTo>
                  <a:pt x="8196581" y="2458909"/>
                  <a:pt x="8249285" y="2528759"/>
                  <a:pt x="8265160" y="2479229"/>
                </a:cubicBezTo>
                <a:close/>
                <a:moveTo>
                  <a:pt x="8203565" y="1965513"/>
                </a:moveTo>
                <a:cubicBezTo>
                  <a:pt x="8219440" y="1968688"/>
                  <a:pt x="8224520" y="1943288"/>
                  <a:pt x="8208010" y="1940749"/>
                </a:cubicBezTo>
                <a:cubicBezTo>
                  <a:pt x="8191500" y="1937574"/>
                  <a:pt x="8187056" y="1962974"/>
                  <a:pt x="8203565" y="1965513"/>
                </a:cubicBezTo>
                <a:close/>
                <a:moveTo>
                  <a:pt x="8218170" y="2143314"/>
                </a:moveTo>
                <a:cubicBezTo>
                  <a:pt x="8214360" y="2162999"/>
                  <a:pt x="8244840" y="2168714"/>
                  <a:pt x="8248650" y="2149029"/>
                </a:cubicBezTo>
                <a:cubicBezTo>
                  <a:pt x="8252460" y="2129344"/>
                  <a:pt x="8221345" y="2123629"/>
                  <a:pt x="8218170" y="2143314"/>
                </a:cubicBezTo>
                <a:close/>
                <a:moveTo>
                  <a:pt x="8223885" y="2232849"/>
                </a:moveTo>
                <a:cubicBezTo>
                  <a:pt x="8200390" y="2228404"/>
                  <a:pt x="8196581" y="2266504"/>
                  <a:pt x="8220710" y="2266504"/>
                </a:cubicBezTo>
                <a:cubicBezTo>
                  <a:pt x="8241031" y="2266504"/>
                  <a:pt x="8244206" y="2236024"/>
                  <a:pt x="8223885" y="2232849"/>
                </a:cubicBezTo>
                <a:close/>
                <a:moveTo>
                  <a:pt x="8266431" y="1976309"/>
                </a:moveTo>
                <a:cubicBezTo>
                  <a:pt x="8282306" y="1978849"/>
                  <a:pt x="8286750" y="1953449"/>
                  <a:pt x="8270240" y="1950909"/>
                </a:cubicBezTo>
                <a:cubicBezTo>
                  <a:pt x="8254365" y="1948369"/>
                  <a:pt x="8249920" y="1973769"/>
                  <a:pt x="8266431" y="1976309"/>
                </a:cubicBezTo>
                <a:close/>
                <a:moveTo>
                  <a:pt x="8230870" y="2611944"/>
                </a:moveTo>
                <a:cubicBezTo>
                  <a:pt x="8258175" y="2615754"/>
                  <a:pt x="8263256" y="2572574"/>
                  <a:pt x="8235950" y="2570034"/>
                </a:cubicBezTo>
                <a:cubicBezTo>
                  <a:pt x="8208645" y="2566224"/>
                  <a:pt x="8203565" y="2609404"/>
                  <a:pt x="8230870" y="2611944"/>
                </a:cubicBezTo>
                <a:close/>
                <a:moveTo>
                  <a:pt x="7707631" y="1849944"/>
                </a:moveTo>
                <a:cubicBezTo>
                  <a:pt x="7723506" y="1855024"/>
                  <a:pt x="7730490" y="1830259"/>
                  <a:pt x="7714615" y="1825813"/>
                </a:cubicBezTo>
                <a:cubicBezTo>
                  <a:pt x="7699375" y="1820734"/>
                  <a:pt x="7691756" y="1845499"/>
                  <a:pt x="7707631" y="1849944"/>
                </a:cubicBezTo>
                <a:close/>
                <a:moveTo>
                  <a:pt x="7616190" y="2037904"/>
                </a:moveTo>
                <a:cubicBezTo>
                  <a:pt x="7596506" y="2029013"/>
                  <a:pt x="7582535" y="2060763"/>
                  <a:pt x="7602856" y="2069019"/>
                </a:cubicBezTo>
                <a:cubicBezTo>
                  <a:pt x="7622540" y="2078544"/>
                  <a:pt x="7636510" y="2046794"/>
                  <a:pt x="7616190" y="2037904"/>
                </a:cubicBezTo>
                <a:close/>
                <a:moveTo>
                  <a:pt x="7598410" y="1870899"/>
                </a:moveTo>
                <a:cubicBezTo>
                  <a:pt x="7592060" y="1888044"/>
                  <a:pt x="7618731" y="1897569"/>
                  <a:pt x="7625081" y="1880424"/>
                </a:cubicBezTo>
                <a:cubicBezTo>
                  <a:pt x="7631431" y="1863279"/>
                  <a:pt x="7604125" y="1853754"/>
                  <a:pt x="7598410" y="1870899"/>
                </a:cubicBezTo>
                <a:close/>
                <a:moveTo>
                  <a:pt x="7601585" y="2157284"/>
                </a:moveTo>
                <a:cubicBezTo>
                  <a:pt x="7591425" y="2178874"/>
                  <a:pt x="7625081" y="2194114"/>
                  <a:pt x="7635240" y="2172524"/>
                </a:cubicBezTo>
                <a:cubicBezTo>
                  <a:pt x="7645400" y="2151569"/>
                  <a:pt x="7611110" y="2135694"/>
                  <a:pt x="7601585" y="2157284"/>
                </a:cubicBezTo>
                <a:close/>
                <a:moveTo>
                  <a:pt x="7586345" y="1812479"/>
                </a:moveTo>
                <a:cubicBezTo>
                  <a:pt x="7601585" y="1817559"/>
                  <a:pt x="7609840" y="1792794"/>
                  <a:pt x="7593965" y="1788349"/>
                </a:cubicBezTo>
                <a:cubicBezTo>
                  <a:pt x="7578090" y="1783269"/>
                  <a:pt x="7570470" y="1808034"/>
                  <a:pt x="7586345" y="1812479"/>
                </a:cubicBezTo>
                <a:close/>
                <a:moveTo>
                  <a:pt x="7585075" y="1964244"/>
                </a:moveTo>
                <a:cubicBezTo>
                  <a:pt x="7603490" y="1972499"/>
                  <a:pt x="7615556" y="1942654"/>
                  <a:pt x="7596506" y="1935669"/>
                </a:cubicBezTo>
                <a:cubicBezTo>
                  <a:pt x="7578090" y="1928049"/>
                  <a:pt x="7566025" y="1957259"/>
                  <a:pt x="7585075" y="1964244"/>
                </a:cubicBezTo>
                <a:close/>
                <a:moveTo>
                  <a:pt x="8428355" y="2472244"/>
                </a:moveTo>
                <a:cubicBezTo>
                  <a:pt x="8402955" y="2470974"/>
                  <a:pt x="8401685" y="2511614"/>
                  <a:pt x="8427085" y="2511614"/>
                </a:cubicBezTo>
                <a:cubicBezTo>
                  <a:pt x="8453120" y="2512884"/>
                  <a:pt x="8454390" y="2472879"/>
                  <a:pt x="8428355" y="2472244"/>
                </a:cubicBezTo>
                <a:close/>
                <a:moveTo>
                  <a:pt x="7667625" y="2078544"/>
                </a:moveTo>
                <a:cubicBezTo>
                  <a:pt x="7658735" y="2098864"/>
                  <a:pt x="7690485" y="2112199"/>
                  <a:pt x="7698740" y="2091244"/>
                </a:cubicBezTo>
                <a:cubicBezTo>
                  <a:pt x="7707631" y="2071559"/>
                  <a:pt x="7675881" y="2058224"/>
                  <a:pt x="7667625" y="2078544"/>
                </a:cubicBezTo>
                <a:close/>
                <a:moveTo>
                  <a:pt x="7646670" y="1831529"/>
                </a:moveTo>
                <a:cubicBezTo>
                  <a:pt x="7662545" y="1836609"/>
                  <a:pt x="7670165" y="1811844"/>
                  <a:pt x="7654290" y="1807399"/>
                </a:cubicBezTo>
                <a:cubicBezTo>
                  <a:pt x="7639050" y="1802319"/>
                  <a:pt x="7630795" y="1827084"/>
                  <a:pt x="7646670" y="1831529"/>
                </a:cubicBezTo>
                <a:close/>
                <a:moveTo>
                  <a:pt x="7672070" y="1912174"/>
                </a:moveTo>
                <a:cubicBezTo>
                  <a:pt x="7689215" y="1918524"/>
                  <a:pt x="7698740" y="1891219"/>
                  <a:pt x="7680960" y="1885504"/>
                </a:cubicBezTo>
                <a:cubicBezTo>
                  <a:pt x="7663815" y="1879154"/>
                  <a:pt x="7654925" y="1906459"/>
                  <a:pt x="7672070" y="1912174"/>
                </a:cubicBezTo>
                <a:close/>
                <a:moveTo>
                  <a:pt x="7533640" y="1846769"/>
                </a:moveTo>
                <a:cubicBezTo>
                  <a:pt x="7527290" y="1863913"/>
                  <a:pt x="7553960" y="1874074"/>
                  <a:pt x="7560310" y="1856929"/>
                </a:cubicBezTo>
                <a:cubicBezTo>
                  <a:pt x="7566660" y="1839784"/>
                  <a:pt x="7539356" y="1829624"/>
                  <a:pt x="7533640" y="1846769"/>
                </a:cubicBezTo>
                <a:close/>
                <a:moveTo>
                  <a:pt x="7456170" y="2001709"/>
                </a:moveTo>
                <a:cubicBezTo>
                  <a:pt x="7475856" y="2011869"/>
                  <a:pt x="7491095" y="1980754"/>
                  <a:pt x="7470775" y="1971229"/>
                </a:cubicBezTo>
                <a:cubicBezTo>
                  <a:pt x="7451090" y="1961069"/>
                  <a:pt x="7435850" y="1992184"/>
                  <a:pt x="7456170" y="2001709"/>
                </a:cubicBezTo>
                <a:close/>
                <a:moveTo>
                  <a:pt x="7468870" y="1822004"/>
                </a:moveTo>
                <a:cubicBezTo>
                  <a:pt x="7461885" y="1839149"/>
                  <a:pt x="7488556" y="1849309"/>
                  <a:pt x="7494906" y="1832163"/>
                </a:cubicBezTo>
                <a:cubicBezTo>
                  <a:pt x="7501890" y="1815654"/>
                  <a:pt x="7475220" y="1804859"/>
                  <a:pt x="7468870" y="1822004"/>
                </a:cubicBezTo>
                <a:close/>
                <a:moveTo>
                  <a:pt x="7465060" y="1773109"/>
                </a:moveTo>
                <a:cubicBezTo>
                  <a:pt x="7480300" y="1778824"/>
                  <a:pt x="7489190" y="1754059"/>
                  <a:pt x="7473315" y="1748979"/>
                </a:cubicBezTo>
                <a:cubicBezTo>
                  <a:pt x="7458075" y="1743263"/>
                  <a:pt x="7449185" y="1768029"/>
                  <a:pt x="7465060" y="1773109"/>
                </a:cubicBezTo>
                <a:close/>
                <a:moveTo>
                  <a:pt x="7480300" y="2335719"/>
                </a:moveTo>
                <a:cubicBezTo>
                  <a:pt x="7466965" y="2359849"/>
                  <a:pt x="7505065" y="2380169"/>
                  <a:pt x="7517765" y="2355404"/>
                </a:cubicBezTo>
                <a:cubicBezTo>
                  <a:pt x="7531100" y="2331909"/>
                  <a:pt x="7493000" y="2311589"/>
                  <a:pt x="7480300" y="2335719"/>
                </a:cubicBezTo>
                <a:close/>
                <a:moveTo>
                  <a:pt x="7576185" y="2409379"/>
                </a:moveTo>
                <a:cubicBezTo>
                  <a:pt x="7600315" y="2421444"/>
                  <a:pt x="7620000" y="2383344"/>
                  <a:pt x="7594600" y="2371279"/>
                </a:cubicBezTo>
                <a:cubicBezTo>
                  <a:pt x="7570470" y="2358579"/>
                  <a:pt x="7551420" y="2397314"/>
                  <a:pt x="7576185" y="2409379"/>
                </a:cubicBezTo>
                <a:close/>
                <a:moveTo>
                  <a:pt x="7738110" y="1934399"/>
                </a:moveTo>
                <a:cubicBezTo>
                  <a:pt x="7755256" y="1940113"/>
                  <a:pt x="7764781" y="1912809"/>
                  <a:pt x="7747000" y="1907729"/>
                </a:cubicBezTo>
                <a:cubicBezTo>
                  <a:pt x="7729220" y="1901379"/>
                  <a:pt x="7720331" y="1928684"/>
                  <a:pt x="7738110" y="1934399"/>
                </a:cubicBezTo>
                <a:close/>
                <a:moveTo>
                  <a:pt x="7515860" y="1935669"/>
                </a:moveTo>
                <a:cubicBezTo>
                  <a:pt x="7534275" y="1943924"/>
                  <a:pt x="7546975" y="1914713"/>
                  <a:pt x="7527925" y="1907094"/>
                </a:cubicBezTo>
                <a:cubicBezTo>
                  <a:pt x="7509510" y="1898838"/>
                  <a:pt x="7496810" y="1928049"/>
                  <a:pt x="7515860" y="1935669"/>
                </a:cubicBezTo>
                <a:close/>
                <a:moveTo>
                  <a:pt x="7520306" y="2013774"/>
                </a:moveTo>
                <a:cubicBezTo>
                  <a:pt x="7510781" y="2033459"/>
                  <a:pt x="7541895" y="2048063"/>
                  <a:pt x="7550785" y="2027744"/>
                </a:cubicBezTo>
                <a:cubicBezTo>
                  <a:pt x="7560945" y="2008059"/>
                  <a:pt x="7529831" y="1993454"/>
                  <a:pt x="7520306" y="2013774"/>
                </a:cubicBezTo>
                <a:close/>
                <a:moveTo>
                  <a:pt x="7525385" y="1793429"/>
                </a:moveTo>
                <a:cubicBezTo>
                  <a:pt x="7540625" y="1798509"/>
                  <a:pt x="7548881" y="1774379"/>
                  <a:pt x="7533006" y="1769299"/>
                </a:cubicBezTo>
                <a:cubicBezTo>
                  <a:pt x="7517765" y="1763584"/>
                  <a:pt x="7509510" y="1788349"/>
                  <a:pt x="7525385" y="1793429"/>
                </a:cubicBezTo>
                <a:close/>
                <a:moveTo>
                  <a:pt x="7804150" y="1955354"/>
                </a:moveTo>
                <a:cubicBezTo>
                  <a:pt x="7821295" y="1961069"/>
                  <a:pt x="7830185" y="1933763"/>
                  <a:pt x="7812406" y="1928684"/>
                </a:cubicBezTo>
                <a:cubicBezTo>
                  <a:pt x="7794625" y="1922334"/>
                  <a:pt x="7786370" y="1950274"/>
                  <a:pt x="7804150" y="1955354"/>
                </a:cubicBezTo>
                <a:close/>
                <a:moveTo>
                  <a:pt x="7830820" y="1883599"/>
                </a:moveTo>
                <a:cubicBezTo>
                  <a:pt x="7846695" y="1888044"/>
                  <a:pt x="7853681" y="1863279"/>
                  <a:pt x="7837170" y="1858834"/>
                </a:cubicBezTo>
                <a:cubicBezTo>
                  <a:pt x="7821295" y="1855024"/>
                  <a:pt x="7814310" y="1879788"/>
                  <a:pt x="7830820" y="1883599"/>
                </a:cubicBezTo>
                <a:close/>
                <a:moveTo>
                  <a:pt x="7817485" y="2136964"/>
                </a:moveTo>
                <a:cubicBezTo>
                  <a:pt x="7809865" y="2157284"/>
                  <a:pt x="7842250" y="2169349"/>
                  <a:pt x="7849235" y="2148394"/>
                </a:cubicBezTo>
                <a:cubicBezTo>
                  <a:pt x="7857490" y="2128074"/>
                  <a:pt x="7824470" y="2116009"/>
                  <a:pt x="7817485" y="2136964"/>
                </a:cubicBezTo>
                <a:close/>
                <a:moveTo>
                  <a:pt x="7795895" y="2044254"/>
                </a:moveTo>
                <a:cubicBezTo>
                  <a:pt x="7814945" y="2051238"/>
                  <a:pt x="7825106" y="2021394"/>
                  <a:pt x="7806056" y="2015044"/>
                </a:cubicBezTo>
                <a:cubicBezTo>
                  <a:pt x="7787006" y="2008059"/>
                  <a:pt x="7776845" y="2037904"/>
                  <a:pt x="7795895" y="2044254"/>
                </a:cubicBezTo>
                <a:close/>
                <a:moveTo>
                  <a:pt x="7851140" y="2279839"/>
                </a:moveTo>
                <a:cubicBezTo>
                  <a:pt x="7873365" y="2288094"/>
                  <a:pt x="7886065" y="2252534"/>
                  <a:pt x="7863206" y="2245549"/>
                </a:cubicBezTo>
                <a:cubicBezTo>
                  <a:pt x="7840981" y="2236659"/>
                  <a:pt x="7828915" y="2272219"/>
                  <a:pt x="7851140" y="2279839"/>
                </a:cubicBezTo>
                <a:close/>
                <a:moveTo>
                  <a:pt x="7893685" y="2163634"/>
                </a:moveTo>
                <a:cubicBezTo>
                  <a:pt x="7886700" y="2184589"/>
                  <a:pt x="7919085" y="2195384"/>
                  <a:pt x="7926070" y="2173794"/>
                </a:cubicBezTo>
                <a:cubicBezTo>
                  <a:pt x="7933056" y="2153474"/>
                  <a:pt x="7900035" y="2142679"/>
                  <a:pt x="7893685" y="2163634"/>
                </a:cubicBezTo>
                <a:close/>
                <a:moveTo>
                  <a:pt x="7882890" y="2410014"/>
                </a:moveTo>
                <a:cubicBezTo>
                  <a:pt x="7907020" y="2418904"/>
                  <a:pt x="7919720" y="2380169"/>
                  <a:pt x="7895590" y="2372549"/>
                </a:cubicBezTo>
                <a:cubicBezTo>
                  <a:pt x="7871460" y="2364294"/>
                  <a:pt x="7858760" y="2402394"/>
                  <a:pt x="7882890" y="2410014"/>
                </a:cubicBezTo>
                <a:close/>
                <a:moveTo>
                  <a:pt x="7724775" y="2018854"/>
                </a:moveTo>
                <a:cubicBezTo>
                  <a:pt x="7743190" y="2025838"/>
                  <a:pt x="7754620" y="1996629"/>
                  <a:pt x="7735570" y="1989644"/>
                </a:cubicBezTo>
                <a:cubicBezTo>
                  <a:pt x="7717156" y="1982659"/>
                  <a:pt x="7705725" y="2012504"/>
                  <a:pt x="7724775" y="2018854"/>
                </a:cubicBezTo>
                <a:close/>
                <a:moveTo>
                  <a:pt x="7892415" y="1899474"/>
                </a:moveTo>
                <a:cubicBezTo>
                  <a:pt x="7908290" y="1903919"/>
                  <a:pt x="7914640" y="1878519"/>
                  <a:pt x="7898765" y="1874709"/>
                </a:cubicBezTo>
                <a:cubicBezTo>
                  <a:pt x="7882256" y="1870899"/>
                  <a:pt x="7876540" y="1895663"/>
                  <a:pt x="7892415" y="1899474"/>
                </a:cubicBezTo>
                <a:close/>
                <a:moveTo>
                  <a:pt x="7870190" y="1975038"/>
                </a:moveTo>
                <a:cubicBezTo>
                  <a:pt x="7887335" y="1980754"/>
                  <a:pt x="7895590" y="1952813"/>
                  <a:pt x="7877810" y="1947734"/>
                </a:cubicBezTo>
                <a:cubicBezTo>
                  <a:pt x="7860665" y="1942654"/>
                  <a:pt x="7852410" y="1970594"/>
                  <a:pt x="7870190" y="1975038"/>
                </a:cubicBezTo>
                <a:close/>
                <a:moveTo>
                  <a:pt x="7867015" y="2067749"/>
                </a:moveTo>
                <a:cubicBezTo>
                  <a:pt x="7886065" y="2074099"/>
                  <a:pt x="7896225" y="2044254"/>
                  <a:pt x="7876540" y="2037904"/>
                </a:cubicBezTo>
                <a:cubicBezTo>
                  <a:pt x="7857490" y="2031554"/>
                  <a:pt x="7847331" y="2062034"/>
                  <a:pt x="7867015" y="2067749"/>
                </a:cubicBezTo>
                <a:close/>
                <a:moveTo>
                  <a:pt x="7742556" y="2109024"/>
                </a:moveTo>
                <a:cubicBezTo>
                  <a:pt x="7734300" y="2129344"/>
                  <a:pt x="7766685" y="2142044"/>
                  <a:pt x="7774306" y="2121089"/>
                </a:cubicBezTo>
                <a:cubicBezTo>
                  <a:pt x="7781925" y="2100769"/>
                  <a:pt x="7750175" y="2088069"/>
                  <a:pt x="7742556" y="2109024"/>
                </a:cubicBezTo>
                <a:close/>
                <a:moveTo>
                  <a:pt x="7665085" y="2450654"/>
                </a:moveTo>
                <a:cubicBezTo>
                  <a:pt x="7689850" y="2462084"/>
                  <a:pt x="7707631" y="2422714"/>
                  <a:pt x="7682231" y="2411919"/>
                </a:cubicBezTo>
                <a:cubicBezTo>
                  <a:pt x="7657465" y="2400489"/>
                  <a:pt x="7639685" y="2439859"/>
                  <a:pt x="7665085" y="2450654"/>
                </a:cubicBezTo>
                <a:close/>
                <a:moveTo>
                  <a:pt x="7674610" y="1983294"/>
                </a:moveTo>
                <a:cubicBezTo>
                  <a:pt x="7682231" y="1964244"/>
                  <a:pt x="7652385" y="1953449"/>
                  <a:pt x="7645400" y="1971863"/>
                </a:cubicBezTo>
                <a:cubicBezTo>
                  <a:pt x="7638415" y="1990913"/>
                  <a:pt x="7667625" y="2002344"/>
                  <a:pt x="7674610" y="1983294"/>
                </a:cubicBezTo>
                <a:close/>
                <a:moveTo>
                  <a:pt x="7771765" y="2449384"/>
                </a:moveTo>
                <a:cubicBezTo>
                  <a:pt x="7746365" y="2438589"/>
                  <a:pt x="7730490" y="2479229"/>
                  <a:pt x="7756525" y="2488754"/>
                </a:cubicBezTo>
                <a:cubicBezTo>
                  <a:pt x="7781290" y="2498914"/>
                  <a:pt x="7797165" y="2458909"/>
                  <a:pt x="7771765" y="2449384"/>
                </a:cubicBezTo>
                <a:close/>
                <a:moveTo>
                  <a:pt x="7713981" y="2206814"/>
                </a:moveTo>
                <a:cubicBezTo>
                  <a:pt x="7723506" y="2185224"/>
                  <a:pt x="7689215" y="2170619"/>
                  <a:pt x="7680325" y="2192209"/>
                </a:cubicBezTo>
                <a:cubicBezTo>
                  <a:pt x="7670800" y="2214434"/>
                  <a:pt x="7704456" y="2229039"/>
                  <a:pt x="7713981" y="2206814"/>
                </a:cubicBezTo>
                <a:close/>
                <a:moveTo>
                  <a:pt x="7769225" y="1867088"/>
                </a:moveTo>
                <a:cubicBezTo>
                  <a:pt x="7785100" y="1871534"/>
                  <a:pt x="7792085" y="1846769"/>
                  <a:pt x="7776210" y="1842324"/>
                </a:cubicBezTo>
                <a:cubicBezTo>
                  <a:pt x="7760335" y="1837879"/>
                  <a:pt x="7753350" y="1862644"/>
                  <a:pt x="7769225" y="1867088"/>
                </a:cubicBezTo>
                <a:close/>
                <a:moveTo>
                  <a:pt x="7820025" y="2745929"/>
                </a:moveTo>
                <a:cubicBezTo>
                  <a:pt x="7830820" y="2716719"/>
                  <a:pt x="7784465" y="2700844"/>
                  <a:pt x="7774940" y="2730054"/>
                </a:cubicBezTo>
                <a:cubicBezTo>
                  <a:pt x="7764145" y="2759899"/>
                  <a:pt x="7809865" y="2775774"/>
                  <a:pt x="7820025" y="2745929"/>
                </a:cubicBezTo>
                <a:close/>
                <a:moveTo>
                  <a:pt x="7793990" y="2239199"/>
                </a:moveTo>
                <a:cubicBezTo>
                  <a:pt x="7802881" y="2216974"/>
                  <a:pt x="7767956" y="2203639"/>
                  <a:pt x="7759700" y="2225864"/>
                </a:cubicBezTo>
                <a:cubicBezTo>
                  <a:pt x="7750810" y="2248089"/>
                  <a:pt x="7785100" y="2261424"/>
                  <a:pt x="7793990" y="2239199"/>
                </a:cubicBezTo>
                <a:close/>
                <a:moveTo>
                  <a:pt x="9373870" y="2170619"/>
                </a:moveTo>
                <a:cubicBezTo>
                  <a:pt x="9363075" y="2149664"/>
                  <a:pt x="9330055" y="2166174"/>
                  <a:pt x="9341485" y="2187764"/>
                </a:cubicBezTo>
                <a:cubicBezTo>
                  <a:pt x="9351645" y="2208719"/>
                  <a:pt x="9385300" y="2191574"/>
                  <a:pt x="9373870" y="2170619"/>
                </a:cubicBezTo>
                <a:close/>
                <a:moveTo>
                  <a:pt x="9018905" y="2251264"/>
                </a:moveTo>
                <a:cubicBezTo>
                  <a:pt x="9043670" y="2251264"/>
                  <a:pt x="9038590" y="2211894"/>
                  <a:pt x="9015095" y="2217609"/>
                </a:cubicBezTo>
                <a:cubicBezTo>
                  <a:pt x="8996045" y="2222054"/>
                  <a:pt x="8999220" y="2251899"/>
                  <a:pt x="9018905" y="2251264"/>
                </a:cubicBezTo>
                <a:close/>
                <a:moveTo>
                  <a:pt x="8977630" y="2499549"/>
                </a:moveTo>
                <a:cubicBezTo>
                  <a:pt x="8987155" y="2525584"/>
                  <a:pt x="9027160" y="2509709"/>
                  <a:pt x="9017000" y="2484309"/>
                </a:cubicBezTo>
                <a:cubicBezTo>
                  <a:pt x="9008110" y="2458274"/>
                  <a:pt x="8967470" y="2474149"/>
                  <a:pt x="8977630" y="2499549"/>
                </a:cubicBezTo>
                <a:close/>
                <a:moveTo>
                  <a:pt x="8989060" y="2409379"/>
                </a:moveTo>
                <a:cubicBezTo>
                  <a:pt x="8964930" y="2363659"/>
                  <a:pt x="8924925" y="2441129"/>
                  <a:pt x="8976360" y="2434144"/>
                </a:cubicBezTo>
                <a:lnTo>
                  <a:pt x="8976360" y="2434144"/>
                </a:lnTo>
                <a:cubicBezTo>
                  <a:pt x="8986520" y="2430969"/>
                  <a:pt x="8992235" y="2419539"/>
                  <a:pt x="8989060" y="2409379"/>
                </a:cubicBezTo>
                <a:close/>
                <a:moveTo>
                  <a:pt x="8939530" y="2604324"/>
                </a:moveTo>
                <a:cubicBezTo>
                  <a:pt x="8950325" y="2631629"/>
                  <a:pt x="8992870" y="2613849"/>
                  <a:pt x="8981440" y="2587179"/>
                </a:cubicBezTo>
                <a:cubicBezTo>
                  <a:pt x="8970010" y="2559874"/>
                  <a:pt x="8927465" y="2577654"/>
                  <a:pt x="8939530" y="2604324"/>
                </a:cubicBezTo>
                <a:close/>
                <a:moveTo>
                  <a:pt x="8952230" y="2315399"/>
                </a:moveTo>
                <a:cubicBezTo>
                  <a:pt x="8929370" y="2321114"/>
                  <a:pt x="8938895" y="2357309"/>
                  <a:pt x="8961120" y="2350959"/>
                </a:cubicBezTo>
                <a:cubicBezTo>
                  <a:pt x="8984615" y="2345879"/>
                  <a:pt x="8975090" y="2309684"/>
                  <a:pt x="8952230" y="2315399"/>
                </a:cubicBezTo>
                <a:close/>
                <a:moveTo>
                  <a:pt x="9044940" y="2327464"/>
                </a:moveTo>
                <a:cubicBezTo>
                  <a:pt x="9067800" y="2320479"/>
                  <a:pt x="9057005" y="2284919"/>
                  <a:pt x="9034145" y="2292539"/>
                </a:cubicBezTo>
                <a:cubicBezTo>
                  <a:pt x="9011285" y="2298889"/>
                  <a:pt x="9022715" y="2335084"/>
                  <a:pt x="9044940" y="2327464"/>
                </a:cubicBezTo>
                <a:close/>
                <a:moveTo>
                  <a:pt x="9027795" y="2001709"/>
                </a:moveTo>
                <a:cubicBezTo>
                  <a:pt x="9044940" y="2001709"/>
                  <a:pt x="9043670" y="1974404"/>
                  <a:pt x="9026525" y="1976309"/>
                </a:cubicBezTo>
                <a:cubicBezTo>
                  <a:pt x="9011285" y="1977579"/>
                  <a:pt x="9012555" y="2001709"/>
                  <a:pt x="9027795" y="2001709"/>
                </a:cubicBezTo>
                <a:close/>
                <a:moveTo>
                  <a:pt x="9035415" y="2149664"/>
                </a:moveTo>
                <a:cubicBezTo>
                  <a:pt x="9039225" y="2169349"/>
                  <a:pt x="9070340" y="2162999"/>
                  <a:pt x="9065895" y="2143314"/>
                </a:cubicBezTo>
                <a:cubicBezTo>
                  <a:pt x="9062085" y="2123629"/>
                  <a:pt x="9031605" y="2129979"/>
                  <a:pt x="9035415" y="2149664"/>
                </a:cubicBezTo>
                <a:close/>
                <a:moveTo>
                  <a:pt x="9033510" y="2055049"/>
                </a:moveTo>
                <a:cubicBezTo>
                  <a:pt x="9015095" y="2057588"/>
                  <a:pt x="9019540" y="2086163"/>
                  <a:pt x="9037955" y="2082988"/>
                </a:cubicBezTo>
                <a:cubicBezTo>
                  <a:pt x="9055735" y="2080449"/>
                  <a:pt x="9051290" y="2051874"/>
                  <a:pt x="9033510" y="2055049"/>
                </a:cubicBezTo>
                <a:close/>
                <a:moveTo>
                  <a:pt x="8965565" y="2063938"/>
                </a:moveTo>
                <a:cubicBezTo>
                  <a:pt x="8947150" y="2065844"/>
                  <a:pt x="8950960" y="2094419"/>
                  <a:pt x="8968740" y="2091879"/>
                </a:cubicBezTo>
                <a:cubicBezTo>
                  <a:pt x="8986520" y="2089974"/>
                  <a:pt x="8983345" y="2061399"/>
                  <a:pt x="8965565" y="2063938"/>
                </a:cubicBezTo>
                <a:close/>
                <a:moveTo>
                  <a:pt x="8876665" y="2421444"/>
                </a:moveTo>
                <a:cubicBezTo>
                  <a:pt x="8851900" y="2427794"/>
                  <a:pt x="8862060" y="2466529"/>
                  <a:pt x="8886825" y="2459544"/>
                </a:cubicBezTo>
                <a:cubicBezTo>
                  <a:pt x="8911590" y="2453829"/>
                  <a:pt x="8901430" y="2415094"/>
                  <a:pt x="8876665" y="2421444"/>
                </a:cubicBezTo>
                <a:close/>
                <a:moveTo>
                  <a:pt x="8869680" y="2335084"/>
                </a:moveTo>
                <a:cubicBezTo>
                  <a:pt x="8846185" y="2339529"/>
                  <a:pt x="8853805" y="2376359"/>
                  <a:pt x="8877300" y="2371279"/>
                </a:cubicBezTo>
                <a:cubicBezTo>
                  <a:pt x="8900160" y="2366199"/>
                  <a:pt x="8892540" y="2329369"/>
                  <a:pt x="8869680" y="2335084"/>
                </a:cubicBezTo>
                <a:close/>
                <a:moveTo>
                  <a:pt x="8842375" y="2639249"/>
                </a:moveTo>
                <a:cubicBezTo>
                  <a:pt x="8851900" y="2667189"/>
                  <a:pt x="8895080" y="2651949"/>
                  <a:pt x="8884920" y="2624644"/>
                </a:cubicBezTo>
                <a:cubicBezTo>
                  <a:pt x="8876030" y="2596704"/>
                  <a:pt x="8832850" y="2611944"/>
                  <a:pt x="8842375" y="2639249"/>
                </a:cubicBezTo>
                <a:close/>
                <a:moveTo>
                  <a:pt x="8901430" y="2156014"/>
                </a:moveTo>
                <a:cubicBezTo>
                  <a:pt x="8881110" y="2157919"/>
                  <a:pt x="8885555" y="2189669"/>
                  <a:pt x="8905240" y="2187129"/>
                </a:cubicBezTo>
                <a:cubicBezTo>
                  <a:pt x="8925560" y="2184589"/>
                  <a:pt x="8921750" y="2152839"/>
                  <a:pt x="8901430" y="2156014"/>
                </a:cubicBezTo>
                <a:close/>
                <a:moveTo>
                  <a:pt x="8899525" y="2504629"/>
                </a:moveTo>
                <a:cubicBezTo>
                  <a:pt x="8872855" y="2512884"/>
                  <a:pt x="8886825" y="2553524"/>
                  <a:pt x="8912860" y="2544634"/>
                </a:cubicBezTo>
                <a:cubicBezTo>
                  <a:pt x="8938895" y="2536379"/>
                  <a:pt x="8925560" y="2495739"/>
                  <a:pt x="8899525" y="2504629"/>
                </a:cubicBezTo>
                <a:close/>
                <a:moveTo>
                  <a:pt x="8975090" y="2145219"/>
                </a:moveTo>
                <a:cubicBezTo>
                  <a:pt x="8955405" y="2148394"/>
                  <a:pt x="8960485" y="2179509"/>
                  <a:pt x="8980170" y="2175699"/>
                </a:cubicBezTo>
                <a:lnTo>
                  <a:pt x="8980170" y="2175699"/>
                </a:lnTo>
                <a:cubicBezTo>
                  <a:pt x="8999855" y="2172524"/>
                  <a:pt x="8994775" y="2141409"/>
                  <a:pt x="8975090" y="2145219"/>
                </a:cubicBezTo>
                <a:close/>
                <a:moveTo>
                  <a:pt x="7404735" y="1796604"/>
                </a:moveTo>
                <a:cubicBezTo>
                  <a:pt x="7397750" y="1813113"/>
                  <a:pt x="7424420" y="1824544"/>
                  <a:pt x="7430770" y="1807399"/>
                </a:cubicBezTo>
                <a:cubicBezTo>
                  <a:pt x="7437756" y="1790254"/>
                  <a:pt x="7411085" y="1779459"/>
                  <a:pt x="7404735" y="1796604"/>
                </a:cubicBezTo>
                <a:close/>
                <a:moveTo>
                  <a:pt x="9049385" y="2366834"/>
                </a:moveTo>
                <a:cubicBezTo>
                  <a:pt x="9025255" y="2375089"/>
                  <a:pt x="9039225" y="2413189"/>
                  <a:pt x="9063355" y="2403664"/>
                </a:cubicBezTo>
                <a:cubicBezTo>
                  <a:pt x="9087485" y="2395409"/>
                  <a:pt x="9073515" y="2357309"/>
                  <a:pt x="9049385" y="2366834"/>
                </a:cubicBezTo>
                <a:close/>
                <a:moveTo>
                  <a:pt x="8940165" y="2268409"/>
                </a:moveTo>
                <a:cubicBezTo>
                  <a:pt x="8964295" y="2268409"/>
                  <a:pt x="8960485" y="2230309"/>
                  <a:pt x="8936990" y="2234754"/>
                </a:cubicBezTo>
                <a:cubicBezTo>
                  <a:pt x="8917305" y="2238564"/>
                  <a:pt x="8920480" y="2269044"/>
                  <a:pt x="8940165" y="2268409"/>
                </a:cubicBezTo>
                <a:close/>
                <a:moveTo>
                  <a:pt x="9091295" y="1994088"/>
                </a:moveTo>
                <a:cubicBezTo>
                  <a:pt x="9091930" y="1994088"/>
                  <a:pt x="9092565" y="1994088"/>
                  <a:pt x="9093200" y="1994088"/>
                </a:cubicBezTo>
                <a:lnTo>
                  <a:pt x="9093200" y="1994088"/>
                </a:lnTo>
                <a:cubicBezTo>
                  <a:pt x="9137650" y="1960434"/>
                  <a:pt x="9042400" y="1966149"/>
                  <a:pt x="9091295" y="1994088"/>
                </a:cubicBezTo>
                <a:close/>
                <a:moveTo>
                  <a:pt x="9340850" y="1948369"/>
                </a:moveTo>
                <a:cubicBezTo>
                  <a:pt x="9359265" y="1948369"/>
                  <a:pt x="9356090" y="1919159"/>
                  <a:pt x="9337675" y="1923604"/>
                </a:cubicBezTo>
                <a:cubicBezTo>
                  <a:pt x="9323705" y="1926144"/>
                  <a:pt x="9326245" y="1948369"/>
                  <a:pt x="9340850" y="1948369"/>
                </a:cubicBezTo>
                <a:close/>
                <a:moveTo>
                  <a:pt x="9337675" y="2079179"/>
                </a:moveTo>
                <a:cubicBezTo>
                  <a:pt x="9339580" y="2079179"/>
                  <a:pt x="9341485" y="2078544"/>
                  <a:pt x="9343390" y="2077909"/>
                </a:cubicBezTo>
                <a:lnTo>
                  <a:pt x="9343390" y="2077909"/>
                </a:lnTo>
                <a:cubicBezTo>
                  <a:pt x="9386570" y="2031554"/>
                  <a:pt x="9281160" y="2050604"/>
                  <a:pt x="9337675" y="2079179"/>
                </a:cubicBezTo>
                <a:close/>
                <a:moveTo>
                  <a:pt x="9319260" y="2006154"/>
                </a:moveTo>
                <a:cubicBezTo>
                  <a:pt x="9314180" y="1988374"/>
                  <a:pt x="9286875" y="1996629"/>
                  <a:pt x="9291955" y="2013774"/>
                </a:cubicBezTo>
                <a:cubicBezTo>
                  <a:pt x="9297035" y="2031554"/>
                  <a:pt x="9324340" y="2023934"/>
                  <a:pt x="9319260" y="2006154"/>
                </a:cubicBezTo>
                <a:close/>
                <a:moveTo>
                  <a:pt x="9371330" y="2004249"/>
                </a:moveTo>
                <a:cubicBezTo>
                  <a:pt x="9392920" y="2004249"/>
                  <a:pt x="9387205" y="1970594"/>
                  <a:pt x="9366885" y="1976944"/>
                </a:cubicBezTo>
                <a:cubicBezTo>
                  <a:pt x="9352280" y="1980754"/>
                  <a:pt x="9356090" y="2004249"/>
                  <a:pt x="9371330" y="2004249"/>
                </a:cubicBezTo>
                <a:close/>
                <a:moveTo>
                  <a:pt x="8901430" y="2011869"/>
                </a:moveTo>
                <a:cubicBezTo>
                  <a:pt x="8918575" y="2011869"/>
                  <a:pt x="8917305" y="1985199"/>
                  <a:pt x="8900795" y="1986469"/>
                </a:cubicBezTo>
                <a:cubicBezTo>
                  <a:pt x="8884920" y="1987104"/>
                  <a:pt x="8885555" y="2011869"/>
                  <a:pt x="8901430" y="2011869"/>
                </a:cubicBezTo>
                <a:close/>
                <a:moveTo>
                  <a:pt x="9278620" y="1962338"/>
                </a:moveTo>
                <a:cubicBezTo>
                  <a:pt x="9297035" y="1962338"/>
                  <a:pt x="9293860" y="1933129"/>
                  <a:pt x="9276080" y="1936938"/>
                </a:cubicBezTo>
                <a:cubicBezTo>
                  <a:pt x="9261475" y="1940113"/>
                  <a:pt x="9264015" y="1962338"/>
                  <a:pt x="9278620" y="1962338"/>
                </a:cubicBezTo>
                <a:close/>
                <a:moveTo>
                  <a:pt x="9402445" y="1932494"/>
                </a:moveTo>
                <a:cubicBezTo>
                  <a:pt x="9420860" y="1932494"/>
                  <a:pt x="9417050" y="1902649"/>
                  <a:pt x="9399270" y="1907729"/>
                </a:cubicBezTo>
                <a:cubicBezTo>
                  <a:pt x="9384665" y="1910904"/>
                  <a:pt x="9387840" y="1933129"/>
                  <a:pt x="9402445" y="1932494"/>
                </a:cubicBezTo>
                <a:close/>
                <a:moveTo>
                  <a:pt x="9338945" y="2125534"/>
                </a:moveTo>
                <a:cubicBezTo>
                  <a:pt x="9330690" y="2105214"/>
                  <a:pt x="9298940" y="2118549"/>
                  <a:pt x="9307830" y="2138869"/>
                </a:cubicBezTo>
                <a:cubicBezTo>
                  <a:pt x="9316720" y="2159189"/>
                  <a:pt x="9347835" y="2145854"/>
                  <a:pt x="9338945" y="2125534"/>
                </a:cubicBezTo>
                <a:close/>
                <a:moveTo>
                  <a:pt x="9411970" y="2091879"/>
                </a:moveTo>
                <a:cubicBezTo>
                  <a:pt x="9403080" y="2072194"/>
                  <a:pt x="9371965" y="2086799"/>
                  <a:pt x="9381490" y="2106484"/>
                </a:cubicBezTo>
                <a:cubicBezTo>
                  <a:pt x="9391015" y="2126804"/>
                  <a:pt x="9421495" y="2111564"/>
                  <a:pt x="9411970" y="2091879"/>
                </a:cubicBezTo>
                <a:close/>
                <a:moveTo>
                  <a:pt x="9272270" y="2200464"/>
                </a:moveTo>
                <a:cubicBezTo>
                  <a:pt x="9254490" y="2208084"/>
                  <a:pt x="9261475" y="2236024"/>
                  <a:pt x="9279890" y="2235389"/>
                </a:cubicBezTo>
                <a:cubicBezTo>
                  <a:pt x="9309735" y="2234754"/>
                  <a:pt x="9299575" y="2188399"/>
                  <a:pt x="9272270" y="2200464"/>
                </a:cubicBezTo>
                <a:close/>
                <a:moveTo>
                  <a:pt x="9252585" y="2093149"/>
                </a:moveTo>
                <a:cubicBezTo>
                  <a:pt x="9258935" y="2112199"/>
                  <a:pt x="9288780" y="2102039"/>
                  <a:pt x="9281795" y="2083624"/>
                </a:cubicBezTo>
                <a:cubicBezTo>
                  <a:pt x="9276080" y="2063938"/>
                  <a:pt x="9246235" y="2074099"/>
                  <a:pt x="9252585" y="2093149"/>
                </a:cubicBezTo>
                <a:close/>
                <a:moveTo>
                  <a:pt x="9154160" y="1985199"/>
                </a:moveTo>
                <a:cubicBezTo>
                  <a:pt x="9171940" y="1985199"/>
                  <a:pt x="9170035" y="1957259"/>
                  <a:pt x="9152255" y="1959799"/>
                </a:cubicBezTo>
                <a:cubicBezTo>
                  <a:pt x="9137015" y="1961704"/>
                  <a:pt x="9138920" y="1985834"/>
                  <a:pt x="9154160" y="1985199"/>
                </a:cubicBezTo>
                <a:close/>
                <a:moveTo>
                  <a:pt x="9090025" y="2060129"/>
                </a:moveTo>
                <a:cubicBezTo>
                  <a:pt x="9093200" y="2078544"/>
                  <a:pt x="9121140" y="2072829"/>
                  <a:pt x="9117965" y="2055049"/>
                </a:cubicBezTo>
                <a:cubicBezTo>
                  <a:pt x="9114790" y="2036634"/>
                  <a:pt x="9086215" y="2042349"/>
                  <a:pt x="9090025" y="2060129"/>
                </a:cubicBezTo>
                <a:close/>
                <a:moveTo>
                  <a:pt x="9157335" y="2046794"/>
                </a:moveTo>
                <a:cubicBezTo>
                  <a:pt x="9161145" y="2064574"/>
                  <a:pt x="9189085" y="2058859"/>
                  <a:pt x="9184640" y="2041079"/>
                </a:cubicBezTo>
                <a:cubicBezTo>
                  <a:pt x="9181465" y="2023299"/>
                  <a:pt x="9153525" y="2029013"/>
                  <a:pt x="9157335" y="2046794"/>
                </a:cubicBezTo>
                <a:close/>
                <a:moveTo>
                  <a:pt x="9108440" y="2133789"/>
                </a:moveTo>
                <a:cubicBezTo>
                  <a:pt x="9112885" y="2153474"/>
                  <a:pt x="9144000" y="2145854"/>
                  <a:pt x="9138920" y="2126169"/>
                </a:cubicBezTo>
                <a:cubicBezTo>
                  <a:pt x="9134475" y="2106484"/>
                  <a:pt x="9103360" y="2114104"/>
                  <a:pt x="9108440" y="2133789"/>
                </a:cubicBezTo>
                <a:close/>
                <a:moveTo>
                  <a:pt x="9225280" y="2031554"/>
                </a:moveTo>
                <a:cubicBezTo>
                  <a:pt x="9229725" y="2049334"/>
                  <a:pt x="9257665" y="2042349"/>
                  <a:pt x="9252585" y="2024569"/>
                </a:cubicBezTo>
                <a:cubicBezTo>
                  <a:pt x="9248140" y="2006788"/>
                  <a:pt x="9220200" y="2013774"/>
                  <a:pt x="9225280" y="2031554"/>
                </a:cubicBezTo>
                <a:close/>
                <a:moveTo>
                  <a:pt x="9216390" y="1974404"/>
                </a:moveTo>
                <a:cubicBezTo>
                  <a:pt x="9234170" y="1974404"/>
                  <a:pt x="9231630" y="1945829"/>
                  <a:pt x="9213850" y="1949004"/>
                </a:cubicBezTo>
                <a:cubicBezTo>
                  <a:pt x="9199245" y="1951544"/>
                  <a:pt x="9201785" y="1975038"/>
                  <a:pt x="9216390" y="1974404"/>
                </a:cubicBezTo>
                <a:close/>
                <a:moveTo>
                  <a:pt x="9180830" y="2114739"/>
                </a:moveTo>
                <a:cubicBezTo>
                  <a:pt x="9186545" y="2134424"/>
                  <a:pt x="9216390" y="2125534"/>
                  <a:pt x="9210675" y="2105849"/>
                </a:cubicBezTo>
                <a:cubicBezTo>
                  <a:pt x="9205595" y="2086799"/>
                  <a:pt x="9175115" y="2095688"/>
                  <a:pt x="9180830" y="2114739"/>
                </a:cubicBezTo>
                <a:close/>
                <a:moveTo>
                  <a:pt x="8646795" y="2013774"/>
                </a:moveTo>
                <a:cubicBezTo>
                  <a:pt x="8663305" y="2014409"/>
                  <a:pt x="8663940" y="1989009"/>
                  <a:pt x="8648065" y="1988374"/>
                </a:cubicBezTo>
                <a:cubicBezTo>
                  <a:pt x="8631555" y="1987104"/>
                  <a:pt x="8630285" y="2013138"/>
                  <a:pt x="8646795" y="2013774"/>
                </a:cubicBezTo>
                <a:close/>
                <a:moveTo>
                  <a:pt x="8583295" y="2010599"/>
                </a:moveTo>
                <a:cubicBezTo>
                  <a:pt x="8599805" y="2011869"/>
                  <a:pt x="8601075" y="1985834"/>
                  <a:pt x="8584565" y="1985199"/>
                </a:cubicBezTo>
                <a:cubicBezTo>
                  <a:pt x="8568055" y="1983929"/>
                  <a:pt x="8566785" y="2009963"/>
                  <a:pt x="8583295" y="2010599"/>
                </a:cubicBezTo>
                <a:close/>
                <a:moveTo>
                  <a:pt x="8531225" y="2168079"/>
                </a:moveTo>
                <a:cubicBezTo>
                  <a:pt x="8510270" y="2166809"/>
                  <a:pt x="8509635" y="2199194"/>
                  <a:pt x="8530590" y="2199194"/>
                </a:cubicBezTo>
                <a:cubicBezTo>
                  <a:pt x="8549640" y="2199194"/>
                  <a:pt x="8550910" y="2168714"/>
                  <a:pt x="8531225" y="2168079"/>
                </a:cubicBezTo>
                <a:close/>
                <a:moveTo>
                  <a:pt x="8444230" y="2403029"/>
                </a:moveTo>
                <a:cubicBezTo>
                  <a:pt x="8467725" y="2404934"/>
                  <a:pt x="8469630" y="2367469"/>
                  <a:pt x="8446135" y="2366199"/>
                </a:cubicBezTo>
                <a:cubicBezTo>
                  <a:pt x="8422005" y="2364929"/>
                  <a:pt x="8420100" y="2402394"/>
                  <a:pt x="8444230" y="2403029"/>
                </a:cubicBezTo>
                <a:close/>
                <a:moveTo>
                  <a:pt x="8589645" y="2185859"/>
                </a:moveTo>
                <a:cubicBezTo>
                  <a:pt x="8589010" y="2206179"/>
                  <a:pt x="8620760" y="2206814"/>
                  <a:pt x="8620760" y="2186494"/>
                </a:cubicBezTo>
                <a:cubicBezTo>
                  <a:pt x="8621395" y="2166809"/>
                  <a:pt x="8589645" y="2166174"/>
                  <a:pt x="8589645" y="2185859"/>
                </a:cubicBezTo>
                <a:close/>
                <a:moveTo>
                  <a:pt x="8620760" y="2267774"/>
                </a:moveTo>
                <a:cubicBezTo>
                  <a:pt x="8598535" y="2267774"/>
                  <a:pt x="8599170" y="2302064"/>
                  <a:pt x="8621395" y="2301429"/>
                </a:cubicBezTo>
                <a:cubicBezTo>
                  <a:pt x="8642985" y="2302064"/>
                  <a:pt x="8642350" y="2267139"/>
                  <a:pt x="8620760" y="2267774"/>
                </a:cubicBezTo>
                <a:close/>
                <a:moveTo>
                  <a:pt x="8598535" y="2385884"/>
                </a:moveTo>
                <a:cubicBezTo>
                  <a:pt x="8599170" y="2410014"/>
                  <a:pt x="8636635" y="2408109"/>
                  <a:pt x="8635365" y="2383979"/>
                </a:cubicBezTo>
                <a:cubicBezTo>
                  <a:pt x="8634730" y="2360484"/>
                  <a:pt x="8597265" y="2362389"/>
                  <a:pt x="8598535" y="2385884"/>
                </a:cubicBezTo>
                <a:close/>
                <a:moveTo>
                  <a:pt x="8621395" y="2105214"/>
                </a:moveTo>
                <a:cubicBezTo>
                  <a:pt x="8639810" y="2106484"/>
                  <a:pt x="8640445" y="2077274"/>
                  <a:pt x="8622665" y="2077274"/>
                </a:cubicBezTo>
                <a:cubicBezTo>
                  <a:pt x="8604250" y="2076004"/>
                  <a:pt x="8602980" y="2105214"/>
                  <a:pt x="8621395" y="2105214"/>
                </a:cubicBezTo>
                <a:close/>
                <a:moveTo>
                  <a:pt x="8591550" y="2488754"/>
                </a:moveTo>
                <a:cubicBezTo>
                  <a:pt x="8593455" y="2514154"/>
                  <a:pt x="8633460" y="2510979"/>
                  <a:pt x="8630920" y="2485579"/>
                </a:cubicBezTo>
                <a:cubicBezTo>
                  <a:pt x="8629015" y="2460179"/>
                  <a:pt x="8589010" y="2463354"/>
                  <a:pt x="8591550" y="2488754"/>
                </a:cubicBezTo>
                <a:close/>
                <a:moveTo>
                  <a:pt x="8531225" y="2405569"/>
                </a:moveTo>
                <a:cubicBezTo>
                  <a:pt x="8555355" y="2406204"/>
                  <a:pt x="8555355" y="2368739"/>
                  <a:pt x="8531225" y="2368739"/>
                </a:cubicBezTo>
                <a:cubicBezTo>
                  <a:pt x="8507730" y="2368104"/>
                  <a:pt x="8507095" y="2405569"/>
                  <a:pt x="8531225" y="2405569"/>
                </a:cubicBezTo>
                <a:close/>
                <a:moveTo>
                  <a:pt x="8523605" y="2283649"/>
                </a:moveTo>
                <a:cubicBezTo>
                  <a:pt x="8523605" y="2293174"/>
                  <a:pt x="8530590" y="2300794"/>
                  <a:pt x="8540115" y="2301429"/>
                </a:cubicBezTo>
                <a:lnTo>
                  <a:pt x="8540115" y="2301429"/>
                </a:lnTo>
                <a:cubicBezTo>
                  <a:pt x="8583930" y="2295079"/>
                  <a:pt x="8532495" y="2240469"/>
                  <a:pt x="8523605" y="2283649"/>
                </a:cubicBezTo>
                <a:close/>
                <a:moveTo>
                  <a:pt x="8459470" y="2690049"/>
                </a:moveTo>
                <a:cubicBezTo>
                  <a:pt x="8430260" y="2691319"/>
                  <a:pt x="8432800" y="2737674"/>
                  <a:pt x="8462010" y="2735134"/>
                </a:cubicBezTo>
                <a:cubicBezTo>
                  <a:pt x="8491855" y="2733864"/>
                  <a:pt x="8488680" y="2688144"/>
                  <a:pt x="8459470" y="2690049"/>
                </a:cubicBezTo>
                <a:cubicBezTo>
                  <a:pt x="8459470" y="2690049"/>
                  <a:pt x="8459470" y="2690049"/>
                  <a:pt x="8459470" y="2690049"/>
                </a:cubicBezTo>
                <a:close/>
                <a:moveTo>
                  <a:pt x="8898255" y="2098864"/>
                </a:moveTo>
                <a:cubicBezTo>
                  <a:pt x="8917305" y="2098864"/>
                  <a:pt x="8916035" y="2069019"/>
                  <a:pt x="8896985" y="2070924"/>
                </a:cubicBezTo>
                <a:cubicBezTo>
                  <a:pt x="8879205" y="2072194"/>
                  <a:pt x="8880475" y="2099499"/>
                  <a:pt x="8898255" y="2098864"/>
                </a:cubicBezTo>
                <a:close/>
                <a:moveTo>
                  <a:pt x="8461375" y="2263329"/>
                </a:moveTo>
                <a:cubicBezTo>
                  <a:pt x="8439150" y="2261424"/>
                  <a:pt x="8437245" y="2295714"/>
                  <a:pt x="8458835" y="2296984"/>
                </a:cubicBezTo>
                <a:cubicBezTo>
                  <a:pt x="8481060" y="2298889"/>
                  <a:pt x="8483600" y="2264599"/>
                  <a:pt x="8461375" y="2263329"/>
                </a:cubicBezTo>
                <a:close/>
                <a:moveTo>
                  <a:pt x="8454390" y="2193479"/>
                </a:moveTo>
                <a:cubicBezTo>
                  <a:pt x="8474075" y="2195384"/>
                  <a:pt x="8477250" y="2164269"/>
                  <a:pt x="8456930" y="2162364"/>
                </a:cubicBezTo>
                <a:cubicBezTo>
                  <a:pt x="8437245" y="2160459"/>
                  <a:pt x="8434070" y="2191574"/>
                  <a:pt x="8454390" y="2193479"/>
                </a:cubicBezTo>
                <a:close/>
                <a:moveTo>
                  <a:pt x="8541385" y="2705924"/>
                </a:moveTo>
                <a:cubicBezTo>
                  <a:pt x="8545195" y="2735134"/>
                  <a:pt x="8590280" y="2728784"/>
                  <a:pt x="8586470" y="2700209"/>
                </a:cubicBezTo>
                <a:cubicBezTo>
                  <a:pt x="8582660" y="2670999"/>
                  <a:pt x="8536940" y="2676714"/>
                  <a:pt x="8541385" y="2705924"/>
                </a:cubicBezTo>
                <a:close/>
                <a:moveTo>
                  <a:pt x="8551545" y="2102039"/>
                </a:moveTo>
                <a:cubicBezTo>
                  <a:pt x="8569960" y="2103309"/>
                  <a:pt x="8571865" y="2074734"/>
                  <a:pt x="8553450" y="2074099"/>
                </a:cubicBezTo>
                <a:cubicBezTo>
                  <a:pt x="8535035" y="2072194"/>
                  <a:pt x="8533765" y="2100769"/>
                  <a:pt x="8551545" y="2102039"/>
                </a:cubicBezTo>
                <a:close/>
                <a:moveTo>
                  <a:pt x="8519795" y="2006154"/>
                </a:moveTo>
                <a:cubicBezTo>
                  <a:pt x="8536305" y="2008059"/>
                  <a:pt x="8538210" y="1982024"/>
                  <a:pt x="8521700" y="1980754"/>
                </a:cubicBezTo>
                <a:cubicBezTo>
                  <a:pt x="8505190" y="1979484"/>
                  <a:pt x="8503285" y="2004884"/>
                  <a:pt x="8519795" y="2006154"/>
                </a:cubicBezTo>
                <a:close/>
                <a:moveTo>
                  <a:pt x="8482330" y="2096324"/>
                </a:moveTo>
                <a:cubicBezTo>
                  <a:pt x="8500745" y="2098229"/>
                  <a:pt x="8503285" y="2069654"/>
                  <a:pt x="8484870" y="2068384"/>
                </a:cubicBezTo>
                <a:cubicBezTo>
                  <a:pt x="8467090" y="2066479"/>
                  <a:pt x="8463915" y="2095054"/>
                  <a:pt x="8482330" y="2096324"/>
                </a:cubicBezTo>
                <a:close/>
                <a:moveTo>
                  <a:pt x="8456295" y="2000438"/>
                </a:moveTo>
                <a:cubicBezTo>
                  <a:pt x="8472805" y="2002344"/>
                  <a:pt x="8475345" y="1976309"/>
                  <a:pt x="8458835" y="1975038"/>
                </a:cubicBezTo>
                <a:cubicBezTo>
                  <a:pt x="8442325" y="1973134"/>
                  <a:pt x="8439785" y="1999169"/>
                  <a:pt x="8456295" y="2000438"/>
                </a:cubicBezTo>
                <a:close/>
                <a:moveTo>
                  <a:pt x="8785860" y="2349689"/>
                </a:moveTo>
                <a:cubicBezTo>
                  <a:pt x="8762365" y="2352864"/>
                  <a:pt x="8768080" y="2389694"/>
                  <a:pt x="8791575" y="2385884"/>
                </a:cubicBezTo>
                <a:cubicBezTo>
                  <a:pt x="8814435" y="2382709"/>
                  <a:pt x="8808720" y="2345879"/>
                  <a:pt x="8785860" y="2349689"/>
                </a:cubicBezTo>
                <a:close/>
                <a:moveTo>
                  <a:pt x="8788400" y="2441764"/>
                </a:moveTo>
                <a:cubicBezTo>
                  <a:pt x="8763000" y="2446209"/>
                  <a:pt x="8771255" y="2486214"/>
                  <a:pt x="8796020" y="2480499"/>
                </a:cubicBezTo>
                <a:cubicBezTo>
                  <a:pt x="8821420" y="2476054"/>
                  <a:pt x="8813800" y="2436684"/>
                  <a:pt x="8788400" y="2441764"/>
                </a:cubicBezTo>
                <a:close/>
                <a:moveTo>
                  <a:pt x="8759190" y="2640519"/>
                </a:moveTo>
                <a:cubicBezTo>
                  <a:pt x="8730615" y="2647504"/>
                  <a:pt x="8743315" y="2691954"/>
                  <a:pt x="8771255" y="2684334"/>
                </a:cubicBezTo>
                <a:cubicBezTo>
                  <a:pt x="8799830" y="2676714"/>
                  <a:pt x="8787765" y="2632264"/>
                  <a:pt x="8759190" y="2640519"/>
                </a:cubicBezTo>
                <a:close/>
                <a:moveTo>
                  <a:pt x="8779510" y="2258884"/>
                </a:moveTo>
                <a:cubicBezTo>
                  <a:pt x="8757285" y="2260789"/>
                  <a:pt x="8761095" y="2295079"/>
                  <a:pt x="8783320" y="2292539"/>
                </a:cubicBezTo>
                <a:cubicBezTo>
                  <a:pt x="8804910" y="2290634"/>
                  <a:pt x="8801735" y="2256344"/>
                  <a:pt x="8779510" y="2258884"/>
                </a:cubicBezTo>
                <a:close/>
                <a:moveTo>
                  <a:pt x="8837930" y="2014409"/>
                </a:moveTo>
                <a:cubicBezTo>
                  <a:pt x="8854440" y="2014409"/>
                  <a:pt x="8854440" y="1988374"/>
                  <a:pt x="8837295" y="1989009"/>
                </a:cubicBezTo>
                <a:cubicBezTo>
                  <a:pt x="8821420" y="1989009"/>
                  <a:pt x="8821420" y="2014409"/>
                  <a:pt x="8837930" y="2014409"/>
                </a:cubicBezTo>
                <a:close/>
                <a:moveTo>
                  <a:pt x="8844280" y="2267774"/>
                </a:moveTo>
                <a:cubicBezTo>
                  <a:pt x="8847455" y="2289364"/>
                  <a:pt x="8881110" y="2284284"/>
                  <a:pt x="8877935" y="2262694"/>
                </a:cubicBezTo>
                <a:cubicBezTo>
                  <a:pt x="8874760" y="2241104"/>
                  <a:pt x="8840470" y="2246184"/>
                  <a:pt x="8844280" y="2267774"/>
                </a:cubicBezTo>
                <a:close/>
                <a:moveTo>
                  <a:pt x="8774430" y="2015679"/>
                </a:moveTo>
                <a:cubicBezTo>
                  <a:pt x="8790940" y="2015679"/>
                  <a:pt x="8790940" y="1989644"/>
                  <a:pt x="8774430" y="1990279"/>
                </a:cubicBezTo>
                <a:cubicBezTo>
                  <a:pt x="8757920" y="1990279"/>
                  <a:pt x="8757920" y="2015679"/>
                  <a:pt x="8774430" y="2015679"/>
                </a:cubicBezTo>
                <a:close/>
                <a:moveTo>
                  <a:pt x="8829040" y="2103944"/>
                </a:moveTo>
                <a:cubicBezTo>
                  <a:pt x="8848090" y="2103944"/>
                  <a:pt x="8846820" y="2074734"/>
                  <a:pt x="8828405" y="2076004"/>
                </a:cubicBezTo>
                <a:cubicBezTo>
                  <a:pt x="8810625" y="2076004"/>
                  <a:pt x="8811260" y="2103944"/>
                  <a:pt x="8829040" y="2103944"/>
                </a:cubicBezTo>
                <a:close/>
                <a:moveTo>
                  <a:pt x="8829040" y="2194749"/>
                </a:moveTo>
                <a:cubicBezTo>
                  <a:pt x="8849995" y="2194749"/>
                  <a:pt x="8848725" y="2161729"/>
                  <a:pt x="8827770" y="2163634"/>
                </a:cubicBezTo>
                <a:cubicBezTo>
                  <a:pt x="8808720" y="2164904"/>
                  <a:pt x="8809990" y="2195384"/>
                  <a:pt x="8829040" y="2194749"/>
                </a:cubicBezTo>
                <a:close/>
                <a:moveTo>
                  <a:pt x="8642985" y="2690684"/>
                </a:moveTo>
                <a:cubicBezTo>
                  <a:pt x="8648700" y="2719259"/>
                  <a:pt x="8693150" y="2710369"/>
                  <a:pt x="8687435" y="2681794"/>
                </a:cubicBezTo>
                <a:cubicBezTo>
                  <a:pt x="8681720" y="2652584"/>
                  <a:pt x="8636635" y="2662109"/>
                  <a:pt x="8642985" y="2690684"/>
                </a:cubicBezTo>
                <a:close/>
                <a:moveTo>
                  <a:pt x="8702040" y="2298889"/>
                </a:moveTo>
                <a:cubicBezTo>
                  <a:pt x="8724265" y="2297619"/>
                  <a:pt x="8721725" y="2263329"/>
                  <a:pt x="8700135" y="2265234"/>
                </a:cubicBezTo>
                <a:cubicBezTo>
                  <a:pt x="8678545" y="2265869"/>
                  <a:pt x="8680450" y="2300159"/>
                  <a:pt x="8702040" y="2298889"/>
                </a:cubicBezTo>
                <a:close/>
                <a:moveTo>
                  <a:pt x="8679815" y="2202369"/>
                </a:moveTo>
                <a:cubicBezTo>
                  <a:pt x="8700135" y="2202369"/>
                  <a:pt x="8700135" y="2170619"/>
                  <a:pt x="8679815" y="2171254"/>
                </a:cubicBezTo>
                <a:cubicBezTo>
                  <a:pt x="8659495" y="2171254"/>
                  <a:pt x="8660130" y="2202369"/>
                  <a:pt x="8679815" y="2202369"/>
                </a:cubicBezTo>
                <a:close/>
                <a:moveTo>
                  <a:pt x="8684895" y="2380169"/>
                </a:moveTo>
                <a:cubicBezTo>
                  <a:pt x="8686800" y="2403664"/>
                  <a:pt x="8724265" y="2399854"/>
                  <a:pt x="8721725" y="2376359"/>
                </a:cubicBezTo>
                <a:cubicBezTo>
                  <a:pt x="8719185" y="2352864"/>
                  <a:pt x="8681720" y="2356674"/>
                  <a:pt x="8684895" y="2380169"/>
                </a:cubicBezTo>
                <a:close/>
                <a:moveTo>
                  <a:pt x="8690610" y="2107119"/>
                </a:moveTo>
                <a:cubicBezTo>
                  <a:pt x="8709025" y="2107754"/>
                  <a:pt x="8709025" y="2078544"/>
                  <a:pt x="8690610" y="2079179"/>
                </a:cubicBezTo>
                <a:cubicBezTo>
                  <a:pt x="8672830" y="2078544"/>
                  <a:pt x="8672830" y="2107119"/>
                  <a:pt x="8690610" y="2107119"/>
                </a:cubicBezTo>
                <a:close/>
                <a:moveTo>
                  <a:pt x="8710930" y="2015044"/>
                </a:moveTo>
                <a:cubicBezTo>
                  <a:pt x="8727440" y="2015679"/>
                  <a:pt x="8727440" y="1989644"/>
                  <a:pt x="8711565" y="1989644"/>
                </a:cubicBezTo>
                <a:cubicBezTo>
                  <a:pt x="8694420" y="1989009"/>
                  <a:pt x="8694420" y="2015044"/>
                  <a:pt x="8710930" y="2015044"/>
                </a:cubicBezTo>
                <a:close/>
                <a:moveTo>
                  <a:pt x="8721725" y="2474149"/>
                </a:moveTo>
                <a:cubicBezTo>
                  <a:pt x="8718550" y="2448749"/>
                  <a:pt x="8678545" y="2454464"/>
                  <a:pt x="8682355" y="2479864"/>
                </a:cubicBezTo>
                <a:cubicBezTo>
                  <a:pt x="8686165" y="2505264"/>
                  <a:pt x="8725535" y="2499549"/>
                  <a:pt x="8721725" y="2474149"/>
                </a:cubicBezTo>
                <a:close/>
                <a:moveTo>
                  <a:pt x="8754745" y="2199829"/>
                </a:moveTo>
                <a:cubicBezTo>
                  <a:pt x="8775065" y="2199829"/>
                  <a:pt x="8774430" y="2167444"/>
                  <a:pt x="8754110" y="2168714"/>
                </a:cubicBezTo>
                <a:cubicBezTo>
                  <a:pt x="8733790" y="2169349"/>
                  <a:pt x="8735060" y="2200464"/>
                  <a:pt x="8754745" y="2199829"/>
                </a:cubicBezTo>
                <a:close/>
                <a:moveTo>
                  <a:pt x="8759825" y="2106484"/>
                </a:moveTo>
                <a:cubicBezTo>
                  <a:pt x="8778240" y="2106484"/>
                  <a:pt x="8778240" y="2077274"/>
                  <a:pt x="8759190" y="2078544"/>
                </a:cubicBezTo>
                <a:cubicBezTo>
                  <a:pt x="8741410" y="2078544"/>
                  <a:pt x="8742045" y="2106484"/>
                  <a:pt x="8759825" y="2106484"/>
                </a:cubicBezTo>
                <a:close/>
                <a:moveTo>
                  <a:pt x="5309870" y="1019363"/>
                </a:moveTo>
                <a:cubicBezTo>
                  <a:pt x="5293995" y="1016188"/>
                  <a:pt x="5288915" y="1041588"/>
                  <a:pt x="5305425" y="1044129"/>
                </a:cubicBezTo>
                <a:cubicBezTo>
                  <a:pt x="5321935" y="1047938"/>
                  <a:pt x="5326380" y="1021904"/>
                  <a:pt x="5309870" y="1019363"/>
                </a:cubicBezTo>
                <a:close/>
                <a:moveTo>
                  <a:pt x="7705090" y="2677984"/>
                </a:moveTo>
                <a:cubicBezTo>
                  <a:pt x="7676515" y="2665919"/>
                  <a:pt x="7658100" y="2711004"/>
                  <a:pt x="7686675" y="2722434"/>
                </a:cubicBezTo>
                <a:cubicBezTo>
                  <a:pt x="7715250" y="2734499"/>
                  <a:pt x="7734300" y="2688779"/>
                  <a:pt x="7705090" y="2677984"/>
                </a:cubicBezTo>
                <a:close/>
                <a:moveTo>
                  <a:pt x="7699375" y="2806254"/>
                </a:moveTo>
                <a:cubicBezTo>
                  <a:pt x="7668895" y="2793554"/>
                  <a:pt x="7649845" y="2841814"/>
                  <a:pt x="7680325" y="2853244"/>
                </a:cubicBezTo>
                <a:cubicBezTo>
                  <a:pt x="7710806" y="2866579"/>
                  <a:pt x="7730490" y="2818319"/>
                  <a:pt x="7699375" y="2806254"/>
                </a:cubicBezTo>
                <a:close/>
                <a:moveTo>
                  <a:pt x="7764145" y="2572574"/>
                </a:moveTo>
                <a:cubicBezTo>
                  <a:pt x="7736840" y="2561779"/>
                  <a:pt x="7720331" y="2604324"/>
                  <a:pt x="7747635" y="2614484"/>
                </a:cubicBezTo>
                <a:lnTo>
                  <a:pt x="7747635" y="2614484"/>
                </a:lnTo>
                <a:cubicBezTo>
                  <a:pt x="7774940" y="2625279"/>
                  <a:pt x="7792085" y="2582734"/>
                  <a:pt x="7764145" y="2572574"/>
                </a:cubicBezTo>
                <a:close/>
                <a:moveTo>
                  <a:pt x="7725410" y="2308414"/>
                </a:moveTo>
                <a:cubicBezTo>
                  <a:pt x="7701915" y="2298254"/>
                  <a:pt x="7686040" y="2335084"/>
                  <a:pt x="7710170" y="2344609"/>
                </a:cubicBezTo>
                <a:cubicBezTo>
                  <a:pt x="7733031" y="2355404"/>
                  <a:pt x="7749540" y="2317939"/>
                  <a:pt x="7725410" y="2308414"/>
                </a:cubicBezTo>
                <a:close/>
                <a:moveTo>
                  <a:pt x="7569200" y="2258249"/>
                </a:moveTo>
                <a:cubicBezTo>
                  <a:pt x="7581265" y="2235389"/>
                  <a:pt x="7545070" y="2217609"/>
                  <a:pt x="7533640" y="2240469"/>
                </a:cubicBezTo>
                <a:cubicBezTo>
                  <a:pt x="7521575" y="2263329"/>
                  <a:pt x="7557770" y="2281744"/>
                  <a:pt x="7569200" y="2258249"/>
                </a:cubicBezTo>
                <a:close/>
                <a:moveTo>
                  <a:pt x="7588250" y="2519869"/>
                </a:moveTo>
                <a:cubicBezTo>
                  <a:pt x="7601585" y="2493834"/>
                  <a:pt x="7560310" y="2473514"/>
                  <a:pt x="7547610" y="2500184"/>
                </a:cubicBezTo>
                <a:cubicBezTo>
                  <a:pt x="7534275" y="2526219"/>
                  <a:pt x="7575550" y="2546539"/>
                  <a:pt x="7588250" y="2519869"/>
                </a:cubicBezTo>
                <a:close/>
                <a:moveTo>
                  <a:pt x="7595870" y="2761804"/>
                </a:moveTo>
                <a:cubicBezTo>
                  <a:pt x="7566025" y="2747199"/>
                  <a:pt x="7544435" y="2794189"/>
                  <a:pt x="7574281" y="2808159"/>
                </a:cubicBezTo>
                <a:cubicBezTo>
                  <a:pt x="7603490" y="2822129"/>
                  <a:pt x="7625715" y="2775139"/>
                  <a:pt x="7595870" y="2761804"/>
                </a:cubicBezTo>
                <a:close/>
                <a:moveTo>
                  <a:pt x="7651750" y="2297619"/>
                </a:moveTo>
                <a:cubicBezTo>
                  <a:pt x="7662545" y="2274759"/>
                  <a:pt x="7626350" y="2257614"/>
                  <a:pt x="7615556" y="2281109"/>
                </a:cubicBezTo>
                <a:cubicBezTo>
                  <a:pt x="7604760" y="2303969"/>
                  <a:pt x="7641590" y="2321114"/>
                  <a:pt x="7651750" y="2297619"/>
                </a:cubicBezTo>
                <a:close/>
                <a:moveTo>
                  <a:pt x="7606665" y="2634169"/>
                </a:moveTo>
                <a:cubicBezTo>
                  <a:pt x="7578725" y="2620199"/>
                  <a:pt x="7557770" y="2664649"/>
                  <a:pt x="7586345" y="2677349"/>
                </a:cubicBezTo>
                <a:cubicBezTo>
                  <a:pt x="7614285" y="2691319"/>
                  <a:pt x="7635240" y="2647504"/>
                  <a:pt x="7606665" y="2634169"/>
                </a:cubicBezTo>
                <a:close/>
                <a:moveTo>
                  <a:pt x="7681595" y="2563049"/>
                </a:moveTo>
                <a:cubicBezTo>
                  <a:pt x="7693660" y="2536379"/>
                  <a:pt x="7651750" y="2517964"/>
                  <a:pt x="7640320" y="2544634"/>
                </a:cubicBezTo>
                <a:cubicBezTo>
                  <a:pt x="7628256" y="2571304"/>
                  <a:pt x="7670165" y="2590354"/>
                  <a:pt x="7681595" y="2563049"/>
                </a:cubicBezTo>
                <a:close/>
                <a:moveTo>
                  <a:pt x="7805420" y="2844989"/>
                </a:moveTo>
                <a:cubicBezTo>
                  <a:pt x="7774306" y="2834194"/>
                  <a:pt x="7757795" y="2883089"/>
                  <a:pt x="7789545" y="2893248"/>
                </a:cubicBezTo>
                <a:cubicBezTo>
                  <a:pt x="7820025" y="2904679"/>
                  <a:pt x="7836535" y="2855148"/>
                  <a:pt x="7805420" y="2844989"/>
                </a:cubicBezTo>
                <a:close/>
                <a:moveTo>
                  <a:pt x="7957820" y="2636074"/>
                </a:moveTo>
                <a:cubicBezTo>
                  <a:pt x="7929881" y="2627819"/>
                  <a:pt x="7917815" y="2672269"/>
                  <a:pt x="7945756" y="2679889"/>
                </a:cubicBezTo>
                <a:cubicBezTo>
                  <a:pt x="7973695" y="2688144"/>
                  <a:pt x="7986395" y="2643059"/>
                  <a:pt x="7957820" y="2636074"/>
                </a:cubicBezTo>
                <a:close/>
                <a:moveTo>
                  <a:pt x="7995285" y="2424619"/>
                </a:moveTo>
                <a:cubicBezTo>
                  <a:pt x="8002906" y="2399854"/>
                  <a:pt x="7964170" y="2389059"/>
                  <a:pt x="7957185" y="2413824"/>
                </a:cubicBezTo>
                <a:cubicBezTo>
                  <a:pt x="7950200" y="2437954"/>
                  <a:pt x="7988935" y="2449384"/>
                  <a:pt x="7995285" y="2424619"/>
                </a:cubicBezTo>
                <a:close/>
                <a:moveTo>
                  <a:pt x="8011795" y="2773869"/>
                </a:moveTo>
                <a:cubicBezTo>
                  <a:pt x="7978140" y="2766249"/>
                  <a:pt x="7972425" y="2821494"/>
                  <a:pt x="8006715" y="2821494"/>
                </a:cubicBezTo>
                <a:cubicBezTo>
                  <a:pt x="8034020" y="2822129"/>
                  <a:pt x="8039100" y="2778949"/>
                  <a:pt x="8011795" y="2773869"/>
                </a:cubicBezTo>
                <a:close/>
                <a:moveTo>
                  <a:pt x="7913370" y="2877373"/>
                </a:moveTo>
                <a:cubicBezTo>
                  <a:pt x="7881620" y="2868484"/>
                  <a:pt x="7868285" y="2918648"/>
                  <a:pt x="7900670" y="2926269"/>
                </a:cubicBezTo>
                <a:cubicBezTo>
                  <a:pt x="7931785" y="2935159"/>
                  <a:pt x="7945120" y="2884994"/>
                  <a:pt x="7913370" y="2877373"/>
                </a:cubicBezTo>
                <a:close/>
                <a:moveTo>
                  <a:pt x="7809865" y="2342069"/>
                </a:moveTo>
                <a:cubicBezTo>
                  <a:pt x="7786370" y="2332544"/>
                  <a:pt x="7771765" y="2370009"/>
                  <a:pt x="7795895" y="2378899"/>
                </a:cubicBezTo>
                <a:cubicBezTo>
                  <a:pt x="7819390" y="2388424"/>
                  <a:pt x="7833995" y="2350959"/>
                  <a:pt x="7809865" y="2342069"/>
                </a:cubicBezTo>
                <a:close/>
                <a:moveTo>
                  <a:pt x="7860031" y="2606864"/>
                </a:moveTo>
                <a:cubicBezTo>
                  <a:pt x="7832090" y="2597339"/>
                  <a:pt x="7818120" y="2641154"/>
                  <a:pt x="7846060" y="2650044"/>
                </a:cubicBezTo>
                <a:cubicBezTo>
                  <a:pt x="7873365" y="2659569"/>
                  <a:pt x="7887970" y="2615754"/>
                  <a:pt x="7860031" y="2606864"/>
                </a:cubicBezTo>
                <a:close/>
                <a:moveTo>
                  <a:pt x="7861935" y="2482404"/>
                </a:moveTo>
                <a:cubicBezTo>
                  <a:pt x="7835900" y="2472879"/>
                  <a:pt x="7821931" y="2514154"/>
                  <a:pt x="7847965" y="2522409"/>
                </a:cubicBezTo>
                <a:cubicBezTo>
                  <a:pt x="7874000" y="2531934"/>
                  <a:pt x="7887970" y="2491294"/>
                  <a:pt x="7861935" y="2482404"/>
                </a:cubicBezTo>
                <a:close/>
                <a:moveTo>
                  <a:pt x="7894320" y="2794189"/>
                </a:moveTo>
                <a:cubicBezTo>
                  <a:pt x="7923531" y="2803079"/>
                  <a:pt x="7937500" y="2756089"/>
                  <a:pt x="7907656" y="2747834"/>
                </a:cubicBezTo>
                <a:cubicBezTo>
                  <a:pt x="7877810" y="2738944"/>
                  <a:pt x="7864475" y="2785934"/>
                  <a:pt x="7894320" y="2794189"/>
                </a:cubicBezTo>
                <a:close/>
                <a:moveTo>
                  <a:pt x="7460615" y="2224594"/>
                </a:moveTo>
                <a:cubicBezTo>
                  <a:pt x="7482840" y="2237294"/>
                  <a:pt x="7501890" y="2201734"/>
                  <a:pt x="7479031" y="2189669"/>
                </a:cubicBezTo>
                <a:cubicBezTo>
                  <a:pt x="7456806" y="2177604"/>
                  <a:pt x="7437756" y="2213164"/>
                  <a:pt x="7460615" y="2224594"/>
                </a:cubicBezTo>
                <a:close/>
                <a:moveTo>
                  <a:pt x="7395845" y="2656394"/>
                </a:moveTo>
                <a:cubicBezTo>
                  <a:pt x="7367906" y="2639249"/>
                  <a:pt x="7341235" y="2684334"/>
                  <a:pt x="7370445" y="2700209"/>
                </a:cubicBezTo>
                <a:cubicBezTo>
                  <a:pt x="7397750" y="2717354"/>
                  <a:pt x="7424420" y="2672904"/>
                  <a:pt x="7395845" y="2656394"/>
                </a:cubicBezTo>
                <a:close/>
                <a:moveTo>
                  <a:pt x="7324090" y="2478594"/>
                </a:moveTo>
                <a:cubicBezTo>
                  <a:pt x="7298056" y="2461449"/>
                  <a:pt x="7272020" y="2502724"/>
                  <a:pt x="7298690" y="2519234"/>
                </a:cubicBezTo>
                <a:cubicBezTo>
                  <a:pt x="7324090" y="2536379"/>
                  <a:pt x="7350760" y="2495104"/>
                  <a:pt x="7324090" y="2478594"/>
                </a:cubicBezTo>
                <a:close/>
                <a:moveTo>
                  <a:pt x="7298690" y="2597339"/>
                </a:moveTo>
                <a:cubicBezTo>
                  <a:pt x="7271385" y="2578924"/>
                  <a:pt x="7243445" y="2622739"/>
                  <a:pt x="7271385" y="2640519"/>
                </a:cubicBezTo>
                <a:cubicBezTo>
                  <a:pt x="7298690" y="2658299"/>
                  <a:pt x="7327265" y="2615119"/>
                  <a:pt x="7298690" y="2597339"/>
                </a:cubicBezTo>
                <a:close/>
                <a:moveTo>
                  <a:pt x="7366635" y="1780729"/>
                </a:moveTo>
                <a:cubicBezTo>
                  <a:pt x="7373620" y="1764219"/>
                  <a:pt x="7347585" y="1752788"/>
                  <a:pt x="7340600" y="1769934"/>
                </a:cubicBezTo>
                <a:cubicBezTo>
                  <a:pt x="7333615" y="1787079"/>
                  <a:pt x="7359650" y="1797874"/>
                  <a:pt x="7366635" y="1780729"/>
                </a:cubicBezTo>
                <a:close/>
                <a:moveTo>
                  <a:pt x="7340600" y="2231579"/>
                </a:moveTo>
                <a:cubicBezTo>
                  <a:pt x="7317106" y="2216974"/>
                  <a:pt x="7294881" y="2253804"/>
                  <a:pt x="7318375" y="2267774"/>
                </a:cubicBezTo>
                <a:cubicBezTo>
                  <a:pt x="7341870" y="2282379"/>
                  <a:pt x="7364731" y="2245549"/>
                  <a:pt x="7340600" y="2231579"/>
                </a:cubicBezTo>
                <a:close/>
                <a:moveTo>
                  <a:pt x="7204710" y="2534474"/>
                </a:moveTo>
                <a:cubicBezTo>
                  <a:pt x="7178040" y="2515424"/>
                  <a:pt x="7148195" y="2557969"/>
                  <a:pt x="7176135" y="2576384"/>
                </a:cubicBezTo>
                <a:cubicBezTo>
                  <a:pt x="7202170" y="2595434"/>
                  <a:pt x="7232015" y="2552889"/>
                  <a:pt x="7204710" y="2534474"/>
                </a:cubicBezTo>
                <a:close/>
                <a:moveTo>
                  <a:pt x="7145020" y="2357944"/>
                </a:moveTo>
                <a:cubicBezTo>
                  <a:pt x="7120256" y="2339529"/>
                  <a:pt x="7091681" y="2378899"/>
                  <a:pt x="7117081" y="2396679"/>
                </a:cubicBezTo>
                <a:cubicBezTo>
                  <a:pt x="7141845" y="2415094"/>
                  <a:pt x="7171056" y="2375724"/>
                  <a:pt x="7145020" y="2357944"/>
                </a:cubicBezTo>
                <a:close/>
                <a:moveTo>
                  <a:pt x="7233920" y="2419539"/>
                </a:moveTo>
                <a:cubicBezTo>
                  <a:pt x="7208520" y="2401759"/>
                  <a:pt x="7181215" y="2442399"/>
                  <a:pt x="7207250" y="2459544"/>
                </a:cubicBezTo>
                <a:cubicBezTo>
                  <a:pt x="7232015" y="2477324"/>
                  <a:pt x="7259956" y="2436684"/>
                  <a:pt x="7233920" y="2419539"/>
                </a:cubicBezTo>
                <a:close/>
                <a:moveTo>
                  <a:pt x="7265035" y="2209354"/>
                </a:moveTo>
                <a:cubicBezTo>
                  <a:pt x="7280275" y="2186494"/>
                  <a:pt x="7244081" y="2162999"/>
                  <a:pt x="7229475" y="2186494"/>
                </a:cubicBezTo>
                <a:cubicBezTo>
                  <a:pt x="7214235" y="2208719"/>
                  <a:pt x="7250431" y="2232214"/>
                  <a:pt x="7265035" y="2209354"/>
                </a:cubicBezTo>
                <a:close/>
                <a:moveTo>
                  <a:pt x="7510781" y="2586544"/>
                </a:moveTo>
                <a:cubicBezTo>
                  <a:pt x="7483475" y="2571939"/>
                  <a:pt x="7460615" y="2615119"/>
                  <a:pt x="7488556" y="2629089"/>
                </a:cubicBezTo>
                <a:cubicBezTo>
                  <a:pt x="7515225" y="2643694"/>
                  <a:pt x="7538085" y="2600514"/>
                  <a:pt x="7510781" y="2586544"/>
                </a:cubicBezTo>
                <a:close/>
                <a:moveTo>
                  <a:pt x="7494270" y="2711639"/>
                </a:moveTo>
                <a:cubicBezTo>
                  <a:pt x="7465060" y="2695764"/>
                  <a:pt x="7440931" y="2741484"/>
                  <a:pt x="7470775" y="2756724"/>
                </a:cubicBezTo>
                <a:cubicBezTo>
                  <a:pt x="7499350" y="2772599"/>
                  <a:pt x="7524115" y="2726879"/>
                  <a:pt x="7494270" y="2711639"/>
                </a:cubicBezTo>
                <a:close/>
                <a:moveTo>
                  <a:pt x="7465695" y="2482404"/>
                </a:moveTo>
                <a:cubicBezTo>
                  <a:pt x="7491095" y="2497009"/>
                  <a:pt x="7513320" y="2456369"/>
                  <a:pt x="7487285" y="2443034"/>
                </a:cubicBezTo>
                <a:cubicBezTo>
                  <a:pt x="7461885" y="2428429"/>
                  <a:pt x="7439660" y="2469069"/>
                  <a:pt x="7465695" y="2482404"/>
                </a:cubicBezTo>
                <a:close/>
                <a:moveTo>
                  <a:pt x="8023225" y="2901504"/>
                </a:moveTo>
                <a:cubicBezTo>
                  <a:pt x="7990840" y="2895154"/>
                  <a:pt x="7981315" y="2945954"/>
                  <a:pt x="8013700" y="2951669"/>
                </a:cubicBezTo>
                <a:cubicBezTo>
                  <a:pt x="8045450" y="2958019"/>
                  <a:pt x="8055610" y="2907219"/>
                  <a:pt x="8023225" y="2901504"/>
                </a:cubicBezTo>
                <a:close/>
                <a:moveTo>
                  <a:pt x="7532370" y="2145219"/>
                </a:moveTo>
                <a:cubicBezTo>
                  <a:pt x="7553325" y="2156014"/>
                  <a:pt x="7569835" y="2122359"/>
                  <a:pt x="7548245" y="2112199"/>
                </a:cubicBezTo>
                <a:cubicBezTo>
                  <a:pt x="7527290" y="2101404"/>
                  <a:pt x="7510781" y="2135059"/>
                  <a:pt x="7532370" y="2145219"/>
                </a:cubicBezTo>
                <a:lnTo>
                  <a:pt x="7532370" y="2145219"/>
                </a:lnTo>
                <a:close/>
                <a:moveTo>
                  <a:pt x="7424420" y="2280474"/>
                </a:moveTo>
                <a:cubicBezTo>
                  <a:pt x="7400925" y="2266504"/>
                  <a:pt x="7379335" y="2303969"/>
                  <a:pt x="7403465" y="2317304"/>
                </a:cubicBezTo>
                <a:lnTo>
                  <a:pt x="7403465" y="2317304"/>
                </a:lnTo>
                <a:cubicBezTo>
                  <a:pt x="7426960" y="2331274"/>
                  <a:pt x="7448550" y="2293809"/>
                  <a:pt x="7424420" y="2280474"/>
                </a:cubicBezTo>
                <a:close/>
                <a:moveTo>
                  <a:pt x="7416165" y="2534474"/>
                </a:moveTo>
                <a:cubicBezTo>
                  <a:pt x="7389495" y="2518599"/>
                  <a:pt x="7364731" y="2560509"/>
                  <a:pt x="7392035" y="2575749"/>
                </a:cubicBezTo>
                <a:cubicBezTo>
                  <a:pt x="7418706" y="2592259"/>
                  <a:pt x="7443470" y="2549714"/>
                  <a:pt x="7416165" y="2534474"/>
                </a:cubicBezTo>
                <a:close/>
                <a:moveTo>
                  <a:pt x="7454900" y="2105849"/>
                </a:moveTo>
                <a:cubicBezTo>
                  <a:pt x="7475856" y="2117279"/>
                  <a:pt x="7493000" y="2083624"/>
                  <a:pt x="7472045" y="2073463"/>
                </a:cubicBezTo>
                <a:cubicBezTo>
                  <a:pt x="7451090" y="2062034"/>
                  <a:pt x="7433945" y="2095688"/>
                  <a:pt x="7454900" y="2105849"/>
                </a:cubicBezTo>
                <a:lnTo>
                  <a:pt x="7454900" y="2105849"/>
                </a:lnTo>
                <a:close/>
                <a:moveTo>
                  <a:pt x="7459345" y="1877249"/>
                </a:moveTo>
                <a:cubicBezTo>
                  <a:pt x="7436485" y="1867724"/>
                  <a:pt x="7428231" y="1906459"/>
                  <a:pt x="7452995" y="1907094"/>
                </a:cubicBezTo>
                <a:cubicBezTo>
                  <a:pt x="7469506" y="1907729"/>
                  <a:pt x="7474585" y="1883599"/>
                  <a:pt x="7459345" y="1877249"/>
                </a:cubicBezTo>
                <a:close/>
                <a:moveTo>
                  <a:pt x="8580120" y="2894519"/>
                </a:moveTo>
                <a:cubicBezTo>
                  <a:pt x="8547735" y="2900869"/>
                  <a:pt x="8559165" y="2951669"/>
                  <a:pt x="8590915" y="2944048"/>
                </a:cubicBezTo>
                <a:cubicBezTo>
                  <a:pt x="8623300" y="2937698"/>
                  <a:pt x="8611870" y="2886898"/>
                  <a:pt x="8580120" y="2894519"/>
                </a:cubicBezTo>
                <a:close/>
                <a:moveTo>
                  <a:pt x="9139555" y="2566224"/>
                </a:moveTo>
                <a:cubicBezTo>
                  <a:pt x="9139555" y="2566224"/>
                  <a:pt x="9139555" y="2566224"/>
                  <a:pt x="9139555" y="2566224"/>
                </a:cubicBezTo>
                <a:cubicBezTo>
                  <a:pt x="9112885" y="2582099"/>
                  <a:pt x="9138285" y="2624009"/>
                  <a:pt x="9164320" y="2607499"/>
                </a:cubicBezTo>
                <a:cubicBezTo>
                  <a:pt x="9190990" y="2592259"/>
                  <a:pt x="9166225" y="2550349"/>
                  <a:pt x="9139555" y="2566224"/>
                </a:cubicBezTo>
                <a:close/>
                <a:moveTo>
                  <a:pt x="8676005" y="2789109"/>
                </a:moveTo>
                <a:cubicBezTo>
                  <a:pt x="8651240" y="2730689"/>
                  <a:pt x="8595360" y="2821494"/>
                  <a:pt x="8658225" y="2817684"/>
                </a:cubicBezTo>
                <a:lnTo>
                  <a:pt x="8658225" y="2817684"/>
                </a:lnTo>
                <a:cubicBezTo>
                  <a:pt x="8670925" y="2814509"/>
                  <a:pt x="8679180" y="2801809"/>
                  <a:pt x="8676005" y="2789109"/>
                </a:cubicBezTo>
                <a:close/>
                <a:moveTo>
                  <a:pt x="8642350" y="2586544"/>
                </a:moveTo>
                <a:cubicBezTo>
                  <a:pt x="8639175" y="2559239"/>
                  <a:pt x="8596630" y="2564954"/>
                  <a:pt x="8600440" y="2592259"/>
                </a:cubicBezTo>
                <a:cubicBezTo>
                  <a:pt x="8603615" y="2619564"/>
                  <a:pt x="8646795" y="2613849"/>
                  <a:pt x="8642350" y="2586544"/>
                </a:cubicBezTo>
                <a:close/>
                <a:moveTo>
                  <a:pt x="8738235" y="2569399"/>
                </a:moveTo>
                <a:cubicBezTo>
                  <a:pt x="8733155" y="2542094"/>
                  <a:pt x="8691245" y="2550349"/>
                  <a:pt x="8696960" y="2577654"/>
                </a:cubicBezTo>
                <a:cubicBezTo>
                  <a:pt x="8702040" y="2604959"/>
                  <a:pt x="8743950" y="2596069"/>
                  <a:pt x="8738235" y="2569399"/>
                </a:cubicBezTo>
                <a:close/>
                <a:moveTo>
                  <a:pt x="8688705" y="2866579"/>
                </a:moveTo>
                <a:cubicBezTo>
                  <a:pt x="8656955" y="2875469"/>
                  <a:pt x="8672195" y="2924998"/>
                  <a:pt x="8703310" y="2915473"/>
                </a:cubicBezTo>
                <a:cubicBezTo>
                  <a:pt x="8735060" y="2905948"/>
                  <a:pt x="8719820" y="2856419"/>
                  <a:pt x="8688705" y="2866579"/>
                </a:cubicBezTo>
                <a:close/>
                <a:moveTo>
                  <a:pt x="8522970" y="2577654"/>
                </a:moveTo>
                <a:cubicBezTo>
                  <a:pt x="8495665" y="2578924"/>
                  <a:pt x="8498205" y="2622104"/>
                  <a:pt x="8526145" y="2619564"/>
                </a:cubicBezTo>
                <a:cubicBezTo>
                  <a:pt x="8553450" y="2618294"/>
                  <a:pt x="8550910" y="2575114"/>
                  <a:pt x="8522970" y="2577654"/>
                </a:cubicBezTo>
                <a:close/>
                <a:moveTo>
                  <a:pt x="8569325" y="2811334"/>
                </a:moveTo>
                <a:cubicBezTo>
                  <a:pt x="8549005" y="2751644"/>
                  <a:pt x="8486140" y="2838004"/>
                  <a:pt x="8549005" y="2838639"/>
                </a:cubicBezTo>
                <a:cubicBezTo>
                  <a:pt x="8562340" y="2836734"/>
                  <a:pt x="8571865" y="2824669"/>
                  <a:pt x="8569325" y="2811334"/>
                </a:cubicBezTo>
                <a:close/>
                <a:moveTo>
                  <a:pt x="8469630" y="2913569"/>
                </a:moveTo>
                <a:cubicBezTo>
                  <a:pt x="8436610" y="2917379"/>
                  <a:pt x="8444230" y="2968814"/>
                  <a:pt x="8476615" y="2963734"/>
                </a:cubicBezTo>
                <a:cubicBezTo>
                  <a:pt x="8509000" y="2960559"/>
                  <a:pt x="8502015" y="2909123"/>
                  <a:pt x="8469630" y="2913569"/>
                </a:cubicBezTo>
                <a:close/>
                <a:moveTo>
                  <a:pt x="8549640" y="2838639"/>
                </a:moveTo>
                <a:lnTo>
                  <a:pt x="8549640" y="2838639"/>
                </a:lnTo>
                <a:cubicBezTo>
                  <a:pt x="8549640" y="2838639"/>
                  <a:pt x="8549640" y="2838639"/>
                  <a:pt x="8549640" y="2838639"/>
                </a:cubicBezTo>
                <a:cubicBezTo>
                  <a:pt x="8549640" y="2838639"/>
                  <a:pt x="8549640" y="2838639"/>
                  <a:pt x="8549640" y="2838639"/>
                </a:cubicBezTo>
                <a:close/>
                <a:moveTo>
                  <a:pt x="8519795" y="2512249"/>
                </a:moveTo>
                <a:cubicBezTo>
                  <a:pt x="8545830" y="2512249"/>
                  <a:pt x="8545195" y="2471609"/>
                  <a:pt x="8519160" y="2472879"/>
                </a:cubicBezTo>
                <a:cubicBezTo>
                  <a:pt x="8493760" y="2472879"/>
                  <a:pt x="8494395" y="2512249"/>
                  <a:pt x="8519795" y="2512249"/>
                </a:cubicBezTo>
                <a:close/>
                <a:moveTo>
                  <a:pt x="8950325" y="2666554"/>
                </a:moveTo>
                <a:cubicBezTo>
                  <a:pt x="8921750" y="2679254"/>
                  <a:pt x="8942705" y="2723704"/>
                  <a:pt x="8970010" y="2710369"/>
                </a:cubicBezTo>
                <a:cubicBezTo>
                  <a:pt x="8998585" y="2697669"/>
                  <a:pt x="8978265" y="2653219"/>
                  <a:pt x="8950325" y="2666554"/>
                </a:cubicBezTo>
                <a:close/>
                <a:moveTo>
                  <a:pt x="8999220" y="2735769"/>
                </a:moveTo>
                <a:cubicBezTo>
                  <a:pt x="8970010" y="2751009"/>
                  <a:pt x="8994775" y="2796729"/>
                  <a:pt x="9023350" y="2780219"/>
                </a:cubicBezTo>
                <a:lnTo>
                  <a:pt x="9023350" y="2780219"/>
                </a:lnTo>
                <a:cubicBezTo>
                  <a:pt x="9052560" y="2765614"/>
                  <a:pt x="9027795" y="2719894"/>
                  <a:pt x="8999220" y="2735769"/>
                </a:cubicBezTo>
                <a:close/>
                <a:moveTo>
                  <a:pt x="9046210" y="2619564"/>
                </a:moveTo>
                <a:cubicBezTo>
                  <a:pt x="9018270" y="2633534"/>
                  <a:pt x="9041765" y="2676714"/>
                  <a:pt x="9068435" y="2662109"/>
                </a:cubicBezTo>
                <a:cubicBezTo>
                  <a:pt x="9096375" y="2647504"/>
                  <a:pt x="9073515" y="2604324"/>
                  <a:pt x="9046210" y="2619564"/>
                </a:cubicBezTo>
                <a:close/>
                <a:moveTo>
                  <a:pt x="9097010" y="2679254"/>
                </a:moveTo>
                <a:cubicBezTo>
                  <a:pt x="9068435" y="2696399"/>
                  <a:pt x="9096375" y="2740214"/>
                  <a:pt x="9123680" y="2722434"/>
                </a:cubicBezTo>
                <a:cubicBezTo>
                  <a:pt x="9151620" y="2705289"/>
                  <a:pt x="9124315" y="2661474"/>
                  <a:pt x="9097010" y="2679254"/>
                </a:cubicBezTo>
                <a:close/>
                <a:moveTo>
                  <a:pt x="8794750" y="2830384"/>
                </a:moveTo>
                <a:cubicBezTo>
                  <a:pt x="8763635" y="2841814"/>
                  <a:pt x="8782685" y="2890073"/>
                  <a:pt x="8813165" y="2878009"/>
                </a:cubicBezTo>
                <a:cubicBezTo>
                  <a:pt x="8844280" y="2866579"/>
                  <a:pt x="8825865" y="2817684"/>
                  <a:pt x="8794750" y="2830384"/>
                </a:cubicBezTo>
                <a:close/>
                <a:moveTo>
                  <a:pt x="8056881" y="2659569"/>
                </a:moveTo>
                <a:cubicBezTo>
                  <a:pt x="8028306" y="2653219"/>
                  <a:pt x="8018781" y="2698304"/>
                  <a:pt x="8047990" y="2704019"/>
                </a:cubicBezTo>
                <a:cubicBezTo>
                  <a:pt x="8075931" y="2710369"/>
                  <a:pt x="8085456" y="2665284"/>
                  <a:pt x="8056881" y="2659569"/>
                </a:cubicBezTo>
                <a:close/>
                <a:moveTo>
                  <a:pt x="8780145" y="2759264"/>
                </a:moveTo>
                <a:cubicBezTo>
                  <a:pt x="8771255" y="2729419"/>
                  <a:pt x="8724900" y="2744024"/>
                  <a:pt x="8734425" y="2773234"/>
                </a:cubicBezTo>
                <a:cubicBezTo>
                  <a:pt x="8743315" y="2803079"/>
                  <a:pt x="8789670" y="2788474"/>
                  <a:pt x="8780145" y="2759264"/>
                </a:cubicBezTo>
                <a:close/>
                <a:moveTo>
                  <a:pt x="8807450" y="2531299"/>
                </a:moveTo>
                <a:cubicBezTo>
                  <a:pt x="8780780" y="2537649"/>
                  <a:pt x="8791575" y="2579559"/>
                  <a:pt x="8818245" y="2572574"/>
                </a:cubicBezTo>
                <a:cubicBezTo>
                  <a:pt x="8844280" y="2566224"/>
                  <a:pt x="8833485" y="2524314"/>
                  <a:pt x="8807450" y="2531299"/>
                </a:cubicBezTo>
                <a:close/>
                <a:moveTo>
                  <a:pt x="8837295" y="2739579"/>
                </a:moveTo>
                <a:cubicBezTo>
                  <a:pt x="8848090" y="2768789"/>
                  <a:pt x="8893810" y="2751009"/>
                  <a:pt x="8882380" y="2722434"/>
                </a:cubicBezTo>
                <a:cubicBezTo>
                  <a:pt x="8871585" y="2693224"/>
                  <a:pt x="8825865" y="2710369"/>
                  <a:pt x="8837295" y="2739579"/>
                </a:cubicBezTo>
                <a:close/>
                <a:moveTo>
                  <a:pt x="8898890" y="2786569"/>
                </a:moveTo>
                <a:cubicBezTo>
                  <a:pt x="8868410" y="2799904"/>
                  <a:pt x="8890635" y="2846894"/>
                  <a:pt x="8920480" y="2832924"/>
                </a:cubicBezTo>
                <a:cubicBezTo>
                  <a:pt x="8950325" y="2818954"/>
                  <a:pt x="8928100" y="2771964"/>
                  <a:pt x="8898890" y="2786569"/>
                </a:cubicBezTo>
                <a:close/>
                <a:moveTo>
                  <a:pt x="8133715" y="2918014"/>
                </a:moveTo>
                <a:cubicBezTo>
                  <a:pt x="8101331" y="2914204"/>
                  <a:pt x="8095615" y="2965639"/>
                  <a:pt x="8128000" y="2968814"/>
                </a:cubicBezTo>
                <a:cubicBezTo>
                  <a:pt x="8161020" y="2972623"/>
                  <a:pt x="8166735" y="2921189"/>
                  <a:pt x="8133715" y="2918014"/>
                </a:cubicBezTo>
                <a:close/>
                <a:moveTo>
                  <a:pt x="8156575" y="2677349"/>
                </a:moveTo>
                <a:cubicBezTo>
                  <a:pt x="8128000" y="2672904"/>
                  <a:pt x="8121015" y="2718624"/>
                  <a:pt x="8150225" y="2721799"/>
                </a:cubicBezTo>
                <a:cubicBezTo>
                  <a:pt x="8178800" y="2726879"/>
                  <a:pt x="8185785" y="2681159"/>
                  <a:pt x="8156575" y="2677349"/>
                </a:cubicBezTo>
                <a:close/>
                <a:moveTo>
                  <a:pt x="8207375" y="2357309"/>
                </a:moveTo>
                <a:cubicBezTo>
                  <a:pt x="8212456" y="2333814"/>
                  <a:pt x="8175625" y="2326829"/>
                  <a:pt x="8171181" y="2350324"/>
                </a:cubicBezTo>
                <a:cubicBezTo>
                  <a:pt x="8166100" y="2373184"/>
                  <a:pt x="8202931" y="2380804"/>
                  <a:pt x="8207375" y="2357309"/>
                </a:cubicBezTo>
                <a:close/>
                <a:moveTo>
                  <a:pt x="8244840" y="2829749"/>
                </a:moveTo>
                <a:cubicBezTo>
                  <a:pt x="8247381" y="2798634"/>
                  <a:pt x="8198485" y="2795459"/>
                  <a:pt x="8197215" y="2826574"/>
                </a:cubicBezTo>
                <a:cubicBezTo>
                  <a:pt x="8194675" y="2857689"/>
                  <a:pt x="8242935" y="2860864"/>
                  <a:pt x="8244840" y="2829749"/>
                </a:cubicBezTo>
                <a:close/>
                <a:moveTo>
                  <a:pt x="8102600" y="2118549"/>
                </a:moveTo>
                <a:cubicBezTo>
                  <a:pt x="8107681" y="2098864"/>
                  <a:pt x="8077200" y="2091244"/>
                  <a:pt x="8072120" y="2110929"/>
                </a:cubicBezTo>
                <a:cubicBezTo>
                  <a:pt x="8067040" y="2130614"/>
                  <a:pt x="8097520" y="2138234"/>
                  <a:pt x="8102600" y="2118549"/>
                </a:cubicBezTo>
                <a:close/>
                <a:moveTo>
                  <a:pt x="8070215" y="2423349"/>
                </a:moveTo>
                <a:cubicBezTo>
                  <a:pt x="8045450" y="2416999"/>
                  <a:pt x="8035925" y="2456369"/>
                  <a:pt x="8060690" y="2461449"/>
                </a:cubicBezTo>
                <a:cubicBezTo>
                  <a:pt x="8085456" y="2468434"/>
                  <a:pt x="8094981" y="2429064"/>
                  <a:pt x="8070215" y="2423349"/>
                </a:cubicBezTo>
                <a:close/>
                <a:moveTo>
                  <a:pt x="8245475" y="2925634"/>
                </a:moveTo>
                <a:cubicBezTo>
                  <a:pt x="8211820" y="2924364"/>
                  <a:pt x="8211185" y="2977069"/>
                  <a:pt x="8244840" y="2976434"/>
                </a:cubicBezTo>
                <a:cubicBezTo>
                  <a:pt x="8277225" y="2977069"/>
                  <a:pt x="8277860" y="2926269"/>
                  <a:pt x="8245475" y="2925634"/>
                </a:cubicBezTo>
                <a:close/>
                <a:moveTo>
                  <a:pt x="8100695" y="2353499"/>
                </a:moveTo>
                <a:cubicBezTo>
                  <a:pt x="8123556" y="2359214"/>
                  <a:pt x="8132445" y="2323019"/>
                  <a:pt x="8108950" y="2317939"/>
                </a:cubicBezTo>
                <a:cubicBezTo>
                  <a:pt x="8086090" y="2312224"/>
                  <a:pt x="8077200" y="2348419"/>
                  <a:pt x="8100695" y="2353499"/>
                </a:cubicBezTo>
                <a:close/>
                <a:moveTo>
                  <a:pt x="8116570" y="2792919"/>
                </a:moveTo>
                <a:cubicBezTo>
                  <a:pt x="8083550" y="2787839"/>
                  <a:pt x="8079740" y="2841179"/>
                  <a:pt x="8113395" y="2840544"/>
                </a:cubicBezTo>
                <a:cubicBezTo>
                  <a:pt x="8141970" y="2841179"/>
                  <a:pt x="8145781" y="2796094"/>
                  <a:pt x="8116570" y="2792919"/>
                </a:cubicBezTo>
                <a:close/>
                <a:moveTo>
                  <a:pt x="8416290" y="2061399"/>
                </a:moveTo>
                <a:cubicBezTo>
                  <a:pt x="8397240" y="2058859"/>
                  <a:pt x="8395335" y="2089974"/>
                  <a:pt x="8414385" y="2089338"/>
                </a:cubicBezTo>
                <a:cubicBezTo>
                  <a:pt x="8432165" y="2089974"/>
                  <a:pt x="8434070" y="2062669"/>
                  <a:pt x="8416290" y="2061399"/>
                </a:cubicBezTo>
                <a:close/>
                <a:moveTo>
                  <a:pt x="8382000" y="2256344"/>
                </a:moveTo>
                <a:cubicBezTo>
                  <a:pt x="8360410" y="2253804"/>
                  <a:pt x="8356600" y="2288094"/>
                  <a:pt x="8378190" y="2289999"/>
                </a:cubicBezTo>
                <a:cubicBezTo>
                  <a:pt x="8399780" y="2292539"/>
                  <a:pt x="8403590" y="2258249"/>
                  <a:pt x="8382000" y="2256344"/>
                </a:cubicBezTo>
                <a:close/>
                <a:moveTo>
                  <a:pt x="8462010" y="2825304"/>
                </a:moveTo>
                <a:cubicBezTo>
                  <a:pt x="8460105" y="2794189"/>
                  <a:pt x="8411210" y="2797999"/>
                  <a:pt x="8414385" y="2829114"/>
                </a:cubicBezTo>
                <a:cubicBezTo>
                  <a:pt x="8416290" y="2860229"/>
                  <a:pt x="8464550" y="2856419"/>
                  <a:pt x="8462010" y="2825304"/>
                </a:cubicBezTo>
                <a:close/>
                <a:moveTo>
                  <a:pt x="8357870" y="2924364"/>
                </a:moveTo>
                <a:cubicBezTo>
                  <a:pt x="8324850" y="2925634"/>
                  <a:pt x="8327390" y="2977069"/>
                  <a:pt x="8360410" y="2975164"/>
                </a:cubicBezTo>
                <a:cubicBezTo>
                  <a:pt x="8393430" y="2973894"/>
                  <a:pt x="8390890" y="2921823"/>
                  <a:pt x="8357870" y="2924364"/>
                </a:cubicBezTo>
                <a:close/>
                <a:moveTo>
                  <a:pt x="8448675" y="2602419"/>
                </a:moveTo>
                <a:cubicBezTo>
                  <a:pt x="8449310" y="2575114"/>
                  <a:pt x="8406130" y="2575114"/>
                  <a:pt x="8406130" y="2602419"/>
                </a:cubicBezTo>
                <a:cubicBezTo>
                  <a:pt x="8406130" y="2629724"/>
                  <a:pt x="8449310" y="2629724"/>
                  <a:pt x="8448675" y="2602419"/>
                </a:cubicBezTo>
                <a:close/>
                <a:moveTo>
                  <a:pt x="8256906" y="2688144"/>
                </a:moveTo>
                <a:cubicBezTo>
                  <a:pt x="8227695" y="2685604"/>
                  <a:pt x="8224520" y="2731324"/>
                  <a:pt x="8253731" y="2733229"/>
                </a:cubicBezTo>
                <a:cubicBezTo>
                  <a:pt x="8282940" y="2736404"/>
                  <a:pt x="8286115" y="2690049"/>
                  <a:pt x="8256906" y="2688144"/>
                </a:cubicBezTo>
                <a:close/>
                <a:moveTo>
                  <a:pt x="8353425" y="2831654"/>
                </a:moveTo>
                <a:cubicBezTo>
                  <a:pt x="8342631" y="2769424"/>
                  <a:pt x="8267700" y="2844989"/>
                  <a:pt x="8329295" y="2855784"/>
                </a:cubicBezTo>
                <a:cubicBezTo>
                  <a:pt x="8342631" y="2855784"/>
                  <a:pt x="8353425" y="2844989"/>
                  <a:pt x="8353425" y="2831654"/>
                </a:cubicBezTo>
                <a:close/>
                <a:moveTo>
                  <a:pt x="8276590" y="2349689"/>
                </a:moveTo>
                <a:cubicBezTo>
                  <a:pt x="8253095" y="2345879"/>
                  <a:pt x="8247381" y="2382709"/>
                  <a:pt x="8271510" y="2385884"/>
                </a:cubicBezTo>
                <a:cubicBezTo>
                  <a:pt x="8295006" y="2389694"/>
                  <a:pt x="8300085" y="2352864"/>
                  <a:pt x="8276590" y="2349689"/>
                </a:cubicBezTo>
                <a:close/>
                <a:moveTo>
                  <a:pt x="8317231" y="2265234"/>
                </a:moveTo>
                <a:cubicBezTo>
                  <a:pt x="8321040" y="2243644"/>
                  <a:pt x="8286750" y="2238564"/>
                  <a:pt x="8283575" y="2260154"/>
                </a:cubicBezTo>
                <a:cubicBezTo>
                  <a:pt x="8279765" y="2281744"/>
                  <a:pt x="8314056" y="2286824"/>
                  <a:pt x="8317231" y="2265234"/>
                </a:cubicBezTo>
                <a:close/>
                <a:moveTo>
                  <a:pt x="7112000" y="2468434"/>
                </a:moveTo>
                <a:cubicBezTo>
                  <a:pt x="7085965" y="2448749"/>
                  <a:pt x="7054850" y="2490024"/>
                  <a:pt x="7081520" y="2509074"/>
                </a:cubicBezTo>
                <a:cubicBezTo>
                  <a:pt x="7108190" y="2529394"/>
                  <a:pt x="7139306" y="2488119"/>
                  <a:pt x="7112000" y="2468434"/>
                </a:cubicBezTo>
                <a:close/>
                <a:moveTo>
                  <a:pt x="5510530" y="998409"/>
                </a:moveTo>
                <a:cubicBezTo>
                  <a:pt x="5492750" y="993963"/>
                  <a:pt x="5486400" y="1021904"/>
                  <a:pt x="5504180" y="1025713"/>
                </a:cubicBezTo>
                <a:cubicBezTo>
                  <a:pt x="5521960" y="1030794"/>
                  <a:pt x="5528945" y="1002219"/>
                  <a:pt x="5510530" y="998409"/>
                </a:cubicBezTo>
                <a:close/>
                <a:moveTo>
                  <a:pt x="5577840" y="1014919"/>
                </a:moveTo>
                <a:cubicBezTo>
                  <a:pt x="5560060" y="1010474"/>
                  <a:pt x="5553075" y="1037779"/>
                  <a:pt x="5570855" y="1042224"/>
                </a:cubicBezTo>
                <a:cubicBezTo>
                  <a:pt x="5588635" y="1047304"/>
                  <a:pt x="5596255" y="1019363"/>
                  <a:pt x="5577840" y="1014919"/>
                </a:cubicBezTo>
                <a:close/>
                <a:moveTo>
                  <a:pt x="5559425" y="1069529"/>
                </a:moveTo>
                <a:cubicBezTo>
                  <a:pt x="5543550" y="1065719"/>
                  <a:pt x="5537835" y="1091119"/>
                  <a:pt x="5553710" y="1094294"/>
                </a:cubicBezTo>
                <a:cubicBezTo>
                  <a:pt x="5570220" y="1098104"/>
                  <a:pt x="5575935" y="1072704"/>
                  <a:pt x="5559425" y="1069529"/>
                </a:cubicBezTo>
                <a:close/>
                <a:moveTo>
                  <a:pt x="5616575" y="895538"/>
                </a:moveTo>
                <a:cubicBezTo>
                  <a:pt x="5626100" y="879663"/>
                  <a:pt x="5608320" y="860613"/>
                  <a:pt x="5591810" y="867599"/>
                </a:cubicBezTo>
                <a:cubicBezTo>
                  <a:pt x="5593080" y="835213"/>
                  <a:pt x="5541010" y="842199"/>
                  <a:pt x="5550535" y="872679"/>
                </a:cubicBezTo>
                <a:cubicBezTo>
                  <a:pt x="5493385" y="861884"/>
                  <a:pt x="5528310" y="953324"/>
                  <a:pt x="5563870" y="907604"/>
                </a:cubicBezTo>
                <a:cubicBezTo>
                  <a:pt x="5565140" y="908874"/>
                  <a:pt x="5567045" y="910144"/>
                  <a:pt x="5569585" y="910144"/>
                </a:cubicBezTo>
                <a:cubicBezTo>
                  <a:pt x="5556885" y="911413"/>
                  <a:pt x="5549900" y="928559"/>
                  <a:pt x="5558790" y="937449"/>
                </a:cubicBezTo>
                <a:cubicBezTo>
                  <a:pt x="5516880" y="932369"/>
                  <a:pt x="5525135" y="1001584"/>
                  <a:pt x="5565140" y="985709"/>
                </a:cubicBezTo>
                <a:cubicBezTo>
                  <a:pt x="5583555" y="1002219"/>
                  <a:pt x="5603875" y="967929"/>
                  <a:pt x="5580380" y="959674"/>
                </a:cubicBezTo>
                <a:cubicBezTo>
                  <a:pt x="5579745" y="953959"/>
                  <a:pt x="5577205" y="947609"/>
                  <a:pt x="5572125" y="943163"/>
                </a:cubicBezTo>
                <a:cubicBezTo>
                  <a:pt x="5589905" y="943163"/>
                  <a:pt x="5594985" y="916494"/>
                  <a:pt x="5577840" y="910144"/>
                </a:cubicBezTo>
                <a:cubicBezTo>
                  <a:pt x="5583555" y="908874"/>
                  <a:pt x="5588635" y="906969"/>
                  <a:pt x="5593080" y="903159"/>
                </a:cubicBezTo>
                <a:cubicBezTo>
                  <a:pt x="5601335" y="907604"/>
                  <a:pt x="5612130" y="903794"/>
                  <a:pt x="5616575" y="895538"/>
                </a:cubicBezTo>
                <a:close/>
                <a:moveTo>
                  <a:pt x="5490210" y="916494"/>
                </a:moveTo>
                <a:cubicBezTo>
                  <a:pt x="5512435" y="924113"/>
                  <a:pt x="5521960" y="887919"/>
                  <a:pt x="5498465" y="884109"/>
                </a:cubicBezTo>
                <a:cubicBezTo>
                  <a:pt x="5498465" y="881569"/>
                  <a:pt x="5498465" y="879663"/>
                  <a:pt x="5497830" y="877124"/>
                </a:cubicBezTo>
                <a:cubicBezTo>
                  <a:pt x="5505450" y="876488"/>
                  <a:pt x="5513070" y="870138"/>
                  <a:pt x="5513705" y="861884"/>
                </a:cubicBezTo>
                <a:cubicBezTo>
                  <a:pt x="5535295" y="867599"/>
                  <a:pt x="5547360" y="834579"/>
                  <a:pt x="5527040" y="825054"/>
                </a:cubicBezTo>
                <a:cubicBezTo>
                  <a:pt x="5523865" y="823149"/>
                  <a:pt x="5520055" y="822513"/>
                  <a:pt x="5516880" y="823149"/>
                </a:cubicBezTo>
                <a:cubicBezTo>
                  <a:pt x="5516245" y="817434"/>
                  <a:pt x="5513070" y="812354"/>
                  <a:pt x="5507990" y="808544"/>
                </a:cubicBezTo>
                <a:cubicBezTo>
                  <a:pt x="5503545" y="792034"/>
                  <a:pt x="5478780" y="788859"/>
                  <a:pt x="5469890" y="804099"/>
                </a:cubicBezTo>
                <a:cubicBezTo>
                  <a:pt x="5465445" y="802194"/>
                  <a:pt x="5460365" y="801559"/>
                  <a:pt x="5455285" y="802194"/>
                </a:cubicBezTo>
                <a:cubicBezTo>
                  <a:pt x="5455285" y="771079"/>
                  <a:pt x="5405755" y="780604"/>
                  <a:pt x="5417185" y="809179"/>
                </a:cubicBezTo>
                <a:cubicBezTo>
                  <a:pt x="5415915" y="809179"/>
                  <a:pt x="5415280" y="809179"/>
                  <a:pt x="5414010" y="809179"/>
                </a:cubicBezTo>
                <a:cubicBezTo>
                  <a:pt x="5415280" y="802194"/>
                  <a:pt x="5413375" y="795209"/>
                  <a:pt x="5408930" y="789494"/>
                </a:cubicBezTo>
                <a:cubicBezTo>
                  <a:pt x="5448300" y="787588"/>
                  <a:pt x="5431155" y="730438"/>
                  <a:pt x="5396230" y="746313"/>
                </a:cubicBezTo>
                <a:cubicBezTo>
                  <a:pt x="5388610" y="730438"/>
                  <a:pt x="5364480" y="729169"/>
                  <a:pt x="5355590" y="744409"/>
                </a:cubicBezTo>
                <a:cubicBezTo>
                  <a:pt x="5318125" y="740599"/>
                  <a:pt x="5334000" y="800924"/>
                  <a:pt x="5365115" y="779334"/>
                </a:cubicBezTo>
                <a:cubicBezTo>
                  <a:pt x="5372100" y="783144"/>
                  <a:pt x="5380355" y="782509"/>
                  <a:pt x="5387340" y="778699"/>
                </a:cubicBezTo>
                <a:cubicBezTo>
                  <a:pt x="5387975" y="779334"/>
                  <a:pt x="5387975" y="779969"/>
                  <a:pt x="5388610" y="780604"/>
                </a:cubicBezTo>
                <a:cubicBezTo>
                  <a:pt x="5351145" y="781874"/>
                  <a:pt x="5361940" y="842199"/>
                  <a:pt x="5397500" y="830134"/>
                </a:cubicBezTo>
                <a:cubicBezTo>
                  <a:pt x="5400040" y="856804"/>
                  <a:pt x="5441950" y="847913"/>
                  <a:pt x="5433060" y="821879"/>
                </a:cubicBezTo>
                <a:cubicBezTo>
                  <a:pt x="5434330" y="821879"/>
                  <a:pt x="5435600" y="822513"/>
                  <a:pt x="5436870" y="821879"/>
                </a:cubicBezTo>
                <a:cubicBezTo>
                  <a:pt x="5431790" y="844104"/>
                  <a:pt x="5462905" y="859979"/>
                  <a:pt x="5478145" y="842199"/>
                </a:cubicBezTo>
                <a:cubicBezTo>
                  <a:pt x="5479415" y="844104"/>
                  <a:pt x="5481320" y="845374"/>
                  <a:pt x="5483860" y="846644"/>
                </a:cubicBezTo>
                <a:cubicBezTo>
                  <a:pt x="5480685" y="849819"/>
                  <a:pt x="5478145" y="854263"/>
                  <a:pt x="5478145" y="859344"/>
                </a:cubicBezTo>
                <a:cubicBezTo>
                  <a:pt x="5454650" y="854263"/>
                  <a:pt x="5437505" y="886013"/>
                  <a:pt x="5455920" y="902524"/>
                </a:cubicBezTo>
                <a:lnTo>
                  <a:pt x="5455920" y="902524"/>
                </a:lnTo>
                <a:cubicBezTo>
                  <a:pt x="5462905" y="908874"/>
                  <a:pt x="5471795" y="911413"/>
                  <a:pt x="5480685" y="908874"/>
                </a:cubicBezTo>
                <a:cubicBezTo>
                  <a:pt x="5481955" y="911413"/>
                  <a:pt x="5485765" y="915224"/>
                  <a:pt x="5490210" y="916494"/>
                </a:cubicBezTo>
                <a:close/>
                <a:moveTo>
                  <a:pt x="5497195" y="1055559"/>
                </a:moveTo>
                <a:cubicBezTo>
                  <a:pt x="5481320" y="1051749"/>
                  <a:pt x="5475605" y="1077149"/>
                  <a:pt x="5492115" y="1080324"/>
                </a:cubicBezTo>
                <a:cubicBezTo>
                  <a:pt x="5507990" y="1084769"/>
                  <a:pt x="5513705" y="1059369"/>
                  <a:pt x="5497195" y="1055559"/>
                </a:cubicBezTo>
                <a:close/>
                <a:moveTo>
                  <a:pt x="5621655" y="1083499"/>
                </a:moveTo>
                <a:cubicBezTo>
                  <a:pt x="5605780" y="1079688"/>
                  <a:pt x="5600065" y="1104454"/>
                  <a:pt x="5615940" y="1108263"/>
                </a:cubicBezTo>
                <a:lnTo>
                  <a:pt x="5615940" y="1108263"/>
                </a:lnTo>
                <a:cubicBezTo>
                  <a:pt x="5631815" y="1112074"/>
                  <a:pt x="5637530" y="1086674"/>
                  <a:pt x="5621655" y="1083499"/>
                </a:cubicBezTo>
                <a:close/>
                <a:moveTo>
                  <a:pt x="5434965" y="1042859"/>
                </a:moveTo>
                <a:cubicBezTo>
                  <a:pt x="5419090" y="1039684"/>
                  <a:pt x="5414010" y="1064449"/>
                  <a:pt x="5429885" y="1067624"/>
                </a:cubicBezTo>
                <a:cubicBezTo>
                  <a:pt x="5445760" y="1071434"/>
                  <a:pt x="5451475" y="1046034"/>
                  <a:pt x="5434965" y="1042859"/>
                </a:cubicBezTo>
                <a:close/>
                <a:moveTo>
                  <a:pt x="5507990" y="939354"/>
                </a:moveTo>
                <a:cubicBezTo>
                  <a:pt x="5488940" y="933638"/>
                  <a:pt x="5480050" y="964119"/>
                  <a:pt x="5499735" y="969199"/>
                </a:cubicBezTo>
                <a:cubicBezTo>
                  <a:pt x="5518785" y="974913"/>
                  <a:pt x="5527040" y="944434"/>
                  <a:pt x="5507990" y="939354"/>
                </a:cubicBezTo>
                <a:close/>
                <a:moveTo>
                  <a:pt x="5443220" y="982534"/>
                </a:moveTo>
                <a:cubicBezTo>
                  <a:pt x="5425440" y="978088"/>
                  <a:pt x="5419090" y="1006029"/>
                  <a:pt x="5436870" y="1009838"/>
                </a:cubicBezTo>
                <a:cubicBezTo>
                  <a:pt x="5454650" y="1014919"/>
                  <a:pt x="5461635" y="986344"/>
                  <a:pt x="5443220" y="982534"/>
                </a:cubicBezTo>
                <a:close/>
                <a:moveTo>
                  <a:pt x="5952490" y="1288604"/>
                </a:moveTo>
                <a:cubicBezTo>
                  <a:pt x="5974715" y="1267013"/>
                  <a:pt x="5940425" y="1232088"/>
                  <a:pt x="5918835" y="1254313"/>
                </a:cubicBezTo>
                <a:cubicBezTo>
                  <a:pt x="5895975" y="1275904"/>
                  <a:pt x="5930265" y="1310829"/>
                  <a:pt x="5952490" y="1288604"/>
                </a:cubicBezTo>
                <a:close/>
                <a:moveTo>
                  <a:pt x="5852160" y="1276538"/>
                </a:moveTo>
                <a:cubicBezTo>
                  <a:pt x="5827395" y="1298129"/>
                  <a:pt x="5862320" y="1336863"/>
                  <a:pt x="5886450" y="1314004"/>
                </a:cubicBezTo>
                <a:cubicBezTo>
                  <a:pt x="5911215" y="1292413"/>
                  <a:pt x="5875655" y="1254313"/>
                  <a:pt x="5852160" y="1276538"/>
                </a:cubicBezTo>
                <a:close/>
                <a:moveTo>
                  <a:pt x="5909945" y="1139379"/>
                </a:moveTo>
                <a:cubicBezTo>
                  <a:pt x="5942965" y="1121599"/>
                  <a:pt x="5885815" y="1093659"/>
                  <a:pt x="5892165" y="1130488"/>
                </a:cubicBezTo>
                <a:cubicBezTo>
                  <a:pt x="5882640" y="1129854"/>
                  <a:pt x="5872480" y="1137474"/>
                  <a:pt x="5870575" y="1146999"/>
                </a:cubicBezTo>
                <a:cubicBezTo>
                  <a:pt x="5855970" y="1139379"/>
                  <a:pt x="5844540" y="1162874"/>
                  <a:pt x="5859145" y="1169859"/>
                </a:cubicBezTo>
                <a:cubicBezTo>
                  <a:pt x="5770245" y="1215579"/>
                  <a:pt x="5937250" y="1240979"/>
                  <a:pt x="5865495" y="1171129"/>
                </a:cubicBezTo>
                <a:cubicBezTo>
                  <a:pt x="5868670" y="1171129"/>
                  <a:pt x="5871845" y="1169224"/>
                  <a:pt x="5873750" y="1166684"/>
                </a:cubicBezTo>
                <a:cubicBezTo>
                  <a:pt x="5892165" y="1190813"/>
                  <a:pt x="5928360" y="1162238"/>
                  <a:pt x="5909945" y="1139379"/>
                </a:cubicBezTo>
                <a:close/>
                <a:moveTo>
                  <a:pt x="5928995" y="1360994"/>
                </a:moveTo>
                <a:cubicBezTo>
                  <a:pt x="5904230" y="1382584"/>
                  <a:pt x="5939155" y="1421319"/>
                  <a:pt x="5963285" y="1398459"/>
                </a:cubicBezTo>
                <a:cubicBezTo>
                  <a:pt x="5988050" y="1376869"/>
                  <a:pt x="5953125" y="1338134"/>
                  <a:pt x="5928995" y="1360994"/>
                </a:cubicBezTo>
                <a:close/>
                <a:moveTo>
                  <a:pt x="5617845" y="1026349"/>
                </a:moveTo>
                <a:cubicBezTo>
                  <a:pt x="5593715" y="1048574"/>
                  <a:pt x="5629910" y="1086038"/>
                  <a:pt x="5653405" y="1063179"/>
                </a:cubicBezTo>
                <a:cubicBezTo>
                  <a:pt x="5676900" y="1040319"/>
                  <a:pt x="5640705" y="1002854"/>
                  <a:pt x="5617845" y="1026349"/>
                </a:cubicBezTo>
                <a:close/>
                <a:moveTo>
                  <a:pt x="5651500" y="982534"/>
                </a:moveTo>
                <a:cubicBezTo>
                  <a:pt x="5648960" y="981899"/>
                  <a:pt x="5646420" y="981899"/>
                  <a:pt x="5643245" y="981899"/>
                </a:cubicBezTo>
                <a:cubicBezTo>
                  <a:pt x="5645150" y="978724"/>
                  <a:pt x="5647055" y="975549"/>
                  <a:pt x="5647690" y="972374"/>
                </a:cubicBezTo>
                <a:cubicBezTo>
                  <a:pt x="5648325" y="972374"/>
                  <a:pt x="5648960" y="972374"/>
                  <a:pt x="5649595" y="972374"/>
                </a:cubicBezTo>
                <a:cubicBezTo>
                  <a:pt x="5663565" y="979359"/>
                  <a:pt x="5681980" y="966659"/>
                  <a:pt x="5680710" y="950784"/>
                </a:cubicBezTo>
                <a:cubicBezTo>
                  <a:pt x="5709920" y="948244"/>
                  <a:pt x="5699125" y="901888"/>
                  <a:pt x="5671820" y="913319"/>
                </a:cubicBezTo>
                <a:cubicBezTo>
                  <a:pt x="5655310" y="880299"/>
                  <a:pt x="5614035" y="915224"/>
                  <a:pt x="5638800" y="940624"/>
                </a:cubicBezTo>
                <a:cubicBezTo>
                  <a:pt x="5638800" y="940624"/>
                  <a:pt x="5638165" y="941259"/>
                  <a:pt x="5638165" y="941259"/>
                </a:cubicBezTo>
                <a:cubicBezTo>
                  <a:pt x="5636260" y="942529"/>
                  <a:pt x="5634355" y="943799"/>
                  <a:pt x="5633085" y="945704"/>
                </a:cubicBezTo>
                <a:cubicBezTo>
                  <a:pt x="5591175" y="931099"/>
                  <a:pt x="5590540" y="1004124"/>
                  <a:pt x="5633085" y="990154"/>
                </a:cubicBezTo>
                <a:cubicBezTo>
                  <a:pt x="5621020" y="1032063"/>
                  <a:pt x="5689600" y="1004124"/>
                  <a:pt x="5651500" y="982534"/>
                </a:cubicBezTo>
                <a:close/>
                <a:moveTo>
                  <a:pt x="5745480" y="1113979"/>
                </a:moveTo>
                <a:cubicBezTo>
                  <a:pt x="5742305" y="1113344"/>
                  <a:pt x="5739130" y="1113979"/>
                  <a:pt x="5735955" y="1115249"/>
                </a:cubicBezTo>
                <a:cubicBezTo>
                  <a:pt x="5727700" y="1098738"/>
                  <a:pt x="5702935" y="1098104"/>
                  <a:pt x="5692775" y="1113344"/>
                </a:cubicBezTo>
                <a:cubicBezTo>
                  <a:pt x="5682615" y="1065084"/>
                  <a:pt x="5645150" y="1140649"/>
                  <a:pt x="5689600" y="1119059"/>
                </a:cubicBezTo>
                <a:cubicBezTo>
                  <a:pt x="5678805" y="1148269"/>
                  <a:pt x="5724525" y="1167319"/>
                  <a:pt x="5736590" y="1137474"/>
                </a:cubicBezTo>
                <a:cubicBezTo>
                  <a:pt x="5753100" y="1145094"/>
                  <a:pt x="5762625" y="1117788"/>
                  <a:pt x="5745480" y="1113979"/>
                </a:cubicBezTo>
                <a:close/>
                <a:moveTo>
                  <a:pt x="5982970" y="1206688"/>
                </a:moveTo>
                <a:cubicBezTo>
                  <a:pt x="5982335" y="1206054"/>
                  <a:pt x="5981700" y="1206054"/>
                  <a:pt x="5981065" y="1205419"/>
                </a:cubicBezTo>
                <a:cubicBezTo>
                  <a:pt x="6033770" y="1203513"/>
                  <a:pt x="5959475" y="1153984"/>
                  <a:pt x="5977890" y="1203513"/>
                </a:cubicBezTo>
                <a:cubicBezTo>
                  <a:pt x="5883275" y="1202879"/>
                  <a:pt x="6014720" y="1296859"/>
                  <a:pt x="5982970" y="1206688"/>
                </a:cubicBezTo>
                <a:close/>
                <a:moveTo>
                  <a:pt x="5774690" y="1192719"/>
                </a:moveTo>
                <a:cubicBezTo>
                  <a:pt x="5749925" y="1214944"/>
                  <a:pt x="5785485" y="1252409"/>
                  <a:pt x="5808980" y="1230184"/>
                </a:cubicBezTo>
                <a:cubicBezTo>
                  <a:pt x="5833110" y="1207959"/>
                  <a:pt x="5798185" y="1169859"/>
                  <a:pt x="5774690" y="1192719"/>
                </a:cubicBezTo>
                <a:close/>
                <a:moveTo>
                  <a:pt x="5837555" y="1090484"/>
                </a:moveTo>
                <a:cubicBezTo>
                  <a:pt x="5835015" y="1030159"/>
                  <a:pt x="5784215" y="1075879"/>
                  <a:pt x="5795010" y="1096834"/>
                </a:cubicBezTo>
                <a:cubicBezTo>
                  <a:pt x="5791835" y="1094929"/>
                  <a:pt x="5788660" y="1093659"/>
                  <a:pt x="5784850" y="1093659"/>
                </a:cubicBezTo>
                <a:cubicBezTo>
                  <a:pt x="5805170" y="1056194"/>
                  <a:pt x="5734050" y="1072704"/>
                  <a:pt x="5769610" y="1097469"/>
                </a:cubicBezTo>
                <a:cubicBezTo>
                  <a:pt x="5745480" y="1112709"/>
                  <a:pt x="5765800" y="1150809"/>
                  <a:pt x="5791835" y="1140013"/>
                </a:cubicBezTo>
                <a:cubicBezTo>
                  <a:pt x="5792470" y="1177479"/>
                  <a:pt x="5840095" y="1135569"/>
                  <a:pt x="5803265" y="1129854"/>
                </a:cubicBezTo>
                <a:cubicBezTo>
                  <a:pt x="5808980" y="1121599"/>
                  <a:pt x="5807075" y="1110804"/>
                  <a:pt x="5801360" y="1103184"/>
                </a:cubicBezTo>
                <a:cubicBezTo>
                  <a:pt x="5806440" y="1105724"/>
                  <a:pt x="5814695" y="1106359"/>
                  <a:pt x="5826125" y="1105088"/>
                </a:cubicBezTo>
                <a:cubicBezTo>
                  <a:pt x="5826125" y="1112709"/>
                  <a:pt x="5832475" y="1119694"/>
                  <a:pt x="5840095" y="1119059"/>
                </a:cubicBezTo>
                <a:cubicBezTo>
                  <a:pt x="5859780" y="1119059"/>
                  <a:pt x="5857240" y="1086674"/>
                  <a:pt x="5837555" y="1090484"/>
                </a:cubicBezTo>
                <a:close/>
                <a:moveTo>
                  <a:pt x="5197475" y="882204"/>
                </a:moveTo>
                <a:cubicBezTo>
                  <a:pt x="5193030" y="901888"/>
                  <a:pt x="5224145" y="908238"/>
                  <a:pt x="5227955" y="887919"/>
                </a:cubicBezTo>
                <a:cubicBezTo>
                  <a:pt x="5231765" y="868234"/>
                  <a:pt x="5200650" y="862519"/>
                  <a:pt x="5197475" y="882204"/>
                </a:cubicBezTo>
                <a:close/>
                <a:moveTo>
                  <a:pt x="5239385" y="941894"/>
                </a:moveTo>
                <a:cubicBezTo>
                  <a:pt x="5219700" y="938084"/>
                  <a:pt x="5217160" y="969834"/>
                  <a:pt x="5236845" y="969834"/>
                </a:cubicBezTo>
                <a:cubicBezTo>
                  <a:pt x="5253990" y="970469"/>
                  <a:pt x="5256530" y="945069"/>
                  <a:pt x="5239385" y="941894"/>
                </a:cubicBezTo>
                <a:close/>
                <a:moveTo>
                  <a:pt x="5247005" y="1008569"/>
                </a:moveTo>
                <a:cubicBezTo>
                  <a:pt x="5230495" y="1005394"/>
                  <a:pt x="5226685" y="1031429"/>
                  <a:pt x="5242560" y="1033334"/>
                </a:cubicBezTo>
                <a:cubicBezTo>
                  <a:pt x="5259070" y="1036509"/>
                  <a:pt x="5263515" y="1011109"/>
                  <a:pt x="5247005" y="1008569"/>
                </a:cubicBezTo>
                <a:close/>
                <a:moveTo>
                  <a:pt x="5184775" y="998409"/>
                </a:moveTo>
                <a:cubicBezTo>
                  <a:pt x="5168265" y="995869"/>
                  <a:pt x="5164455" y="1021269"/>
                  <a:pt x="5180965" y="1023809"/>
                </a:cubicBezTo>
                <a:cubicBezTo>
                  <a:pt x="5196840" y="1026349"/>
                  <a:pt x="5200650" y="1000949"/>
                  <a:pt x="5184775" y="998409"/>
                </a:cubicBezTo>
                <a:close/>
                <a:moveTo>
                  <a:pt x="5182870" y="946974"/>
                </a:moveTo>
                <a:cubicBezTo>
                  <a:pt x="5186045" y="929194"/>
                  <a:pt x="5157470" y="924113"/>
                  <a:pt x="5154930" y="942529"/>
                </a:cubicBezTo>
                <a:cubicBezTo>
                  <a:pt x="5151755" y="960309"/>
                  <a:pt x="5180330" y="965388"/>
                  <a:pt x="5182870" y="946974"/>
                </a:cubicBezTo>
                <a:close/>
                <a:moveTo>
                  <a:pt x="5114925" y="936179"/>
                </a:moveTo>
                <a:cubicBezTo>
                  <a:pt x="5117465" y="918399"/>
                  <a:pt x="5089525" y="913954"/>
                  <a:pt x="5086985" y="932369"/>
                </a:cubicBezTo>
                <a:cubicBezTo>
                  <a:pt x="5083810" y="950149"/>
                  <a:pt x="5112385" y="954594"/>
                  <a:pt x="5114925" y="936179"/>
                </a:cubicBezTo>
                <a:close/>
                <a:moveTo>
                  <a:pt x="5121275" y="989519"/>
                </a:moveTo>
                <a:cubicBezTo>
                  <a:pt x="5104765" y="986979"/>
                  <a:pt x="5101590" y="1012379"/>
                  <a:pt x="5117465" y="1014919"/>
                </a:cubicBezTo>
                <a:cubicBezTo>
                  <a:pt x="5133975" y="1016824"/>
                  <a:pt x="5137785" y="991424"/>
                  <a:pt x="5121275" y="989519"/>
                </a:cubicBezTo>
                <a:close/>
                <a:moveTo>
                  <a:pt x="5141595" y="856169"/>
                </a:moveTo>
                <a:cubicBezTo>
                  <a:pt x="5121910" y="852359"/>
                  <a:pt x="5116195" y="883474"/>
                  <a:pt x="5136515" y="886649"/>
                </a:cubicBezTo>
                <a:cubicBezTo>
                  <a:pt x="5156200" y="890459"/>
                  <a:pt x="5161915" y="859344"/>
                  <a:pt x="5141595" y="856169"/>
                </a:cubicBezTo>
                <a:close/>
                <a:moveTo>
                  <a:pt x="5280660" y="836484"/>
                </a:moveTo>
                <a:cubicBezTo>
                  <a:pt x="5286375" y="815529"/>
                  <a:pt x="5252720" y="806638"/>
                  <a:pt x="5247640" y="828229"/>
                </a:cubicBezTo>
                <a:cubicBezTo>
                  <a:pt x="5242560" y="849184"/>
                  <a:pt x="5275580" y="857438"/>
                  <a:pt x="5280660" y="836484"/>
                </a:cubicBezTo>
                <a:close/>
                <a:moveTo>
                  <a:pt x="5358765" y="857438"/>
                </a:moveTo>
                <a:cubicBezTo>
                  <a:pt x="5365115" y="836484"/>
                  <a:pt x="5332095" y="826959"/>
                  <a:pt x="5326380" y="848549"/>
                </a:cubicBezTo>
                <a:cubicBezTo>
                  <a:pt x="5319395" y="869504"/>
                  <a:pt x="5353050" y="878394"/>
                  <a:pt x="5358765" y="857438"/>
                </a:cubicBezTo>
                <a:close/>
                <a:moveTo>
                  <a:pt x="5374005" y="920304"/>
                </a:moveTo>
                <a:cubicBezTo>
                  <a:pt x="5379085" y="900619"/>
                  <a:pt x="5347970" y="893634"/>
                  <a:pt x="5343525" y="913319"/>
                </a:cubicBezTo>
                <a:cubicBezTo>
                  <a:pt x="5338445" y="932369"/>
                  <a:pt x="5369560" y="939988"/>
                  <a:pt x="5374005" y="920304"/>
                </a:cubicBezTo>
                <a:close/>
                <a:moveTo>
                  <a:pt x="5372735" y="1030794"/>
                </a:moveTo>
                <a:cubicBezTo>
                  <a:pt x="5356860" y="1027619"/>
                  <a:pt x="5351780" y="1053019"/>
                  <a:pt x="5368290" y="1055559"/>
                </a:cubicBezTo>
                <a:cubicBezTo>
                  <a:pt x="5384165" y="1059369"/>
                  <a:pt x="5388610" y="1033969"/>
                  <a:pt x="5372735" y="1030794"/>
                </a:cubicBezTo>
                <a:close/>
                <a:moveTo>
                  <a:pt x="5375910" y="967929"/>
                </a:moveTo>
                <a:cubicBezTo>
                  <a:pt x="5358130" y="964119"/>
                  <a:pt x="5352415" y="992059"/>
                  <a:pt x="5370195" y="995869"/>
                </a:cubicBezTo>
                <a:cubicBezTo>
                  <a:pt x="5387975" y="999679"/>
                  <a:pt x="5393690" y="971738"/>
                  <a:pt x="5375910" y="967929"/>
                </a:cubicBezTo>
                <a:close/>
                <a:moveTo>
                  <a:pt x="5435600" y="880934"/>
                </a:moveTo>
                <a:cubicBezTo>
                  <a:pt x="5438140" y="872044"/>
                  <a:pt x="5433695" y="862519"/>
                  <a:pt x="5424170" y="859979"/>
                </a:cubicBezTo>
                <a:cubicBezTo>
                  <a:pt x="5380355" y="853629"/>
                  <a:pt x="5415280" y="920304"/>
                  <a:pt x="5435600" y="880934"/>
                </a:cubicBezTo>
                <a:close/>
                <a:moveTo>
                  <a:pt x="5431155" y="950149"/>
                </a:moveTo>
                <a:cubicBezTo>
                  <a:pt x="5448935" y="950784"/>
                  <a:pt x="5452110" y="923479"/>
                  <a:pt x="5434965" y="919669"/>
                </a:cubicBezTo>
                <a:cubicBezTo>
                  <a:pt x="5413375" y="913954"/>
                  <a:pt x="5408295" y="950149"/>
                  <a:pt x="5431155" y="950149"/>
                </a:cubicBezTo>
                <a:close/>
                <a:moveTo>
                  <a:pt x="5300980" y="903159"/>
                </a:moveTo>
                <a:cubicBezTo>
                  <a:pt x="5305425" y="883474"/>
                  <a:pt x="5274310" y="877124"/>
                  <a:pt x="5270500" y="896809"/>
                </a:cubicBezTo>
                <a:cubicBezTo>
                  <a:pt x="5266055" y="916494"/>
                  <a:pt x="5297170" y="923479"/>
                  <a:pt x="5300980" y="903159"/>
                </a:cubicBezTo>
                <a:close/>
                <a:moveTo>
                  <a:pt x="5305425" y="982534"/>
                </a:moveTo>
                <a:cubicBezTo>
                  <a:pt x="5321935" y="983169"/>
                  <a:pt x="5324475" y="957134"/>
                  <a:pt x="5307965" y="954594"/>
                </a:cubicBezTo>
                <a:cubicBezTo>
                  <a:pt x="5288280" y="950784"/>
                  <a:pt x="5285105" y="982534"/>
                  <a:pt x="5305425" y="982534"/>
                </a:cubicBezTo>
                <a:close/>
                <a:moveTo>
                  <a:pt x="5341620" y="779969"/>
                </a:moveTo>
                <a:cubicBezTo>
                  <a:pt x="5315585" y="771079"/>
                  <a:pt x="5307330" y="815529"/>
                  <a:pt x="5335270" y="815529"/>
                </a:cubicBezTo>
                <a:cubicBezTo>
                  <a:pt x="5355590" y="816799"/>
                  <a:pt x="5360670" y="786319"/>
                  <a:pt x="5341620" y="779969"/>
                </a:cubicBezTo>
                <a:close/>
                <a:moveTo>
                  <a:pt x="6725285" y="2016313"/>
                </a:moveTo>
                <a:cubicBezTo>
                  <a:pt x="6702425" y="1995359"/>
                  <a:pt x="6670040" y="2031554"/>
                  <a:pt x="6693535" y="2051874"/>
                </a:cubicBezTo>
                <a:cubicBezTo>
                  <a:pt x="6716395" y="2073463"/>
                  <a:pt x="6748781" y="2036634"/>
                  <a:pt x="6725285" y="2016313"/>
                </a:cubicBezTo>
                <a:close/>
                <a:moveTo>
                  <a:pt x="6645275" y="1943288"/>
                </a:moveTo>
                <a:cubicBezTo>
                  <a:pt x="6622415" y="1921699"/>
                  <a:pt x="6589395" y="1957894"/>
                  <a:pt x="6612890" y="1978849"/>
                </a:cubicBezTo>
                <a:cubicBezTo>
                  <a:pt x="6635115" y="1999804"/>
                  <a:pt x="6668770" y="1964244"/>
                  <a:pt x="6645275" y="1943288"/>
                </a:cubicBezTo>
                <a:close/>
                <a:moveTo>
                  <a:pt x="6624956" y="1749613"/>
                </a:moveTo>
                <a:cubicBezTo>
                  <a:pt x="6644006" y="1750249"/>
                  <a:pt x="6653531" y="1724213"/>
                  <a:pt x="6638290" y="1712149"/>
                </a:cubicBezTo>
                <a:cubicBezTo>
                  <a:pt x="6608445" y="1689288"/>
                  <a:pt x="6586856" y="1748344"/>
                  <a:pt x="6624956" y="1749613"/>
                </a:cubicBezTo>
                <a:close/>
                <a:moveTo>
                  <a:pt x="6641465" y="2103309"/>
                </a:moveTo>
                <a:cubicBezTo>
                  <a:pt x="6631940" y="2113469"/>
                  <a:pt x="6632575" y="2129344"/>
                  <a:pt x="6642735" y="2139504"/>
                </a:cubicBezTo>
                <a:lnTo>
                  <a:pt x="6642735" y="2139504"/>
                </a:lnTo>
                <a:cubicBezTo>
                  <a:pt x="6698615" y="2175699"/>
                  <a:pt x="6694806" y="2063304"/>
                  <a:pt x="6641465" y="2103309"/>
                </a:cubicBezTo>
                <a:close/>
                <a:moveTo>
                  <a:pt x="6713856" y="1774379"/>
                </a:moveTo>
                <a:cubicBezTo>
                  <a:pt x="6713220" y="1774379"/>
                  <a:pt x="6713220" y="1774379"/>
                  <a:pt x="6713856" y="1774379"/>
                </a:cubicBezTo>
                <a:cubicBezTo>
                  <a:pt x="6683375" y="1751519"/>
                  <a:pt x="6662420" y="1810574"/>
                  <a:pt x="6700520" y="1811844"/>
                </a:cubicBezTo>
                <a:cubicBezTo>
                  <a:pt x="6718935" y="1813113"/>
                  <a:pt x="6729095" y="1786444"/>
                  <a:pt x="6713856" y="1774379"/>
                </a:cubicBezTo>
                <a:close/>
                <a:moveTo>
                  <a:pt x="6565900" y="1868994"/>
                </a:moveTo>
                <a:cubicBezTo>
                  <a:pt x="6543675" y="1847404"/>
                  <a:pt x="6510020" y="1882963"/>
                  <a:pt x="6532881" y="1903919"/>
                </a:cubicBezTo>
                <a:cubicBezTo>
                  <a:pt x="6555106" y="1925509"/>
                  <a:pt x="6588760" y="1889949"/>
                  <a:pt x="6565900" y="1868994"/>
                </a:cubicBezTo>
                <a:close/>
                <a:moveTo>
                  <a:pt x="6536690" y="1495613"/>
                </a:moveTo>
                <a:cubicBezTo>
                  <a:pt x="6551295" y="1476563"/>
                  <a:pt x="6520815" y="1454338"/>
                  <a:pt x="6506845" y="1474024"/>
                </a:cubicBezTo>
                <a:cubicBezTo>
                  <a:pt x="6492875" y="1493074"/>
                  <a:pt x="6523356" y="1515299"/>
                  <a:pt x="6536690" y="1495613"/>
                </a:cubicBezTo>
                <a:close/>
                <a:moveTo>
                  <a:pt x="7098665" y="2070924"/>
                </a:moveTo>
                <a:cubicBezTo>
                  <a:pt x="7067550" y="2050604"/>
                  <a:pt x="7049770" y="2107754"/>
                  <a:pt x="7086600" y="2109024"/>
                </a:cubicBezTo>
                <a:cubicBezTo>
                  <a:pt x="7106285" y="2110294"/>
                  <a:pt x="7115175" y="2082354"/>
                  <a:pt x="7098665" y="2070924"/>
                </a:cubicBezTo>
                <a:close/>
                <a:moveTo>
                  <a:pt x="6558915" y="2023934"/>
                </a:moveTo>
                <a:cubicBezTo>
                  <a:pt x="6535420" y="2047429"/>
                  <a:pt x="6572885" y="2082988"/>
                  <a:pt x="6595745" y="2059494"/>
                </a:cubicBezTo>
                <a:cubicBezTo>
                  <a:pt x="6618606" y="2035999"/>
                  <a:pt x="6581775" y="1999804"/>
                  <a:pt x="6558915" y="2023934"/>
                </a:cubicBezTo>
                <a:close/>
                <a:moveTo>
                  <a:pt x="6602731" y="1520379"/>
                </a:moveTo>
                <a:cubicBezTo>
                  <a:pt x="6583681" y="1506409"/>
                  <a:pt x="6562090" y="1536888"/>
                  <a:pt x="6581140" y="1550224"/>
                </a:cubicBezTo>
                <a:cubicBezTo>
                  <a:pt x="6600190" y="1564829"/>
                  <a:pt x="6622415" y="1534349"/>
                  <a:pt x="6602731" y="1520379"/>
                </a:cubicBezTo>
                <a:close/>
                <a:moveTo>
                  <a:pt x="6513831" y="1943288"/>
                </a:moveTo>
                <a:cubicBezTo>
                  <a:pt x="6490970" y="1919794"/>
                  <a:pt x="6454140" y="1956624"/>
                  <a:pt x="6478270" y="1979484"/>
                </a:cubicBezTo>
                <a:lnTo>
                  <a:pt x="6478270" y="1979484"/>
                </a:lnTo>
                <a:cubicBezTo>
                  <a:pt x="6500495" y="2002979"/>
                  <a:pt x="6537325" y="1966149"/>
                  <a:pt x="6513831" y="1943288"/>
                </a:cubicBezTo>
                <a:cubicBezTo>
                  <a:pt x="6513831" y="1943288"/>
                  <a:pt x="6513831" y="1943288"/>
                  <a:pt x="6513831" y="1943288"/>
                </a:cubicBezTo>
                <a:close/>
                <a:moveTo>
                  <a:pt x="7021831" y="2399854"/>
                </a:moveTo>
                <a:cubicBezTo>
                  <a:pt x="6996431" y="2378899"/>
                  <a:pt x="6964045" y="2419539"/>
                  <a:pt x="6990715" y="2439859"/>
                </a:cubicBezTo>
                <a:cubicBezTo>
                  <a:pt x="7016115" y="2460814"/>
                  <a:pt x="7047865" y="2419539"/>
                  <a:pt x="7021831" y="2399854"/>
                </a:cubicBezTo>
                <a:close/>
                <a:moveTo>
                  <a:pt x="6972935" y="2227134"/>
                </a:moveTo>
                <a:cubicBezTo>
                  <a:pt x="6948806" y="2207449"/>
                  <a:pt x="6918325" y="2245549"/>
                  <a:pt x="6943090" y="2264599"/>
                </a:cubicBezTo>
                <a:cubicBezTo>
                  <a:pt x="6967220" y="2284284"/>
                  <a:pt x="6997700" y="2246184"/>
                  <a:pt x="6972935" y="2227134"/>
                </a:cubicBezTo>
                <a:close/>
                <a:moveTo>
                  <a:pt x="7058025" y="2293174"/>
                </a:moveTo>
                <a:cubicBezTo>
                  <a:pt x="7033260" y="2274124"/>
                  <a:pt x="7004050" y="2312859"/>
                  <a:pt x="7028815" y="2331274"/>
                </a:cubicBezTo>
                <a:cubicBezTo>
                  <a:pt x="7053581" y="2350959"/>
                  <a:pt x="7083425" y="2312224"/>
                  <a:pt x="7058025" y="2293174"/>
                </a:cubicBezTo>
                <a:close/>
                <a:moveTo>
                  <a:pt x="6897370" y="2331909"/>
                </a:moveTo>
                <a:cubicBezTo>
                  <a:pt x="6875781" y="2356674"/>
                  <a:pt x="6915785" y="2389694"/>
                  <a:pt x="6936740" y="2364294"/>
                </a:cubicBezTo>
                <a:cubicBezTo>
                  <a:pt x="6958331" y="2338894"/>
                  <a:pt x="6918325" y="2305874"/>
                  <a:pt x="6897370" y="2331909"/>
                </a:cubicBezTo>
                <a:close/>
                <a:moveTo>
                  <a:pt x="6811010" y="2257614"/>
                </a:moveTo>
                <a:cubicBezTo>
                  <a:pt x="6802120" y="2268409"/>
                  <a:pt x="6802756" y="2284284"/>
                  <a:pt x="6813550" y="2293174"/>
                </a:cubicBezTo>
                <a:lnTo>
                  <a:pt x="6813550" y="2293174"/>
                </a:lnTo>
                <a:cubicBezTo>
                  <a:pt x="6870700" y="2327464"/>
                  <a:pt x="6862445" y="2215069"/>
                  <a:pt x="6811010" y="2257614"/>
                </a:cubicBezTo>
                <a:close/>
                <a:moveTo>
                  <a:pt x="6806565" y="2088069"/>
                </a:moveTo>
                <a:cubicBezTo>
                  <a:pt x="6783070" y="2067113"/>
                  <a:pt x="6751320" y="2103944"/>
                  <a:pt x="6775450" y="2124264"/>
                </a:cubicBezTo>
                <a:cubicBezTo>
                  <a:pt x="6798310" y="2145219"/>
                  <a:pt x="6830695" y="2108389"/>
                  <a:pt x="6806565" y="2088069"/>
                </a:cubicBezTo>
                <a:close/>
                <a:moveTo>
                  <a:pt x="6725285" y="2181414"/>
                </a:moveTo>
                <a:cubicBezTo>
                  <a:pt x="6703060" y="2205544"/>
                  <a:pt x="6741160" y="2240469"/>
                  <a:pt x="6762750" y="2215704"/>
                </a:cubicBezTo>
                <a:cubicBezTo>
                  <a:pt x="6785610" y="2190939"/>
                  <a:pt x="6747510" y="2156649"/>
                  <a:pt x="6725285" y="2181414"/>
                </a:cubicBezTo>
                <a:close/>
                <a:moveTo>
                  <a:pt x="6889115" y="2158554"/>
                </a:moveTo>
                <a:cubicBezTo>
                  <a:pt x="6865620" y="2138234"/>
                  <a:pt x="6834506" y="2175699"/>
                  <a:pt x="6858635" y="2195384"/>
                </a:cubicBezTo>
                <a:cubicBezTo>
                  <a:pt x="6882131" y="2215704"/>
                  <a:pt x="6913881" y="2178239"/>
                  <a:pt x="6889115" y="2158554"/>
                </a:cubicBezTo>
                <a:close/>
                <a:moveTo>
                  <a:pt x="6410325" y="1752154"/>
                </a:moveTo>
                <a:cubicBezTo>
                  <a:pt x="6432550" y="1730563"/>
                  <a:pt x="6397625" y="1695638"/>
                  <a:pt x="6376035" y="1718499"/>
                </a:cubicBezTo>
                <a:cubicBezTo>
                  <a:pt x="6354445" y="1740724"/>
                  <a:pt x="6389370" y="1775013"/>
                  <a:pt x="6410325" y="1752154"/>
                </a:cubicBezTo>
                <a:close/>
                <a:moveTo>
                  <a:pt x="6161405" y="1613724"/>
                </a:moveTo>
                <a:cubicBezTo>
                  <a:pt x="6137275" y="1635949"/>
                  <a:pt x="6172200" y="1673413"/>
                  <a:pt x="6196330" y="1650554"/>
                </a:cubicBezTo>
                <a:cubicBezTo>
                  <a:pt x="6220460" y="1628963"/>
                  <a:pt x="6184900" y="1590863"/>
                  <a:pt x="6161405" y="1613724"/>
                </a:cubicBezTo>
                <a:close/>
                <a:moveTo>
                  <a:pt x="6133465" y="1348294"/>
                </a:moveTo>
                <a:cubicBezTo>
                  <a:pt x="6112510" y="1327974"/>
                  <a:pt x="6080760" y="1360994"/>
                  <a:pt x="6102350" y="1381313"/>
                </a:cubicBezTo>
                <a:cubicBezTo>
                  <a:pt x="6122670" y="1401634"/>
                  <a:pt x="6155055" y="1367979"/>
                  <a:pt x="6133465" y="1348294"/>
                </a:cubicBezTo>
                <a:close/>
                <a:moveTo>
                  <a:pt x="6180455" y="1521649"/>
                </a:moveTo>
                <a:cubicBezTo>
                  <a:pt x="6202680" y="1500059"/>
                  <a:pt x="6169025" y="1465134"/>
                  <a:pt x="6146800" y="1487359"/>
                </a:cubicBezTo>
                <a:cubicBezTo>
                  <a:pt x="6124575" y="1508949"/>
                  <a:pt x="6158230" y="1543874"/>
                  <a:pt x="6180455" y="1521649"/>
                </a:cubicBezTo>
                <a:close/>
                <a:moveTo>
                  <a:pt x="6176010" y="1420049"/>
                </a:moveTo>
                <a:cubicBezTo>
                  <a:pt x="6167755" y="1428938"/>
                  <a:pt x="6167755" y="1443544"/>
                  <a:pt x="6176645" y="1451799"/>
                </a:cubicBezTo>
                <a:lnTo>
                  <a:pt x="6176645" y="1451799"/>
                </a:lnTo>
                <a:cubicBezTo>
                  <a:pt x="6226175" y="1484819"/>
                  <a:pt x="6223635" y="1385124"/>
                  <a:pt x="6176010" y="1420049"/>
                </a:cubicBezTo>
                <a:close/>
                <a:moveTo>
                  <a:pt x="6058535" y="1277174"/>
                </a:moveTo>
                <a:cubicBezTo>
                  <a:pt x="6037580" y="1256854"/>
                  <a:pt x="6005830" y="1289874"/>
                  <a:pt x="6027420" y="1310194"/>
                </a:cubicBezTo>
                <a:cubicBezTo>
                  <a:pt x="6048375" y="1330513"/>
                  <a:pt x="6080125" y="1297494"/>
                  <a:pt x="6058535" y="1277174"/>
                </a:cubicBezTo>
                <a:close/>
                <a:moveTo>
                  <a:pt x="6006465" y="1445449"/>
                </a:moveTo>
                <a:cubicBezTo>
                  <a:pt x="5981700" y="1467038"/>
                  <a:pt x="6016625" y="1505774"/>
                  <a:pt x="6040755" y="1482913"/>
                </a:cubicBezTo>
                <a:cubicBezTo>
                  <a:pt x="6065520" y="1461324"/>
                  <a:pt x="6030595" y="1422588"/>
                  <a:pt x="6006465" y="1445449"/>
                </a:cubicBezTo>
                <a:close/>
                <a:moveTo>
                  <a:pt x="6256655" y="1599119"/>
                </a:moveTo>
                <a:cubicBezTo>
                  <a:pt x="6278880" y="1577529"/>
                  <a:pt x="6244590" y="1542604"/>
                  <a:pt x="6223000" y="1564829"/>
                </a:cubicBezTo>
                <a:cubicBezTo>
                  <a:pt x="6200775" y="1586419"/>
                  <a:pt x="6235065" y="1621344"/>
                  <a:pt x="6256655" y="1599119"/>
                </a:cubicBezTo>
                <a:close/>
                <a:moveTo>
                  <a:pt x="6104255" y="1444179"/>
                </a:moveTo>
                <a:cubicBezTo>
                  <a:pt x="6127115" y="1422588"/>
                  <a:pt x="6092825" y="1387663"/>
                  <a:pt x="6070600" y="1409888"/>
                </a:cubicBezTo>
                <a:cubicBezTo>
                  <a:pt x="6048375" y="1430844"/>
                  <a:pt x="6082665" y="1465769"/>
                  <a:pt x="6104255" y="1444179"/>
                </a:cubicBezTo>
                <a:close/>
                <a:moveTo>
                  <a:pt x="6083935" y="1529904"/>
                </a:moveTo>
                <a:cubicBezTo>
                  <a:pt x="6059170" y="1552129"/>
                  <a:pt x="6094730" y="1590229"/>
                  <a:pt x="6118225" y="1567369"/>
                </a:cubicBezTo>
                <a:cubicBezTo>
                  <a:pt x="6142990" y="1545144"/>
                  <a:pt x="6107430" y="1507044"/>
                  <a:pt x="6083935" y="1529904"/>
                </a:cubicBezTo>
                <a:close/>
                <a:moveTo>
                  <a:pt x="6488430" y="1828354"/>
                </a:moveTo>
                <a:cubicBezTo>
                  <a:pt x="6510656" y="1806129"/>
                  <a:pt x="6475095" y="1772474"/>
                  <a:pt x="6454140" y="1794699"/>
                </a:cubicBezTo>
                <a:cubicBezTo>
                  <a:pt x="6431915" y="1816924"/>
                  <a:pt x="6466840" y="1850579"/>
                  <a:pt x="6488430" y="1828354"/>
                </a:cubicBezTo>
                <a:close/>
                <a:moveTo>
                  <a:pt x="6028055" y="1366074"/>
                </a:moveTo>
                <a:cubicBezTo>
                  <a:pt x="6050915" y="1344484"/>
                  <a:pt x="6016625" y="1309559"/>
                  <a:pt x="5994400" y="1331784"/>
                </a:cubicBezTo>
                <a:cubicBezTo>
                  <a:pt x="5972175" y="1353374"/>
                  <a:pt x="6006465" y="1388299"/>
                  <a:pt x="6028055" y="1366074"/>
                </a:cubicBezTo>
                <a:close/>
                <a:moveTo>
                  <a:pt x="6358890" y="1399094"/>
                </a:moveTo>
                <a:cubicBezTo>
                  <a:pt x="6339205" y="1382584"/>
                  <a:pt x="6313805" y="1414334"/>
                  <a:pt x="6334125" y="1430209"/>
                </a:cubicBezTo>
                <a:cubicBezTo>
                  <a:pt x="6353810" y="1446719"/>
                  <a:pt x="6379210" y="1414969"/>
                  <a:pt x="6358890" y="1399094"/>
                </a:cubicBezTo>
                <a:close/>
                <a:moveTo>
                  <a:pt x="6325870" y="1561654"/>
                </a:moveTo>
                <a:cubicBezTo>
                  <a:pt x="6305550" y="1582609"/>
                  <a:pt x="6339205" y="1614359"/>
                  <a:pt x="6358890" y="1592769"/>
                </a:cubicBezTo>
                <a:cubicBezTo>
                  <a:pt x="6379210" y="1571813"/>
                  <a:pt x="6345555" y="1540063"/>
                  <a:pt x="6325870" y="1561654"/>
                </a:cubicBezTo>
                <a:close/>
                <a:moveTo>
                  <a:pt x="6397625" y="1862009"/>
                </a:moveTo>
                <a:cubicBezTo>
                  <a:pt x="6373495" y="1884869"/>
                  <a:pt x="6410325" y="1921699"/>
                  <a:pt x="6433185" y="1898204"/>
                </a:cubicBezTo>
                <a:cubicBezTo>
                  <a:pt x="6456680" y="1875979"/>
                  <a:pt x="6420485" y="1839149"/>
                  <a:pt x="6397625" y="1862009"/>
                </a:cubicBezTo>
                <a:close/>
                <a:moveTo>
                  <a:pt x="6250940" y="1491169"/>
                </a:moveTo>
                <a:cubicBezTo>
                  <a:pt x="6230620" y="1512124"/>
                  <a:pt x="6263640" y="1543874"/>
                  <a:pt x="6283960" y="1522284"/>
                </a:cubicBezTo>
                <a:cubicBezTo>
                  <a:pt x="6304280" y="1501329"/>
                  <a:pt x="6270625" y="1469579"/>
                  <a:pt x="6250940" y="1491169"/>
                </a:cubicBezTo>
                <a:close/>
                <a:moveTo>
                  <a:pt x="6239510" y="1697544"/>
                </a:moveTo>
                <a:cubicBezTo>
                  <a:pt x="6215380" y="1719769"/>
                  <a:pt x="6250940" y="1757234"/>
                  <a:pt x="6274435" y="1734374"/>
                </a:cubicBezTo>
                <a:cubicBezTo>
                  <a:pt x="6298565" y="1712149"/>
                  <a:pt x="6263005" y="1674049"/>
                  <a:pt x="6239510" y="1697544"/>
                </a:cubicBezTo>
                <a:close/>
                <a:moveTo>
                  <a:pt x="6333490" y="1675954"/>
                </a:moveTo>
                <a:cubicBezTo>
                  <a:pt x="6355715" y="1654363"/>
                  <a:pt x="6321425" y="1619438"/>
                  <a:pt x="6299835" y="1642299"/>
                </a:cubicBezTo>
                <a:cubicBezTo>
                  <a:pt x="6276975" y="1663888"/>
                  <a:pt x="6311900" y="1698179"/>
                  <a:pt x="6333490" y="1675954"/>
                </a:cubicBezTo>
                <a:close/>
                <a:moveTo>
                  <a:pt x="6318250" y="1780094"/>
                </a:moveTo>
                <a:cubicBezTo>
                  <a:pt x="6294120" y="1802319"/>
                  <a:pt x="6330315" y="1839784"/>
                  <a:pt x="6353175" y="1816924"/>
                </a:cubicBezTo>
                <a:cubicBezTo>
                  <a:pt x="6377305" y="1794063"/>
                  <a:pt x="6341745" y="1756599"/>
                  <a:pt x="6318250" y="1780094"/>
                </a:cubicBezTo>
                <a:close/>
                <a:moveTo>
                  <a:pt x="11677015" y="763459"/>
                </a:moveTo>
                <a:cubicBezTo>
                  <a:pt x="11657330" y="767269"/>
                  <a:pt x="11664315" y="798384"/>
                  <a:pt x="11683365" y="793938"/>
                </a:cubicBezTo>
                <a:cubicBezTo>
                  <a:pt x="11703050" y="790129"/>
                  <a:pt x="11696700" y="759013"/>
                  <a:pt x="11677015" y="763459"/>
                </a:cubicBezTo>
                <a:close/>
                <a:moveTo>
                  <a:pt x="11456670" y="669479"/>
                </a:moveTo>
                <a:cubicBezTo>
                  <a:pt x="11448415" y="647254"/>
                  <a:pt x="11413490" y="660588"/>
                  <a:pt x="11422380" y="682813"/>
                </a:cubicBezTo>
                <a:cubicBezTo>
                  <a:pt x="11431270" y="705038"/>
                  <a:pt x="11466195" y="691069"/>
                  <a:pt x="11456670" y="669479"/>
                </a:cubicBezTo>
                <a:close/>
                <a:moveTo>
                  <a:pt x="11421110" y="1004124"/>
                </a:moveTo>
                <a:cubicBezTo>
                  <a:pt x="11405235" y="1007934"/>
                  <a:pt x="11411585" y="1033334"/>
                  <a:pt x="11427460" y="1028888"/>
                </a:cubicBezTo>
                <a:cubicBezTo>
                  <a:pt x="11443335" y="1025079"/>
                  <a:pt x="11436985" y="1000313"/>
                  <a:pt x="11421110" y="1004124"/>
                </a:cubicBezTo>
                <a:close/>
                <a:moveTo>
                  <a:pt x="11315700" y="867599"/>
                </a:moveTo>
                <a:cubicBezTo>
                  <a:pt x="11296650" y="873949"/>
                  <a:pt x="11307445" y="903794"/>
                  <a:pt x="11326495" y="896809"/>
                </a:cubicBezTo>
                <a:cubicBezTo>
                  <a:pt x="11345545" y="889824"/>
                  <a:pt x="11334750" y="859979"/>
                  <a:pt x="11315700" y="867599"/>
                </a:cubicBezTo>
                <a:close/>
                <a:moveTo>
                  <a:pt x="11386820" y="842834"/>
                </a:moveTo>
                <a:cubicBezTo>
                  <a:pt x="11367770" y="848549"/>
                  <a:pt x="11377930" y="879029"/>
                  <a:pt x="11396345" y="872044"/>
                </a:cubicBezTo>
                <a:cubicBezTo>
                  <a:pt x="11416030" y="866329"/>
                  <a:pt x="11405870" y="835849"/>
                  <a:pt x="11386820" y="842834"/>
                </a:cubicBezTo>
                <a:close/>
                <a:moveTo>
                  <a:pt x="11367135" y="725359"/>
                </a:moveTo>
                <a:cubicBezTo>
                  <a:pt x="11389360" y="716469"/>
                  <a:pt x="11374755" y="682179"/>
                  <a:pt x="11352530" y="691704"/>
                </a:cubicBezTo>
                <a:cubicBezTo>
                  <a:pt x="11330940" y="700594"/>
                  <a:pt x="11346180" y="734884"/>
                  <a:pt x="11367135" y="725359"/>
                </a:cubicBezTo>
                <a:close/>
                <a:moveTo>
                  <a:pt x="1247775" y="2085529"/>
                </a:moveTo>
                <a:cubicBezTo>
                  <a:pt x="1226185" y="2088704"/>
                  <a:pt x="1231900" y="2122994"/>
                  <a:pt x="1253490" y="2118549"/>
                </a:cubicBezTo>
                <a:cubicBezTo>
                  <a:pt x="1275080" y="2115374"/>
                  <a:pt x="1269365" y="2081719"/>
                  <a:pt x="1247775" y="2085529"/>
                </a:cubicBezTo>
                <a:close/>
                <a:moveTo>
                  <a:pt x="11317605" y="786319"/>
                </a:moveTo>
                <a:cubicBezTo>
                  <a:pt x="11297285" y="793938"/>
                  <a:pt x="11309985" y="826324"/>
                  <a:pt x="11330305" y="817434"/>
                </a:cubicBezTo>
                <a:cubicBezTo>
                  <a:pt x="11350625" y="809813"/>
                  <a:pt x="11337925" y="778063"/>
                  <a:pt x="11317605" y="786319"/>
                </a:cubicBezTo>
                <a:close/>
                <a:moveTo>
                  <a:pt x="11359515" y="1020634"/>
                </a:moveTo>
                <a:cubicBezTo>
                  <a:pt x="11343640" y="1024444"/>
                  <a:pt x="11350625" y="1049844"/>
                  <a:pt x="11366500" y="1045399"/>
                </a:cubicBezTo>
                <a:cubicBezTo>
                  <a:pt x="11381740" y="1040954"/>
                  <a:pt x="11375390" y="1016188"/>
                  <a:pt x="11359515" y="1020634"/>
                </a:cubicBezTo>
                <a:close/>
                <a:moveTo>
                  <a:pt x="11383645" y="927924"/>
                </a:moveTo>
                <a:cubicBezTo>
                  <a:pt x="11365865" y="933004"/>
                  <a:pt x="11374120" y="960309"/>
                  <a:pt x="11391900" y="955229"/>
                </a:cubicBezTo>
                <a:cubicBezTo>
                  <a:pt x="11409045" y="950149"/>
                  <a:pt x="11400790" y="922844"/>
                  <a:pt x="11383645" y="927924"/>
                </a:cubicBezTo>
                <a:close/>
                <a:moveTo>
                  <a:pt x="11450320" y="908874"/>
                </a:moveTo>
                <a:cubicBezTo>
                  <a:pt x="11432540" y="913319"/>
                  <a:pt x="11440160" y="941259"/>
                  <a:pt x="11457940" y="936179"/>
                </a:cubicBezTo>
                <a:cubicBezTo>
                  <a:pt x="11475085" y="931734"/>
                  <a:pt x="11468100" y="903794"/>
                  <a:pt x="11450320" y="908874"/>
                </a:cubicBezTo>
                <a:close/>
                <a:moveTo>
                  <a:pt x="11546840" y="706309"/>
                </a:moveTo>
                <a:cubicBezTo>
                  <a:pt x="11525885" y="712659"/>
                  <a:pt x="11536045" y="745679"/>
                  <a:pt x="11556365" y="738694"/>
                </a:cubicBezTo>
                <a:cubicBezTo>
                  <a:pt x="11577320" y="732344"/>
                  <a:pt x="11567795" y="699324"/>
                  <a:pt x="11546840" y="706309"/>
                </a:cubicBezTo>
                <a:close/>
                <a:moveTo>
                  <a:pt x="11602085" y="886649"/>
                </a:moveTo>
                <a:cubicBezTo>
                  <a:pt x="11587480" y="852359"/>
                  <a:pt x="11554460" y="905699"/>
                  <a:pt x="11591290" y="903794"/>
                </a:cubicBezTo>
                <a:lnTo>
                  <a:pt x="11591290" y="903794"/>
                </a:lnTo>
                <a:cubicBezTo>
                  <a:pt x="11598910" y="901254"/>
                  <a:pt x="11603355" y="894269"/>
                  <a:pt x="11602085" y="886649"/>
                </a:cubicBezTo>
                <a:close/>
                <a:moveTo>
                  <a:pt x="11469370" y="475169"/>
                </a:moveTo>
                <a:cubicBezTo>
                  <a:pt x="11443970" y="485963"/>
                  <a:pt x="11462385" y="525334"/>
                  <a:pt x="11486515" y="513904"/>
                </a:cubicBezTo>
                <a:cubicBezTo>
                  <a:pt x="11511915" y="502474"/>
                  <a:pt x="11494135" y="463104"/>
                  <a:pt x="11469370" y="475169"/>
                </a:cubicBezTo>
                <a:close/>
                <a:moveTo>
                  <a:pt x="11603990" y="779969"/>
                </a:moveTo>
                <a:cubicBezTo>
                  <a:pt x="11584305" y="784413"/>
                  <a:pt x="11591925" y="815529"/>
                  <a:pt x="11611610" y="809813"/>
                </a:cubicBezTo>
                <a:cubicBezTo>
                  <a:pt x="11630660" y="806004"/>
                  <a:pt x="11623040" y="775524"/>
                  <a:pt x="11603990" y="779969"/>
                </a:cubicBezTo>
                <a:close/>
                <a:moveTo>
                  <a:pt x="11607800" y="963484"/>
                </a:moveTo>
                <a:cubicBezTo>
                  <a:pt x="11591290" y="966024"/>
                  <a:pt x="11596370" y="991424"/>
                  <a:pt x="11612880" y="988249"/>
                </a:cubicBezTo>
                <a:cubicBezTo>
                  <a:pt x="11628755" y="985074"/>
                  <a:pt x="11623675" y="959674"/>
                  <a:pt x="11607800" y="963484"/>
                </a:cubicBezTo>
                <a:close/>
                <a:moveTo>
                  <a:pt x="11526520" y="663129"/>
                </a:moveTo>
                <a:lnTo>
                  <a:pt x="11526520" y="663129"/>
                </a:lnTo>
                <a:cubicBezTo>
                  <a:pt x="11579225" y="608519"/>
                  <a:pt x="11452860" y="630109"/>
                  <a:pt x="11520170" y="664399"/>
                </a:cubicBezTo>
                <a:cubicBezTo>
                  <a:pt x="11522710" y="664399"/>
                  <a:pt x="11524615" y="663763"/>
                  <a:pt x="11526520" y="663129"/>
                </a:cubicBezTo>
                <a:close/>
                <a:moveTo>
                  <a:pt x="11520170" y="818069"/>
                </a:moveTo>
                <a:cubicBezTo>
                  <a:pt x="11525250" y="837754"/>
                  <a:pt x="11555730" y="828863"/>
                  <a:pt x="11550015" y="809813"/>
                </a:cubicBezTo>
                <a:cubicBezTo>
                  <a:pt x="11544935" y="790763"/>
                  <a:pt x="11514455" y="799019"/>
                  <a:pt x="11520170" y="818069"/>
                </a:cubicBezTo>
                <a:close/>
                <a:moveTo>
                  <a:pt x="11517630" y="891729"/>
                </a:moveTo>
                <a:cubicBezTo>
                  <a:pt x="11499850" y="895538"/>
                  <a:pt x="11506835" y="924113"/>
                  <a:pt x="11524615" y="919034"/>
                </a:cubicBezTo>
                <a:cubicBezTo>
                  <a:pt x="11542395" y="914588"/>
                  <a:pt x="11535410" y="886649"/>
                  <a:pt x="11517630" y="891729"/>
                </a:cubicBezTo>
                <a:close/>
                <a:moveTo>
                  <a:pt x="11544935" y="975549"/>
                </a:moveTo>
                <a:cubicBezTo>
                  <a:pt x="11528425" y="978724"/>
                  <a:pt x="11534140" y="1004124"/>
                  <a:pt x="11550015" y="1000313"/>
                </a:cubicBezTo>
                <a:cubicBezTo>
                  <a:pt x="11566525" y="997138"/>
                  <a:pt x="11561445" y="972374"/>
                  <a:pt x="11544935" y="975549"/>
                </a:cubicBezTo>
                <a:close/>
                <a:moveTo>
                  <a:pt x="11185525" y="993329"/>
                </a:moveTo>
                <a:cubicBezTo>
                  <a:pt x="11168380" y="999044"/>
                  <a:pt x="11178540" y="1026349"/>
                  <a:pt x="11195050" y="1019999"/>
                </a:cubicBezTo>
                <a:cubicBezTo>
                  <a:pt x="11212830" y="1014284"/>
                  <a:pt x="11202670" y="986979"/>
                  <a:pt x="11185525" y="993329"/>
                </a:cubicBezTo>
                <a:close/>
                <a:moveTo>
                  <a:pt x="11316970" y="948244"/>
                </a:moveTo>
                <a:cubicBezTo>
                  <a:pt x="11299190" y="953324"/>
                  <a:pt x="11308080" y="981263"/>
                  <a:pt x="11325225" y="974913"/>
                </a:cubicBezTo>
                <a:lnTo>
                  <a:pt x="11325225" y="974913"/>
                </a:lnTo>
                <a:cubicBezTo>
                  <a:pt x="11343005" y="969834"/>
                  <a:pt x="11334750" y="942529"/>
                  <a:pt x="11316970" y="948244"/>
                </a:cubicBezTo>
                <a:close/>
                <a:moveTo>
                  <a:pt x="11123295" y="733613"/>
                </a:moveTo>
                <a:cubicBezTo>
                  <a:pt x="11123295" y="733613"/>
                  <a:pt x="11123295" y="733613"/>
                  <a:pt x="11123295" y="733613"/>
                </a:cubicBezTo>
                <a:cubicBezTo>
                  <a:pt x="11101070" y="746313"/>
                  <a:pt x="11121390" y="780604"/>
                  <a:pt x="11143615" y="767269"/>
                </a:cubicBezTo>
                <a:cubicBezTo>
                  <a:pt x="11165840" y="754569"/>
                  <a:pt x="11145520" y="720279"/>
                  <a:pt x="11123295" y="733613"/>
                </a:cubicBezTo>
                <a:close/>
                <a:moveTo>
                  <a:pt x="11183620" y="881569"/>
                </a:moveTo>
                <a:cubicBezTo>
                  <a:pt x="11203940" y="872679"/>
                  <a:pt x="11188700" y="841563"/>
                  <a:pt x="11169015" y="851088"/>
                </a:cubicBezTo>
                <a:cubicBezTo>
                  <a:pt x="11149330" y="859979"/>
                  <a:pt x="11163935" y="891094"/>
                  <a:pt x="11183620" y="881569"/>
                </a:cubicBezTo>
                <a:close/>
                <a:moveTo>
                  <a:pt x="11119485" y="805369"/>
                </a:moveTo>
                <a:cubicBezTo>
                  <a:pt x="11098530" y="816163"/>
                  <a:pt x="11116310" y="849184"/>
                  <a:pt x="11137265" y="837754"/>
                </a:cubicBezTo>
                <a:cubicBezTo>
                  <a:pt x="11157585" y="826324"/>
                  <a:pt x="11139805" y="793304"/>
                  <a:pt x="11119485" y="805369"/>
                </a:cubicBezTo>
                <a:close/>
                <a:moveTo>
                  <a:pt x="11120755" y="1018094"/>
                </a:moveTo>
                <a:cubicBezTo>
                  <a:pt x="11103610" y="1024444"/>
                  <a:pt x="11114405" y="1051113"/>
                  <a:pt x="11130915" y="1044129"/>
                </a:cubicBezTo>
                <a:cubicBezTo>
                  <a:pt x="11148695" y="1038413"/>
                  <a:pt x="11137900" y="1011109"/>
                  <a:pt x="11120755" y="1018094"/>
                </a:cubicBezTo>
                <a:close/>
                <a:moveTo>
                  <a:pt x="11111865" y="916494"/>
                </a:moveTo>
                <a:cubicBezTo>
                  <a:pt x="11131550" y="906969"/>
                  <a:pt x="11116310" y="875854"/>
                  <a:pt x="11096625" y="886013"/>
                </a:cubicBezTo>
                <a:cubicBezTo>
                  <a:pt x="11076305" y="896174"/>
                  <a:pt x="11092180" y="926654"/>
                  <a:pt x="11111865" y="916494"/>
                </a:cubicBezTo>
                <a:close/>
                <a:moveTo>
                  <a:pt x="11119485" y="979994"/>
                </a:moveTo>
                <a:cubicBezTo>
                  <a:pt x="11137900" y="972374"/>
                  <a:pt x="11125200" y="943163"/>
                  <a:pt x="11106785" y="951419"/>
                </a:cubicBezTo>
                <a:cubicBezTo>
                  <a:pt x="11088370" y="959674"/>
                  <a:pt x="11101070" y="988249"/>
                  <a:pt x="11119485" y="979994"/>
                </a:cubicBezTo>
                <a:close/>
                <a:moveTo>
                  <a:pt x="11181715" y="951419"/>
                </a:moveTo>
                <a:cubicBezTo>
                  <a:pt x="11205845" y="950784"/>
                  <a:pt x="11198225" y="912684"/>
                  <a:pt x="11176000" y="921574"/>
                </a:cubicBezTo>
                <a:cubicBezTo>
                  <a:pt x="11160125" y="927924"/>
                  <a:pt x="11165840" y="952054"/>
                  <a:pt x="11181715" y="951419"/>
                </a:cubicBezTo>
                <a:close/>
                <a:moveTo>
                  <a:pt x="9165590" y="2393504"/>
                </a:moveTo>
                <a:cubicBezTo>
                  <a:pt x="9140825" y="2405569"/>
                  <a:pt x="9160510" y="2444304"/>
                  <a:pt x="9184640" y="2430969"/>
                </a:cubicBezTo>
                <a:cubicBezTo>
                  <a:pt x="9209405" y="2418904"/>
                  <a:pt x="9189720" y="2380804"/>
                  <a:pt x="9165590" y="2393504"/>
                </a:cubicBezTo>
                <a:close/>
                <a:moveTo>
                  <a:pt x="11125835" y="663129"/>
                </a:moveTo>
                <a:cubicBezTo>
                  <a:pt x="11102340" y="677734"/>
                  <a:pt x="11125835" y="713929"/>
                  <a:pt x="11148695" y="698688"/>
                </a:cubicBezTo>
                <a:cubicBezTo>
                  <a:pt x="11172190" y="684084"/>
                  <a:pt x="11148695" y="647888"/>
                  <a:pt x="11125835" y="663129"/>
                </a:cubicBezTo>
                <a:close/>
                <a:moveTo>
                  <a:pt x="11250930" y="970469"/>
                </a:moveTo>
                <a:cubicBezTo>
                  <a:pt x="11233785" y="976184"/>
                  <a:pt x="11243310" y="1003488"/>
                  <a:pt x="11260455" y="997138"/>
                </a:cubicBezTo>
                <a:cubicBezTo>
                  <a:pt x="11277600" y="991424"/>
                  <a:pt x="11268710" y="964119"/>
                  <a:pt x="11250930" y="970469"/>
                </a:cubicBezTo>
                <a:close/>
                <a:moveTo>
                  <a:pt x="11176635" y="1075244"/>
                </a:moveTo>
                <a:cubicBezTo>
                  <a:pt x="11160760" y="1080324"/>
                  <a:pt x="11169015" y="1104454"/>
                  <a:pt x="11184890" y="1099374"/>
                </a:cubicBezTo>
                <a:cubicBezTo>
                  <a:pt x="11200130" y="1094929"/>
                  <a:pt x="11191875" y="1070163"/>
                  <a:pt x="11176635" y="1075244"/>
                </a:cubicBezTo>
                <a:close/>
                <a:moveTo>
                  <a:pt x="11236960" y="1056194"/>
                </a:moveTo>
                <a:cubicBezTo>
                  <a:pt x="11221085" y="1060638"/>
                  <a:pt x="11228705" y="1085404"/>
                  <a:pt x="11244580" y="1080324"/>
                </a:cubicBezTo>
                <a:cubicBezTo>
                  <a:pt x="11260455" y="1075879"/>
                  <a:pt x="11252835" y="1051113"/>
                  <a:pt x="11236960" y="1056194"/>
                </a:cubicBezTo>
                <a:close/>
                <a:moveTo>
                  <a:pt x="11297920" y="1037779"/>
                </a:moveTo>
                <a:cubicBezTo>
                  <a:pt x="11282045" y="1042224"/>
                  <a:pt x="11289665" y="1066988"/>
                  <a:pt x="11304905" y="1061909"/>
                </a:cubicBezTo>
                <a:cubicBezTo>
                  <a:pt x="11320780" y="1057463"/>
                  <a:pt x="11313795" y="1032699"/>
                  <a:pt x="11297920" y="1037779"/>
                </a:cubicBezTo>
                <a:close/>
                <a:moveTo>
                  <a:pt x="11298555" y="736154"/>
                </a:moveTo>
                <a:cubicBezTo>
                  <a:pt x="11289030" y="714563"/>
                  <a:pt x="11254740" y="730438"/>
                  <a:pt x="11265535" y="751394"/>
                </a:cubicBezTo>
                <a:cubicBezTo>
                  <a:pt x="11275060" y="772984"/>
                  <a:pt x="11308715" y="757109"/>
                  <a:pt x="11298555" y="736154"/>
                </a:cubicBezTo>
                <a:close/>
                <a:moveTo>
                  <a:pt x="11645265" y="696149"/>
                </a:moveTo>
                <a:cubicBezTo>
                  <a:pt x="11640185" y="674559"/>
                  <a:pt x="11606530" y="683449"/>
                  <a:pt x="11612245" y="705038"/>
                </a:cubicBezTo>
                <a:cubicBezTo>
                  <a:pt x="11617960" y="725994"/>
                  <a:pt x="11650980" y="717104"/>
                  <a:pt x="11645265" y="696149"/>
                </a:cubicBezTo>
                <a:close/>
                <a:moveTo>
                  <a:pt x="11230610" y="695513"/>
                </a:moveTo>
                <a:cubicBezTo>
                  <a:pt x="11218545" y="672654"/>
                  <a:pt x="11182985" y="692338"/>
                  <a:pt x="11196320" y="714563"/>
                </a:cubicBezTo>
                <a:cubicBezTo>
                  <a:pt x="11207750" y="737424"/>
                  <a:pt x="11243310" y="717738"/>
                  <a:pt x="11230610" y="695513"/>
                </a:cubicBezTo>
                <a:close/>
                <a:moveTo>
                  <a:pt x="11195685" y="764729"/>
                </a:moveTo>
                <a:cubicBezTo>
                  <a:pt x="11174095" y="775524"/>
                  <a:pt x="11191240" y="808544"/>
                  <a:pt x="11212195" y="797749"/>
                </a:cubicBezTo>
                <a:cubicBezTo>
                  <a:pt x="11233785" y="787588"/>
                  <a:pt x="11217275" y="753934"/>
                  <a:pt x="11195685" y="764729"/>
                </a:cubicBezTo>
                <a:close/>
                <a:moveTo>
                  <a:pt x="11723370" y="677099"/>
                </a:moveTo>
                <a:cubicBezTo>
                  <a:pt x="11718925" y="655509"/>
                  <a:pt x="11685270" y="663129"/>
                  <a:pt x="11690350" y="684719"/>
                </a:cubicBezTo>
                <a:cubicBezTo>
                  <a:pt x="11695430" y="706309"/>
                  <a:pt x="11728450" y="698054"/>
                  <a:pt x="11723370" y="677099"/>
                </a:cubicBezTo>
                <a:close/>
                <a:moveTo>
                  <a:pt x="12066270" y="809179"/>
                </a:moveTo>
                <a:cubicBezTo>
                  <a:pt x="12047855" y="809813"/>
                  <a:pt x="12049760" y="839024"/>
                  <a:pt x="12067540" y="837119"/>
                </a:cubicBezTo>
                <a:lnTo>
                  <a:pt x="12067540" y="837119"/>
                </a:lnTo>
                <a:cubicBezTo>
                  <a:pt x="12085955" y="836484"/>
                  <a:pt x="12084685" y="807909"/>
                  <a:pt x="12066270" y="809179"/>
                </a:cubicBezTo>
                <a:close/>
                <a:moveTo>
                  <a:pt x="12103100" y="605979"/>
                </a:moveTo>
                <a:cubicBezTo>
                  <a:pt x="12080875" y="606613"/>
                  <a:pt x="12083415" y="641538"/>
                  <a:pt x="12105005" y="639634"/>
                </a:cubicBezTo>
                <a:cubicBezTo>
                  <a:pt x="12127230" y="638999"/>
                  <a:pt x="12125325" y="604074"/>
                  <a:pt x="12103100" y="605979"/>
                </a:cubicBezTo>
                <a:close/>
                <a:moveTo>
                  <a:pt x="12113895" y="907604"/>
                </a:moveTo>
                <a:cubicBezTo>
                  <a:pt x="12097385" y="907604"/>
                  <a:pt x="12098020" y="933638"/>
                  <a:pt x="12114530" y="933004"/>
                </a:cubicBezTo>
                <a:cubicBezTo>
                  <a:pt x="12131040" y="933004"/>
                  <a:pt x="12130405" y="906969"/>
                  <a:pt x="12113895" y="907604"/>
                </a:cubicBezTo>
                <a:close/>
                <a:moveTo>
                  <a:pt x="12050395" y="910144"/>
                </a:moveTo>
                <a:cubicBezTo>
                  <a:pt x="12033885" y="910779"/>
                  <a:pt x="12035155" y="936813"/>
                  <a:pt x="12051665" y="935544"/>
                </a:cubicBezTo>
                <a:cubicBezTo>
                  <a:pt x="12068175" y="934909"/>
                  <a:pt x="12066905" y="909509"/>
                  <a:pt x="12050395" y="910144"/>
                </a:cubicBezTo>
                <a:close/>
                <a:moveTo>
                  <a:pt x="12049760" y="741234"/>
                </a:moveTo>
                <a:cubicBezTo>
                  <a:pt x="12070715" y="741234"/>
                  <a:pt x="12069445" y="708213"/>
                  <a:pt x="12048490" y="710119"/>
                </a:cubicBezTo>
                <a:cubicBezTo>
                  <a:pt x="12029440" y="710754"/>
                  <a:pt x="12030710" y="741234"/>
                  <a:pt x="12049760" y="741234"/>
                </a:cubicBezTo>
                <a:close/>
                <a:moveTo>
                  <a:pt x="12135485" y="806004"/>
                </a:moveTo>
                <a:cubicBezTo>
                  <a:pt x="12117070" y="806638"/>
                  <a:pt x="12118340" y="835213"/>
                  <a:pt x="12136120" y="833944"/>
                </a:cubicBezTo>
                <a:cubicBezTo>
                  <a:pt x="12154535" y="833944"/>
                  <a:pt x="12153900" y="805369"/>
                  <a:pt x="12135485" y="806004"/>
                </a:cubicBezTo>
                <a:close/>
                <a:moveTo>
                  <a:pt x="11997055" y="813624"/>
                </a:moveTo>
                <a:cubicBezTo>
                  <a:pt x="11978640" y="814894"/>
                  <a:pt x="11981180" y="843469"/>
                  <a:pt x="11999595" y="841563"/>
                </a:cubicBezTo>
                <a:cubicBezTo>
                  <a:pt x="12017375" y="840929"/>
                  <a:pt x="12014835" y="812354"/>
                  <a:pt x="11997055" y="813624"/>
                </a:cubicBezTo>
                <a:close/>
                <a:moveTo>
                  <a:pt x="11669395" y="872679"/>
                </a:moveTo>
                <a:cubicBezTo>
                  <a:pt x="11666220" y="854899"/>
                  <a:pt x="11637645" y="859979"/>
                  <a:pt x="11641455" y="878394"/>
                </a:cubicBezTo>
                <a:cubicBezTo>
                  <a:pt x="11645265" y="896174"/>
                  <a:pt x="11673205" y="890459"/>
                  <a:pt x="11669395" y="872679"/>
                </a:cubicBezTo>
                <a:close/>
                <a:moveTo>
                  <a:pt x="12040870" y="627569"/>
                </a:moveTo>
                <a:cubicBezTo>
                  <a:pt x="12038965" y="605979"/>
                  <a:pt x="12004675" y="609154"/>
                  <a:pt x="12007215" y="630744"/>
                </a:cubicBezTo>
                <a:cubicBezTo>
                  <a:pt x="12009120" y="652969"/>
                  <a:pt x="12043410" y="649159"/>
                  <a:pt x="12040870" y="627569"/>
                </a:cubicBezTo>
                <a:close/>
                <a:moveTo>
                  <a:pt x="12192000" y="238949"/>
                </a:moveTo>
                <a:lnTo>
                  <a:pt x="12192000" y="198944"/>
                </a:lnTo>
                <a:cubicBezTo>
                  <a:pt x="12176760" y="207199"/>
                  <a:pt x="12177395" y="231329"/>
                  <a:pt x="12192000" y="238949"/>
                </a:cubicBezTo>
                <a:close/>
                <a:moveTo>
                  <a:pt x="12167235" y="619949"/>
                </a:moveTo>
                <a:cubicBezTo>
                  <a:pt x="12167235" y="633919"/>
                  <a:pt x="12181840" y="638999"/>
                  <a:pt x="12192000" y="634554"/>
                </a:cubicBezTo>
                <a:lnTo>
                  <a:pt x="12192000" y="604709"/>
                </a:lnTo>
                <a:cubicBezTo>
                  <a:pt x="12181840" y="600263"/>
                  <a:pt x="12167235" y="605344"/>
                  <a:pt x="12167235" y="619949"/>
                </a:cubicBezTo>
                <a:close/>
                <a:moveTo>
                  <a:pt x="11974195" y="716469"/>
                </a:moveTo>
                <a:cubicBezTo>
                  <a:pt x="11953875" y="718374"/>
                  <a:pt x="11957050" y="749488"/>
                  <a:pt x="11977370" y="747584"/>
                </a:cubicBezTo>
                <a:cubicBezTo>
                  <a:pt x="11997055" y="745679"/>
                  <a:pt x="11993880" y="713929"/>
                  <a:pt x="11974195" y="716469"/>
                </a:cubicBezTo>
                <a:close/>
                <a:moveTo>
                  <a:pt x="12192000" y="537399"/>
                </a:moveTo>
                <a:lnTo>
                  <a:pt x="12192000" y="501204"/>
                </a:lnTo>
                <a:cubicBezTo>
                  <a:pt x="12171045" y="503108"/>
                  <a:pt x="12171680" y="535494"/>
                  <a:pt x="12192000" y="537399"/>
                </a:cubicBezTo>
                <a:close/>
                <a:moveTo>
                  <a:pt x="12192000" y="143063"/>
                </a:moveTo>
                <a:lnTo>
                  <a:pt x="12192000" y="96074"/>
                </a:lnTo>
                <a:cubicBezTo>
                  <a:pt x="12167235" y="99883"/>
                  <a:pt x="12167870" y="138619"/>
                  <a:pt x="12192000" y="143063"/>
                </a:cubicBezTo>
                <a:close/>
                <a:moveTo>
                  <a:pt x="12192000" y="823149"/>
                </a:moveTo>
                <a:lnTo>
                  <a:pt x="12192000" y="814894"/>
                </a:lnTo>
                <a:cubicBezTo>
                  <a:pt x="12191365" y="817434"/>
                  <a:pt x="12191365" y="820609"/>
                  <a:pt x="12192000" y="823149"/>
                </a:cubicBezTo>
                <a:close/>
                <a:moveTo>
                  <a:pt x="12178030" y="906334"/>
                </a:moveTo>
                <a:cubicBezTo>
                  <a:pt x="12161520" y="906334"/>
                  <a:pt x="12161520" y="932369"/>
                  <a:pt x="12178665" y="931734"/>
                </a:cubicBezTo>
                <a:cubicBezTo>
                  <a:pt x="12194540" y="931734"/>
                  <a:pt x="12194540" y="905699"/>
                  <a:pt x="12178030" y="906334"/>
                </a:cubicBezTo>
                <a:close/>
                <a:moveTo>
                  <a:pt x="12170410" y="400238"/>
                </a:moveTo>
                <a:cubicBezTo>
                  <a:pt x="12145010" y="400874"/>
                  <a:pt x="12146915" y="441513"/>
                  <a:pt x="12172315" y="439608"/>
                </a:cubicBezTo>
                <a:cubicBezTo>
                  <a:pt x="12197715" y="438974"/>
                  <a:pt x="12195810" y="398969"/>
                  <a:pt x="12170410" y="400238"/>
                </a:cubicBezTo>
                <a:close/>
                <a:moveTo>
                  <a:pt x="12192000" y="732979"/>
                </a:moveTo>
                <a:lnTo>
                  <a:pt x="12192000" y="705038"/>
                </a:lnTo>
                <a:cubicBezTo>
                  <a:pt x="12181840" y="710754"/>
                  <a:pt x="12181840" y="727263"/>
                  <a:pt x="12192000" y="732979"/>
                </a:cubicBezTo>
                <a:close/>
                <a:moveTo>
                  <a:pt x="11986895" y="914588"/>
                </a:moveTo>
                <a:cubicBezTo>
                  <a:pt x="11970385" y="915224"/>
                  <a:pt x="11972290" y="941259"/>
                  <a:pt x="11988800" y="939988"/>
                </a:cubicBezTo>
                <a:cubicBezTo>
                  <a:pt x="12004675" y="938719"/>
                  <a:pt x="12003405" y="912684"/>
                  <a:pt x="11986895" y="914588"/>
                </a:cubicBezTo>
                <a:close/>
                <a:moveTo>
                  <a:pt x="11750675" y="748854"/>
                </a:moveTo>
                <a:cubicBezTo>
                  <a:pt x="11730990" y="752029"/>
                  <a:pt x="11736705" y="783144"/>
                  <a:pt x="11756390" y="779334"/>
                </a:cubicBezTo>
                <a:cubicBezTo>
                  <a:pt x="11776075" y="775524"/>
                  <a:pt x="11770360" y="744409"/>
                  <a:pt x="11750675" y="748854"/>
                </a:cubicBezTo>
                <a:close/>
                <a:moveTo>
                  <a:pt x="11788775" y="680274"/>
                </a:moveTo>
                <a:cubicBezTo>
                  <a:pt x="11810365" y="676463"/>
                  <a:pt x="11804015" y="642809"/>
                  <a:pt x="11782425" y="647254"/>
                </a:cubicBezTo>
                <a:cubicBezTo>
                  <a:pt x="11760200" y="651063"/>
                  <a:pt x="11767185" y="685354"/>
                  <a:pt x="11788775" y="680274"/>
                </a:cubicBezTo>
                <a:close/>
                <a:moveTo>
                  <a:pt x="11733530" y="941894"/>
                </a:moveTo>
                <a:cubicBezTo>
                  <a:pt x="11717020" y="943799"/>
                  <a:pt x="11721465" y="969834"/>
                  <a:pt x="11737340" y="967294"/>
                </a:cubicBezTo>
                <a:cubicBezTo>
                  <a:pt x="11753215" y="964754"/>
                  <a:pt x="11749405" y="939354"/>
                  <a:pt x="11733530" y="941894"/>
                </a:cubicBezTo>
                <a:close/>
                <a:moveTo>
                  <a:pt x="11793855" y="865694"/>
                </a:moveTo>
                <a:cubicBezTo>
                  <a:pt x="11812270" y="863154"/>
                  <a:pt x="11807825" y="834579"/>
                  <a:pt x="11789410" y="837754"/>
                </a:cubicBezTo>
                <a:cubicBezTo>
                  <a:pt x="11771630" y="840294"/>
                  <a:pt x="11776075" y="868869"/>
                  <a:pt x="11793855" y="865694"/>
                </a:cubicBezTo>
                <a:close/>
                <a:moveTo>
                  <a:pt x="11725910" y="876488"/>
                </a:moveTo>
                <a:cubicBezTo>
                  <a:pt x="11743690" y="873313"/>
                  <a:pt x="11739245" y="845374"/>
                  <a:pt x="11720830" y="848549"/>
                </a:cubicBezTo>
                <a:cubicBezTo>
                  <a:pt x="11703050" y="851724"/>
                  <a:pt x="11708130" y="879663"/>
                  <a:pt x="11725910" y="876488"/>
                </a:cubicBezTo>
                <a:close/>
                <a:moveTo>
                  <a:pt x="11670665" y="952054"/>
                </a:moveTo>
                <a:cubicBezTo>
                  <a:pt x="11654155" y="954594"/>
                  <a:pt x="11658600" y="979994"/>
                  <a:pt x="11675110" y="976819"/>
                </a:cubicBezTo>
                <a:cubicBezTo>
                  <a:pt x="11690985" y="974913"/>
                  <a:pt x="11686540" y="948879"/>
                  <a:pt x="11670665" y="952054"/>
                </a:cubicBezTo>
                <a:close/>
                <a:moveTo>
                  <a:pt x="11796395" y="933004"/>
                </a:moveTo>
                <a:cubicBezTo>
                  <a:pt x="11779885" y="934909"/>
                  <a:pt x="11783695" y="960309"/>
                  <a:pt x="11799570" y="958404"/>
                </a:cubicBezTo>
                <a:lnTo>
                  <a:pt x="11799570" y="958404"/>
                </a:lnTo>
                <a:cubicBezTo>
                  <a:pt x="11816080" y="956499"/>
                  <a:pt x="11812905" y="931099"/>
                  <a:pt x="11796395" y="933004"/>
                </a:cubicBezTo>
                <a:close/>
                <a:moveTo>
                  <a:pt x="5067300" y="844738"/>
                </a:moveTo>
                <a:cubicBezTo>
                  <a:pt x="5047615" y="841563"/>
                  <a:pt x="5042535" y="872679"/>
                  <a:pt x="5062855" y="875219"/>
                </a:cubicBezTo>
                <a:cubicBezTo>
                  <a:pt x="5082540" y="878394"/>
                  <a:pt x="5087620" y="847279"/>
                  <a:pt x="5067300" y="844738"/>
                </a:cubicBezTo>
                <a:close/>
                <a:moveTo>
                  <a:pt x="11088370" y="649159"/>
                </a:moveTo>
                <a:cubicBezTo>
                  <a:pt x="11045190" y="608519"/>
                  <a:pt x="11030585" y="707579"/>
                  <a:pt x="11083925" y="680909"/>
                </a:cubicBezTo>
                <a:lnTo>
                  <a:pt x="11083925" y="680909"/>
                </a:lnTo>
                <a:cubicBezTo>
                  <a:pt x="11093450" y="673288"/>
                  <a:pt x="11095990" y="658684"/>
                  <a:pt x="11088370" y="649159"/>
                </a:cubicBezTo>
                <a:close/>
                <a:moveTo>
                  <a:pt x="11960860" y="635824"/>
                </a:moveTo>
                <a:cubicBezTo>
                  <a:pt x="11958320" y="614234"/>
                  <a:pt x="11924030" y="618044"/>
                  <a:pt x="11927205" y="640269"/>
                </a:cubicBezTo>
                <a:cubicBezTo>
                  <a:pt x="11929745" y="661859"/>
                  <a:pt x="11964035" y="657413"/>
                  <a:pt x="11960860" y="635824"/>
                </a:cubicBezTo>
                <a:close/>
                <a:moveTo>
                  <a:pt x="11916410" y="738694"/>
                </a:moveTo>
                <a:cubicBezTo>
                  <a:pt x="11904345" y="699959"/>
                  <a:pt x="11862435" y="754569"/>
                  <a:pt x="11903075" y="755838"/>
                </a:cubicBezTo>
                <a:lnTo>
                  <a:pt x="11903075" y="755838"/>
                </a:lnTo>
                <a:cubicBezTo>
                  <a:pt x="11911965" y="754569"/>
                  <a:pt x="11917680" y="746949"/>
                  <a:pt x="11916410" y="738694"/>
                </a:cubicBezTo>
                <a:close/>
                <a:moveTo>
                  <a:pt x="11923395" y="919669"/>
                </a:moveTo>
                <a:cubicBezTo>
                  <a:pt x="11906885" y="920938"/>
                  <a:pt x="11909425" y="946974"/>
                  <a:pt x="11925935" y="945069"/>
                </a:cubicBezTo>
                <a:cubicBezTo>
                  <a:pt x="11941810" y="943163"/>
                  <a:pt x="11939905" y="917763"/>
                  <a:pt x="11923395" y="919669"/>
                </a:cubicBezTo>
                <a:close/>
                <a:moveTo>
                  <a:pt x="11927840" y="819974"/>
                </a:moveTo>
                <a:cubicBezTo>
                  <a:pt x="11909425" y="821244"/>
                  <a:pt x="11912600" y="850454"/>
                  <a:pt x="11931015" y="847913"/>
                </a:cubicBezTo>
                <a:cubicBezTo>
                  <a:pt x="11948795" y="846644"/>
                  <a:pt x="11945620" y="818069"/>
                  <a:pt x="11927840" y="819974"/>
                </a:cubicBezTo>
                <a:close/>
                <a:moveTo>
                  <a:pt x="11901805" y="471358"/>
                </a:moveTo>
                <a:lnTo>
                  <a:pt x="11901805" y="471358"/>
                </a:lnTo>
                <a:cubicBezTo>
                  <a:pt x="11927205" y="466913"/>
                  <a:pt x="11919585" y="427544"/>
                  <a:pt x="11894185" y="432624"/>
                </a:cubicBezTo>
                <a:cubicBezTo>
                  <a:pt x="11869420" y="437069"/>
                  <a:pt x="11877040" y="476438"/>
                  <a:pt x="11901805" y="471358"/>
                </a:cubicBezTo>
                <a:close/>
                <a:moveTo>
                  <a:pt x="11861800" y="633284"/>
                </a:moveTo>
                <a:cubicBezTo>
                  <a:pt x="11840210" y="636459"/>
                  <a:pt x="11845925" y="670749"/>
                  <a:pt x="11867515" y="666938"/>
                </a:cubicBezTo>
                <a:cubicBezTo>
                  <a:pt x="11889105" y="663129"/>
                  <a:pt x="11883390" y="628838"/>
                  <a:pt x="11861800" y="633284"/>
                </a:cubicBezTo>
                <a:close/>
                <a:moveTo>
                  <a:pt x="11824970" y="735519"/>
                </a:moveTo>
                <a:cubicBezTo>
                  <a:pt x="11804650" y="738059"/>
                  <a:pt x="11809730" y="769809"/>
                  <a:pt x="11830050" y="765999"/>
                </a:cubicBezTo>
                <a:cubicBezTo>
                  <a:pt x="11849735" y="763459"/>
                  <a:pt x="11844655" y="732344"/>
                  <a:pt x="11824970" y="735519"/>
                </a:cubicBezTo>
                <a:close/>
                <a:moveTo>
                  <a:pt x="11859895" y="925384"/>
                </a:moveTo>
                <a:cubicBezTo>
                  <a:pt x="11843385" y="926654"/>
                  <a:pt x="11846560" y="952688"/>
                  <a:pt x="11862435" y="950784"/>
                </a:cubicBezTo>
                <a:cubicBezTo>
                  <a:pt x="11878945" y="949513"/>
                  <a:pt x="11876405" y="923479"/>
                  <a:pt x="11859895" y="925384"/>
                </a:cubicBezTo>
                <a:close/>
                <a:moveTo>
                  <a:pt x="11858625" y="828229"/>
                </a:moveTo>
                <a:cubicBezTo>
                  <a:pt x="11840210" y="830134"/>
                  <a:pt x="11844020" y="858709"/>
                  <a:pt x="11862435" y="856169"/>
                </a:cubicBezTo>
                <a:cubicBezTo>
                  <a:pt x="11880215" y="854263"/>
                  <a:pt x="11877040" y="825688"/>
                  <a:pt x="11858625" y="828229"/>
                </a:cubicBezTo>
                <a:close/>
                <a:moveTo>
                  <a:pt x="11116310" y="1096199"/>
                </a:moveTo>
                <a:cubicBezTo>
                  <a:pt x="11100435" y="1101279"/>
                  <a:pt x="11109325" y="1126044"/>
                  <a:pt x="11124565" y="1120329"/>
                </a:cubicBezTo>
                <a:cubicBezTo>
                  <a:pt x="11140440" y="1114613"/>
                  <a:pt x="11131550" y="1090484"/>
                  <a:pt x="11116310" y="1096199"/>
                </a:cubicBezTo>
                <a:close/>
                <a:moveTo>
                  <a:pt x="9740900" y="2080449"/>
                </a:moveTo>
                <a:cubicBezTo>
                  <a:pt x="9748520" y="2020124"/>
                  <a:pt x="9658985" y="2070288"/>
                  <a:pt x="9714230" y="2095688"/>
                </a:cubicBezTo>
                <a:cubicBezTo>
                  <a:pt x="9703435" y="2162364"/>
                  <a:pt x="9803130" y="2106484"/>
                  <a:pt x="9740900" y="2080449"/>
                </a:cubicBezTo>
                <a:close/>
                <a:moveTo>
                  <a:pt x="9907270" y="1820734"/>
                </a:moveTo>
                <a:cubicBezTo>
                  <a:pt x="9890125" y="1801684"/>
                  <a:pt x="9860915" y="1829624"/>
                  <a:pt x="9878695" y="1848038"/>
                </a:cubicBezTo>
                <a:cubicBezTo>
                  <a:pt x="9896475" y="1866454"/>
                  <a:pt x="9925685" y="1839149"/>
                  <a:pt x="9907270" y="1820734"/>
                </a:cubicBezTo>
                <a:close/>
                <a:moveTo>
                  <a:pt x="9948545" y="1896299"/>
                </a:moveTo>
                <a:cubicBezTo>
                  <a:pt x="9922510" y="1875979"/>
                  <a:pt x="9891395" y="1916619"/>
                  <a:pt x="9917430" y="1936304"/>
                </a:cubicBezTo>
                <a:cubicBezTo>
                  <a:pt x="9942830" y="1957259"/>
                  <a:pt x="9974580" y="1916619"/>
                  <a:pt x="9948545" y="1896299"/>
                </a:cubicBezTo>
                <a:close/>
                <a:moveTo>
                  <a:pt x="10033635" y="1755329"/>
                </a:moveTo>
                <a:cubicBezTo>
                  <a:pt x="10031095" y="1753424"/>
                  <a:pt x="10027920" y="1751519"/>
                  <a:pt x="10024745" y="1750884"/>
                </a:cubicBezTo>
                <a:cubicBezTo>
                  <a:pt x="10030460" y="1736913"/>
                  <a:pt x="10016490" y="1720404"/>
                  <a:pt x="10001250" y="1723579"/>
                </a:cubicBezTo>
                <a:cubicBezTo>
                  <a:pt x="10000615" y="1720404"/>
                  <a:pt x="9999345" y="1717863"/>
                  <a:pt x="9997440" y="1715324"/>
                </a:cubicBezTo>
                <a:cubicBezTo>
                  <a:pt x="9999980" y="1715324"/>
                  <a:pt x="10003155" y="1714688"/>
                  <a:pt x="10005695" y="1712784"/>
                </a:cubicBezTo>
                <a:cubicBezTo>
                  <a:pt x="10039985" y="1759774"/>
                  <a:pt x="10063480" y="1664524"/>
                  <a:pt x="10011410" y="1689924"/>
                </a:cubicBezTo>
                <a:cubicBezTo>
                  <a:pt x="10009505" y="1686113"/>
                  <a:pt x="10005695" y="1683574"/>
                  <a:pt x="10001885" y="1682304"/>
                </a:cubicBezTo>
                <a:cubicBezTo>
                  <a:pt x="10001885" y="1657538"/>
                  <a:pt x="9968230" y="1657538"/>
                  <a:pt x="9973945" y="1683574"/>
                </a:cubicBezTo>
                <a:cubicBezTo>
                  <a:pt x="9966325" y="1691194"/>
                  <a:pt x="9969500" y="1705799"/>
                  <a:pt x="9979660" y="1708974"/>
                </a:cubicBezTo>
                <a:cubicBezTo>
                  <a:pt x="9958070" y="1712784"/>
                  <a:pt x="9961880" y="1746438"/>
                  <a:pt x="9983470" y="1745169"/>
                </a:cubicBezTo>
                <a:cubicBezTo>
                  <a:pt x="9983470" y="1748344"/>
                  <a:pt x="9984740" y="1752154"/>
                  <a:pt x="9986010" y="1754694"/>
                </a:cubicBezTo>
                <a:cubicBezTo>
                  <a:pt x="9982200" y="1757234"/>
                  <a:pt x="9979025" y="1761679"/>
                  <a:pt x="9977755" y="1766124"/>
                </a:cubicBezTo>
                <a:cubicBezTo>
                  <a:pt x="9975850" y="1754694"/>
                  <a:pt x="9961880" y="1747074"/>
                  <a:pt x="9951085" y="1751519"/>
                </a:cubicBezTo>
                <a:cubicBezTo>
                  <a:pt x="9952355" y="1743899"/>
                  <a:pt x="9946640" y="1735009"/>
                  <a:pt x="9938385" y="1733104"/>
                </a:cubicBezTo>
                <a:cubicBezTo>
                  <a:pt x="9937750" y="1731834"/>
                  <a:pt x="9937750" y="1731199"/>
                  <a:pt x="9937115" y="1730563"/>
                </a:cubicBezTo>
                <a:cubicBezTo>
                  <a:pt x="9942830" y="1726119"/>
                  <a:pt x="9944735" y="1717863"/>
                  <a:pt x="9940925" y="1711513"/>
                </a:cubicBezTo>
                <a:cubicBezTo>
                  <a:pt x="9947275" y="1701354"/>
                  <a:pt x="9934575" y="1688019"/>
                  <a:pt x="9923780" y="1694369"/>
                </a:cubicBezTo>
                <a:cubicBezTo>
                  <a:pt x="9918065" y="1696909"/>
                  <a:pt x="9915525" y="1704529"/>
                  <a:pt x="9918065" y="1710244"/>
                </a:cubicBezTo>
                <a:cubicBezTo>
                  <a:pt x="9914890" y="1714688"/>
                  <a:pt x="9914255" y="1720404"/>
                  <a:pt x="9916795" y="1725484"/>
                </a:cubicBezTo>
                <a:cubicBezTo>
                  <a:pt x="9906000" y="1731199"/>
                  <a:pt x="9907270" y="1748344"/>
                  <a:pt x="9918065" y="1752788"/>
                </a:cubicBezTo>
                <a:cubicBezTo>
                  <a:pt x="9919335" y="1762313"/>
                  <a:pt x="9930130" y="1768663"/>
                  <a:pt x="9939020" y="1765488"/>
                </a:cubicBezTo>
                <a:cubicBezTo>
                  <a:pt x="9933305" y="1788984"/>
                  <a:pt x="9970135" y="1799144"/>
                  <a:pt x="9977120" y="1775649"/>
                </a:cubicBezTo>
                <a:cubicBezTo>
                  <a:pt x="9978390" y="1788349"/>
                  <a:pt x="9992995" y="1797874"/>
                  <a:pt x="10005060" y="1794063"/>
                </a:cubicBezTo>
                <a:cubicBezTo>
                  <a:pt x="10030460" y="1811209"/>
                  <a:pt x="10057765" y="1773744"/>
                  <a:pt x="10033635" y="1755329"/>
                </a:cubicBezTo>
                <a:close/>
                <a:moveTo>
                  <a:pt x="10016490" y="1804859"/>
                </a:moveTo>
                <a:cubicBezTo>
                  <a:pt x="9990455" y="1785174"/>
                  <a:pt x="9959340" y="1826449"/>
                  <a:pt x="9986645" y="1845499"/>
                </a:cubicBezTo>
                <a:cubicBezTo>
                  <a:pt x="10012680" y="1865819"/>
                  <a:pt x="10043795" y="1823909"/>
                  <a:pt x="10016490" y="1804859"/>
                </a:cubicBezTo>
                <a:close/>
                <a:moveTo>
                  <a:pt x="9884410" y="1919159"/>
                </a:moveTo>
                <a:cubicBezTo>
                  <a:pt x="9882505" y="1914079"/>
                  <a:pt x="9878060" y="1908999"/>
                  <a:pt x="9872980" y="1907094"/>
                </a:cubicBezTo>
                <a:cubicBezTo>
                  <a:pt x="9944100" y="1868359"/>
                  <a:pt x="9807575" y="1844229"/>
                  <a:pt x="9860915" y="1905188"/>
                </a:cubicBezTo>
                <a:cubicBezTo>
                  <a:pt x="9836150" y="1907094"/>
                  <a:pt x="9833610" y="1945194"/>
                  <a:pt x="9858375" y="1949638"/>
                </a:cubicBezTo>
                <a:cubicBezTo>
                  <a:pt x="9877425" y="1999169"/>
                  <a:pt x="9937115" y="1931224"/>
                  <a:pt x="9884410" y="1919159"/>
                </a:cubicBezTo>
                <a:close/>
                <a:moveTo>
                  <a:pt x="9769475" y="2077909"/>
                </a:moveTo>
                <a:cubicBezTo>
                  <a:pt x="9747885" y="2102674"/>
                  <a:pt x="9787255" y="2136329"/>
                  <a:pt x="9808210" y="2110929"/>
                </a:cubicBezTo>
                <a:cubicBezTo>
                  <a:pt x="9829800" y="2086163"/>
                  <a:pt x="9790430" y="2052509"/>
                  <a:pt x="9769475" y="2077909"/>
                </a:cubicBezTo>
                <a:close/>
                <a:moveTo>
                  <a:pt x="9814560" y="2001074"/>
                </a:moveTo>
                <a:cubicBezTo>
                  <a:pt x="9807575" y="1949004"/>
                  <a:pt x="9737090" y="2002979"/>
                  <a:pt x="9785985" y="2023299"/>
                </a:cubicBezTo>
                <a:cubicBezTo>
                  <a:pt x="9791065" y="2082354"/>
                  <a:pt x="9870440" y="2021394"/>
                  <a:pt x="9814560" y="2001074"/>
                </a:cubicBezTo>
                <a:close/>
                <a:moveTo>
                  <a:pt x="9878060" y="1986469"/>
                </a:moveTo>
                <a:cubicBezTo>
                  <a:pt x="9852660" y="1965513"/>
                  <a:pt x="9820275" y="2005519"/>
                  <a:pt x="9846310" y="2025838"/>
                </a:cubicBezTo>
                <a:cubicBezTo>
                  <a:pt x="9871075" y="2047429"/>
                  <a:pt x="9904095" y="2006788"/>
                  <a:pt x="9878060" y="1986469"/>
                </a:cubicBezTo>
                <a:close/>
                <a:moveTo>
                  <a:pt x="9949180" y="1835338"/>
                </a:moveTo>
                <a:cubicBezTo>
                  <a:pt x="9949180" y="1834704"/>
                  <a:pt x="9948545" y="1834704"/>
                  <a:pt x="9948545" y="1834069"/>
                </a:cubicBezTo>
                <a:cubicBezTo>
                  <a:pt x="9950450" y="1832799"/>
                  <a:pt x="9952355" y="1831529"/>
                  <a:pt x="9954260" y="1830259"/>
                </a:cubicBezTo>
                <a:lnTo>
                  <a:pt x="9954260" y="1830259"/>
                </a:lnTo>
                <a:cubicBezTo>
                  <a:pt x="9968230" y="1816288"/>
                  <a:pt x="9954260" y="1790254"/>
                  <a:pt x="9935210" y="1794699"/>
                </a:cubicBezTo>
                <a:cubicBezTo>
                  <a:pt x="9952990" y="1733104"/>
                  <a:pt x="9859645" y="1790254"/>
                  <a:pt x="9922510" y="1802319"/>
                </a:cubicBezTo>
                <a:cubicBezTo>
                  <a:pt x="9916160" y="1810574"/>
                  <a:pt x="9916795" y="1822004"/>
                  <a:pt x="9923780" y="1829624"/>
                </a:cubicBezTo>
                <a:cubicBezTo>
                  <a:pt x="9902825" y="1838513"/>
                  <a:pt x="9909175" y="1872169"/>
                  <a:pt x="9932670" y="1872804"/>
                </a:cubicBezTo>
                <a:cubicBezTo>
                  <a:pt x="9963785" y="1912174"/>
                  <a:pt x="9999980" y="1835338"/>
                  <a:pt x="9949180" y="1835338"/>
                </a:cubicBezTo>
                <a:close/>
                <a:moveTo>
                  <a:pt x="10366375" y="1444179"/>
                </a:moveTo>
                <a:cubicBezTo>
                  <a:pt x="10351770" y="1451799"/>
                  <a:pt x="10364470" y="1474659"/>
                  <a:pt x="10379075" y="1466404"/>
                </a:cubicBezTo>
                <a:cubicBezTo>
                  <a:pt x="10393045" y="1458784"/>
                  <a:pt x="10380345" y="1435924"/>
                  <a:pt x="10366375" y="1444179"/>
                </a:cubicBezTo>
                <a:close/>
                <a:moveTo>
                  <a:pt x="10383520" y="1402269"/>
                </a:moveTo>
                <a:cubicBezTo>
                  <a:pt x="10367645" y="1411794"/>
                  <a:pt x="10383520" y="1435924"/>
                  <a:pt x="10398760" y="1425763"/>
                </a:cubicBezTo>
                <a:cubicBezTo>
                  <a:pt x="10414635" y="1416238"/>
                  <a:pt x="10398760" y="1392109"/>
                  <a:pt x="10383520" y="1402269"/>
                </a:cubicBezTo>
                <a:close/>
                <a:moveTo>
                  <a:pt x="10422255" y="1413699"/>
                </a:moveTo>
                <a:cubicBezTo>
                  <a:pt x="10407650" y="1421319"/>
                  <a:pt x="10420350" y="1444179"/>
                  <a:pt x="10434320" y="1435924"/>
                </a:cubicBezTo>
                <a:cubicBezTo>
                  <a:pt x="10448925" y="1428304"/>
                  <a:pt x="10436225" y="1405444"/>
                  <a:pt x="10422255" y="1413699"/>
                </a:cubicBezTo>
                <a:close/>
                <a:moveTo>
                  <a:pt x="10333990" y="1410524"/>
                </a:moveTo>
                <a:cubicBezTo>
                  <a:pt x="10317480" y="1421954"/>
                  <a:pt x="10336530" y="1447988"/>
                  <a:pt x="10352405" y="1435288"/>
                </a:cubicBezTo>
                <a:cubicBezTo>
                  <a:pt x="10368280" y="1424494"/>
                  <a:pt x="10349865" y="1398459"/>
                  <a:pt x="10333990" y="1410524"/>
                </a:cubicBezTo>
                <a:close/>
                <a:moveTo>
                  <a:pt x="10293350" y="1455609"/>
                </a:moveTo>
                <a:lnTo>
                  <a:pt x="10293350" y="1455609"/>
                </a:lnTo>
                <a:cubicBezTo>
                  <a:pt x="10293985" y="1454974"/>
                  <a:pt x="10295255" y="1453704"/>
                  <a:pt x="10295890" y="1453069"/>
                </a:cubicBezTo>
                <a:cubicBezTo>
                  <a:pt x="10325100" y="1464499"/>
                  <a:pt x="10327005" y="1421319"/>
                  <a:pt x="10302240" y="1414969"/>
                </a:cubicBezTo>
                <a:cubicBezTo>
                  <a:pt x="10290175" y="1395919"/>
                  <a:pt x="10258425" y="1405444"/>
                  <a:pt x="10259060" y="1427669"/>
                </a:cubicBezTo>
                <a:cubicBezTo>
                  <a:pt x="10230485" y="1435288"/>
                  <a:pt x="10236200" y="1482913"/>
                  <a:pt x="10268585" y="1477199"/>
                </a:cubicBezTo>
                <a:cubicBezTo>
                  <a:pt x="10240010" y="1500059"/>
                  <a:pt x="10299700" y="1517838"/>
                  <a:pt x="10287635" y="1482913"/>
                </a:cubicBezTo>
                <a:cubicBezTo>
                  <a:pt x="10299065" y="1479738"/>
                  <a:pt x="10302240" y="1463863"/>
                  <a:pt x="10293350" y="1456244"/>
                </a:cubicBezTo>
                <a:cubicBezTo>
                  <a:pt x="10293350" y="1455609"/>
                  <a:pt x="10293350" y="1455609"/>
                  <a:pt x="10293350" y="1455609"/>
                </a:cubicBezTo>
                <a:close/>
                <a:moveTo>
                  <a:pt x="10252710" y="1501963"/>
                </a:moveTo>
                <a:cubicBezTo>
                  <a:pt x="10278110" y="1476563"/>
                  <a:pt x="10221595" y="1456244"/>
                  <a:pt x="10215880" y="1486724"/>
                </a:cubicBezTo>
                <a:cubicBezTo>
                  <a:pt x="10205085" y="1485454"/>
                  <a:pt x="10197465" y="1494979"/>
                  <a:pt x="10194290" y="1504504"/>
                </a:cubicBezTo>
                <a:cubicBezTo>
                  <a:pt x="10184130" y="1506409"/>
                  <a:pt x="10179685" y="1515934"/>
                  <a:pt x="10175875" y="1524188"/>
                </a:cubicBezTo>
                <a:cubicBezTo>
                  <a:pt x="10172065" y="1524824"/>
                  <a:pt x="10168255" y="1527363"/>
                  <a:pt x="10166350" y="1531174"/>
                </a:cubicBezTo>
                <a:cubicBezTo>
                  <a:pt x="10160000" y="1532444"/>
                  <a:pt x="10154285" y="1538794"/>
                  <a:pt x="10153015" y="1545144"/>
                </a:cubicBezTo>
                <a:cubicBezTo>
                  <a:pt x="10150475" y="1547049"/>
                  <a:pt x="10149205" y="1549588"/>
                  <a:pt x="10147935" y="1552763"/>
                </a:cubicBezTo>
                <a:cubicBezTo>
                  <a:pt x="10136505" y="1554034"/>
                  <a:pt x="10128250" y="1566734"/>
                  <a:pt x="10132060" y="1577529"/>
                </a:cubicBezTo>
                <a:cubicBezTo>
                  <a:pt x="10130790" y="1577529"/>
                  <a:pt x="10128885" y="1578163"/>
                  <a:pt x="10127615" y="1578799"/>
                </a:cubicBezTo>
                <a:cubicBezTo>
                  <a:pt x="10121265" y="1575624"/>
                  <a:pt x="10113645" y="1575624"/>
                  <a:pt x="10107930" y="1580704"/>
                </a:cubicBezTo>
                <a:cubicBezTo>
                  <a:pt x="10107930" y="1580704"/>
                  <a:pt x="10107930" y="1580704"/>
                  <a:pt x="10107930" y="1580704"/>
                </a:cubicBezTo>
                <a:cubicBezTo>
                  <a:pt x="10105390" y="1582609"/>
                  <a:pt x="10104120" y="1585149"/>
                  <a:pt x="10102850" y="1587688"/>
                </a:cubicBezTo>
                <a:cubicBezTo>
                  <a:pt x="10094595" y="1587688"/>
                  <a:pt x="10087610" y="1595309"/>
                  <a:pt x="10088245" y="1602929"/>
                </a:cubicBezTo>
                <a:cubicBezTo>
                  <a:pt x="10083800" y="1606738"/>
                  <a:pt x="10082530" y="1613724"/>
                  <a:pt x="10085705" y="1618804"/>
                </a:cubicBezTo>
                <a:cubicBezTo>
                  <a:pt x="10081260" y="1619438"/>
                  <a:pt x="10076815" y="1621344"/>
                  <a:pt x="10073005" y="1624519"/>
                </a:cubicBezTo>
                <a:cubicBezTo>
                  <a:pt x="10073005" y="1624519"/>
                  <a:pt x="10073005" y="1624519"/>
                  <a:pt x="10073005" y="1624519"/>
                </a:cubicBezTo>
                <a:cubicBezTo>
                  <a:pt x="10071100" y="1627059"/>
                  <a:pt x="10069195" y="1629599"/>
                  <a:pt x="10068560" y="1632138"/>
                </a:cubicBezTo>
                <a:cubicBezTo>
                  <a:pt x="10063480" y="1628329"/>
                  <a:pt x="10057130" y="1627059"/>
                  <a:pt x="10051415" y="1629599"/>
                </a:cubicBezTo>
                <a:cubicBezTo>
                  <a:pt x="10036175" y="1622613"/>
                  <a:pt x="10022840" y="1642934"/>
                  <a:pt x="10031095" y="1656269"/>
                </a:cubicBezTo>
                <a:cubicBezTo>
                  <a:pt x="10022205" y="1667063"/>
                  <a:pt x="10031095" y="1684844"/>
                  <a:pt x="10044430" y="1685479"/>
                </a:cubicBezTo>
                <a:cubicBezTo>
                  <a:pt x="10041255" y="1695004"/>
                  <a:pt x="10044430" y="1706434"/>
                  <a:pt x="10053320" y="1711513"/>
                </a:cubicBezTo>
                <a:cubicBezTo>
                  <a:pt x="10003790" y="1769299"/>
                  <a:pt x="10133330" y="1768029"/>
                  <a:pt x="10082530" y="1710879"/>
                </a:cubicBezTo>
                <a:cubicBezTo>
                  <a:pt x="10111740" y="1714688"/>
                  <a:pt x="10118725" y="1668334"/>
                  <a:pt x="10088880" y="1663888"/>
                </a:cubicBezTo>
                <a:cubicBezTo>
                  <a:pt x="10088245" y="1661984"/>
                  <a:pt x="10086975" y="1659444"/>
                  <a:pt x="10085705" y="1657538"/>
                </a:cubicBezTo>
                <a:cubicBezTo>
                  <a:pt x="10102850" y="1659444"/>
                  <a:pt x="10113645" y="1636584"/>
                  <a:pt x="10100945" y="1624519"/>
                </a:cubicBezTo>
                <a:cubicBezTo>
                  <a:pt x="10104120" y="1625788"/>
                  <a:pt x="10107930" y="1626424"/>
                  <a:pt x="10111740" y="1625788"/>
                </a:cubicBezTo>
                <a:cubicBezTo>
                  <a:pt x="10089515" y="1675954"/>
                  <a:pt x="10180955" y="1672144"/>
                  <a:pt x="10154920" y="1623884"/>
                </a:cubicBezTo>
                <a:cubicBezTo>
                  <a:pt x="10160635" y="1622613"/>
                  <a:pt x="10165715" y="1620074"/>
                  <a:pt x="10169525" y="1614994"/>
                </a:cubicBezTo>
                <a:lnTo>
                  <a:pt x="10169525" y="1614994"/>
                </a:lnTo>
                <a:cubicBezTo>
                  <a:pt x="10177145" y="1605469"/>
                  <a:pt x="10175240" y="1591499"/>
                  <a:pt x="10166985" y="1583244"/>
                </a:cubicBezTo>
                <a:cubicBezTo>
                  <a:pt x="10168890" y="1580704"/>
                  <a:pt x="10170160" y="1576894"/>
                  <a:pt x="10170160" y="1573719"/>
                </a:cubicBezTo>
                <a:cubicBezTo>
                  <a:pt x="10171430" y="1571813"/>
                  <a:pt x="10172700" y="1570544"/>
                  <a:pt x="10172700" y="1568004"/>
                </a:cubicBezTo>
                <a:cubicBezTo>
                  <a:pt x="10173335" y="1567369"/>
                  <a:pt x="10173970" y="1566734"/>
                  <a:pt x="10174605" y="1565463"/>
                </a:cubicBezTo>
                <a:cubicBezTo>
                  <a:pt x="10177145" y="1564829"/>
                  <a:pt x="10179685" y="1563559"/>
                  <a:pt x="10181590" y="1562288"/>
                </a:cubicBezTo>
                <a:cubicBezTo>
                  <a:pt x="10198735" y="1580069"/>
                  <a:pt x="10229850" y="1561654"/>
                  <a:pt x="10223500" y="1538159"/>
                </a:cubicBezTo>
                <a:cubicBezTo>
                  <a:pt x="10233025" y="1531174"/>
                  <a:pt x="10242550" y="1519744"/>
                  <a:pt x="10238740" y="1506409"/>
                </a:cubicBezTo>
                <a:cubicBezTo>
                  <a:pt x="10243820" y="1505774"/>
                  <a:pt x="10248900" y="1505774"/>
                  <a:pt x="10252710" y="1501963"/>
                </a:cubicBezTo>
                <a:close/>
                <a:moveTo>
                  <a:pt x="10255885" y="1507044"/>
                </a:moveTo>
                <a:cubicBezTo>
                  <a:pt x="10241280" y="1514663"/>
                  <a:pt x="10254615" y="1537524"/>
                  <a:pt x="10268585" y="1529269"/>
                </a:cubicBezTo>
                <a:cubicBezTo>
                  <a:pt x="10282555" y="1521013"/>
                  <a:pt x="10269855" y="1498788"/>
                  <a:pt x="10255885" y="1507044"/>
                </a:cubicBezTo>
                <a:close/>
                <a:moveTo>
                  <a:pt x="10311130" y="1475294"/>
                </a:moveTo>
                <a:cubicBezTo>
                  <a:pt x="10296525" y="1483549"/>
                  <a:pt x="10309225" y="1505774"/>
                  <a:pt x="10323830" y="1497519"/>
                </a:cubicBezTo>
                <a:cubicBezTo>
                  <a:pt x="10337800" y="1489899"/>
                  <a:pt x="10325100" y="1467038"/>
                  <a:pt x="10311130" y="1475294"/>
                </a:cubicBezTo>
                <a:close/>
                <a:moveTo>
                  <a:pt x="10325100" y="1439734"/>
                </a:moveTo>
                <a:cubicBezTo>
                  <a:pt x="10325100" y="1439734"/>
                  <a:pt x="10325100" y="1439734"/>
                  <a:pt x="10325100" y="1439734"/>
                </a:cubicBezTo>
                <a:cubicBezTo>
                  <a:pt x="10298430" y="1497519"/>
                  <a:pt x="10389235" y="1439099"/>
                  <a:pt x="10325100" y="1439734"/>
                </a:cubicBezTo>
                <a:close/>
                <a:moveTo>
                  <a:pt x="10416540" y="1370519"/>
                </a:moveTo>
                <a:cubicBezTo>
                  <a:pt x="10405110" y="1354009"/>
                  <a:pt x="10379075" y="1372424"/>
                  <a:pt x="10391140" y="1388299"/>
                </a:cubicBezTo>
                <a:cubicBezTo>
                  <a:pt x="10402570" y="1405444"/>
                  <a:pt x="10427970" y="1387029"/>
                  <a:pt x="10416540" y="1370519"/>
                </a:cubicBezTo>
                <a:close/>
                <a:moveTo>
                  <a:pt x="9370695" y="2479864"/>
                </a:moveTo>
                <a:cubicBezTo>
                  <a:pt x="9345295" y="2500819"/>
                  <a:pt x="9378315" y="2540189"/>
                  <a:pt x="9403080" y="2518599"/>
                </a:cubicBezTo>
                <a:cubicBezTo>
                  <a:pt x="9428480" y="2497644"/>
                  <a:pt x="9395460" y="2458274"/>
                  <a:pt x="9370695" y="2479864"/>
                </a:cubicBezTo>
                <a:close/>
                <a:moveTo>
                  <a:pt x="9403080" y="2380804"/>
                </a:moveTo>
                <a:cubicBezTo>
                  <a:pt x="9378315" y="2399854"/>
                  <a:pt x="9409430" y="2437954"/>
                  <a:pt x="9432925" y="2418269"/>
                </a:cubicBezTo>
                <a:cubicBezTo>
                  <a:pt x="9457690" y="2399219"/>
                  <a:pt x="9427210" y="2361119"/>
                  <a:pt x="9403080" y="2380804"/>
                </a:cubicBezTo>
                <a:close/>
                <a:moveTo>
                  <a:pt x="9413240" y="2244914"/>
                </a:moveTo>
                <a:cubicBezTo>
                  <a:pt x="9390380" y="2260154"/>
                  <a:pt x="9415145" y="2295714"/>
                  <a:pt x="9437370" y="2279839"/>
                </a:cubicBezTo>
                <a:cubicBezTo>
                  <a:pt x="9460230" y="2264599"/>
                  <a:pt x="9436100" y="2229039"/>
                  <a:pt x="9413240" y="2244914"/>
                </a:cubicBezTo>
                <a:close/>
                <a:moveTo>
                  <a:pt x="9361805" y="2304604"/>
                </a:moveTo>
                <a:cubicBezTo>
                  <a:pt x="9347200" y="2281109"/>
                  <a:pt x="9311005" y="2303969"/>
                  <a:pt x="9325610" y="2327464"/>
                </a:cubicBezTo>
                <a:cubicBezTo>
                  <a:pt x="9340850" y="2350959"/>
                  <a:pt x="9377045" y="2327464"/>
                  <a:pt x="9361805" y="2304604"/>
                </a:cubicBezTo>
                <a:close/>
                <a:moveTo>
                  <a:pt x="9317990" y="2446844"/>
                </a:moveTo>
                <a:cubicBezTo>
                  <a:pt x="9292590" y="2465259"/>
                  <a:pt x="9321800" y="2504629"/>
                  <a:pt x="9346565" y="2485579"/>
                </a:cubicBezTo>
                <a:cubicBezTo>
                  <a:pt x="9371965" y="2467164"/>
                  <a:pt x="9342755" y="2427794"/>
                  <a:pt x="9317990" y="2446844"/>
                </a:cubicBezTo>
                <a:close/>
                <a:moveTo>
                  <a:pt x="9230360" y="2509074"/>
                </a:moveTo>
                <a:cubicBezTo>
                  <a:pt x="9204325" y="2526219"/>
                  <a:pt x="9231630" y="2566859"/>
                  <a:pt x="9257030" y="2549079"/>
                </a:cubicBezTo>
                <a:cubicBezTo>
                  <a:pt x="9283065" y="2531934"/>
                  <a:pt x="9255760" y="2491294"/>
                  <a:pt x="9230360" y="2509074"/>
                </a:cubicBezTo>
                <a:close/>
                <a:moveTo>
                  <a:pt x="9455785" y="2404934"/>
                </a:moveTo>
                <a:cubicBezTo>
                  <a:pt x="9431020" y="2426524"/>
                  <a:pt x="9465945" y="2465259"/>
                  <a:pt x="9490075" y="2442399"/>
                </a:cubicBezTo>
                <a:cubicBezTo>
                  <a:pt x="9514205" y="2420809"/>
                  <a:pt x="9479280" y="2382709"/>
                  <a:pt x="9455785" y="2404934"/>
                </a:cubicBezTo>
                <a:close/>
                <a:moveTo>
                  <a:pt x="9190990" y="2617024"/>
                </a:moveTo>
                <a:cubicBezTo>
                  <a:pt x="9163685" y="2635439"/>
                  <a:pt x="9193530" y="2677984"/>
                  <a:pt x="9220200" y="2658934"/>
                </a:cubicBezTo>
                <a:lnTo>
                  <a:pt x="9220200" y="2658934"/>
                </a:lnTo>
                <a:cubicBezTo>
                  <a:pt x="9247505" y="2640519"/>
                  <a:pt x="9217660" y="2597974"/>
                  <a:pt x="9190990" y="2617024"/>
                </a:cubicBezTo>
                <a:close/>
                <a:moveTo>
                  <a:pt x="9282430" y="2550349"/>
                </a:moveTo>
                <a:cubicBezTo>
                  <a:pt x="9255760" y="2570034"/>
                  <a:pt x="9287510" y="2611309"/>
                  <a:pt x="9313545" y="2590354"/>
                </a:cubicBezTo>
                <a:cubicBezTo>
                  <a:pt x="9339580" y="2571304"/>
                  <a:pt x="9307830" y="2530029"/>
                  <a:pt x="9282430" y="2550349"/>
                </a:cubicBezTo>
                <a:close/>
                <a:moveTo>
                  <a:pt x="9617710" y="2246184"/>
                </a:moveTo>
                <a:cubicBezTo>
                  <a:pt x="9594850" y="2269679"/>
                  <a:pt x="9632315" y="2305239"/>
                  <a:pt x="9654540" y="2281109"/>
                </a:cubicBezTo>
                <a:cubicBezTo>
                  <a:pt x="9677400" y="2258249"/>
                  <a:pt x="9639935" y="2222054"/>
                  <a:pt x="9617710" y="2246184"/>
                </a:cubicBezTo>
                <a:close/>
                <a:moveTo>
                  <a:pt x="9662160" y="2157919"/>
                </a:moveTo>
                <a:cubicBezTo>
                  <a:pt x="9688830" y="2089338"/>
                  <a:pt x="9573895" y="2139504"/>
                  <a:pt x="9641840" y="2166809"/>
                </a:cubicBezTo>
                <a:cubicBezTo>
                  <a:pt x="9611995" y="2241104"/>
                  <a:pt x="9736455" y="2186494"/>
                  <a:pt x="9662160" y="2157919"/>
                </a:cubicBezTo>
                <a:close/>
                <a:moveTo>
                  <a:pt x="9485630" y="2312224"/>
                </a:moveTo>
                <a:cubicBezTo>
                  <a:pt x="9461500" y="2332544"/>
                  <a:pt x="9493885" y="2369374"/>
                  <a:pt x="9517380" y="2348419"/>
                </a:cubicBezTo>
                <a:cubicBezTo>
                  <a:pt x="9540875" y="2328099"/>
                  <a:pt x="9509125" y="2291269"/>
                  <a:pt x="9485630" y="2312224"/>
                </a:cubicBezTo>
                <a:close/>
                <a:moveTo>
                  <a:pt x="9695180" y="2162999"/>
                </a:moveTo>
                <a:cubicBezTo>
                  <a:pt x="9672955" y="2187129"/>
                  <a:pt x="9711055" y="2222054"/>
                  <a:pt x="9732645" y="2196654"/>
                </a:cubicBezTo>
                <a:cubicBezTo>
                  <a:pt x="9754870" y="2173159"/>
                  <a:pt x="9716770" y="2138234"/>
                  <a:pt x="9695180" y="2162999"/>
                </a:cubicBezTo>
                <a:close/>
                <a:moveTo>
                  <a:pt x="9701530" y="2002979"/>
                </a:moveTo>
                <a:cubicBezTo>
                  <a:pt x="9694545" y="1994724"/>
                  <a:pt x="9682480" y="1992819"/>
                  <a:pt x="9673590" y="1999804"/>
                </a:cubicBezTo>
                <a:cubicBezTo>
                  <a:pt x="9673590" y="1999804"/>
                  <a:pt x="9673590" y="1999804"/>
                  <a:pt x="9673590" y="1999804"/>
                </a:cubicBezTo>
                <a:cubicBezTo>
                  <a:pt x="9639300" y="2038538"/>
                  <a:pt x="9726930" y="2048063"/>
                  <a:pt x="9701530" y="2002979"/>
                </a:cubicBezTo>
                <a:close/>
                <a:moveTo>
                  <a:pt x="9565640" y="2239834"/>
                </a:moveTo>
                <a:cubicBezTo>
                  <a:pt x="9542780" y="2260789"/>
                  <a:pt x="9575800" y="2296349"/>
                  <a:pt x="9598660" y="2274759"/>
                </a:cubicBezTo>
                <a:cubicBezTo>
                  <a:pt x="9621520" y="2253804"/>
                  <a:pt x="9588500" y="2218244"/>
                  <a:pt x="9565640" y="2239834"/>
                </a:cubicBezTo>
                <a:close/>
                <a:moveTo>
                  <a:pt x="9491980" y="2189034"/>
                </a:moveTo>
                <a:cubicBezTo>
                  <a:pt x="9469755" y="2204909"/>
                  <a:pt x="9495790" y="2239834"/>
                  <a:pt x="9517380" y="2222689"/>
                </a:cubicBezTo>
                <a:cubicBezTo>
                  <a:pt x="9539605" y="2206814"/>
                  <a:pt x="9513570" y="2171889"/>
                  <a:pt x="9491980" y="2189034"/>
                </a:cubicBezTo>
                <a:close/>
                <a:moveTo>
                  <a:pt x="9537700" y="2327464"/>
                </a:moveTo>
                <a:cubicBezTo>
                  <a:pt x="9513570" y="2350324"/>
                  <a:pt x="9550400" y="2387154"/>
                  <a:pt x="9573260" y="2363659"/>
                </a:cubicBezTo>
                <a:cubicBezTo>
                  <a:pt x="9597390" y="2340799"/>
                  <a:pt x="9561195" y="2303969"/>
                  <a:pt x="9537700" y="2327464"/>
                </a:cubicBezTo>
                <a:close/>
                <a:moveTo>
                  <a:pt x="9551035" y="2141409"/>
                </a:moveTo>
                <a:cubicBezTo>
                  <a:pt x="9571990" y="2126804"/>
                  <a:pt x="9549130" y="2093784"/>
                  <a:pt x="9528175" y="2109024"/>
                </a:cubicBezTo>
                <a:cubicBezTo>
                  <a:pt x="9507220" y="2123629"/>
                  <a:pt x="9530715" y="2156649"/>
                  <a:pt x="9551035" y="2141409"/>
                </a:cubicBezTo>
                <a:close/>
                <a:moveTo>
                  <a:pt x="10976610" y="968563"/>
                </a:moveTo>
                <a:cubicBezTo>
                  <a:pt x="10965815" y="949513"/>
                  <a:pt x="10935970" y="966024"/>
                  <a:pt x="10946765" y="985074"/>
                </a:cubicBezTo>
                <a:cubicBezTo>
                  <a:pt x="10957560" y="1004759"/>
                  <a:pt x="10987405" y="987613"/>
                  <a:pt x="10976610" y="968563"/>
                </a:cubicBezTo>
                <a:close/>
                <a:moveTo>
                  <a:pt x="10937240" y="1164144"/>
                </a:moveTo>
                <a:cubicBezTo>
                  <a:pt x="10922000" y="1170494"/>
                  <a:pt x="10931525" y="1193988"/>
                  <a:pt x="10946765" y="1187638"/>
                </a:cubicBezTo>
                <a:cubicBezTo>
                  <a:pt x="10962640" y="1181924"/>
                  <a:pt x="10952480" y="1157794"/>
                  <a:pt x="10937240" y="1164144"/>
                </a:cubicBezTo>
                <a:close/>
                <a:moveTo>
                  <a:pt x="10878820" y="1188909"/>
                </a:moveTo>
                <a:cubicBezTo>
                  <a:pt x="10863580" y="1195259"/>
                  <a:pt x="10873740" y="1218754"/>
                  <a:pt x="10888980" y="1212404"/>
                </a:cubicBezTo>
                <a:cubicBezTo>
                  <a:pt x="10904220" y="1206054"/>
                  <a:pt x="10894060" y="1181924"/>
                  <a:pt x="10878820" y="1188909"/>
                </a:cubicBezTo>
                <a:close/>
                <a:moveTo>
                  <a:pt x="10941050" y="1125409"/>
                </a:moveTo>
                <a:cubicBezTo>
                  <a:pt x="10957560" y="1117788"/>
                  <a:pt x="10945495" y="1091754"/>
                  <a:pt x="10928985" y="1100009"/>
                </a:cubicBezTo>
                <a:cubicBezTo>
                  <a:pt x="10912475" y="1106994"/>
                  <a:pt x="10924540" y="1133663"/>
                  <a:pt x="10941050" y="1125409"/>
                </a:cubicBezTo>
                <a:close/>
                <a:moveTo>
                  <a:pt x="10878820" y="1155254"/>
                </a:moveTo>
                <a:cubicBezTo>
                  <a:pt x="10895330" y="1147634"/>
                  <a:pt x="10882630" y="1121599"/>
                  <a:pt x="10866755" y="1129854"/>
                </a:cubicBezTo>
                <a:cubicBezTo>
                  <a:pt x="10850245" y="1137474"/>
                  <a:pt x="10862945" y="1163509"/>
                  <a:pt x="10878820" y="1155254"/>
                </a:cubicBezTo>
                <a:close/>
                <a:moveTo>
                  <a:pt x="10925175" y="1056194"/>
                </a:moveTo>
                <a:cubicBezTo>
                  <a:pt x="10915650" y="1038413"/>
                  <a:pt x="10888345" y="1053019"/>
                  <a:pt x="10897870" y="1070799"/>
                </a:cubicBezTo>
                <a:cubicBezTo>
                  <a:pt x="10906760" y="1088579"/>
                  <a:pt x="10934700" y="1073974"/>
                  <a:pt x="10925175" y="1056194"/>
                </a:cubicBezTo>
                <a:close/>
                <a:moveTo>
                  <a:pt x="10823575" y="1166684"/>
                </a:moveTo>
                <a:cubicBezTo>
                  <a:pt x="10815320" y="1150174"/>
                  <a:pt x="10789920" y="1162874"/>
                  <a:pt x="10798175" y="1179384"/>
                </a:cubicBezTo>
                <a:cubicBezTo>
                  <a:pt x="10806430" y="1195894"/>
                  <a:pt x="10831830" y="1183194"/>
                  <a:pt x="10823575" y="1166684"/>
                </a:cubicBezTo>
                <a:close/>
                <a:moveTo>
                  <a:pt x="10772775" y="1122234"/>
                </a:moveTo>
                <a:cubicBezTo>
                  <a:pt x="10754995" y="1131759"/>
                  <a:pt x="10770870" y="1159699"/>
                  <a:pt x="10788650" y="1148904"/>
                </a:cubicBezTo>
                <a:cubicBezTo>
                  <a:pt x="10805795" y="1139379"/>
                  <a:pt x="10789920" y="1112074"/>
                  <a:pt x="10772775" y="1122234"/>
                </a:cubicBezTo>
                <a:close/>
                <a:moveTo>
                  <a:pt x="10820400" y="1214309"/>
                </a:moveTo>
                <a:cubicBezTo>
                  <a:pt x="10805160" y="1220659"/>
                  <a:pt x="10815955" y="1244788"/>
                  <a:pt x="10830560" y="1237169"/>
                </a:cubicBezTo>
                <a:cubicBezTo>
                  <a:pt x="10845800" y="1230819"/>
                  <a:pt x="10835005" y="1207324"/>
                  <a:pt x="10820400" y="1214309"/>
                </a:cubicBezTo>
                <a:close/>
                <a:moveTo>
                  <a:pt x="10859135" y="1091754"/>
                </a:moveTo>
                <a:cubicBezTo>
                  <a:pt x="10849610" y="1073974"/>
                  <a:pt x="10821670" y="1089213"/>
                  <a:pt x="10831830" y="1106994"/>
                </a:cubicBezTo>
                <a:cubicBezTo>
                  <a:pt x="10841355" y="1124774"/>
                  <a:pt x="10869295" y="1108899"/>
                  <a:pt x="10859135" y="1091754"/>
                </a:cubicBezTo>
                <a:close/>
                <a:moveTo>
                  <a:pt x="11056620" y="1044129"/>
                </a:moveTo>
                <a:cubicBezTo>
                  <a:pt x="11039475" y="1051113"/>
                  <a:pt x="11050905" y="1077784"/>
                  <a:pt x="11067415" y="1070163"/>
                </a:cubicBezTo>
                <a:cubicBezTo>
                  <a:pt x="11084560" y="1063179"/>
                  <a:pt x="11073130" y="1037144"/>
                  <a:pt x="11056620" y="1044129"/>
                </a:cubicBezTo>
                <a:close/>
                <a:moveTo>
                  <a:pt x="11052175" y="1011109"/>
                </a:moveTo>
                <a:cubicBezTo>
                  <a:pt x="11070590" y="1002854"/>
                  <a:pt x="11057255" y="974279"/>
                  <a:pt x="11038840" y="983169"/>
                </a:cubicBezTo>
                <a:cubicBezTo>
                  <a:pt x="11020425" y="991424"/>
                  <a:pt x="11033760" y="1019999"/>
                  <a:pt x="11052175" y="1011109"/>
                </a:cubicBezTo>
                <a:lnTo>
                  <a:pt x="11052175" y="1011109"/>
                </a:lnTo>
                <a:close/>
                <a:moveTo>
                  <a:pt x="11055985" y="1117788"/>
                </a:moveTo>
                <a:cubicBezTo>
                  <a:pt x="11040745" y="1123504"/>
                  <a:pt x="11049635" y="1147634"/>
                  <a:pt x="11064875" y="1141284"/>
                </a:cubicBezTo>
                <a:cubicBezTo>
                  <a:pt x="11080750" y="1136204"/>
                  <a:pt x="11071225" y="1112074"/>
                  <a:pt x="11055985" y="1117788"/>
                </a:cubicBezTo>
                <a:close/>
                <a:moveTo>
                  <a:pt x="10762615" y="1240344"/>
                </a:moveTo>
                <a:cubicBezTo>
                  <a:pt x="10747375" y="1247329"/>
                  <a:pt x="10758805" y="1270824"/>
                  <a:pt x="10773410" y="1263204"/>
                </a:cubicBezTo>
                <a:cubicBezTo>
                  <a:pt x="10788015" y="1256854"/>
                  <a:pt x="10777220" y="1233359"/>
                  <a:pt x="10762615" y="1240344"/>
                </a:cubicBezTo>
                <a:close/>
                <a:moveTo>
                  <a:pt x="11044555" y="717738"/>
                </a:moveTo>
                <a:cubicBezTo>
                  <a:pt x="11021695" y="732979"/>
                  <a:pt x="11046460" y="768538"/>
                  <a:pt x="11068685" y="752663"/>
                </a:cubicBezTo>
                <a:cubicBezTo>
                  <a:pt x="11091545" y="736788"/>
                  <a:pt x="11066780" y="701863"/>
                  <a:pt x="11044555" y="717738"/>
                </a:cubicBezTo>
                <a:close/>
                <a:moveTo>
                  <a:pt x="11040745" y="953324"/>
                </a:moveTo>
                <a:cubicBezTo>
                  <a:pt x="11060430" y="943163"/>
                  <a:pt x="11043920" y="912684"/>
                  <a:pt x="11024870" y="923479"/>
                </a:cubicBezTo>
                <a:cubicBezTo>
                  <a:pt x="11005185" y="933638"/>
                  <a:pt x="11021060" y="964119"/>
                  <a:pt x="11040745" y="953324"/>
                </a:cubicBezTo>
                <a:close/>
                <a:moveTo>
                  <a:pt x="10996930" y="1140649"/>
                </a:moveTo>
                <a:cubicBezTo>
                  <a:pt x="10981690" y="1146363"/>
                  <a:pt x="10991215" y="1170494"/>
                  <a:pt x="11006455" y="1164144"/>
                </a:cubicBezTo>
                <a:cubicBezTo>
                  <a:pt x="11021060" y="1158429"/>
                  <a:pt x="11012170" y="1134299"/>
                  <a:pt x="10996930" y="1140649"/>
                </a:cubicBezTo>
                <a:close/>
                <a:moveTo>
                  <a:pt x="10991850" y="1022538"/>
                </a:moveTo>
                <a:cubicBezTo>
                  <a:pt x="10982960" y="1004124"/>
                  <a:pt x="10955020" y="1018729"/>
                  <a:pt x="10963910" y="1036509"/>
                </a:cubicBezTo>
                <a:cubicBezTo>
                  <a:pt x="10972800" y="1054924"/>
                  <a:pt x="11001375" y="1040319"/>
                  <a:pt x="10991850" y="1022538"/>
                </a:cubicBezTo>
                <a:close/>
                <a:moveTo>
                  <a:pt x="11003915" y="1097469"/>
                </a:moveTo>
                <a:cubicBezTo>
                  <a:pt x="11020425" y="1090484"/>
                  <a:pt x="11008995" y="1063813"/>
                  <a:pt x="10992485" y="1071434"/>
                </a:cubicBezTo>
                <a:cubicBezTo>
                  <a:pt x="10975975" y="1078419"/>
                  <a:pt x="10987405" y="1105088"/>
                  <a:pt x="11003915" y="1097469"/>
                </a:cubicBezTo>
                <a:close/>
                <a:moveTo>
                  <a:pt x="10534015" y="1353374"/>
                </a:moveTo>
                <a:cubicBezTo>
                  <a:pt x="10519410" y="1360994"/>
                  <a:pt x="10531475" y="1383854"/>
                  <a:pt x="10545445" y="1375599"/>
                </a:cubicBezTo>
                <a:cubicBezTo>
                  <a:pt x="10560685" y="1368613"/>
                  <a:pt x="10548620" y="1345754"/>
                  <a:pt x="10534015" y="1353374"/>
                </a:cubicBezTo>
                <a:close/>
                <a:moveTo>
                  <a:pt x="10442575" y="1365438"/>
                </a:moveTo>
                <a:cubicBezTo>
                  <a:pt x="10426700" y="1374963"/>
                  <a:pt x="10441940" y="1399094"/>
                  <a:pt x="10457180" y="1389569"/>
                </a:cubicBezTo>
                <a:cubicBezTo>
                  <a:pt x="10473055" y="1380044"/>
                  <a:pt x="10457815" y="1355279"/>
                  <a:pt x="10442575" y="1365438"/>
                </a:cubicBezTo>
                <a:close/>
                <a:moveTo>
                  <a:pt x="10590530" y="1324163"/>
                </a:moveTo>
                <a:cubicBezTo>
                  <a:pt x="10575925" y="1331784"/>
                  <a:pt x="10587355" y="1354644"/>
                  <a:pt x="10601960" y="1347024"/>
                </a:cubicBezTo>
                <a:cubicBezTo>
                  <a:pt x="10617200" y="1339404"/>
                  <a:pt x="10605135" y="1316544"/>
                  <a:pt x="10590530" y="1324163"/>
                </a:cubicBezTo>
                <a:close/>
                <a:moveTo>
                  <a:pt x="10561320" y="1293684"/>
                </a:moveTo>
                <a:cubicBezTo>
                  <a:pt x="10545445" y="1302574"/>
                  <a:pt x="10560050" y="1327338"/>
                  <a:pt x="10575290" y="1317813"/>
                </a:cubicBezTo>
                <a:lnTo>
                  <a:pt x="10575290" y="1317813"/>
                </a:lnTo>
                <a:cubicBezTo>
                  <a:pt x="10591165" y="1308924"/>
                  <a:pt x="10576560" y="1284159"/>
                  <a:pt x="10561320" y="1293684"/>
                </a:cubicBezTo>
                <a:close/>
                <a:moveTo>
                  <a:pt x="10632440" y="1206688"/>
                </a:moveTo>
                <a:cubicBezTo>
                  <a:pt x="10650855" y="1193988"/>
                  <a:pt x="10630535" y="1166049"/>
                  <a:pt x="10612755" y="1178749"/>
                </a:cubicBezTo>
                <a:cubicBezTo>
                  <a:pt x="10612755" y="1178749"/>
                  <a:pt x="10612755" y="1178749"/>
                  <a:pt x="10612755" y="1178749"/>
                </a:cubicBezTo>
                <a:cubicBezTo>
                  <a:pt x="10594975" y="1191449"/>
                  <a:pt x="10614660" y="1219388"/>
                  <a:pt x="10632440" y="1206688"/>
                </a:cubicBezTo>
                <a:close/>
                <a:moveTo>
                  <a:pt x="10473690" y="1349563"/>
                </a:moveTo>
                <a:cubicBezTo>
                  <a:pt x="10490200" y="1338134"/>
                  <a:pt x="10472420" y="1312099"/>
                  <a:pt x="10455910" y="1324163"/>
                </a:cubicBezTo>
                <a:cubicBezTo>
                  <a:pt x="10455910" y="1324163"/>
                  <a:pt x="10455910" y="1324163"/>
                  <a:pt x="10455910" y="1324163"/>
                </a:cubicBezTo>
                <a:cubicBezTo>
                  <a:pt x="10439400" y="1334959"/>
                  <a:pt x="10457815" y="1360994"/>
                  <a:pt x="10473690" y="1349563"/>
                </a:cubicBezTo>
                <a:lnTo>
                  <a:pt x="10473690" y="1349563"/>
                </a:lnTo>
                <a:close/>
                <a:moveTo>
                  <a:pt x="10539730" y="1286063"/>
                </a:moveTo>
                <a:cubicBezTo>
                  <a:pt x="10528935" y="1268919"/>
                  <a:pt x="10502265" y="1286699"/>
                  <a:pt x="10513695" y="1303209"/>
                </a:cubicBezTo>
                <a:cubicBezTo>
                  <a:pt x="10525125" y="1320354"/>
                  <a:pt x="10551160" y="1302574"/>
                  <a:pt x="10539730" y="1286063"/>
                </a:cubicBezTo>
                <a:close/>
                <a:moveTo>
                  <a:pt x="10640060" y="1264474"/>
                </a:moveTo>
                <a:cubicBezTo>
                  <a:pt x="10631170" y="1248599"/>
                  <a:pt x="10606405" y="1262569"/>
                  <a:pt x="10615295" y="1278444"/>
                </a:cubicBezTo>
                <a:cubicBezTo>
                  <a:pt x="10624820" y="1294319"/>
                  <a:pt x="10649585" y="1280349"/>
                  <a:pt x="10640060" y="1264474"/>
                </a:cubicBezTo>
                <a:close/>
                <a:moveTo>
                  <a:pt x="10761980" y="1198434"/>
                </a:moveTo>
                <a:cubicBezTo>
                  <a:pt x="10753725" y="1181924"/>
                  <a:pt x="10728325" y="1195259"/>
                  <a:pt x="10737215" y="1211769"/>
                </a:cubicBezTo>
                <a:cubicBezTo>
                  <a:pt x="10745470" y="1227644"/>
                  <a:pt x="10770870" y="1214309"/>
                  <a:pt x="10761980" y="1198434"/>
                </a:cubicBezTo>
                <a:close/>
                <a:moveTo>
                  <a:pt x="10501630" y="1329244"/>
                </a:moveTo>
                <a:cubicBezTo>
                  <a:pt x="10485755" y="1338769"/>
                  <a:pt x="10500995" y="1362899"/>
                  <a:pt x="10516235" y="1353374"/>
                </a:cubicBezTo>
                <a:cubicBezTo>
                  <a:pt x="10532110" y="1343849"/>
                  <a:pt x="10516870" y="1319719"/>
                  <a:pt x="10501630" y="1329244"/>
                </a:cubicBezTo>
                <a:close/>
                <a:moveTo>
                  <a:pt x="10478135" y="1383219"/>
                </a:moveTo>
                <a:cubicBezTo>
                  <a:pt x="10463530" y="1390838"/>
                  <a:pt x="10476230" y="1413699"/>
                  <a:pt x="10490200" y="1405444"/>
                </a:cubicBezTo>
                <a:cubicBezTo>
                  <a:pt x="10504805" y="1397824"/>
                  <a:pt x="10492105" y="1375599"/>
                  <a:pt x="10478135" y="1383219"/>
                </a:cubicBezTo>
                <a:close/>
                <a:moveTo>
                  <a:pt x="10704830" y="1267649"/>
                </a:moveTo>
                <a:cubicBezTo>
                  <a:pt x="10689590" y="1274634"/>
                  <a:pt x="10701020" y="1298129"/>
                  <a:pt x="10715625" y="1290509"/>
                </a:cubicBezTo>
                <a:cubicBezTo>
                  <a:pt x="10730865" y="1283524"/>
                  <a:pt x="10719435" y="1260663"/>
                  <a:pt x="10704830" y="1267649"/>
                </a:cubicBezTo>
                <a:close/>
                <a:moveTo>
                  <a:pt x="10647680" y="1295588"/>
                </a:moveTo>
                <a:cubicBezTo>
                  <a:pt x="10633075" y="1302574"/>
                  <a:pt x="10644505" y="1326069"/>
                  <a:pt x="10659110" y="1318449"/>
                </a:cubicBezTo>
                <a:cubicBezTo>
                  <a:pt x="10673715" y="1311463"/>
                  <a:pt x="10662285" y="1287969"/>
                  <a:pt x="10647680" y="1295588"/>
                </a:cubicBezTo>
                <a:close/>
                <a:moveTo>
                  <a:pt x="10701020" y="1230819"/>
                </a:moveTo>
                <a:cubicBezTo>
                  <a:pt x="10692765" y="1214309"/>
                  <a:pt x="10667365" y="1228279"/>
                  <a:pt x="10676255" y="1244154"/>
                </a:cubicBezTo>
                <a:cubicBezTo>
                  <a:pt x="10684510" y="1260663"/>
                  <a:pt x="10709910" y="1246694"/>
                  <a:pt x="10701020" y="1230819"/>
                </a:cubicBezTo>
                <a:close/>
                <a:moveTo>
                  <a:pt x="10744200" y="995869"/>
                </a:moveTo>
                <a:cubicBezTo>
                  <a:pt x="10706735" y="1052384"/>
                  <a:pt x="10819765" y="1025713"/>
                  <a:pt x="10760075" y="992059"/>
                </a:cubicBezTo>
                <a:cubicBezTo>
                  <a:pt x="10807700" y="931734"/>
                  <a:pt x="10678795" y="956499"/>
                  <a:pt x="10745470" y="994599"/>
                </a:cubicBezTo>
                <a:cubicBezTo>
                  <a:pt x="10744835" y="995234"/>
                  <a:pt x="10744835" y="995234"/>
                  <a:pt x="10744200" y="995869"/>
                </a:cubicBezTo>
                <a:close/>
                <a:moveTo>
                  <a:pt x="10708005" y="1160969"/>
                </a:moveTo>
                <a:cubicBezTo>
                  <a:pt x="10690860" y="1171129"/>
                  <a:pt x="10706735" y="1198434"/>
                  <a:pt x="10723880" y="1187638"/>
                </a:cubicBezTo>
                <a:cubicBezTo>
                  <a:pt x="10741660" y="1177479"/>
                  <a:pt x="10725150" y="1150174"/>
                  <a:pt x="10708005" y="1160969"/>
                </a:cubicBezTo>
                <a:close/>
                <a:moveTo>
                  <a:pt x="10643870" y="1199704"/>
                </a:moveTo>
                <a:cubicBezTo>
                  <a:pt x="10626725" y="1209863"/>
                  <a:pt x="10643870" y="1237169"/>
                  <a:pt x="10660380" y="1225738"/>
                </a:cubicBezTo>
                <a:cubicBezTo>
                  <a:pt x="10677525" y="1215579"/>
                  <a:pt x="10661015" y="1188909"/>
                  <a:pt x="10643870" y="1199704"/>
                </a:cubicBezTo>
                <a:close/>
                <a:moveTo>
                  <a:pt x="10688955" y="1164144"/>
                </a:moveTo>
                <a:cubicBezTo>
                  <a:pt x="10718165" y="1163509"/>
                  <a:pt x="10704195" y="1117788"/>
                  <a:pt x="10679430" y="1133029"/>
                </a:cubicBezTo>
                <a:cubicBezTo>
                  <a:pt x="10665460" y="1141919"/>
                  <a:pt x="10673080" y="1164779"/>
                  <a:pt x="10688955" y="1164144"/>
                </a:cubicBezTo>
                <a:close/>
                <a:moveTo>
                  <a:pt x="10679430" y="1112074"/>
                </a:moveTo>
                <a:cubicBezTo>
                  <a:pt x="10701020" y="1138109"/>
                  <a:pt x="10730230" y="1091119"/>
                  <a:pt x="10697845" y="1083499"/>
                </a:cubicBezTo>
                <a:cubicBezTo>
                  <a:pt x="10708005" y="1074609"/>
                  <a:pt x="10705465" y="1056829"/>
                  <a:pt x="10692765" y="1051113"/>
                </a:cubicBezTo>
                <a:cubicBezTo>
                  <a:pt x="10700385" y="1040954"/>
                  <a:pt x="10696575" y="1025079"/>
                  <a:pt x="10685145" y="1019999"/>
                </a:cubicBezTo>
                <a:cubicBezTo>
                  <a:pt x="10753090" y="972374"/>
                  <a:pt x="10612120" y="959674"/>
                  <a:pt x="10669905" y="1018729"/>
                </a:cubicBezTo>
                <a:cubicBezTo>
                  <a:pt x="10650855" y="1023174"/>
                  <a:pt x="10649585" y="1052384"/>
                  <a:pt x="10668000" y="1058734"/>
                </a:cubicBezTo>
                <a:cubicBezTo>
                  <a:pt x="10660380" y="1069529"/>
                  <a:pt x="10667365" y="1087309"/>
                  <a:pt x="10681335" y="1088579"/>
                </a:cubicBezTo>
                <a:cubicBezTo>
                  <a:pt x="10674985" y="1094929"/>
                  <a:pt x="10674350" y="1105088"/>
                  <a:pt x="10679430" y="1112074"/>
                </a:cubicBezTo>
                <a:close/>
                <a:moveTo>
                  <a:pt x="11482705" y="989519"/>
                </a:moveTo>
                <a:cubicBezTo>
                  <a:pt x="11466830" y="992694"/>
                  <a:pt x="11472545" y="1018094"/>
                  <a:pt x="11488420" y="1014284"/>
                </a:cubicBezTo>
                <a:cubicBezTo>
                  <a:pt x="11504930" y="1010474"/>
                  <a:pt x="11499215" y="985709"/>
                  <a:pt x="11482705" y="989519"/>
                </a:cubicBezTo>
                <a:close/>
                <a:moveTo>
                  <a:pt x="635" y="1256854"/>
                </a:moveTo>
                <a:cubicBezTo>
                  <a:pt x="0" y="1256854"/>
                  <a:pt x="0" y="1256854"/>
                  <a:pt x="635" y="1256854"/>
                </a:cubicBezTo>
                <a:lnTo>
                  <a:pt x="0" y="1293049"/>
                </a:lnTo>
                <a:cubicBezTo>
                  <a:pt x="18415" y="1289874"/>
                  <a:pt x="20955" y="1260029"/>
                  <a:pt x="635" y="1256854"/>
                </a:cubicBezTo>
                <a:close/>
                <a:moveTo>
                  <a:pt x="635" y="1186369"/>
                </a:moveTo>
                <a:cubicBezTo>
                  <a:pt x="0" y="1186369"/>
                  <a:pt x="0" y="1186369"/>
                  <a:pt x="635" y="1186369"/>
                </a:cubicBezTo>
                <a:lnTo>
                  <a:pt x="0" y="1223199"/>
                </a:lnTo>
                <a:cubicBezTo>
                  <a:pt x="18415" y="1220024"/>
                  <a:pt x="20320" y="1190179"/>
                  <a:pt x="635" y="1186369"/>
                </a:cubicBezTo>
                <a:close/>
                <a:moveTo>
                  <a:pt x="15240" y="1344484"/>
                </a:moveTo>
                <a:cubicBezTo>
                  <a:pt x="15240" y="1333054"/>
                  <a:pt x="8255" y="1327974"/>
                  <a:pt x="0" y="1326704"/>
                </a:cubicBezTo>
                <a:lnTo>
                  <a:pt x="0" y="1362263"/>
                </a:lnTo>
                <a:cubicBezTo>
                  <a:pt x="8255" y="1360994"/>
                  <a:pt x="15240" y="1354644"/>
                  <a:pt x="15240" y="1344484"/>
                </a:cubicBezTo>
                <a:close/>
                <a:moveTo>
                  <a:pt x="163830" y="1565463"/>
                </a:moveTo>
                <a:cubicBezTo>
                  <a:pt x="178435" y="1573084"/>
                  <a:pt x="189865" y="1549588"/>
                  <a:pt x="175260" y="1542604"/>
                </a:cubicBezTo>
                <a:cubicBezTo>
                  <a:pt x="160020" y="1534984"/>
                  <a:pt x="148590" y="1558479"/>
                  <a:pt x="163830" y="1565463"/>
                </a:cubicBezTo>
                <a:close/>
                <a:moveTo>
                  <a:pt x="132080" y="1957894"/>
                </a:moveTo>
                <a:cubicBezTo>
                  <a:pt x="123825" y="1978213"/>
                  <a:pt x="155575" y="1990913"/>
                  <a:pt x="163830" y="1970594"/>
                </a:cubicBezTo>
                <a:cubicBezTo>
                  <a:pt x="172085" y="1950274"/>
                  <a:pt x="139700" y="1937574"/>
                  <a:pt x="132080" y="1957894"/>
                </a:cubicBezTo>
                <a:close/>
                <a:moveTo>
                  <a:pt x="15240" y="1414334"/>
                </a:moveTo>
                <a:cubicBezTo>
                  <a:pt x="15240" y="1402904"/>
                  <a:pt x="8255" y="1397824"/>
                  <a:pt x="0" y="1396554"/>
                </a:cubicBezTo>
                <a:lnTo>
                  <a:pt x="0" y="1432113"/>
                </a:lnTo>
                <a:cubicBezTo>
                  <a:pt x="8255" y="1430844"/>
                  <a:pt x="15240" y="1424494"/>
                  <a:pt x="15240" y="1414334"/>
                </a:cubicBezTo>
                <a:close/>
                <a:moveTo>
                  <a:pt x="121285" y="1812479"/>
                </a:moveTo>
                <a:cubicBezTo>
                  <a:pt x="113030" y="1830894"/>
                  <a:pt x="141605" y="1843594"/>
                  <a:pt x="149860" y="1825179"/>
                </a:cubicBezTo>
                <a:cubicBezTo>
                  <a:pt x="158115" y="1806763"/>
                  <a:pt x="129540" y="1794063"/>
                  <a:pt x="121285" y="1812479"/>
                </a:cubicBezTo>
                <a:close/>
                <a:moveTo>
                  <a:pt x="111125" y="1666429"/>
                </a:moveTo>
                <a:cubicBezTo>
                  <a:pt x="107950" y="1673413"/>
                  <a:pt x="110490" y="1681669"/>
                  <a:pt x="117475" y="1685479"/>
                </a:cubicBezTo>
                <a:lnTo>
                  <a:pt x="117475" y="1685479"/>
                </a:lnTo>
                <a:cubicBezTo>
                  <a:pt x="153670" y="1695004"/>
                  <a:pt x="132715" y="1636584"/>
                  <a:pt x="111125" y="1666429"/>
                </a:cubicBezTo>
                <a:close/>
                <a:moveTo>
                  <a:pt x="106680" y="1536888"/>
                </a:moveTo>
                <a:cubicBezTo>
                  <a:pt x="121285" y="1544509"/>
                  <a:pt x="133350" y="1521649"/>
                  <a:pt x="118110" y="1514029"/>
                </a:cubicBezTo>
                <a:cubicBezTo>
                  <a:pt x="103505" y="1506409"/>
                  <a:pt x="92075" y="1529269"/>
                  <a:pt x="106680" y="1536888"/>
                </a:cubicBezTo>
                <a:close/>
                <a:moveTo>
                  <a:pt x="635" y="1116519"/>
                </a:moveTo>
                <a:cubicBezTo>
                  <a:pt x="0" y="1116519"/>
                  <a:pt x="0" y="1116519"/>
                  <a:pt x="635" y="1116519"/>
                </a:cubicBezTo>
                <a:lnTo>
                  <a:pt x="0" y="1152713"/>
                </a:lnTo>
                <a:cubicBezTo>
                  <a:pt x="18415" y="1150174"/>
                  <a:pt x="20955" y="1120329"/>
                  <a:pt x="635" y="1116519"/>
                </a:cubicBezTo>
                <a:close/>
                <a:moveTo>
                  <a:pt x="7620" y="2171254"/>
                </a:moveTo>
                <a:cubicBezTo>
                  <a:pt x="5080" y="2169984"/>
                  <a:pt x="2540" y="2169984"/>
                  <a:pt x="0" y="2169349"/>
                </a:cubicBezTo>
                <a:lnTo>
                  <a:pt x="0" y="2209354"/>
                </a:lnTo>
                <a:cubicBezTo>
                  <a:pt x="19050" y="2209989"/>
                  <a:pt x="28575" y="2179509"/>
                  <a:pt x="7620" y="2171254"/>
                </a:cubicBezTo>
                <a:close/>
                <a:moveTo>
                  <a:pt x="10795" y="1472754"/>
                </a:moveTo>
                <a:cubicBezTo>
                  <a:pt x="16510" y="1461959"/>
                  <a:pt x="8255" y="1454974"/>
                  <a:pt x="0" y="1454338"/>
                </a:cubicBezTo>
                <a:lnTo>
                  <a:pt x="0" y="1502599"/>
                </a:lnTo>
                <a:cubicBezTo>
                  <a:pt x="13335" y="1500694"/>
                  <a:pt x="20320" y="1482913"/>
                  <a:pt x="10795" y="1472754"/>
                </a:cubicBezTo>
                <a:close/>
                <a:moveTo>
                  <a:pt x="437515" y="1820734"/>
                </a:moveTo>
                <a:cubicBezTo>
                  <a:pt x="454660" y="1827084"/>
                  <a:pt x="464820" y="1800413"/>
                  <a:pt x="447040" y="1794063"/>
                </a:cubicBezTo>
                <a:cubicBezTo>
                  <a:pt x="429895" y="1787079"/>
                  <a:pt x="419735" y="1814384"/>
                  <a:pt x="437515" y="1820734"/>
                </a:cubicBezTo>
                <a:close/>
                <a:moveTo>
                  <a:pt x="7620" y="2457639"/>
                </a:moveTo>
                <a:cubicBezTo>
                  <a:pt x="5080" y="2457004"/>
                  <a:pt x="2540" y="2456369"/>
                  <a:pt x="0" y="2456369"/>
                </a:cubicBezTo>
                <a:lnTo>
                  <a:pt x="0" y="2501454"/>
                </a:lnTo>
                <a:cubicBezTo>
                  <a:pt x="22225" y="2502089"/>
                  <a:pt x="32385" y="2465894"/>
                  <a:pt x="7620" y="2457639"/>
                </a:cubicBezTo>
                <a:close/>
                <a:moveTo>
                  <a:pt x="7620" y="2028379"/>
                </a:moveTo>
                <a:cubicBezTo>
                  <a:pt x="5080" y="2027109"/>
                  <a:pt x="2540" y="2026474"/>
                  <a:pt x="0" y="2026474"/>
                </a:cubicBezTo>
                <a:lnTo>
                  <a:pt x="0" y="2063304"/>
                </a:lnTo>
                <a:cubicBezTo>
                  <a:pt x="17145" y="2063938"/>
                  <a:pt x="26670" y="2036634"/>
                  <a:pt x="7620" y="2028379"/>
                </a:cubicBezTo>
                <a:close/>
                <a:moveTo>
                  <a:pt x="13335" y="1616263"/>
                </a:moveTo>
                <a:cubicBezTo>
                  <a:pt x="17780" y="1605469"/>
                  <a:pt x="8890" y="1597849"/>
                  <a:pt x="0" y="1597849"/>
                </a:cubicBezTo>
                <a:lnTo>
                  <a:pt x="0" y="1642299"/>
                </a:lnTo>
                <a:cubicBezTo>
                  <a:pt x="10795" y="1639759"/>
                  <a:pt x="19685" y="1628963"/>
                  <a:pt x="13335" y="1616263"/>
                </a:cubicBezTo>
                <a:close/>
                <a:moveTo>
                  <a:pt x="635" y="1536254"/>
                </a:moveTo>
                <a:cubicBezTo>
                  <a:pt x="0" y="1536254"/>
                  <a:pt x="0" y="1536254"/>
                  <a:pt x="635" y="1536254"/>
                </a:cubicBezTo>
                <a:lnTo>
                  <a:pt x="0" y="1572449"/>
                </a:lnTo>
                <a:cubicBezTo>
                  <a:pt x="18415" y="1569909"/>
                  <a:pt x="20955" y="1540063"/>
                  <a:pt x="635" y="1536254"/>
                </a:cubicBezTo>
                <a:close/>
                <a:moveTo>
                  <a:pt x="6985" y="1741994"/>
                </a:moveTo>
                <a:cubicBezTo>
                  <a:pt x="4445" y="1740724"/>
                  <a:pt x="2540" y="1740088"/>
                  <a:pt x="0" y="1740088"/>
                </a:cubicBezTo>
                <a:lnTo>
                  <a:pt x="0" y="1771204"/>
                </a:lnTo>
                <a:cubicBezTo>
                  <a:pt x="13970" y="1771204"/>
                  <a:pt x="22860" y="1748979"/>
                  <a:pt x="6985" y="1741994"/>
                </a:cubicBezTo>
                <a:close/>
                <a:moveTo>
                  <a:pt x="635" y="1675954"/>
                </a:moveTo>
                <a:cubicBezTo>
                  <a:pt x="0" y="1675954"/>
                  <a:pt x="0" y="1675954"/>
                  <a:pt x="635" y="1675954"/>
                </a:cubicBezTo>
                <a:lnTo>
                  <a:pt x="0" y="1712149"/>
                </a:lnTo>
                <a:cubicBezTo>
                  <a:pt x="19050" y="1709609"/>
                  <a:pt x="20320" y="1679763"/>
                  <a:pt x="635" y="1675954"/>
                </a:cubicBezTo>
                <a:close/>
                <a:moveTo>
                  <a:pt x="6985" y="1884869"/>
                </a:moveTo>
                <a:cubicBezTo>
                  <a:pt x="4445" y="1883599"/>
                  <a:pt x="1905" y="1882963"/>
                  <a:pt x="0" y="1882963"/>
                </a:cubicBezTo>
                <a:lnTo>
                  <a:pt x="0" y="1917254"/>
                </a:lnTo>
                <a:cubicBezTo>
                  <a:pt x="15875" y="1917888"/>
                  <a:pt x="24765" y="1893124"/>
                  <a:pt x="6985" y="1884869"/>
                </a:cubicBezTo>
                <a:close/>
                <a:moveTo>
                  <a:pt x="307975" y="1769934"/>
                </a:moveTo>
                <a:cubicBezTo>
                  <a:pt x="324485" y="1777554"/>
                  <a:pt x="335915" y="1750884"/>
                  <a:pt x="318770" y="1743899"/>
                </a:cubicBezTo>
                <a:cubicBezTo>
                  <a:pt x="301625" y="1736913"/>
                  <a:pt x="290830" y="1762949"/>
                  <a:pt x="307975" y="1769934"/>
                </a:cubicBezTo>
                <a:close/>
                <a:moveTo>
                  <a:pt x="347345" y="2314129"/>
                </a:moveTo>
                <a:cubicBezTo>
                  <a:pt x="372110" y="2319209"/>
                  <a:pt x="380365" y="2279839"/>
                  <a:pt x="354965" y="2275394"/>
                </a:cubicBezTo>
                <a:cubicBezTo>
                  <a:pt x="329565" y="2270314"/>
                  <a:pt x="321945" y="2309684"/>
                  <a:pt x="347345" y="2314129"/>
                </a:cubicBezTo>
                <a:close/>
                <a:moveTo>
                  <a:pt x="173355" y="1695638"/>
                </a:moveTo>
                <a:cubicBezTo>
                  <a:pt x="165735" y="1712149"/>
                  <a:pt x="191770" y="1724213"/>
                  <a:pt x="198755" y="1707069"/>
                </a:cubicBezTo>
                <a:cubicBezTo>
                  <a:pt x="207010" y="1691194"/>
                  <a:pt x="180975" y="1679129"/>
                  <a:pt x="173355" y="1695638"/>
                </a:cubicBezTo>
                <a:close/>
                <a:moveTo>
                  <a:pt x="338455" y="1916619"/>
                </a:moveTo>
                <a:cubicBezTo>
                  <a:pt x="357505" y="1923604"/>
                  <a:pt x="368300" y="1893759"/>
                  <a:pt x="348615" y="1887409"/>
                </a:cubicBezTo>
                <a:cubicBezTo>
                  <a:pt x="330200" y="1879788"/>
                  <a:pt x="320040" y="1909634"/>
                  <a:pt x="338455" y="1916619"/>
                </a:cubicBezTo>
                <a:close/>
                <a:moveTo>
                  <a:pt x="336550" y="1646744"/>
                </a:moveTo>
                <a:cubicBezTo>
                  <a:pt x="351155" y="1653729"/>
                  <a:pt x="361950" y="1630234"/>
                  <a:pt x="346710" y="1623884"/>
                </a:cubicBezTo>
                <a:cubicBezTo>
                  <a:pt x="331470" y="1616899"/>
                  <a:pt x="321310" y="1640394"/>
                  <a:pt x="336550" y="1646744"/>
                </a:cubicBezTo>
                <a:close/>
                <a:moveTo>
                  <a:pt x="400050" y="1921063"/>
                </a:moveTo>
                <a:cubicBezTo>
                  <a:pt x="393700" y="1940113"/>
                  <a:pt x="423545" y="1950274"/>
                  <a:pt x="429260" y="1930588"/>
                </a:cubicBezTo>
                <a:cubicBezTo>
                  <a:pt x="436245" y="1911538"/>
                  <a:pt x="405765" y="1902013"/>
                  <a:pt x="400050" y="1921063"/>
                </a:cubicBezTo>
                <a:close/>
                <a:moveTo>
                  <a:pt x="375920" y="2059494"/>
                </a:moveTo>
                <a:cubicBezTo>
                  <a:pt x="394970" y="2060129"/>
                  <a:pt x="399415" y="2030919"/>
                  <a:pt x="380365" y="2026474"/>
                </a:cubicBezTo>
                <a:cubicBezTo>
                  <a:pt x="356235" y="2019488"/>
                  <a:pt x="350520" y="2059494"/>
                  <a:pt x="375920" y="2059494"/>
                </a:cubicBezTo>
                <a:close/>
                <a:moveTo>
                  <a:pt x="394335" y="1672144"/>
                </a:moveTo>
                <a:cubicBezTo>
                  <a:pt x="408940" y="1679129"/>
                  <a:pt x="419735" y="1654999"/>
                  <a:pt x="404495" y="1648649"/>
                </a:cubicBezTo>
                <a:cubicBezTo>
                  <a:pt x="389890" y="1642299"/>
                  <a:pt x="379095" y="1665794"/>
                  <a:pt x="394335" y="1672144"/>
                </a:cubicBezTo>
                <a:close/>
                <a:moveTo>
                  <a:pt x="372110" y="1795969"/>
                </a:moveTo>
                <a:cubicBezTo>
                  <a:pt x="388620" y="1802954"/>
                  <a:pt x="399415" y="1776284"/>
                  <a:pt x="382270" y="1769934"/>
                </a:cubicBezTo>
                <a:cubicBezTo>
                  <a:pt x="365760" y="1762949"/>
                  <a:pt x="354965" y="1789619"/>
                  <a:pt x="372110" y="1795969"/>
                </a:cubicBezTo>
                <a:close/>
                <a:moveTo>
                  <a:pt x="342265" y="2163634"/>
                </a:moveTo>
                <a:cubicBezTo>
                  <a:pt x="348615" y="2140774"/>
                  <a:pt x="312420" y="2131249"/>
                  <a:pt x="306705" y="2154109"/>
                </a:cubicBezTo>
                <a:cubicBezTo>
                  <a:pt x="300355" y="2176969"/>
                  <a:pt x="336550" y="2186494"/>
                  <a:pt x="342265" y="2163634"/>
                </a:cubicBezTo>
                <a:close/>
                <a:moveTo>
                  <a:pt x="278130" y="1620074"/>
                </a:moveTo>
                <a:cubicBezTo>
                  <a:pt x="292735" y="1627059"/>
                  <a:pt x="304165" y="1603563"/>
                  <a:pt x="288925" y="1597213"/>
                </a:cubicBezTo>
                <a:cubicBezTo>
                  <a:pt x="274320" y="1590229"/>
                  <a:pt x="263525" y="1613724"/>
                  <a:pt x="278130" y="1620074"/>
                </a:cubicBezTo>
                <a:close/>
                <a:moveTo>
                  <a:pt x="243840" y="1742629"/>
                </a:moveTo>
                <a:cubicBezTo>
                  <a:pt x="260350" y="1750249"/>
                  <a:pt x="271780" y="1723579"/>
                  <a:pt x="255270" y="1716594"/>
                </a:cubicBezTo>
                <a:cubicBezTo>
                  <a:pt x="238760" y="1709609"/>
                  <a:pt x="227330" y="1735644"/>
                  <a:pt x="243840" y="1742629"/>
                </a:cubicBezTo>
                <a:close/>
                <a:moveTo>
                  <a:pt x="220980" y="1593404"/>
                </a:moveTo>
                <a:cubicBezTo>
                  <a:pt x="235585" y="1601024"/>
                  <a:pt x="247015" y="1577529"/>
                  <a:pt x="231775" y="1570544"/>
                </a:cubicBezTo>
                <a:cubicBezTo>
                  <a:pt x="217170" y="1562924"/>
                  <a:pt x="205740" y="1586419"/>
                  <a:pt x="220980" y="1593404"/>
                </a:cubicBezTo>
                <a:close/>
                <a:moveTo>
                  <a:pt x="189865" y="1842324"/>
                </a:moveTo>
                <a:cubicBezTo>
                  <a:pt x="181610" y="1860738"/>
                  <a:pt x="210820" y="1872804"/>
                  <a:pt x="218440" y="1854388"/>
                </a:cubicBezTo>
                <a:cubicBezTo>
                  <a:pt x="226695" y="1835338"/>
                  <a:pt x="197485" y="1823274"/>
                  <a:pt x="189865" y="1842324"/>
                </a:cubicBezTo>
                <a:close/>
                <a:moveTo>
                  <a:pt x="282575" y="2013774"/>
                </a:moveTo>
                <a:cubicBezTo>
                  <a:pt x="275590" y="2034729"/>
                  <a:pt x="307975" y="2045524"/>
                  <a:pt x="314960" y="2024569"/>
                </a:cubicBezTo>
                <a:cubicBezTo>
                  <a:pt x="321945" y="2003613"/>
                  <a:pt x="289560" y="1992819"/>
                  <a:pt x="282575" y="2013774"/>
                </a:cubicBezTo>
                <a:close/>
                <a:moveTo>
                  <a:pt x="236220" y="2152839"/>
                </a:moveTo>
                <a:cubicBezTo>
                  <a:pt x="258445" y="2160459"/>
                  <a:pt x="269875" y="2124264"/>
                  <a:pt x="247015" y="2117914"/>
                </a:cubicBezTo>
                <a:cubicBezTo>
                  <a:pt x="224790" y="2110294"/>
                  <a:pt x="213360" y="2145854"/>
                  <a:pt x="236220" y="2152839"/>
                </a:cubicBezTo>
                <a:close/>
                <a:moveTo>
                  <a:pt x="267970" y="1890584"/>
                </a:moveTo>
                <a:cubicBezTo>
                  <a:pt x="286385" y="1898204"/>
                  <a:pt x="298450" y="1868359"/>
                  <a:pt x="278765" y="1861374"/>
                </a:cubicBezTo>
                <a:cubicBezTo>
                  <a:pt x="260985" y="1853754"/>
                  <a:pt x="249555" y="1883599"/>
                  <a:pt x="267970" y="1890584"/>
                </a:cubicBezTo>
                <a:close/>
                <a:moveTo>
                  <a:pt x="238760" y="1998534"/>
                </a:moveTo>
                <a:cubicBezTo>
                  <a:pt x="246380" y="1978213"/>
                  <a:pt x="213995" y="1966149"/>
                  <a:pt x="207010" y="1987104"/>
                </a:cubicBezTo>
                <a:cubicBezTo>
                  <a:pt x="199390" y="2007424"/>
                  <a:pt x="231140" y="2019488"/>
                  <a:pt x="238760" y="1998534"/>
                </a:cubicBezTo>
                <a:close/>
                <a:moveTo>
                  <a:pt x="7620" y="2314129"/>
                </a:moveTo>
                <a:cubicBezTo>
                  <a:pt x="5080" y="2312859"/>
                  <a:pt x="2540" y="2312859"/>
                  <a:pt x="0" y="2312859"/>
                </a:cubicBezTo>
                <a:lnTo>
                  <a:pt x="0" y="2355404"/>
                </a:lnTo>
                <a:cubicBezTo>
                  <a:pt x="20320" y="2356039"/>
                  <a:pt x="30480" y="2323019"/>
                  <a:pt x="7620" y="2314129"/>
                </a:cubicBezTo>
                <a:close/>
                <a:moveTo>
                  <a:pt x="302260" y="2415729"/>
                </a:moveTo>
                <a:cubicBezTo>
                  <a:pt x="307340" y="2389059"/>
                  <a:pt x="264795" y="2381439"/>
                  <a:pt x="260350" y="2408109"/>
                </a:cubicBezTo>
                <a:cubicBezTo>
                  <a:pt x="255270" y="2435414"/>
                  <a:pt x="297815" y="2443034"/>
                  <a:pt x="302260" y="2415729"/>
                </a:cubicBezTo>
                <a:close/>
                <a:moveTo>
                  <a:pt x="426720" y="2552254"/>
                </a:moveTo>
                <a:cubicBezTo>
                  <a:pt x="427990" y="2523044"/>
                  <a:pt x="381635" y="2521774"/>
                  <a:pt x="381635" y="2550984"/>
                </a:cubicBezTo>
                <a:cubicBezTo>
                  <a:pt x="380365" y="2580829"/>
                  <a:pt x="426085" y="2582099"/>
                  <a:pt x="426720" y="2552254"/>
                </a:cubicBezTo>
                <a:close/>
                <a:moveTo>
                  <a:pt x="448945" y="2761169"/>
                </a:moveTo>
                <a:cubicBezTo>
                  <a:pt x="415925" y="2766249"/>
                  <a:pt x="424815" y="2817049"/>
                  <a:pt x="457200" y="2811334"/>
                </a:cubicBezTo>
                <a:cubicBezTo>
                  <a:pt x="489585" y="2806889"/>
                  <a:pt x="481330" y="2755454"/>
                  <a:pt x="448945" y="2761169"/>
                </a:cubicBezTo>
                <a:close/>
                <a:moveTo>
                  <a:pt x="529590" y="2549714"/>
                </a:moveTo>
                <a:cubicBezTo>
                  <a:pt x="528320" y="2520504"/>
                  <a:pt x="482600" y="2522409"/>
                  <a:pt x="484505" y="2551619"/>
                </a:cubicBezTo>
                <a:cubicBezTo>
                  <a:pt x="485140" y="2581464"/>
                  <a:pt x="531495" y="2578924"/>
                  <a:pt x="529590" y="2549714"/>
                </a:cubicBezTo>
                <a:close/>
                <a:moveTo>
                  <a:pt x="561340" y="2657029"/>
                </a:moveTo>
                <a:cubicBezTo>
                  <a:pt x="556895" y="2625914"/>
                  <a:pt x="508635" y="2633534"/>
                  <a:pt x="513715" y="2664014"/>
                </a:cubicBezTo>
                <a:cubicBezTo>
                  <a:pt x="518160" y="2695129"/>
                  <a:pt x="566420" y="2687509"/>
                  <a:pt x="561340" y="2657029"/>
                </a:cubicBezTo>
                <a:close/>
                <a:moveTo>
                  <a:pt x="398780" y="2428429"/>
                </a:moveTo>
                <a:cubicBezTo>
                  <a:pt x="402590" y="2401124"/>
                  <a:pt x="359410" y="2396679"/>
                  <a:pt x="356870" y="2423984"/>
                </a:cubicBezTo>
                <a:cubicBezTo>
                  <a:pt x="353060" y="2450654"/>
                  <a:pt x="395605" y="2455734"/>
                  <a:pt x="398780" y="2428429"/>
                </a:cubicBezTo>
                <a:close/>
                <a:moveTo>
                  <a:pt x="321310" y="2650679"/>
                </a:moveTo>
                <a:cubicBezTo>
                  <a:pt x="290195" y="2649409"/>
                  <a:pt x="289560" y="2698939"/>
                  <a:pt x="320675" y="2698939"/>
                </a:cubicBezTo>
                <a:cubicBezTo>
                  <a:pt x="351790" y="2699574"/>
                  <a:pt x="352425" y="2650679"/>
                  <a:pt x="321310" y="2650679"/>
                </a:cubicBezTo>
                <a:close/>
                <a:moveTo>
                  <a:pt x="303530" y="2523044"/>
                </a:moveTo>
                <a:cubicBezTo>
                  <a:pt x="273050" y="2519869"/>
                  <a:pt x="270510" y="2568129"/>
                  <a:pt x="300990" y="2568129"/>
                </a:cubicBezTo>
                <a:cubicBezTo>
                  <a:pt x="328930" y="2568764"/>
                  <a:pt x="331470" y="2524949"/>
                  <a:pt x="303530" y="2523044"/>
                </a:cubicBezTo>
                <a:close/>
                <a:moveTo>
                  <a:pt x="337820" y="2774504"/>
                </a:moveTo>
                <a:cubicBezTo>
                  <a:pt x="304800" y="2776409"/>
                  <a:pt x="308610" y="2827844"/>
                  <a:pt x="341630" y="2825304"/>
                </a:cubicBezTo>
                <a:cubicBezTo>
                  <a:pt x="374650" y="2823399"/>
                  <a:pt x="370840" y="2771964"/>
                  <a:pt x="337820" y="2774504"/>
                </a:cubicBezTo>
                <a:close/>
                <a:moveTo>
                  <a:pt x="427990" y="2648139"/>
                </a:moveTo>
                <a:cubicBezTo>
                  <a:pt x="396875" y="2650044"/>
                  <a:pt x="400050" y="2698304"/>
                  <a:pt x="431165" y="2695764"/>
                </a:cubicBezTo>
                <a:cubicBezTo>
                  <a:pt x="462280" y="2694494"/>
                  <a:pt x="459105" y="2645599"/>
                  <a:pt x="427990" y="2648139"/>
                </a:cubicBezTo>
                <a:close/>
                <a:moveTo>
                  <a:pt x="833755" y="2500184"/>
                </a:moveTo>
                <a:cubicBezTo>
                  <a:pt x="827405" y="2471609"/>
                  <a:pt x="782320" y="2482404"/>
                  <a:pt x="789940" y="2510979"/>
                </a:cubicBezTo>
                <a:cubicBezTo>
                  <a:pt x="796925" y="2539554"/>
                  <a:pt x="841375" y="2528124"/>
                  <a:pt x="833755" y="2500184"/>
                </a:cubicBezTo>
                <a:close/>
                <a:moveTo>
                  <a:pt x="772160" y="2667824"/>
                </a:moveTo>
                <a:cubicBezTo>
                  <a:pt x="741045" y="2679889"/>
                  <a:pt x="760730" y="2727514"/>
                  <a:pt x="791210" y="2714814"/>
                </a:cubicBezTo>
                <a:cubicBezTo>
                  <a:pt x="822325" y="2702749"/>
                  <a:pt x="802640" y="2655124"/>
                  <a:pt x="772160" y="2667824"/>
                </a:cubicBezTo>
                <a:close/>
                <a:moveTo>
                  <a:pt x="875030" y="2571939"/>
                </a:moveTo>
                <a:cubicBezTo>
                  <a:pt x="864870" y="2542729"/>
                  <a:pt x="819150" y="2559239"/>
                  <a:pt x="829945" y="2588449"/>
                </a:cubicBezTo>
                <a:cubicBezTo>
                  <a:pt x="840105" y="2617659"/>
                  <a:pt x="885825" y="2600514"/>
                  <a:pt x="875030" y="2571939"/>
                </a:cubicBezTo>
                <a:close/>
                <a:moveTo>
                  <a:pt x="558800" y="2738309"/>
                </a:moveTo>
                <a:cubicBezTo>
                  <a:pt x="526415" y="2745929"/>
                  <a:pt x="539750" y="2796094"/>
                  <a:pt x="571500" y="2787839"/>
                </a:cubicBezTo>
                <a:cubicBezTo>
                  <a:pt x="603250" y="2780219"/>
                  <a:pt x="590550" y="2730054"/>
                  <a:pt x="558800" y="2738309"/>
                </a:cubicBezTo>
                <a:close/>
                <a:moveTo>
                  <a:pt x="772160" y="2606864"/>
                </a:moveTo>
                <a:cubicBezTo>
                  <a:pt x="763905" y="2577019"/>
                  <a:pt x="716915" y="2590354"/>
                  <a:pt x="725805" y="2620199"/>
                </a:cubicBezTo>
                <a:cubicBezTo>
                  <a:pt x="734695" y="2650044"/>
                  <a:pt x="781685" y="2636074"/>
                  <a:pt x="772160" y="2606864"/>
                </a:cubicBezTo>
                <a:close/>
                <a:moveTo>
                  <a:pt x="6985" y="2600514"/>
                </a:moveTo>
                <a:cubicBezTo>
                  <a:pt x="4445" y="2599879"/>
                  <a:pt x="1905" y="2599244"/>
                  <a:pt x="0" y="2599244"/>
                </a:cubicBezTo>
                <a:lnTo>
                  <a:pt x="0" y="2647504"/>
                </a:lnTo>
                <a:cubicBezTo>
                  <a:pt x="24130" y="2648139"/>
                  <a:pt x="34290" y="2608769"/>
                  <a:pt x="6985" y="2600514"/>
                </a:cubicBezTo>
                <a:close/>
                <a:moveTo>
                  <a:pt x="733425" y="2523044"/>
                </a:moveTo>
                <a:cubicBezTo>
                  <a:pt x="728345" y="2493834"/>
                  <a:pt x="683260" y="2502724"/>
                  <a:pt x="688975" y="2531299"/>
                </a:cubicBezTo>
                <a:cubicBezTo>
                  <a:pt x="694055" y="2559874"/>
                  <a:pt x="739140" y="2551619"/>
                  <a:pt x="733425" y="2523044"/>
                </a:cubicBezTo>
                <a:close/>
                <a:moveTo>
                  <a:pt x="631825" y="2539554"/>
                </a:moveTo>
                <a:cubicBezTo>
                  <a:pt x="628650" y="2510344"/>
                  <a:pt x="582930" y="2515424"/>
                  <a:pt x="586740" y="2544634"/>
                </a:cubicBezTo>
                <a:cubicBezTo>
                  <a:pt x="589915" y="2574479"/>
                  <a:pt x="635635" y="2568764"/>
                  <a:pt x="631825" y="2539554"/>
                </a:cubicBezTo>
                <a:close/>
                <a:moveTo>
                  <a:pt x="666750" y="2706559"/>
                </a:moveTo>
                <a:cubicBezTo>
                  <a:pt x="635000" y="2716719"/>
                  <a:pt x="652145" y="2765614"/>
                  <a:pt x="682625" y="2754819"/>
                </a:cubicBezTo>
                <a:cubicBezTo>
                  <a:pt x="713740" y="2745294"/>
                  <a:pt x="697865" y="2695764"/>
                  <a:pt x="666750" y="2706559"/>
                </a:cubicBezTo>
                <a:close/>
                <a:moveTo>
                  <a:pt x="667385" y="2635439"/>
                </a:moveTo>
                <a:cubicBezTo>
                  <a:pt x="661035" y="2604959"/>
                  <a:pt x="613410" y="2615754"/>
                  <a:pt x="620395" y="2646234"/>
                </a:cubicBezTo>
                <a:cubicBezTo>
                  <a:pt x="627380" y="2676714"/>
                  <a:pt x="675005" y="2665919"/>
                  <a:pt x="667385" y="2635439"/>
                </a:cubicBezTo>
                <a:close/>
                <a:moveTo>
                  <a:pt x="86360" y="2060763"/>
                </a:moveTo>
                <a:cubicBezTo>
                  <a:pt x="64135" y="2051874"/>
                  <a:pt x="50800" y="2086163"/>
                  <a:pt x="73025" y="2095054"/>
                </a:cubicBezTo>
                <a:cubicBezTo>
                  <a:pt x="94615" y="2104579"/>
                  <a:pt x="108585" y="2069654"/>
                  <a:pt x="86360" y="2060763"/>
                </a:cubicBezTo>
                <a:close/>
                <a:moveTo>
                  <a:pt x="92710" y="2530664"/>
                </a:moveTo>
                <a:cubicBezTo>
                  <a:pt x="120650" y="2538919"/>
                  <a:pt x="132715" y="2493834"/>
                  <a:pt x="104140" y="2486849"/>
                </a:cubicBezTo>
                <a:cubicBezTo>
                  <a:pt x="76200" y="2479229"/>
                  <a:pt x="64135" y="2523679"/>
                  <a:pt x="92710" y="2530664"/>
                </a:cubicBezTo>
                <a:close/>
                <a:moveTo>
                  <a:pt x="80010" y="1917888"/>
                </a:moveTo>
                <a:cubicBezTo>
                  <a:pt x="59690" y="1908999"/>
                  <a:pt x="46355" y="1940749"/>
                  <a:pt x="66675" y="1949004"/>
                </a:cubicBezTo>
                <a:cubicBezTo>
                  <a:pt x="86360" y="1957894"/>
                  <a:pt x="100330" y="1926144"/>
                  <a:pt x="80010" y="1917888"/>
                </a:cubicBezTo>
                <a:close/>
                <a:moveTo>
                  <a:pt x="85725" y="2385884"/>
                </a:moveTo>
                <a:cubicBezTo>
                  <a:pt x="111760" y="2394774"/>
                  <a:pt x="124460" y="2353499"/>
                  <a:pt x="98425" y="2345244"/>
                </a:cubicBezTo>
                <a:cubicBezTo>
                  <a:pt x="72390" y="2336989"/>
                  <a:pt x="59690" y="2378264"/>
                  <a:pt x="85725" y="2385884"/>
                </a:cubicBezTo>
                <a:close/>
                <a:moveTo>
                  <a:pt x="79375" y="2241104"/>
                </a:moveTo>
                <a:cubicBezTo>
                  <a:pt x="102870" y="2249994"/>
                  <a:pt x="116840" y="2211894"/>
                  <a:pt x="92710" y="2203639"/>
                </a:cubicBezTo>
                <a:cubicBezTo>
                  <a:pt x="67945" y="2194749"/>
                  <a:pt x="54610" y="2232849"/>
                  <a:pt x="79375" y="2241104"/>
                </a:cubicBezTo>
                <a:close/>
                <a:moveTo>
                  <a:pt x="260985" y="2295079"/>
                </a:moveTo>
                <a:cubicBezTo>
                  <a:pt x="334010" y="2255074"/>
                  <a:pt x="194945" y="2237929"/>
                  <a:pt x="255905" y="2294444"/>
                </a:cubicBezTo>
                <a:lnTo>
                  <a:pt x="255905" y="2294444"/>
                </a:lnTo>
                <a:cubicBezTo>
                  <a:pt x="257810" y="2294444"/>
                  <a:pt x="259715" y="2295079"/>
                  <a:pt x="260985" y="2295079"/>
                </a:cubicBezTo>
                <a:close/>
                <a:moveTo>
                  <a:pt x="6350" y="2743389"/>
                </a:moveTo>
                <a:cubicBezTo>
                  <a:pt x="3810" y="2742754"/>
                  <a:pt x="1905" y="2742754"/>
                  <a:pt x="0" y="2742119"/>
                </a:cubicBezTo>
                <a:lnTo>
                  <a:pt x="0" y="2792919"/>
                </a:lnTo>
                <a:cubicBezTo>
                  <a:pt x="26670" y="2794824"/>
                  <a:pt x="36195" y="2751009"/>
                  <a:pt x="6350" y="2743389"/>
                </a:cubicBezTo>
                <a:close/>
                <a:moveTo>
                  <a:pt x="62230" y="1484819"/>
                </a:moveTo>
                <a:cubicBezTo>
                  <a:pt x="43815" y="1475294"/>
                  <a:pt x="35560" y="1508313"/>
                  <a:pt x="56515" y="1508949"/>
                </a:cubicBezTo>
                <a:cubicBezTo>
                  <a:pt x="68580" y="1509584"/>
                  <a:pt x="73660" y="1490534"/>
                  <a:pt x="62230" y="1484819"/>
                </a:cubicBezTo>
                <a:close/>
                <a:moveTo>
                  <a:pt x="67945" y="1629599"/>
                </a:moveTo>
                <a:cubicBezTo>
                  <a:pt x="46990" y="1620074"/>
                  <a:pt x="38735" y="1655634"/>
                  <a:pt x="61595" y="1656269"/>
                </a:cubicBezTo>
                <a:cubicBezTo>
                  <a:pt x="76200" y="1656904"/>
                  <a:pt x="81280" y="1635949"/>
                  <a:pt x="67945" y="1629599"/>
                </a:cubicBezTo>
                <a:close/>
                <a:moveTo>
                  <a:pt x="67310" y="1803588"/>
                </a:moveTo>
                <a:cubicBezTo>
                  <a:pt x="83185" y="1804224"/>
                  <a:pt x="88900" y="1780094"/>
                  <a:pt x="73660" y="1773744"/>
                </a:cubicBezTo>
                <a:cubicBezTo>
                  <a:pt x="51435" y="1763584"/>
                  <a:pt x="42545" y="1802954"/>
                  <a:pt x="67310" y="1803588"/>
                </a:cubicBezTo>
                <a:close/>
                <a:moveTo>
                  <a:pt x="203200" y="2508439"/>
                </a:moveTo>
                <a:cubicBezTo>
                  <a:pt x="172085" y="2502724"/>
                  <a:pt x="167005" y="2553524"/>
                  <a:pt x="199390" y="2553524"/>
                </a:cubicBezTo>
                <a:cubicBezTo>
                  <a:pt x="225425" y="2554159"/>
                  <a:pt x="229870" y="2512884"/>
                  <a:pt x="203200" y="2508439"/>
                </a:cubicBezTo>
                <a:close/>
                <a:moveTo>
                  <a:pt x="209550" y="2691319"/>
                </a:moveTo>
                <a:cubicBezTo>
                  <a:pt x="240030" y="2695129"/>
                  <a:pt x="245745" y="2646869"/>
                  <a:pt x="214630" y="2643694"/>
                </a:cubicBezTo>
                <a:cubicBezTo>
                  <a:pt x="184150" y="2639884"/>
                  <a:pt x="179070" y="2688779"/>
                  <a:pt x="209550" y="2691319"/>
                </a:cubicBezTo>
                <a:lnTo>
                  <a:pt x="209550" y="2691319"/>
                </a:lnTo>
                <a:close/>
                <a:moveTo>
                  <a:pt x="100330" y="2674174"/>
                </a:moveTo>
                <a:cubicBezTo>
                  <a:pt x="130810" y="2681159"/>
                  <a:pt x="140970" y="2632899"/>
                  <a:pt x="109855" y="2627184"/>
                </a:cubicBezTo>
                <a:cubicBezTo>
                  <a:pt x="79375" y="2620199"/>
                  <a:pt x="69850" y="2668459"/>
                  <a:pt x="100330" y="2674174"/>
                </a:cubicBezTo>
                <a:close/>
                <a:moveTo>
                  <a:pt x="191135" y="2371279"/>
                </a:moveTo>
                <a:cubicBezTo>
                  <a:pt x="161290" y="2363659"/>
                  <a:pt x="154940" y="2413189"/>
                  <a:pt x="186055" y="2413189"/>
                </a:cubicBezTo>
                <a:cubicBezTo>
                  <a:pt x="210185" y="2413824"/>
                  <a:pt x="214630" y="2376359"/>
                  <a:pt x="191135" y="2371279"/>
                </a:cubicBezTo>
                <a:close/>
                <a:moveTo>
                  <a:pt x="226695" y="2776409"/>
                </a:moveTo>
                <a:cubicBezTo>
                  <a:pt x="193675" y="2774504"/>
                  <a:pt x="191770" y="2826574"/>
                  <a:pt x="224790" y="2827209"/>
                </a:cubicBezTo>
                <a:cubicBezTo>
                  <a:pt x="257175" y="2829114"/>
                  <a:pt x="259715" y="2777044"/>
                  <a:pt x="226695" y="2776409"/>
                </a:cubicBezTo>
                <a:close/>
                <a:moveTo>
                  <a:pt x="178435" y="2232214"/>
                </a:moveTo>
                <a:cubicBezTo>
                  <a:pt x="149860" y="2223959"/>
                  <a:pt x="143510" y="2270949"/>
                  <a:pt x="172720" y="2270949"/>
                </a:cubicBezTo>
                <a:cubicBezTo>
                  <a:pt x="194945" y="2271584"/>
                  <a:pt x="200025" y="2237929"/>
                  <a:pt x="178435" y="2232214"/>
                </a:cubicBezTo>
                <a:close/>
                <a:moveTo>
                  <a:pt x="115570" y="2766249"/>
                </a:moveTo>
                <a:cubicBezTo>
                  <a:pt x="83185" y="2761169"/>
                  <a:pt x="75565" y="2811969"/>
                  <a:pt x="107950" y="2816414"/>
                </a:cubicBezTo>
                <a:cubicBezTo>
                  <a:pt x="140335" y="2822129"/>
                  <a:pt x="148590" y="2770694"/>
                  <a:pt x="115570" y="2766249"/>
                </a:cubicBezTo>
                <a:close/>
                <a:moveTo>
                  <a:pt x="166370" y="2090609"/>
                </a:moveTo>
                <a:cubicBezTo>
                  <a:pt x="139700" y="2081719"/>
                  <a:pt x="132080" y="2126169"/>
                  <a:pt x="160020" y="2126169"/>
                </a:cubicBezTo>
                <a:cubicBezTo>
                  <a:pt x="179705" y="2127439"/>
                  <a:pt x="185420" y="2096959"/>
                  <a:pt x="166370" y="2090609"/>
                </a:cubicBezTo>
                <a:close/>
                <a:moveTo>
                  <a:pt x="1195070" y="2180779"/>
                </a:moveTo>
                <a:cubicBezTo>
                  <a:pt x="1190625" y="2157284"/>
                  <a:pt x="1153795" y="2164904"/>
                  <a:pt x="1158875" y="2188399"/>
                </a:cubicBezTo>
                <a:cubicBezTo>
                  <a:pt x="1163955" y="2211894"/>
                  <a:pt x="1200150" y="2203639"/>
                  <a:pt x="1195070" y="2180779"/>
                </a:cubicBezTo>
                <a:close/>
                <a:moveTo>
                  <a:pt x="936625" y="2389059"/>
                </a:moveTo>
                <a:cubicBezTo>
                  <a:pt x="942975" y="2415729"/>
                  <a:pt x="984885" y="2405569"/>
                  <a:pt x="977900" y="2378899"/>
                </a:cubicBezTo>
                <a:cubicBezTo>
                  <a:pt x="971550" y="2352229"/>
                  <a:pt x="929640" y="2363024"/>
                  <a:pt x="936625" y="2389059"/>
                </a:cubicBezTo>
                <a:close/>
                <a:moveTo>
                  <a:pt x="974725" y="1958529"/>
                </a:moveTo>
                <a:cubicBezTo>
                  <a:pt x="992505" y="1961069"/>
                  <a:pt x="996950" y="1932494"/>
                  <a:pt x="978535" y="1930588"/>
                </a:cubicBezTo>
                <a:cubicBezTo>
                  <a:pt x="960755" y="1927413"/>
                  <a:pt x="956945" y="1955988"/>
                  <a:pt x="974725" y="1958529"/>
                </a:cubicBezTo>
                <a:close/>
                <a:moveTo>
                  <a:pt x="835660" y="2240469"/>
                </a:moveTo>
                <a:cubicBezTo>
                  <a:pt x="859790" y="2240469"/>
                  <a:pt x="859155" y="2203004"/>
                  <a:pt x="835025" y="2203639"/>
                </a:cubicBezTo>
                <a:cubicBezTo>
                  <a:pt x="811530" y="2203639"/>
                  <a:pt x="812165" y="2241104"/>
                  <a:pt x="835660" y="2240469"/>
                </a:cubicBezTo>
                <a:close/>
                <a:moveTo>
                  <a:pt x="1000760" y="1866454"/>
                </a:moveTo>
                <a:cubicBezTo>
                  <a:pt x="1016635" y="1870263"/>
                  <a:pt x="1021715" y="1844229"/>
                  <a:pt x="1005840" y="1841688"/>
                </a:cubicBezTo>
                <a:cubicBezTo>
                  <a:pt x="989330" y="1837879"/>
                  <a:pt x="984250" y="1863279"/>
                  <a:pt x="1000760" y="1866454"/>
                </a:cubicBezTo>
                <a:close/>
                <a:moveTo>
                  <a:pt x="1001395" y="2023299"/>
                </a:moveTo>
                <a:cubicBezTo>
                  <a:pt x="981075" y="2022029"/>
                  <a:pt x="979805" y="2053779"/>
                  <a:pt x="1000125" y="2054413"/>
                </a:cubicBezTo>
                <a:cubicBezTo>
                  <a:pt x="1019810" y="2055049"/>
                  <a:pt x="1021080" y="2023934"/>
                  <a:pt x="1001395" y="2023299"/>
                </a:cubicBezTo>
                <a:close/>
                <a:moveTo>
                  <a:pt x="993775" y="2126804"/>
                </a:moveTo>
                <a:cubicBezTo>
                  <a:pt x="994410" y="2149029"/>
                  <a:pt x="1028700" y="2147759"/>
                  <a:pt x="1027430" y="2125534"/>
                </a:cubicBezTo>
                <a:cubicBezTo>
                  <a:pt x="1027430" y="2103944"/>
                  <a:pt x="993140" y="2105214"/>
                  <a:pt x="993775" y="2126804"/>
                </a:cubicBezTo>
                <a:close/>
                <a:moveTo>
                  <a:pt x="1025525" y="2209354"/>
                </a:moveTo>
                <a:cubicBezTo>
                  <a:pt x="1023620" y="2185859"/>
                  <a:pt x="986155" y="2189669"/>
                  <a:pt x="989330" y="2213164"/>
                </a:cubicBezTo>
                <a:cubicBezTo>
                  <a:pt x="991235" y="2237294"/>
                  <a:pt x="1028700" y="2232849"/>
                  <a:pt x="1025525" y="2209354"/>
                </a:cubicBezTo>
                <a:close/>
                <a:moveTo>
                  <a:pt x="985520" y="2276664"/>
                </a:moveTo>
                <a:cubicBezTo>
                  <a:pt x="960120" y="2281109"/>
                  <a:pt x="967740" y="2320479"/>
                  <a:pt x="992505" y="2315399"/>
                </a:cubicBezTo>
                <a:cubicBezTo>
                  <a:pt x="1017905" y="2311589"/>
                  <a:pt x="1010920" y="2271584"/>
                  <a:pt x="985520" y="2276664"/>
                </a:cubicBezTo>
                <a:close/>
                <a:moveTo>
                  <a:pt x="848995" y="2142044"/>
                </a:moveTo>
                <a:cubicBezTo>
                  <a:pt x="871220" y="2143314"/>
                  <a:pt x="872490" y="2109024"/>
                  <a:pt x="850900" y="2108389"/>
                </a:cubicBezTo>
                <a:cubicBezTo>
                  <a:pt x="829310" y="2106484"/>
                  <a:pt x="827405" y="2140774"/>
                  <a:pt x="848995" y="2142044"/>
                </a:cubicBezTo>
                <a:close/>
                <a:moveTo>
                  <a:pt x="906145" y="1947734"/>
                </a:moveTo>
                <a:cubicBezTo>
                  <a:pt x="923925" y="1950909"/>
                  <a:pt x="929005" y="1922969"/>
                  <a:pt x="910590" y="1919794"/>
                </a:cubicBezTo>
                <a:cubicBezTo>
                  <a:pt x="892810" y="1916619"/>
                  <a:pt x="888365" y="1945194"/>
                  <a:pt x="906145" y="1947734"/>
                </a:cubicBezTo>
                <a:close/>
                <a:moveTo>
                  <a:pt x="1050925" y="2379534"/>
                </a:moveTo>
                <a:cubicBezTo>
                  <a:pt x="1082675" y="2379534"/>
                  <a:pt x="1075055" y="2329369"/>
                  <a:pt x="1044575" y="2338259"/>
                </a:cubicBezTo>
                <a:cubicBezTo>
                  <a:pt x="1021715" y="2344609"/>
                  <a:pt x="1027430" y="2380169"/>
                  <a:pt x="1050925" y="2379534"/>
                </a:cubicBezTo>
                <a:close/>
                <a:moveTo>
                  <a:pt x="876300" y="1838513"/>
                </a:moveTo>
                <a:cubicBezTo>
                  <a:pt x="892175" y="1842959"/>
                  <a:pt x="898525" y="1817559"/>
                  <a:pt x="882650" y="1813749"/>
                </a:cubicBezTo>
                <a:cubicBezTo>
                  <a:pt x="866775" y="1809938"/>
                  <a:pt x="860425" y="1834704"/>
                  <a:pt x="876300" y="1838513"/>
                </a:cubicBezTo>
                <a:close/>
                <a:moveTo>
                  <a:pt x="862330" y="2426524"/>
                </a:moveTo>
                <a:cubicBezTo>
                  <a:pt x="892175" y="2426524"/>
                  <a:pt x="887730" y="2378899"/>
                  <a:pt x="858520" y="2384614"/>
                </a:cubicBezTo>
                <a:cubicBezTo>
                  <a:pt x="833120" y="2388424"/>
                  <a:pt x="837565" y="2427159"/>
                  <a:pt x="862330" y="2426524"/>
                </a:cubicBezTo>
                <a:close/>
                <a:moveTo>
                  <a:pt x="910590" y="2032188"/>
                </a:moveTo>
                <a:cubicBezTo>
                  <a:pt x="908685" y="2052509"/>
                  <a:pt x="939800" y="2055049"/>
                  <a:pt x="941705" y="2034729"/>
                </a:cubicBezTo>
                <a:cubicBezTo>
                  <a:pt x="943610" y="2015044"/>
                  <a:pt x="911860" y="2011869"/>
                  <a:pt x="910590" y="2032188"/>
                </a:cubicBezTo>
                <a:close/>
                <a:moveTo>
                  <a:pt x="836295" y="2023299"/>
                </a:moveTo>
                <a:cubicBezTo>
                  <a:pt x="833755" y="2042984"/>
                  <a:pt x="864870" y="2047429"/>
                  <a:pt x="867410" y="2027109"/>
                </a:cubicBezTo>
                <a:cubicBezTo>
                  <a:pt x="869950" y="2007424"/>
                  <a:pt x="838200" y="2003613"/>
                  <a:pt x="836295" y="2023299"/>
                </a:cubicBezTo>
                <a:close/>
                <a:moveTo>
                  <a:pt x="920115" y="2200464"/>
                </a:moveTo>
                <a:cubicBezTo>
                  <a:pt x="896620" y="2201734"/>
                  <a:pt x="898525" y="2239199"/>
                  <a:pt x="922655" y="2237294"/>
                </a:cubicBezTo>
                <a:cubicBezTo>
                  <a:pt x="946150" y="2236024"/>
                  <a:pt x="944245" y="2198559"/>
                  <a:pt x="920115" y="2200464"/>
                </a:cubicBezTo>
                <a:close/>
                <a:moveTo>
                  <a:pt x="898525" y="2330004"/>
                </a:moveTo>
                <a:cubicBezTo>
                  <a:pt x="925830" y="2330004"/>
                  <a:pt x="923290" y="2286824"/>
                  <a:pt x="895985" y="2290634"/>
                </a:cubicBezTo>
                <a:cubicBezTo>
                  <a:pt x="871855" y="2293174"/>
                  <a:pt x="875030" y="2330639"/>
                  <a:pt x="898525" y="2330004"/>
                </a:cubicBezTo>
                <a:close/>
                <a:moveTo>
                  <a:pt x="938530" y="1853119"/>
                </a:moveTo>
                <a:cubicBezTo>
                  <a:pt x="954405" y="1856929"/>
                  <a:pt x="960120" y="1831529"/>
                  <a:pt x="944245" y="1828354"/>
                </a:cubicBezTo>
                <a:cubicBezTo>
                  <a:pt x="927735" y="1824544"/>
                  <a:pt x="922020" y="1849944"/>
                  <a:pt x="938530" y="1853119"/>
                </a:cubicBezTo>
                <a:close/>
                <a:moveTo>
                  <a:pt x="930910" y="2110294"/>
                </a:moveTo>
                <a:cubicBezTo>
                  <a:pt x="908685" y="2109659"/>
                  <a:pt x="908685" y="2144584"/>
                  <a:pt x="930910" y="2143949"/>
                </a:cubicBezTo>
                <a:cubicBezTo>
                  <a:pt x="952500" y="2144584"/>
                  <a:pt x="952500" y="2110294"/>
                  <a:pt x="930910" y="2110294"/>
                </a:cubicBezTo>
                <a:close/>
                <a:moveTo>
                  <a:pt x="1134745" y="2040444"/>
                </a:moveTo>
                <a:cubicBezTo>
                  <a:pt x="1135380" y="2060763"/>
                  <a:pt x="1166495" y="2059494"/>
                  <a:pt x="1165860" y="2039174"/>
                </a:cubicBezTo>
                <a:cubicBezTo>
                  <a:pt x="1165225" y="2019488"/>
                  <a:pt x="1133475" y="2020124"/>
                  <a:pt x="1134745" y="2040444"/>
                </a:cubicBezTo>
                <a:close/>
                <a:moveTo>
                  <a:pt x="1173480" y="2273489"/>
                </a:moveTo>
                <a:cubicBezTo>
                  <a:pt x="1198245" y="2267139"/>
                  <a:pt x="1187450" y="2227769"/>
                  <a:pt x="1162685" y="2235389"/>
                </a:cubicBezTo>
                <a:cubicBezTo>
                  <a:pt x="1137285" y="2242374"/>
                  <a:pt x="1148715" y="2281109"/>
                  <a:pt x="1173480" y="2273489"/>
                </a:cubicBezTo>
                <a:close/>
                <a:moveTo>
                  <a:pt x="1136650" y="2308414"/>
                </a:moveTo>
                <a:cubicBezTo>
                  <a:pt x="1110615" y="2317304"/>
                  <a:pt x="1125220" y="2357944"/>
                  <a:pt x="1150620" y="2348419"/>
                </a:cubicBezTo>
                <a:cubicBezTo>
                  <a:pt x="1176655" y="2339529"/>
                  <a:pt x="1162050" y="2298889"/>
                  <a:pt x="1136650" y="2308414"/>
                </a:cubicBezTo>
                <a:close/>
                <a:moveTo>
                  <a:pt x="1188085" y="2112199"/>
                </a:moveTo>
                <a:cubicBezTo>
                  <a:pt x="1185545" y="2089974"/>
                  <a:pt x="1151255" y="2094419"/>
                  <a:pt x="1154430" y="2116644"/>
                </a:cubicBezTo>
                <a:cubicBezTo>
                  <a:pt x="1156970" y="2138234"/>
                  <a:pt x="1191260" y="2133789"/>
                  <a:pt x="1188085" y="2112199"/>
                </a:cubicBezTo>
                <a:close/>
                <a:moveTo>
                  <a:pt x="1183005" y="1975038"/>
                </a:moveTo>
                <a:cubicBezTo>
                  <a:pt x="1201420" y="1975674"/>
                  <a:pt x="1202055" y="1947099"/>
                  <a:pt x="1183640" y="1947099"/>
                </a:cubicBezTo>
                <a:cubicBezTo>
                  <a:pt x="1165225" y="1946463"/>
                  <a:pt x="1164590" y="1975038"/>
                  <a:pt x="1183005" y="1975038"/>
                </a:cubicBezTo>
                <a:close/>
                <a:moveTo>
                  <a:pt x="875665" y="2622739"/>
                </a:moveTo>
                <a:cubicBezTo>
                  <a:pt x="845185" y="2636074"/>
                  <a:pt x="867410" y="2683064"/>
                  <a:pt x="897255" y="2668459"/>
                </a:cubicBezTo>
                <a:cubicBezTo>
                  <a:pt x="927735" y="2655124"/>
                  <a:pt x="905510" y="2608134"/>
                  <a:pt x="875665" y="2622739"/>
                </a:cubicBezTo>
                <a:close/>
                <a:moveTo>
                  <a:pt x="1252855" y="1975674"/>
                </a:moveTo>
                <a:lnTo>
                  <a:pt x="1252855" y="1975674"/>
                </a:lnTo>
                <a:lnTo>
                  <a:pt x="1252855" y="1975674"/>
                </a:lnTo>
                <a:cubicBezTo>
                  <a:pt x="1271270" y="1975674"/>
                  <a:pt x="1270635" y="1947099"/>
                  <a:pt x="1252855" y="1947099"/>
                </a:cubicBezTo>
                <a:cubicBezTo>
                  <a:pt x="1234440" y="1947734"/>
                  <a:pt x="1234440" y="1976309"/>
                  <a:pt x="1252855" y="1975674"/>
                </a:cubicBezTo>
                <a:close/>
                <a:moveTo>
                  <a:pt x="1190625" y="1894394"/>
                </a:moveTo>
                <a:cubicBezTo>
                  <a:pt x="1207135" y="1896299"/>
                  <a:pt x="1209675" y="1870263"/>
                  <a:pt x="1193165" y="1868994"/>
                </a:cubicBezTo>
                <a:cubicBezTo>
                  <a:pt x="1176655" y="1867088"/>
                  <a:pt x="1174115" y="1893124"/>
                  <a:pt x="1190625" y="1894394"/>
                </a:cubicBezTo>
                <a:close/>
                <a:moveTo>
                  <a:pt x="1043940" y="1966784"/>
                </a:moveTo>
                <a:cubicBezTo>
                  <a:pt x="1061720" y="1968688"/>
                  <a:pt x="1064895" y="1940113"/>
                  <a:pt x="1046480" y="1938844"/>
                </a:cubicBezTo>
                <a:cubicBezTo>
                  <a:pt x="1028700" y="1936304"/>
                  <a:pt x="1025525" y="1964879"/>
                  <a:pt x="1043940" y="1966784"/>
                </a:cubicBezTo>
                <a:close/>
                <a:moveTo>
                  <a:pt x="1224915" y="2051238"/>
                </a:moveTo>
                <a:cubicBezTo>
                  <a:pt x="1245870" y="2051238"/>
                  <a:pt x="1244600" y="2018219"/>
                  <a:pt x="1223645" y="2020124"/>
                </a:cubicBezTo>
                <a:cubicBezTo>
                  <a:pt x="1203960" y="2021394"/>
                  <a:pt x="1205230" y="2051874"/>
                  <a:pt x="1224915" y="2051238"/>
                </a:cubicBezTo>
                <a:close/>
                <a:moveTo>
                  <a:pt x="1254125" y="1899474"/>
                </a:moveTo>
                <a:cubicBezTo>
                  <a:pt x="1270635" y="1900744"/>
                  <a:pt x="1271905" y="1874709"/>
                  <a:pt x="1255395" y="1874074"/>
                </a:cubicBezTo>
                <a:cubicBezTo>
                  <a:pt x="1238885" y="1872804"/>
                  <a:pt x="1237615" y="1898204"/>
                  <a:pt x="1254125" y="1899474"/>
                </a:cubicBezTo>
                <a:close/>
                <a:moveTo>
                  <a:pt x="1059815" y="2040444"/>
                </a:moveTo>
                <a:cubicBezTo>
                  <a:pt x="1059180" y="2060763"/>
                  <a:pt x="1090930" y="2060763"/>
                  <a:pt x="1090930" y="2040444"/>
                </a:cubicBezTo>
                <a:cubicBezTo>
                  <a:pt x="1091565" y="2020759"/>
                  <a:pt x="1059815" y="2020124"/>
                  <a:pt x="1059815" y="2040444"/>
                </a:cubicBezTo>
                <a:close/>
                <a:moveTo>
                  <a:pt x="5058410" y="980629"/>
                </a:moveTo>
                <a:cubicBezTo>
                  <a:pt x="5041900" y="978088"/>
                  <a:pt x="5038725" y="1004124"/>
                  <a:pt x="5055235" y="1006029"/>
                </a:cubicBezTo>
                <a:cubicBezTo>
                  <a:pt x="5071745" y="1007934"/>
                  <a:pt x="5074920" y="982534"/>
                  <a:pt x="5058410" y="980629"/>
                </a:cubicBezTo>
                <a:close/>
                <a:moveTo>
                  <a:pt x="837565" y="1935034"/>
                </a:moveTo>
                <a:cubicBezTo>
                  <a:pt x="855345" y="1938844"/>
                  <a:pt x="861060" y="1910904"/>
                  <a:pt x="843280" y="1907094"/>
                </a:cubicBezTo>
                <a:cubicBezTo>
                  <a:pt x="825500" y="1903919"/>
                  <a:pt x="819785" y="1931859"/>
                  <a:pt x="837565" y="1935034"/>
                </a:cubicBezTo>
                <a:close/>
                <a:moveTo>
                  <a:pt x="1074420" y="2258249"/>
                </a:moveTo>
                <a:cubicBezTo>
                  <a:pt x="1049020" y="2263964"/>
                  <a:pt x="1058545" y="2303334"/>
                  <a:pt x="1083310" y="2296349"/>
                </a:cubicBezTo>
                <a:cubicBezTo>
                  <a:pt x="1108710" y="2291269"/>
                  <a:pt x="1099185" y="2252534"/>
                  <a:pt x="1074420" y="2258249"/>
                </a:cubicBezTo>
                <a:close/>
                <a:moveTo>
                  <a:pt x="1063625" y="1877884"/>
                </a:moveTo>
                <a:cubicBezTo>
                  <a:pt x="1079500" y="1880424"/>
                  <a:pt x="1083945" y="1855024"/>
                  <a:pt x="1067435" y="1852484"/>
                </a:cubicBezTo>
                <a:cubicBezTo>
                  <a:pt x="1051560" y="1849944"/>
                  <a:pt x="1047115" y="1875344"/>
                  <a:pt x="1063625" y="1877884"/>
                </a:cubicBezTo>
                <a:close/>
                <a:moveTo>
                  <a:pt x="1110615" y="2196654"/>
                </a:moveTo>
                <a:cubicBezTo>
                  <a:pt x="1107440" y="2173159"/>
                  <a:pt x="1069975" y="2178874"/>
                  <a:pt x="1074420" y="2202369"/>
                </a:cubicBezTo>
                <a:cubicBezTo>
                  <a:pt x="1078230" y="2226499"/>
                  <a:pt x="1114425" y="2220149"/>
                  <a:pt x="1110615" y="2196654"/>
                </a:cubicBezTo>
                <a:close/>
                <a:moveTo>
                  <a:pt x="1127125" y="1886774"/>
                </a:moveTo>
                <a:cubicBezTo>
                  <a:pt x="1143635" y="1889313"/>
                  <a:pt x="1146810" y="1863279"/>
                  <a:pt x="1130300" y="1861374"/>
                </a:cubicBezTo>
                <a:cubicBezTo>
                  <a:pt x="1113790" y="1859469"/>
                  <a:pt x="1110615" y="1884869"/>
                  <a:pt x="1127125" y="1886774"/>
                </a:cubicBezTo>
                <a:close/>
                <a:moveTo>
                  <a:pt x="1113155" y="1971863"/>
                </a:moveTo>
                <a:cubicBezTo>
                  <a:pt x="1131570" y="1973769"/>
                  <a:pt x="1133475" y="1944559"/>
                  <a:pt x="1115060" y="1943924"/>
                </a:cubicBezTo>
                <a:cubicBezTo>
                  <a:pt x="1097280" y="1942654"/>
                  <a:pt x="1095375" y="1971229"/>
                  <a:pt x="1113155" y="1971863"/>
                </a:cubicBezTo>
                <a:close/>
                <a:moveTo>
                  <a:pt x="808990" y="2339529"/>
                </a:moveTo>
                <a:cubicBezTo>
                  <a:pt x="834390" y="2338259"/>
                  <a:pt x="831215" y="2297619"/>
                  <a:pt x="805815" y="2300159"/>
                </a:cubicBezTo>
                <a:cubicBezTo>
                  <a:pt x="780415" y="2302064"/>
                  <a:pt x="783590" y="2342069"/>
                  <a:pt x="808990" y="2339529"/>
                </a:cubicBezTo>
                <a:close/>
                <a:moveTo>
                  <a:pt x="554355" y="1983294"/>
                </a:moveTo>
                <a:cubicBezTo>
                  <a:pt x="573405" y="1989009"/>
                  <a:pt x="581660" y="1957894"/>
                  <a:pt x="561975" y="1953449"/>
                </a:cubicBezTo>
                <a:cubicBezTo>
                  <a:pt x="542925" y="1947734"/>
                  <a:pt x="534670" y="1978213"/>
                  <a:pt x="554355" y="1983294"/>
                </a:cubicBezTo>
                <a:close/>
                <a:moveTo>
                  <a:pt x="568960" y="1865184"/>
                </a:moveTo>
                <a:cubicBezTo>
                  <a:pt x="586105" y="1870899"/>
                  <a:pt x="594995" y="1843594"/>
                  <a:pt x="577215" y="1838513"/>
                </a:cubicBezTo>
                <a:cubicBezTo>
                  <a:pt x="560070" y="1832799"/>
                  <a:pt x="551180" y="1860104"/>
                  <a:pt x="568960" y="1865184"/>
                </a:cubicBezTo>
                <a:close/>
                <a:moveTo>
                  <a:pt x="514985" y="2078544"/>
                </a:moveTo>
                <a:cubicBezTo>
                  <a:pt x="509905" y="2100134"/>
                  <a:pt x="543560" y="2107119"/>
                  <a:pt x="548005" y="2085529"/>
                </a:cubicBezTo>
                <a:cubicBezTo>
                  <a:pt x="553085" y="2063938"/>
                  <a:pt x="519430" y="2056954"/>
                  <a:pt x="514985" y="2078544"/>
                </a:cubicBezTo>
                <a:close/>
                <a:moveTo>
                  <a:pt x="572135" y="1743263"/>
                </a:moveTo>
                <a:cubicBezTo>
                  <a:pt x="587375" y="1748979"/>
                  <a:pt x="596265" y="1724849"/>
                  <a:pt x="581025" y="1719134"/>
                </a:cubicBezTo>
                <a:cubicBezTo>
                  <a:pt x="565785" y="1713419"/>
                  <a:pt x="556260" y="1737549"/>
                  <a:pt x="572135" y="1743263"/>
                </a:cubicBezTo>
                <a:close/>
                <a:moveTo>
                  <a:pt x="607695" y="2114104"/>
                </a:moveTo>
                <a:cubicBezTo>
                  <a:pt x="629285" y="2118549"/>
                  <a:pt x="635000" y="2084259"/>
                  <a:pt x="613410" y="2080449"/>
                </a:cubicBezTo>
                <a:cubicBezTo>
                  <a:pt x="591820" y="2076638"/>
                  <a:pt x="586105" y="2110929"/>
                  <a:pt x="607695" y="2114104"/>
                </a:cubicBezTo>
                <a:close/>
                <a:moveTo>
                  <a:pt x="534035" y="2299524"/>
                </a:moveTo>
                <a:cubicBezTo>
                  <a:pt x="508635" y="2296984"/>
                  <a:pt x="505460" y="2336989"/>
                  <a:pt x="530860" y="2338894"/>
                </a:cubicBezTo>
                <a:cubicBezTo>
                  <a:pt x="556260" y="2341434"/>
                  <a:pt x="560070" y="2301429"/>
                  <a:pt x="534035" y="2299524"/>
                </a:cubicBezTo>
                <a:close/>
                <a:moveTo>
                  <a:pt x="512445" y="1720404"/>
                </a:moveTo>
                <a:cubicBezTo>
                  <a:pt x="568960" y="1709609"/>
                  <a:pt x="478155" y="1674684"/>
                  <a:pt x="512445" y="1720404"/>
                </a:cubicBezTo>
                <a:lnTo>
                  <a:pt x="512445" y="1720404"/>
                </a:lnTo>
                <a:close/>
                <a:moveTo>
                  <a:pt x="559435" y="2205544"/>
                </a:moveTo>
                <a:cubicBezTo>
                  <a:pt x="556260" y="2229039"/>
                  <a:pt x="593090" y="2234119"/>
                  <a:pt x="595630" y="2209989"/>
                </a:cubicBezTo>
                <a:cubicBezTo>
                  <a:pt x="599440" y="2186494"/>
                  <a:pt x="561975" y="2182049"/>
                  <a:pt x="559435" y="2205544"/>
                </a:cubicBezTo>
                <a:close/>
                <a:moveTo>
                  <a:pt x="624840" y="2304604"/>
                </a:moveTo>
                <a:cubicBezTo>
                  <a:pt x="599440" y="2303334"/>
                  <a:pt x="598170" y="2343974"/>
                  <a:pt x="623570" y="2343974"/>
                </a:cubicBezTo>
                <a:cubicBezTo>
                  <a:pt x="648970" y="2345244"/>
                  <a:pt x="650240" y="2305239"/>
                  <a:pt x="624840" y="2304604"/>
                </a:cubicBezTo>
                <a:close/>
                <a:moveTo>
                  <a:pt x="572135" y="2456369"/>
                </a:moveTo>
                <a:cubicBezTo>
                  <a:pt x="600075" y="2457004"/>
                  <a:pt x="599440" y="2413189"/>
                  <a:pt x="571500" y="2413824"/>
                </a:cubicBezTo>
                <a:cubicBezTo>
                  <a:pt x="544195" y="2413824"/>
                  <a:pt x="544830" y="2457004"/>
                  <a:pt x="572135" y="2456369"/>
                </a:cubicBezTo>
                <a:close/>
                <a:moveTo>
                  <a:pt x="448945" y="2079813"/>
                </a:moveTo>
                <a:cubicBezTo>
                  <a:pt x="469900" y="2085529"/>
                  <a:pt x="478790" y="2051874"/>
                  <a:pt x="457200" y="2046794"/>
                </a:cubicBezTo>
                <a:cubicBezTo>
                  <a:pt x="436245" y="2041713"/>
                  <a:pt x="427990" y="2075369"/>
                  <a:pt x="448945" y="2079813"/>
                </a:cubicBezTo>
                <a:close/>
                <a:moveTo>
                  <a:pt x="814705" y="1822004"/>
                </a:moveTo>
                <a:cubicBezTo>
                  <a:pt x="830580" y="1827084"/>
                  <a:pt x="837565" y="1801684"/>
                  <a:pt x="821690" y="1797238"/>
                </a:cubicBezTo>
                <a:cubicBezTo>
                  <a:pt x="805180" y="1793429"/>
                  <a:pt x="798830" y="1818194"/>
                  <a:pt x="814705" y="1822004"/>
                </a:cubicBezTo>
                <a:close/>
                <a:moveTo>
                  <a:pt x="473710" y="2454464"/>
                </a:moveTo>
                <a:cubicBezTo>
                  <a:pt x="501015" y="2456369"/>
                  <a:pt x="503555" y="2413189"/>
                  <a:pt x="475615" y="2412554"/>
                </a:cubicBezTo>
                <a:cubicBezTo>
                  <a:pt x="448310" y="2410649"/>
                  <a:pt x="446405" y="2453829"/>
                  <a:pt x="473710" y="2454464"/>
                </a:cubicBezTo>
                <a:close/>
                <a:moveTo>
                  <a:pt x="481965" y="1962974"/>
                </a:moveTo>
                <a:cubicBezTo>
                  <a:pt x="501015" y="1968688"/>
                  <a:pt x="510540" y="1938844"/>
                  <a:pt x="490855" y="1933129"/>
                </a:cubicBezTo>
                <a:cubicBezTo>
                  <a:pt x="471170" y="1927413"/>
                  <a:pt x="462280" y="1957259"/>
                  <a:pt x="481965" y="1962974"/>
                </a:cubicBezTo>
                <a:close/>
                <a:moveTo>
                  <a:pt x="412115" y="2161094"/>
                </a:moveTo>
                <a:cubicBezTo>
                  <a:pt x="389255" y="2155379"/>
                  <a:pt x="381000" y="2192209"/>
                  <a:pt x="404495" y="2196654"/>
                </a:cubicBezTo>
                <a:cubicBezTo>
                  <a:pt x="427355" y="2202369"/>
                  <a:pt x="435610" y="2165539"/>
                  <a:pt x="412115" y="2161094"/>
                </a:cubicBezTo>
                <a:close/>
                <a:moveTo>
                  <a:pt x="502920" y="1843594"/>
                </a:moveTo>
                <a:cubicBezTo>
                  <a:pt x="520065" y="1849944"/>
                  <a:pt x="529590" y="1822638"/>
                  <a:pt x="511810" y="1816924"/>
                </a:cubicBezTo>
                <a:cubicBezTo>
                  <a:pt x="494665" y="1810574"/>
                  <a:pt x="485140" y="1837879"/>
                  <a:pt x="502920" y="1843594"/>
                </a:cubicBezTo>
                <a:close/>
                <a:moveTo>
                  <a:pt x="438785" y="2328734"/>
                </a:moveTo>
                <a:cubicBezTo>
                  <a:pt x="464185" y="2332544"/>
                  <a:pt x="469900" y="2292539"/>
                  <a:pt x="443865" y="2289364"/>
                </a:cubicBezTo>
                <a:cubicBezTo>
                  <a:pt x="418465" y="2286189"/>
                  <a:pt x="413385" y="2326194"/>
                  <a:pt x="438785" y="2328734"/>
                </a:cubicBezTo>
                <a:close/>
                <a:moveTo>
                  <a:pt x="512445" y="1720404"/>
                </a:moveTo>
                <a:cubicBezTo>
                  <a:pt x="512445" y="1720404"/>
                  <a:pt x="512445" y="1720404"/>
                  <a:pt x="512445" y="1720404"/>
                </a:cubicBezTo>
                <a:cubicBezTo>
                  <a:pt x="512445" y="1720404"/>
                  <a:pt x="512445" y="1720404"/>
                  <a:pt x="512445" y="1720404"/>
                </a:cubicBezTo>
                <a:lnTo>
                  <a:pt x="512445" y="1720404"/>
                </a:lnTo>
                <a:close/>
                <a:moveTo>
                  <a:pt x="510540" y="2198559"/>
                </a:moveTo>
                <a:cubicBezTo>
                  <a:pt x="514985" y="2175064"/>
                  <a:pt x="478155" y="2168714"/>
                  <a:pt x="474345" y="2192209"/>
                </a:cubicBezTo>
                <a:cubicBezTo>
                  <a:pt x="470535" y="2215704"/>
                  <a:pt x="506730" y="2222054"/>
                  <a:pt x="510540" y="2198559"/>
                </a:cubicBezTo>
                <a:close/>
                <a:moveTo>
                  <a:pt x="753110" y="1804224"/>
                </a:moveTo>
                <a:cubicBezTo>
                  <a:pt x="768350" y="1809304"/>
                  <a:pt x="776605" y="1784538"/>
                  <a:pt x="760730" y="1780094"/>
                </a:cubicBezTo>
                <a:cubicBezTo>
                  <a:pt x="744855" y="1775013"/>
                  <a:pt x="737235" y="1799779"/>
                  <a:pt x="753110" y="1804224"/>
                </a:cubicBezTo>
                <a:close/>
                <a:moveTo>
                  <a:pt x="759460" y="1903284"/>
                </a:moveTo>
                <a:cubicBezTo>
                  <a:pt x="755015" y="1921063"/>
                  <a:pt x="782955" y="1927413"/>
                  <a:pt x="786765" y="1909634"/>
                </a:cubicBezTo>
                <a:cubicBezTo>
                  <a:pt x="791210" y="1891854"/>
                  <a:pt x="763270" y="1885504"/>
                  <a:pt x="759460" y="1903284"/>
                </a:cubicBezTo>
                <a:close/>
                <a:moveTo>
                  <a:pt x="748665" y="2239834"/>
                </a:moveTo>
                <a:cubicBezTo>
                  <a:pt x="748665" y="2239834"/>
                  <a:pt x="748665" y="2239834"/>
                  <a:pt x="748665" y="2239834"/>
                </a:cubicBezTo>
                <a:cubicBezTo>
                  <a:pt x="748665" y="2239834"/>
                  <a:pt x="748665" y="2239834"/>
                  <a:pt x="748665" y="2239834"/>
                </a:cubicBezTo>
                <a:lnTo>
                  <a:pt x="748665" y="2239834"/>
                </a:lnTo>
                <a:close/>
                <a:moveTo>
                  <a:pt x="748665" y="2239834"/>
                </a:moveTo>
                <a:cubicBezTo>
                  <a:pt x="772160" y="2241104"/>
                  <a:pt x="773430" y="2203639"/>
                  <a:pt x="749935" y="2203004"/>
                </a:cubicBezTo>
                <a:cubicBezTo>
                  <a:pt x="726440" y="2201734"/>
                  <a:pt x="725170" y="2239199"/>
                  <a:pt x="748665" y="2239834"/>
                </a:cubicBezTo>
                <a:close/>
                <a:moveTo>
                  <a:pt x="453390" y="1696909"/>
                </a:moveTo>
                <a:cubicBezTo>
                  <a:pt x="468630" y="1703259"/>
                  <a:pt x="478155" y="1679129"/>
                  <a:pt x="462915" y="1673413"/>
                </a:cubicBezTo>
                <a:cubicBezTo>
                  <a:pt x="447675" y="1667063"/>
                  <a:pt x="438150" y="1691194"/>
                  <a:pt x="453390" y="1696909"/>
                </a:cubicBezTo>
                <a:close/>
                <a:moveTo>
                  <a:pt x="695960" y="2324924"/>
                </a:moveTo>
                <a:cubicBezTo>
                  <a:pt x="695960" y="2350324"/>
                  <a:pt x="736600" y="2349689"/>
                  <a:pt x="735330" y="2323654"/>
                </a:cubicBezTo>
                <a:cubicBezTo>
                  <a:pt x="735330" y="2298889"/>
                  <a:pt x="695325" y="2299524"/>
                  <a:pt x="695960" y="2324924"/>
                </a:cubicBezTo>
                <a:close/>
                <a:moveTo>
                  <a:pt x="762000" y="2012504"/>
                </a:moveTo>
                <a:cubicBezTo>
                  <a:pt x="758190" y="2032188"/>
                  <a:pt x="789940" y="2037269"/>
                  <a:pt x="792480" y="2017584"/>
                </a:cubicBezTo>
                <a:cubicBezTo>
                  <a:pt x="796290" y="1997263"/>
                  <a:pt x="765175" y="1992184"/>
                  <a:pt x="762000" y="2012504"/>
                </a:cubicBezTo>
                <a:close/>
                <a:moveTo>
                  <a:pt x="763270" y="2399854"/>
                </a:moveTo>
                <a:cubicBezTo>
                  <a:pt x="735965" y="2403029"/>
                  <a:pt x="741680" y="2445574"/>
                  <a:pt x="768985" y="2441764"/>
                </a:cubicBezTo>
                <a:cubicBezTo>
                  <a:pt x="796290" y="2438589"/>
                  <a:pt x="790575" y="2396044"/>
                  <a:pt x="763270" y="2399854"/>
                </a:cubicBezTo>
                <a:close/>
                <a:moveTo>
                  <a:pt x="753110" y="2117279"/>
                </a:moveTo>
                <a:cubicBezTo>
                  <a:pt x="750570" y="2138869"/>
                  <a:pt x="784860" y="2142679"/>
                  <a:pt x="786765" y="2120454"/>
                </a:cubicBezTo>
                <a:cubicBezTo>
                  <a:pt x="789305" y="2098864"/>
                  <a:pt x="755015" y="2095688"/>
                  <a:pt x="753110" y="2117279"/>
                </a:cubicBezTo>
                <a:close/>
                <a:moveTo>
                  <a:pt x="706755" y="1986469"/>
                </a:moveTo>
                <a:cubicBezTo>
                  <a:pt x="687070" y="1982024"/>
                  <a:pt x="680720" y="2013138"/>
                  <a:pt x="701040" y="2016949"/>
                </a:cubicBezTo>
                <a:cubicBezTo>
                  <a:pt x="720725" y="2021394"/>
                  <a:pt x="727075" y="1990279"/>
                  <a:pt x="706755" y="1986469"/>
                </a:cubicBezTo>
                <a:close/>
                <a:moveTo>
                  <a:pt x="667385" y="2410014"/>
                </a:moveTo>
                <a:cubicBezTo>
                  <a:pt x="640080" y="2411284"/>
                  <a:pt x="643255" y="2454464"/>
                  <a:pt x="670560" y="2451924"/>
                </a:cubicBezTo>
                <a:cubicBezTo>
                  <a:pt x="698500" y="2450654"/>
                  <a:pt x="694690" y="2407474"/>
                  <a:pt x="667385" y="2410014"/>
                </a:cubicBezTo>
                <a:close/>
                <a:moveTo>
                  <a:pt x="625475" y="1867724"/>
                </a:moveTo>
                <a:cubicBezTo>
                  <a:pt x="620395" y="1884869"/>
                  <a:pt x="647700" y="1893124"/>
                  <a:pt x="652780" y="1875344"/>
                </a:cubicBezTo>
                <a:cubicBezTo>
                  <a:pt x="657860" y="1858199"/>
                  <a:pt x="630555" y="1849944"/>
                  <a:pt x="625475" y="1867724"/>
                </a:cubicBezTo>
                <a:close/>
                <a:moveTo>
                  <a:pt x="645160" y="2215069"/>
                </a:moveTo>
                <a:cubicBezTo>
                  <a:pt x="642620" y="2238564"/>
                  <a:pt x="680085" y="2241739"/>
                  <a:pt x="681990" y="2217609"/>
                </a:cubicBezTo>
                <a:cubicBezTo>
                  <a:pt x="683895" y="2194749"/>
                  <a:pt x="647065" y="2191574"/>
                  <a:pt x="645160" y="2215069"/>
                </a:cubicBezTo>
                <a:close/>
                <a:moveTo>
                  <a:pt x="631825" y="1764854"/>
                </a:moveTo>
                <a:cubicBezTo>
                  <a:pt x="647065" y="1770569"/>
                  <a:pt x="655955" y="1745804"/>
                  <a:pt x="640080" y="1740724"/>
                </a:cubicBezTo>
                <a:cubicBezTo>
                  <a:pt x="624840" y="1735009"/>
                  <a:pt x="616585" y="1759774"/>
                  <a:pt x="631825" y="1764854"/>
                </a:cubicBezTo>
                <a:close/>
                <a:moveTo>
                  <a:pt x="627380" y="2001074"/>
                </a:moveTo>
                <a:cubicBezTo>
                  <a:pt x="647065" y="2006154"/>
                  <a:pt x="654050" y="1975038"/>
                  <a:pt x="634365" y="1970594"/>
                </a:cubicBezTo>
                <a:cubicBezTo>
                  <a:pt x="614680" y="1966149"/>
                  <a:pt x="607695" y="1996629"/>
                  <a:pt x="627380" y="2001074"/>
                </a:cubicBezTo>
                <a:close/>
                <a:moveTo>
                  <a:pt x="692150" y="1886774"/>
                </a:moveTo>
                <a:cubicBezTo>
                  <a:pt x="688975" y="1923604"/>
                  <a:pt x="742950" y="1891854"/>
                  <a:pt x="709295" y="1876613"/>
                </a:cubicBezTo>
                <a:cubicBezTo>
                  <a:pt x="702310" y="1874709"/>
                  <a:pt x="694055" y="1879154"/>
                  <a:pt x="692150" y="1886774"/>
                </a:cubicBezTo>
                <a:close/>
                <a:moveTo>
                  <a:pt x="692150" y="1785174"/>
                </a:moveTo>
                <a:cubicBezTo>
                  <a:pt x="707390" y="1790254"/>
                  <a:pt x="715645" y="1766124"/>
                  <a:pt x="699770" y="1761044"/>
                </a:cubicBezTo>
                <a:cubicBezTo>
                  <a:pt x="684530" y="1755963"/>
                  <a:pt x="676910" y="1780729"/>
                  <a:pt x="692150" y="1785174"/>
                </a:cubicBezTo>
                <a:close/>
                <a:moveTo>
                  <a:pt x="687705" y="2126804"/>
                </a:moveTo>
                <a:cubicBezTo>
                  <a:pt x="709295" y="2129979"/>
                  <a:pt x="714375" y="2095688"/>
                  <a:pt x="692150" y="2093149"/>
                </a:cubicBezTo>
                <a:cubicBezTo>
                  <a:pt x="670560" y="2089974"/>
                  <a:pt x="666115" y="2124264"/>
                  <a:pt x="687705" y="2126804"/>
                </a:cubicBezTo>
                <a:close/>
                <a:moveTo>
                  <a:pt x="1092835" y="2138869"/>
                </a:moveTo>
                <a:cubicBezTo>
                  <a:pt x="1115060" y="2137599"/>
                  <a:pt x="1111885" y="2103309"/>
                  <a:pt x="1090295" y="2105214"/>
                </a:cubicBezTo>
                <a:cubicBezTo>
                  <a:pt x="1068070" y="2106484"/>
                  <a:pt x="1070610" y="2140774"/>
                  <a:pt x="1092835" y="2138869"/>
                </a:cubicBezTo>
                <a:close/>
                <a:moveTo>
                  <a:pt x="4357370" y="893634"/>
                </a:moveTo>
                <a:cubicBezTo>
                  <a:pt x="4356735" y="875219"/>
                  <a:pt x="4328160" y="876488"/>
                  <a:pt x="4328795" y="894904"/>
                </a:cubicBezTo>
                <a:cubicBezTo>
                  <a:pt x="4329430" y="912684"/>
                  <a:pt x="4358005" y="911413"/>
                  <a:pt x="4357370" y="893634"/>
                </a:cubicBezTo>
                <a:close/>
                <a:moveTo>
                  <a:pt x="4335780" y="827594"/>
                </a:moveTo>
                <a:cubicBezTo>
                  <a:pt x="4335145" y="807274"/>
                  <a:pt x="4303395" y="809813"/>
                  <a:pt x="4304665" y="829499"/>
                </a:cubicBezTo>
                <a:cubicBezTo>
                  <a:pt x="4305935" y="849819"/>
                  <a:pt x="4337685" y="847913"/>
                  <a:pt x="4335780" y="827594"/>
                </a:cubicBezTo>
                <a:close/>
                <a:moveTo>
                  <a:pt x="4297045" y="937449"/>
                </a:moveTo>
                <a:cubicBezTo>
                  <a:pt x="4280535" y="937449"/>
                  <a:pt x="4281170" y="963484"/>
                  <a:pt x="4297680" y="962849"/>
                </a:cubicBezTo>
                <a:cubicBezTo>
                  <a:pt x="4314190" y="962849"/>
                  <a:pt x="4313555" y="936813"/>
                  <a:pt x="4297045" y="937449"/>
                </a:cubicBezTo>
                <a:close/>
                <a:moveTo>
                  <a:pt x="4360545" y="936813"/>
                </a:moveTo>
                <a:cubicBezTo>
                  <a:pt x="4344035" y="936813"/>
                  <a:pt x="4344035" y="962213"/>
                  <a:pt x="4360545" y="962213"/>
                </a:cubicBezTo>
                <a:cubicBezTo>
                  <a:pt x="4377055" y="962213"/>
                  <a:pt x="4377055" y="936179"/>
                  <a:pt x="4360545" y="936813"/>
                </a:cubicBezTo>
                <a:close/>
                <a:moveTo>
                  <a:pt x="4387215" y="729804"/>
                </a:moveTo>
                <a:cubicBezTo>
                  <a:pt x="4364990" y="731074"/>
                  <a:pt x="4367530" y="765363"/>
                  <a:pt x="4389120" y="763459"/>
                </a:cubicBezTo>
                <a:cubicBezTo>
                  <a:pt x="4410710" y="762824"/>
                  <a:pt x="4408805" y="728534"/>
                  <a:pt x="4387215" y="729804"/>
                </a:cubicBezTo>
                <a:close/>
                <a:moveTo>
                  <a:pt x="4204335" y="887284"/>
                </a:moveTo>
                <a:cubicBezTo>
                  <a:pt x="4185920" y="888554"/>
                  <a:pt x="4188460" y="917129"/>
                  <a:pt x="4206240" y="915224"/>
                </a:cubicBezTo>
                <a:cubicBezTo>
                  <a:pt x="4224655" y="914588"/>
                  <a:pt x="4222115" y="886013"/>
                  <a:pt x="4204335" y="887284"/>
                </a:cubicBezTo>
                <a:close/>
                <a:moveTo>
                  <a:pt x="4233545" y="939354"/>
                </a:moveTo>
                <a:cubicBezTo>
                  <a:pt x="4217035" y="939988"/>
                  <a:pt x="4218305" y="965388"/>
                  <a:pt x="4234180" y="964754"/>
                </a:cubicBezTo>
                <a:cubicBezTo>
                  <a:pt x="4250690" y="964119"/>
                  <a:pt x="4250055" y="938719"/>
                  <a:pt x="4233545" y="939354"/>
                </a:cubicBezTo>
                <a:close/>
                <a:moveTo>
                  <a:pt x="4260215" y="898079"/>
                </a:moveTo>
                <a:cubicBezTo>
                  <a:pt x="4260850" y="916494"/>
                  <a:pt x="4289425" y="914588"/>
                  <a:pt x="4288155" y="896809"/>
                </a:cubicBezTo>
                <a:cubicBezTo>
                  <a:pt x="4287520" y="877759"/>
                  <a:pt x="4258945" y="879663"/>
                  <a:pt x="4260215" y="898079"/>
                </a:cubicBezTo>
                <a:close/>
                <a:moveTo>
                  <a:pt x="3859530" y="926654"/>
                </a:moveTo>
                <a:cubicBezTo>
                  <a:pt x="3841115" y="929194"/>
                  <a:pt x="3846195" y="957769"/>
                  <a:pt x="3863975" y="954594"/>
                </a:cubicBezTo>
                <a:cubicBezTo>
                  <a:pt x="3882390" y="952054"/>
                  <a:pt x="3877945" y="923479"/>
                  <a:pt x="3859530" y="926654"/>
                </a:cubicBezTo>
                <a:close/>
                <a:moveTo>
                  <a:pt x="4411980" y="877759"/>
                </a:moveTo>
                <a:cubicBezTo>
                  <a:pt x="4393565" y="877759"/>
                  <a:pt x="4394200" y="906969"/>
                  <a:pt x="4412615" y="906334"/>
                </a:cubicBezTo>
                <a:cubicBezTo>
                  <a:pt x="4431030" y="905699"/>
                  <a:pt x="4430395" y="877124"/>
                  <a:pt x="4411980" y="877759"/>
                </a:cubicBezTo>
                <a:close/>
                <a:moveTo>
                  <a:pt x="4464685" y="471994"/>
                </a:moveTo>
                <a:cubicBezTo>
                  <a:pt x="4462780" y="499299"/>
                  <a:pt x="4505960" y="501838"/>
                  <a:pt x="4507230" y="473899"/>
                </a:cubicBezTo>
                <a:cubicBezTo>
                  <a:pt x="4508500" y="447229"/>
                  <a:pt x="4465320" y="444688"/>
                  <a:pt x="4464685" y="471994"/>
                </a:cubicBezTo>
                <a:close/>
                <a:moveTo>
                  <a:pt x="4410710" y="823784"/>
                </a:moveTo>
                <a:cubicBezTo>
                  <a:pt x="4410075" y="803463"/>
                  <a:pt x="4378325" y="805369"/>
                  <a:pt x="4379595" y="825054"/>
                </a:cubicBezTo>
                <a:cubicBezTo>
                  <a:pt x="4380230" y="845374"/>
                  <a:pt x="4411980" y="844104"/>
                  <a:pt x="4410710" y="823784"/>
                </a:cubicBezTo>
                <a:close/>
                <a:moveTo>
                  <a:pt x="4464685" y="545654"/>
                </a:moveTo>
                <a:cubicBezTo>
                  <a:pt x="4439285" y="545654"/>
                  <a:pt x="4439285" y="585659"/>
                  <a:pt x="4464685" y="585024"/>
                </a:cubicBezTo>
                <a:cubicBezTo>
                  <a:pt x="4490720" y="585659"/>
                  <a:pt x="4490085" y="545654"/>
                  <a:pt x="4464685" y="545654"/>
                </a:cubicBezTo>
                <a:close/>
                <a:moveTo>
                  <a:pt x="4481195" y="877124"/>
                </a:moveTo>
                <a:cubicBezTo>
                  <a:pt x="4462780" y="877124"/>
                  <a:pt x="4462780" y="905699"/>
                  <a:pt x="4481195" y="905063"/>
                </a:cubicBezTo>
                <a:cubicBezTo>
                  <a:pt x="4499610" y="905063"/>
                  <a:pt x="4499610" y="876488"/>
                  <a:pt x="4481195" y="877124"/>
                </a:cubicBezTo>
                <a:close/>
                <a:moveTo>
                  <a:pt x="4467860" y="760284"/>
                </a:moveTo>
                <a:cubicBezTo>
                  <a:pt x="4490085" y="760284"/>
                  <a:pt x="4489450" y="725359"/>
                  <a:pt x="4467225" y="726629"/>
                </a:cubicBezTo>
                <a:cubicBezTo>
                  <a:pt x="4445635" y="726629"/>
                  <a:pt x="4446270" y="760919"/>
                  <a:pt x="4467860" y="760284"/>
                </a:cubicBezTo>
                <a:close/>
                <a:moveTo>
                  <a:pt x="4464685" y="404049"/>
                </a:moveTo>
                <a:cubicBezTo>
                  <a:pt x="4493895" y="407858"/>
                  <a:pt x="4498975" y="361504"/>
                  <a:pt x="4469130" y="358963"/>
                </a:cubicBezTo>
                <a:cubicBezTo>
                  <a:pt x="4440555" y="355154"/>
                  <a:pt x="4435475" y="401508"/>
                  <a:pt x="4464685" y="404049"/>
                </a:cubicBezTo>
                <a:close/>
                <a:moveTo>
                  <a:pt x="4210050" y="583119"/>
                </a:moveTo>
                <a:cubicBezTo>
                  <a:pt x="4206875" y="557719"/>
                  <a:pt x="4166870" y="563434"/>
                  <a:pt x="4170680" y="588834"/>
                </a:cubicBezTo>
                <a:cubicBezTo>
                  <a:pt x="4174490" y="614234"/>
                  <a:pt x="4214495" y="608519"/>
                  <a:pt x="4210050" y="583119"/>
                </a:cubicBezTo>
                <a:close/>
                <a:moveTo>
                  <a:pt x="4424045" y="936813"/>
                </a:moveTo>
                <a:cubicBezTo>
                  <a:pt x="4407535" y="936179"/>
                  <a:pt x="4407535" y="962213"/>
                  <a:pt x="4424045" y="962213"/>
                </a:cubicBezTo>
                <a:cubicBezTo>
                  <a:pt x="4440555" y="962213"/>
                  <a:pt x="4440555" y="936179"/>
                  <a:pt x="4424045" y="936813"/>
                </a:cubicBezTo>
                <a:close/>
                <a:moveTo>
                  <a:pt x="4432300" y="186879"/>
                </a:moveTo>
                <a:cubicBezTo>
                  <a:pt x="4400550" y="177988"/>
                  <a:pt x="4387215" y="228154"/>
                  <a:pt x="4419600" y="235774"/>
                </a:cubicBezTo>
                <a:cubicBezTo>
                  <a:pt x="4450715" y="245299"/>
                  <a:pt x="4464685" y="195133"/>
                  <a:pt x="4432300" y="186879"/>
                </a:cubicBezTo>
                <a:close/>
                <a:moveTo>
                  <a:pt x="4469130" y="806638"/>
                </a:moveTo>
                <a:cubicBezTo>
                  <a:pt x="4448810" y="806638"/>
                  <a:pt x="4449445" y="838388"/>
                  <a:pt x="4469765" y="837754"/>
                </a:cubicBezTo>
                <a:cubicBezTo>
                  <a:pt x="4490085" y="837119"/>
                  <a:pt x="4489450" y="805369"/>
                  <a:pt x="4469130" y="806638"/>
                </a:cubicBezTo>
                <a:close/>
                <a:moveTo>
                  <a:pt x="3983990" y="737424"/>
                </a:moveTo>
                <a:cubicBezTo>
                  <a:pt x="4007485" y="732344"/>
                  <a:pt x="3998595" y="696149"/>
                  <a:pt x="3975735" y="701863"/>
                </a:cubicBezTo>
                <a:cubicBezTo>
                  <a:pt x="3952875" y="706944"/>
                  <a:pt x="3961130" y="743138"/>
                  <a:pt x="3983990" y="737424"/>
                </a:cubicBezTo>
                <a:close/>
                <a:moveTo>
                  <a:pt x="3947160" y="858074"/>
                </a:moveTo>
                <a:cubicBezTo>
                  <a:pt x="3927475" y="861249"/>
                  <a:pt x="3932555" y="892363"/>
                  <a:pt x="3952240" y="888554"/>
                </a:cubicBezTo>
                <a:cubicBezTo>
                  <a:pt x="3971925" y="885379"/>
                  <a:pt x="3966845" y="854263"/>
                  <a:pt x="3947160" y="858074"/>
                </a:cubicBezTo>
                <a:close/>
                <a:moveTo>
                  <a:pt x="3979545" y="955229"/>
                </a:moveTo>
                <a:cubicBezTo>
                  <a:pt x="3963035" y="956499"/>
                  <a:pt x="3965575" y="982534"/>
                  <a:pt x="3982085" y="980629"/>
                </a:cubicBezTo>
                <a:cubicBezTo>
                  <a:pt x="3997960" y="979359"/>
                  <a:pt x="3996055" y="953324"/>
                  <a:pt x="3979545" y="955229"/>
                </a:cubicBezTo>
                <a:close/>
                <a:moveTo>
                  <a:pt x="3997325" y="907604"/>
                </a:moveTo>
                <a:cubicBezTo>
                  <a:pt x="3978910" y="909509"/>
                  <a:pt x="3982720" y="938084"/>
                  <a:pt x="4001135" y="935544"/>
                </a:cubicBezTo>
                <a:cubicBezTo>
                  <a:pt x="4018915" y="933638"/>
                  <a:pt x="4015105" y="905063"/>
                  <a:pt x="3997325" y="907604"/>
                </a:cubicBezTo>
                <a:close/>
                <a:moveTo>
                  <a:pt x="3914775" y="831404"/>
                </a:moveTo>
                <a:cubicBezTo>
                  <a:pt x="3936365" y="826959"/>
                  <a:pt x="3928745" y="793304"/>
                  <a:pt x="3907155" y="798384"/>
                </a:cubicBezTo>
                <a:cubicBezTo>
                  <a:pt x="3886200" y="802829"/>
                  <a:pt x="3893820" y="836484"/>
                  <a:pt x="3914775" y="831404"/>
                </a:cubicBezTo>
                <a:close/>
                <a:moveTo>
                  <a:pt x="3873500" y="871409"/>
                </a:moveTo>
                <a:cubicBezTo>
                  <a:pt x="3853815" y="874584"/>
                  <a:pt x="3860165" y="906334"/>
                  <a:pt x="3879215" y="901888"/>
                </a:cubicBezTo>
                <a:cubicBezTo>
                  <a:pt x="3898900" y="898713"/>
                  <a:pt x="3892550" y="867599"/>
                  <a:pt x="3873500" y="871409"/>
                </a:cubicBezTo>
                <a:close/>
                <a:moveTo>
                  <a:pt x="3928110" y="916494"/>
                </a:moveTo>
                <a:cubicBezTo>
                  <a:pt x="3909695" y="919034"/>
                  <a:pt x="3914140" y="946974"/>
                  <a:pt x="3931920" y="944434"/>
                </a:cubicBezTo>
                <a:cubicBezTo>
                  <a:pt x="3950335" y="941894"/>
                  <a:pt x="3946525" y="913954"/>
                  <a:pt x="3928110" y="916494"/>
                </a:cubicBezTo>
                <a:close/>
                <a:moveTo>
                  <a:pt x="4038600" y="858709"/>
                </a:moveTo>
                <a:cubicBezTo>
                  <a:pt x="4037330" y="850454"/>
                  <a:pt x="4029075" y="844738"/>
                  <a:pt x="4020820" y="846009"/>
                </a:cubicBezTo>
                <a:cubicBezTo>
                  <a:pt x="3982720" y="858709"/>
                  <a:pt x="4037965" y="899984"/>
                  <a:pt x="4038600" y="858709"/>
                </a:cubicBezTo>
                <a:close/>
                <a:moveTo>
                  <a:pt x="3916045" y="961579"/>
                </a:moveTo>
                <a:cubicBezTo>
                  <a:pt x="3899535" y="962849"/>
                  <a:pt x="3902710" y="988884"/>
                  <a:pt x="3918585" y="986979"/>
                </a:cubicBezTo>
                <a:cubicBezTo>
                  <a:pt x="3935095" y="985074"/>
                  <a:pt x="3932555" y="959674"/>
                  <a:pt x="3916045" y="961579"/>
                </a:cubicBezTo>
                <a:close/>
                <a:moveTo>
                  <a:pt x="4170045" y="826324"/>
                </a:moveTo>
                <a:cubicBezTo>
                  <a:pt x="4149725" y="828229"/>
                  <a:pt x="4153535" y="859979"/>
                  <a:pt x="4173220" y="857438"/>
                </a:cubicBezTo>
                <a:cubicBezTo>
                  <a:pt x="4193540" y="855534"/>
                  <a:pt x="4189730" y="823784"/>
                  <a:pt x="4170045" y="826324"/>
                </a:cubicBezTo>
                <a:close/>
                <a:moveTo>
                  <a:pt x="4097020" y="581849"/>
                </a:moveTo>
                <a:cubicBezTo>
                  <a:pt x="4071620" y="586294"/>
                  <a:pt x="4079240" y="625663"/>
                  <a:pt x="4104640" y="620584"/>
                </a:cubicBezTo>
                <a:cubicBezTo>
                  <a:pt x="4129405" y="616138"/>
                  <a:pt x="4121785" y="576769"/>
                  <a:pt x="4097020" y="581849"/>
                </a:cubicBezTo>
                <a:close/>
                <a:moveTo>
                  <a:pt x="4106545" y="945704"/>
                </a:moveTo>
                <a:cubicBezTo>
                  <a:pt x="4090035" y="946338"/>
                  <a:pt x="4091940" y="972374"/>
                  <a:pt x="4108450" y="971104"/>
                </a:cubicBezTo>
                <a:cubicBezTo>
                  <a:pt x="4124325" y="969834"/>
                  <a:pt x="4123055" y="944434"/>
                  <a:pt x="4106545" y="945704"/>
                </a:cubicBezTo>
                <a:close/>
                <a:moveTo>
                  <a:pt x="4135120" y="892999"/>
                </a:moveTo>
                <a:cubicBezTo>
                  <a:pt x="4116705" y="894269"/>
                  <a:pt x="4119245" y="922844"/>
                  <a:pt x="4137660" y="920938"/>
                </a:cubicBezTo>
                <a:cubicBezTo>
                  <a:pt x="4156075" y="919669"/>
                  <a:pt x="4153535" y="891094"/>
                  <a:pt x="4135120" y="892999"/>
                </a:cubicBezTo>
                <a:close/>
                <a:moveTo>
                  <a:pt x="4170045" y="941894"/>
                </a:moveTo>
                <a:cubicBezTo>
                  <a:pt x="4153535" y="942529"/>
                  <a:pt x="4154805" y="968563"/>
                  <a:pt x="4171315" y="967294"/>
                </a:cubicBezTo>
                <a:cubicBezTo>
                  <a:pt x="4187825" y="966659"/>
                  <a:pt x="4186555" y="940624"/>
                  <a:pt x="4170045" y="941894"/>
                </a:cubicBezTo>
                <a:close/>
                <a:moveTo>
                  <a:pt x="4065905" y="766634"/>
                </a:moveTo>
                <a:cubicBezTo>
                  <a:pt x="4044315" y="769809"/>
                  <a:pt x="4050030" y="804099"/>
                  <a:pt x="4071620" y="800288"/>
                </a:cubicBezTo>
                <a:cubicBezTo>
                  <a:pt x="4093845" y="797113"/>
                  <a:pt x="4087495" y="762824"/>
                  <a:pt x="4065905" y="766634"/>
                </a:cubicBezTo>
                <a:close/>
                <a:moveTo>
                  <a:pt x="4099560" y="866329"/>
                </a:moveTo>
                <a:cubicBezTo>
                  <a:pt x="4119245" y="863788"/>
                  <a:pt x="4115435" y="832674"/>
                  <a:pt x="4095750" y="835213"/>
                </a:cubicBezTo>
                <a:cubicBezTo>
                  <a:pt x="4075430" y="837754"/>
                  <a:pt x="4079875" y="868869"/>
                  <a:pt x="4099560" y="866329"/>
                </a:cubicBezTo>
                <a:close/>
                <a:moveTo>
                  <a:pt x="4065905" y="899349"/>
                </a:moveTo>
                <a:cubicBezTo>
                  <a:pt x="4047490" y="900619"/>
                  <a:pt x="4050665" y="929829"/>
                  <a:pt x="4069080" y="927288"/>
                </a:cubicBezTo>
                <a:cubicBezTo>
                  <a:pt x="4087495" y="926019"/>
                  <a:pt x="4084320" y="897444"/>
                  <a:pt x="4065905" y="899349"/>
                </a:cubicBezTo>
                <a:close/>
                <a:moveTo>
                  <a:pt x="4043045" y="949513"/>
                </a:moveTo>
                <a:cubicBezTo>
                  <a:pt x="4026535" y="950784"/>
                  <a:pt x="4028440" y="976184"/>
                  <a:pt x="4044950" y="974913"/>
                </a:cubicBezTo>
                <a:cubicBezTo>
                  <a:pt x="4061460" y="974279"/>
                  <a:pt x="4059555" y="948244"/>
                  <a:pt x="4043045" y="949513"/>
                </a:cubicBezTo>
                <a:close/>
                <a:moveTo>
                  <a:pt x="4244340" y="818704"/>
                </a:moveTo>
                <a:cubicBezTo>
                  <a:pt x="4224020" y="819974"/>
                  <a:pt x="4227195" y="851724"/>
                  <a:pt x="4246880" y="849819"/>
                </a:cubicBezTo>
                <a:cubicBezTo>
                  <a:pt x="4267200" y="848549"/>
                  <a:pt x="4264660" y="816799"/>
                  <a:pt x="4244340" y="818704"/>
                </a:cubicBezTo>
                <a:close/>
                <a:moveTo>
                  <a:pt x="4827270" y="889824"/>
                </a:moveTo>
                <a:cubicBezTo>
                  <a:pt x="4808855" y="887919"/>
                  <a:pt x="4806950" y="917129"/>
                  <a:pt x="4825365" y="917763"/>
                </a:cubicBezTo>
                <a:cubicBezTo>
                  <a:pt x="4843145" y="919669"/>
                  <a:pt x="4845685" y="891094"/>
                  <a:pt x="4827270" y="889824"/>
                </a:cubicBezTo>
                <a:close/>
                <a:moveTo>
                  <a:pt x="4869180" y="959038"/>
                </a:moveTo>
                <a:cubicBezTo>
                  <a:pt x="4852670" y="957134"/>
                  <a:pt x="4850130" y="983169"/>
                  <a:pt x="4866640" y="984438"/>
                </a:cubicBezTo>
                <a:cubicBezTo>
                  <a:pt x="4882515" y="986344"/>
                  <a:pt x="4885055" y="960944"/>
                  <a:pt x="4869180" y="959038"/>
                </a:cubicBezTo>
                <a:close/>
                <a:moveTo>
                  <a:pt x="4843780" y="818069"/>
                </a:moveTo>
                <a:cubicBezTo>
                  <a:pt x="4824095" y="816163"/>
                  <a:pt x="4820920" y="847279"/>
                  <a:pt x="4841240" y="849184"/>
                </a:cubicBezTo>
                <a:cubicBezTo>
                  <a:pt x="4861560" y="851088"/>
                  <a:pt x="4864100" y="819338"/>
                  <a:pt x="4843780" y="818069"/>
                </a:cubicBezTo>
                <a:close/>
                <a:moveTo>
                  <a:pt x="4871085" y="742504"/>
                </a:moveTo>
                <a:cubicBezTo>
                  <a:pt x="4849495" y="739963"/>
                  <a:pt x="4845685" y="774254"/>
                  <a:pt x="4867275" y="776159"/>
                </a:cubicBezTo>
                <a:cubicBezTo>
                  <a:pt x="4888865" y="779334"/>
                  <a:pt x="4893310" y="745044"/>
                  <a:pt x="4871085" y="742504"/>
                </a:cubicBezTo>
                <a:close/>
                <a:moveTo>
                  <a:pt x="4806315" y="753299"/>
                </a:moveTo>
                <a:cubicBezTo>
                  <a:pt x="4808220" y="731709"/>
                  <a:pt x="4773930" y="728534"/>
                  <a:pt x="4772660" y="750759"/>
                </a:cubicBezTo>
                <a:cubicBezTo>
                  <a:pt x="4770120" y="772349"/>
                  <a:pt x="4804410" y="774888"/>
                  <a:pt x="4806315" y="753299"/>
                </a:cubicBezTo>
                <a:close/>
                <a:moveTo>
                  <a:pt x="4758055" y="884744"/>
                </a:moveTo>
                <a:cubicBezTo>
                  <a:pt x="4739005" y="883474"/>
                  <a:pt x="4738370" y="913319"/>
                  <a:pt x="4757420" y="912684"/>
                </a:cubicBezTo>
                <a:cubicBezTo>
                  <a:pt x="4775200" y="913319"/>
                  <a:pt x="4775835" y="886013"/>
                  <a:pt x="4758055" y="884744"/>
                </a:cubicBezTo>
                <a:close/>
                <a:moveTo>
                  <a:pt x="4805680" y="953959"/>
                </a:moveTo>
                <a:cubicBezTo>
                  <a:pt x="4788535" y="952688"/>
                  <a:pt x="4787265" y="979359"/>
                  <a:pt x="4804410" y="979359"/>
                </a:cubicBezTo>
                <a:cubicBezTo>
                  <a:pt x="4820285" y="979359"/>
                  <a:pt x="4821555" y="954594"/>
                  <a:pt x="4805680" y="953959"/>
                </a:cubicBezTo>
                <a:close/>
                <a:moveTo>
                  <a:pt x="4769485" y="812354"/>
                </a:moveTo>
                <a:cubicBezTo>
                  <a:pt x="4749165" y="811084"/>
                  <a:pt x="4747260" y="842199"/>
                  <a:pt x="4767580" y="843469"/>
                </a:cubicBezTo>
                <a:cubicBezTo>
                  <a:pt x="4787265" y="845374"/>
                  <a:pt x="4789805" y="813624"/>
                  <a:pt x="4769485" y="812354"/>
                </a:cubicBezTo>
                <a:close/>
                <a:moveTo>
                  <a:pt x="4742180" y="948879"/>
                </a:moveTo>
                <a:cubicBezTo>
                  <a:pt x="4725035" y="947609"/>
                  <a:pt x="4724400" y="974279"/>
                  <a:pt x="4741545" y="974279"/>
                </a:cubicBezTo>
                <a:cubicBezTo>
                  <a:pt x="4757420" y="974279"/>
                  <a:pt x="4758055" y="949513"/>
                  <a:pt x="4742180" y="948879"/>
                </a:cubicBezTo>
                <a:close/>
                <a:moveTo>
                  <a:pt x="4896485" y="896174"/>
                </a:moveTo>
                <a:cubicBezTo>
                  <a:pt x="4878070" y="894269"/>
                  <a:pt x="4875530" y="922844"/>
                  <a:pt x="4893945" y="924113"/>
                </a:cubicBezTo>
                <a:cubicBezTo>
                  <a:pt x="4911725" y="926019"/>
                  <a:pt x="4914900" y="897444"/>
                  <a:pt x="4896485" y="896174"/>
                </a:cubicBezTo>
                <a:close/>
                <a:moveTo>
                  <a:pt x="4995545" y="973009"/>
                </a:moveTo>
                <a:cubicBezTo>
                  <a:pt x="4979035" y="971104"/>
                  <a:pt x="4975860" y="996504"/>
                  <a:pt x="4992370" y="998409"/>
                </a:cubicBezTo>
                <a:cubicBezTo>
                  <a:pt x="5008880" y="1000313"/>
                  <a:pt x="5012055" y="974279"/>
                  <a:pt x="4995545" y="973009"/>
                </a:cubicBezTo>
                <a:close/>
                <a:moveTo>
                  <a:pt x="5031105" y="765363"/>
                </a:moveTo>
                <a:cubicBezTo>
                  <a:pt x="5007610" y="760919"/>
                  <a:pt x="5004435" y="799019"/>
                  <a:pt x="5028565" y="799019"/>
                </a:cubicBezTo>
                <a:cubicBezTo>
                  <a:pt x="5048885" y="799654"/>
                  <a:pt x="5051425" y="768538"/>
                  <a:pt x="5031105" y="765363"/>
                </a:cubicBezTo>
                <a:close/>
                <a:moveTo>
                  <a:pt x="4993005" y="833944"/>
                </a:moveTo>
                <a:cubicBezTo>
                  <a:pt x="4973320" y="831404"/>
                  <a:pt x="4968875" y="862519"/>
                  <a:pt x="4989195" y="865059"/>
                </a:cubicBezTo>
                <a:cubicBezTo>
                  <a:pt x="5008880" y="867599"/>
                  <a:pt x="5013325" y="836484"/>
                  <a:pt x="4993005" y="833944"/>
                </a:cubicBezTo>
                <a:close/>
                <a:moveTo>
                  <a:pt x="5034280" y="911413"/>
                </a:moveTo>
                <a:cubicBezTo>
                  <a:pt x="5016500" y="908874"/>
                  <a:pt x="5012690" y="937449"/>
                  <a:pt x="5030470" y="939354"/>
                </a:cubicBezTo>
                <a:cubicBezTo>
                  <a:pt x="5048885" y="941894"/>
                  <a:pt x="5052695" y="913319"/>
                  <a:pt x="5034280" y="911413"/>
                </a:cubicBezTo>
                <a:close/>
                <a:moveTo>
                  <a:pt x="4932045" y="966024"/>
                </a:moveTo>
                <a:cubicBezTo>
                  <a:pt x="4915535" y="964119"/>
                  <a:pt x="4912995" y="989519"/>
                  <a:pt x="4929505" y="991424"/>
                </a:cubicBezTo>
                <a:cubicBezTo>
                  <a:pt x="4946015" y="992694"/>
                  <a:pt x="4948555" y="967294"/>
                  <a:pt x="4932045" y="966024"/>
                </a:cubicBezTo>
                <a:close/>
                <a:moveTo>
                  <a:pt x="4932680" y="842199"/>
                </a:moveTo>
                <a:cubicBezTo>
                  <a:pt x="4935220" y="822513"/>
                  <a:pt x="4903470" y="818704"/>
                  <a:pt x="4901565" y="839024"/>
                </a:cubicBezTo>
                <a:cubicBezTo>
                  <a:pt x="4899025" y="859344"/>
                  <a:pt x="4930775" y="862519"/>
                  <a:pt x="4932680" y="842199"/>
                </a:cubicBezTo>
                <a:close/>
                <a:moveTo>
                  <a:pt x="4965700" y="903159"/>
                </a:moveTo>
                <a:cubicBezTo>
                  <a:pt x="4947285" y="900619"/>
                  <a:pt x="4944110" y="929829"/>
                  <a:pt x="4962525" y="931099"/>
                </a:cubicBezTo>
                <a:cubicBezTo>
                  <a:pt x="4980305" y="933004"/>
                  <a:pt x="4983480" y="905063"/>
                  <a:pt x="4965700" y="903159"/>
                </a:cubicBezTo>
                <a:close/>
                <a:moveTo>
                  <a:pt x="4965700" y="772349"/>
                </a:moveTo>
                <a:cubicBezTo>
                  <a:pt x="4968875" y="750759"/>
                  <a:pt x="4934585" y="745679"/>
                  <a:pt x="4932045" y="767904"/>
                </a:cubicBezTo>
                <a:cubicBezTo>
                  <a:pt x="4928870" y="788859"/>
                  <a:pt x="4963160" y="793938"/>
                  <a:pt x="4965700" y="772349"/>
                </a:cubicBezTo>
                <a:close/>
                <a:moveTo>
                  <a:pt x="4619625" y="879029"/>
                </a:moveTo>
                <a:cubicBezTo>
                  <a:pt x="4601210" y="878394"/>
                  <a:pt x="4600575" y="906969"/>
                  <a:pt x="4618990" y="906969"/>
                </a:cubicBezTo>
                <a:cubicBezTo>
                  <a:pt x="4637405" y="907604"/>
                  <a:pt x="4638040" y="879029"/>
                  <a:pt x="4619625" y="879029"/>
                </a:cubicBezTo>
                <a:close/>
                <a:moveTo>
                  <a:pt x="4577715" y="638363"/>
                </a:moveTo>
                <a:cubicBezTo>
                  <a:pt x="4553585" y="637729"/>
                  <a:pt x="4553585" y="675194"/>
                  <a:pt x="4577080" y="675194"/>
                </a:cubicBezTo>
                <a:cubicBezTo>
                  <a:pt x="4600575" y="675829"/>
                  <a:pt x="4601210" y="638999"/>
                  <a:pt x="4577715" y="638363"/>
                </a:cubicBezTo>
                <a:close/>
                <a:moveTo>
                  <a:pt x="4615180" y="941259"/>
                </a:moveTo>
                <a:cubicBezTo>
                  <a:pt x="4598670" y="939988"/>
                  <a:pt x="4597400" y="966024"/>
                  <a:pt x="4613910" y="966659"/>
                </a:cubicBezTo>
                <a:cubicBezTo>
                  <a:pt x="4630420" y="967929"/>
                  <a:pt x="4631690" y="941894"/>
                  <a:pt x="4615180" y="941259"/>
                </a:cubicBezTo>
                <a:close/>
                <a:moveTo>
                  <a:pt x="4548505" y="725359"/>
                </a:moveTo>
                <a:cubicBezTo>
                  <a:pt x="4526280" y="725359"/>
                  <a:pt x="4526915" y="759649"/>
                  <a:pt x="4548505" y="759013"/>
                </a:cubicBezTo>
                <a:cubicBezTo>
                  <a:pt x="4570730" y="759013"/>
                  <a:pt x="4570730" y="724724"/>
                  <a:pt x="4548505" y="725359"/>
                </a:cubicBezTo>
                <a:close/>
                <a:moveTo>
                  <a:pt x="4741545" y="564704"/>
                </a:moveTo>
                <a:cubicBezTo>
                  <a:pt x="4730750" y="563434"/>
                  <a:pt x="4720590" y="570419"/>
                  <a:pt x="4719320" y="581849"/>
                </a:cubicBezTo>
                <a:cubicBezTo>
                  <a:pt x="4721225" y="633284"/>
                  <a:pt x="4791075" y="579944"/>
                  <a:pt x="4741545" y="564704"/>
                </a:cubicBezTo>
                <a:close/>
                <a:moveTo>
                  <a:pt x="4550410" y="877124"/>
                </a:moveTo>
                <a:cubicBezTo>
                  <a:pt x="4531995" y="876488"/>
                  <a:pt x="4531995" y="905699"/>
                  <a:pt x="4550410" y="905699"/>
                </a:cubicBezTo>
                <a:cubicBezTo>
                  <a:pt x="4568825" y="905699"/>
                  <a:pt x="4568825" y="877124"/>
                  <a:pt x="4550410" y="877124"/>
                </a:cubicBezTo>
                <a:close/>
                <a:moveTo>
                  <a:pt x="4540250" y="312608"/>
                </a:moveTo>
                <a:cubicBezTo>
                  <a:pt x="4547870" y="282129"/>
                  <a:pt x="4500245" y="271333"/>
                  <a:pt x="4493260" y="301813"/>
                </a:cubicBezTo>
                <a:cubicBezTo>
                  <a:pt x="4485640" y="332294"/>
                  <a:pt x="4533265" y="343088"/>
                  <a:pt x="4540250" y="312608"/>
                </a:cubicBezTo>
                <a:close/>
                <a:moveTo>
                  <a:pt x="4490720" y="638363"/>
                </a:moveTo>
                <a:cubicBezTo>
                  <a:pt x="4466590" y="638363"/>
                  <a:pt x="4467225" y="675829"/>
                  <a:pt x="4491355" y="675194"/>
                </a:cubicBezTo>
                <a:cubicBezTo>
                  <a:pt x="4514850" y="675194"/>
                  <a:pt x="4514850" y="637729"/>
                  <a:pt x="4490720" y="638363"/>
                </a:cubicBezTo>
                <a:close/>
                <a:moveTo>
                  <a:pt x="4551680" y="939354"/>
                </a:moveTo>
                <a:cubicBezTo>
                  <a:pt x="4535170" y="938719"/>
                  <a:pt x="4534535" y="964754"/>
                  <a:pt x="4551045" y="964754"/>
                </a:cubicBezTo>
                <a:cubicBezTo>
                  <a:pt x="4567555" y="964754"/>
                  <a:pt x="4567555" y="939354"/>
                  <a:pt x="4551680" y="939354"/>
                </a:cubicBezTo>
                <a:close/>
                <a:moveTo>
                  <a:pt x="4559935" y="821244"/>
                </a:moveTo>
                <a:cubicBezTo>
                  <a:pt x="4559935" y="800924"/>
                  <a:pt x="4528820" y="800924"/>
                  <a:pt x="4528820" y="821244"/>
                </a:cubicBezTo>
                <a:cubicBezTo>
                  <a:pt x="4528820" y="841563"/>
                  <a:pt x="4559935" y="840929"/>
                  <a:pt x="4559935" y="821244"/>
                </a:cubicBezTo>
                <a:close/>
                <a:moveTo>
                  <a:pt x="4584700" y="459929"/>
                </a:moveTo>
                <a:cubicBezTo>
                  <a:pt x="4557395" y="456754"/>
                  <a:pt x="4552950" y="499299"/>
                  <a:pt x="4580255" y="501838"/>
                </a:cubicBezTo>
                <a:cubicBezTo>
                  <a:pt x="4607560" y="505649"/>
                  <a:pt x="4612640" y="462469"/>
                  <a:pt x="4584700" y="459929"/>
                </a:cubicBezTo>
                <a:close/>
                <a:moveTo>
                  <a:pt x="4678680" y="945069"/>
                </a:moveTo>
                <a:cubicBezTo>
                  <a:pt x="4662170" y="943799"/>
                  <a:pt x="4660900" y="969834"/>
                  <a:pt x="4677410" y="970469"/>
                </a:cubicBezTo>
                <a:cubicBezTo>
                  <a:pt x="4693285" y="971738"/>
                  <a:pt x="4695190" y="945704"/>
                  <a:pt x="4678680" y="945069"/>
                </a:cubicBezTo>
                <a:close/>
                <a:moveTo>
                  <a:pt x="4688840" y="881569"/>
                </a:moveTo>
                <a:cubicBezTo>
                  <a:pt x="4670425" y="880299"/>
                  <a:pt x="4669155" y="909509"/>
                  <a:pt x="4687570" y="909509"/>
                </a:cubicBezTo>
                <a:cubicBezTo>
                  <a:pt x="4705985" y="910779"/>
                  <a:pt x="4707255" y="882204"/>
                  <a:pt x="4688840" y="881569"/>
                </a:cubicBezTo>
                <a:close/>
                <a:moveTo>
                  <a:pt x="4694555" y="808544"/>
                </a:moveTo>
                <a:cubicBezTo>
                  <a:pt x="4674235" y="807274"/>
                  <a:pt x="4672965" y="839659"/>
                  <a:pt x="4693920" y="839659"/>
                </a:cubicBezTo>
                <a:cubicBezTo>
                  <a:pt x="4713605" y="840294"/>
                  <a:pt x="4714240" y="809179"/>
                  <a:pt x="4694555" y="808544"/>
                </a:cubicBezTo>
                <a:close/>
                <a:moveTo>
                  <a:pt x="4709795" y="729169"/>
                </a:moveTo>
                <a:cubicBezTo>
                  <a:pt x="4687570" y="727899"/>
                  <a:pt x="4686300" y="762188"/>
                  <a:pt x="4707890" y="762824"/>
                </a:cubicBezTo>
                <a:cubicBezTo>
                  <a:pt x="4730115" y="764729"/>
                  <a:pt x="4732020" y="730438"/>
                  <a:pt x="4709795" y="729169"/>
                </a:cubicBezTo>
                <a:close/>
                <a:moveTo>
                  <a:pt x="4681220" y="661224"/>
                </a:moveTo>
                <a:cubicBezTo>
                  <a:pt x="4683125" y="637729"/>
                  <a:pt x="4645660" y="635188"/>
                  <a:pt x="4644390" y="659319"/>
                </a:cubicBezTo>
                <a:cubicBezTo>
                  <a:pt x="4643120" y="682813"/>
                  <a:pt x="4680585" y="685354"/>
                  <a:pt x="4681220" y="661224"/>
                </a:cubicBezTo>
                <a:close/>
                <a:moveTo>
                  <a:pt x="4619625" y="806004"/>
                </a:moveTo>
                <a:cubicBezTo>
                  <a:pt x="4599305" y="805369"/>
                  <a:pt x="4598670" y="837119"/>
                  <a:pt x="4618990" y="837119"/>
                </a:cubicBezTo>
                <a:cubicBezTo>
                  <a:pt x="4638675" y="837754"/>
                  <a:pt x="4639310" y="806638"/>
                  <a:pt x="4619625" y="806004"/>
                </a:cubicBezTo>
                <a:close/>
                <a:moveTo>
                  <a:pt x="4629150" y="725994"/>
                </a:moveTo>
                <a:cubicBezTo>
                  <a:pt x="4606925" y="725359"/>
                  <a:pt x="4606290" y="760284"/>
                  <a:pt x="4628515" y="759649"/>
                </a:cubicBezTo>
                <a:cubicBezTo>
                  <a:pt x="4650105" y="760284"/>
                  <a:pt x="4650740" y="726629"/>
                  <a:pt x="4629150" y="725994"/>
                </a:cubicBezTo>
                <a:close/>
                <a:moveTo>
                  <a:pt x="4488180" y="937449"/>
                </a:moveTo>
                <a:cubicBezTo>
                  <a:pt x="4471670" y="936813"/>
                  <a:pt x="4471035" y="962849"/>
                  <a:pt x="4487545" y="962849"/>
                </a:cubicBezTo>
                <a:cubicBezTo>
                  <a:pt x="4504055" y="963484"/>
                  <a:pt x="4504690" y="937449"/>
                  <a:pt x="4488180" y="937449"/>
                </a:cubicBezTo>
                <a:close/>
                <a:moveTo>
                  <a:pt x="1173480" y="2458909"/>
                </a:moveTo>
                <a:cubicBezTo>
                  <a:pt x="1172210" y="2459544"/>
                  <a:pt x="1170940" y="2460814"/>
                  <a:pt x="1169670" y="2462084"/>
                </a:cubicBezTo>
                <a:cubicBezTo>
                  <a:pt x="1189355" y="2368739"/>
                  <a:pt x="1066165" y="2473514"/>
                  <a:pt x="1162050" y="2469069"/>
                </a:cubicBezTo>
                <a:lnTo>
                  <a:pt x="1162050" y="2469069"/>
                </a:lnTo>
                <a:cubicBezTo>
                  <a:pt x="1164590" y="2467799"/>
                  <a:pt x="1166495" y="2465894"/>
                  <a:pt x="1168400" y="2463989"/>
                </a:cubicBezTo>
                <a:cubicBezTo>
                  <a:pt x="1144270" y="2566859"/>
                  <a:pt x="1278255" y="2450654"/>
                  <a:pt x="1173480" y="2458909"/>
                </a:cubicBezTo>
                <a:close/>
                <a:moveTo>
                  <a:pt x="3246120" y="971738"/>
                </a:moveTo>
                <a:cubicBezTo>
                  <a:pt x="3224530" y="981899"/>
                  <a:pt x="3241675" y="1015554"/>
                  <a:pt x="3262630" y="1004759"/>
                </a:cubicBezTo>
                <a:cubicBezTo>
                  <a:pt x="3284220" y="994599"/>
                  <a:pt x="3267710" y="960944"/>
                  <a:pt x="3246120" y="971738"/>
                </a:cubicBezTo>
                <a:close/>
                <a:moveTo>
                  <a:pt x="2949575" y="1176209"/>
                </a:moveTo>
                <a:cubicBezTo>
                  <a:pt x="2936240" y="1156524"/>
                  <a:pt x="2907030" y="1180019"/>
                  <a:pt x="2923540" y="1197163"/>
                </a:cubicBezTo>
                <a:cubicBezTo>
                  <a:pt x="2905760" y="1218754"/>
                  <a:pt x="2950845" y="1232088"/>
                  <a:pt x="2947670" y="1204149"/>
                </a:cubicBezTo>
                <a:cubicBezTo>
                  <a:pt x="2973705" y="1216849"/>
                  <a:pt x="2977515" y="1168588"/>
                  <a:pt x="2949575" y="1176209"/>
                </a:cubicBezTo>
                <a:close/>
                <a:moveTo>
                  <a:pt x="2893060" y="1209229"/>
                </a:moveTo>
                <a:cubicBezTo>
                  <a:pt x="2901315" y="1199704"/>
                  <a:pt x="2895600" y="1182559"/>
                  <a:pt x="2882900" y="1180019"/>
                </a:cubicBezTo>
                <a:cubicBezTo>
                  <a:pt x="2875915" y="1131124"/>
                  <a:pt x="2813050" y="1185099"/>
                  <a:pt x="2860675" y="1199069"/>
                </a:cubicBezTo>
                <a:cubicBezTo>
                  <a:pt x="2860675" y="1201609"/>
                  <a:pt x="2861945" y="1204784"/>
                  <a:pt x="2863215" y="1207324"/>
                </a:cubicBezTo>
                <a:cubicBezTo>
                  <a:pt x="2846705" y="1207959"/>
                  <a:pt x="2842260" y="1232088"/>
                  <a:pt x="2856865" y="1239074"/>
                </a:cubicBezTo>
                <a:cubicBezTo>
                  <a:pt x="2860675" y="1252409"/>
                  <a:pt x="2880995" y="1251138"/>
                  <a:pt x="2883535" y="1238438"/>
                </a:cubicBezTo>
                <a:cubicBezTo>
                  <a:pt x="2901315" y="1242884"/>
                  <a:pt x="2909570" y="1215579"/>
                  <a:pt x="2893060" y="1209229"/>
                </a:cubicBezTo>
                <a:close/>
                <a:moveTo>
                  <a:pt x="2957195" y="1135569"/>
                </a:moveTo>
                <a:cubicBezTo>
                  <a:pt x="2967355" y="1080324"/>
                  <a:pt x="2883535" y="1124774"/>
                  <a:pt x="2934970" y="1146999"/>
                </a:cubicBezTo>
                <a:cubicBezTo>
                  <a:pt x="2927985" y="1195894"/>
                  <a:pt x="3001645" y="1157159"/>
                  <a:pt x="2957195" y="1135569"/>
                </a:cubicBezTo>
                <a:close/>
                <a:moveTo>
                  <a:pt x="2991485" y="1043494"/>
                </a:moveTo>
                <a:cubicBezTo>
                  <a:pt x="2975610" y="1021269"/>
                  <a:pt x="2940685" y="1047304"/>
                  <a:pt x="2957830" y="1068894"/>
                </a:cubicBezTo>
                <a:cubicBezTo>
                  <a:pt x="2973705" y="1091119"/>
                  <a:pt x="3007995" y="1065084"/>
                  <a:pt x="2991485" y="1043494"/>
                </a:cubicBezTo>
                <a:close/>
                <a:moveTo>
                  <a:pt x="2806700" y="1158429"/>
                </a:moveTo>
                <a:cubicBezTo>
                  <a:pt x="2785110" y="1174938"/>
                  <a:pt x="2811780" y="1209229"/>
                  <a:pt x="2832735" y="1191449"/>
                </a:cubicBezTo>
                <a:cubicBezTo>
                  <a:pt x="2854960" y="1174938"/>
                  <a:pt x="2828290" y="1140649"/>
                  <a:pt x="2806700" y="1158429"/>
                </a:cubicBezTo>
                <a:close/>
                <a:moveTo>
                  <a:pt x="2767330" y="1275269"/>
                </a:moveTo>
                <a:cubicBezTo>
                  <a:pt x="2763520" y="1265744"/>
                  <a:pt x="2748915" y="1265109"/>
                  <a:pt x="2744470" y="1274634"/>
                </a:cubicBezTo>
                <a:cubicBezTo>
                  <a:pt x="2740025" y="1270824"/>
                  <a:pt x="2733040" y="1269554"/>
                  <a:pt x="2727325" y="1270824"/>
                </a:cubicBezTo>
                <a:cubicBezTo>
                  <a:pt x="2720340" y="1263838"/>
                  <a:pt x="2709545" y="1262569"/>
                  <a:pt x="2701925" y="1268919"/>
                </a:cubicBezTo>
                <a:cubicBezTo>
                  <a:pt x="2701925" y="1268919"/>
                  <a:pt x="2701925" y="1268919"/>
                  <a:pt x="2701925" y="1268919"/>
                </a:cubicBezTo>
                <a:cubicBezTo>
                  <a:pt x="2693670" y="1274634"/>
                  <a:pt x="2691765" y="1286063"/>
                  <a:pt x="2696210" y="1294319"/>
                </a:cubicBezTo>
                <a:cubicBezTo>
                  <a:pt x="2693670" y="1294954"/>
                  <a:pt x="2691130" y="1296224"/>
                  <a:pt x="2689225" y="1298129"/>
                </a:cubicBezTo>
                <a:cubicBezTo>
                  <a:pt x="2689860" y="1291144"/>
                  <a:pt x="2686685" y="1283524"/>
                  <a:pt x="2680335" y="1279079"/>
                </a:cubicBezTo>
                <a:cubicBezTo>
                  <a:pt x="2701925" y="1275904"/>
                  <a:pt x="2705735" y="1244788"/>
                  <a:pt x="2685415" y="1236534"/>
                </a:cubicBezTo>
                <a:cubicBezTo>
                  <a:pt x="2696845" y="1220659"/>
                  <a:pt x="2681605" y="1195894"/>
                  <a:pt x="2661920" y="1199704"/>
                </a:cubicBezTo>
                <a:cubicBezTo>
                  <a:pt x="2649855" y="1127949"/>
                  <a:pt x="2568575" y="1221294"/>
                  <a:pt x="2641600" y="1223834"/>
                </a:cubicBezTo>
                <a:cubicBezTo>
                  <a:pt x="2641600" y="1233359"/>
                  <a:pt x="2647950" y="1242884"/>
                  <a:pt x="2656840" y="1246059"/>
                </a:cubicBezTo>
                <a:cubicBezTo>
                  <a:pt x="2651125" y="1255584"/>
                  <a:pt x="2653665" y="1269554"/>
                  <a:pt x="2663825" y="1275904"/>
                </a:cubicBezTo>
                <a:cubicBezTo>
                  <a:pt x="2638425" y="1280349"/>
                  <a:pt x="2644140" y="1320354"/>
                  <a:pt x="2670175" y="1317813"/>
                </a:cubicBezTo>
                <a:cubicBezTo>
                  <a:pt x="2669540" y="1318449"/>
                  <a:pt x="2669540" y="1319719"/>
                  <a:pt x="2668905" y="1320354"/>
                </a:cubicBezTo>
                <a:cubicBezTo>
                  <a:pt x="2662555" y="1317179"/>
                  <a:pt x="2654300" y="1317813"/>
                  <a:pt x="2648585" y="1322894"/>
                </a:cubicBezTo>
                <a:cubicBezTo>
                  <a:pt x="2640330" y="1317813"/>
                  <a:pt x="2627630" y="1320354"/>
                  <a:pt x="2622550" y="1329244"/>
                </a:cubicBezTo>
                <a:cubicBezTo>
                  <a:pt x="2623185" y="1321624"/>
                  <a:pt x="2619375" y="1312734"/>
                  <a:pt x="2612390" y="1308288"/>
                </a:cubicBezTo>
                <a:cubicBezTo>
                  <a:pt x="2617470" y="1292413"/>
                  <a:pt x="2602230" y="1275269"/>
                  <a:pt x="2585720" y="1278444"/>
                </a:cubicBezTo>
                <a:cubicBezTo>
                  <a:pt x="2557145" y="1220659"/>
                  <a:pt x="2502535" y="1314004"/>
                  <a:pt x="2566670" y="1310829"/>
                </a:cubicBezTo>
                <a:cubicBezTo>
                  <a:pt x="2568575" y="1315909"/>
                  <a:pt x="2572385" y="1320354"/>
                  <a:pt x="2577465" y="1322894"/>
                </a:cubicBezTo>
                <a:cubicBezTo>
                  <a:pt x="2576195" y="1328609"/>
                  <a:pt x="2577465" y="1334959"/>
                  <a:pt x="2581275" y="1340674"/>
                </a:cubicBezTo>
                <a:cubicBezTo>
                  <a:pt x="2570480" y="1346388"/>
                  <a:pt x="2567305" y="1363534"/>
                  <a:pt x="2574290" y="1373059"/>
                </a:cubicBezTo>
                <a:cubicBezTo>
                  <a:pt x="2573020" y="1374329"/>
                  <a:pt x="2572385" y="1375599"/>
                  <a:pt x="2571750" y="1376869"/>
                </a:cubicBezTo>
                <a:cubicBezTo>
                  <a:pt x="2561590" y="1373059"/>
                  <a:pt x="2545080" y="1376234"/>
                  <a:pt x="2545080" y="1389569"/>
                </a:cubicBezTo>
                <a:cubicBezTo>
                  <a:pt x="2545080" y="1389569"/>
                  <a:pt x="2544445" y="1390204"/>
                  <a:pt x="2544445" y="1390204"/>
                </a:cubicBezTo>
                <a:cubicBezTo>
                  <a:pt x="2543175" y="1385759"/>
                  <a:pt x="2540000" y="1381313"/>
                  <a:pt x="2536190" y="1378774"/>
                </a:cubicBezTo>
                <a:cubicBezTo>
                  <a:pt x="2536190" y="1364169"/>
                  <a:pt x="2519680" y="1352104"/>
                  <a:pt x="2505710" y="1357184"/>
                </a:cubicBezTo>
                <a:cubicBezTo>
                  <a:pt x="2464435" y="1314638"/>
                  <a:pt x="2437130" y="1410524"/>
                  <a:pt x="2494280" y="1395919"/>
                </a:cubicBezTo>
                <a:cubicBezTo>
                  <a:pt x="2496185" y="1397824"/>
                  <a:pt x="2498090" y="1399729"/>
                  <a:pt x="2500630" y="1400999"/>
                </a:cubicBezTo>
                <a:cubicBezTo>
                  <a:pt x="2500630" y="1402269"/>
                  <a:pt x="2501265" y="1404174"/>
                  <a:pt x="2501900" y="1405444"/>
                </a:cubicBezTo>
                <a:cubicBezTo>
                  <a:pt x="2500630" y="1406713"/>
                  <a:pt x="2499360" y="1407984"/>
                  <a:pt x="2498725" y="1409888"/>
                </a:cubicBezTo>
                <a:cubicBezTo>
                  <a:pt x="2490470" y="1409888"/>
                  <a:pt x="2483485" y="1418144"/>
                  <a:pt x="2484755" y="1425763"/>
                </a:cubicBezTo>
                <a:cubicBezTo>
                  <a:pt x="2484755" y="1425763"/>
                  <a:pt x="2484120" y="1425763"/>
                  <a:pt x="2484120" y="1426399"/>
                </a:cubicBezTo>
                <a:cubicBezTo>
                  <a:pt x="2476500" y="1387029"/>
                  <a:pt x="2436495" y="1442274"/>
                  <a:pt x="2475865" y="1437194"/>
                </a:cubicBezTo>
                <a:cubicBezTo>
                  <a:pt x="2475865" y="1437194"/>
                  <a:pt x="2475865" y="1437194"/>
                  <a:pt x="2475865" y="1437194"/>
                </a:cubicBezTo>
                <a:cubicBezTo>
                  <a:pt x="2452370" y="1464499"/>
                  <a:pt x="2507615" y="1486724"/>
                  <a:pt x="2510155" y="1451163"/>
                </a:cubicBezTo>
                <a:cubicBezTo>
                  <a:pt x="2522220" y="1456879"/>
                  <a:pt x="2536825" y="1444813"/>
                  <a:pt x="2534920" y="1432113"/>
                </a:cubicBezTo>
                <a:cubicBezTo>
                  <a:pt x="2537460" y="1427034"/>
                  <a:pt x="2538095" y="1421319"/>
                  <a:pt x="2536825" y="1415604"/>
                </a:cubicBezTo>
                <a:cubicBezTo>
                  <a:pt x="2539365" y="1414334"/>
                  <a:pt x="2541270" y="1411794"/>
                  <a:pt x="2542540" y="1409254"/>
                </a:cubicBezTo>
                <a:cubicBezTo>
                  <a:pt x="2546985" y="1416238"/>
                  <a:pt x="2555875" y="1418779"/>
                  <a:pt x="2563495" y="1414969"/>
                </a:cubicBezTo>
                <a:cubicBezTo>
                  <a:pt x="2570480" y="1415604"/>
                  <a:pt x="2578735" y="1411159"/>
                  <a:pt x="2581910" y="1404809"/>
                </a:cubicBezTo>
                <a:cubicBezTo>
                  <a:pt x="2586355" y="1406079"/>
                  <a:pt x="2590800" y="1405444"/>
                  <a:pt x="2594610" y="1402904"/>
                </a:cubicBezTo>
                <a:lnTo>
                  <a:pt x="2594610" y="1402904"/>
                </a:lnTo>
                <a:cubicBezTo>
                  <a:pt x="2604770" y="1399094"/>
                  <a:pt x="2609850" y="1386394"/>
                  <a:pt x="2604135" y="1376869"/>
                </a:cubicBezTo>
                <a:cubicBezTo>
                  <a:pt x="2606040" y="1375599"/>
                  <a:pt x="2607310" y="1374329"/>
                  <a:pt x="2607945" y="1373059"/>
                </a:cubicBezTo>
                <a:cubicBezTo>
                  <a:pt x="2612390" y="1379409"/>
                  <a:pt x="2621280" y="1381313"/>
                  <a:pt x="2628265" y="1377504"/>
                </a:cubicBezTo>
                <a:lnTo>
                  <a:pt x="2628265" y="1377504"/>
                </a:lnTo>
                <a:cubicBezTo>
                  <a:pt x="2634615" y="1373694"/>
                  <a:pt x="2637155" y="1366709"/>
                  <a:pt x="2635885" y="1360359"/>
                </a:cubicBezTo>
                <a:cubicBezTo>
                  <a:pt x="2638425" y="1360994"/>
                  <a:pt x="2641600" y="1360359"/>
                  <a:pt x="2644140" y="1359724"/>
                </a:cubicBezTo>
                <a:cubicBezTo>
                  <a:pt x="2652395" y="1366709"/>
                  <a:pt x="2665730" y="1362899"/>
                  <a:pt x="2669540" y="1352738"/>
                </a:cubicBezTo>
                <a:cubicBezTo>
                  <a:pt x="2673985" y="1349563"/>
                  <a:pt x="2676525" y="1345119"/>
                  <a:pt x="2677795" y="1340674"/>
                </a:cubicBezTo>
                <a:cubicBezTo>
                  <a:pt x="2690495" y="1349563"/>
                  <a:pt x="2707005" y="1334324"/>
                  <a:pt x="2700020" y="1320988"/>
                </a:cubicBezTo>
                <a:cubicBezTo>
                  <a:pt x="2703830" y="1320354"/>
                  <a:pt x="2707640" y="1317179"/>
                  <a:pt x="2708910" y="1313369"/>
                </a:cubicBezTo>
                <a:cubicBezTo>
                  <a:pt x="2716530" y="1326704"/>
                  <a:pt x="2738120" y="1322259"/>
                  <a:pt x="2740025" y="1307654"/>
                </a:cubicBezTo>
                <a:cubicBezTo>
                  <a:pt x="2743200" y="1308288"/>
                  <a:pt x="2746375" y="1308288"/>
                  <a:pt x="2748915" y="1307019"/>
                </a:cubicBezTo>
                <a:cubicBezTo>
                  <a:pt x="2760345" y="1310194"/>
                  <a:pt x="2770505" y="1297494"/>
                  <a:pt x="2766695" y="1286699"/>
                </a:cubicBezTo>
                <a:cubicBezTo>
                  <a:pt x="2768600" y="1282254"/>
                  <a:pt x="2769235" y="1279079"/>
                  <a:pt x="2767330" y="1275269"/>
                </a:cubicBezTo>
                <a:close/>
                <a:moveTo>
                  <a:pt x="2615565" y="1342579"/>
                </a:moveTo>
                <a:cubicBezTo>
                  <a:pt x="2616835" y="1341309"/>
                  <a:pt x="2618105" y="1340038"/>
                  <a:pt x="2618740" y="1338134"/>
                </a:cubicBezTo>
                <a:cubicBezTo>
                  <a:pt x="2618740" y="1339404"/>
                  <a:pt x="2618740" y="1340674"/>
                  <a:pt x="2618740" y="1341309"/>
                </a:cubicBezTo>
                <a:cubicBezTo>
                  <a:pt x="2618105" y="1341944"/>
                  <a:pt x="2616835" y="1341944"/>
                  <a:pt x="2615565" y="1342579"/>
                </a:cubicBezTo>
                <a:close/>
                <a:moveTo>
                  <a:pt x="2684145" y="1310194"/>
                </a:moveTo>
                <a:cubicBezTo>
                  <a:pt x="2684780" y="1309559"/>
                  <a:pt x="2684780" y="1308924"/>
                  <a:pt x="2685415" y="1308924"/>
                </a:cubicBezTo>
                <a:cubicBezTo>
                  <a:pt x="2685415" y="1309559"/>
                  <a:pt x="2685415" y="1310194"/>
                  <a:pt x="2685415" y="1310829"/>
                </a:cubicBezTo>
                <a:cubicBezTo>
                  <a:pt x="2685415" y="1310194"/>
                  <a:pt x="2684780" y="1310194"/>
                  <a:pt x="2684145" y="1310194"/>
                </a:cubicBezTo>
                <a:close/>
                <a:moveTo>
                  <a:pt x="2458085" y="1446084"/>
                </a:moveTo>
                <a:cubicBezTo>
                  <a:pt x="2452370" y="1433384"/>
                  <a:pt x="2435860" y="1428938"/>
                  <a:pt x="2424430" y="1435924"/>
                </a:cubicBezTo>
                <a:cubicBezTo>
                  <a:pt x="2385060" y="1411794"/>
                  <a:pt x="2367280" y="1485454"/>
                  <a:pt x="2413000" y="1482279"/>
                </a:cubicBezTo>
                <a:cubicBezTo>
                  <a:pt x="2413000" y="1483549"/>
                  <a:pt x="2413635" y="1484184"/>
                  <a:pt x="2414270" y="1485454"/>
                </a:cubicBezTo>
                <a:cubicBezTo>
                  <a:pt x="2366645" y="1501329"/>
                  <a:pt x="2433320" y="1552763"/>
                  <a:pt x="2437130" y="1503234"/>
                </a:cubicBezTo>
                <a:cubicBezTo>
                  <a:pt x="2444115" y="1504504"/>
                  <a:pt x="2451735" y="1502599"/>
                  <a:pt x="2456815" y="1496884"/>
                </a:cubicBezTo>
                <a:lnTo>
                  <a:pt x="2456815" y="1496884"/>
                </a:lnTo>
                <a:cubicBezTo>
                  <a:pt x="2468880" y="1484184"/>
                  <a:pt x="2477770" y="1456244"/>
                  <a:pt x="2458085" y="1446084"/>
                </a:cubicBezTo>
                <a:close/>
                <a:moveTo>
                  <a:pt x="2823845" y="1241613"/>
                </a:moveTo>
                <a:cubicBezTo>
                  <a:pt x="2823845" y="1232724"/>
                  <a:pt x="2814955" y="1224469"/>
                  <a:pt x="2806700" y="1224469"/>
                </a:cubicBezTo>
                <a:cubicBezTo>
                  <a:pt x="2789555" y="1189544"/>
                  <a:pt x="2746375" y="1237804"/>
                  <a:pt x="2783205" y="1251138"/>
                </a:cubicBezTo>
                <a:cubicBezTo>
                  <a:pt x="2767965" y="1264474"/>
                  <a:pt x="2788285" y="1289874"/>
                  <a:pt x="2804795" y="1277174"/>
                </a:cubicBezTo>
                <a:cubicBezTo>
                  <a:pt x="2809875" y="1278444"/>
                  <a:pt x="2815590" y="1275904"/>
                  <a:pt x="2818765" y="1272094"/>
                </a:cubicBezTo>
                <a:cubicBezTo>
                  <a:pt x="2836545" y="1274634"/>
                  <a:pt x="2841625" y="1245424"/>
                  <a:pt x="2823845" y="1241613"/>
                </a:cubicBezTo>
                <a:close/>
                <a:moveTo>
                  <a:pt x="3187065" y="1094294"/>
                </a:moveTo>
                <a:cubicBezTo>
                  <a:pt x="3178810" y="1096834"/>
                  <a:pt x="3175000" y="1106994"/>
                  <a:pt x="3179445" y="1113979"/>
                </a:cubicBezTo>
                <a:cubicBezTo>
                  <a:pt x="3176905" y="1112074"/>
                  <a:pt x="3174365" y="1111438"/>
                  <a:pt x="3171190" y="1111438"/>
                </a:cubicBezTo>
                <a:cubicBezTo>
                  <a:pt x="3178810" y="1104454"/>
                  <a:pt x="3175635" y="1090484"/>
                  <a:pt x="3166110" y="1086674"/>
                </a:cubicBezTo>
                <a:cubicBezTo>
                  <a:pt x="3181985" y="1040954"/>
                  <a:pt x="3104515" y="1068894"/>
                  <a:pt x="3146425" y="1093659"/>
                </a:cubicBezTo>
                <a:cubicBezTo>
                  <a:pt x="3140075" y="1103819"/>
                  <a:pt x="3150235" y="1118424"/>
                  <a:pt x="3161665" y="1115884"/>
                </a:cubicBezTo>
                <a:cubicBezTo>
                  <a:pt x="3146425" y="1139379"/>
                  <a:pt x="3192780" y="1143824"/>
                  <a:pt x="3183255" y="1118424"/>
                </a:cubicBezTo>
                <a:cubicBezTo>
                  <a:pt x="3207385" y="1134934"/>
                  <a:pt x="3215005" y="1087309"/>
                  <a:pt x="3187065" y="1094294"/>
                </a:cubicBezTo>
                <a:close/>
                <a:moveTo>
                  <a:pt x="2390775" y="1503234"/>
                </a:moveTo>
                <a:cubicBezTo>
                  <a:pt x="2402205" y="1491804"/>
                  <a:pt x="2386330" y="1472754"/>
                  <a:pt x="2372995" y="1481644"/>
                </a:cubicBezTo>
                <a:cubicBezTo>
                  <a:pt x="2352040" y="1457513"/>
                  <a:pt x="2337435" y="1509584"/>
                  <a:pt x="2367915" y="1500059"/>
                </a:cubicBezTo>
                <a:cubicBezTo>
                  <a:pt x="2368550" y="1501329"/>
                  <a:pt x="2369185" y="1502599"/>
                  <a:pt x="2370455" y="1503869"/>
                </a:cubicBezTo>
                <a:cubicBezTo>
                  <a:pt x="2363470" y="1500694"/>
                  <a:pt x="2353945" y="1503869"/>
                  <a:pt x="2350770" y="1511488"/>
                </a:cubicBezTo>
                <a:cubicBezTo>
                  <a:pt x="2347595" y="1512759"/>
                  <a:pt x="2343785" y="1515299"/>
                  <a:pt x="2341245" y="1517838"/>
                </a:cubicBezTo>
                <a:cubicBezTo>
                  <a:pt x="2336165" y="1515934"/>
                  <a:pt x="2331085" y="1515934"/>
                  <a:pt x="2326005" y="1517838"/>
                </a:cubicBezTo>
                <a:cubicBezTo>
                  <a:pt x="2324100" y="1517204"/>
                  <a:pt x="2321560" y="1516569"/>
                  <a:pt x="2319655" y="1517204"/>
                </a:cubicBezTo>
                <a:cubicBezTo>
                  <a:pt x="2316480" y="1510219"/>
                  <a:pt x="2307590" y="1508313"/>
                  <a:pt x="2301240" y="1512124"/>
                </a:cubicBezTo>
                <a:cubicBezTo>
                  <a:pt x="2301240" y="1512124"/>
                  <a:pt x="2301240" y="1512124"/>
                  <a:pt x="2301240" y="1512124"/>
                </a:cubicBezTo>
                <a:cubicBezTo>
                  <a:pt x="2290445" y="1518474"/>
                  <a:pt x="2296160" y="1535619"/>
                  <a:pt x="2308225" y="1535619"/>
                </a:cubicBezTo>
                <a:cubicBezTo>
                  <a:pt x="2308225" y="1536254"/>
                  <a:pt x="2308225" y="1536254"/>
                  <a:pt x="2308860" y="1536888"/>
                </a:cubicBezTo>
                <a:cubicBezTo>
                  <a:pt x="2308225" y="1540063"/>
                  <a:pt x="2308225" y="1542604"/>
                  <a:pt x="2308860" y="1545779"/>
                </a:cubicBezTo>
                <a:cubicBezTo>
                  <a:pt x="2293620" y="1538159"/>
                  <a:pt x="2279015" y="1559749"/>
                  <a:pt x="2291715" y="1571179"/>
                </a:cubicBezTo>
                <a:cubicBezTo>
                  <a:pt x="2289175" y="1574354"/>
                  <a:pt x="2287905" y="1578799"/>
                  <a:pt x="2287905" y="1582609"/>
                </a:cubicBezTo>
                <a:cubicBezTo>
                  <a:pt x="2285365" y="1583244"/>
                  <a:pt x="2283460" y="1584513"/>
                  <a:pt x="2281555" y="1585784"/>
                </a:cubicBezTo>
                <a:cubicBezTo>
                  <a:pt x="2273935" y="1585784"/>
                  <a:pt x="2266315" y="1590229"/>
                  <a:pt x="2262505" y="1597213"/>
                </a:cubicBezTo>
                <a:cubicBezTo>
                  <a:pt x="2259965" y="1594674"/>
                  <a:pt x="2257425" y="1593404"/>
                  <a:pt x="2254250" y="1592769"/>
                </a:cubicBezTo>
                <a:cubicBezTo>
                  <a:pt x="2249805" y="1585149"/>
                  <a:pt x="2239645" y="1583244"/>
                  <a:pt x="2232660" y="1588324"/>
                </a:cubicBezTo>
                <a:cubicBezTo>
                  <a:pt x="2232660" y="1588324"/>
                  <a:pt x="2232660" y="1588324"/>
                  <a:pt x="2232660" y="1588324"/>
                </a:cubicBezTo>
                <a:cubicBezTo>
                  <a:pt x="2223135" y="1594674"/>
                  <a:pt x="2223770" y="1609279"/>
                  <a:pt x="2233930" y="1614359"/>
                </a:cubicBezTo>
                <a:cubicBezTo>
                  <a:pt x="2206625" y="1620074"/>
                  <a:pt x="2223135" y="1662619"/>
                  <a:pt x="2247265" y="1648013"/>
                </a:cubicBezTo>
                <a:cubicBezTo>
                  <a:pt x="2259965" y="1654363"/>
                  <a:pt x="2277110" y="1647379"/>
                  <a:pt x="2281555" y="1634044"/>
                </a:cubicBezTo>
                <a:cubicBezTo>
                  <a:pt x="2282190" y="1634044"/>
                  <a:pt x="2282825" y="1633409"/>
                  <a:pt x="2283460" y="1633409"/>
                </a:cubicBezTo>
                <a:cubicBezTo>
                  <a:pt x="2290445" y="1634044"/>
                  <a:pt x="2297430" y="1630869"/>
                  <a:pt x="2301875" y="1625788"/>
                </a:cubicBezTo>
                <a:cubicBezTo>
                  <a:pt x="2313940" y="1623249"/>
                  <a:pt x="2321560" y="1609279"/>
                  <a:pt x="2317750" y="1597849"/>
                </a:cubicBezTo>
                <a:cubicBezTo>
                  <a:pt x="2324100" y="1594038"/>
                  <a:pt x="2327275" y="1586419"/>
                  <a:pt x="2326005" y="1579434"/>
                </a:cubicBezTo>
                <a:cubicBezTo>
                  <a:pt x="2328545" y="1578163"/>
                  <a:pt x="2330450" y="1576259"/>
                  <a:pt x="2332355" y="1573719"/>
                </a:cubicBezTo>
                <a:cubicBezTo>
                  <a:pt x="2341880" y="1585784"/>
                  <a:pt x="2362835" y="1580704"/>
                  <a:pt x="2366010" y="1565463"/>
                </a:cubicBezTo>
                <a:cubicBezTo>
                  <a:pt x="2383790" y="1568004"/>
                  <a:pt x="2395855" y="1546413"/>
                  <a:pt x="2396490" y="1531174"/>
                </a:cubicBezTo>
                <a:cubicBezTo>
                  <a:pt x="2402840" y="1523554"/>
                  <a:pt x="2400935" y="1508313"/>
                  <a:pt x="2390775" y="1503234"/>
                </a:cubicBezTo>
                <a:close/>
                <a:moveTo>
                  <a:pt x="3235325" y="1088579"/>
                </a:moveTo>
                <a:cubicBezTo>
                  <a:pt x="3248660" y="1084134"/>
                  <a:pt x="3248025" y="1063179"/>
                  <a:pt x="3234055" y="1059369"/>
                </a:cubicBezTo>
                <a:cubicBezTo>
                  <a:pt x="3270885" y="1013013"/>
                  <a:pt x="3171190" y="1028888"/>
                  <a:pt x="3220720" y="1061274"/>
                </a:cubicBezTo>
                <a:cubicBezTo>
                  <a:pt x="3206115" y="1070799"/>
                  <a:pt x="3219450" y="1094929"/>
                  <a:pt x="3235325" y="1088579"/>
                </a:cubicBezTo>
                <a:close/>
                <a:moveTo>
                  <a:pt x="3228975" y="1094294"/>
                </a:moveTo>
                <a:cubicBezTo>
                  <a:pt x="3213100" y="1098738"/>
                  <a:pt x="3220085" y="1123504"/>
                  <a:pt x="3235960" y="1118424"/>
                </a:cubicBezTo>
                <a:cubicBezTo>
                  <a:pt x="3252470" y="1114613"/>
                  <a:pt x="3244850" y="1089213"/>
                  <a:pt x="3228975" y="1094294"/>
                </a:cubicBezTo>
                <a:close/>
                <a:moveTo>
                  <a:pt x="3253105" y="1072704"/>
                </a:moveTo>
                <a:cubicBezTo>
                  <a:pt x="3235325" y="1077784"/>
                  <a:pt x="3244850" y="1105724"/>
                  <a:pt x="3261995" y="1099374"/>
                </a:cubicBezTo>
                <a:cubicBezTo>
                  <a:pt x="3279140" y="1093659"/>
                  <a:pt x="3270250" y="1066354"/>
                  <a:pt x="3253105" y="1072704"/>
                </a:cubicBezTo>
                <a:close/>
                <a:moveTo>
                  <a:pt x="2992120" y="1167319"/>
                </a:moveTo>
                <a:cubicBezTo>
                  <a:pt x="2988945" y="1168588"/>
                  <a:pt x="2986405" y="1171129"/>
                  <a:pt x="2985135" y="1174304"/>
                </a:cubicBezTo>
                <a:cubicBezTo>
                  <a:pt x="2969260" y="1183829"/>
                  <a:pt x="2987040" y="1207324"/>
                  <a:pt x="3000375" y="1194624"/>
                </a:cubicBezTo>
                <a:cubicBezTo>
                  <a:pt x="3020060" y="1190813"/>
                  <a:pt x="3010535" y="1159699"/>
                  <a:pt x="2992120" y="1167319"/>
                </a:cubicBezTo>
                <a:close/>
                <a:moveTo>
                  <a:pt x="3023235" y="1144459"/>
                </a:moveTo>
                <a:cubicBezTo>
                  <a:pt x="3007360" y="1106359"/>
                  <a:pt x="2967355" y="1162874"/>
                  <a:pt x="3007995" y="1165413"/>
                </a:cubicBezTo>
                <a:cubicBezTo>
                  <a:pt x="3023870" y="1195894"/>
                  <a:pt x="3056890" y="1149538"/>
                  <a:pt x="3023235" y="1144459"/>
                </a:cubicBezTo>
                <a:close/>
                <a:moveTo>
                  <a:pt x="3028950" y="1091754"/>
                </a:moveTo>
                <a:cubicBezTo>
                  <a:pt x="3061970" y="1030794"/>
                  <a:pt x="2950210" y="1070163"/>
                  <a:pt x="3013710" y="1096834"/>
                </a:cubicBezTo>
                <a:cubicBezTo>
                  <a:pt x="3007995" y="1102549"/>
                  <a:pt x="3006090" y="1111438"/>
                  <a:pt x="3010535" y="1119059"/>
                </a:cubicBezTo>
                <a:cubicBezTo>
                  <a:pt x="3031490" y="1149538"/>
                  <a:pt x="3065145" y="1098738"/>
                  <a:pt x="3028950" y="1091754"/>
                </a:cubicBezTo>
                <a:close/>
                <a:moveTo>
                  <a:pt x="3056890" y="1141919"/>
                </a:moveTo>
                <a:cubicBezTo>
                  <a:pt x="3052445" y="1143824"/>
                  <a:pt x="3049270" y="1146999"/>
                  <a:pt x="3048000" y="1151444"/>
                </a:cubicBezTo>
                <a:cubicBezTo>
                  <a:pt x="3023870" y="1159063"/>
                  <a:pt x="3050540" y="1190813"/>
                  <a:pt x="3062605" y="1169224"/>
                </a:cubicBezTo>
                <a:cubicBezTo>
                  <a:pt x="3083560" y="1167954"/>
                  <a:pt x="3076575" y="1134299"/>
                  <a:pt x="3056890" y="1141919"/>
                </a:cubicBezTo>
                <a:close/>
                <a:moveTo>
                  <a:pt x="3121660" y="1117788"/>
                </a:moveTo>
                <a:cubicBezTo>
                  <a:pt x="3115945" y="1119694"/>
                  <a:pt x="3112135" y="1125409"/>
                  <a:pt x="3112135" y="1131124"/>
                </a:cubicBezTo>
                <a:cubicBezTo>
                  <a:pt x="3110230" y="1131124"/>
                  <a:pt x="3107690" y="1131124"/>
                  <a:pt x="3105785" y="1132394"/>
                </a:cubicBezTo>
                <a:cubicBezTo>
                  <a:pt x="3107055" y="1125409"/>
                  <a:pt x="3101975" y="1117788"/>
                  <a:pt x="3094990" y="1115884"/>
                </a:cubicBezTo>
                <a:cubicBezTo>
                  <a:pt x="3097530" y="1103184"/>
                  <a:pt x="3082290" y="1092388"/>
                  <a:pt x="3070860" y="1098104"/>
                </a:cubicBezTo>
                <a:cubicBezTo>
                  <a:pt x="3056890" y="1104454"/>
                  <a:pt x="3059430" y="1127313"/>
                  <a:pt x="3074670" y="1129854"/>
                </a:cubicBezTo>
                <a:cubicBezTo>
                  <a:pt x="3074035" y="1141919"/>
                  <a:pt x="3088005" y="1150174"/>
                  <a:pt x="3097530" y="1143824"/>
                </a:cubicBezTo>
                <a:cubicBezTo>
                  <a:pt x="3096895" y="1160334"/>
                  <a:pt x="3122295" y="1160969"/>
                  <a:pt x="3122930" y="1145094"/>
                </a:cubicBezTo>
                <a:cubicBezTo>
                  <a:pt x="3147060" y="1148904"/>
                  <a:pt x="3144520" y="1110169"/>
                  <a:pt x="3121660" y="1117788"/>
                </a:cubicBezTo>
                <a:close/>
                <a:moveTo>
                  <a:pt x="2884170" y="1098104"/>
                </a:moveTo>
                <a:cubicBezTo>
                  <a:pt x="2861945" y="1114613"/>
                  <a:pt x="2888615" y="1148904"/>
                  <a:pt x="2910205" y="1131759"/>
                </a:cubicBezTo>
                <a:cubicBezTo>
                  <a:pt x="2931795" y="1115249"/>
                  <a:pt x="2905760" y="1080959"/>
                  <a:pt x="2884170" y="1098104"/>
                </a:cubicBezTo>
                <a:close/>
                <a:moveTo>
                  <a:pt x="2200910" y="1651824"/>
                </a:moveTo>
                <a:cubicBezTo>
                  <a:pt x="2200910" y="1651824"/>
                  <a:pt x="2200275" y="1651824"/>
                  <a:pt x="2200275" y="1651824"/>
                </a:cubicBezTo>
                <a:cubicBezTo>
                  <a:pt x="2199640" y="1648013"/>
                  <a:pt x="2197100" y="1644204"/>
                  <a:pt x="2193290" y="1641663"/>
                </a:cubicBezTo>
                <a:cubicBezTo>
                  <a:pt x="2191385" y="1623249"/>
                  <a:pt x="2163445" y="1623884"/>
                  <a:pt x="2162810" y="1642299"/>
                </a:cubicBezTo>
                <a:cubicBezTo>
                  <a:pt x="2162175" y="1641029"/>
                  <a:pt x="2161540" y="1639124"/>
                  <a:pt x="2160270" y="1637854"/>
                </a:cubicBezTo>
                <a:cubicBezTo>
                  <a:pt x="2176780" y="1613088"/>
                  <a:pt x="2126615" y="1609913"/>
                  <a:pt x="2139950" y="1636584"/>
                </a:cubicBezTo>
                <a:cubicBezTo>
                  <a:pt x="2121535" y="1654999"/>
                  <a:pt x="2159635" y="1674049"/>
                  <a:pt x="2163445" y="1648649"/>
                </a:cubicBezTo>
                <a:cubicBezTo>
                  <a:pt x="2164080" y="1650554"/>
                  <a:pt x="2165350" y="1652459"/>
                  <a:pt x="2166620" y="1654363"/>
                </a:cubicBezTo>
                <a:cubicBezTo>
                  <a:pt x="2165985" y="1658174"/>
                  <a:pt x="2167255" y="1661984"/>
                  <a:pt x="2169795" y="1665159"/>
                </a:cubicBezTo>
                <a:cubicBezTo>
                  <a:pt x="2152650" y="1660713"/>
                  <a:pt x="2139950" y="1684209"/>
                  <a:pt x="2153285" y="1695638"/>
                </a:cubicBezTo>
                <a:cubicBezTo>
                  <a:pt x="2150745" y="1700084"/>
                  <a:pt x="2150110" y="1705163"/>
                  <a:pt x="2150745" y="1710244"/>
                </a:cubicBezTo>
                <a:cubicBezTo>
                  <a:pt x="2145665" y="1707069"/>
                  <a:pt x="2139950" y="1705799"/>
                  <a:pt x="2134235" y="1707069"/>
                </a:cubicBezTo>
                <a:cubicBezTo>
                  <a:pt x="2135505" y="1701988"/>
                  <a:pt x="2134870" y="1696274"/>
                  <a:pt x="2131695" y="1691829"/>
                </a:cubicBezTo>
                <a:cubicBezTo>
                  <a:pt x="2136775" y="1678494"/>
                  <a:pt x="2120265" y="1665159"/>
                  <a:pt x="2108835" y="1673413"/>
                </a:cubicBezTo>
                <a:cubicBezTo>
                  <a:pt x="2124075" y="1646744"/>
                  <a:pt x="2072640" y="1648013"/>
                  <a:pt x="2089150" y="1674049"/>
                </a:cubicBezTo>
                <a:cubicBezTo>
                  <a:pt x="2087880" y="1674684"/>
                  <a:pt x="2086610" y="1675319"/>
                  <a:pt x="2085340" y="1675954"/>
                </a:cubicBezTo>
                <a:cubicBezTo>
                  <a:pt x="2085340" y="1675954"/>
                  <a:pt x="2085340" y="1675954"/>
                  <a:pt x="2085340" y="1675954"/>
                </a:cubicBezTo>
                <a:cubicBezTo>
                  <a:pt x="2070100" y="1686749"/>
                  <a:pt x="2087245" y="1709609"/>
                  <a:pt x="2101850" y="1698813"/>
                </a:cubicBezTo>
                <a:cubicBezTo>
                  <a:pt x="2100580" y="1705163"/>
                  <a:pt x="2103120" y="1712149"/>
                  <a:pt x="2108835" y="1715959"/>
                </a:cubicBezTo>
                <a:cubicBezTo>
                  <a:pt x="2108200" y="1716594"/>
                  <a:pt x="2107565" y="1717863"/>
                  <a:pt x="2107565" y="1719134"/>
                </a:cubicBezTo>
                <a:cubicBezTo>
                  <a:pt x="2078355" y="1700084"/>
                  <a:pt x="2065655" y="1755963"/>
                  <a:pt x="2099945" y="1752154"/>
                </a:cubicBezTo>
                <a:cubicBezTo>
                  <a:pt x="2099310" y="1755329"/>
                  <a:pt x="2099310" y="1758504"/>
                  <a:pt x="2099945" y="1761679"/>
                </a:cubicBezTo>
                <a:cubicBezTo>
                  <a:pt x="2091055" y="1759774"/>
                  <a:pt x="2080895" y="1762949"/>
                  <a:pt x="2074545" y="1770569"/>
                </a:cubicBezTo>
                <a:cubicBezTo>
                  <a:pt x="2072005" y="1768663"/>
                  <a:pt x="2068195" y="1767394"/>
                  <a:pt x="2065020" y="1766759"/>
                </a:cubicBezTo>
                <a:cubicBezTo>
                  <a:pt x="2063750" y="1765488"/>
                  <a:pt x="2062480" y="1764854"/>
                  <a:pt x="2061210" y="1764219"/>
                </a:cubicBezTo>
                <a:cubicBezTo>
                  <a:pt x="2069465" y="1759774"/>
                  <a:pt x="2072005" y="1748979"/>
                  <a:pt x="2067560" y="1741359"/>
                </a:cubicBezTo>
                <a:cubicBezTo>
                  <a:pt x="2080260" y="1728659"/>
                  <a:pt x="2061845" y="1707069"/>
                  <a:pt x="2047240" y="1717863"/>
                </a:cubicBezTo>
                <a:cubicBezTo>
                  <a:pt x="2026285" y="1694369"/>
                  <a:pt x="2007870" y="1743899"/>
                  <a:pt x="2038985" y="1740088"/>
                </a:cubicBezTo>
                <a:cubicBezTo>
                  <a:pt x="2033270" y="1747709"/>
                  <a:pt x="2035175" y="1759138"/>
                  <a:pt x="2043430" y="1764219"/>
                </a:cubicBezTo>
                <a:cubicBezTo>
                  <a:pt x="2040890" y="1765488"/>
                  <a:pt x="2038350" y="1767394"/>
                  <a:pt x="2036445" y="1769934"/>
                </a:cubicBezTo>
                <a:cubicBezTo>
                  <a:pt x="2001520" y="1752154"/>
                  <a:pt x="2000250" y="1817559"/>
                  <a:pt x="2035810" y="1801049"/>
                </a:cubicBezTo>
                <a:cubicBezTo>
                  <a:pt x="2035810" y="1802319"/>
                  <a:pt x="2035810" y="1803588"/>
                  <a:pt x="2035810" y="1804859"/>
                </a:cubicBezTo>
                <a:cubicBezTo>
                  <a:pt x="2019935" y="1807399"/>
                  <a:pt x="2011680" y="1827719"/>
                  <a:pt x="2020570" y="1841054"/>
                </a:cubicBezTo>
                <a:cubicBezTo>
                  <a:pt x="2015490" y="1838513"/>
                  <a:pt x="2009775" y="1837879"/>
                  <a:pt x="2004695" y="1839149"/>
                </a:cubicBezTo>
                <a:cubicBezTo>
                  <a:pt x="2003425" y="1835338"/>
                  <a:pt x="2000250" y="1832163"/>
                  <a:pt x="1996440" y="1829624"/>
                </a:cubicBezTo>
                <a:cubicBezTo>
                  <a:pt x="1991995" y="1818194"/>
                  <a:pt x="1977390" y="1813749"/>
                  <a:pt x="1967230" y="1820734"/>
                </a:cubicBezTo>
                <a:cubicBezTo>
                  <a:pt x="1938020" y="1802954"/>
                  <a:pt x="1925955" y="1858199"/>
                  <a:pt x="1960245" y="1853754"/>
                </a:cubicBezTo>
                <a:cubicBezTo>
                  <a:pt x="1955800" y="1859469"/>
                  <a:pt x="1954530" y="1867088"/>
                  <a:pt x="1956435" y="1873438"/>
                </a:cubicBezTo>
                <a:cubicBezTo>
                  <a:pt x="1888490" y="1891854"/>
                  <a:pt x="1986915" y="1959799"/>
                  <a:pt x="1979930" y="1889949"/>
                </a:cubicBezTo>
                <a:cubicBezTo>
                  <a:pt x="1985010" y="1889313"/>
                  <a:pt x="1990090" y="1887409"/>
                  <a:pt x="1993900" y="1883599"/>
                </a:cubicBezTo>
                <a:cubicBezTo>
                  <a:pt x="2015490" y="1902013"/>
                  <a:pt x="2047240" y="1872804"/>
                  <a:pt x="2030730" y="1849944"/>
                </a:cubicBezTo>
                <a:cubicBezTo>
                  <a:pt x="2047240" y="1858199"/>
                  <a:pt x="2067560" y="1842959"/>
                  <a:pt x="2064385" y="1825179"/>
                </a:cubicBezTo>
                <a:cubicBezTo>
                  <a:pt x="2072005" y="1823274"/>
                  <a:pt x="2078990" y="1815654"/>
                  <a:pt x="2080260" y="1808034"/>
                </a:cubicBezTo>
                <a:cubicBezTo>
                  <a:pt x="2098675" y="1820734"/>
                  <a:pt x="2124710" y="1801049"/>
                  <a:pt x="2117725" y="1780094"/>
                </a:cubicBezTo>
                <a:cubicBezTo>
                  <a:pt x="2131060" y="1783269"/>
                  <a:pt x="2145665" y="1771838"/>
                  <a:pt x="2146300" y="1758504"/>
                </a:cubicBezTo>
                <a:cubicBezTo>
                  <a:pt x="2160270" y="1753424"/>
                  <a:pt x="2160270" y="1738819"/>
                  <a:pt x="2159635" y="1726754"/>
                </a:cubicBezTo>
                <a:cubicBezTo>
                  <a:pt x="2174875" y="1740088"/>
                  <a:pt x="2200910" y="1727388"/>
                  <a:pt x="2200275" y="1707704"/>
                </a:cubicBezTo>
                <a:cubicBezTo>
                  <a:pt x="2210435" y="1708974"/>
                  <a:pt x="2221865" y="1701988"/>
                  <a:pt x="2224405" y="1691829"/>
                </a:cubicBezTo>
                <a:cubicBezTo>
                  <a:pt x="2238375" y="1686113"/>
                  <a:pt x="2242185" y="1667063"/>
                  <a:pt x="2232025" y="1656269"/>
                </a:cubicBezTo>
                <a:cubicBezTo>
                  <a:pt x="2226945" y="1644838"/>
                  <a:pt x="2210435" y="1642934"/>
                  <a:pt x="2200910" y="1651824"/>
                </a:cubicBezTo>
                <a:close/>
                <a:moveTo>
                  <a:pt x="2104390" y="1679129"/>
                </a:moveTo>
                <a:cubicBezTo>
                  <a:pt x="2104390" y="1679129"/>
                  <a:pt x="2103755" y="1678494"/>
                  <a:pt x="2103755" y="1678494"/>
                </a:cubicBezTo>
                <a:cubicBezTo>
                  <a:pt x="2104390" y="1678494"/>
                  <a:pt x="2105025" y="1677859"/>
                  <a:pt x="2105660" y="1677859"/>
                </a:cubicBezTo>
                <a:cubicBezTo>
                  <a:pt x="2105025" y="1677859"/>
                  <a:pt x="2105025" y="1678494"/>
                  <a:pt x="2104390" y="1679129"/>
                </a:cubicBezTo>
                <a:close/>
                <a:moveTo>
                  <a:pt x="932815" y="2471609"/>
                </a:moveTo>
                <a:cubicBezTo>
                  <a:pt x="905510" y="2418904"/>
                  <a:pt x="859155" y="2507169"/>
                  <a:pt x="917575" y="2499549"/>
                </a:cubicBezTo>
                <a:lnTo>
                  <a:pt x="917575" y="2499549"/>
                </a:lnTo>
                <a:cubicBezTo>
                  <a:pt x="929640" y="2495739"/>
                  <a:pt x="936625" y="2483039"/>
                  <a:pt x="932815" y="2471609"/>
                </a:cubicBezTo>
                <a:close/>
                <a:moveTo>
                  <a:pt x="1178560" y="2376359"/>
                </a:moveTo>
                <a:cubicBezTo>
                  <a:pt x="1190625" y="2403029"/>
                  <a:pt x="1232535" y="2383344"/>
                  <a:pt x="1219200" y="2357309"/>
                </a:cubicBezTo>
                <a:cubicBezTo>
                  <a:pt x="1207770" y="2330004"/>
                  <a:pt x="1166495" y="2349689"/>
                  <a:pt x="1178560" y="2376359"/>
                </a:cubicBezTo>
                <a:close/>
                <a:moveTo>
                  <a:pt x="1076325" y="2517329"/>
                </a:moveTo>
                <a:cubicBezTo>
                  <a:pt x="1047750" y="2533204"/>
                  <a:pt x="1073785" y="2578289"/>
                  <a:pt x="1101725" y="2561144"/>
                </a:cubicBezTo>
                <a:cubicBezTo>
                  <a:pt x="1130300" y="2545269"/>
                  <a:pt x="1104900" y="2500819"/>
                  <a:pt x="1076325" y="2517329"/>
                </a:cubicBezTo>
                <a:close/>
                <a:moveTo>
                  <a:pt x="1075055" y="2486214"/>
                </a:moveTo>
                <a:cubicBezTo>
                  <a:pt x="1062355" y="2457639"/>
                  <a:pt x="1017905" y="2478594"/>
                  <a:pt x="1031875" y="2506534"/>
                </a:cubicBezTo>
                <a:cubicBezTo>
                  <a:pt x="1044575" y="2535109"/>
                  <a:pt x="1088390" y="2514154"/>
                  <a:pt x="1075055" y="2486214"/>
                </a:cubicBezTo>
                <a:close/>
                <a:moveTo>
                  <a:pt x="975995" y="2531299"/>
                </a:moveTo>
                <a:cubicBezTo>
                  <a:pt x="964565" y="2502724"/>
                  <a:pt x="919480" y="2521139"/>
                  <a:pt x="931545" y="2549714"/>
                </a:cubicBezTo>
                <a:cubicBezTo>
                  <a:pt x="943610" y="2578924"/>
                  <a:pt x="988695" y="2559874"/>
                  <a:pt x="975995" y="2531299"/>
                </a:cubicBezTo>
                <a:close/>
                <a:moveTo>
                  <a:pt x="977265" y="2572574"/>
                </a:moveTo>
                <a:cubicBezTo>
                  <a:pt x="948055" y="2587814"/>
                  <a:pt x="972185" y="2633534"/>
                  <a:pt x="1000760" y="2617659"/>
                </a:cubicBezTo>
                <a:cubicBezTo>
                  <a:pt x="1029970" y="2602419"/>
                  <a:pt x="1005840" y="2556699"/>
                  <a:pt x="977265" y="2572574"/>
                </a:cubicBezTo>
                <a:close/>
                <a:moveTo>
                  <a:pt x="1029970" y="2437954"/>
                </a:moveTo>
                <a:cubicBezTo>
                  <a:pt x="1020445" y="2410014"/>
                  <a:pt x="977265" y="2425889"/>
                  <a:pt x="987425" y="2453194"/>
                </a:cubicBezTo>
                <a:cubicBezTo>
                  <a:pt x="997585" y="2481134"/>
                  <a:pt x="1040765" y="2465259"/>
                  <a:pt x="1029970" y="2437954"/>
                </a:cubicBezTo>
                <a:close/>
                <a:moveTo>
                  <a:pt x="1269365" y="2397314"/>
                </a:moveTo>
                <a:cubicBezTo>
                  <a:pt x="1250950" y="2319844"/>
                  <a:pt x="1180465" y="2435414"/>
                  <a:pt x="1257935" y="2416364"/>
                </a:cubicBezTo>
                <a:cubicBezTo>
                  <a:pt x="1275715" y="2500184"/>
                  <a:pt x="1352550" y="2375089"/>
                  <a:pt x="1269365" y="2397314"/>
                </a:cubicBezTo>
                <a:close/>
                <a:moveTo>
                  <a:pt x="1125855" y="2399219"/>
                </a:moveTo>
                <a:cubicBezTo>
                  <a:pt x="1115060" y="2371914"/>
                  <a:pt x="1072515" y="2389694"/>
                  <a:pt x="1083945" y="2416364"/>
                </a:cubicBezTo>
                <a:cubicBezTo>
                  <a:pt x="1095375" y="2444304"/>
                  <a:pt x="1137285" y="2425889"/>
                  <a:pt x="1125855" y="2399219"/>
                </a:cubicBezTo>
                <a:close/>
                <a:moveTo>
                  <a:pt x="1488440" y="2150934"/>
                </a:moveTo>
                <a:cubicBezTo>
                  <a:pt x="1464310" y="2163634"/>
                  <a:pt x="1484630" y="2201734"/>
                  <a:pt x="1508760" y="2188399"/>
                </a:cubicBezTo>
                <a:cubicBezTo>
                  <a:pt x="1532890" y="2175064"/>
                  <a:pt x="1512570" y="2136964"/>
                  <a:pt x="1488440" y="2150934"/>
                </a:cubicBezTo>
                <a:close/>
                <a:moveTo>
                  <a:pt x="1546860" y="2199194"/>
                </a:moveTo>
                <a:cubicBezTo>
                  <a:pt x="1546860" y="2199194"/>
                  <a:pt x="1546860" y="2199194"/>
                  <a:pt x="1546860" y="2199194"/>
                </a:cubicBezTo>
                <a:cubicBezTo>
                  <a:pt x="1543685" y="2201099"/>
                  <a:pt x="1541780" y="2204274"/>
                  <a:pt x="1539875" y="2206814"/>
                </a:cubicBezTo>
                <a:cubicBezTo>
                  <a:pt x="1482725" y="2162999"/>
                  <a:pt x="1490980" y="2284919"/>
                  <a:pt x="1541780" y="2234119"/>
                </a:cubicBezTo>
                <a:cubicBezTo>
                  <a:pt x="1550035" y="2245549"/>
                  <a:pt x="1565910" y="2247454"/>
                  <a:pt x="1577340" y="2239199"/>
                </a:cubicBezTo>
                <a:lnTo>
                  <a:pt x="1577340" y="2239199"/>
                </a:lnTo>
                <a:cubicBezTo>
                  <a:pt x="1604010" y="2220149"/>
                  <a:pt x="1572895" y="2178874"/>
                  <a:pt x="1546860" y="2199194"/>
                </a:cubicBezTo>
                <a:close/>
                <a:moveTo>
                  <a:pt x="1662430" y="2126169"/>
                </a:moveTo>
                <a:cubicBezTo>
                  <a:pt x="1696720" y="2067749"/>
                  <a:pt x="1583690" y="2089338"/>
                  <a:pt x="1636395" y="2131249"/>
                </a:cubicBezTo>
                <a:cubicBezTo>
                  <a:pt x="1632585" y="2135059"/>
                  <a:pt x="1630045" y="2139504"/>
                  <a:pt x="1628775" y="2143949"/>
                </a:cubicBezTo>
                <a:cubicBezTo>
                  <a:pt x="1616710" y="2136329"/>
                  <a:pt x="1607820" y="2134424"/>
                  <a:pt x="1601470" y="2135694"/>
                </a:cubicBezTo>
                <a:cubicBezTo>
                  <a:pt x="1607820" y="2130614"/>
                  <a:pt x="1607820" y="2120454"/>
                  <a:pt x="1593850" y="2102674"/>
                </a:cubicBezTo>
                <a:cubicBezTo>
                  <a:pt x="1616075" y="2102039"/>
                  <a:pt x="1618615" y="2068384"/>
                  <a:pt x="1597660" y="2063938"/>
                </a:cubicBezTo>
                <a:cubicBezTo>
                  <a:pt x="1630045" y="2013774"/>
                  <a:pt x="1530350" y="2034729"/>
                  <a:pt x="1580515" y="2067749"/>
                </a:cubicBezTo>
                <a:cubicBezTo>
                  <a:pt x="1569720" y="2076004"/>
                  <a:pt x="1570990" y="2093784"/>
                  <a:pt x="1583055" y="2100134"/>
                </a:cubicBezTo>
                <a:cubicBezTo>
                  <a:pt x="1534795" y="2122994"/>
                  <a:pt x="1576705" y="2143949"/>
                  <a:pt x="1596390" y="2138234"/>
                </a:cubicBezTo>
                <a:cubicBezTo>
                  <a:pt x="1577975" y="2153474"/>
                  <a:pt x="1602740" y="2216339"/>
                  <a:pt x="1634490" y="2165539"/>
                </a:cubicBezTo>
                <a:cubicBezTo>
                  <a:pt x="1661795" y="2198559"/>
                  <a:pt x="1701165" y="2142044"/>
                  <a:pt x="1662430" y="2126169"/>
                </a:cubicBezTo>
                <a:close/>
                <a:moveTo>
                  <a:pt x="1281430" y="2301429"/>
                </a:moveTo>
                <a:cubicBezTo>
                  <a:pt x="1254760" y="2314764"/>
                  <a:pt x="1276350" y="2355404"/>
                  <a:pt x="1301750" y="2341434"/>
                </a:cubicBezTo>
                <a:lnTo>
                  <a:pt x="1301750" y="2341434"/>
                </a:lnTo>
                <a:cubicBezTo>
                  <a:pt x="1328420" y="2328099"/>
                  <a:pt x="1307465" y="2287459"/>
                  <a:pt x="1281430" y="2301429"/>
                </a:cubicBezTo>
                <a:close/>
                <a:moveTo>
                  <a:pt x="1927860" y="1914079"/>
                </a:moveTo>
                <a:cubicBezTo>
                  <a:pt x="1930400" y="1907094"/>
                  <a:pt x="1929765" y="1898838"/>
                  <a:pt x="1924685" y="1893124"/>
                </a:cubicBezTo>
                <a:cubicBezTo>
                  <a:pt x="1926590" y="1880424"/>
                  <a:pt x="1912620" y="1868994"/>
                  <a:pt x="1900555" y="1872169"/>
                </a:cubicBezTo>
                <a:cubicBezTo>
                  <a:pt x="1891665" y="1861374"/>
                  <a:pt x="1871980" y="1866454"/>
                  <a:pt x="1869440" y="1880424"/>
                </a:cubicBezTo>
                <a:cubicBezTo>
                  <a:pt x="1831340" y="1823909"/>
                  <a:pt x="1826260" y="1940749"/>
                  <a:pt x="1869440" y="1887409"/>
                </a:cubicBezTo>
                <a:cubicBezTo>
                  <a:pt x="1870710" y="1896299"/>
                  <a:pt x="1879600" y="1903284"/>
                  <a:pt x="1887855" y="1902649"/>
                </a:cubicBezTo>
                <a:cubicBezTo>
                  <a:pt x="1887220" y="1905188"/>
                  <a:pt x="1887220" y="1907729"/>
                  <a:pt x="1887855" y="1910269"/>
                </a:cubicBezTo>
                <a:cubicBezTo>
                  <a:pt x="1876425" y="1915984"/>
                  <a:pt x="1871980" y="1930588"/>
                  <a:pt x="1878330" y="1941384"/>
                </a:cubicBezTo>
                <a:cubicBezTo>
                  <a:pt x="1866900" y="1938209"/>
                  <a:pt x="1852930" y="1945829"/>
                  <a:pt x="1850390" y="1957894"/>
                </a:cubicBezTo>
                <a:cubicBezTo>
                  <a:pt x="1849755" y="1955354"/>
                  <a:pt x="1849120" y="1953449"/>
                  <a:pt x="1847850" y="1951544"/>
                </a:cubicBezTo>
                <a:cubicBezTo>
                  <a:pt x="1854200" y="1940113"/>
                  <a:pt x="1845310" y="1923604"/>
                  <a:pt x="1831975" y="1923604"/>
                </a:cubicBezTo>
                <a:cubicBezTo>
                  <a:pt x="1826895" y="1910269"/>
                  <a:pt x="1807210" y="1907729"/>
                  <a:pt x="1799590" y="1920429"/>
                </a:cubicBezTo>
                <a:cubicBezTo>
                  <a:pt x="1772285" y="1865184"/>
                  <a:pt x="1746250" y="1967419"/>
                  <a:pt x="1796415" y="1931859"/>
                </a:cubicBezTo>
                <a:cubicBezTo>
                  <a:pt x="1797050" y="1939479"/>
                  <a:pt x="1803400" y="1947099"/>
                  <a:pt x="1811020" y="1948369"/>
                </a:cubicBezTo>
                <a:cubicBezTo>
                  <a:pt x="1811020" y="1949638"/>
                  <a:pt x="1811655" y="1950909"/>
                  <a:pt x="1812290" y="1952179"/>
                </a:cubicBezTo>
                <a:cubicBezTo>
                  <a:pt x="1808480" y="1957894"/>
                  <a:pt x="1807845" y="1964244"/>
                  <a:pt x="1810385" y="1970594"/>
                </a:cubicBezTo>
                <a:cubicBezTo>
                  <a:pt x="1791335" y="1974404"/>
                  <a:pt x="1788795" y="1999169"/>
                  <a:pt x="1801495" y="2009963"/>
                </a:cubicBezTo>
                <a:cubicBezTo>
                  <a:pt x="1795780" y="2006788"/>
                  <a:pt x="1786255" y="2006788"/>
                  <a:pt x="1772920" y="2011869"/>
                </a:cubicBezTo>
                <a:cubicBezTo>
                  <a:pt x="1772285" y="2012504"/>
                  <a:pt x="1771650" y="2013138"/>
                  <a:pt x="1771015" y="2013774"/>
                </a:cubicBezTo>
                <a:cubicBezTo>
                  <a:pt x="1770380" y="2011234"/>
                  <a:pt x="1769745" y="2008694"/>
                  <a:pt x="1767840" y="2006154"/>
                </a:cubicBezTo>
                <a:cubicBezTo>
                  <a:pt x="1778000" y="1996629"/>
                  <a:pt x="1772920" y="1976944"/>
                  <a:pt x="1759585" y="1973769"/>
                </a:cubicBezTo>
                <a:cubicBezTo>
                  <a:pt x="1760855" y="1957894"/>
                  <a:pt x="1739900" y="1948369"/>
                  <a:pt x="1728470" y="1960434"/>
                </a:cubicBezTo>
                <a:cubicBezTo>
                  <a:pt x="1720215" y="1905188"/>
                  <a:pt x="1663700" y="1981388"/>
                  <a:pt x="1718945" y="1973134"/>
                </a:cubicBezTo>
                <a:lnTo>
                  <a:pt x="1718945" y="1973134"/>
                </a:lnTo>
                <a:cubicBezTo>
                  <a:pt x="1720850" y="1972499"/>
                  <a:pt x="1722120" y="1971229"/>
                  <a:pt x="1723390" y="1969959"/>
                </a:cubicBezTo>
                <a:cubicBezTo>
                  <a:pt x="1721485" y="1978213"/>
                  <a:pt x="1726565" y="1987104"/>
                  <a:pt x="1734185" y="1990279"/>
                </a:cubicBezTo>
                <a:cubicBezTo>
                  <a:pt x="1733550" y="1994724"/>
                  <a:pt x="1734185" y="1998534"/>
                  <a:pt x="1736725" y="2002344"/>
                </a:cubicBezTo>
                <a:cubicBezTo>
                  <a:pt x="1729105" y="2009329"/>
                  <a:pt x="1727200" y="2020759"/>
                  <a:pt x="1732915" y="2029649"/>
                </a:cubicBezTo>
                <a:cubicBezTo>
                  <a:pt x="1710690" y="2028379"/>
                  <a:pt x="1701800" y="2061399"/>
                  <a:pt x="1721485" y="2071559"/>
                </a:cubicBezTo>
                <a:cubicBezTo>
                  <a:pt x="1720215" y="2074734"/>
                  <a:pt x="1720215" y="2078544"/>
                  <a:pt x="1720215" y="2082354"/>
                </a:cubicBezTo>
                <a:cubicBezTo>
                  <a:pt x="1713865" y="2072194"/>
                  <a:pt x="1699895" y="2069019"/>
                  <a:pt x="1689100" y="2074734"/>
                </a:cubicBezTo>
                <a:cubicBezTo>
                  <a:pt x="1690370" y="2068384"/>
                  <a:pt x="1688465" y="2061399"/>
                  <a:pt x="1684020" y="2056954"/>
                </a:cubicBezTo>
                <a:cubicBezTo>
                  <a:pt x="1698625" y="2049969"/>
                  <a:pt x="1696720" y="2026474"/>
                  <a:pt x="1681480" y="2021394"/>
                </a:cubicBezTo>
                <a:cubicBezTo>
                  <a:pt x="1693545" y="1975038"/>
                  <a:pt x="1617345" y="2003613"/>
                  <a:pt x="1657350" y="2030284"/>
                </a:cubicBezTo>
                <a:cubicBezTo>
                  <a:pt x="1653540" y="2036634"/>
                  <a:pt x="1654175" y="2046159"/>
                  <a:pt x="1659890" y="2051874"/>
                </a:cubicBezTo>
                <a:cubicBezTo>
                  <a:pt x="1635125" y="2062669"/>
                  <a:pt x="1652905" y="2102039"/>
                  <a:pt x="1677670" y="2090609"/>
                </a:cubicBezTo>
                <a:cubicBezTo>
                  <a:pt x="1669415" y="2126169"/>
                  <a:pt x="1727835" y="2129979"/>
                  <a:pt x="1724660" y="2093784"/>
                </a:cubicBezTo>
                <a:cubicBezTo>
                  <a:pt x="1749425" y="2130614"/>
                  <a:pt x="1795780" y="2073463"/>
                  <a:pt x="1755140" y="2056319"/>
                </a:cubicBezTo>
                <a:cubicBezTo>
                  <a:pt x="1756410" y="2050604"/>
                  <a:pt x="1755140" y="2044254"/>
                  <a:pt x="1751330" y="2039174"/>
                </a:cubicBezTo>
                <a:cubicBezTo>
                  <a:pt x="1755775" y="2039174"/>
                  <a:pt x="1760855" y="2037269"/>
                  <a:pt x="1764030" y="2034094"/>
                </a:cubicBezTo>
                <a:cubicBezTo>
                  <a:pt x="1788160" y="2088069"/>
                  <a:pt x="1823085" y="2028379"/>
                  <a:pt x="1804670" y="2011234"/>
                </a:cubicBezTo>
                <a:cubicBezTo>
                  <a:pt x="1806575" y="2012504"/>
                  <a:pt x="1808480" y="2013138"/>
                  <a:pt x="1811020" y="2013774"/>
                </a:cubicBezTo>
                <a:cubicBezTo>
                  <a:pt x="1828800" y="2072194"/>
                  <a:pt x="1897380" y="1995994"/>
                  <a:pt x="1837690" y="1984563"/>
                </a:cubicBezTo>
                <a:cubicBezTo>
                  <a:pt x="1837690" y="1983929"/>
                  <a:pt x="1837690" y="1983929"/>
                  <a:pt x="1837055" y="1983294"/>
                </a:cubicBezTo>
                <a:cubicBezTo>
                  <a:pt x="1843405" y="1981388"/>
                  <a:pt x="1849120" y="1975674"/>
                  <a:pt x="1851025" y="1969959"/>
                </a:cubicBezTo>
                <a:cubicBezTo>
                  <a:pt x="1858645" y="2006154"/>
                  <a:pt x="1913890" y="1983929"/>
                  <a:pt x="1894840" y="1952813"/>
                </a:cubicBezTo>
                <a:cubicBezTo>
                  <a:pt x="1898015" y="1953449"/>
                  <a:pt x="1901190" y="1953449"/>
                  <a:pt x="1904365" y="1952813"/>
                </a:cubicBezTo>
                <a:cubicBezTo>
                  <a:pt x="1931035" y="1992184"/>
                  <a:pt x="1975485" y="1924874"/>
                  <a:pt x="1927860" y="1914079"/>
                </a:cubicBezTo>
                <a:close/>
                <a:moveTo>
                  <a:pt x="1362710" y="2333179"/>
                </a:moveTo>
                <a:cubicBezTo>
                  <a:pt x="1362710" y="2333179"/>
                  <a:pt x="1362075" y="2333814"/>
                  <a:pt x="1362075" y="2333814"/>
                </a:cubicBezTo>
                <a:cubicBezTo>
                  <a:pt x="1327150" y="2270949"/>
                  <a:pt x="1285875" y="2385884"/>
                  <a:pt x="1352550" y="2359849"/>
                </a:cubicBezTo>
                <a:cubicBezTo>
                  <a:pt x="1388745" y="2428429"/>
                  <a:pt x="1435100" y="2305239"/>
                  <a:pt x="1362710" y="2333179"/>
                </a:cubicBezTo>
                <a:close/>
                <a:moveTo>
                  <a:pt x="1455420" y="2267139"/>
                </a:moveTo>
                <a:cubicBezTo>
                  <a:pt x="1454150" y="2268409"/>
                  <a:pt x="1452880" y="2269044"/>
                  <a:pt x="1451610" y="2270314"/>
                </a:cubicBezTo>
                <a:cubicBezTo>
                  <a:pt x="1404620" y="2219514"/>
                  <a:pt x="1388745" y="2336354"/>
                  <a:pt x="1447800" y="2299524"/>
                </a:cubicBezTo>
                <a:cubicBezTo>
                  <a:pt x="1454785" y="2313494"/>
                  <a:pt x="1473200" y="2317304"/>
                  <a:pt x="1485265" y="2308414"/>
                </a:cubicBezTo>
                <a:lnTo>
                  <a:pt x="1485265" y="2308414"/>
                </a:lnTo>
                <a:cubicBezTo>
                  <a:pt x="1512570" y="2288729"/>
                  <a:pt x="1482090" y="2247454"/>
                  <a:pt x="1455420" y="2267139"/>
                </a:cubicBezTo>
                <a:close/>
                <a:moveTo>
                  <a:pt x="1371600" y="2253169"/>
                </a:moveTo>
                <a:cubicBezTo>
                  <a:pt x="1345565" y="2267139"/>
                  <a:pt x="1368425" y="2307144"/>
                  <a:pt x="1393825" y="2292539"/>
                </a:cubicBezTo>
                <a:cubicBezTo>
                  <a:pt x="1419860" y="2278569"/>
                  <a:pt x="1397000" y="2238564"/>
                  <a:pt x="1371600" y="2253169"/>
                </a:cubicBezTo>
                <a:close/>
                <a:moveTo>
                  <a:pt x="3589020" y="971104"/>
                </a:moveTo>
                <a:cubicBezTo>
                  <a:pt x="3608705" y="966024"/>
                  <a:pt x="3599815" y="935544"/>
                  <a:pt x="3580765" y="941259"/>
                </a:cubicBezTo>
                <a:cubicBezTo>
                  <a:pt x="3561080" y="946338"/>
                  <a:pt x="3569970" y="976819"/>
                  <a:pt x="3589020" y="971104"/>
                </a:cubicBezTo>
                <a:close/>
                <a:moveTo>
                  <a:pt x="3660775" y="382458"/>
                </a:moveTo>
                <a:cubicBezTo>
                  <a:pt x="3632200" y="395158"/>
                  <a:pt x="3653790" y="439608"/>
                  <a:pt x="3681095" y="425638"/>
                </a:cubicBezTo>
                <a:cubicBezTo>
                  <a:pt x="3709670" y="412938"/>
                  <a:pt x="3688715" y="369124"/>
                  <a:pt x="3660775" y="382458"/>
                </a:cubicBezTo>
                <a:close/>
                <a:moveTo>
                  <a:pt x="3728720" y="978724"/>
                </a:moveTo>
                <a:cubicBezTo>
                  <a:pt x="3746500" y="975549"/>
                  <a:pt x="3741420" y="946974"/>
                  <a:pt x="3723005" y="950784"/>
                </a:cubicBezTo>
                <a:cubicBezTo>
                  <a:pt x="3705225" y="953959"/>
                  <a:pt x="3710940" y="982534"/>
                  <a:pt x="3728720" y="978724"/>
                </a:cubicBezTo>
                <a:close/>
                <a:moveTo>
                  <a:pt x="3733800" y="629474"/>
                </a:moveTo>
                <a:cubicBezTo>
                  <a:pt x="3759200" y="619313"/>
                  <a:pt x="3743325" y="579309"/>
                  <a:pt x="3717925" y="590104"/>
                </a:cubicBezTo>
                <a:cubicBezTo>
                  <a:pt x="3691890" y="600263"/>
                  <a:pt x="3709035" y="640269"/>
                  <a:pt x="3733800" y="629474"/>
                </a:cubicBezTo>
                <a:close/>
                <a:moveTo>
                  <a:pt x="3725545" y="771713"/>
                </a:moveTo>
                <a:cubicBezTo>
                  <a:pt x="3702685" y="778699"/>
                  <a:pt x="3714750" y="814259"/>
                  <a:pt x="3736975" y="806638"/>
                </a:cubicBezTo>
                <a:cubicBezTo>
                  <a:pt x="3759835" y="799654"/>
                  <a:pt x="3748405" y="764094"/>
                  <a:pt x="3725545" y="771713"/>
                </a:cubicBezTo>
                <a:close/>
                <a:moveTo>
                  <a:pt x="3766185" y="692338"/>
                </a:moveTo>
                <a:cubicBezTo>
                  <a:pt x="3757930" y="668209"/>
                  <a:pt x="3719830" y="682179"/>
                  <a:pt x="3729355" y="705674"/>
                </a:cubicBezTo>
                <a:cubicBezTo>
                  <a:pt x="3737610" y="730438"/>
                  <a:pt x="3775075" y="716469"/>
                  <a:pt x="3766185" y="692338"/>
                </a:cubicBezTo>
                <a:close/>
                <a:moveTo>
                  <a:pt x="3660775" y="992059"/>
                </a:moveTo>
                <a:cubicBezTo>
                  <a:pt x="3678555" y="988249"/>
                  <a:pt x="3672840" y="960309"/>
                  <a:pt x="3655060" y="964119"/>
                </a:cubicBezTo>
                <a:cubicBezTo>
                  <a:pt x="3637280" y="968563"/>
                  <a:pt x="3642995" y="996504"/>
                  <a:pt x="3660775" y="992059"/>
                </a:cubicBezTo>
                <a:close/>
                <a:moveTo>
                  <a:pt x="3657600" y="952054"/>
                </a:moveTo>
                <a:cubicBezTo>
                  <a:pt x="3680460" y="952054"/>
                  <a:pt x="3676015" y="915859"/>
                  <a:pt x="3653790" y="921574"/>
                </a:cubicBezTo>
                <a:cubicBezTo>
                  <a:pt x="3636010" y="925384"/>
                  <a:pt x="3639820" y="952688"/>
                  <a:pt x="3657600" y="952054"/>
                </a:cubicBezTo>
                <a:close/>
                <a:moveTo>
                  <a:pt x="3663950" y="995869"/>
                </a:moveTo>
                <a:cubicBezTo>
                  <a:pt x="3647440" y="998409"/>
                  <a:pt x="3651885" y="1023809"/>
                  <a:pt x="3668395" y="1020634"/>
                </a:cubicBezTo>
                <a:cubicBezTo>
                  <a:pt x="3684270" y="1018729"/>
                  <a:pt x="3679825" y="992694"/>
                  <a:pt x="3663950" y="995869"/>
                </a:cubicBezTo>
                <a:close/>
                <a:moveTo>
                  <a:pt x="3305810" y="852994"/>
                </a:moveTo>
                <a:cubicBezTo>
                  <a:pt x="3329305" y="839024"/>
                  <a:pt x="3306445" y="802194"/>
                  <a:pt x="3283585" y="817434"/>
                </a:cubicBezTo>
                <a:cubicBezTo>
                  <a:pt x="3260090" y="831404"/>
                  <a:pt x="3282950" y="867599"/>
                  <a:pt x="3305810" y="852994"/>
                </a:cubicBezTo>
                <a:close/>
                <a:moveTo>
                  <a:pt x="3656330" y="834579"/>
                </a:moveTo>
                <a:cubicBezTo>
                  <a:pt x="3678555" y="826959"/>
                  <a:pt x="3665855" y="791399"/>
                  <a:pt x="3643630" y="800288"/>
                </a:cubicBezTo>
                <a:cubicBezTo>
                  <a:pt x="3621405" y="807909"/>
                  <a:pt x="3634105" y="842834"/>
                  <a:pt x="3656330" y="834579"/>
                </a:cubicBezTo>
                <a:close/>
                <a:moveTo>
                  <a:pt x="3791585" y="938084"/>
                </a:moveTo>
                <a:cubicBezTo>
                  <a:pt x="3773170" y="940624"/>
                  <a:pt x="3778885" y="969199"/>
                  <a:pt x="3796665" y="966024"/>
                </a:cubicBezTo>
                <a:cubicBezTo>
                  <a:pt x="3814445" y="963484"/>
                  <a:pt x="3809365" y="934909"/>
                  <a:pt x="3791585" y="938084"/>
                </a:cubicBezTo>
                <a:close/>
                <a:moveTo>
                  <a:pt x="3789680" y="976819"/>
                </a:moveTo>
                <a:cubicBezTo>
                  <a:pt x="3773170" y="978724"/>
                  <a:pt x="3776980" y="1004124"/>
                  <a:pt x="3792855" y="1002219"/>
                </a:cubicBezTo>
                <a:cubicBezTo>
                  <a:pt x="3809365" y="999679"/>
                  <a:pt x="3806190" y="974279"/>
                  <a:pt x="3789680" y="976819"/>
                </a:cubicBezTo>
                <a:close/>
                <a:moveTo>
                  <a:pt x="3799840" y="886649"/>
                </a:moveTo>
                <a:cubicBezTo>
                  <a:pt x="3780155" y="890459"/>
                  <a:pt x="3787140" y="921574"/>
                  <a:pt x="3806190" y="917129"/>
                </a:cubicBezTo>
                <a:cubicBezTo>
                  <a:pt x="3825875" y="913319"/>
                  <a:pt x="3818890" y="882204"/>
                  <a:pt x="3799840" y="886649"/>
                </a:cubicBezTo>
                <a:close/>
                <a:moveTo>
                  <a:pt x="3849370" y="828863"/>
                </a:moveTo>
                <a:cubicBezTo>
                  <a:pt x="3844290" y="807274"/>
                  <a:pt x="3810635" y="816163"/>
                  <a:pt x="3816350" y="837119"/>
                </a:cubicBezTo>
                <a:cubicBezTo>
                  <a:pt x="3821430" y="858709"/>
                  <a:pt x="3855085" y="850454"/>
                  <a:pt x="3849370" y="828863"/>
                </a:cubicBezTo>
                <a:close/>
                <a:moveTo>
                  <a:pt x="3750945" y="837119"/>
                </a:moveTo>
                <a:cubicBezTo>
                  <a:pt x="3729355" y="842834"/>
                  <a:pt x="3738880" y="875854"/>
                  <a:pt x="3759835" y="869504"/>
                </a:cubicBezTo>
                <a:cubicBezTo>
                  <a:pt x="3780790" y="864424"/>
                  <a:pt x="3771900" y="831404"/>
                  <a:pt x="3750945" y="837119"/>
                </a:cubicBezTo>
                <a:close/>
                <a:moveTo>
                  <a:pt x="3782695" y="476438"/>
                </a:moveTo>
                <a:cubicBezTo>
                  <a:pt x="3771900" y="449133"/>
                  <a:pt x="3729355" y="466279"/>
                  <a:pt x="3740785" y="493583"/>
                </a:cubicBezTo>
                <a:cubicBezTo>
                  <a:pt x="3751580" y="520888"/>
                  <a:pt x="3794125" y="503744"/>
                  <a:pt x="3782695" y="476438"/>
                </a:cubicBezTo>
                <a:close/>
                <a:moveTo>
                  <a:pt x="3726180" y="903159"/>
                </a:moveTo>
                <a:cubicBezTo>
                  <a:pt x="3706495" y="907604"/>
                  <a:pt x="3714115" y="938084"/>
                  <a:pt x="3733165" y="933638"/>
                </a:cubicBezTo>
                <a:cubicBezTo>
                  <a:pt x="3752850" y="929194"/>
                  <a:pt x="3745865" y="898713"/>
                  <a:pt x="3726180" y="903159"/>
                </a:cubicBezTo>
                <a:close/>
                <a:moveTo>
                  <a:pt x="3726815" y="985709"/>
                </a:moveTo>
                <a:cubicBezTo>
                  <a:pt x="3710305" y="987613"/>
                  <a:pt x="3714115" y="1013649"/>
                  <a:pt x="3730625" y="1011109"/>
                </a:cubicBezTo>
                <a:cubicBezTo>
                  <a:pt x="3747135" y="1008569"/>
                  <a:pt x="3742690" y="983169"/>
                  <a:pt x="3726815" y="985709"/>
                </a:cubicBezTo>
                <a:close/>
                <a:moveTo>
                  <a:pt x="3672840" y="859979"/>
                </a:moveTo>
                <a:cubicBezTo>
                  <a:pt x="3651885" y="865694"/>
                  <a:pt x="3662045" y="899349"/>
                  <a:pt x="3682365" y="892363"/>
                </a:cubicBezTo>
                <a:cubicBezTo>
                  <a:pt x="3703955" y="886013"/>
                  <a:pt x="3693795" y="852994"/>
                  <a:pt x="3672840" y="859979"/>
                </a:cubicBezTo>
                <a:close/>
                <a:moveTo>
                  <a:pt x="3414395" y="1046034"/>
                </a:moveTo>
                <a:cubicBezTo>
                  <a:pt x="3398520" y="1049844"/>
                  <a:pt x="3404235" y="1074609"/>
                  <a:pt x="3420110" y="1070799"/>
                </a:cubicBezTo>
                <a:cubicBezTo>
                  <a:pt x="3435985" y="1066988"/>
                  <a:pt x="3430270" y="1042224"/>
                  <a:pt x="3414395" y="1046034"/>
                </a:cubicBezTo>
                <a:close/>
                <a:moveTo>
                  <a:pt x="3476625" y="1032063"/>
                </a:moveTo>
                <a:cubicBezTo>
                  <a:pt x="3460115" y="1035238"/>
                  <a:pt x="3465830" y="1060638"/>
                  <a:pt x="3481705" y="1056829"/>
                </a:cubicBezTo>
                <a:cubicBezTo>
                  <a:pt x="3497580" y="1053654"/>
                  <a:pt x="3492500" y="1028254"/>
                  <a:pt x="3476625" y="1032063"/>
                </a:cubicBezTo>
                <a:close/>
                <a:moveTo>
                  <a:pt x="3645535" y="667574"/>
                </a:moveTo>
                <a:cubicBezTo>
                  <a:pt x="3670935" y="656779"/>
                  <a:pt x="3652520" y="617409"/>
                  <a:pt x="3627755" y="628838"/>
                </a:cubicBezTo>
                <a:cubicBezTo>
                  <a:pt x="3602355" y="640269"/>
                  <a:pt x="3620770" y="679638"/>
                  <a:pt x="3645535" y="667574"/>
                </a:cubicBezTo>
                <a:close/>
                <a:moveTo>
                  <a:pt x="3385820" y="1032063"/>
                </a:moveTo>
                <a:cubicBezTo>
                  <a:pt x="3368040" y="1037144"/>
                  <a:pt x="3376295" y="1064449"/>
                  <a:pt x="3393440" y="1059369"/>
                </a:cubicBezTo>
                <a:cubicBezTo>
                  <a:pt x="3411220" y="1054288"/>
                  <a:pt x="3403600" y="1026349"/>
                  <a:pt x="3385820" y="1032063"/>
                </a:cubicBezTo>
                <a:close/>
                <a:moveTo>
                  <a:pt x="3456305" y="994599"/>
                </a:moveTo>
                <a:cubicBezTo>
                  <a:pt x="3450590" y="975549"/>
                  <a:pt x="3420110" y="985074"/>
                  <a:pt x="3426460" y="1004124"/>
                </a:cubicBezTo>
                <a:cubicBezTo>
                  <a:pt x="3432810" y="1023174"/>
                  <a:pt x="3463290" y="1013649"/>
                  <a:pt x="3456305" y="994599"/>
                </a:cubicBezTo>
                <a:close/>
                <a:moveTo>
                  <a:pt x="3385185" y="1017459"/>
                </a:moveTo>
                <a:cubicBezTo>
                  <a:pt x="3378835" y="998409"/>
                  <a:pt x="3348990" y="1008569"/>
                  <a:pt x="3355975" y="1027619"/>
                </a:cubicBezTo>
                <a:cubicBezTo>
                  <a:pt x="3362325" y="1046669"/>
                  <a:pt x="3392170" y="1036509"/>
                  <a:pt x="3385185" y="1017459"/>
                </a:cubicBezTo>
                <a:close/>
                <a:moveTo>
                  <a:pt x="3319145" y="1051749"/>
                </a:moveTo>
                <a:cubicBezTo>
                  <a:pt x="3317240" y="1052384"/>
                  <a:pt x="3315335" y="1053654"/>
                  <a:pt x="3313430" y="1054924"/>
                </a:cubicBezTo>
                <a:cubicBezTo>
                  <a:pt x="3314700" y="990788"/>
                  <a:pt x="3249295" y="1077149"/>
                  <a:pt x="3310255" y="1058734"/>
                </a:cubicBezTo>
                <a:cubicBezTo>
                  <a:pt x="3304540" y="1108263"/>
                  <a:pt x="3368675" y="1053019"/>
                  <a:pt x="3319145" y="1051749"/>
                </a:cubicBezTo>
                <a:close/>
                <a:moveTo>
                  <a:pt x="3290570" y="1077149"/>
                </a:moveTo>
                <a:cubicBezTo>
                  <a:pt x="3274695" y="1080959"/>
                  <a:pt x="3281680" y="1106359"/>
                  <a:pt x="3296920" y="1101913"/>
                </a:cubicBezTo>
                <a:cubicBezTo>
                  <a:pt x="3313430" y="1097469"/>
                  <a:pt x="3306445" y="1072704"/>
                  <a:pt x="3290570" y="1077149"/>
                </a:cubicBezTo>
                <a:close/>
                <a:moveTo>
                  <a:pt x="3352165" y="1061274"/>
                </a:moveTo>
                <a:cubicBezTo>
                  <a:pt x="3336290" y="1065084"/>
                  <a:pt x="3342640" y="1090484"/>
                  <a:pt x="3358515" y="1086038"/>
                </a:cubicBezTo>
                <a:cubicBezTo>
                  <a:pt x="3374390" y="1081594"/>
                  <a:pt x="3368040" y="1056829"/>
                  <a:pt x="3352165" y="1061274"/>
                </a:cubicBezTo>
                <a:close/>
                <a:moveTo>
                  <a:pt x="3470275" y="1023174"/>
                </a:moveTo>
                <a:cubicBezTo>
                  <a:pt x="3465830" y="1005394"/>
                  <a:pt x="3437890" y="1013013"/>
                  <a:pt x="3442970" y="1030794"/>
                </a:cubicBezTo>
                <a:cubicBezTo>
                  <a:pt x="3447415" y="1048574"/>
                  <a:pt x="3474720" y="1040954"/>
                  <a:pt x="3470275" y="1023174"/>
                </a:cubicBezTo>
                <a:close/>
                <a:moveTo>
                  <a:pt x="3604260" y="990154"/>
                </a:moveTo>
                <a:cubicBezTo>
                  <a:pt x="3600450" y="972374"/>
                  <a:pt x="3572510" y="978724"/>
                  <a:pt x="3576955" y="996504"/>
                </a:cubicBezTo>
                <a:cubicBezTo>
                  <a:pt x="3580765" y="1014919"/>
                  <a:pt x="3608705" y="1007934"/>
                  <a:pt x="3604260" y="990154"/>
                </a:cubicBezTo>
                <a:close/>
                <a:moveTo>
                  <a:pt x="3601085" y="1006663"/>
                </a:moveTo>
                <a:cubicBezTo>
                  <a:pt x="3584575" y="1009204"/>
                  <a:pt x="3589655" y="1034604"/>
                  <a:pt x="3605530" y="1031429"/>
                </a:cubicBezTo>
                <a:cubicBezTo>
                  <a:pt x="3622040" y="1028888"/>
                  <a:pt x="3617595" y="1003488"/>
                  <a:pt x="3601085" y="1006663"/>
                </a:cubicBezTo>
                <a:close/>
                <a:moveTo>
                  <a:pt x="3853180" y="968563"/>
                </a:moveTo>
                <a:cubicBezTo>
                  <a:pt x="3836670" y="970469"/>
                  <a:pt x="3839845" y="995869"/>
                  <a:pt x="3856355" y="993963"/>
                </a:cubicBezTo>
                <a:cubicBezTo>
                  <a:pt x="3872230" y="992059"/>
                  <a:pt x="3869055" y="966659"/>
                  <a:pt x="3853180" y="968563"/>
                </a:cubicBezTo>
                <a:close/>
                <a:moveTo>
                  <a:pt x="3596005" y="884109"/>
                </a:moveTo>
                <a:cubicBezTo>
                  <a:pt x="3575050" y="890459"/>
                  <a:pt x="3585845" y="923479"/>
                  <a:pt x="3606800" y="916494"/>
                </a:cubicBezTo>
                <a:cubicBezTo>
                  <a:pt x="3627120" y="909509"/>
                  <a:pt x="3616325" y="876488"/>
                  <a:pt x="3596005" y="884109"/>
                </a:cubicBezTo>
                <a:close/>
                <a:moveTo>
                  <a:pt x="3536950" y="1006029"/>
                </a:moveTo>
                <a:cubicBezTo>
                  <a:pt x="3532505" y="988249"/>
                  <a:pt x="3505200" y="995234"/>
                  <a:pt x="3509645" y="1013013"/>
                </a:cubicBezTo>
                <a:cubicBezTo>
                  <a:pt x="3514090" y="1030794"/>
                  <a:pt x="3541395" y="1023809"/>
                  <a:pt x="3536950" y="1006029"/>
                </a:cubicBezTo>
                <a:close/>
                <a:moveTo>
                  <a:pt x="3586480" y="840929"/>
                </a:moveTo>
                <a:cubicBezTo>
                  <a:pt x="3578225" y="818704"/>
                  <a:pt x="3543300" y="832038"/>
                  <a:pt x="3552190" y="854263"/>
                </a:cubicBezTo>
                <a:cubicBezTo>
                  <a:pt x="3560445" y="876488"/>
                  <a:pt x="3595370" y="863154"/>
                  <a:pt x="3586480" y="840929"/>
                </a:cubicBezTo>
                <a:close/>
                <a:moveTo>
                  <a:pt x="3517900" y="991424"/>
                </a:moveTo>
                <a:cubicBezTo>
                  <a:pt x="3537585" y="985709"/>
                  <a:pt x="3528060" y="955863"/>
                  <a:pt x="3509010" y="961579"/>
                </a:cubicBezTo>
                <a:cubicBezTo>
                  <a:pt x="3489325" y="967294"/>
                  <a:pt x="3498850" y="997774"/>
                  <a:pt x="3517900" y="991424"/>
                </a:cubicBezTo>
                <a:close/>
                <a:moveTo>
                  <a:pt x="3538855" y="1018729"/>
                </a:moveTo>
                <a:cubicBezTo>
                  <a:pt x="3522345" y="1021904"/>
                  <a:pt x="3528060" y="1047304"/>
                  <a:pt x="3543935" y="1043494"/>
                </a:cubicBezTo>
                <a:cubicBezTo>
                  <a:pt x="3559810" y="1040954"/>
                  <a:pt x="3554730" y="1015554"/>
                  <a:pt x="3538855" y="1018729"/>
                </a:cubicBezTo>
                <a:close/>
              </a:path>
            </a:pathLst>
          </a:custGeom>
          <a:gradFill>
            <a:gsLst>
              <a:gs pos="0">
                <a:schemeClr val="accent1"/>
              </a:gs>
              <a:gs pos="22000">
                <a:schemeClr val="lt2"/>
              </a:gs>
              <a:gs pos="63000">
                <a:schemeClr val="lt2"/>
              </a:gs>
              <a:gs pos="85000">
                <a:schemeClr val="accent1"/>
              </a:gs>
              <a:gs pos="100000">
                <a:schemeClr val="accent2"/>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Calibri"/>
              <a:ea typeface="Calibri"/>
              <a:cs typeface="Calibri"/>
              <a:sym typeface="Calibri"/>
            </a:endParaRPr>
          </a:p>
        </p:txBody>
      </p:sp>
      <p:sp>
        <p:nvSpPr>
          <p:cNvPr id="23" name="Google Shape;23;p5"/>
          <p:cNvSpPr txBox="1">
            <a:spLocks noGrp="1"/>
          </p:cNvSpPr>
          <p:nvPr>
            <p:ph type="title"/>
          </p:nvPr>
        </p:nvSpPr>
        <p:spPr>
          <a:xfrm>
            <a:off x="1037875" y="836000"/>
            <a:ext cx="7068300" cy="396300"/>
          </a:xfrm>
          <a:prstGeom prst="rect">
            <a:avLst/>
          </a:prstGeom>
        </p:spPr>
        <p:txBody>
          <a:bodyPr spcFirstLastPara="1" wrap="square" lIns="0" tIns="0" rIns="0" bIns="0"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24" name="Google Shape;24;p5"/>
          <p:cNvSpPr txBox="1">
            <a:spLocks noGrp="1"/>
          </p:cNvSpPr>
          <p:nvPr>
            <p:ph type="body" idx="1"/>
          </p:nvPr>
        </p:nvSpPr>
        <p:spPr>
          <a:xfrm>
            <a:off x="1037875" y="1353948"/>
            <a:ext cx="7068300" cy="3033900"/>
          </a:xfrm>
          <a:prstGeom prst="rect">
            <a:avLst/>
          </a:prstGeom>
        </p:spPr>
        <p:txBody>
          <a:bodyPr spcFirstLastPara="1" wrap="square" lIns="0" tIns="0" rIns="0" bIns="0" anchor="t" anchorCtr="0">
            <a:noAutofit/>
          </a:bodyPr>
          <a:lstStyle>
            <a:lvl1pPr marL="457200" lvl="0" indent="-381000" rtl="0">
              <a:spcBef>
                <a:spcPts val="600"/>
              </a:spcBef>
              <a:spcAft>
                <a:spcPts val="0"/>
              </a:spcAft>
              <a:buSzPts val="2400"/>
              <a:buChar char="●"/>
              <a:defRPr/>
            </a:lvl1pPr>
            <a:lvl2pPr marL="914400" lvl="1" indent="-381000" rtl="0">
              <a:spcBef>
                <a:spcPts val="0"/>
              </a:spcBef>
              <a:spcAft>
                <a:spcPts val="0"/>
              </a:spcAft>
              <a:buSzPts val="2400"/>
              <a:buChar char="○"/>
              <a:defRPr/>
            </a:lvl2pPr>
            <a:lvl3pPr marL="1371600" lvl="2" indent="-381000" rtl="0">
              <a:spcBef>
                <a:spcPts val="0"/>
              </a:spcBef>
              <a:spcAft>
                <a:spcPts val="0"/>
              </a:spcAft>
              <a:buSzPts val="2400"/>
              <a:buChar char="■"/>
              <a:defRPr/>
            </a:lvl3pPr>
            <a:lvl4pPr marL="1828800" lvl="3" indent="-381000" rtl="0">
              <a:spcBef>
                <a:spcPts val="0"/>
              </a:spcBef>
              <a:spcAft>
                <a:spcPts val="0"/>
              </a:spcAft>
              <a:buSzPts val="2400"/>
              <a:buChar char="●"/>
              <a:defRPr/>
            </a:lvl4pPr>
            <a:lvl5pPr marL="2286000" lvl="4" indent="-381000" rtl="0">
              <a:spcBef>
                <a:spcPts val="0"/>
              </a:spcBef>
              <a:spcAft>
                <a:spcPts val="0"/>
              </a:spcAft>
              <a:buSzPts val="2400"/>
              <a:buChar char="○"/>
              <a:defRPr/>
            </a:lvl5pPr>
            <a:lvl6pPr marL="2743200" lvl="5" indent="-381000" rtl="0">
              <a:spcBef>
                <a:spcPts val="0"/>
              </a:spcBef>
              <a:spcAft>
                <a:spcPts val="0"/>
              </a:spcAft>
              <a:buSzPts val="2400"/>
              <a:buChar char="■"/>
              <a:defRPr/>
            </a:lvl6pPr>
            <a:lvl7pPr marL="3200400" lvl="6" indent="-381000" rtl="0">
              <a:spcBef>
                <a:spcPts val="0"/>
              </a:spcBef>
              <a:spcAft>
                <a:spcPts val="0"/>
              </a:spcAft>
              <a:buSzPts val="2400"/>
              <a:buChar char="●"/>
              <a:defRPr/>
            </a:lvl7pPr>
            <a:lvl8pPr marL="3657600" lvl="7" indent="-381000" rtl="0">
              <a:spcBef>
                <a:spcPts val="0"/>
              </a:spcBef>
              <a:spcAft>
                <a:spcPts val="0"/>
              </a:spcAft>
              <a:buSzPts val="2400"/>
              <a:buChar char="○"/>
              <a:defRPr/>
            </a:lvl8pPr>
            <a:lvl9pPr marL="4114800" lvl="8" indent="-381000" rtl="0">
              <a:spcBef>
                <a:spcPts val="0"/>
              </a:spcBef>
              <a:spcAft>
                <a:spcPts val="0"/>
              </a:spcAft>
              <a:buSzPts val="2400"/>
              <a:buChar char="■"/>
              <a:defRPr/>
            </a:lvl9pPr>
          </a:lstStyle>
          <a:p>
            <a:endParaRPr/>
          </a:p>
        </p:txBody>
      </p:sp>
      <p:sp>
        <p:nvSpPr>
          <p:cNvPr id="25" name="Google Shape;25;p5"/>
          <p:cNvSpPr txBox="1">
            <a:spLocks noGrp="1"/>
          </p:cNvSpPr>
          <p:nvPr>
            <p:ph type="sldNum" idx="12"/>
          </p:nvPr>
        </p:nvSpPr>
        <p:spPr>
          <a:xfrm>
            <a:off x="8328184" y="45974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 2 columns" type="twoColTx">
  <p:cSld name="TITLE_AND_TWO_COLUMNS">
    <p:spTree>
      <p:nvGrpSpPr>
        <p:cNvPr id="1" name="Shape 26"/>
        <p:cNvGrpSpPr/>
        <p:nvPr/>
      </p:nvGrpSpPr>
      <p:grpSpPr>
        <a:xfrm>
          <a:off x="0" y="0"/>
          <a:ext cx="0" cy="0"/>
          <a:chOff x="0" y="0"/>
          <a:chExt cx="0" cy="0"/>
        </a:xfrm>
      </p:grpSpPr>
      <p:sp>
        <p:nvSpPr>
          <p:cNvPr id="27" name="Google Shape;27;p6"/>
          <p:cNvSpPr/>
          <p:nvPr/>
        </p:nvSpPr>
        <p:spPr>
          <a:xfrm>
            <a:off x="0" y="2625824"/>
            <a:ext cx="9144000" cy="2232329"/>
          </a:xfrm>
          <a:custGeom>
            <a:avLst/>
            <a:gdLst/>
            <a:ahLst/>
            <a:cxnLst/>
            <a:rect l="l" t="t" r="r" b="b"/>
            <a:pathLst>
              <a:path w="12192000" h="2976439" extrusionOk="0">
                <a:moveTo>
                  <a:pt x="6456680" y="1376234"/>
                </a:moveTo>
                <a:cubicBezTo>
                  <a:pt x="6463665" y="1380044"/>
                  <a:pt x="6471920" y="1378138"/>
                  <a:pt x="6476365" y="1371788"/>
                </a:cubicBezTo>
                <a:cubicBezTo>
                  <a:pt x="6503670" y="1378138"/>
                  <a:pt x="6495415" y="1331784"/>
                  <a:pt x="6471920" y="1347024"/>
                </a:cubicBezTo>
                <a:cubicBezTo>
                  <a:pt x="6454775" y="1340674"/>
                  <a:pt x="6438900" y="1365438"/>
                  <a:pt x="6456680" y="1376234"/>
                </a:cubicBezTo>
                <a:close/>
                <a:moveTo>
                  <a:pt x="6391910" y="1339404"/>
                </a:moveTo>
                <a:cubicBezTo>
                  <a:pt x="6393180" y="1340038"/>
                  <a:pt x="6395085" y="1340674"/>
                  <a:pt x="6396355" y="1341309"/>
                </a:cubicBezTo>
                <a:cubicBezTo>
                  <a:pt x="6399530" y="1350199"/>
                  <a:pt x="6413500" y="1352104"/>
                  <a:pt x="6418580" y="1343213"/>
                </a:cubicBezTo>
                <a:cubicBezTo>
                  <a:pt x="6441440" y="1342579"/>
                  <a:pt x="6431915" y="1306384"/>
                  <a:pt x="6411595" y="1316544"/>
                </a:cubicBezTo>
                <a:cubicBezTo>
                  <a:pt x="6396990" y="1296859"/>
                  <a:pt x="6370320" y="1327338"/>
                  <a:pt x="6391910" y="1339404"/>
                </a:cubicBezTo>
                <a:close/>
                <a:moveTo>
                  <a:pt x="6412865" y="1360359"/>
                </a:moveTo>
                <a:cubicBezTo>
                  <a:pt x="6400800" y="1378774"/>
                  <a:pt x="6429375" y="1397188"/>
                  <a:pt x="6440805" y="1378774"/>
                </a:cubicBezTo>
                <a:cubicBezTo>
                  <a:pt x="6453505" y="1360994"/>
                  <a:pt x="6424295" y="1341944"/>
                  <a:pt x="6412865" y="1360359"/>
                </a:cubicBezTo>
                <a:close/>
                <a:moveTo>
                  <a:pt x="6502400" y="1514029"/>
                </a:moveTo>
                <a:cubicBezTo>
                  <a:pt x="6482715" y="1497519"/>
                  <a:pt x="6457315" y="1529269"/>
                  <a:pt x="6477635" y="1545144"/>
                </a:cubicBezTo>
                <a:cubicBezTo>
                  <a:pt x="6497320" y="1561019"/>
                  <a:pt x="6522720" y="1529269"/>
                  <a:pt x="6502400" y="1514029"/>
                </a:cubicBezTo>
                <a:close/>
                <a:moveTo>
                  <a:pt x="6382385" y="1402269"/>
                </a:moveTo>
                <a:cubicBezTo>
                  <a:pt x="6399530" y="1402904"/>
                  <a:pt x="6407785" y="1378774"/>
                  <a:pt x="6393180" y="1369249"/>
                </a:cubicBezTo>
                <a:cubicBezTo>
                  <a:pt x="6367145" y="1350834"/>
                  <a:pt x="6350635" y="1400999"/>
                  <a:pt x="6382385" y="1402269"/>
                </a:cubicBezTo>
                <a:close/>
                <a:moveTo>
                  <a:pt x="6216015" y="1284794"/>
                </a:moveTo>
                <a:cubicBezTo>
                  <a:pt x="6196330" y="1268284"/>
                  <a:pt x="6170930" y="1300034"/>
                  <a:pt x="6191250" y="1315909"/>
                </a:cubicBezTo>
                <a:cubicBezTo>
                  <a:pt x="6210935" y="1331784"/>
                  <a:pt x="6236335" y="1300669"/>
                  <a:pt x="6216015" y="1284794"/>
                </a:cubicBezTo>
                <a:close/>
                <a:moveTo>
                  <a:pt x="6049645" y="1169859"/>
                </a:moveTo>
                <a:cubicBezTo>
                  <a:pt x="6049010" y="1164779"/>
                  <a:pt x="6045835" y="1159699"/>
                  <a:pt x="6040755" y="1157794"/>
                </a:cubicBezTo>
                <a:cubicBezTo>
                  <a:pt x="6017260" y="1150174"/>
                  <a:pt x="6015355" y="1190813"/>
                  <a:pt x="6039485" y="1184463"/>
                </a:cubicBezTo>
                <a:cubicBezTo>
                  <a:pt x="6038850" y="1189544"/>
                  <a:pt x="6040120" y="1194624"/>
                  <a:pt x="6043295" y="1198434"/>
                </a:cubicBezTo>
                <a:cubicBezTo>
                  <a:pt x="5981700" y="1191449"/>
                  <a:pt x="6039485" y="1279079"/>
                  <a:pt x="6057265" y="1220024"/>
                </a:cubicBezTo>
                <a:cubicBezTo>
                  <a:pt x="6060440" y="1216213"/>
                  <a:pt x="6061075" y="1210499"/>
                  <a:pt x="6059170" y="1206688"/>
                </a:cubicBezTo>
                <a:cubicBezTo>
                  <a:pt x="6075045" y="1207324"/>
                  <a:pt x="6085205" y="1186369"/>
                  <a:pt x="6074410" y="1174938"/>
                </a:cubicBezTo>
                <a:cubicBezTo>
                  <a:pt x="6077585" y="1176844"/>
                  <a:pt x="6081395" y="1178113"/>
                  <a:pt x="6084570" y="1177479"/>
                </a:cubicBezTo>
                <a:cubicBezTo>
                  <a:pt x="6082030" y="1183194"/>
                  <a:pt x="6082665" y="1190179"/>
                  <a:pt x="6085840" y="1195259"/>
                </a:cubicBezTo>
                <a:cubicBezTo>
                  <a:pt x="6085205" y="1211769"/>
                  <a:pt x="6111240" y="1214944"/>
                  <a:pt x="6113780" y="1197799"/>
                </a:cubicBezTo>
                <a:cubicBezTo>
                  <a:pt x="6115050" y="1196529"/>
                  <a:pt x="6116320" y="1194624"/>
                  <a:pt x="6117590" y="1192719"/>
                </a:cubicBezTo>
                <a:cubicBezTo>
                  <a:pt x="6118860" y="1200974"/>
                  <a:pt x="6128385" y="1207324"/>
                  <a:pt x="6137275" y="1204784"/>
                </a:cubicBezTo>
                <a:cubicBezTo>
                  <a:pt x="6139180" y="1210499"/>
                  <a:pt x="6144895" y="1216213"/>
                  <a:pt x="6151245" y="1216849"/>
                </a:cubicBezTo>
                <a:cubicBezTo>
                  <a:pt x="6149975" y="1221929"/>
                  <a:pt x="6151245" y="1227009"/>
                  <a:pt x="6155055" y="1230819"/>
                </a:cubicBezTo>
                <a:cubicBezTo>
                  <a:pt x="6154420" y="1235263"/>
                  <a:pt x="6155690" y="1240344"/>
                  <a:pt x="6158865" y="1244154"/>
                </a:cubicBezTo>
                <a:cubicBezTo>
                  <a:pt x="6145530" y="1263838"/>
                  <a:pt x="6184265" y="1273363"/>
                  <a:pt x="6181725" y="1249234"/>
                </a:cubicBezTo>
                <a:cubicBezTo>
                  <a:pt x="6187440" y="1246694"/>
                  <a:pt x="6191250" y="1240344"/>
                  <a:pt x="6191885" y="1234629"/>
                </a:cubicBezTo>
                <a:cubicBezTo>
                  <a:pt x="6196330" y="1237804"/>
                  <a:pt x="6202045" y="1238438"/>
                  <a:pt x="6207125" y="1236534"/>
                </a:cubicBezTo>
                <a:cubicBezTo>
                  <a:pt x="6203315" y="1248599"/>
                  <a:pt x="6214745" y="1256219"/>
                  <a:pt x="6224905" y="1260029"/>
                </a:cubicBezTo>
                <a:cubicBezTo>
                  <a:pt x="6213475" y="1263838"/>
                  <a:pt x="6214110" y="1280984"/>
                  <a:pt x="6225540" y="1284159"/>
                </a:cubicBezTo>
                <a:cubicBezTo>
                  <a:pt x="6239510" y="1333054"/>
                  <a:pt x="6290945" y="1263204"/>
                  <a:pt x="6239510" y="1265109"/>
                </a:cubicBezTo>
                <a:cubicBezTo>
                  <a:pt x="6238240" y="1263204"/>
                  <a:pt x="6235700" y="1261299"/>
                  <a:pt x="6233160" y="1260029"/>
                </a:cubicBezTo>
                <a:cubicBezTo>
                  <a:pt x="6254750" y="1252409"/>
                  <a:pt x="6235065" y="1214944"/>
                  <a:pt x="6216015" y="1225738"/>
                </a:cubicBezTo>
                <a:cubicBezTo>
                  <a:pt x="6220460" y="1206054"/>
                  <a:pt x="6188710" y="1199704"/>
                  <a:pt x="6185535" y="1220024"/>
                </a:cubicBezTo>
                <a:cubicBezTo>
                  <a:pt x="6183630" y="1218119"/>
                  <a:pt x="6180455" y="1216849"/>
                  <a:pt x="6177915" y="1215579"/>
                </a:cubicBezTo>
                <a:cubicBezTo>
                  <a:pt x="6176645" y="1211769"/>
                  <a:pt x="6172835" y="1208594"/>
                  <a:pt x="6169025" y="1207324"/>
                </a:cubicBezTo>
                <a:cubicBezTo>
                  <a:pt x="6176010" y="1193988"/>
                  <a:pt x="6161405" y="1178749"/>
                  <a:pt x="6147435" y="1184463"/>
                </a:cubicBezTo>
                <a:cubicBezTo>
                  <a:pt x="6142990" y="1172399"/>
                  <a:pt x="6125210" y="1171129"/>
                  <a:pt x="6119495" y="1182559"/>
                </a:cubicBezTo>
                <a:cubicBezTo>
                  <a:pt x="6118860" y="1173034"/>
                  <a:pt x="6108065" y="1165413"/>
                  <a:pt x="6098540" y="1167319"/>
                </a:cubicBezTo>
                <a:cubicBezTo>
                  <a:pt x="6104890" y="1152713"/>
                  <a:pt x="6087110" y="1138109"/>
                  <a:pt x="6073775" y="1146999"/>
                </a:cubicBezTo>
                <a:cubicBezTo>
                  <a:pt x="6059805" y="1135569"/>
                  <a:pt x="6040755" y="1155888"/>
                  <a:pt x="6052820" y="1169224"/>
                </a:cubicBezTo>
                <a:cubicBezTo>
                  <a:pt x="6052185" y="1168588"/>
                  <a:pt x="6050915" y="1169224"/>
                  <a:pt x="6049645" y="1169859"/>
                </a:cubicBezTo>
                <a:close/>
                <a:moveTo>
                  <a:pt x="6279515" y="1267649"/>
                </a:moveTo>
                <a:cubicBezTo>
                  <a:pt x="6278880" y="1268919"/>
                  <a:pt x="6278880" y="1270824"/>
                  <a:pt x="6278245" y="1272094"/>
                </a:cubicBezTo>
                <a:cubicBezTo>
                  <a:pt x="6273800" y="1277174"/>
                  <a:pt x="6273800" y="1284794"/>
                  <a:pt x="6276340" y="1289874"/>
                </a:cubicBezTo>
                <a:cubicBezTo>
                  <a:pt x="6272530" y="1305113"/>
                  <a:pt x="6296660" y="1311463"/>
                  <a:pt x="6300470" y="1296224"/>
                </a:cubicBezTo>
                <a:cubicBezTo>
                  <a:pt x="6308090" y="1291779"/>
                  <a:pt x="6309995" y="1280984"/>
                  <a:pt x="6305550" y="1273999"/>
                </a:cubicBezTo>
                <a:cubicBezTo>
                  <a:pt x="6308090" y="1258759"/>
                  <a:pt x="6285230" y="1253044"/>
                  <a:pt x="6279515" y="1267649"/>
                </a:cubicBezTo>
                <a:close/>
                <a:moveTo>
                  <a:pt x="6260465" y="1269554"/>
                </a:moveTo>
                <a:cubicBezTo>
                  <a:pt x="6278245" y="1279079"/>
                  <a:pt x="6292850" y="1250504"/>
                  <a:pt x="6274435" y="1241613"/>
                </a:cubicBezTo>
                <a:cubicBezTo>
                  <a:pt x="6256655" y="1232724"/>
                  <a:pt x="6242050" y="1260663"/>
                  <a:pt x="6260465" y="1269554"/>
                </a:cubicBezTo>
                <a:close/>
                <a:moveTo>
                  <a:pt x="6492875" y="1740088"/>
                </a:moveTo>
                <a:cubicBezTo>
                  <a:pt x="6512560" y="1740724"/>
                  <a:pt x="6523356" y="1714054"/>
                  <a:pt x="6508115" y="1700719"/>
                </a:cubicBezTo>
                <a:cubicBezTo>
                  <a:pt x="6476365" y="1674049"/>
                  <a:pt x="6451600" y="1738184"/>
                  <a:pt x="6492875" y="1740088"/>
                </a:cubicBezTo>
                <a:close/>
                <a:moveTo>
                  <a:pt x="6313805" y="1461324"/>
                </a:moveTo>
                <a:cubicBezTo>
                  <a:pt x="6285230" y="1508949"/>
                  <a:pt x="6378575" y="1502599"/>
                  <a:pt x="6343650" y="1459419"/>
                </a:cubicBezTo>
                <a:cubicBezTo>
                  <a:pt x="6343650" y="1459419"/>
                  <a:pt x="6343650" y="1459419"/>
                  <a:pt x="6343650" y="1459419"/>
                </a:cubicBezTo>
                <a:cubicBezTo>
                  <a:pt x="6334760" y="1451163"/>
                  <a:pt x="6321425" y="1452434"/>
                  <a:pt x="6313805" y="1461324"/>
                </a:cubicBezTo>
                <a:close/>
                <a:moveTo>
                  <a:pt x="6298565" y="1322259"/>
                </a:moveTo>
                <a:cubicBezTo>
                  <a:pt x="6284595" y="1341309"/>
                  <a:pt x="6314440" y="1363534"/>
                  <a:pt x="6328410" y="1343849"/>
                </a:cubicBezTo>
                <a:cubicBezTo>
                  <a:pt x="6342380" y="1324799"/>
                  <a:pt x="6311900" y="1302574"/>
                  <a:pt x="6298565" y="1322259"/>
                </a:cubicBezTo>
                <a:close/>
                <a:moveTo>
                  <a:pt x="6326505" y="1303844"/>
                </a:moveTo>
                <a:cubicBezTo>
                  <a:pt x="6331585" y="1306384"/>
                  <a:pt x="6337300" y="1306384"/>
                  <a:pt x="6341745" y="1303209"/>
                </a:cubicBezTo>
                <a:cubicBezTo>
                  <a:pt x="6334125" y="1308288"/>
                  <a:pt x="6334760" y="1320988"/>
                  <a:pt x="6343015" y="1324799"/>
                </a:cubicBezTo>
                <a:cubicBezTo>
                  <a:pt x="6346825" y="1362263"/>
                  <a:pt x="6399530" y="1327974"/>
                  <a:pt x="6366510" y="1309559"/>
                </a:cubicBezTo>
                <a:cubicBezTo>
                  <a:pt x="6376670" y="1298129"/>
                  <a:pt x="6362065" y="1280349"/>
                  <a:pt x="6349365" y="1287969"/>
                </a:cubicBezTo>
                <a:cubicBezTo>
                  <a:pt x="6343015" y="1257488"/>
                  <a:pt x="6299835" y="1287334"/>
                  <a:pt x="6326505" y="1303844"/>
                </a:cubicBezTo>
                <a:close/>
                <a:moveTo>
                  <a:pt x="6341745" y="1303844"/>
                </a:moveTo>
                <a:cubicBezTo>
                  <a:pt x="6341745" y="1303844"/>
                  <a:pt x="6341745" y="1303844"/>
                  <a:pt x="6341745" y="1303844"/>
                </a:cubicBezTo>
                <a:cubicBezTo>
                  <a:pt x="6341745" y="1303844"/>
                  <a:pt x="6341745" y="1303844"/>
                  <a:pt x="6341745" y="1303844"/>
                </a:cubicBezTo>
                <a:cubicBezTo>
                  <a:pt x="6341745" y="1303844"/>
                  <a:pt x="6341745" y="1303844"/>
                  <a:pt x="6341745" y="1303844"/>
                </a:cubicBezTo>
                <a:close/>
                <a:moveTo>
                  <a:pt x="6287135" y="1341944"/>
                </a:moveTo>
                <a:cubicBezTo>
                  <a:pt x="6267450" y="1325434"/>
                  <a:pt x="6242050" y="1357184"/>
                  <a:pt x="6262370" y="1373059"/>
                </a:cubicBezTo>
                <a:cubicBezTo>
                  <a:pt x="6282690" y="1388934"/>
                  <a:pt x="6307455" y="1357819"/>
                  <a:pt x="6287135" y="1341944"/>
                </a:cubicBezTo>
                <a:close/>
                <a:moveTo>
                  <a:pt x="6242685" y="1427034"/>
                </a:moveTo>
                <a:cubicBezTo>
                  <a:pt x="6263005" y="1445449"/>
                  <a:pt x="6291580" y="1413063"/>
                  <a:pt x="6270625" y="1395284"/>
                </a:cubicBezTo>
                <a:cubicBezTo>
                  <a:pt x="6250305" y="1376869"/>
                  <a:pt x="6221730" y="1409254"/>
                  <a:pt x="6242685" y="1427034"/>
                </a:cubicBezTo>
                <a:close/>
                <a:moveTo>
                  <a:pt x="6574156" y="1570544"/>
                </a:moveTo>
                <a:cubicBezTo>
                  <a:pt x="6554470" y="1554669"/>
                  <a:pt x="6529070" y="1585784"/>
                  <a:pt x="6550025" y="1601659"/>
                </a:cubicBezTo>
                <a:cubicBezTo>
                  <a:pt x="6569710" y="1618169"/>
                  <a:pt x="6594475" y="1586419"/>
                  <a:pt x="6574156" y="1570544"/>
                </a:cubicBezTo>
                <a:close/>
                <a:moveTo>
                  <a:pt x="6614795" y="1493074"/>
                </a:moveTo>
                <a:cubicBezTo>
                  <a:pt x="6602731" y="1511488"/>
                  <a:pt x="6631306" y="1529904"/>
                  <a:pt x="6643370" y="1511488"/>
                </a:cubicBezTo>
                <a:cubicBezTo>
                  <a:pt x="6655435" y="1493074"/>
                  <a:pt x="6626225" y="1474024"/>
                  <a:pt x="6614795" y="1493074"/>
                </a:cubicBezTo>
                <a:close/>
                <a:moveTo>
                  <a:pt x="6580506" y="1418144"/>
                </a:moveTo>
                <a:cubicBezTo>
                  <a:pt x="6583681" y="1419413"/>
                  <a:pt x="6587490" y="1419413"/>
                  <a:pt x="6590031" y="1418144"/>
                </a:cubicBezTo>
                <a:cubicBezTo>
                  <a:pt x="6590031" y="1420049"/>
                  <a:pt x="6590031" y="1421954"/>
                  <a:pt x="6590031" y="1423224"/>
                </a:cubicBezTo>
                <a:cubicBezTo>
                  <a:pt x="6549390" y="1439099"/>
                  <a:pt x="6612890" y="1476563"/>
                  <a:pt x="6607175" y="1433384"/>
                </a:cubicBezTo>
                <a:cubicBezTo>
                  <a:pt x="6626860" y="1428304"/>
                  <a:pt x="6615431" y="1397824"/>
                  <a:pt x="6597015" y="1407349"/>
                </a:cubicBezTo>
                <a:cubicBezTo>
                  <a:pt x="6597015" y="1378138"/>
                  <a:pt x="6555106" y="1403538"/>
                  <a:pt x="6580506" y="1418144"/>
                </a:cubicBezTo>
                <a:close/>
                <a:moveTo>
                  <a:pt x="6639560" y="1442274"/>
                </a:moveTo>
                <a:cubicBezTo>
                  <a:pt x="6654800" y="1449259"/>
                  <a:pt x="6664960" y="1425129"/>
                  <a:pt x="6649085" y="1418779"/>
                </a:cubicBezTo>
                <a:cubicBezTo>
                  <a:pt x="6634481" y="1412429"/>
                  <a:pt x="6624320" y="1435924"/>
                  <a:pt x="6639560" y="1442274"/>
                </a:cubicBezTo>
                <a:close/>
                <a:moveTo>
                  <a:pt x="6547485" y="1448624"/>
                </a:moveTo>
                <a:cubicBezTo>
                  <a:pt x="6535420" y="1467038"/>
                  <a:pt x="6563995" y="1485454"/>
                  <a:pt x="6576060" y="1467038"/>
                </a:cubicBezTo>
                <a:cubicBezTo>
                  <a:pt x="6588125" y="1449259"/>
                  <a:pt x="6558915" y="1430209"/>
                  <a:pt x="6547485" y="1448624"/>
                </a:cubicBezTo>
                <a:close/>
                <a:moveTo>
                  <a:pt x="6569075" y="1809304"/>
                </a:moveTo>
                <a:cubicBezTo>
                  <a:pt x="6588760" y="1809938"/>
                  <a:pt x="6599556" y="1782634"/>
                  <a:pt x="6584315" y="1769934"/>
                </a:cubicBezTo>
                <a:cubicBezTo>
                  <a:pt x="6551931" y="1743899"/>
                  <a:pt x="6527800" y="1807399"/>
                  <a:pt x="6569075" y="1809304"/>
                </a:cubicBezTo>
                <a:close/>
                <a:moveTo>
                  <a:pt x="6653531" y="1444813"/>
                </a:moveTo>
                <a:cubicBezTo>
                  <a:pt x="6650990" y="1449894"/>
                  <a:pt x="6651625" y="1456244"/>
                  <a:pt x="6655435" y="1460688"/>
                </a:cubicBezTo>
                <a:cubicBezTo>
                  <a:pt x="6609081" y="1484184"/>
                  <a:pt x="6693535" y="1510854"/>
                  <a:pt x="6668770" y="1465134"/>
                </a:cubicBezTo>
                <a:cubicBezTo>
                  <a:pt x="6695440" y="1457513"/>
                  <a:pt x="6667500" y="1421319"/>
                  <a:pt x="6653531" y="1444813"/>
                </a:cubicBezTo>
                <a:close/>
                <a:moveTo>
                  <a:pt x="6646545" y="1627059"/>
                </a:moveTo>
                <a:cubicBezTo>
                  <a:pt x="6626225" y="1611184"/>
                  <a:pt x="6602095" y="1642934"/>
                  <a:pt x="6622415" y="1658174"/>
                </a:cubicBezTo>
                <a:cubicBezTo>
                  <a:pt x="6642100" y="1674684"/>
                  <a:pt x="6666865" y="1642299"/>
                  <a:pt x="6646545" y="1627059"/>
                </a:cubicBezTo>
                <a:close/>
                <a:moveTo>
                  <a:pt x="6629400" y="1840419"/>
                </a:moveTo>
                <a:cubicBezTo>
                  <a:pt x="6609715" y="1862009"/>
                  <a:pt x="6644006" y="1892488"/>
                  <a:pt x="6663056" y="1870263"/>
                </a:cubicBezTo>
                <a:cubicBezTo>
                  <a:pt x="6682740" y="1848674"/>
                  <a:pt x="6648450" y="1818194"/>
                  <a:pt x="6629400" y="1840419"/>
                </a:cubicBezTo>
                <a:close/>
                <a:moveTo>
                  <a:pt x="6677025" y="1595944"/>
                </a:moveTo>
                <a:cubicBezTo>
                  <a:pt x="6690995" y="1576894"/>
                  <a:pt x="6660515" y="1555304"/>
                  <a:pt x="6647181" y="1574988"/>
                </a:cubicBezTo>
                <a:cubicBezTo>
                  <a:pt x="6633210" y="1594038"/>
                  <a:pt x="6663690" y="1615629"/>
                  <a:pt x="6677025" y="1595944"/>
                </a:cubicBezTo>
                <a:close/>
                <a:moveTo>
                  <a:pt x="6419215" y="1552763"/>
                </a:moveTo>
                <a:cubicBezTo>
                  <a:pt x="6437630" y="1532444"/>
                  <a:pt x="6404610" y="1503869"/>
                  <a:pt x="6387465" y="1524824"/>
                </a:cubicBezTo>
                <a:cubicBezTo>
                  <a:pt x="6369050" y="1545144"/>
                  <a:pt x="6401435" y="1573719"/>
                  <a:pt x="6419215" y="1552763"/>
                </a:cubicBezTo>
                <a:close/>
                <a:moveTo>
                  <a:pt x="6405880" y="1487359"/>
                </a:moveTo>
                <a:cubicBezTo>
                  <a:pt x="6425565" y="1503869"/>
                  <a:pt x="6450965" y="1472119"/>
                  <a:pt x="6430645" y="1456244"/>
                </a:cubicBezTo>
                <a:cubicBezTo>
                  <a:pt x="6410960" y="1440369"/>
                  <a:pt x="6385560" y="1472119"/>
                  <a:pt x="6405880" y="1487359"/>
                </a:cubicBezTo>
                <a:close/>
                <a:moveTo>
                  <a:pt x="6417310" y="1670238"/>
                </a:moveTo>
                <a:cubicBezTo>
                  <a:pt x="6436995" y="1670874"/>
                  <a:pt x="6447790" y="1644204"/>
                  <a:pt x="6432550" y="1630869"/>
                </a:cubicBezTo>
                <a:cubicBezTo>
                  <a:pt x="6400800" y="1604199"/>
                  <a:pt x="6376035" y="1668334"/>
                  <a:pt x="6417310" y="1670238"/>
                </a:cubicBezTo>
                <a:close/>
                <a:moveTo>
                  <a:pt x="6467475" y="1445449"/>
                </a:moveTo>
                <a:cubicBezTo>
                  <a:pt x="6481445" y="1426399"/>
                  <a:pt x="6451600" y="1404174"/>
                  <a:pt x="6437630" y="1423859"/>
                </a:cubicBezTo>
                <a:cubicBezTo>
                  <a:pt x="6423025" y="1442909"/>
                  <a:pt x="6453505" y="1464499"/>
                  <a:pt x="6467475" y="1445449"/>
                </a:cubicBezTo>
                <a:close/>
                <a:moveTo>
                  <a:pt x="6564631" y="1649919"/>
                </a:moveTo>
                <a:cubicBezTo>
                  <a:pt x="6543675" y="1631504"/>
                  <a:pt x="6515735" y="1664524"/>
                  <a:pt x="6537325" y="1682304"/>
                </a:cubicBezTo>
                <a:cubicBezTo>
                  <a:pt x="6557645" y="1700084"/>
                  <a:pt x="6585585" y="1667063"/>
                  <a:pt x="6564631" y="1649919"/>
                </a:cubicBezTo>
                <a:close/>
                <a:moveTo>
                  <a:pt x="6492875" y="1616263"/>
                </a:moveTo>
                <a:cubicBezTo>
                  <a:pt x="6511290" y="1595944"/>
                  <a:pt x="6478270" y="1567369"/>
                  <a:pt x="6460490" y="1588959"/>
                </a:cubicBezTo>
                <a:cubicBezTo>
                  <a:pt x="6442710" y="1609279"/>
                  <a:pt x="6475095" y="1637219"/>
                  <a:pt x="6492875" y="1616263"/>
                </a:cubicBezTo>
                <a:close/>
                <a:moveTo>
                  <a:pt x="6480175" y="1404809"/>
                </a:moveTo>
                <a:cubicBezTo>
                  <a:pt x="6468110" y="1423224"/>
                  <a:pt x="6496685" y="1441638"/>
                  <a:pt x="6508750" y="1423224"/>
                </a:cubicBezTo>
                <a:cubicBezTo>
                  <a:pt x="6520815" y="1404809"/>
                  <a:pt x="6491605" y="1386394"/>
                  <a:pt x="6480175" y="1404809"/>
                </a:cubicBezTo>
                <a:close/>
                <a:moveTo>
                  <a:pt x="6167120" y="1333054"/>
                </a:moveTo>
                <a:cubicBezTo>
                  <a:pt x="6148705" y="1353374"/>
                  <a:pt x="6181090" y="1381949"/>
                  <a:pt x="6198870" y="1360994"/>
                </a:cubicBezTo>
                <a:cubicBezTo>
                  <a:pt x="6217920" y="1340674"/>
                  <a:pt x="6184900" y="1312099"/>
                  <a:pt x="6167120" y="1333054"/>
                </a:cubicBezTo>
                <a:close/>
                <a:moveTo>
                  <a:pt x="6521450" y="1413699"/>
                </a:moveTo>
                <a:cubicBezTo>
                  <a:pt x="6530340" y="1419413"/>
                  <a:pt x="6543675" y="1413063"/>
                  <a:pt x="6544945" y="1402269"/>
                </a:cubicBezTo>
                <a:cubicBezTo>
                  <a:pt x="6565900" y="1399729"/>
                  <a:pt x="6557010" y="1367344"/>
                  <a:pt x="6537960" y="1375599"/>
                </a:cubicBezTo>
                <a:cubicBezTo>
                  <a:pt x="6528435" y="1360359"/>
                  <a:pt x="6505575" y="1377504"/>
                  <a:pt x="6517640" y="1390838"/>
                </a:cubicBezTo>
                <a:cubicBezTo>
                  <a:pt x="6511290" y="1397824"/>
                  <a:pt x="6513195" y="1409254"/>
                  <a:pt x="6521450" y="1413699"/>
                </a:cubicBezTo>
                <a:close/>
                <a:moveTo>
                  <a:pt x="5005705" y="532954"/>
                </a:moveTo>
                <a:cubicBezTo>
                  <a:pt x="5010785" y="535494"/>
                  <a:pt x="5015865" y="536763"/>
                  <a:pt x="5020945" y="536129"/>
                </a:cubicBezTo>
                <a:cubicBezTo>
                  <a:pt x="5027295" y="541209"/>
                  <a:pt x="5034915" y="542479"/>
                  <a:pt x="5042535" y="541209"/>
                </a:cubicBezTo>
                <a:cubicBezTo>
                  <a:pt x="5029835" y="550734"/>
                  <a:pt x="5031740" y="572324"/>
                  <a:pt x="5046345" y="579309"/>
                </a:cubicBezTo>
                <a:cubicBezTo>
                  <a:pt x="4991100" y="625663"/>
                  <a:pt x="5114290" y="632649"/>
                  <a:pt x="5064125" y="580579"/>
                </a:cubicBezTo>
                <a:cubicBezTo>
                  <a:pt x="5090160" y="571688"/>
                  <a:pt x="5078095" y="531049"/>
                  <a:pt x="5051425" y="537399"/>
                </a:cubicBezTo>
                <a:cubicBezTo>
                  <a:pt x="5074285" y="522158"/>
                  <a:pt x="5055870" y="484694"/>
                  <a:pt x="5029835" y="492313"/>
                </a:cubicBezTo>
                <a:cubicBezTo>
                  <a:pt x="5003165" y="475169"/>
                  <a:pt x="4978400" y="517713"/>
                  <a:pt x="5005705" y="532954"/>
                </a:cubicBezTo>
                <a:close/>
                <a:moveTo>
                  <a:pt x="4829810" y="618044"/>
                </a:moveTo>
                <a:cubicBezTo>
                  <a:pt x="4853305" y="618679"/>
                  <a:pt x="4856480" y="582484"/>
                  <a:pt x="4833620" y="578674"/>
                </a:cubicBezTo>
                <a:cubicBezTo>
                  <a:pt x="4808220" y="573594"/>
                  <a:pt x="4801235" y="613599"/>
                  <a:pt x="4826635" y="617409"/>
                </a:cubicBezTo>
                <a:lnTo>
                  <a:pt x="4826635" y="617409"/>
                </a:lnTo>
                <a:cubicBezTo>
                  <a:pt x="4827270" y="618044"/>
                  <a:pt x="4828540" y="618044"/>
                  <a:pt x="4829810" y="618044"/>
                </a:cubicBezTo>
                <a:close/>
                <a:moveTo>
                  <a:pt x="4923790" y="597724"/>
                </a:moveTo>
                <a:cubicBezTo>
                  <a:pt x="4899025" y="591374"/>
                  <a:pt x="4890135" y="630744"/>
                  <a:pt x="4914900" y="636459"/>
                </a:cubicBezTo>
                <a:cubicBezTo>
                  <a:pt x="4939665" y="642174"/>
                  <a:pt x="4949190" y="603438"/>
                  <a:pt x="4923790" y="597724"/>
                </a:cubicBezTo>
                <a:close/>
                <a:moveTo>
                  <a:pt x="4648200" y="411669"/>
                </a:moveTo>
                <a:cubicBezTo>
                  <a:pt x="4640580" y="440244"/>
                  <a:pt x="4685665" y="451038"/>
                  <a:pt x="4692015" y="422463"/>
                </a:cubicBezTo>
                <a:cubicBezTo>
                  <a:pt x="4699000" y="393888"/>
                  <a:pt x="4654550" y="383094"/>
                  <a:pt x="4648200" y="411669"/>
                </a:cubicBezTo>
                <a:close/>
                <a:moveTo>
                  <a:pt x="4831715" y="694879"/>
                </a:moveTo>
                <a:cubicBezTo>
                  <a:pt x="4855210" y="698688"/>
                  <a:pt x="4860290" y="661224"/>
                  <a:pt x="4836795" y="658684"/>
                </a:cubicBezTo>
                <a:cubicBezTo>
                  <a:pt x="4813300" y="654874"/>
                  <a:pt x="4808220" y="692338"/>
                  <a:pt x="4831715" y="694879"/>
                </a:cubicBezTo>
                <a:close/>
                <a:moveTo>
                  <a:pt x="4911090" y="481519"/>
                </a:moveTo>
                <a:cubicBezTo>
                  <a:pt x="4919980" y="486599"/>
                  <a:pt x="4932045" y="484694"/>
                  <a:pt x="4939030" y="477074"/>
                </a:cubicBezTo>
                <a:cubicBezTo>
                  <a:pt x="4991735" y="478344"/>
                  <a:pt x="4957445" y="397699"/>
                  <a:pt x="4921885" y="436433"/>
                </a:cubicBezTo>
                <a:cubicBezTo>
                  <a:pt x="4897755" y="435799"/>
                  <a:pt x="4888865" y="470724"/>
                  <a:pt x="4911090" y="481519"/>
                </a:cubicBezTo>
                <a:close/>
                <a:moveTo>
                  <a:pt x="5000625" y="723454"/>
                </a:moveTo>
                <a:cubicBezTo>
                  <a:pt x="5023485" y="728534"/>
                  <a:pt x="5031740" y="691704"/>
                  <a:pt x="5008245" y="687259"/>
                </a:cubicBezTo>
                <a:cubicBezTo>
                  <a:pt x="4984750" y="682813"/>
                  <a:pt x="4977130" y="719009"/>
                  <a:pt x="5000625" y="723454"/>
                </a:cubicBezTo>
                <a:close/>
                <a:moveTo>
                  <a:pt x="4941570" y="506919"/>
                </a:moveTo>
                <a:cubicBezTo>
                  <a:pt x="4929505" y="533588"/>
                  <a:pt x="4971415" y="552004"/>
                  <a:pt x="4982845" y="524699"/>
                </a:cubicBezTo>
                <a:cubicBezTo>
                  <a:pt x="4994910" y="498029"/>
                  <a:pt x="4952365" y="479613"/>
                  <a:pt x="4941570" y="506919"/>
                </a:cubicBezTo>
                <a:close/>
                <a:moveTo>
                  <a:pt x="5003165" y="658684"/>
                </a:moveTo>
                <a:cubicBezTo>
                  <a:pt x="5027295" y="665669"/>
                  <a:pt x="5038725" y="626934"/>
                  <a:pt x="5013325" y="620584"/>
                </a:cubicBezTo>
                <a:cubicBezTo>
                  <a:pt x="4989195" y="613599"/>
                  <a:pt x="4978400" y="652334"/>
                  <a:pt x="5003165" y="658684"/>
                </a:cubicBezTo>
                <a:close/>
                <a:moveTo>
                  <a:pt x="6147435" y="1255584"/>
                </a:moveTo>
                <a:cubicBezTo>
                  <a:pt x="6154420" y="1246694"/>
                  <a:pt x="6152515" y="1234629"/>
                  <a:pt x="6144260" y="1227644"/>
                </a:cubicBezTo>
                <a:cubicBezTo>
                  <a:pt x="6144260" y="1227644"/>
                  <a:pt x="6144260" y="1227644"/>
                  <a:pt x="6144260" y="1227644"/>
                </a:cubicBezTo>
                <a:cubicBezTo>
                  <a:pt x="6137275" y="1221929"/>
                  <a:pt x="6127115" y="1221929"/>
                  <a:pt x="6120765" y="1227644"/>
                </a:cubicBezTo>
                <a:cubicBezTo>
                  <a:pt x="6104890" y="1199069"/>
                  <a:pt x="6080125" y="1248599"/>
                  <a:pt x="6112510" y="1244154"/>
                </a:cubicBezTo>
                <a:cubicBezTo>
                  <a:pt x="6111875" y="1261299"/>
                  <a:pt x="6136640" y="1270188"/>
                  <a:pt x="6147435" y="1255584"/>
                </a:cubicBezTo>
                <a:close/>
                <a:moveTo>
                  <a:pt x="4863465" y="557084"/>
                </a:moveTo>
                <a:cubicBezTo>
                  <a:pt x="4889500" y="564704"/>
                  <a:pt x="4901565" y="523429"/>
                  <a:pt x="4874895" y="516444"/>
                </a:cubicBezTo>
                <a:cubicBezTo>
                  <a:pt x="4848225" y="508824"/>
                  <a:pt x="4836795" y="550099"/>
                  <a:pt x="4863465" y="557084"/>
                </a:cubicBezTo>
                <a:close/>
                <a:moveTo>
                  <a:pt x="4658360" y="491044"/>
                </a:moveTo>
                <a:cubicBezTo>
                  <a:pt x="4653280" y="517713"/>
                  <a:pt x="4695825" y="525334"/>
                  <a:pt x="4700270" y="498029"/>
                </a:cubicBezTo>
                <a:cubicBezTo>
                  <a:pt x="4704715" y="470724"/>
                  <a:pt x="4662170" y="463738"/>
                  <a:pt x="4658360" y="491044"/>
                </a:cubicBezTo>
                <a:close/>
                <a:moveTo>
                  <a:pt x="4715510" y="393254"/>
                </a:moveTo>
                <a:cubicBezTo>
                  <a:pt x="4733925" y="401508"/>
                  <a:pt x="4754880" y="379919"/>
                  <a:pt x="4745990" y="361504"/>
                </a:cubicBezTo>
                <a:cubicBezTo>
                  <a:pt x="4819015" y="337374"/>
                  <a:pt x="4705985" y="271333"/>
                  <a:pt x="4721225" y="346899"/>
                </a:cubicBezTo>
                <a:cubicBezTo>
                  <a:pt x="4697730" y="348804"/>
                  <a:pt x="4692015" y="385633"/>
                  <a:pt x="4715510" y="393254"/>
                </a:cubicBezTo>
                <a:close/>
                <a:moveTo>
                  <a:pt x="4845685" y="469454"/>
                </a:moveTo>
                <a:cubicBezTo>
                  <a:pt x="4834890" y="496758"/>
                  <a:pt x="4878070" y="512633"/>
                  <a:pt x="4888230" y="485329"/>
                </a:cubicBezTo>
                <a:cubicBezTo>
                  <a:pt x="4898390" y="458024"/>
                  <a:pt x="4855210" y="442149"/>
                  <a:pt x="4845685" y="469454"/>
                </a:cubicBezTo>
                <a:close/>
                <a:moveTo>
                  <a:pt x="4747260" y="437704"/>
                </a:moveTo>
                <a:cubicBezTo>
                  <a:pt x="4738370" y="465644"/>
                  <a:pt x="4782185" y="478979"/>
                  <a:pt x="4790440" y="451038"/>
                </a:cubicBezTo>
                <a:cubicBezTo>
                  <a:pt x="4799965" y="423099"/>
                  <a:pt x="4755515" y="409129"/>
                  <a:pt x="4747260" y="437704"/>
                </a:cubicBezTo>
                <a:close/>
                <a:moveTo>
                  <a:pt x="4649470" y="553909"/>
                </a:moveTo>
                <a:cubicBezTo>
                  <a:pt x="4624070" y="551369"/>
                  <a:pt x="4620260" y="591374"/>
                  <a:pt x="4645660" y="593279"/>
                </a:cubicBezTo>
                <a:cubicBezTo>
                  <a:pt x="4671695" y="595819"/>
                  <a:pt x="4675505" y="555813"/>
                  <a:pt x="4649470" y="553909"/>
                </a:cubicBezTo>
                <a:close/>
                <a:moveTo>
                  <a:pt x="4814570" y="434529"/>
                </a:moveTo>
                <a:cubicBezTo>
                  <a:pt x="4827905" y="440879"/>
                  <a:pt x="4845685" y="431988"/>
                  <a:pt x="4848225" y="416749"/>
                </a:cubicBezTo>
                <a:cubicBezTo>
                  <a:pt x="4907280" y="400874"/>
                  <a:pt x="4832985" y="329754"/>
                  <a:pt x="4819650" y="389444"/>
                </a:cubicBezTo>
                <a:cubicBezTo>
                  <a:pt x="4797425" y="393254"/>
                  <a:pt x="4793615" y="426274"/>
                  <a:pt x="4814570" y="434529"/>
                </a:cubicBezTo>
                <a:close/>
                <a:moveTo>
                  <a:pt x="4779010" y="492313"/>
                </a:moveTo>
                <a:cubicBezTo>
                  <a:pt x="4749165" y="485963"/>
                  <a:pt x="4744085" y="534224"/>
                  <a:pt x="4774565" y="534224"/>
                </a:cubicBezTo>
                <a:cubicBezTo>
                  <a:pt x="4798695" y="534859"/>
                  <a:pt x="4803775" y="497394"/>
                  <a:pt x="4779010" y="492313"/>
                </a:cubicBezTo>
                <a:close/>
                <a:moveTo>
                  <a:pt x="4747260" y="685354"/>
                </a:moveTo>
                <a:cubicBezTo>
                  <a:pt x="4770755" y="687894"/>
                  <a:pt x="4774565" y="651063"/>
                  <a:pt x="4750435" y="648524"/>
                </a:cubicBezTo>
                <a:cubicBezTo>
                  <a:pt x="4726940" y="645984"/>
                  <a:pt x="4723765" y="683449"/>
                  <a:pt x="4747260" y="685354"/>
                </a:cubicBezTo>
                <a:close/>
                <a:moveTo>
                  <a:pt x="4968875" y="545019"/>
                </a:moveTo>
                <a:cubicBezTo>
                  <a:pt x="4942840" y="536129"/>
                  <a:pt x="4929505" y="576769"/>
                  <a:pt x="4955540" y="585024"/>
                </a:cubicBezTo>
                <a:cubicBezTo>
                  <a:pt x="4980940" y="594549"/>
                  <a:pt x="4994910" y="553274"/>
                  <a:pt x="4968875" y="545019"/>
                </a:cubicBezTo>
                <a:close/>
                <a:moveTo>
                  <a:pt x="5702300" y="1018094"/>
                </a:moveTo>
                <a:cubicBezTo>
                  <a:pt x="5678170" y="1018729"/>
                  <a:pt x="5671185" y="1054288"/>
                  <a:pt x="5693410" y="1063813"/>
                </a:cubicBezTo>
                <a:cubicBezTo>
                  <a:pt x="5691505" y="1087309"/>
                  <a:pt x="5729605" y="1080959"/>
                  <a:pt x="5720080" y="1059369"/>
                </a:cubicBezTo>
                <a:cubicBezTo>
                  <a:pt x="5726430" y="1053654"/>
                  <a:pt x="5728335" y="1045399"/>
                  <a:pt x="5727065" y="1037779"/>
                </a:cubicBezTo>
                <a:cubicBezTo>
                  <a:pt x="5749925" y="1050479"/>
                  <a:pt x="5772150" y="1016824"/>
                  <a:pt x="5751830" y="1000313"/>
                </a:cubicBezTo>
                <a:cubicBezTo>
                  <a:pt x="5748655" y="997774"/>
                  <a:pt x="5745480" y="996504"/>
                  <a:pt x="5741670" y="995869"/>
                </a:cubicBezTo>
                <a:cubicBezTo>
                  <a:pt x="5742305" y="995234"/>
                  <a:pt x="5742940" y="995234"/>
                  <a:pt x="5743575" y="994599"/>
                </a:cubicBezTo>
                <a:cubicBezTo>
                  <a:pt x="5780405" y="1020634"/>
                  <a:pt x="5788660" y="945704"/>
                  <a:pt x="5747385" y="962849"/>
                </a:cubicBezTo>
                <a:cubicBezTo>
                  <a:pt x="5738495" y="939988"/>
                  <a:pt x="5709285" y="952054"/>
                  <a:pt x="5710555" y="973644"/>
                </a:cubicBezTo>
                <a:cubicBezTo>
                  <a:pt x="5701030" y="981263"/>
                  <a:pt x="5702935" y="997774"/>
                  <a:pt x="5715000" y="1002219"/>
                </a:cubicBezTo>
                <a:lnTo>
                  <a:pt x="5715000" y="1002219"/>
                </a:lnTo>
                <a:cubicBezTo>
                  <a:pt x="5716905" y="1002854"/>
                  <a:pt x="5718810" y="1003488"/>
                  <a:pt x="5720715" y="1003488"/>
                </a:cubicBezTo>
                <a:cubicBezTo>
                  <a:pt x="5720080" y="1004124"/>
                  <a:pt x="5719445" y="1005394"/>
                  <a:pt x="5718810" y="1006029"/>
                </a:cubicBezTo>
                <a:cubicBezTo>
                  <a:pt x="5711190" y="1004759"/>
                  <a:pt x="5703570" y="1010474"/>
                  <a:pt x="5702300" y="1018094"/>
                </a:cubicBezTo>
                <a:close/>
                <a:moveTo>
                  <a:pt x="5913755" y="1172399"/>
                </a:moveTo>
                <a:cubicBezTo>
                  <a:pt x="5908675" y="1188274"/>
                  <a:pt x="5934075" y="1195259"/>
                  <a:pt x="5937885" y="1179384"/>
                </a:cubicBezTo>
                <a:cubicBezTo>
                  <a:pt x="5942965" y="1163509"/>
                  <a:pt x="5918200" y="1156524"/>
                  <a:pt x="5913755" y="1172399"/>
                </a:cubicBezTo>
                <a:close/>
                <a:moveTo>
                  <a:pt x="5773420" y="1040319"/>
                </a:moveTo>
                <a:cubicBezTo>
                  <a:pt x="5767070" y="1056829"/>
                  <a:pt x="5791200" y="1069529"/>
                  <a:pt x="5800725" y="1054288"/>
                </a:cubicBezTo>
                <a:cubicBezTo>
                  <a:pt x="5809615" y="1058099"/>
                  <a:pt x="5821045" y="1055559"/>
                  <a:pt x="5826760" y="1046669"/>
                </a:cubicBezTo>
                <a:cubicBezTo>
                  <a:pt x="5864225" y="1058734"/>
                  <a:pt x="5859145" y="993329"/>
                  <a:pt x="5824220" y="1011744"/>
                </a:cubicBezTo>
                <a:cubicBezTo>
                  <a:pt x="5829935" y="990154"/>
                  <a:pt x="5795645" y="979994"/>
                  <a:pt x="5789295" y="1001584"/>
                </a:cubicBezTo>
                <a:cubicBezTo>
                  <a:pt x="5777230" y="1005394"/>
                  <a:pt x="5774690" y="1023174"/>
                  <a:pt x="5784850" y="1030794"/>
                </a:cubicBezTo>
                <a:cubicBezTo>
                  <a:pt x="5779770" y="1032063"/>
                  <a:pt x="5775325" y="1035238"/>
                  <a:pt x="5773420" y="1040319"/>
                </a:cubicBezTo>
                <a:close/>
                <a:moveTo>
                  <a:pt x="5259070" y="753299"/>
                </a:moveTo>
                <a:cubicBezTo>
                  <a:pt x="5236210" y="745679"/>
                  <a:pt x="5225415" y="781874"/>
                  <a:pt x="5248275" y="788224"/>
                </a:cubicBezTo>
                <a:cubicBezTo>
                  <a:pt x="5270500" y="795844"/>
                  <a:pt x="5281930" y="759649"/>
                  <a:pt x="5259070" y="753299"/>
                </a:cubicBezTo>
                <a:close/>
                <a:moveTo>
                  <a:pt x="5250180" y="720279"/>
                </a:moveTo>
                <a:cubicBezTo>
                  <a:pt x="5241925" y="739329"/>
                  <a:pt x="5268595" y="757109"/>
                  <a:pt x="5282565" y="741234"/>
                </a:cubicBezTo>
                <a:cubicBezTo>
                  <a:pt x="5292090" y="759649"/>
                  <a:pt x="5321300" y="757744"/>
                  <a:pt x="5328285" y="738059"/>
                </a:cubicBezTo>
                <a:cubicBezTo>
                  <a:pt x="5358130" y="724724"/>
                  <a:pt x="5347970" y="674559"/>
                  <a:pt x="5313045" y="690434"/>
                </a:cubicBezTo>
                <a:cubicBezTo>
                  <a:pt x="5309870" y="645984"/>
                  <a:pt x="5242560" y="675194"/>
                  <a:pt x="5272405" y="708213"/>
                </a:cubicBezTo>
                <a:cubicBezTo>
                  <a:pt x="5263515" y="706309"/>
                  <a:pt x="5253990" y="710754"/>
                  <a:pt x="5250180" y="720279"/>
                </a:cubicBezTo>
                <a:close/>
                <a:moveTo>
                  <a:pt x="5283835" y="714563"/>
                </a:moveTo>
                <a:cubicBezTo>
                  <a:pt x="5283835" y="714563"/>
                  <a:pt x="5283835" y="714563"/>
                  <a:pt x="5283835" y="714563"/>
                </a:cubicBezTo>
                <a:cubicBezTo>
                  <a:pt x="5283835" y="714563"/>
                  <a:pt x="5283835" y="714563"/>
                  <a:pt x="5283835" y="714563"/>
                </a:cubicBezTo>
                <a:cubicBezTo>
                  <a:pt x="5283835" y="714563"/>
                  <a:pt x="5283835" y="714563"/>
                  <a:pt x="5283835" y="714563"/>
                </a:cubicBezTo>
                <a:close/>
                <a:moveTo>
                  <a:pt x="6687185" y="1559749"/>
                </a:moveTo>
                <a:cubicBezTo>
                  <a:pt x="6705600" y="1571813"/>
                  <a:pt x="6724015" y="1542604"/>
                  <a:pt x="6705600" y="1531174"/>
                </a:cubicBezTo>
                <a:cubicBezTo>
                  <a:pt x="6687185" y="1519109"/>
                  <a:pt x="6668770" y="1548319"/>
                  <a:pt x="6687185" y="1559749"/>
                </a:cubicBezTo>
                <a:close/>
                <a:moveTo>
                  <a:pt x="6094095" y="1268919"/>
                </a:moveTo>
                <a:cubicBezTo>
                  <a:pt x="6075680" y="1289238"/>
                  <a:pt x="6108065" y="1317813"/>
                  <a:pt x="6125845" y="1296859"/>
                </a:cubicBezTo>
                <a:cubicBezTo>
                  <a:pt x="6144260" y="1276538"/>
                  <a:pt x="6111875" y="1247963"/>
                  <a:pt x="6094095" y="1268919"/>
                </a:cubicBezTo>
                <a:close/>
                <a:moveTo>
                  <a:pt x="5969000" y="1120963"/>
                </a:moveTo>
                <a:cubicBezTo>
                  <a:pt x="5965825" y="1125409"/>
                  <a:pt x="5965190" y="1129854"/>
                  <a:pt x="5965190" y="1134934"/>
                </a:cubicBezTo>
                <a:cubicBezTo>
                  <a:pt x="5965190" y="1134934"/>
                  <a:pt x="5964555" y="1134934"/>
                  <a:pt x="5964555" y="1134934"/>
                </a:cubicBezTo>
                <a:cubicBezTo>
                  <a:pt x="5904230" y="1138744"/>
                  <a:pt x="5973445" y="1214309"/>
                  <a:pt x="5982335" y="1154619"/>
                </a:cubicBezTo>
                <a:cubicBezTo>
                  <a:pt x="5982970" y="1153984"/>
                  <a:pt x="5983605" y="1153349"/>
                  <a:pt x="5983605" y="1152079"/>
                </a:cubicBezTo>
                <a:cubicBezTo>
                  <a:pt x="5990590" y="1152713"/>
                  <a:pt x="5998210" y="1148904"/>
                  <a:pt x="6001385" y="1142554"/>
                </a:cubicBezTo>
                <a:cubicBezTo>
                  <a:pt x="6003925" y="1141919"/>
                  <a:pt x="6005830" y="1140649"/>
                  <a:pt x="6007100" y="1138744"/>
                </a:cubicBezTo>
                <a:cubicBezTo>
                  <a:pt x="6008370" y="1138744"/>
                  <a:pt x="6009005" y="1139379"/>
                  <a:pt x="6009640" y="1139379"/>
                </a:cubicBezTo>
                <a:cubicBezTo>
                  <a:pt x="6019800" y="1185099"/>
                  <a:pt x="6074410" y="1127313"/>
                  <a:pt x="6028055" y="1119694"/>
                </a:cubicBezTo>
                <a:cubicBezTo>
                  <a:pt x="6026150" y="1105088"/>
                  <a:pt x="6005195" y="1100644"/>
                  <a:pt x="5997575" y="1112709"/>
                </a:cubicBezTo>
                <a:cubicBezTo>
                  <a:pt x="5995035" y="1112709"/>
                  <a:pt x="5992495" y="1112709"/>
                  <a:pt x="5990590" y="1113344"/>
                </a:cubicBezTo>
                <a:cubicBezTo>
                  <a:pt x="5983605" y="1111438"/>
                  <a:pt x="5974715" y="1113979"/>
                  <a:pt x="5969000" y="1120963"/>
                </a:cubicBezTo>
                <a:close/>
                <a:moveTo>
                  <a:pt x="5852795" y="1057463"/>
                </a:moveTo>
                <a:cubicBezTo>
                  <a:pt x="5839460" y="1061909"/>
                  <a:pt x="5839460" y="1081594"/>
                  <a:pt x="5852795" y="1086674"/>
                </a:cubicBezTo>
                <a:lnTo>
                  <a:pt x="5852795" y="1086674"/>
                </a:lnTo>
                <a:cubicBezTo>
                  <a:pt x="5858510" y="1088579"/>
                  <a:pt x="5864860" y="1087309"/>
                  <a:pt x="5869305" y="1083499"/>
                </a:cubicBezTo>
                <a:cubicBezTo>
                  <a:pt x="5851525" y="1110804"/>
                  <a:pt x="5900420" y="1131759"/>
                  <a:pt x="5907405" y="1099374"/>
                </a:cubicBezTo>
                <a:cubicBezTo>
                  <a:pt x="5909310" y="1099374"/>
                  <a:pt x="5910580" y="1100009"/>
                  <a:pt x="5912485" y="1099374"/>
                </a:cubicBezTo>
                <a:cubicBezTo>
                  <a:pt x="5911215" y="1115884"/>
                  <a:pt x="5937250" y="1121599"/>
                  <a:pt x="5942330" y="1105088"/>
                </a:cubicBezTo>
                <a:cubicBezTo>
                  <a:pt x="5969000" y="1131759"/>
                  <a:pt x="5991225" y="1072704"/>
                  <a:pt x="5953760" y="1075244"/>
                </a:cubicBezTo>
                <a:cubicBezTo>
                  <a:pt x="5948045" y="1068259"/>
                  <a:pt x="5935980" y="1067624"/>
                  <a:pt x="5929630" y="1073974"/>
                </a:cubicBezTo>
                <a:cubicBezTo>
                  <a:pt x="5924550" y="1055559"/>
                  <a:pt x="5896610" y="1056194"/>
                  <a:pt x="5892165" y="1074609"/>
                </a:cubicBezTo>
                <a:cubicBezTo>
                  <a:pt x="5885180" y="1072704"/>
                  <a:pt x="5876925" y="1075244"/>
                  <a:pt x="5871845" y="1080324"/>
                </a:cubicBezTo>
                <a:cubicBezTo>
                  <a:pt x="5874385" y="1076513"/>
                  <a:pt x="5875020" y="1071434"/>
                  <a:pt x="5873750" y="1067624"/>
                </a:cubicBezTo>
                <a:cubicBezTo>
                  <a:pt x="5874385" y="1067624"/>
                  <a:pt x="5875020" y="1066988"/>
                  <a:pt x="5876290" y="1066354"/>
                </a:cubicBezTo>
                <a:cubicBezTo>
                  <a:pt x="5911850" y="1077784"/>
                  <a:pt x="5904865" y="1015554"/>
                  <a:pt x="5872480" y="1034604"/>
                </a:cubicBezTo>
                <a:cubicBezTo>
                  <a:pt x="5859145" y="1031429"/>
                  <a:pt x="5847080" y="1046034"/>
                  <a:pt x="5852795" y="1057463"/>
                </a:cubicBezTo>
                <a:close/>
                <a:moveTo>
                  <a:pt x="5097780" y="588834"/>
                </a:moveTo>
                <a:cubicBezTo>
                  <a:pt x="5099685" y="590104"/>
                  <a:pt x="5102225" y="590738"/>
                  <a:pt x="5104130" y="591374"/>
                </a:cubicBezTo>
                <a:cubicBezTo>
                  <a:pt x="5106670" y="600899"/>
                  <a:pt x="5116195" y="608519"/>
                  <a:pt x="5125720" y="609154"/>
                </a:cubicBezTo>
                <a:cubicBezTo>
                  <a:pt x="5126355" y="612963"/>
                  <a:pt x="5127625" y="616138"/>
                  <a:pt x="5130165" y="619313"/>
                </a:cubicBezTo>
                <a:cubicBezTo>
                  <a:pt x="5097145" y="659954"/>
                  <a:pt x="5184140" y="670749"/>
                  <a:pt x="5161915" y="623124"/>
                </a:cubicBezTo>
                <a:cubicBezTo>
                  <a:pt x="5176520" y="612329"/>
                  <a:pt x="5171440" y="587563"/>
                  <a:pt x="5153660" y="583754"/>
                </a:cubicBezTo>
                <a:cubicBezTo>
                  <a:pt x="5153660" y="572324"/>
                  <a:pt x="5144770" y="560894"/>
                  <a:pt x="5132705" y="558988"/>
                </a:cubicBezTo>
                <a:cubicBezTo>
                  <a:pt x="5114925" y="521524"/>
                  <a:pt x="5063490" y="565338"/>
                  <a:pt x="5097780" y="588834"/>
                </a:cubicBezTo>
                <a:close/>
                <a:moveTo>
                  <a:pt x="5106035" y="728534"/>
                </a:moveTo>
                <a:cubicBezTo>
                  <a:pt x="5111750" y="705674"/>
                  <a:pt x="5075555" y="696784"/>
                  <a:pt x="5070475" y="719644"/>
                </a:cubicBezTo>
                <a:cubicBezTo>
                  <a:pt x="5064125" y="743138"/>
                  <a:pt x="5100320" y="752029"/>
                  <a:pt x="5106035" y="728534"/>
                </a:cubicBezTo>
                <a:close/>
                <a:moveTo>
                  <a:pt x="5111115" y="779969"/>
                </a:moveTo>
                <a:cubicBezTo>
                  <a:pt x="5102225" y="778063"/>
                  <a:pt x="5092700" y="783779"/>
                  <a:pt x="5091430" y="793304"/>
                </a:cubicBezTo>
                <a:cubicBezTo>
                  <a:pt x="5090160" y="837754"/>
                  <a:pt x="5152390" y="795844"/>
                  <a:pt x="5111115" y="779969"/>
                </a:cubicBezTo>
                <a:close/>
                <a:moveTo>
                  <a:pt x="5090160" y="684084"/>
                </a:moveTo>
                <a:lnTo>
                  <a:pt x="5090160" y="684084"/>
                </a:lnTo>
                <a:cubicBezTo>
                  <a:pt x="5114290" y="692338"/>
                  <a:pt x="5126990" y="653604"/>
                  <a:pt x="5102225" y="646619"/>
                </a:cubicBezTo>
                <a:cubicBezTo>
                  <a:pt x="5078095" y="638363"/>
                  <a:pt x="5065395" y="677099"/>
                  <a:pt x="5090160" y="684084"/>
                </a:cubicBezTo>
                <a:close/>
                <a:moveTo>
                  <a:pt x="5182870" y="714563"/>
                </a:moveTo>
                <a:cubicBezTo>
                  <a:pt x="5204460" y="715199"/>
                  <a:pt x="5210175" y="682813"/>
                  <a:pt x="5189220" y="676463"/>
                </a:cubicBezTo>
                <a:cubicBezTo>
                  <a:pt x="5161280" y="666304"/>
                  <a:pt x="5153025" y="714563"/>
                  <a:pt x="5182870" y="714563"/>
                </a:cubicBezTo>
                <a:close/>
                <a:moveTo>
                  <a:pt x="5153660" y="741234"/>
                </a:moveTo>
                <a:cubicBezTo>
                  <a:pt x="5146675" y="764094"/>
                  <a:pt x="5182870" y="774254"/>
                  <a:pt x="5189220" y="750759"/>
                </a:cubicBezTo>
                <a:cubicBezTo>
                  <a:pt x="5195570" y="728534"/>
                  <a:pt x="5159375" y="718374"/>
                  <a:pt x="5153660" y="741234"/>
                </a:cubicBezTo>
                <a:close/>
                <a:moveTo>
                  <a:pt x="5187315" y="647888"/>
                </a:moveTo>
                <a:cubicBezTo>
                  <a:pt x="5189220" y="649159"/>
                  <a:pt x="5190490" y="649794"/>
                  <a:pt x="5192395" y="650429"/>
                </a:cubicBezTo>
                <a:cubicBezTo>
                  <a:pt x="5189855" y="663129"/>
                  <a:pt x="5198745" y="677099"/>
                  <a:pt x="5211445" y="679638"/>
                </a:cubicBezTo>
                <a:cubicBezTo>
                  <a:pt x="5216525" y="705674"/>
                  <a:pt x="5257800" y="698054"/>
                  <a:pt x="5252720" y="672019"/>
                </a:cubicBezTo>
                <a:cubicBezTo>
                  <a:pt x="5268595" y="656779"/>
                  <a:pt x="5252085" y="628204"/>
                  <a:pt x="5231130" y="634554"/>
                </a:cubicBezTo>
                <a:cubicBezTo>
                  <a:pt x="5229225" y="633284"/>
                  <a:pt x="5226685" y="632013"/>
                  <a:pt x="5224145" y="631379"/>
                </a:cubicBezTo>
                <a:cubicBezTo>
                  <a:pt x="5225415" y="579944"/>
                  <a:pt x="5147945" y="615504"/>
                  <a:pt x="5187315" y="647888"/>
                </a:cubicBezTo>
                <a:close/>
                <a:moveTo>
                  <a:pt x="5182870" y="829499"/>
                </a:moveTo>
                <a:cubicBezTo>
                  <a:pt x="5203825" y="834579"/>
                  <a:pt x="5212080" y="800924"/>
                  <a:pt x="5190490" y="796479"/>
                </a:cubicBezTo>
                <a:cubicBezTo>
                  <a:pt x="5168900" y="791399"/>
                  <a:pt x="5161280" y="825054"/>
                  <a:pt x="5182870" y="829499"/>
                </a:cubicBezTo>
                <a:close/>
                <a:moveTo>
                  <a:pt x="4922520" y="671384"/>
                </a:moveTo>
                <a:cubicBezTo>
                  <a:pt x="4899025" y="666938"/>
                  <a:pt x="4892675" y="703769"/>
                  <a:pt x="4916170" y="707579"/>
                </a:cubicBezTo>
                <a:cubicBezTo>
                  <a:pt x="4939665" y="712024"/>
                  <a:pt x="4946015" y="675194"/>
                  <a:pt x="4922520" y="671384"/>
                </a:cubicBezTo>
                <a:close/>
                <a:moveTo>
                  <a:pt x="7166610" y="1664524"/>
                </a:moveTo>
                <a:cubicBezTo>
                  <a:pt x="7181850" y="1670874"/>
                  <a:pt x="7191375" y="1646744"/>
                  <a:pt x="7175500" y="1641029"/>
                </a:cubicBezTo>
                <a:cubicBezTo>
                  <a:pt x="7160260" y="1634679"/>
                  <a:pt x="7150735" y="1658809"/>
                  <a:pt x="7166610" y="1664524"/>
                </a:cubicBezTo>
                <a:close/>
                <a:moveTo>
                  <a:pt x="7169150" y="1755963"/>
                </a:moveTo>
                <a:cubicBezTo>
                  <a:pt x="7159625" y="1773744"/>
                  <a:pt x="7188200" y="1788349"/>
                  <a:pt x="7197090" y="1769934"/>
                </a:cubicBezTo>
                <a:cubicBezTo>
                  <a:pt x="7206615" y="1752154"/>
                  <a:pt x="7178040" y="1737549"/>
                  <a:pt x="7169150" y="1755963"/>
                </a:cubicBezTo>
                <a:close/>
                <a:moveTo>
                  <a:pt x="7186295" y="1822638"/>
                </a:moveTo>
                <a:cubicBezTo>
                  <a:pt x="7167245" y="1811844"/>
                  <a:pt x="7150100" y="1841688"/>
                  <a:pt x="7169785" y="1851849"/>
                </a:cubicBezTo>
                <a:cubicBezTo>
                  <a:pt x="7188835" y="1862644"/>
                  <a:pt x="7205981" y="1832799"/>
                  <a:pt x="7186295" y="1822638"/>
                </a:cubicBezTo>
                <a:close/>
                <a:moveTo>
                  <a:pt x="7157720" y="1705799"/>
                </a:moveTo>
                <a:cubicBezTo>
                  <a:pt x="7174231" y="1713419"/>
                  <a:pt x="7186295" y="1687384"/>
                  <a:pt x="7169150" y="1679763"/>
                </a:cubicBezTo>
                <a:cubicBezTo>
                  <a:pt x="7152640" y="1672779"/>
                  <a:pt x="7140575" y="1698813"/>
                  <a:pt x="7157720" y="1705799"/>
                </a:cubicBezTo>
                <a:close/>
                <a:moveTo>
                  <a:pt x="7122795" y="1806129"/>
                </a:moveTo>
                <a:cubicBezTo>
                  <a:pt x="7134225" y="1787079"/>
                  <a:pt x="7104381" y="1769934"/>
                  <a:pt x="7093585" y="1788984"/>
                </a:cubicBezTo>
                <a:cubicBezTo>
                  <a:pt x="7082156" y="1808034"/>
                  <a:pt x="7112000" y="1825179"/>
                  <a:pt x="7122795" y="1806129"/>
                </a:cubicBezTo>
                <a:close/>
                <a:moveTo>
                  <a:pt x="7221220" y="2085529"/>
                </a:moveTo>
                <a:cubicBezTo>
                  <a:pt x="7242810" y="2099499"/>
                  <a:pt x="7264400" y="2065209"/>
                  <a:pt x="7242175" y="2051874"/>
                </a:cubicBezTo>
                <a:cubicBezTo>
                  <a:pt x="7221220" y="2038538"/>
                  <a:pt x="7199631" y="2072194"/>
                  <a:pt x="7221220" y="2085529"/>
                </a:cubicBezTo>
                <a:close/>
                <a:moveTo>
                  <a:pt x="7115175" y="2261424"/>
                </a:moveTo>
                <a:cubicBezTo>
                  <a:pt x="7138670" y="2278569"/>
                  <a:pt x="7165340" y="2241104"/>
                  <a:pt x="7141210" y="2224594"/>
                </a:cubicBezTo>
                <a:cubicBezTo>
                  <a:pt x="7117715" y="2207449"/>
                  <a:pt x="7091045" y="2244914"/>
                  <a:pt x="7115175" y="2261424"/>
                </a:cubicBezTo>
                <a:close/>
                <a:moveTo>
                  <a:pt x="7193915" y="2288729"/>
                </a:moveTo>
                <a:cubicBezTo>
                  <a:pt x="7169785" y="2342704"/>
                  <a:pt x="7268210" y="2323654"/>
                  <a:pt x="7225031" y="2282379"/>
                </a:cubicBezTo>
                <a:cubicBezTo>
                  <a:pt x="7225031" y="2282379"/>
                  <a:pt x="7225031" y="2282379"/>
                  <a:pt x="7225031" y="2282379"/>
                </a:cubicBezTo>
                <a:cubicBezTo>
                  <a:pt x="7214870" y="2276029"/>
                  <a:pt x="7200900" y="2278569"/>
                  <a:pt x="7193915" y="2288729"/>
                </a:cubicBezTo>
                <a:close/>
                <a:moveTo>
                  <a:pt x="7154545" y="1935669"/>
                </a:moveTo>
                <a:cubicBezTo>
                  <a:pt x="7174231" y="1948369"/>
                  <a:pt x="7193915" y="1916619"/>
                  <a:pt x="7173595" y="1904554"/>
                </a:cubicBezTo>
                <a:cubicBezTo>
                  <a:pt x="7153275" y="1891854"/>
                  <a:pt x="7133590" y="1923604"/>
                  <a:pt x="7154545" y="1935669"/>
                </a:cubicBezTo>
                <a:close/>
                <a:moveTo>
                  <a:pt x="7154545" y="2161094"/>
                </a:moveTo>
                <a:cubicBezTo>
                  <a:pt x="7176770" y="2176969"/>
                  <a:pt x="7201535" y="2141409"/>
                  <a:pt x="7178040" y="2126169"/>
                </a:cubicBezTo>
                <a:cubicBezTo>
                  <a:pt x="7155815" y="2110294"/>
                  <a:pt x="7131050" y="2146489"/>
                  <a:pt x="7154545" y="2161094"/>
                </a:cubicBezTo>
                <a:close/>
                <a:moveTo>
                  <a:pt x="6860540" y="1573719"/>
                </a:moveTo>
                <a:cubicBezTo>
                  <a:pt x="6852920" y="1569274"/>
                  <a:pt x="6843395" y="1572449"/>
                  <a:pt x="6839585" y="1579434"/>
                </a:cubicBezTo>
                <a:cubicBezTo>
                  <a:pt x="6826250" y="1618169"/>
                  <a:pt x="6892290" y="1599119"/>
                  <a:pt x="6860540" y="1573719"/>
                </a:cubicBezTo>
                <a:close/>
                <a:moveTo>
                  <a:pt x="6859270" y="1722944"/>
                </a:moveTo>
                <a:cubicBezTo>
                  <a:pt x="6845935" y="1742629"/>
                  <a:pt x="6876415" y="1763584"/>
                  <a:pt x="6889750" y="1743263"/>
                </a:cubicBezTo>
                <a:cubicBezTo>
                  <a:pt x="6903720" y="1724213"/>
                  <a:pt x="6872606" y="1703259"/>
                  <a:pt x="6859270" y="1722944"/>
                </a:cubicBezTo>
                <a:close/>
                <a:moveTo>
                  <a:pt x="6837681" y="1797874"/>
                </a:moveTo>
                <a:cubicBezTo>
                  <a:pt x="6814820" y="1844229"/>
                  <a:pt x="6901181" y="1830894"/>
                  <a:pt x="6865620" y="1793429"/>
                </a:cubicBezTo>
                <a:cubicBezTo>
                  <a:pt x="6865620" y="1793429"/>
                  <a:pt x="6865620" y="1793429"/>
                  <a:pt x="6865620" y="1793429"/>
                </a:cubicBezTo>
                <a:cubicBezTo>
                  <a:pt x="6856731" y="1787079"/>
                  <a:pt x="6844031" y="1788984"/>
                  <a:pt x="6837681" y="1797874"/>
                </a:cubicBezTo>
                <a:close/>
                <a:moveTo>
                  <a:pt x="6838950" y="1929954"/>
                </a:moveTo>
                <a:lnTo>
                  <a:pt x="6838950" y="1929954"/>
                </a:lnTo>
                <a:cubicBezTo>
                  <a:pt x="6860540" y="1947099"/>
                  <a:pt x="6887210" y="1913444"/>
                  <a:pt x="6864985" y="1896299"/>
                </a:cubicBezTo>
                <a:cubicBezTo>
                  <a:pt x="6844031" y="1879154"/>
                  <a:pt x="6817360" y="1913444"/>
                  <a:pt x="6838950" y="1929954"/>
                </a:cubicBezTo>
                <a:close/>
                <a:moveTo>
                  <a:pt x="7094856" y="1677224"/>
                </a:moveTo>
                <a:cubicBezTo>
                  <a:pt x="7111365" y="1684844"/>
                  <a:pt x="7123431" y="1658809"/>
                  <a:pt x="7106920" y="1651824"/>
                </a:cubicBezTo>
                <a:cubicBezTo>
                  <a:pt x="7089775" y="1643569"/>
                  <a:pt x="7077710" y="1669604"/>
                  <a:pt x="7094856" y="1677224"/>
                </a:cubicBezTo>
                <a:close/>
                <a:moveTo>
                  <a:pt x="7106920" y="1641029"/>
                </a:moveTo>
                <a:cubicBezTo>
                  <a:pt x="7122160" y="1647379"/>
                  <a:pt x="7131685" y="1623249"/>
                  <a:pt x="7116445" y="1617534"/>
                </a:cubicBezTo>
                <a:cubicBezTo>
                  <a:pt x="7101206" y="1611184"/>
                  <a:pt x="7091681" y="1635313"/>
                  <a:pt x="7106920" y="1641029"/>
                </a:cubicBezTo>
                <a:close/>
                <a:moveTo>
                  <a:pt x="7080885" y="1890584"/>
                </a:moveTo>
                <a:cubicBezTo>
                  <a:pt x="7100570" y="1903919"/>
                  <a:pt x="7120890" y="1872169"/>
                  <a:pt x="7100570" y="1859469"/>
                </a:cubicBezTo>
                <a:cubicBezTo>
                  <a:pt x="7080885" y="1846134"/>
                  <a:pt x="7060565" y="1877884"/>
                  <a:pt x="7080885" y="1890584"/>
                </a:cubicBezTo>
                <a:close/>
                <a:moveTo>
                  <a:pt x="7102475" y="1721674"/>
                </a:moveTo>
                <a:cubicBezTo>
                  <a:pt x="7092950" y="1739454"/>
                  <a:pt x="7120890" y="1754059"/>
                  <a:pt x="7129781" y="1735644"/>
                </a:cubicBezTo>
                <a:cubicBezTo>
                  <a:pt x="7139940" y="1718499"/>
                  <a:pt x="7112000" y="1703894"/>
                  <a:pt x="7102475" y="1721674"/>
                </a:cubicBezTo>
                <a:close/>
                <a:moveTo>
                  <a:pt x="7143750" y="2035999"/>
                </a:moveTo>
                <a:cubicBezTo>
                  <a:pt x="7164706" y="2050604"/>
                  <a:pt x="7186931" y="2016949"/>
                  <a:pt x="7165340" y="2002979"/>
                </a:cubicBezTo>
                <a:cubicBezTo>
                  <a:pt x="7144385" y="1988374"/>
                  <a:pt x="7122160" y="2022663"/>
                  <a:pt x="7143750" y="2035999"/>
                </a:cubicBezTo>
                <a:close/>
                <a:moveTo>
                  <a:pt x="7221856" y="1955354"/>
                </a:moveTo>
                <a:cubicBezTo>
                  <a:pt x="7209790" y="1975674"/>
                  <a:pt x="7241540" y="1994724"/>
                  <a:pt x="7253606" y="1973769"/>
                </a:cubicBezTo>
                <a:cubicBezTo>
                  <a:pt x="7265670" y="1953449"/>
                  <a:pt x="7233920" y="1934399"/>
                  <a:pt x="7221856" y="1955354"/>
                </a:cubicBezTo>
                <a:close/>
                <a:moveTo>
                  <a:pt x="7320915" y="1991549"/>
                </a:moveTo>
                <a:cubicBezTo>
                  <a:pt x="7300595" y="1979484"/>
                  <a:pt x="7282181" y="2011869"/>
                  <a:pt x="7303135" y="2023299"/>
                </a:cubicBezTo>
                <a:cubicBezTo>
                  <a:pt x="7323456" y="2035999"/>
                  <a:pt x="7341870" y="2003613"/>
                  <a:pt x="7320915" y="1991549"/>
                </a:cubicBezTo>
                <a:close/>
                <a:moveTo>
                  <a:pt x="7345045" y="1731199"/>
                </a:moveTo>
                <a:cubicBezTo>
                  <a:pt x="7360285" y="1736913"/>
                  <a:pt x="7369175" y="1712784"/>
                  <a:pt x="7353300" y="1707069"/>
                </a:cubicBezTo>
                <a:cubicBezTo>
                  <a:pt x="7338060" y="1701354"/>
                  <a:pt x="7329806" y="1726119"/>
                  <a:pt x="7345045" y="1731199"/>
                </a:cubicBezTo>
                <a:close/>
                <a:moveTo>
                  <a:pt x="7378700" y="2065844"/>
                </a:moveTo>
                <a:cubicBezTo>
                  <a:pt x="7399020" y="2077274"/>
                  <a:pt x="7417435" y="2044888"/>
                  <a:pt x="7396481" y="2033459"/>
                </a:cubicBezTo>
                <a:cubicBezTo>
                  <a:pt x="7375525" y="2022029"/>
                  <a:pt x="7357745" y="2054413"/>
                  <a:pt x="7378700" y="2065844"/>
                </a:cubicBezTo>
                <a:close/>
                <a:moveTo>
                  <a:pt x="7299960" y="2133789"/>
                </a:moveTo>
                <a:lnTo>
                  <a:pt x="7299960" y="2133789"/>
                </a:lnTo>
                <a:cubicBezTo>
                  <a:pt x="7309485" y="2139504"/>
                  <a:pt x="7321550" y="2136329"/>
                  <a:pt x="7327265" y="2126804"/>
                </a:cubicBezTo>
                <a:cubicBezTo>
                  <a:pt x="7345681" y="2078544"/>
                  <a:pt x="7260590" y="2100134"/>
                  <a:pt x="7299960" y="2133789"/>
                </a:cubicBezTo>
                <a:close/>
                <a:moveTo>
                  <a:pt x="7383781" y="1965513"/>
                </a:moveTo>
                <a:cubicBezTo>
                  <a:pt x="7402831" y="1975674"/>
                  <a:pt x="7418706" y="1945194"/>
                  <a:pt x="7399020" y="1935034"/>
                </a:cubicBezTo>
                <a:cubicBezTo>
                  <a:pt x="7379335" y="1925509"/>
                  <a:pt x="7364095" y="1955988"/>
                  <a:pt x="7383781" y="1965513"/>
                </a:cubicBezTo>
                <a:close/>
                <a:moveTo>
                  <a:pt x="7334885" y="1921699"/>
                </a:moveTo>
                <a:cubicBezTo>
                  <a:pt x="7345045" y="1902649"/>
                  <a:pt x="7314565" y="1886138"/>
                  <a:pt x="7305040" y="1905824"/>
                </a:cubicBezTo>
                <a:cubicBezTo>
                  <a:pt x="7294245" y="1925509"/>
                  <a:pt x="7324725" y="1941384"/>
                  <a:pt x="7334885" y="1921699"/>
                </a:cubicBezTo>
                <a:close/>
                <a:moveTo>
                  <a:pt x="7367270" y="2400489"/>
                </a:moveTo>
                <a:cubicBezTo>
                  <a:pt x="7352031" y="2425254"/>
                  <a:pt x="7391400" y="2448749"/>
                  <a:pt x="7406006" y="2423349"/>
                </a:cubicBezTo>
                <a:cubicBezTo>
                  <a:pt x="7421245" y="2398584"/>
                  <a:pt x="7381875" y="2375089"/>
                  <a:pt x="7367270" y="2400489"/>
                </a:cubicBezTo>
                <a:close/>
                <a:moveTo>
                  <a:pt x="7378700" y="1874709"/>
                </a:moveTo>
                <a:cubicBezTo>
                  <a:pt x="7396481" y="1883599"/>
                  <a:pt x="7410450" y="1854388"/>
                  <a:pt x="7391400" y="1846134"/>
                </a:cubicBezTo>
                <a:cubicBezTo>
                  <a:pt x="7373620" y="1837879"/>
                  <a:pt x="7360285" y="1866454"/>
                  <a:pt x="7378700" y="1874709"/>
                </a:cubicBezTo>
                <a:close/>
                <a:moveTo>
                  <a:pt x="7404735" y="1752788"/>
                </a:moveTo>
                <a:cubicBezTo>
                  <a:pt x="7419975" y="1758504"/>
                  <a:pt x="7428865" y="1734374"/>
                  <a:pt x="7412990" y="1728659"/>
                </a:cubicBezTo>
                <a:cubicBezTo>
                  <a:pt x="7397750" y="1722944"/>
                  <a:pt x="7389495" y="1747074"/>
                  <a:pt x="7404735" y="1752788"/>
                </a:cubicBezTo>
                <a:close/>
                <a:moveTo>
                  <a:pt x="1226820" y="2274124"/>
                </a:moveTo>
                <a:cubicBezTo>
                  <a:pt x="1200785" y="2284284"/>
                  <a:pt x="1217295" y="2324289"/>
                  <a:pt x="1242695" y="2313494"/>
                </a:cubicBezTo>
                <a:cubicBezTo>
                  <a:pt x="1268095" y="2303969"/>
                  <a:pt x="1252220" y="2263964"/>
                  <a:pt x="1226820" y="2274124"/>
                </a:cubicBezTo>
                <a:close/>
                <a:moveTo>
                  <a:pt x="7263765" y="1884234"/>
                </a:moveTo>
                <a:cubicBezTo>
                  <a:pt x="7274560" y="1865184"/>
                  <a:pt x="7244081" y="1848674"/>
                  <a:pt x="7233920" y="1868359"/>
                </a:cubicBezTo>
                <a:cubicBezTo>
                  <a:pt x="7223125" y="1886774"/>
                  <a:pt x="7253606" y="1903284"/>
                  <a:pt x="7263765" y="1884234"/>
                </a:cubicBezTo>
                <a:close/>
                <a:moveTo>
                  <a:pt x="7236460" y="1789619"/>
                </a:moveTo>
                <a:cubicBezTo>
                  <a:pt x="7227570" y="1807399"/>
                  <a:pt x="7255510" y="1821369"/>
                  <a:pt x="7264400" y="1803588"/>
                </a:cubicBezTo>
                <a:cubicBezTo>
                  <a:pt x="7273290" y="1785174"/>
                  <a:pt x="7244715" y="1771204"/>
                  <a:pt x="7236460" y="1789619"/>
                </a:cubicBezTo>
                <a:close/>
                <a:moveTo>
                  <a:pt x="7220585" y="1734374"/>
                </a:moveTo>
                <a:cubicBezTo>
                  <a:pt x="7284085" y="1724213"/>
                  <a:pt x="7185025" y="1681034"/>
                  <a:pt x="7220585" y="1734374"/>
                </a:cubicBezTo>
                <a:lnTo>
                  <a:pt x="7220585" y="1734374"/>
                </a:lnTo>
                <a:close/>
                <a:moveTo>
                  <a:pt x="7225665" y="1687384"/>
                </a:moveTo>
                <a:cubicBezTo>
                  <a:pt x="7240906" y="1693734"/>
                  <a:pt x="7250431" y="1668969"/>
                  <a:pt x="7234556" y="1663254"/>
                </a:cubicBezTo>
                <a:cubicBezTo>
                  <a:pt x="7219315" y="1657538"/>
                  <a:pt x="7210425" y="1681669"/>
                  <a:pt x="7225665" y="1687384"/>
                </a:cubicBezTo>
                <a:close/>
                <a:moveTo>
                  <a:pt x="7285356" y="1709609"/>
                </a:moveTo>
                <a:cubicBezTo>
                  <a:pt x="7300595" y="1715324"/>
                  <a:pt x="7309485" y="1691194"/>
                  <a:pt x="7294245" y="1685479"/>
                </a:cubicBezTo>
                <a:cubicBezTo>
                  <a:pt x="7279006" y="1679763"/>
                  <a:pt x="7270115" y="1703894"/>
                  <a:pt x="7285356" y="1709609"/>
                </a:cubicBezTo>
                <a:close/>
                <a:moveTo>
                  <a:pt x="7317740" y="2370009"/>
                </a:moveTo>
                <a:cubicBezTo>
                  <a:pt x="7333615" y="2345244"/>
                  <a:pt x="7294881" y="2321114"/>
                  <a:pt x="7279640" y="2345879"/>
                </a:cubicBezTo>
                <a:cubicBezTo>
                  <a:pt x="7263765" y="2370644"/>
                  <a:pt x="7302500" y="2395409"/>
                  <a:pt x="7317740" y="2370009"/>
                </a:cubicBezTo>
                <a:close/>
                <a:moveTo>
                  <a:pt x="7310756" y="1842959"/>
                </a:moveTo>
                <a:cubicBezTo>
                  <a:pt x="7328535" y="1851849"/>
                  <a:pt x="7342506" y="1823274"/>
                  <a:pt x="7324090" y="1815019"/>
                </a:cubicBezTo>
                <a:cubicBezTo>
                  <a:pt x="7306310" y="1806129"/>
                  <a:pt x="7292340" y="1834069"/>
                  <a:pt x="7310756" y="1842959"/>
                </a:cubicBezTo>
                <a:close/>
                <a:moveTo>
                  <a:pt x="7284720" y="1761679"/>
                </a:moveTo>
                <a:cubicBezTo>
                  <a:pt x="7301231" y="1769299"/>
                  <a:pt x="7312660" y="1742629"/>
                  <a:pt x="7295515" y="1735644"/>
                </a:cubicBezTo>
                <a:cubicBezTo>
                  <a:pt x="7279006" y="1728024"/>
                  <a:pt x="7267575" y="1754694"/>
                  <a:pt x="7284720" y="1761679"/>
                </a:cubicBezTo>
                <a:close/>
                <a:moveTo>
                  <a:pt x="6793231" y="1699449"/>
                </a:moveTo>
                <a:lnTo>
                  <a:pt x="6793231" y="1699449"/>
                </a:lnTo>
                <a:cubicBezTo>
                  <a:pt x="6837045" y="1719769"/>
                  <a:pt x="6822440" y="1639759"/>
                  <a:pt x="6788785" y="1674049"/>
                </a:cubicBezTo>
                <a:cubicBezTo>
                  <a:pt x="6782435" y="1682304"/>
                  <a:pt x="6784975" y="1693734"/>
                  <a:pt x="6793231" y="1699449"/>
                </a:cubicBezTo>
                <a:close/>
                <a:moveTo>
                  <a:pt x="6767831" y="1769934"/>
                </a:moveTo>
                <a:cubicBezTo>
                  <a:pt x="6788150" y="1785809"/>
                  <a:pt x="6812281" y="1753424"/>
                  <a:pt x="6791325" y="1738184"/>
                </a:cubicBezTo>
                <a:cubicBezTo>
                  <a:pt x="6771640" y="1722944"/>
                  <a:pt x="6747510" y="1755329"/>
                  <a:pt x="6767831" y="1769934"/>
                </a:cubicBezTo>
                <a:close/>
                <a:moveTo>
                  <a:pt x="6802756" y="2012504"/>
                </a:moveTo>
                <a:cubicBezTo>
                  <a:pt x="6823075" y="2013138"/>
                  <a:pt x="6833870" y="1985199"/>
                  <a:pt x="6817360" y="1972499"/>
                </a:cubicBezTo>
                <a:cubicBezTo>
                  <a:pt x="6784340" y="1947734"/>
                  <a:pt x="6762115" y="2010599"/>
                  <a:pt x="6802756" y="2012504"/>
                </a:cubicBezTo>
                <a:close/>
                <a:moveTo>
                  <a:pt x="6814185" y="1518474"/>
                </a:moveTo>
                <a:cubicBezTo>
                  <a:pt x="6829425" y="1525459"/>
                  <a:pt x="6839585" y="1501329"/>
                  <a:pt x="6824345" y="1494979"/>
                </a:cubicBezTo>
                <a:cubicBezTo>
                  <a:pt x="6809106" y="1487994"/>
                  <a:pt x="6798945" y="1512124"/>
                  <a:pt x="6814185" y="1518474"/>
                </a:cubicBezTo>
                <a:close/>
                <a:moveTo>
                  <a:pt x="6762750" y="1868994"/>
                </a:moveTo>
                <a:cubicBezTo>
                  <a:pt x="6783706" y="1886774"/>
                  <a:pt x="6811010" y="1853119"/>
                  <a:pt x="6789420" y="1835974"/>
                </a:cubicBezTo>
                <a:cubicBezTo>
                  <a:pt x="6767831" y="1818194"/>
                  <a:pt x="6740525" y="1852484"/>
                  <a:pt x="6762750" y="1868994"/>
                </a:cubicBezTo>
                <a:close/>
                <a:moveTo>
                  <a:pt x="6871970" y="1543874"/>
                </a:moveTo>
                <a:cubicBezTo>
                  <a:pt x="6886575" y="1550859"/>
                  <a:pt x="6897370" y="1526729"/>
                  <a:pt x="6882131" y="1520379"/>
                </a:cubicBezTo>
                <a:cubicBezTo>
                  <a:pt x="6867525" y="1513394"/>
                  <a:pt x="6856731" y="1537524"/>
                  <a:pt x="6871970" y="1543874"/>
                </a:cubicBezTo>
                <a:close/>
                <a:moveTo>
                  <a:pt x="6906895" y="1588324"/>
                </a:moveTo>
                <a:cubicBezTo>
                  <a:pt x="6922770" y="1596579"/>
                  <a:pt x="6936106" y="1570544"/>
                  <a:pt x="6918960" y="1562924"/>
                </a:cubicBezTo>
                <a:cubicBezTo>
                  <a:pt x="6903085" y="1554669"/>
                  <a:pt x="6890385" y="1580704"/>
                  <a:pt x="6906895" y="1588324"/>
                </a:cubicBezTo>
                <a:close/>
                <a:moveTo>
                  <a:pt x="6697981" y="1467038"/>
                </a:moveTo>
                <a:cubicBezTo>
                  <a:pt x="6712585" y="1474024"/>
                  <a:pt x="6723381" y="1449894"/>
                  <a:pt x="6708140" y="1443544"/>
                </a:cubicBezTo>
                <a:cubicBezTo>
                  <a:pt x="6692900" y="1437194"/>
                  <a:pt x="6682740" y="1460688"/>
                  <a:pt x="6697981" y="1467038"/>
                </a:cubicBezTo>
                <a:close/>
                <a:moveTo>
                  <a:pt x="6817995" y="1622613"/>
                </a:moveTo>
                <a:cubicBezTo>
                  <a:pt x="6805931" y="1641029"/>
                  <a:pt x="6835140" y="1659444"/>
                  <a:pt x="6846570" y="1640394"/>
                </a:cubicBezTo>
                <a:cubicBezTo>
                  <a:pt x="6858635" y="1621979"/>
                  <a:pt x="6829425" y="1604199"/>
                  <a:pt x="6817995" y="1622613"/>
                </a:cubicBezTo>
                <a:close/>
                <a:moveTo>
                  <a:pt x="6844665" y="1557844"/>
                </a:moveTo>
                <a:cubicBezTo>
                  <a:pt x="6860540" y="1566099"/>
                  <a:pt x="6873875" y="1540699"/>
                  <a:pt x="6857365" y="1532444"/>
                </a:cubicBezTo>
                <a:cubicBezTo>
                  <a:pt x="6840856" y="1524188"/>
                  <a:pt x="6828156" y="1549588"/>
                  <a:pt x="6844665" y="1557844"/>
                </a:cubicBezTo>
                <a:close/>
                <a:moveTo>
                  <a:pt x="6724015" y="1945829"/>
                </a:moveTo>
                <a:cubicBezTo>
                  <a:pt x="6744335" y="1946463"/>
                  <a:pt x="6754495" y="1919159"/>
                  <a:pt x="6738620" y="1905824"/>
                </a:cubicBezTo>
                <a:cubicBezTo>
                  <a:pt x="6706235" y="1880424"/>
                  <a:pt x="6682740" y="1943924"/>
                  <a:pt x="6724015" y="1945829"/>
                </a:cubicBezTo>
                <a:close/>
                <a:moveTo>
                  <a:pt x="6931025" y="1568638"/>
                </a:moveTo>
                <a:cubicBezTo>
                  <a:pt x="6946265" y="1574988"/>
                  <a:pt x="6956425" y="1551494"/>
                  <a:pt x="6941185" y="1545144"/>
                </a:cubicBezTo>
                <a:cubicBezTo>
                  <a:pt x="6925310" y="1538794"/>
                  <a:pt x="6915150" y="1562288"/>
                  <a:pt x="6931025" y="1568638"/>
                </a:cubicBezTo>
                <a:close/>
                <a:moveTo>
                  <a:pt x="6690995" y="1686749"/>
                </a:moveTo>
                <a:cubicBezTo>
                  <a:pt x="6666865" y="1732469"/>
                  <a:pt x="6753860" y="1721038"/>
                  <a:pt x="6718935" y="1682938"/>
                </a:cubicBezTo>
                <a:cubicBezTo>
                  <a:pt x="6718935" y="1682938"/>
                  <a:pt x="6718935" y="1682938"/>
                  <a:pt x="6718935" y="1682938"/>
                </a:cubicBezTo>
                <a:cubicBezTo>
                  <a:pt x="6710045" y="1676588"/>
                  <a:pt x="6697981" y="1678494"/>
                  <a:pt x="6690995" y="1686749"/>
                </a:cubicBezTo>
                <a:close/>
                <a:moveTo>
                  <a:pt x="6795770" y="1536888"/>
                </a:moveTo>
                <a:cubicBezTo>
                  <a:pt x="6778625" y="1526729"/>
                  <a:pt x="6762750" y="1554034"/>
                  <a:pt x="6780531" y="1564194"/>
                </a:cubicBezTo>
                <a:cubicBezTo>
                  <a:pt x="6797675" y="1574354"/>
                  <a:pt x="6813550" y="1546413"/>
                  <a:pt x="6795770" y="1536888"/>
                </a:cubicBezTo>
                <a:close/>
                <a:moveTo>
                  <a:pt x="6720840" y="1495613"/>
                </a:moveTo>
                <a:cubicBezTo>
                  <a:pt x="6736715" y="1503869"/>
                  <a:pt x="6750050" y="1478469"/>
                  <a:pt x="6733540" y="1470213"/>
                </a:cubicBezTo>
                <a:cubicBezTo>
                  <a:pt x="6717665" y="1461959"/>
                  <a:pt x="6704965" y="1487359"/>
                  <a:pt x="6720840" y="1495613"/>
                </a:cubicBezTo>
                <a:close/>
                <a:moveTo>
                  <a:pt x="6736715" y="1521013"/>
                </a:moveTo>
                <a:cubicBezTo>
                  <a:pt x="6746875" y="1503869"/>
                  <a:pt x="6719570" y="1487994"/>
                  <a:pt x="6710045" y="1505774"/>
                </a:cubicBezTo>
                <a:cubicBezTo>
                  <a:pt x="6699250" y="1522919"/>
                  <a:pt x="6726556" y="1538794"/>
                  <a:pt x="6736715" y="1521013"/>
                </a:cubicBezTo>
                <a:close/>
                <a:moveTo>
                  <a:pt x="6755765" y="1492438"/>
                </a:moveTo>
                <a:cubicBezTo>
                  <a:pt x="6770370" y="1499424"/>
                  <a:pt x="6781165" y="1475929"/>
                  <a:pt x="6765925" y="1468944"/>
                </a:cubicBezTo>
                <a:cubicBezTo>
                  <a:pt x="6751320" y="1462594"/>
                  <a:pt x="6740525" y="1486088"/>
                  <a:pt x="6755765" y="1492438"/>
                </a:cubicBezTo>
                <a:close/>
                <a:moveTo>
                  <a:pt x="6717665" y="1624519"/>
                </a:moveTo>
                <a:cubicBezTo>
                  <a:pt x="6703695" y="1643569"/>
                  <a:pt x="6734175" y="1665159"/>
                  <a:pt x="6747510" y="1645474"/>
                </a:cubicBezTo>
                <a:cubicBezTo>
                  <a:pt x="6761481" y="1626424"/>
                  <a:pt x="6731000" y="1604834"/>
                  <a:pt x="6717665" y="1624519"/>
                </a:cubicBezTo>
                <a:close/>
                <a:moveTo>
                  <a:pt x="6783070" y="1526729"/>
                </a:moveTo>
                <a:cubicBezTo>
                  <a:pt x="6798945" y="1534984"/>
                  <a:pt x="6812281" y="1509584"/>
                  <a:pt x="6795770" y="1501329"/>
                </a:cubicBezTo>
                <a:cubicBezTo>
                  <a:pt x="6779260" y="1493074"/>
                  <a:pt x="6766560" y="1519109"/>
                  <a:pt x="6783070" y="1526729"/>
                </a:cubicBezTo>
                <a:close/>
                <a:moveTo>
                  <a:pt x="6755131" y="1602929"/>
                </a:moveTo>
                <a:cubicBezTo>
                  <a:pt x="6773545" y="1614994"/>
                  <a:pt x="6791960" y="1585784"/>
                  <a:pt x="6773545" y="1574354"/>
                </a:cubicBezTo>
                <a:cubicBezTo>
                  <a:pt x="6755131" y="1562924"/>
                  <a:pt x="6736715" y="1591499"/>
                  <a:pt x="6755131" y="1602929"/>
                </a:cubicBezTo>
                <a:close/>
                <a:moveTo>
                  <a:pt x="6994525" y="2048063"/>
                </a:moveTo>
                <a:cubicBezTo>
                  <a:pt x="7016115" y="2064574"/>
                  <a:pt x="7042150" y="2029649"/>
                  <a:pt x="7019290" y="2013774"/>
                </a:cubicBezTo>
                <a:cubicBezTo>
                  <a:pt x="7019290" y="2013774"/>
                  <a:pt x="7019290" y="2013774"/>
                  <a:pt x="7019290" y="2013774"/>
                </a:cubicBezTo>
                <a:cubicBezTo>
                  <a:pt x="6997700" y="1997899"/>
                  <a:pt x="6972300" y="2032188"/>
                  <a:pt x="6994525" y="2048063"/>
                </a:cubicBezTo>
                <a:close/>
                <a:moveTo>
                  <a:pt x="6948806" y="2137599"/>
                </a:moveTo>
                <a:cubicBezTo>
                  <a:pt x="6971665" y="2156014"/>
                  <a:pt x="7000240" y="2119819"/>
                  <a:pt x="6976745" y="2102039"/>
                </a:cubicBezTo>
                <a:cubicBezTo>
                  <a:pt x="6953885" y="2083624"/>
                  <a:pt x="6925945" y="2119819"/>
                  <a:pt x="6948806" y="2137599"/>
                </a:cubicBezTo>
                <a:close/>
                <a:moveTo>
                  <a:pt x="6991350" y="1645474"/>
                </a:moveTo>
                <a:cubicBezTo>
                  <a:pt x="6983731" y="1641029"/>
                  <a:pt x="6974206" y="1644204"/>
                  <a:pt x="6970395" y="1651824"/>
                </a:cubicBezTo>
                <a:cubicBezTo>
                  <a:pt x="6957695" y="1690559"/>
                  <a:pt x="7023735" y="1670874"/>
                  <a:pt x="6991350" y="1645474"/>
                </a:cubicBezTo>
                <a:close/>
                <a:moveTo>
                  <a:pt x="6991350" y="1932494"/>
                </a:moveTo>
                <a:cubicBezTo>
                  <a:pt x="7012306" y="1947734"/>
                  <a:pt x="7035165" y="1914713"/>
                  <a:pt x="7014210" y="1900109"/>
                </a:cubicBezTo>
                <a:cubicBezTo>
                  <a:pt x="7014210" y="1900109"/>
                  <a:pt x="7014210" y="1900109"/>
                  <a:pt x="7014210" y="1900109"/>
                </a:cubicBezTo>
                <a:cubicBezTo>
                  <a:pt x="6993256" y="1885504"/>
                  <a:pt x="6970395" y="1918524"/>
                  <a:pt x="6991350" y="1932494"/>
                </a:cubicBezTo>
                <a:close/>
                <a:moveTo>
                  <a:pt x="6915150" y="1682938"/>
                </a:moveTo>
                <a:cubicBezTo>
                  <a:pt x="6927215" y="1664524"/>
                  <a:pt x="6897370" y="1646109"/>
                  <a:pt x="6886575" y="1665159"/>
                </a:cubicBezTo>
                <a:cubicBezTo>
                  <a:pt x="6874510" y="1683574"/>
                  <a:pt x="6904356" y="1701988"/>
                  <a:pt x="6915150" y="1682938"/>
                </a:cubicBezTo>
                <a:close/>
                <a:moveTo>
                  <a:pt x="7031356" y="2200464"/>
                </a:moveTo>
                <a:cubicBezTo>
                  <a:pt x="7054215" y="2218244"/>
                  <a:pt x="7082156" y="2181414"/>
                  <a:pt x="7058660" y="2164269"/>
                </a:cubicBezTo>
                <a:cubicBezTo>
                  <a:pt x="7035165" y="2146489"/>
                  <a:pt x="7007860" y="2183319"/>
                  <a:pt x="7031356" y="2200464"/>
                </a:cubicBezTo>
                <a:close/>
                <a:moveTo>
                  <a:pt x="6961506" y="1791524"/>
                </a:moveTo>
                <a:cubicBezTo>
                  <a:pt x="6974840" y="1771838"/>
                  <a:pt x="6943725" y="1751519"/>
                  <a:pt x="6931025" y="1771204"/>
                </a:cubicBezTo>
                <a:cubicBezTo>
                  <a:pt x="6917690" y="1790888"/>
                  <a:pt x="6948806" y="1811209"/>
                  <a:pt x="6961506" y="1791524"/>
                </a:cubicBezTo>
                <a:close/>
                <a:moveTo>
                  <a:pt x="6939281" y="1847404"/>
                </a:moveTo>
                <a:cubicBezTo>
                  <a:pt x="6918325" y="1832163"/>
                  <a:pt x="6895465" y="1864549"/>
                  <a:pt x="6916420" y="1879154"/>
                </a:cubicBezTo>
                <a:cubicBezTo>
                  <a:pt x="6936740" y="1895029"/>
                  <a:pt x="6960870" y="1862009"/>
                  <a:pt x="6939281" y="1847404"/>
                </a:cubicBezTo>
                <a:close/>
                <a:moveTo>
                  <a:pt x="6925945" y="1609913"/>
                </a:moveTo>
                <a:cubicBezTo>
                  <a:pt x="6908165" y="1599754"/>
                  <a:pt x="6892925" y="1627694"/>
                  <a:pt x="6910706" y="1637219"/>
                </a:cubicBezTo>
                <a:cubicBezTo>
                  <a:pt x="6928485" y="1646744"/>
                  <a:pt x="6943725" y="1619438"/>
                  <a:pt x="6925945" y="1609913"/>
                </a:cubicBezTo>
                <a:close/>
                <a:moveTo>
                  <a:pt x="6916420" y="1989644"/>
                </a:moveTo>
                <a:cubicBezTo>
                  <a:pt x="6938010" y="2006788"/>
                  <a:pt x="6964045" y="1972499"/>
                  <a:pt x="6941820" y="1955988"/>
                </a:cubicBezTo>
                <a:cubicBezTo>
                  <a:pt x="6920231" y="1939479"/>
                  <a:pt x="6894195" y="1973769"/>
                  <a:pt x="6916420" y="1989644"/>
                </a:cubicBezTo>
                <a:close/>
                <a:moveTo>
                  <a:pt x="7002781" y="1818194"/>
                </a:moveTo>
                <a:cubicBezTo>
                  <a:pt x="6989445" y="1837879"/>
                  <a:pt x="7020560" y="1858199"/>
                  <a:pt x="7033260" y="1837879"/>
                </a:cubicBezTo>
                <a:cubicBezTo>
                  <a:pt x="7046595" y="1818829"/>
                  <a:pt x="7015481" y="1798509"/>
                  <a:pt x="7002781" y="1818194"/>
                </a:cubicBezTo>
                <a:close/>
                <a:moveTo>
                  <a:pt x="6960870" y="1730563"/>
                </a:moveTo>
                <a:cubicBezTo>
                  <a:pt x="6979285" y="1741994"/>
                  <a:pt x="6997700" y="1712784"/>
                  <a:pt x="6978015" y="1701354"/>
                </a:cubicBezTo>
                <a:cubicBezTo>
                  <a:pt x="6959600" y="1689924"/>
                  <a:pt x="6941820" y="1719134"/>
                  <a:pt x="6960870" y="1730563"/>
                </a:cubicBezTo>
                <a:close/>
                <a:moveTo>
                  <a:pt x="6989445" y="1593404"/>
                </a:moveTo>
                <a:cubicBezTo>
                  <a:pt x="7004685" y="1600388"/>
                  <a:pt x="7014845" y="1576259"/>
                  <a:pt x="6998970" y="1569909"/>
                </a:cubicBezTo>
                <a:cubicBezTo>
                  <a:pt x="6983731" y="1562924"/>
                  <a:pt x="6974206" y="1587054"/>
                  <a:pt x="6989445" y="1593404"/>
                </a:cubicBezTo>
                <a:close/>
                <a:moveTo>
                  <a:pt x="7030085" y="1771204"/>
                </a:moveTo>
                <a:cubicBezTo>
                  <a:pt x="7048500" y="1782634"/>
                  <a:pt x="7066281" y="1752788"/>
                  <a:pt x="7047231" y="1741994"/>
                </a:cubicBezTo>
                <a:cubicBezTo>
                  <a:pt x="7028815" y="1731199"/>
                  <a:pt x="7011035" y="1760409"/>
                  <a:pt x="7030085" y="1771204"/>
                </a:cubicBezTo>
                <a:close/>
                <a:moveTo>
                  <a:pt x="7067550" y="1985199"/>
                </a:moveTo>
                <a:cubicBezTo>
                  <a:pt x="7088506" y="1999804"/>
                  <a:pt x="7111365" y="1966784"/>
                  <a:pt x="7089775" y="1952179"/>
                </a:cubicBezTo>
                <a:cubicBezTo>
                  <a:pt x="7068185" y="1937574"/>
                  <a:pt x="7045960" y="1971229"/>
                  <a:pt x="7067550" y="1985199"/>
                </a:cubicBezTo>
                <a:lnTo>
                  <a:pt x="7067550" y="1985199"/>
                </a:lnTo>
                <a:close/>
                <a:moveTo>
                  <a:pt x="6969125" y="1618169"/>
                </a:moveTo>
                <a:cubicBezTo>
                  <a:pt x="6985635" y="1626424"/>
                  <a:pt x="6997700" y="1600388"/>
                  <a:pt x="6981190" y="1592769"/>
                </a:cubicBezTo>
                <a:cubicBezTo>
                  <a:pt x="6965315" y="1584513"/>
                  <a:pt x="6952615" y="1610549"/>
                  <a:pt x="6969125" y="1618169"/>
                </a:cubicBezTo>
                <a:close/>
                <a:moveTo>
                  <a:pt x="7057390" y="1680399"/>
                </a:moveTo>
                <a:cubicBezTo>
                  <a:pt x="7039610" y="1670874"/>
                  <a:pt x="7025006" y="1698813"/>
                  <a:pt x="7042785" y="1707704"/>
                </a:cubicBezTo>
                <a:cubicBezTo>
                  <a:pt x="7060565" y="1717863"/>
                  <a:pt x="7075806" y="1689924"/>
                  <a:pt x="7057390" y="1680399"/>
                </a:cubicBezTo>
                <a:close/>
                <a:moveTo>
                  <a:pt x="7048500" y="1617534"/>
                </a:moveTo>
                <a:cubicBezTo>
                  <a:pt x="7063740" y="1623884"/>
                  <a:pt x="7073265" y="1599754"/>
                  <a:pt x="7058025" y="1594038"/>
                </a:cubicBezTo>
                <a:cubicBezTo>
                  <a:pt x="7042785" y="1587688"/>
                  <a:pt x="7032625" y="1611184"/>
                  <a:pt x="7048500" y="1617534"/>
                </a:cubicBezTo>
                <a:close/>
                <a:moveTo>
                  <a:pt x="7031990" y="1648013"/>
                </a:moveTo>
                <a:cubicBezTo>
                  <a:pt x="7048500" y="1656269"/>
                  <a:pt x="7060565" y="1630234"/>
                  <a:pt x="7044056" y="1622613"/>
                </a:cubicBezTo>
                <a:cubicBezTo>
                  <a:pt x="7027545" y="1614359"/>
                  <a:pt x="7014845" y="1640394"/>
                  <a:pt x="7031990" y="1648013"/>
                </a:cubicBezTo>
                <a:close/>
                <a:moveTo>
                  <a:pt x="1636395" y="2007424"/>
                </a:moveTo>
                <a:cubicBezTo>
                  <a:pt x="1638300" y="2007424"/>
                  <a:pt x="1640840" y="2006788"/>
                  <a:pt x="1642745" y="2006154"/>
                </a:cubicBezTo>
                <a:lnTo>
                  <a:pt x="1642745" y="2006154"/>
                </a:lnTo>
                <a:cubicBezTo>
                  <a:pt x="1688465" y="1954719"/>
                  <a:pt x="1574800" y="1977579"/>
                  <a:pt x="1636395" y="2007424"/>
                </a:cubicBezTo>
                <a:close/>
                <a:moveTo>
                  <a:pt x="2730500" y="1218754"/>
                </a:moveTo>
                <a:cubicBezTo>
                  <a:pt x="2708910" y="1235899"/>
                  <a:pt x="2735580" y="1269554"/>
                  <a:pt x="2757170" y="1251774"/>
                </a:cubicBezTo>
                <a:cubicBezTo>
                  <a:pt x="2778760" y="1235263"/>
                  <a:pt x="2752090" y="1201609"/>
                  <a:pt x="2730500" y="1218754"/>
                </a:cubicBezTo>
                <a:close/>
                <a:moveTo>
                  <a:pt x="2712085" y="1137474"/>
                </a:moveTo>
                <a:cubicBezTo>
                  <a:pt x="2714625" y="1137474"/>
                  <a:pt x="2717165" y="1136838"/>
                  <a:pt x="2719705" y="1136204"/>
                </a:cubicBezTo>
                <a:cubicBezTo>
                  <a:pt x="2712720" y="1150174"/>
                  <a:pt x="2724150" y="1169224"/>
                  <a:pt x="2740025" y="1169859"/>
                </a:cubicBezTo>
                <a:cubicBezTo>
                  <a:pt x="2693670" y="1237169"/>
                  <a:pt x="2828925" y="1201609"/>
                  <a:pt x="2755265" y="1166049"/>
                </a:cubicBezTo>
                <a:cubicBezTo>
                  <a:pt x="2777490" y="1151444"/>
                  <a:pt x="2759710" y="1115249"/>
                  <a:pt x="2734945" y="1123504"/>
                </a:cubicBezTo>
                <a:cubicBezTo>
                  <a:pt x="2748915" y="1045399"/>
                  <a:pt x="2635250" y="1117788"/>
                  <a:pt x="2712085" y="1137474"/>
                </a:cubicBezTo>
                <a:close/>
                <a:moveTo>
                  <a:pt x="2249805" y="1568638"/>
                </a:moveTo>
                <a:cubicBezTo>
                  <a:pt x="2249805" y="1579434"/>
                  <a:pt x="2263140" y="1586419"/>
                  <a:pt x="2271395" y="1580069"/>
                </a:cubicBezTo>
                <a:lnTo>
                  <a:pt x="2271395" y="1580069"/>
                </a:lnTo>
                <a:cubicBezTo>
                  <a:pt x="2281555" y="1573719"/>
                  <a:pt x="2278380" y="1557844"/>
                  <a:pt x="2267585" y="1554669"/>
                </a:cubicBezTo>
                <a:cubicBezTo>
                  <a:pt x="2261870" y="1529904"/>
                  <a:pt x="2227580" y="1555938"/>
                  <a:pt x="2249805" y="1568638"/>
                </a:cubicBezTo>
                <a:close/>
                <a:moveTo>
                  <a:pt x="2787650" y="1051749"/>
                </a:moveTo>
                <a:cubicBezTo>
                  <a:pt x="2809875" y="1052384"/>
                  <a:pt x="2821940" y="1021904"/>
                  <a:pt x="2804160" y="1007299"/>
                </a:cubicBezTo>
                <a:cubicBezTo>
                  <a:pt x="2767965" y="978088"/>
                  <a:pt x="2741295" y="1049844"/>
                  <a:pt x="2787650" y="1051749"/>
                </a:cubicBezTo>
                <a:close/>
                <a:moveTo>
                  <a:pt x="2878455" y="1009204"/>
                </a:moveTo>
                <a:cubicBezTo>
                  <a:pt x="2900045" y="1031429"/>
                  <a:pt x="2934970" y="997774"/>
                  <a:pt x="2912745" y="975549"/>
                </a:cubicBezTo>
                <a:cubicBezTo>
                  <a:pt x="2891155" y="953324"/>
                  <a:pt x="2856230" y="987613"/>
                  <a:pt x="2878455" y="1009204"/>
                </a:cubicBezTo>
                <a:close/>
                <a:moveTo>
                  <a:pt x="2892425" y="1034604"/>
                </a:moveTo>
                <a:cubicBezTo>
                  <a:pt x="2870200" y="1053654"/>
                  <a:pt x="2900045" y="1088579"/>
                  <a:pt x="2921635" y="1068894"/>
                </a:cubicBezTo>
                <a:cubicBezTo>
                  <a:pt x="2944495" y="1049844"/>
                  <a:pt x="2914650" y="1014919"/>
                  <a:pt x="2892425" y="1034604"/>
                </a:cubicBezTo>
                <a:close/>
                <a:moveTo>
                  <a:pt x="2214880" y="1595944"/>
                </a:moveTo>
                <a:cubicBezTo>
                  <a:pt x="2219325" y="1569909"/>
                  <a:pt x="2176780" y="1581338"/>
                  <a:pt x="2193290" y="1601659"/>
                </a:cubicBezTo>
                <a:cubicBezTo>
                  <a:pt x="2184400" y="1634044"/>
                  <a:pt x="2239010" y="1619438"/>
                  <a:pt x="2214880" y="1595944"/>
                </a:cubicBezTo>
                <a:close/>
                <a:moveTo>
                  <a:pt x="2863850" y="966659"/>
                </a:moveTo>
                <a:cubicBezTo>
                  <a:pt x="2886075" y="967294"/>
                  <a:pt x="2898140" y="936813"/>
                  <a:pt x="2880995" y="922209"/>
                </a:cubicBezTo>
                <a:cubicBezTo>
                  <a:pt x="2844165" y="892999"/>
                  <a:pt x="2816860" y="964119"/>
                  <a:pt x="2863850" y="966659"/>
                </a:cubicBezTo>
                <a:close/>
                <a:moveTo>
                  <a:pt x="2814955" y="1102549"/>
                </a:moveTo>
                <a:cubicBezTo>
                  <a:pt x="2792730" y="1121599"/>
                  <a:pt x="2823210" y="1155888"/>
                  <a:pt x="2844800" y="1136204"/>
                </a:cubicBezTo>
                <a:cubicBezTo>
                  <a:pt x="2867025" y="1117154"/>
                  <a:pt x="2836545" y="1082863"/>
                  <a:pt x="2814955" y="1102549"/>
                </a:cubicBezTo>
                <a:close/>
                <a:moveTo>
                  <a:pt x="2800985" y="1086038"/>
                </a:moveTo>
                <a:cubicBezTo>
                  <a:pt x="2822575" y="1108263"/>
                  <a:pt x="2857500" y="1073974"/>
                  <a:pt x="2835275" y="1052384"/>
                </a:cubicBezTo>
                <a:cubicBezTo>
                  <a:pt x="2813685" y="1029524"/>
                  <a:pt x="2778760" y="1064449"/>
                  <a:pt x="2800985" y="1086038"/>
                </a:cubicBezTo>
                <a:close/>
                <a:moveTo>
                  <a:pt x="1876425" y="1800413"/>
                </a:moveTo>
                <a:cubicBezTo>
                  <a:pt x="1896110" y="1800413"/>
                  <a:pt x="1889760" y="1768663"/>
                  <a:pt x="1871345" y="1776284"/>
                </a:cubicBezTo>
                <a:cubicBezTo>
                  <a:pt x="1858645" y="1780729"/>
                  <a:pt x="1863090" y="1801049"/>
                  <a:pt x="1876425" y="1800413"/>
                </a:cubicBezTo>
                <a:close/>
                <a:moveTo>
                  <a:pt x="1817370" y="1823909"/>
                </a:moveTo>
                <a:cubicBezTo>
                  <a:pt x="1837055" y="1823909"/>
                  <a:pt x="1831340" y="1792794"/>
                  <a:pt x="1812925" y="1799144"/>
                </a:cubicBezTo>
                <a:cubicBezTo>
                  <a:pt x="1799590" y="1803588"/>
                  <a:pt x="1803400" y="1824544"/>
                  <a:pt x="1817370" y="1823909"/>
                </a:cubicBezTo>
                <a:close/>
                <a:moveTo>
                  <a:pt x="1853565" y="1841688"/>
                </a:moveTo>
                <a:cubicBezTo>
                  <a:pt x="1838325" y="1889313"/>
                  <a:pt x="1914525" y="1851849"/>
                  <a:pt x="1867535" y="1834704"/>
                </a:cubicBezTo>
                <a:cubicBezTo>
                  <a:pt x="1879600" y="1792794"/>
                  <a:pt x="1813560" y="1825813"/>
                  <a:pt x="1853565" y="1841688"/>
                </a:cubicBezTo>
                <a:close/>
                <a:moveTo>
                  <a:pt x="1757045" y="1843594"/>
                </a:moveTo>
                <a:cubicBezTo>
                  <a:pt x="1776095" y="1843594"/>
                  <a:pt x="1771650" y="1813113"/>
                  <a:pt x="1753235" y="1818829"/>
                </a:cubicBezTo>
                <a:cubicBezTo>
                  <a:pt x="1739265" y="1822638"/>
                  <a:pt x="1743075" y="1844229"/>
                  <a:pt x="1757045" y="1843594"/>
                </a:cubicBezTo>
                <a:close/>
                <a:moveTo>
                  <a:pt x="1931670" y="1828988"/>
                </a:moveTo>
                <a:cubicBezTo>
                  <a:pt x="1951990" y="1828988"/>
                  <a:pt x="1951355" y="1797238"/>
                  <a:pt x="1931035" y="1797874"/>
                </a:cubicBezTo>
                <a:cubicBezTo>
                  <a:pt x="1927225" y="1761044"/>
                  <a:pt x="1880235" y="1802319"/>
                  <a:pt x="1915795" y="1811209"/>
                </a:cubicBezTo>
                <a:cubicBezTo>
                  <a:pt x="1915160" y="1816288"/>
                  <a:pt x="1917065" y="1822004"/>
                  <a:pt x="1920875" y="1825179"/>
                </a:cubicBezTo>
                <a:cubicBezTo>
                  <a:pt x="1862455" y="1846134"/>
                  <a:pt x="1962785" y="1882963"/>
                  <a:pt x="1931670" y="1828988"/>
                </a:cubicBezTo>
                <a:close/>
                <a:moveTo>
                  <a:pt x="1978025" y="1777554"/>
                </a:moveTo>
                <a:cubicBezTo>
                  <a:pt x="1978660" y="1777554"/>
                  <a:pt x="1979295" y="1777554"/>
                  <a:pt x="1979930" y="1777554"/>
                </a:cubicBezTo>
                <a:cubicBezTo>
                  <a:pt x="1980565" y="1778824"/>
                  <a:pt x="1980565" y="1780729"/>
                  <a:pt x="1981835" y="1781999"/>
                </a:cubicBezTo>
                <a:cubicBezTo>
                  <a:pt x="1941195" y="1809938"/>
                  <a:pt x="2021205" y="1832799"/>
                  <a:pt x="2002155" y="1787713"/>
                </a:cubicBezTo>
                <a:cubicBezTo>
                  <a:pt x="2019300" y="1780729"/>
                  <a:pt x="2008505" y="1753424"/>
                  <a:pt x="1991360" y="1759138"/>
                </a:cubicBezTo>
                <a:cubicBezTo>
                  <a:pt x="1977390" y="1729294"/>
                  <a:pt x="1945640" y="1773744"/>
                  <a:pt x="1978025" y="1777554"/>
                </a:cubicBezTo>
                <a:close/>
                <a:moveTo>
                  <a:pt x="2045335" y="1713419"/>
                </a:moveTo>
                <a:cubicBezTo>
                  <a:pt x="2066925" y="1712784"/>
                  <a:pt x="2057400" y="1679129"/>
                  <a:pt x="2038350" y="1689924"/>
                </a:cubicBezTo>
                <a:cubicBezTo>
                  <a:pt x="2028190" y="1696274"/>
                  <a:pt x="2033270" y="1714054"/>
                  <a:pt x="2045335" y="1713419"/>
                </a:cubicBezTo>
                <a:close/>
                <a:moveTo>
                  <a:pt x="1990725" y="1745169"/>
                </a:moveTo>
                <a:cubicBezTo>
                  <a:pt x="2011680" y="1744534"/>
                  <a:pt x="2003425" y="1711513"/>
                  <a:pt x="1984375" y="1721674"/>
                </a:cubicBezTo>
                <a:cubicBezTo>
                  <a:pt x="1972945" y="1727388"/>
                  <a:pt x="1978025" y="1745804"/>
                  <a:pt x="1990725" y="1745169"/>
                </a:cubicBezTo>
                <a:close/>
                <a:moveTo>
                  <a:pt x="1934210" y="1774379"/>
                </a:moveTo>
                <a:cubicBezTo>
                  <a:pt x="1954530" y="1773744"/>
                  <a:pt x="1947545" y="1741994"/>
                  <a:pt x="1928495" y="1750249"/>
                </a:cubicBezTo>
                <a:cubicBezTo>
                  <a:pt x="1916430" y="1755329"/>
                  <a:pt x="1921510" y="1775013"/>
                  <a:pt x="1934210" y="1774379"/>
                </a:cubicBezTo>
                <a:close/>
                <a:moveTo>
                  <a:pt x="1791970" y="1868994"/>
                </a:moveTo>
                <a:cubicBezTo>
                  <a:pt x="1793240" y="1868994"/>
                  <a:pt x="1794510" y="1868994"/>
                  <a:pt x="1795145" y="1868359"/>
                </a:cubicBezTo>
                <a:cubicBezTo>
                  <a:pt x="1794510" y="1868359"/>
                  <a:pt x="1793875" y="1868994"/>
                  <a:pt x="1792605" y="1868994"/>
                </a:cubicBezTo>
                <a:cubicBezTo>
                  <a:pt x="1774190" y="1877249"/>
                  <a:pt x="1788160" y="1905824"/>
                  <a:pt x="1805940" y="1896934"/>
                </a:cubicBezTo>
                <a:cubicBezTo>
                  <a:pt x="1823085" y="1889313"/>
                  <a:pt x="1812290" y="1863913"/>
                  <a:pt x="1796415" y="1867724"/>
                </a:cubicBezTo>
                <a:cubicBezTo>
                  <a:pt x="1812290" y="1862644"/>
                  <a:pt x="1805305" y="1834069"/>
                  <a:pt x="1786255" y="1841054"/>
                </a:cubicBezTo>
                <a:cubicBezTo>
                  <a:pt x="1772920" y="1847404"/>
                  <a:pt x="1777365" y="1869629"/>
                  <a:pt x="1791970" y="1868994"/>
                </a:cubicBezTo>
                <a:close/>
                <a:moveTo>
                  <a:pt x="3213100" y="908874"/>
                </a:moveTo>
                <a:cubicBezTo>
                  <a:pt x="3249295" y="907604"/>
                  <a:pt x="3232150" y="851088"/>
                  <a:pt x="3201670" y="870138"/>
                </a:cubicBezTo>
                <a:cubicBezTo>
                  <a:pt x="3183890" y="880934"/>
                  <a:pt x="3192780" y="909509"/>
                  <a:pt x="3213100" y="908874"/>
                </a:cubicBezTo>
                <a:close/>
                <a:moveTo>
                  <a:pt x="3178175" y="1046034"/>
                </a:moveTo>
                <a:cubicBezTo>
                  <a:pt x="3208020" y="1045399"/>
                  <a:pt x="3196590" y="998409"/>
                  <a:pt x="3169285" y="1011744"/>
                </a:cubicBezTo>
                <a:cubicBezTo>
                  <a:pt x="3152775" y="1019363"/>
                  <a:pt x="3159125" y="1046669"/>
                  <a:pt x="3178175" y="1046034"/>
                </a:cubicBezTo>
                <a:close/>
                <a:moveTo>
                  <a:pt x="3250565" y="953324"/>
                </a:moveTo>
                <a:cubicBezTo>
                  <a:pt x="3283585" y="952688"/>
                  <a:pt x="3269615" y="900619"/>
                  <a:pt x="3240405" y="916494"/>
                </a:cubicBezTo>
                <a:cubicBezTo>
                  <a:pt x="3222625" y="926019"/>
                  <a:pt x="3230880" y="954594"/>
                  <a:pt x="3250565" y="953324"/>
                </a:cubicBezTo>
                <a:close/>
                <a:moveTo>
                  <a:pt x="3171190" y="999679"/>
                </a:moveTo>
                <a:cubicBezTo>
                  <a:pt x="3204210" y="999044"/>
                  <a:pt x="3189605" y="946974"/>
                  <a:pt x="3161030" y="962849"/>
                </a:cubicBezTo>
                <a:cubicBezTo>
                  <a:pt x="3143885" y="973009"/>
                  <a:pt x="3152140" y="1000949"/>
                  <a:pt x="3171190" y="999679"/>
                </a:cubicBezTo>
                <a:close/>
                <a:moveTo>
                  <a:pt x="3131820" y="837754"/>
                </a:moveTo>
                <a:cubicBezTo>
                  <a:pt x="3114675" y="849819"/>
                  <a:pt x="3124835" y="879029"/>
                  <a:pt x="3145790" y="878394"/>
                </a:cubicBezTo>
                <a:cubicBezTo>
                  <a:pt x="3185795" y="876488"/>
                  <a:pt x="3164840" y="814259"/>
                  <a:pt x="3131820" y="837754"/>
                </a:cubicBezTo>
                <a:close/>
                <a:moveTo>
                  <a:pt x="3215005" y="774888"/>
                </a:moveTo>
                <a:cubicBezTo>
                  <a:pt x="3190875" y="792034"/>
                  <a:pt x="3218815" y="828863"/>
                  <a:pt x="3241675" y="811084"/>
                </a:cubicBezTo>
                <a:lnTo>
                  <a:pt x="3241675" y="811084"/>
                </a:lnTo>
                <a:cubicBezTo>
                  <a:pt x="3265170" y="794574"/>
                  <a:pt x="3237865" y="757109"/>
                  <a:pt x="3215005" y="774888"/>
                </a:cubicBezTo>
                <a:close/>
                <a:moveTo>
                  <a:pt x="3101975" y="1086674"/>
                </a:moveTo>
                <a:cubicBezTo>
                  <a:pt x="3132455" y="1086038"/>
                  <a:pt x="3119755" y="1038413"/>
                  <a:pt x="3093085" y="1052384"/>
                </a:cubicBezTo>
                <a:cubicBezTo>
                  <a:pt x="3076575" y="1060638"/>
                  <a:pt x="3083560" y="1087309"/>
                  <a:pt x="3101975" y="1086674"/>
                </a:cubicBezTo>
                <a:close/>
                <a:moveTo>
                  <a:pt x="3093085" y="1047938"/>
                </a:moveTo>
                <a:cubicBezTo>
                  <a:pt x="3126105" y="1047304"/>
                  <a:pt x="3111500" y="994599"/>
                  <a:pt x="3082290" y="1011744"/>
                </a:cubicBezTo>
                <a:cubicBezTo>
                  <a:pt x="3065780" y="1021269"/>
                  <a:pt x="3074035" y="1048574"/>
                  <a:pt x="3093085" y="1047938"/>
                </a:cubicBezTo>
                <a:close/>
                <a:moveTo>
                  <a:pt x="3144520" y="959674"/>
                </a:moveTo>
                <a:cubicBezTo>
                  <a:pt x="3167380" y="944434"/>
                  <a:pt x="3142615" y="908874"/>
                  <a:pt x="3120390" y="924749"/>
                </a:cubicBezTo>
                <a:cubicBezTo>
                  <a:pt x="3097530" y="939988"/>
                  <a:pt x="3122295" y="975549"/>
                  <a:pt x="3144520" y="959674"/>
                </a:cubicBezTo>
                <a:close/>
                <a:moveTo>
                  <a:pt x="3202305" y="682179"/>
                </a:moveTo>
                <a:cubicBezTo>
                  <a:pt x="3178175" y="701863"/>
                  <a:pt x="3209290" y="739329"/>
                  <a:pt x="3232785" y="719009"/>
                </a:cubicBezTo>
                <a:cubicBezTo>
                  <a:pt x="3257550" y="699959"/>
                  <a:pt x="3226435" y="661859"/>
                  <a:pt x="3202305" y="682179"/>
                </a:cubicBezTo>
                <a:cubicBezTo>
                  <a:pt x="3202305" y="682179"/>
                  <a:pt x="3202305" y="682179"/>
                  <a:pt x="3202305" y="682179"/>
                </a:cubicBezTo>
                <a:close/>
                <a:moveTo>
                  <a:pt x="2968625" y="999679"/>
                </a:moveTo>
                <a:cubicBezTo>
                  <a:pt x="2987040" y="1022538"/>
                  <a:pt x="3022600" y="992694"/>
                  <a:pt x="3002915" y="970469"/>
                </a:cubicBezTo>
                <a:cubicBezTo>
                  <a:pt x="2984500" y="947609"/>
                  <a:pt x="2948940" y="977454"/>
                  <a:pt x="2968625" y="999679"/>
                </a:cubicBezTo>
                <a:close/>
                <a:moveTo>
                  <a:pt x="3019425" y="799019"/>
                </a:moveTo>
                <a:cubicBezTo>
                  <a:pt x="3041015" y="799654"/>
                  <a:pt x="3053715" y="770444"/>
                  <a:pt x="3037205" y="755204"/>
                </a:cubicBezTo>
                <a:cubicBezTo>
                  <a:pt x="3001645" y="724724"/>
                  <a:pt x="2972435" y="797113"/>
                  <a:pt x="3019425" y="799019"/>
                </a:cubicBezTo>
                <a:close/>
                <a:moveTo>
                  <a:pt x="2957195" y="899984"/>
                </a:moveTo>
                <a:cubicBezTo>
                  <a:pt x="2934335" y="920938"/>
                  <a:pt x="2967990" y="956499"/>
                  <a:pt x="2990215" y="934909"/>
                </a:cubicBezTo>
                <a:cubicBezTo>
                  <a:pt x="3013075" y="913319"/>
                  <a:pt x="2979420" y="877759"/>
                  <a:pt x="2957195" y="899984"/>
                </a:cubicBezTo>
                <a:cubicBezTo>
                  <a:pt x="2957195" y="899984"/>
                  <a:pt x="2957195" y="899984"/>
                  <a:pt x="2957195" y="899984"/>
                </a:cubicBezTo>
                <a:close/>
                <a:moveTo>
                  <a:pt x="2940685" y="882204"/>
                </a:moveTo>
                <a:cubicBezTo>
                  <a:pt x="2962910" y="882838"/>
                  <a:pt x="2974975" y="852994"/>
                  <a:pt x="2957830" y="838388"/>
                </a:cubicBezTo>
                <a:cubicBezTo>
                  <a:pt x="2922270" y="807909"/>
                  <a:pt x="2894330" y="880299"/>
                  <a:pt x="2940685" y="882204"/>
                </a:cubicBezTo>
                <a:close/>
                <a:moveTo>
                  <a:pt x="3035935" y="859344"/>
                </a:moveTo>
                <a:cubicBezTo>
                  <a:pt x="3056255" y="882838"/>
                  <a:pt x="3092450" y="849819"/>
                  <a:pt x="3071495" y="826959"/>
                </a:cubicBezTo>
                <a:cubicBezTo>
                  <a:pt x="3050540" y="803463"/>
                  <a:pt x="3014345" y="836484"/>
                  <a:pt x="3035935" y="859344"/>
                </a:cubicBezTo>
                <a:close/>
                <a:moveTo>
                  <a:pt x="3183255" y="639634"/>
                </a:moveTo>
                <a:cubicBezTo>
                  <a:pt x="3229610" y="637729"/>
                  <a:pt x="3202305" y="565338"/>
                  <a:pt x="3166110" y="595819"/>
                </a:cubicBezTo>
                <a:cubicBezTo>
                  <a:pt x="3148965" y="610424"/>
                  <a:pt x="3161030" y="640269"/>
                  <a:pt x="3183255" y="639634"/>
                </a:cubicBezTo>
                <a:close/>
                <a:moveTo>
                  <a:pt x="3116580" y="786319"/>
                </a:moveTo>
                <a:cubicBezTo>
                  <a:pt x="3136900" y="810449"/>
                  <a:pt x="3173730" y="778063"/>
                  <a:pt x="3152775" y="754569"/>
                </a:cubicBezTo>
                <a:cubicBezTo>
                  <a:pt x="3132455" y="731074"/>
                  <a:pt x="3095625" y="763459"/>
                  <a:pt x="3116580" y="786319"/>
                </a:cubicBezTo>
                <a:close/>
                <a:moveTo>
                  <a:pt x="3100070" y="718374"/>
                </a:moveTo>
                <a:cubicBezTo>
                  <a:pt x="3121660" y="719009"/>
                  <a:pt x="3134360" y="690434"/>
                  <a:pt x="3118485" y="675194"/>
                </a:cubicBezTo>
                <a:cubicBezTo>
                  <a:pt x="3082925" y="642809"/>
                  <a:pt x="3052445" y="715834"/>
                  <a:pt x="3100070" y="718374"/>
                </a:cubicBezTo>
                <a:close/>
                <a:moveTo>
                  <a:pt x="1534160" y="1982659"/>
                </a:moveTo>
                <a:cubicBezTo>
                  <a:pt x="1529080" y="1962974"/>
                  <a:pt x="1498600" y="1971229"/>
                  <a:pt x="1504315" y="1990279"/>
                </a:cubicBezTo>
                <a:cubicBezTo>
                  <a:pt x="1509395" y="2009963"/>
                  <a:pt x="1539875" y="2001709"/>
                  <a:pt x="1534160" y="1982659"/>
                </a:cubicBezTo>
                <a:close/>
                <a:moveTo>
                  <a:pt x="1376680" y="1955354"/>
                </a:moveTo>
                <a:cubicBezTo>
                  <a:pt x="1378585" y="1973769"/>
                  <a:pt x="1407160" y="1970594"/>
                  <a:pt x="1404620" y="1952813"/>
                </a:cubicBezTo>
                <a:cubicBezTo>
                  <a:pt x="1403350" y="1934399"/>
                  <a:pt x="1374775" y="1936938"/>
                  <a:pt x="1376680" y="1955354"/>
                </a:cubicBezTo>
                <a:close/>
                <a:moveTo>
                  <a:pt x="1408430" y="2121089"/>
                </a:moveTo>
                <a:cubicBezTo>
                  <a:pt x="1416050" y="2143949"/>
                  <a:pt x="1450975" y="2131249"/>
                  <a:pt x="1443355" y="2109024"/>
                </a:cubicBezTo>
                <a:cubicBezTo>
                  <a:pt x="1435735" y="2086163"/>
                  <a:pt x="1400175" y="2098864"/>
                  <a:pt x="1408430" y="2121089"/>
                </a:cubicBezTo>
                <a:close/>
                <a:moveTo>
                  <a:pt x="1391920" y="2072194"/>
                </a:moveTo>
                <a:cubicBezTo>
                  <a:pt x="1397000" y="2093784"/>
                  <a:pt x="1430655" y="2084259"/>
                  <a:pt x="1424305" y="2063304"/>
                </a:cubicBezTo>
                <a:cubicBezTo>
                  <a:pt x="1419225" y="2042349"/>
                  <a:pt x="1385570" y="2051238"/>
                  <a:pt x="1391920" y="2072194"/>
                </a:cubicBezTo>
                <a:close/>
                <a:moveTo>
                  <a:pt x="1381760" y="1902013"/>
                </a:moveTo>
                <a:cubicBezTo>
                  <a:pt x="1398270" y="1902013"/>
                  <a:pt x="1398270" y="1875979"/>
                  <a:pt x="1381760" y="1876613"/>
                </a:cubicBezTo>
                <a:cubicBezTo>
                  <a:pt x="1365250" y="1876613"/>
                  <a:pt x="1365250" y="1902013"/>
                  <a:pt x="1381760" y="1902013"/>
                </a:cubicBezTo>
                <a:close/>
                <a:moveTo>
                  <a:pt x="1445260" y="1899474"/>
                </a:moveTo>
                <a:cubicBezTo>
                  <a:pt x="1462405" y="1900109"/>
                  <a:pt x="1461770" y="1872804"/>
                  <a:pt x="1444625" y="1874074"/>
                </a:cubicBezTo>
                <a:cubicBezTo>
                  <a:pt x="1428750" y="1874709"/>
                  <a:pt x="1429385" y="1900109"/>
                  <a:pt x="1445260" y="1899474"/>
                </a:cubicBezTo>
                <a:close/>
                <a:moveTo>
                  <a:pt x="1372870" y="2033459"/>
                </a:moveTo>
                <a:cubicBezTo>
                  <a:pt x="1394460" y="2033459"/>
                  <a:pt x="1391920" y="1999169"/>
                  <a:pt x="1370330" y="2002344"/>
                </a:cubicBezTo>
                <a:cubicBezTo>
                  <a:pt x="1351915" y="2005519"/>
                  <a:pt x="1354455" y="2034094"/>
                  <a:pt x="1372870" y="2033459"/>
                </a:cubicBezTo>
                <a:close/>
                <a:moveTo>
                  <a:pt x="1446530" y="2019488"/>
                </a:moveTo>
                <a:cubicBezTo>
                  <a:pt x="1468755" y="2019488"/>
                  <a:pt x="1464945" y="1983929"/>
                  <a:pt x="1443355" y="1989009"/>
                </a:cubicBezTo>
                <a:cubicBezTo>
                  <a:pt x="1425575" y="1992184"/>
                  <a:pt x="1428750" y="2020124"/>
                  <a:pt x="1446530" y="2019488"/>
                </a:cubicBezTo>
                <a:close/>
                <a:moveTo>
                  <a:pt x="1445260" y="2154744"/>
                </a:moveTo>
                <a:cubicBezTo>
                  <a:pt x="1435735" y="2131249"/>
                  <a:pt x="1398270" y="2147124"/>
                  <a:pt x="1409065" y="2169984"/>
                </a:cubicBezTo>
                <a:cubicBezTo>
                  <a:pt x="1418590" y="2194114"/>
                  <a:pt x="1455420" y="2178239"/>
                  <a:pt x="1445260" y="2154744"/>
                </a:cubicBezTo>
                <a:close/>
                <a:moveTo>
                  <a:pt x="1402715" y="2195384"/>
                </a:moveTo>
                <a:cubicBezTo>
                  <a:pt x="1377950" y="2207449"/>
                  <a:pt x="1397635" y="2246184"/>
                  <a:pt x="1421765" y="2233484"/>
                </a:cubicBezTo>
                <a:cubicBezTo>
                  <a:pt x="1446530" y="2221419"/>
                  <a:pt x="1427480" y="2182684"/>
                  <a:pt x="1402715" y="2195384"/>
                </a:cubicBezTo>
                <a:close/>
                <a:moveTo>
                  <a:pt x="1725930" y="1900109"/>
                </a:moveTo>
                <a:cubicBezTo>
                  <a:pt x="1706880" y="1907729"/>
                  <a:pt x="1719580" y="1936938"/>
                  <a:pt x="1737995" y="1928684"/>
                </a:cubicBezTo>
                <a:cubicBezTo>
                  <a:pt x="1756410" y="1921063"/>
                  <a:pt x="1744345" y="1891854"/>
                  <a:pt x="1725930" y="1900109"/>
                </a:cubicBezTo>
                <a:close/>
                <a:moveTo>
                  <a:pt x="1318260" y="1902013"/>
                </a:moveTo>
                <a:cubicBezTo>
                  <a:pt x="1334770" y="1902649"/>
                  <a:pt x="1335405" y="1876613"/>
                  <a:pt x="1318895" y="1876613"/>
                </a:cubicBezTo>
                <a:cubicBezTo>
                  <a:pt x="1302385" y="1875979"/>
                  <a:pt x="1301750" y="1902013"/>
                  <a:pt x="1318260" y="1902013"/>
                </a:cubicBezTo>
                <a:close/>
                <a:moveTo>
                  <a:pt x="1256665" y="2147124"/>
                </a:moveTo>
                <a:cubicBezTo>
                  <a:pt x="1233170" y="2152839"/>
                  <a:pt x="1242695" y="2189034"/>
                  <a:pt x="1265555" y="2182684"/>
                </a:cubicBezTo>
                <a:cubicBezTo>
                  <a:pt x="1288415" y="2176969"/>
                  <a:pt x="1279525" y="2140774"/>
                  <a:pt x="1256665" y="2147124"/>
                </a:cubicBezTo>
                <a:close/>
                <a:moveTo>
                  <a:pt x="1299210" y="2044254"/>
                </a:moveTo>
                <a:cubicBezTo>
                  <a:pt x="1320800" y="2044254"/>
                  <a:pt x="1318895" y="2010599"/>
                  <a:pt x="1297305" y="2013138"/>
                </a:cubicBezTo>
                <a:cubicBezTo>
                  <a:pt x="1278255" y="2015044"/>
                  <a:pt x="1280160" y="2044254"/>
                  <a:pt x="1299210" y="2044254"/>
                </a:cubicBezTo>
                <a:close/>
                <a:moveTo>
                  <a:pt x="1326515" y="2147124"/>
                </a:moveTo>
                <a:cubicBezTo>
                  <a:pt x="1333500" y="2169984"/>
                  <a:pt x="1369060" y="2159189"/>
                  <a:pt x="1361440" y="2136329"/>
                </a:cubicBezTo>
                <a:cubicBezTo>
                  <a:pt x="1355090" y="2113469"/>
                  <a:pt x="1318895" y="2124264"/>
                  <a:pt x="1326515" y="2147124"/>
                </a:cubicBezTo>
                <a:close/>
                <a:moveTo>
                  <a:pt x="1274445" y="2221419"/>
                </a:moveTo>
                <a:cubicBezTo>
                  <a:pt x="1266825" y="2197289"/>
                  <a:pt x="1228725" y="2209989"/>
                  <a:pt x="1236980" y="2234119"/>
                </a:cubicBezTo>
                <a:cubicBezTo>
                  <a:pt x="1244600" y="2258249"/>
                  <a:pt x="1282700" y="2245549"/>
                  <a:pt x="1274445" y="2221419"/>
                </a:cubicBezTo>
                <a:close/>
                <a:moveTo>
                  <a:pt x="1315720" y="2236659"/>
                </a:moveTo>
                <a:cubicBezTo>
                  <a:pt x="1290320" y="2247454"/>
                  <a:pt x="1308100" y="2286824"/>
                  <a:pt x="1332865" y="2275394"/>
                </a:cubicBezTo>
                <a:cubicBezTo>
                  <a:pt x="1358265" y="2263964"/>
                  <a:pt x="1340485" y="2224594"/>
                  <a:pt x="1315720" y="2236659"/>
                </a:cubicBezTo>
                <a:close/>
                <a:moveTo>
                  <a:pt x="1445260" y="1947099"/>
                </a:moveTo>
                <a:cubicBezTo>
                  <a:pt x="1446530" y="1954719"/>
                  <a:pt x="1453515" y="1960434"/>
                  <a:pt x="1461135" y="1959163"/>
                </a:cubicBezTo>
                <a:lnTo>
                  <a:pt x="1461135" y="1959163"/>
                </a:lnTo>
                <a:cubicBezTo>
                  <a:pt x="1496695" y="1947734"/>
                  <a:pt x="1446530" y="1910269"/>
                  <a:pt x="1445260" y="1947099"/>
                </a:cubicBezTo>
                <a:close/>
                <a:moveTo>
                  <a:pt x="1307465" y="1959799"/>
                </a:moveTo>
                <a:cubicBezTo>
                  <a:pt x="1308100" y="1978213"/>
                  <a:pt x="1336675" y="1976309"/>
                  <a:pt x="1335405" y="1957894"/>
                </a:cubicBezTo>
                <a:cubicBezTo>
                  <a:pt x="1334770" y="1940113"/>
                  <a:pt x="1306195" y="1941384"/>
                  <a:pt x="1307465" y="1959799"/>
                </a:cubicBezTo>
                <a:close/>
                <a:moveTo>
                  <a:pt x="1325880" y="2070288"/>
                </a:moveTo>
                <a:cubicBezTo>
                  <a:pt x="1304290" y="2074734"/>
                  <a:pt x="1311910" y="2108389"/>
                  <a:pt x="1332865" y="2103309"/>
                </a:cubicBezTo>
                <a:cubicBezTo>
                  <a:pt x="1355090" y="2099499"/>
                  <a:pt x="1347470" y="2065209"/>
                  <a:pt x="1325880" y="2070288"/>
                </a:cubicBezTo>
                <a:close/>
                <a:moveTo>
                  <a:pt x="1360170" y="2189669"/>
                </a:moveTo>
                <a:cubicBezTo>
                  <a:pt x="1351280" y="2165539"/>
                  <a:pt x="1313815" y="2180144"/>
                  <a:pt x="1323340" y="2203639"/>
                </a:cubicBezTo>
                <a:cubicBezTo>
                  <a:pt x="1332230" y="2227769"/>
                  <a:pt x="1369695" y="2213799"/>
                  <a:pt x="1360170" y="2189669"/>
                </a:cubicBezTo>
                <a:close/>
                <a:moveTo>
                  <a:pt x="1633855" y="1875344"/>
                </a:moveTo>
                <a:cubicBezTo>
                  <a:pt x="1652270" y="1875344"/>
                  <a:pt x="1649095" y="1846769"/>
                  <a:pt x="1631315" y="1849944"/>
                </a:cubicBezTo>
                <a:cubicBezTo>
                  <a:pt x="1616710" y="1852484"/>
                  <a:pt x="1619250" y="1875344"/>
                  <a:pt x="1633855" y="1875344"/>
                </a:cubicBezTo>
                <a:close/>
                <a:moveTo>
                  <a:pt x="1571625" y="1886138"/>
                </a:moveTo>
                <a:cubicBezTo>
                  <a:pt x="1589405" y="1886138"/>
                  <a:pt x="1587500" y="1858199"/>
                  <a:pt x="1569720" y="1860738"/>
                </a:cubicBezTo>
                <a:cubicBezTo>
                  <a:pt x="1554480" y="1862644"/>
                  <a:pt x="1556385" y="1886774"/>
                  <a:pt x="1571625" y="1886138"/>
                </a:cubicBezTo>
                <a:close/>
                <a:moveTo>
                  <a:pt x="7406640" y="2173159"/>
                </a:moveTo>
                <a:cubicBezTo>
                  <a:pt x="7419340" y="2150934"/>
                  <a:pt x="7384415" y="2131249"/>
                  <a:pt x="7372350" y="2153474"/>
                </a:cubicBezTo>
                <a:cubicBezTo>
                  <a:pt x="7359650" y="2175699"/>
                  <a:pt x="7393940" y="2195384"/>
                  <a:pt x="7406640" y="2173159"/>
                </a:cubicBezTo>
                <a:close/>
                <a:moveTo>
                  <a:pt x="1586865" y="1950909"/>
                </a:moveTo>
                <a:cubicBezTo>
                  <a:pt x="1567180" y="1956624"/>
                  <a:pt x="1577340" y="1987104"/>
                  <a:pt x="1596390" y="1980754"/>
                </a:cubicBezTo>
                <a:cubicBezTo>
                  <a:pt x="1615440" y="1975038"/>
                  <a:pt x="1605915" y="1944559"/>
                  <a:pt x="1586865" y="1950909"/>
                </a:cubicBezTo>
                <a:close/>
                <a:moveTo>
                  <a:pt x="1581150" y="1922334"/>
                </a:moveTo>
                <a:cubicBezTo>
                  <a:pt x="1585595" y="1940113"/>
                  <a:pt x="1612900" y="1933129"/>
                  <a:pt x="1608455" y="1915349"/>
                </a:cubicBezTo>
                <a:cubicBezTo>
                  <a:pt x="1604645" y="1897569"/>
                  <a:pt x="1576705" y="1904554"/>
                  <a:pt x="1581150" y="1922334"/>
                </a:cubicBezTo>
                <a:close/>
                <a:moveTo>
                  <a:pt x="1696085" y="1860738"/>
                </a:moveTo>
                <a:cubicBezTo>
                  <a:pt x="1714500" y="1860738"/>
                  <a:pt x="1710690" y="1830894"/>
                  <a:pt x="1692910" y="1835974"/>
                </a:cubicBezTo>
                <a:cubicBezTo>
                  <a:pt x="1678305" y="1839149"/>
                  <a:pt x="1681480" y="1861374"/>
                  <a:pt x="1696085" y="1860738"/>
                </a:cubicBezTo>
                <a:close/>
                <a:moveTo>
                  <a:pt x="1483360" y="2240469"/>
                </a:moveTo>
                <a:cubicBezTo>
                  <a:pt x="1508760" y="2225864"/>
                  <a:pt x="1485265" y="2186494"/>
                  <a:pt x="1460500" y="2201734"/>
                </a:cubicBezTo>
                <a:cubicBezTo>
                  <a:pt x="1435100" y="2216339"/>
                  <a:pt x="1458595" y="2255709"/>
                  <a:pt x="1483360" y="2240469"/>
                </a:cubicBezTo>
                <a:close/>
                <a:moveTo>
                  <a:pt x="1667510" y="1955988"/>
                </a:moveTo>
                <a:cubicBezTo>
                  <a:pt x="1686560" y="1949638"/>
                  <a:pt x="1675765" y="1919794"/>
                  <a:pt x="1656715" y="1926779"/>
                </a:cubicBezTo>
                <a:cubicBezTo>
                  <a:pt x="1637665" y="1933763"/>
                  <a:pt x="1649095" y="1963609"/>
                  <a:pt x="1667510" y="1955988"/>
                </a:cubicBezTo>
                <a:close/>
                <a:moveTo>
                  <a:pt x="1661795" y="1914713"/>
                </a:moveTo>
                <a:cubicBezTo>
                  <a:pt x="1682750" y="1914713"/>
                  <a:pt x="1677670" y="1881059"/>
                  <a:pt x="1657985" y="1887409"/>
                </a:cubicBezTo>
                <a:cubicBezTo>
                  <a:pt x="1642110" y="1891219"/>
                  <a:pt x="1645920" y="1915349"/>
                  <a:pt x="1661795" y="1914713"/>
                </a:cubicBezTo>
                <a:close/>
                <a:moveTo>
                  <a:pt x="1727200" y="1893759"/>
                </a:moveTo>
                <a:cubicBezTo>
                  <a:pt x="1748790" y="1893759"/>
                  <a:pt x="1743075" y="1859469"/>
                  <a:pt x="1722755" y="1866454"/>
                </a:cubicBezTo>
                <a:cubicBezTo>
                  <a:pt x="1708150" y="1870899"/>
                  <a:pt x="1711960" y="1894394"/>
                  <a:pt x="1727200" y="1893759"/>
                </a:cubicBezTo>
                <a:close/>
                <a:moveTo>
                  <a:pt x="3079115" y="936813"/>
                </a:moveTo>
                <a:cubicBezTo>
                  <a:pt x="3101975" y="919034"/>
                  <a:pt x="3073400" y="882838"/>
                  <a:pt x="3050540" y="901888"/>
                </a:cubicBezTo>
                <a:cubicBezTo>
                  <a:pt x="3027680" y="919669"/>
                  <a:pt x="3056890" y="955863"/>
                  <a:pt x="3079115" y="936813"/>
                </a:cubicBezTo>
                <a:close/>
                <a:moveTo>
                  <a:pt x="1508760" y="1894394"/>
                </a:moveTo>
                <a:cubicBezTo>
                  <a:pt x="1525905" y="1894394"/>
                  <a:pt x="1524635" y="1867088"/>
                  <a:pt x="1507490" y="1868994"/>
                </a:cubicBezTo>
                <a:cubicBezTo>
                  <a:pt x="1491615" y="1870263"/>
                  <a:pt x="1492885" y="1894394"/>
                  <a:pt x="1508760" y="1894394"/>
                </a:cubicBezTo>
                <a:close/>
                <a:moveTo>
                  <a:pt x="1499235" y="2067113"/>
                </a:moveTo>
                <a:cubicBezTo>
                  <a:pt x="1480820" y="2074099"/>
                  <a:pt x="1486535" y="2103309"/>
                  <a:pt x="1506220" y="2102674"/>
                </a:cubicBezTo>
                <a:cubicBezTo>
                  <a:pt x="1534795" y="2102674"/>
                  <a:pt x="1525905" y="2056954"/>
                  <a:pt x="1499235" y="2067113"/>
                </a:cubicBezTo>
                <a:close/>
                <a:moveTo>
                  <a:pt x="1468755" y="2050604"/>
                </a:moveTo>
                <a:cubicBezTo>
                  <a:pt x="1475105" y="2071559"/>
                  <a:pt x="1508125" y="2061399"/>
                  <a:pt x="1501140" y="2040444"/>
                </a:cubicBezTo>
                <a:cubicBezTo>
                  <a:pt x="1495425" y="2019488"/>
                  <a:pt x="1462405" y="2030284"/>
                  <a:pt x="1468755" y="2050604"/>
                </a:cubicBezTo>
                <a:close/>
                <a:moveTo>
                  <a:pt x="1540510" y="2178874"/>
                </a:moveTo>
                <a:cubicBezTo>
                  <a:pt x="1555750" y="2203639"/>
                  <a:pt x="1594485" y="2178874"/>
                  <a:pt x="1578610" y="2154744"/>
                </a:cubicBezTo>
                <a:cubicBezTo>
                  <a:pt x="1563370" y="2129979"/>
                  <a:pt x="1524635" y="2154744"/>
                  <a:pt x="1540510" y="2178874"/>
                </a:cubicBezTo>
                <a:close/>
                <a:moveTo>
                  <a:pt x="1561465" y="2036634"/>
                </a:moveTo>
                <a:cubicBezTo>
                  <a:pt x="1587500" y="2036634"/>
                  <a:pt x="1579880" y="1994724"/>
                  <a:pt x="1555750" y="2003613"/>
                </a:cubicBezTo>
                <a:cubicBezTo>
                  <a:pt x="1537970" y="2009963"/>
                  <a:pt x="1543050" y="2037269"/>
                  <a:pt x="1561465" y="2036634"/>
                </a:cubicBezTo>
                <a:close/>
                <a:moveTo>
                  <a:pt x="1513840" y="1936304"/>
                </a:moveTo>
                <a:cubicBezTo>
                  <a:pt x="1517015" y="1954719"/>
                  <a:pt x="1545590" y="1949004"/>
                  <a:pt x="1541780" y="1931224"/>
                </a:cubicBezTo>
                <a:cubicBezTo>
                  <a:pt x="1537970" y="1912809"/>
                  <a:pt x="1510030" y="1918524"/>
                  <a:pt x="1513840" y="1936304"/>
                </a:cubicBezTo>
                <a:close/>
                <a:moveTo>
                  <a:pt x="1528445" y="2116009"/>
                </a:moveTo>
                <a:cubicBezTo>
                  <a:pt x="1517650" y="2092513"/>
                  <a:pt x="1481455" y="2110294"/>
                  <a:pt x="1492885" y="2133154"/>
                </a:cubicBezTo>
                <a:cubicBezTo>
                  <a:pt x="1503680" y="2156649"/>
                  <a:pt x="1539875" y="2138869"/>
                  <a:pt x="1528445" y="2116009"/>
                </a:cubicBezTo>
                <a:close/>
                <a:moveTo>
                  <a:pt x="4215765" y="677099"/>
                </a:moveTo>
                <a:cubicBezTo>
                  <a:pt x="4218305" y="700594"/>
                  <a:pt x="4255135" y="696149"/>
                  <a:pt x="4251960" y="672654"/>
                </a:cubicBezTo>
                <a:cubicBezTo>
                  <a:pt x="4249420" y="648524"/>
                  <a:pt x="4212590" y="653604"/>
                  <a:pt x="4215765" y="677099"/>
                </a:cubicBezTo>
                <a:close/>
                <a:moveTo>
                  <a:pt x="4094480" y="478344"/>
                </a:moveTo>
                <a:cubicBezTo>
                  <a:pt x="4067175" y="482788"/>
                  <a:pt x="4075430" y="525334"/>
                  <a:pt x="4102100" y="519619"/>
                </a:cubicBezTo>
                <a:cubicBezTo>
                  <a:pt x="4129405" y="515174"/>
                  <a:pt x="4121150" y="472629"/>
                  <a:pt x="4094480" y="478344"/>
                </a:cubicBezTo>
                <a:close/>
                <a:moveTo>
                  <a:pt x="4086860" y="198308"/>
                </a:moveTo>
                <a:cubicBezTo>
                  <a:pt x="4120515" y="198944"/>
                  <a:pt x="4119245" y="145604"/>
                  <a:pt x="4085590" y="147508"/>
                </a:cubicBezTo>
                <a:cubicBezTo>
                  <a:pt x="4053205" y="148144"/>
                  <a:pt x="4054475" y="198944"/>
                  <a:pt x="4086860" y="198308"/>
                </a:cubicBezTo>
                <a:close/>
                <a:moveTo>
                  <a:pt x="4131310" y="773619"/>
                </a:moveTo>
                <a:cubicBezTo>
                  <a:pt x="4133850" y="795209"/>
                  <a:pt x="4168140" y="790763"/>
                  <a:pt x="4164965" y="768538"/>
                </a:cubicBezTo>
                <a:cubicBezTo>
                  <a:pt x="4162425" y="746949"/>
                  <a:pt x="4128135" y="752029"/>
                  <a:pt x="4131310" y="773619"/>
                </a:cubicBezTo>
                <a:close/>
                <a:moveTo>
                  <a:pt x="4084955" y="305624"/>
                </a:moveTo>
                <a:cubicBezTo>
                  <a:pt x="4117975" y="305624"/>
                  <a:pt x="4114800" y="253554"/>
                  <a:pt x="4082415" y="257999"/>
                </a:cubicBezTo>
                <a:cubicBezTo>
                  <a:pt x="4053205" y="260538"/>
                  <a:pt x="4056380" y="306258"/>
                  <a:pt x="4084955" y="305624"/>
                </a:cubicBezTo>
                <a:close/>
                <a:moveTo>
                  <a:pt x="4193540" y="298004"/>
                </a:moveTo>
                <a:cubicBezTo>
                  <a:pt x="4225290" y="298004"/>
                  <a:pt x="4224655" y="248474"/>
                  <a:pt x="4192905" y="249744"/>
                </a:cubicBezTo>
                <a:cubicBezTo>
                  <a:pt x="4161790" y="250379"/>
                  <a:pt x="4163060" y="298638"/>
                  <a:pt x="4193540" y="298004"/>
                </a:cubicBezTo>
                <a:close/>
                <a:moveTo>
                  <a:pt x="4057015" y="420558"/>
                </a:moveTo>
                <a:cubicBezTo>
                  <a:pt x="4088765" y="420558"/>
                  <a:pt x="4084320" y="369758"/>
                  <a:pt x="4052570" y="376108"/>
                </a:cubicBezTo>
                <a:cubicBezTo>
                  <a:pt x="4026535" y="379919"/>
                  <a:pt x="4030980" y="421194"/>
                  <a:pt x="4057015" y="420558"/>
                </a:cubicBezTo>
                <a:close/>
                <a:moveTo>
                  <a:pt x="4149090" y="705038"/>
                </a:moveTo>
                <a:cubicBezTo>
                  <a:pt x="4175125" y="705038"/>
                  <a:pt x="4171315" y="664399"/>
                  <a:pt x="4146550" y="668844"/>
                </a:cubicBezTo>
                <a:cubicBezTo>
                  <a:pt x="4124325" y="671384"/>
                  <a:pt x="4126865" y="705674"/>
                  <a:pt x="4149090" y="705038"/>
                </a:cubicBezTo>
                <a:close/>
                <a:moveTo>
                  <a:pt x="4199255" y="199579"/>
                </a:moveTo>
                <a:cubicBezTo>
                  <a:pt x="4232275" y="202119"/>
                  <a:pt x="4235450" y="150683"/>
                  <a:pt x="4202430" y="148779"/>
                </a:cubicBezTo>
                <a:cubicBezTo>
                  <a:pt x="4170045" y="146238"/>
                  <a:pt x="4166235" y="197674"/>
                  <a:pt x="4199255" y="199579"/>
                </a:cubicBezTo>
                <a:close/>
                <a:moveTo>
                  <a:pt x="4159250" y="404683"/>
                </a:moveTo>
                <a:cubicBezTo>
                  <a:pt x="4190365" y="405319"/>
                  <a:pt x="4187190" y="355788"/>
                  <a:pt x="4156710" y="359599"/>
                </a:cubicBezTo>
                <a:cubicBezTo>
                  <a:pt x="4128770" y="362774"/>
                  <a:pt x="4131310" y="405954"/>
                  <a:pt x="4159250" y="404683"/>
                </a:cubicBezTo>
                <a:close/>
                <a:moveTo>
                  <a:pt x="3891915" y="722819"/>
                </a:moveTo>
                <a:cubicBezTo>
                  <a:pt x="3868420" y="728534"/>
                  <a:pt x="3878580" y="764729"/>
                  <a:pt x="3901440" y="758379"/>
                </a:cubicBezTo>
                <a:cubicBezTo>
                  <a:pt x="3924300" y="752663"/>
                  <a:pt x="3914775" y="716469"/>
                  <a:pt x="3891915" y="722819"/>
                </a:cubicBezTo>
                <a:close/>
                <a:moveTo>
                  <a:pt x="3973195" y="209104"/>
                </a:moveTo>
                <a:cubicBezTo>
                  <a:pt x="4008755" y="209104"/>
                  <a:pt x="4004310" y="153224"/>
                  <a:pt x="3969385" y="158938"/>
                </a:cubicBezTo>
                <a:cubicBezTo>
                  <a:pt x="3938905" y="162113"/>
                  <a:pt x="3942715" y="209738"/>
                  <a:pt x="3973195" y="209104"/>
                </a:cubicBezTo>
                <a:close/>
                <a:moveTo>
                  <a:pt x="3927475" y="661859"/>
                </a:moveTo>
                <a:cubicBezTo>
                  <a:pt x="3952240" y="655509"/>
                  <a:pt x="3941445" y="616774"/>
                  <a:pt x="3916680" y="623759"/>
                </a:cubicBezTo>
                <a:cubicBezTo>
                  <a:pt x="3891915" y="630744"/>
                  <a:pt x="3903345" y="669479"/>
                  <a:pt x="3927475" y="661859"/>
                </a:cubicBezTo>
                <a:close/>
                <a:moveTo>
                  <a:pt x="3889375" y="550734"/>
                </a:moveTo>
                <a:cubicBezTo>
                  <a:pt x="3914140" y="600263"/>
                  <a:pt x="3958590" y="517713"/>
                  <a:pt x="3903345" y="524699"/>
                </a:cubicBezTo>
                <a:cubicBezTo>
                  <a:pt x="3891915" y="527874"/>
                  <a:pt x="3885565" y="539938"/>
                  <a:pt x="3889375" y="550734"/>
                </a:cubicBezTo>
                <a:close/>
                <a:moveTo>
                  <a:pt x="4060825" y="684084"/>
                </a:moveTo>
                <a:cubicBezTo>
                  <a:pt x="4037330" y="688529"/>
                  <a:pt x="4044950" y="724724"/>
                  <a:pt x="4067810" y="720279"/>
                </a:cubicBezTo>
                <a:cubicBezTo>
                  <a:pt x="4091305" y="715834"/>
                  <a:pt x="4083685" y="679004"/>
                  <a:pt x="4060825" y="684084"/>
                </a:cubicBezTo>
                <a:close/>
                <a:moveTo>
                  <a:pt x="4191635" y="463104"/>
                </a:moveTo>
                <a:cubicBezTo>
                  <a:pt x="4164330" y="466279"/>
                  <a:pt x="4170045" y="508824"/>
                  <a:pt x="4196715" y="505013"/>
                </a:cubicBezTo>
                <a:cubicBezTo>
                  <a:pt x="4224020" y="501838"/>
                  <a:pt x="4218940" y="459294"/>
                  <a:pt x="4191635" y="463104"/>
                </a:cubicBezTo>
                <a:close/>
                <a:moveTo>
                  <a:pt x="3986530" y="781238"/>
                </a:moveTo>
                <a:cubicBezTo>
                  <a:pt x="3964940" y="785049"/>
                  <a:pt x="3971925" y="819338"/>
                  <a:pt x="3992880" y="814259"/>
                </a:cubicBezTo>
                <a:cubicBezTo>
                  <a:pt x="4015105" y="811084"/>
                  <a:pt x="4008120" y="776794"/>
                  <a:pt x="3986530" y="781238"/>
                </a:cubicBezTo>
                <a:close/>
                <a:moveTo>
                  <a:pt x="4006850" y="600899"/>
                </a:moveTo>
                <a:cubicBezTo>
                  <a:pt x="3981450" y="606613"/>
                  <a:pt x="3990975" y="645349"/>
                  <a:pt x="4015740" y="639634"/>
                </a:cubicBezTo>
                <a:cubicBezTo>
                  <a:pt x="4040505" y="633919"/>
                  <a:pt x="4031615" y="594549"/>
                  <a:pt x="4006850" y="600899"/>
                </a:cubicBezTo>
                <a:close/>
                <a:moveTo>
                  <a:pt x="3982720" y="524063"/>
                </a:moveTo>
                <a:cubicBezTo>
                  <a:pt x="3989070" y="550734"/>
                  <a:pt x="4030980" y="540574"/>
                  <a:pt x="4023995" y="513904"/>
                </a:cubicBezTo>
                <a:cubicBezTo>
                  <a:pt x="4017645" y="487869"/>
                  <a:pt x="3975735" y="498029"/>
                  <a:pt x="3982720" y="524063"/>
                </a:cubicBezTo>
                <a:close/>
                <a:moveTo>
                  <a:pt x="3973195" y="275779"/>
                </a:moveTo>
                <a:cubicBezTo>
                  <a:pt x="3942715" y="281494"/>
                  <a:pt x="3952875" y="329754"/>
                  <a:pt x="3983355" y="322769"/>
                </a:cubicBezTo>
                <a:cubicBezTo>
                  <a:pt x="4013835" y="317054"/>
                  <a:pt x="4003675" y="268794"/>
                  <a:pt x="3973195" y="275779"/>
                </a:cubicBezTo>
                <a:close/>
                <a:moveTo>
                  <a:pt x="3957320" y="442783"/>
                </a:moveTo>
                <a:cubicBezTo>
                  <a:pt x="3990340" y="442783"/>
                  <a:pt x="3983990" y="390079"/>
                  <a:pt x="3951605" y="398333"/>
                </a:cubicBezTo>
                <a:cubicBezTo>
                  <a:pt x="3926205" y="404683"/>
                  <a:pt x="3931285" y="443419"/>
                  <a:pt x="3957320" y="442783"/>
                </a:cubicBezTo>
                <a:close/>
                <a:moveTo>
                  <a:pt x="4353560" y="569149"/>
                </a:moveTo>
                <a:cubicBezTo>
                  <a:pt x="4354830" y="594549"/>
                  <a:pt x="4394835" y="592644"/>
                  <a:pt x="4392930" y="567244"/>
                </a:cubicBezTo>
                <a:cubicBezTo>
                  <a:pt x="4392295" y="541209"/>
                  <a:pt x="4351655" y="543749"/>
                  <a:pt x="4353560" y="569149"/>
                </a:cubicBezTo>
                <a:close/>
                <a:moveTo>
                  <a:pt x="4406265" y="310704"/>
                </a:moveTo>
                <a:cubicBezTo>
                  <a:pt x="4436745" y="315783"/>
                  <a:pt x="4444365" y="267524"/>
                  <a:pt x="4413250" y="263079"/>
                </a:cubicBezTo>
                <a:cubicBezTo>
                  <a:pt x="4382770" y="258633"/>
                  <a:pt x="4375785" y="306894"/>
                  <a:pt x="4406265" y="310704"/>
                </a:cubicBezTo>
                <a:close/>
                <a:moveTo>
                  <a:pt x="4388485" y="492313"/>
                </a:moveTo>
                <a:cubicBezTo>
                  <a:pt x="4415790" y="492949"/>
                  <a:pt x="4415790" y="449133"/>
                  <a:pt x="4388485" y="449769"/>
                </a:cubicBezTo>
                <a:cubicBezTo>
                  <a:pt x="4360545" y="449769"/>
                  <a:pt x="4361180" y="492949"/>
                  <a:pt x="4388485" y="492313"/>
                </a:cubicBezTo>
                <a:close/>
                <a:moveTo>
                  <a:pt x="4404995" y="677734"/>
                </a:moveTo>
                <a:cubicBezTo>
                  <a:pt x="4429760" y="677734"/>
                  <a:pt x="4428490" y="639634"/>
                  <a:pt x="4404360" y="640904"/>
                </a:cubicBezTo>
                <a:cubicBezTo>
                  <a:pt x="4380865" y="642174"/>
                  <a:pt x="4381500" y="678369"/>
                  <a:pt x="4404995" y="677734"/>
                </a:cubicBezTo>
                <a:close/>
                <a:moveTo>
                  <a:pt x="4363720" y="397063"/>
                </a:moveTo>
                <a:cubicBezTo>
                  <a:pt x="4392930" y="398333"/>
                  <a:pt x="4394200" y="352613"/>
                  <a:pt x="4364990" y="351979"/>
                </a:cubicBezTo>
                <a:cubicBezTo>
                  <a:pt x="4335780" y="350074"/>
                  <a:pt x="4334510" y="396429"/>
                  <a:pt x="4363720" y="397063"/>
                </a:cubicBezTo>
                <a:close/>
                <a:moveTo>
                  <a:pt x="4614545" y="358329"/>
                </a:moveTo>
                <a:cubicBezTo>
                  <a:pt x="4643755" y="367854"/>
                  <a:pt x="4658995" y="321499"/>
                  <a:pt x="4628515" y="312608"/>
                </a:cubicBezTo>
                <a:cubicBezTo>
                  <a:pt x="4598670" y="303083"/>
                  <a:pt x="4584700" y="350074"/>
                  <a:pt x="4614545" y="358329"/>
                </a:cubicBezTo>
                <a:close/>
                <a:moveTo>
                  <a:pt x="4546600" y="391983"/>
                </a:moveTo>
                <a:cubicBezTo>
                  <a:pt x="4540885" y="420558"/>
                  <a:pt x="4586605" y="428813"/>
                  <a:pt x="4591050" y="399604"/>
                </a:cubicBezTo>
                <a:cubicBezTo>
                  <a:pt x="4596765" y="371029"/>
                  <a:pt x="4551680" y="362774"/>
                  <a:pt x="4546600" y="391983"/>
                </a:cubicBezTo>
                <a:close/>
                <a:moveTo>
                  <a:pt x="4526915" y="269429"/>
                </a:moveTo>
                <a:cubicBezTo>
                  <a:pt x="4557395" y="280858"/>
                  <a:pt x="4575175" y="231963"/>
                  <a:pt x="4544060" y="221804"/>
                </a:cubicBezTo>
                <a:cubicBezTo>
                  <a:pt x="4512310" y="210374"/>
                  <a:pt x="4495165" y="259269"/>
                  <a:pt x="4526915" y="269429"/>
                </a:cubicBezTo>
                <a:close/>
                <a:moveTo>
                  <a:pt x="4537075" y="566609"/>
                </a:moveTo>
                <a:cubicBezTo>
                  <a:pt x="4535805" y="592009"/>
                  <a:pt x="4575810" y="593913"/>
                  <a:pt x="4576445" y="568513"/>
                </a:cubicBezTo>
                <a:cubicBezTo>
                  <a:pt x="4577715" y="542479"/>
                  <a:pt x="4537710" y="541209"/>
                  <a:pt x="4537075" y="566609"/>
                </a:cubicBezTo>
                <a:close/>
                <a:moveTo>
                  <a:pt x="4337685" y="663763"/>
                </a:moveTo>
                <a:cubicBezTo>
                  <a:pt x="4335780" y="640269"/>
                  <a:pt x="4298950" y="643444"/>
                  <a:pt x="4300855" y="666938"/>
                </a:cubicBezTo>
                <a:cubicBezTo>
                  <a:pt x="4302760" y="691069"/>
                  <a:pt x="4340225" y="687259"/>
                  <a:pt x="4337685" y="663763"/>
                </a:cubicBezTo>
                <a:close/>
                <a:moveTo>
                  <a:pt x="4300220" y="299908"/>
                </a:moveTo>
                <a:cubicBezTo>
                  <a:pt x="4331335" y="302449"/>
                  <a:pt x="4334510" y="253554"/>
                  <a:pt x="4303395" y="252283"/>
                </a:cubicBezTo>
                <a:cubicBezTo>
                  <a:pt x="4272280" y="249744"/>
                  <a:pt x="4269740" y="298638"/>
                  <a:pt x="4300220" y="299908"/>
                </a:cubicBezTo>
                <a:close/>
                <a:moveTo>
                  <a:pt x="4227830" y="778063"/>
                </a:moveTo>
                <a:cubicBezTo>
                  <a:pt x="4251325" y="778063"/>
                  <a:pt x="4248785" y="741234"/>
                  <a:pt x="4225925" y="744409"/>
                </a:cubicBezTo>
                <a:cubicBezTo>
                  <a:pt x="4205605" y="746313"/>
                  <a:pt x="4207510" y="778063"/>
                  <a:pt x="4227830" y="778063"/>
                </a:cubicBezTo>
                <a:close/>
                <a:moveTo>
                  <a:pt x="4261485" y="397063"/>
                </a:moveTo>
                <a:cubicBezTo>
                  <a:pt x="4291330" y="397699"/>
                  <a:pt x="4290695" y="350074"/>
                  <a:pt x="4260850" y="351979"/>
                </a:cubicBezTo>
                <a:cubicBezTo>
                  <a:pt x="4231640" y="352613"/>
                  <a:pt x="4232910" y="397699"/>
                  <a:pt x="4261485" y="397063"/>
                </a:cubicBezTo>
                <a:close/>
                <a:moveTo>
                  <a:pt x="4631055" y="310704"/>
                </a:moveTo>
                <a:cubicBezTo>
                  <a:pt x="4660900" y="324674"/>
                  <a:pt x="4681855" y="277049"/>
                  <a:pt x="4651375" y="264349"/>
                </a:cubicBezTo>
                <a:cubicBezTo>
                  <a:pt x="4621530" y="250379"/>
                  <a:pt x="4600575" y="298004"/>
                  <a:pt x="4631055" y="310704"/>
                </a:cubicBezTo>
                <a:close/>
                <a:moveTo>
                  <a:pt x="4310380" y="212279"/>
                </a:moveTo>
                <a:cubicBezTo>
                  <a:pt x="4342765" y="218629"/>
                  <a:pt x="4351655" y="167194"/>
                  <a:pt x="4318635" y="162113"/>
                </a:cubicBezTo>
                <a:cubicBezTo>
                  <a:pt x="4286250" y="156399"/>
                  <a:pt x="4277360" y="207833"/>
                  <a:pt x="4310380" y="212279"/>
                </a:cubicBezTo>
                <a:close/>
                <a:moveTo>
                  <a:pt x="3065780" y="1015554"/>
                </a:moveTo>
                <a:cubicBezTo>
                  <a:pt x="3088005" y="999679"/>
                  <a:pt x="3063240" y="964754"/>
                  <a:pt x="3041015" y="981263"/>
                </a:cubicBezTo>
                <a:cubicBezTo>
                  <a:pt x="3018155" y="997138"/>
                  <a:pt x="3043555" y="1032063"/>
                  <a:pt x="3065780" y="1015554"/>
                </a:cubicBezTo>
                <a:close/>
                <a:moveTo>
                  <a:pt x="4307840" y="769809"/>
                </a:moveTo>
                <a:cubicBezTo>
                  <a:pt x="4330700" y="769809"/>
                  <a:pt x="4329430" y="733613"/>
                  <a:pt x="4306570" y="736154"/>
                </a:cubicBezTo>
                <a:cubicBezTo>
                  <a:pt x="4285615" y="737424"/>
                  <a:pt x="4286885" y="770444"/>
                  <a:pt x="4307840" y="769809"/>
                </a:cubicBezTo>
                <a:close/>
                <a:moveTo>
                  <a:pt x="4289425" y="453579"/>
                </a:moveTo>
                <a:cubicBezTo>
                  <a:pt x="4262120" y="454849"/>
                  <a:pt x="4264660" y="498029"/>
                  <a:pt x="4292600" y="496124"/>
                </a:cubicBezTo>
                <a:cubicBezTo>
                  <a:pt x="4319905" y="494219"/>
                  <a:pt x="4317365" y="451038"/>
                  <a:pt x="4289425" y="453579"/>
                </a:cubicBezTo>
                <a:close/>
                <a:moveTo>
                  <a:pt x="4262120" y="576769"/>
                </a:moveTo>
                <a:cubicBezTo>
                  <a:pt x="4264025" y="602169"/>
                  <a:pt x="4304030" y="598359"/>
                  <a:pt x="4301490" y="572959"/>
                </a:cubicBezTo>
                <a:cubicBezTo>
                  <a:pt x="4299585" y="547559"/>
                  <a:pt x="4258945" y="551369"/>
                  <a:pt x="4262120" y="576769"/>
                </a:cubicBezTo>
                <a:close/>
                <a:moveTo>
                  <a:pt x="3395980" y="773619"/>
                </a:moveTo>
                <a:cubicBezTo>
                  <a:pt x="3382645" y="750124"/>
                  <a:pt x="3345180" y="771713"/>
                  <a:pt x="3359785" y="795209"/>
                </a:cubicBezTo>
                <a:cubicBezTo>
                  <a:pt x="3373755" y="818704"/>
                  <a:pt x="3410585" y="797113"/>
                  <a:pt x="3395980" y="773619"/>
                </a:cubicBezTo>
                <a:close/>
                <a:moveTo>
                  <a:pt x="3402965" y="897444"/>
                </a:moveTo>
                <a:cubicBezTo>
                  <a:pt x="3380740" y="906969"/>
                  <a:pt x="3396615" y="941259"/>
                  <a:pt x="3418205" y="931099"/>
                </a:cubicBezTo>
                <a:cubicBezTo>
                  <a:pt x="3439795" y="921574"/>
                  <a:pt x="3424555" y="887284"/>
                  <a:pt x="3402965" y="897444"/>
                </a:cubicBezTo>
                <a:close/>
                <a:moveTo>
                  <a:pt x="3402330" y="828863"/>
                </a:moveTo>
                <a:cubicBezTo>
                  <a:pt x="3379470" y="840294"/>
                  <a:pt x="3397885" y="875854"/>
                  <a:pt x="3420110" y="863788"/>
                </a:cubicBezTo>
                <a:cubicBezTo>
                  <a:pt x="3443605" y="852994"/>
                  <a:pt x="3425190" y="816799"/>
                  <a:pt x="3402330" y="828863"/>
                </a:cubicBezTo>
                <a:close/>
                <a:moveTo>
                  <a:pt x="3385185" y="657413"/>
                </a:moveTo>
                <a:cubicBezTo>
                  <a:pt x="3360420" y="672654"/>
                  <a:pt x="3385185" y="711388"/>
                  <a:pt x="3409315" y="695513"/>
                </a:cubicBezTo>
                <a:cubicBezTo>
                  <a:pt x="3434715" y="679638"/>
                  <a:pt x="3409950" y="640904"/>
                  <a:pt x="3385185" y="657413"/>
                </a:cubicBezTo>
                <a:close/>
                <a:moveTo>
                  <a:pt x="3367405" y="966659"/>
                </a:moveTo>
                <a:cubicBezTo>
                  <a:pt x="3347085" y="974279"/>
                  <a:pt x="3359785" y="1006663"/>
                  <a:pt x="3380105" y="998409"/>
                </a:cubicBezTo>
                <a:cubicBezTo>
                  <a:pt x="3400425" y="990154"/>
                  <a:pt x="3387725" y="958404"/>
                  <a:pt x="3367405" y="966659"/>
                </a:cubicBezTo>
                <a:close/>
                <a:moveTo>
                  <a:pt x="3547110" y="364679"/>
                </a:moveTo>
                <a:cubicBezTo>
                  <a:pt x="3589655" y="363408"/>
                  <a:pt x="3571240" y="296733"/>
                  <a:pt x="3534410" y="317054"/>
                </a:cubicBezTo>
                <a:cubicBezTo>
                  <a:pt x="3512185" y="329119"/>
                  <a:pt x="3522345" y="365949"/>
                  <a:pt x="3547110" y="364679"/>
                </a:cubicBezTo>
                <a:close/>
                <a:moveTo>
                  <a:pt x="3485515" y="788224"/>
                </a:moveTo>
                <a:cubicBezTo>
                  <a:pt x="3462020" y="799019"/>
                  <a:pt x="3479800" y="835213"/>
                  <a:pt x="3502660" y="823784"/>
                </a:cubicBezTo>
                <a:cubicBezTo>
                  <a:pt x="3525520" y="812988"/>
                  <a:pt x="3508375" y="776794"/>
                  <a:pt x="3485515" y="788224"/>
                </a:cubicBezTo>
                <a:close/>
                <a:moveTo>
                  <a:pt x="3474085" y="602804"/>
                </a:moveTo>
                <a:cubicBezTo>
                  <a:pt x="3448685" y="617409"/>
                  <a:pt x="3472180" y="656779"/>
                  <a:pt x="3496945" y="641538"/>
                </a:cubicBezTo>
                <a:cubicBezTo>
                  <a:pt x="3522345" y="627569"/>
                  <a:pt x="3498850" y="587563"/>
                  <a:pt x="3474085" y="602804"/>
                </a:cubicBezTo>
                <a:close/>
                <a:moveTo>
                  <a:pt x="3460750" y="522158"/>
                </a:moveTo>
                <a:cubicBezTo>
                  <a:pt x="3477260" y="548829"/>
                  <a:pt x="3518535" y="522794"/>
                  <a:pt x="3501390" y="496758"/>
                </a:cubicBezTo>
                <a:cubicBezTo>
                  <a:pt x="3484880" y="470088"/>
                  <a:pt x="3443605" y="496124"/>
                  <a:pt x="3460750" y="522158"/>
                </a:cubicBezTo>
                <a:close/>
                <a:moveTo>
                  <a:pt x="3450590" y="425638"/>
                </a:moveTo>
                <a:cubicBezTo>
                  <a:pt x="3494405" y="424369"/>
                  <a:pt x="3473450" y="355788"/>
                  <a:pt x="3435985" y="379283"/>
                </a:cubicBezTo>
                <a:cubicBezTo>
                  <a:pt x="3415665" y="391983"/>
                  <a:pt x="3426460" y="426274"/>
                  <a:pt x="3450590" y="425638"/>
                </a:cubicBezTo>
                <a:close/>
                <a:moveTo>
                  <a:pt x="3298825" y="714563"/>
                </a:moveTo>
                <a:cubicBezTo>
                  <a:pt x="3274695" y="731074"/>
                  <a:pt x="3300730" y="768538"/>
                  <a:pt x="3324225" y="752029"/>
                </a:cubicBezTo>
                <a:lnTo>
                  <a:pt x="3324225" y="752029"/>
                </a:lnTo>
                <a:cubicBezTo>
                  <a:pt x="3348990" y="735519"/>
                  <a:pt x="3322955" y="698054"/>
                  <a:pt x="3298825" y="714563"/>
                </a:cubicBezTo>
                <a:close/>
                <a:moveTo>
                  <a:pt x="3283585" y="647888"/>
                </a:moveTo>
                <a:cubicBezTo>
                  <a:pt x="3302000" y="672654"/>
                  <a:pt x="3340735" y="643444"/>
                  <a:pt x="3321685" y="618679"/>
                </a:cubicBezTo>
                <a:cubicBezTo>
                  <a:pt x="3303270" y="593913"/>
                  <a:pt x="3264535" y="623759"/>
                  <a:pt x="3283585" y="647888"/>
                </a:cubicBezTo>
                <a:close/>
                <a:moveTo>
                  <a:pt x="3348355" y="942529"/>
                </a:moveTo>
                <a:cubicBezTo>
                  <a:pt x="3338195" y="920938"/>
                  <a:pt x="3304540" y="936813"/>
                  <a:pt x="3315335" y="958404"/>
                </a:cubicBezTo>
                <a:cubicBezTo>
                  <a:pt x="3325495" y="979994"/>
                  <a:pt x="3359150" y="964119"/>
                  <a:pt x="3348355" y="942529"/>
                </a:cubicBezTo>
                <a:close/>
                <a:moveTo>
                  <a:pt x="3268980" y="564069"/>
                </a:moveTo>
                <a:cubicBezTo>
                  <a:pt x="3314700" y="562163"/>
                  <a:pt x="3289300" y="491044"/>
                  <a:pt x="3252470" y="518983"/>
                </a:cubicBezTo>
                <a:cubicBezTo>
                  <a:pt x="3252470" y="518983"/>
                  <a:pt x="3252470" y="518983"/>
                  <a:pt x="3252470" y="518983"/>
                </a:cubicBezTo>
                <a:cubicBezTo>
                  <a:pt x="3234690" y="533588"/>
                  <a:pt x="3246120" y="564704"/>
                  <a:pt x="3268980" y="564069"/>
                </a:cubicBezTo>
                <a:close/>
                <a:moveTo>
                  <a:pt x="3292475" y="997138"/>
                </a:moveTo>
                <a:cubicBezTo>
                  <a:pt x="3272155" y="1005394"/>
                  <a:pt x="3285490" y="1037144"/>
                  <a:pt x="3305810" y="1028254"/>
                </a:cubicBezTo>
                <a:cubicBezTo>
                  <a:pt x="3326130" y="1019999"/>
                  <a:pt x="3312795" y="988249"/>
                  <a:pt x="3292475" y="997138"/>
                </a:cubicBezTo>
                <a:close/>
                <a:moveTo>
                  <a:pt x="3357880" y="492313"/>
                </a:moveTo>
                <a:cubicBezTo>
                  <a:pt x="3402965" y="490408"/>
                  <a:pt x="3379470" y="420558"/>
                  <a:pt x="3342640" y="446594"/>
                </a:cubicBezTo>
                <a:cubicBezTo>
                  <a:pt x="3322955" y="460563"/>
                  <a:pt x="3335020" y="493583"/>
                  <a:pt x="3357880" y="492313"/>
                </a:cubicBezTo>
                <a:close/>
                <a:moveTo>
                  <a:pt x="3371215" y="583119"/>
                </a:moveTo>
                <a:cubicBezTo>
                  <a:pt x="3388995" y="609154"/>
                  <a:pt x="3429000" y="580579"/>
                  <a:pt x="3410585" y="555813"/>
                </a:cubicBezTo>
                <a:cubicBezTo>
                  <a:pt x="3392805" y="529779"/>
                  <a:pt x="3352800" y="557719"/>
                  <a:pt x="3371215" y="583119"/>
                </a:cubicBezTo>
                <a:close/>
                <a:moveTo>
                  <a:pt x="3330575" y="908874"/>
                </a:moveTo>
                <a:cubicBezTo>
                  <a:pt x="3362960" y="908238"/>
                  <a:pt x="3350260" y="856804"/>
                  <a:pt x="3321050" y="872044"/>
                </a:cubicBezTo>
                <a:cubicBezTo>
                  <a:pt x="3302635" y="880934"/>
                  <a:pt x="3310890" y="909509"/>
                  <a:pt x="3330575" y="908874"/>
                </a:cubicBezTo>
                <a:close/>
                <a:moveTo>
                  <a:pt x="3576955" y="787588"/>
                </a:moveTo>
                <a:cubicBezTo>
                  <a:pt x="3608070" y="786954"/>
                  <a:pt x="3597910" y="737424"/>
                  <a:pt x="3568700" y="749488"/>
                </a:cubicBezTo>
                <a:cubicBezTo>
                  <a:pt x="3549650" y="757744"/>
                  <a:pt x="3556635" y="788224"/>
                  <a:pt x="3576955" y="787588"/>
                </a:cubicBezTo>
                <a:close/>
                <a:moveTo>
                  <a:pt x="3762375" y="338644"/>
                </a:moveTo>
                <a:cubicBezTo>
                  <a:pt x="3733165" y="349438"/>
                  <a:pt x="3750945" y="395158"/>
                  <a:pt x="3779520" y="383729"/>
                </a:cubicBezTo>
                <a:cubicBezTo>
                  <a:pt x="3808730" y="372933"/>
                  <a:pt x="3790950" y="327213"/>
                  <a:pt x="3762375" y="338644"/>
                </a:cubicBezTo>
                <a:close/>
                <a:moveTo>
                  <a:pt x="3752850" y="266254"/>
                </a:moveTo>
                <a:cubicBezTo>
                  <a:pt x="3792220" y="265619"/>
                  <a:pt x="3780790" y="204024"/>
                  <a:pt x="3743960" y="216724"/>
                </a:cubicBezTo>
                <a:cubicBezTo>
                  <a:pt x="3717925" y="226249"/>
                  <a:pt x="3725545" y="267524"/>
                  <a:pt x="3752850" y="266254"/>
                </a:cubicBezTo>
                <a:close/>
                <a:moveTo>
                  <a:pt x="3648075" y="311338"/>
                </a:moveTo>
                <a:cubicBezTo>
                  <a:pt x="3688715" y="310704"/>
                  <a:pt x="3674110" y="245933"/>
                  <a:pt x="3637280" y="263079"/>
                </a:cubicBezTo>
                <a:cubicBezTo>
                  <a:pt x="3613150" y="273874"/>
                  <a:pt x="3622040" y="311974"/>
                  <a:pt x="3648075" y="311338"/>
                </a:cubicBezTo>
                <a:close/>
                <a:moveTo>
                  <a:pt x="3813810" y="781874"/>
                </a:moveTo>
                <a:cubicBezTo>
                  <a:pt x="3841115" y="781874"/>
                  <a:pt x="3834765" y="738059"/>
                  <a:pt x="3808730" y="745679"/>
                </a:cubicBezTo>
                <a:cubicBezTo>
                  <a:pt x="3788410" y="751394"/>
                  <a:pt x="3793490" y="782509"/>
                  <a:pt x="3813810" y="781874"/>
                </a:cubicBezTo>
                <a:close/>
                <a:moveTo>
                  <a:pt x="3828415" y="650429"/>
                </a:moveTo>
                <a:cubicBezTo>
                  <a:pt x="3803650" y="658049"/>
                  <a:pt x="3816350" y="696149"/>
                  <a:pt x="3840480" y="687894"/>
                </a:cubicBezTo>
                <a:cubicBezTo>
                  <a:pt x="3865245" y="680909"/>
                  <a:pt x="3852545" y="642174"/>
                  <a:pt x="3828415" y="650429"/>
                </a:cubicBezTo>
                <a:close/>
                <a:moveTo>
                  <a:pt x="3861435" y="231963"/>
                </a:moveTo>
                <a:cubicBezTo>
                  <a:pt x="3898900" y="231963"/>
                  <a:pt x="3891280" y="172908"/>
                  <a:pt x="3855085" y="181799"/>
                </a:cubicBezTo>
                <a:cubicBezTo>
                  <a:pt x="3827145" y="188783"/>
                  <a:pt x="3832860" y="232599"/>
                  <a:pt x="3861435" y="231963"/>
                </a:cubicBezTo>
                <a:close/>
                <a:moveTo>
                  <a:pt x="3816985" y="596454"/>
                </a:moveTo>
                <a:cubicBezTo>
                  <a:pt x="3849370" y="596454"/>
                  <a:pt x="3840480" y="545019"/>
                  <a:pt x="3810000" y="555179"/>
                </a:cubicBezTo>
                <a:cubicBezTo>
                  <a:pt x="3787775" y="562163"/>
                  <a:pt x="3794125" y="597088"/>
                  <a:pt x="3816985" y="596454"/>
                </a:cubicBezTo>
                <a:close/>
                <a:moveTo>
                  <a:pt x="3858260" y="471994"/>
                </a:moveTo>
                <a:cubicBezTo>
                  <a:pt x="3892550" y="471994"/>
                  <a:pt x="3883660" y="417383"/>
                  <a:pt x="3851275" y="428179"/>
                </a:cubicBezTo>
                <a:cubicBezTo>
                  <a:pt x="3827145" y="435163"/>
                  <a:pt x="3833495" y="473263"/>
                  <a:pt x="3858260" y="471994"/>
                </a:cubicBezTo>
                <a:close/>
                <a:moveTo>
                  <a:pt x="3595370" y="561529"/>
                </a:moveTo>
                <a:cubicBezTo>
                  <a:pt x="3582035" y="535494"/>
                  <a:pt x="3541395" y="557084"/>
                  <a:pt x="3555365" y="582484"/>
                </a:cubicBezTo>
                <a:cubicBezTo>
                  <a:pt x="3568700" y="608519"/>
                  <a:pt x="3609340" y="586929"/>
                  <a:pt x="3595370" y="561529"/>
                </a:cubicBezTo>
                <a:close/>
                <a:moveTo>
                  <a:pt x="3688080" y="516444"/>
                </a:moveTo>
                <a:cubicBezTo>
                  <a:pt x="3676015" y="489774"/>
                  <a:pt x="3634740" y="509458"/>
                  <a:pt x="3647440" y="535494"/>
                </a:cubicBezTo>
                <a:cubicBezTo>
                  <a:pt x="3658870" y="562163"/>
                  <a:pt x="3700780" y="543113"/>
                  <a:pt x="3688080" y="516444"/>
                </a:cubicBezTo>
                <a:close/>
                <a:moveTo>
                  <a:pt x="3472180" y="887284"/>
                </a:moveTo>
                <a:cubicBezTo>
                  <a:pt x="3481070" y="909509"/>
                  <a:pt x="3515360" y="894904"/>
                  <a:pt x="3505835" y="873313"/>
                </a:cubicBezTo>
                <a:cubicBezTo>
                  <a:pt x="3497580" y="851088"/>
                  <a:pt x="3462655" y="865694"/>
                  <a:pt x="3472180" y="887284"/>
                </a:cubicBezTo>
                <a:close/>
                <a:moveTo>
                  <a:pt x="3540760" y="920304"/>
                </a:moveTo>
                <a:cubicBezTo>
                  <a:pt x="3533775" y="899349"/>
                  <a:pt x="3501390" y="910779"/>
                  <a:pt x="3509010" y="931734"/>
                </a:cubicBezTo>
                <a:cubicBezTo>
                  <a:pt x="3515995" y="952054"/>
                  <a:pt x="3548380" y="940624"/>
                  <a:pt x="3540760" y="920304"/>
                </a:cubicBezTo>
                <a:close/>
                <a:moveTo>
                  <a:pt x="3567430" y="680909"/>
                </a:moveTo>
                <a:cubicBezTo>
                  <a:pt x="3555365" y="656144"/>
                  <a:pt x="3516630" y="675829"/>
                  <a:pt x="3529965" y="699959"/>
                </a:cubicBezTo>
                <a:cubicBezTo>
                  <a:pt x="3542030" y="724724"/>
                  <a:pt x="3580130" y="705038"/>
                  <a:pt x="3567430" y="680909"/>
                </a:cubicBezTo>
                <a:close/>
                <a:moveTo>
                  <a:pt x="3866515" y="303083"/>
                </a:moveTo>
                <a:cubicBezTo>
                  <a:pt x="3836670" y="311338"/>
                  <a:pt x="3850640" y="358329"/>
                  <a:pt x="3880485" y="348804"/>
                </a:cubicBezTo>
                <a:cubicBezTo>
                  <a:pt x="3910330" y="340549"/>
                  <a:pt x="3896360" y="293558"/>
                  <a:pt x="3866515" y="303083"/>
                </a:cubicBezTo>
                <a:close/>
                <a:moveTo>
                  <a:pt x="3481070" y="725994"/>
                </a:moveTo>
                <a:cubicBezTo>
                  <a:pt x="3468370" y="701863"/>
                  <a:pt x="3430270" y="722184"/>
                  <a:pt x="3444240" y="746313"/>
                </a:cubicBezTo>
                <a:cubicBezTo>
                  <a:pt x="3456940" y="770444"/>
                  <a:pt x="3494405" y="749488"/>
                  <a:pt x="3481070" y="725994"/>
                </a:cubicBezTo>
                <a:close/>
                <a:moveTo>
                  <a:pt x="3442970" y="937449"/>
                </a:moveTo>
                <a:cubicBezTo>
                  <a:pt x="3422015" y="945069"/>
                  <a:pt x="3434715" y="977454"/>
                  <a:pt x="3455035" y="969199"/>
                </a:cubicBezTo>
                <a:cubicBezTo>
                  <a:pt x="3475355" y="961579"/>
                  <a:pt x="3463290" y="929194"/>
                  <a:pt x="3442970" y="937449"/>
                </a:cubicBezTo>
                <a:close/>
                <a:moveTo>
                  <a:pt x="3553460" y="465644"/>
                </a:moveTo>
                <a:cubicBezTo>
                  <a:pt x="3568065" y="492949"/>
                  <a:pt x="3610610" y="469454"/>
                  <a:pt x="3595370" y="442149"/>
                </a:cubicBezTo>
                <a:cubicBezTo>
                  <a:pt x="3580765" y="414844"/>
                  <a:pt x="3538220" y="438338"/>
                  <a:pt x="3553460" y="465644"/>
                </a:cubicBezTo>
                <a:close/>
                <a:moveTo>
                  <a:pt x="3654425" y="713929"/>
                </a:moveTo>
                <a:cubicBezTo>
                  <a:pt x="3630295" y="723454"/>
                  <a:pt x="3645535" y="760284"/>
                  <a:pt x="3669030" y="750759"/>
                </a:cubicBezTo>
                <a:cubicBezTo>
                  <a:pt x="3693160" y="741234"/>
                  <a:pt x="3677920" y="703769"/>
                  <a:pt x="3654425" y="713929"/>
                </a:cubicBezTo>
                <a:close/>
                <a:moveTo>
                  <a:pt x="6868160" y="2072829"/>
                </a:moveTo>
                <a:cubicBezTo>
                  <a:pt x="6890385" y="2091879"/>
                  <a:pt x="6919595" y="2055684"/>
                  <a:pt x="6896735" y="2037904"/>
                </a:cubicBezTo>
                <a:cubicBezTo>
                  <a:pt x="6873875" y="2019488"/>
                  <a:pt x="6845300" y="2055049"/>
                  <a:pt x="6868160" y="2072829"/>
                </a:cubicBezTo>
                <a:close/>
                <a:moveTo>
                  <a:pt x="9773920" y="1907094"/>
                </a:moveTo>
                <a:cubicBezTo>
                  <a:pt x="9783445" y="1919794"/>
                  <a:pt x="9804400" y="1913444"/>
                  <a:pt x="9806305" y="1898204"/>
                </a:cubicBezTo>
                <a:cubicBezTo>
                  <a:pt x="9853930" y="1966784"/>
                  <a:pt x="9854565" y="1825179"/>
                  <a:pt x="9806305" y="1893124"/>
                </a:cubicBezTo>
                <a:cubicBezTo>
                  <a:pt x="9801860" y="1862644"/>
                  <a:pt x="9754870" y="1882329"/>
                  <a:pt x="9773920" y="1907094"/>
                </a:cubicBezTo>
                <a:close/>
                <a:moveTo>
                  <a:pt x="9812020" y="1806129"/>
                </a:moveTo>
                <a:cubicBezTo>
                  <a:pt x="9835515" y="1805494"/>
                  <a:pt x="9825355" y="1768663"/>
                  <a:pt x="9805035" y="1779459"/>
                </a:cubicBezTo>
                <a:cubicBezTo>
                  <a:pt x="9792335" y="1786444"/>
                  <a:pt x="9798050" y="1806763"/>
                  <a:pt x="9812020" y="1806129"/>
                </a:cubicBezTo>
                <a:close/>
                <a:moveTo>
                  <a:pt x="9760585" y="1803588"/>
                </a:moveTo>
                <a:cubicBezTo>
                  <a:pt x="9780905" y="1803588"/>
                  <a:pt x="9773920" y="1771204"/>
                  <a:pt x="9755505" y="1779459"/>
                </a:cubicBezTo>
                <a:cubicBezTo>
                  <a:pt x="9742805" y="1784538"/>
                  <a:pt x="9747250" y="1804224"/>
                  <a:pt x="9760585" y="1803588"/>
                </a:cubicBezTo>
                <a:close/>
                <a:moveTo>
                  <a:pt x="9786620" y="1938209"/>
                </a:moveTo>
                <a:cubicBezTo>
                  <a:pt x="9766300" y="1956624"/>
                  <a:pt x="9796145" y="1988374"/>
                  <a:pt x="9815830" y="1968688"/>
                </a:cubicBezTo>
                <a:cubicBezTo>
                  <a:pt x="9836150" y="1950274"/>
                  <a:pt x="9806305" y="1919159"/>
                  <a:pt x="9786620" y="1938209"/>
                </a:cubicBezTo>
                <a:close/>
                <a:moveTo>
                  <a:pt x="9795510" y="1838513"/>
                </a:moveTo>
                <a:cubicBezTo>
                  <a:pt x="9773920" y="1882963"/>
                  <a:pt x="9855200" y="1862644"/>
                  <a:pt x="9815195" y="1833434"/>
                </a:cubicBezTo>
                <a:cubicBezTo>
                  <a:pt x="9832340" y="1794063"/>
                  <a:pt x="9761855" y="1811844"/>
                  <a:pt x="9795510" y="1838513"/>
                </a:cubicBezTo>
                <a:close/>
                <a:moveTo>
                  <a:pt x="9856470" y="1795969"/>
                </a:moveTo>
                <a:cubicBezTo>
                  <a:pt x="9851390" y="1837244"/>
                  <a:pt x="9914890" y="1808034"/>
                  <a:pt x="9879965" y="1785174"/>
                </a:cubicBezTo>
                <a:cubicBezTo>
                  <a:pt x="9880600" y="1780094"/>
                  <a:pt x="9878695" y="1773744"/>
                  <a:pt x="9873615" y="1770569"/>
                </a:cubicBezTo>
                <a:cubicBezTo>
                  <a:pt x="9885045" y="1769299"/>
                  <a:pt x="9889490" y="1754059"/>
                  <a:pt x="9881235" y="1746438"/>
                </a:cubicBezTo>
                <a:cubicBezTo>
                  <a:pt x="9906635" y="1721674"/>
                  <a:pt x="9847580" y="1713419"/>
                  <a:pt x="9864725" y="1743899"/>
                </a:cubicBezTo>
                <a:cubicBezTo>
                  <a:pt x="9855835" y="1748344"/>
                  <a:pt x="9854565" y="1761679"/>
                  <a:pt x="9862185" y="1767394"/>
                </a:cubicBezTo>
                <a:cubicBezTo>
                  <a:pt x="9848215" y="1768663"/>
                  <a:pt x="9843770" y="1788984"/>
                  <a:pt x="9856470" y="1795969"/>
                </a:cubicBezTo>
                <a:close/>
                <a:moveTo>
                  <a:pt x="10309860" y="1387663"/>
                </a:moveTo>
                <a:cubicBezTo>
                  <a:pt x="10313670" y="1402904"/>
                  <a:pt x="10333990" y="1407984"/>
                  <a:pt x="10344785" y="1396554"/>
                </a:cubicBezTo>
                <a:cubicBezTo>
                  <a:pt x="10346690" y="1396554"/>
                  <a:pt x="10349230" y="1395919"/>
                  <a:pt x="10351135" y="1395284"/>
                </a:cubicBezTo>
                <a:cubicBezTo>
                  <a:pt x="10362565" y="1415604"/>
                  <a:pt x="10393680" y="1395284"/>
                  <a:pt x="10379710" y="1376869"/>
                </a:cubicBezTo>
                <a:cubicBezTo>
                  <a:pt x="10380980" y="1369249"/>
                  <a:pt x="10376535" y="1360359"/>
                  <a:pt x="10368915" y="1357819"/>
                </a:cubicBezTo>
                <a:cubicBezTo>
                  <a:pt x="10391775" y="1329244"/>
                  <a:pt x="10340340" y="1300669"/>
                  <a:pt x="10327640" y="1334324"/>
                </a:cubicBezTo>
                <a:cubicBezTo>
                  <a:pt x="10314305" y="1336863"/>
                  <a:pt x="10304780" y="1352104"/>
                  <a:pt x="10308590" y="1365438"/>
                </a:cubicBezTo>
                <a:cubicBezTo>
                  <a:pt x="10305415" y="1372424"/>
                  <a:pt x="10306050" y="1380679"/>
                  <a:pt x="10309860" y="1387663"/>
                </a:cubicBezTo>
                <a:close/>
                <a:moveTo>
                  <a:pt x="9817735" y="1776919"/>
                </a:moveTo>
                <a:cubicBezTo>
                  <a:pt x="9838055" y="1776284"/>
                  <a:pt x="9831070" y="1743899"/>
                  <a:pt x="9812020" y="1752788"/>
                </a:cubicBezTo>
                <a:cubicBezTo>
                  <a:pt x="9799955" y="1757869"/>
                  <a:pt x="9805035" y="1777554"/>
                  <a:pt x="9817735" y="1776919"/>
                </a:cubicBezTo>
                <a:close/>
                <a:moveTo>
                  <a:pt x="9854565" y="1859469"/>
                </a:moveTo>
                <a:cubicBezTo>
                  <a:pt x="9887585" y="1858199"/>
                  <a:pt x="9869170" y="1806763"/>
                  <a:pt x="9842500" y="1827084"/>
                </a:cubicBezTo>
                <a:cubicBezTo>
                  <a:pt x="9829800" y="1837244"/>
                  <a:pt x="9838055" y="1860104"/>
                  <a:pt x="9854565" y="1859469"/>
                </a:cubicBezTo>
                <a:close/>
                <a:moveTo>
                  <a:pt x="9690735" y="1872169"/>
                </a:moveTo>
                <a:cubicBezTo>
                  <a:pt x="9713595" y="1871534"/>
                  <a:pt x="9704705" y="1835338"/>
                  <a:pt x="9684385" y="1845499"/>
                </a:cubicBezTo>
                <a:cubicBezTo>
                  <a:pt x="9671050" y="1851213"/>
                  <a:pt x="9676130" y="1872804"/>
                  <a:pt x="9690735" y="1872169"/>
                </a:cubicBezTo>
                <a:close/>
                <a:moveTo>
                  <a:pt x="9676765" y="1957894"/>
                </a:moveTo>
                <a:cubicBezTo>
                  <a:pt x="9705340" y="1957259"/>
                  <a:pt x="9692005" y="1911538"/>
                  <a:pt x="9667240" y="1926779"/>
                </a:cubicBezTo>
                <a:cubicBezTo>
                  <a:pt x="9653270" y="1935669"/>
                  <a:pt x="9660255" y="1958529"/>
                  <a:pt x="9676765" y="1957894"/>
                </a:cubicBezTo>
                <a:close/>
                <a:moveTo>
                  <a:pt x="10376535" y="1307654"/>
                </a:moveTo>
                <a:cubicBezTo>
                  <a:pt x="10373360" y="1322259"/>
                  <a:pt x="10389235" y="1336229"/>
                  <a:pt x="10403205" y="1331149"/>
                </a:cubicBezTo>
                <a:cubicBezTo>
                  <a:pt x="10406380" y="1332419"/>
                  <a:pt x="10410190" y="1333054"/>
                  <a:pt x="10413365" y="1332419"/>
                </a:cubicBezTo>
                <a:cubicBezTo>
                  <a:pt x="10406380" y="1366074"/>
                  <a:pt x="10462260" y="1354644"/>
                  <a:pt x="10442575" y="1326069"/>
                </a:cubicBezTo>
                <a:cubicBezTo>
                  <a:pt x="10450195" y="1314004"/>
                  <a:pt x="10439400" y="1297494"/>
                  <a:pt x="10425430" y="1298763"/>
                </a:cubicBezTo>
                <a:cubicBezTo>
                  <a:pt x="10423525" y="1296859"/>
                  <a:pt x="10421620" y="1295588"/>
                  <a:pt x="10419080" y="1294319"/>
                </a:cubicBezTo>
                <a:cubicBezTo>
                  <a:pt x="10419080" y="1291779"/>
                  <a:pt x="10418445" y="1289238"/>
                  <a:pt x="10417175" y="1286699"/>
                </a:cubicBezTo>
                <a:cubicBezTo>
                  <a:pt x="10419080" y="1284794"/>
                  <a:pt x="10421620" y="1283524"/>
                  <a:pt x="10422890" y="1280984"/>
                </a:cubicBezTo>
                <a:cubicBezTo>
                  <a:pt x="10464800" y="1272729"/>
                  <a:pt x="10431145" y="1211134"/>
                  <a:pt x="10401300" y="1240979"/>
                </a:cubicBezTo>
                <a:cubicBezTo>
                  <a:pt x="10382250" y="1240344"/>
                  <a:pt x="10369550" y="1265109"/>
                  <a:pt x="10380980" y="1280349"/>
                </a:cubicBezTo>
                <a:cubicBezTo>
                  <a:pt x="10373995" y="1287969"/>
                  <a:pt x="10372090" y="1299399"/>
                  <a:pt x="10376535" y="1307654"/>
                </a:cubicBezTo>
                <a:close/>
                <a:moveTo>
                  <a:pt x="9675495" y="1919159"/>
                </a:moveTo>
                <a:cubicBezTo>
                  <a:pt x="9701530" y="1918524"/>
                  <a:pt x="9690735" y="1877884"/>
                  <a:pt x="9667875" y="1889949"/>
                </a:cubicBezTo>
                <a:cubicBezTo>
                  <a:pt x="9653905" y="1897569"/>
                  <a:pt x="9660255" y="1919794"/>
                  <a:pt x="9675495" y="1919159"/>
                </a:cubicBezTo>
                <a:close/>
                <a:moveTo>
                  <a:pt x="9665970" y="1989009"/>
                </a:moveTo>
                <a:cubicBezTo>
                  <a:pt x="9652635" y="1969324"/>
                  <a:pt x="9622155" y="1990913"/>
                  <a:pt x="9636125" y="2010599"/>
                </a:cubicBezTo>
                <a:cubicBezTo>
                  <a:pt x="9649460" y="2029649"/>
                  <a:pt x="9679940" y="2008059"/>
                  <a:pt x="9665970" y="1989009"/>
                </a:cubicBezTo>
                <a:close/>
                <a:moveTo>
                  <a:pt x="9751695" y="1839784"/>
                </a:moveTo>
                <a:cubicBezTo>
                  <a:pt x="9775190" y="1839149"/>
                  <a:pt x="9765665" y="1802319"/>
                  <a:pt x="9744710" y="1813113"/>
                </a:cubicBezTo>
                <a:cubicBezTo>
                  <a:pt x="9732010" y="1820099"/>
                  <a:pt x="9737725" y="1840419"/>
                  <a:pt x="9751695" y="1839784"/>
                </a:cubicBezTo>
                <a:close/>
                <a:moveTo>
                  <a:pt x="9702165" y="1828988"/>
                </a:moveTo>
                <a:cubicBezTo>
                  <a:pt x="9721850" y="1828354"/>
                  <a:pt x="9715500" y="1797238"/>
                  <a:pt x="9697085" y="1804859"/>
                </a:cubicBezTo>
                <a:cubicBezTo>
                  <a:pt x="9684385" y="1809938"/>
                  <a:pt x="9688830" y="1829624"/>
                  <a:pt x="9702165" y="1828988"/>
                </a:cubicBezTo>
                <a:close/>
                <a:moveTo>
                  <a:pt x="9670415" y="2100134"/>
                </a:moveTo>
                <a:cubicBezTo>
                  <a:pt x="9691370" y="2082988"/>
                  <a:pt x="9663430" y="2049969"/>
                  <a:pt x="9643110" y="2067749"/>
                </a:cubicBezTo>
                <a:cubicBezTo>
                  <a:pt x="9621520" y="2085529"/>
                  <a:pt x="9650095" y="2118549"/>
                  <a:pt x="9670415" y="2100134"/>
                </a:cubicBezTo>
                <a:close/>
                <a:moveTo>
                  <a:pt x="9705975" y="1959799"/>
                </a:moveTo>
                <a:cubicBezTo>
                  <a:pt x="9714230" y="1971229"/>
                  <a:pt x="9732645" y="1968688"/>
                  <a:pt x="9737725" y="1955988"/>
                </a:cubicBezTo>
                <a:cubicBezTo>
                  <a:pt x="9770745" y="2030919"/>
                  <a:pt x="9799320" y="1895029"/>
                  <a:pt x="9738995" y="1949638"/>
                </a:cubicBezTo>
                <a:cubicBezTo>
                  <a:pt x="9738995" y="1916619"/>
                  <a:pt x="9686925" y="1932494"/>
                  <a:pt x="9705975" y="1959799"/>
                </a:cubicBezTo>
                <a:close/>
                <a:moveTo>
                  <a:pt x="9745345" y="2005519"/>
                </a:moveTo>
                <a:cubicBezTo>
                  <a:pt x="9701530" y="1971229"/>
                  <a:pt x="9697085" y="2065209"/>
                  <a:pt x="9744075" y="2035363"/>
                </a:cubicBezTo>
                <a:lnTo>
                  <a:pt x="9744075" y="2035363"/>
                </a:lnTo>
                <a:cubicBezTo>
                  <a:pt x="9752965" y="2027744"/>
                  <a:pt x="9753600" y="2014409"/>
                  <a:pt x="9745345" y="2005519"/>
                </a:cubicBezTo>
                <a:close/>
                <a:moveTo>
                  <a:pt x="9737090" y="1880424"/>
                </a:moveTo>
                <a:cubicBezTo>
                  <a:pt x="9688830" y="1926779"/>
                  <a:pt x="9803130" y="1912809"/>
                  <a:pt x="9744710" y="1879788"/>
                </a:cubicBezTo>
                <a:cubicBezTo>
                  <a:pt x="9788525" y="1837244"/>
                  <a:pt x="9685020" y="1849309"/>
                  <a:pt x="9737090" y="1880424"/>
                </a:cubicBezTo>
                <a:close/>
                <a:moveTo>
                  <a:pt x="10817225" y="939354"/>
                </a:moveTo>
                <a:cubicBezTo>
                  <a:pt x="10796270" y="954594"/>
                  <a:pt x="10821035" y="986344"/>
                  <a:pt x="10840720" y="971104"/>
                </a:cubicBezTo>
                <a:cubicBezTo>
                  <a:pt x="10861675" y="955863"/>
                  <a:pt x="10837545" y="924113"/>
                  <a:pt x="10817225" y="939354"/>
                </a:cubicBezTo>
                <a:close/>
                <a:moveTo>
                  <a:pt x="10849610" y="990788"/>
                </a:moveTo>
                <a:cubicBezTo>
                  <a:pt x="10836275" y="971104"/>
                  <a:pt x="10805795" y="992059"/>
                  <a:pt x="10819130" y="1011744"/>
                </a:cubicBezTo>
                <a:cubicBezTo>
                  <a:pt x="10832465" y="1031429"/>
                  <a:pt x="10863580" y="1010474"/>
                  <a:pt x="10849610" y="990788"/>
                </a:cubicBezTo>
                <a:close/>
                <a:moveTo>
                  <a:pt x="10823575" y="1075879"/>
                </a:moveTo>
                <a:cubicBezTo>
                  <a:pt x="10852150" y="1075244"/>
                  <a:pt x="10839450" y="1030159"/>
                  <a:pt x="10814685" y="1044763"/>
                </a:cubicBezTo>
                <a:cubicBezTo>
                  <a:pt x="10800080" y="1053019"/>
                  <a:pt x="10807065" y="1076513"/>
                  <a:pt x="10823575" y="1075879"/>
                </a:cubicBezTo>
                <a:close/>
                <a:moveTo>
                  <a:pt x="10760075" y="852359"/>
                </a:moveTo>
                <a:cubicBezTo>
                  <a:pt x="10759440" y="893634"/>
                  <a:pt x="10803255" y="879663"/>
                  <a:pt x="10808335" y="858074"/>
                </a:cubicBezTo>
                <a:cubicBezTo>
                  <a:pt x="10808970" y="869504"/>
                  <a:pt x="10817860" y="880299"/>
                  <a:pt x="10830560" y="879663"/>
                </a:cubicBezTo>
                <a:cubicBezTo>
                  <a:pt x="10871835" y="877759"/>
                  <a:pt x="10847705" y="814259"/>
                  <a:pt x="10815320" y="840294"/>
                </a:cubicBezTo>
                <a:cubicBezTo>
                  <a:pt x="10811510" y="843469"/>
                  <a:pt x="10808970" y="847913"/>
                  <a:pt x="10808335" y="852359"/>
                </a:cubicBezTo>
                <a:cubicBezTo>
                  <a:pt x="10807700" y="846009"/>
                  <a:pt x="10803255" y="839024"/>
                  <a:pt x="10793095" y="833309"/>
                </a:cubicBezTo>
                <a:cubicBezTo>
                  <a:pt x="10796905" y="770444"/>
                  <a:pt x="10704195" y="823149"/>
                  <a:pt x="10760075" y="852359"/>
                </a:cubicBezTo>
                <a:close/>
                <a:moveTo>
                  <a:pt x="10810240" y="894904"/>
                </a:moveTo>
                <a:cubicBezTo>
                  <a:pt x="10788650" y="912049"/>
                  <a:pt x="10815955" y="945069"/>
                  <a:pt x="10836910" y="927288"/>
                </a:cubicBezTo>
                <a:cubicBezTo>
                  <a:pt x="10858500" y="910779"/>
                  <a:pt x="10831195" y="877124"/>
                  <a:pt x="10810240" y="894904"/>
                </a:cubicBezTo>
                <a:close/>
                <a:moveTo>
                  <a:pt x="10877550" y="1025713"/>
                </a:moveTo>
                <a:cubicBezTo>
                  <a:pt x="10888345" y="1044763"/>
                  <a:pt x="10918190" y="1026984"/>
                  <a:pt x="10906760" y="1008569"/>
                </a:cubicBezTo>
                <a:cubicBezTo>
                  <a:pt x="10895965" y="989519"/>
                  <a:pt x="10866120" y="1007299"/>
                  <a:pt x="10877550" y="1025713"/>
                </a:cubicBezTo>
                <a:close/>
                <a:moveTo>
                  <a:pt x="10779125" y="1039684"/>
                </a:moveTo>
                <a:cubicBezTo>
                  <a:pt x="10765790" y="1019999"/>
                  <a:pt x="10735310" y="1041588"/>
                  <a:pt x="10749280" y="1061274"/>
                </a:cubicBezTo>
                <a:cubicBezTo>
                  <a:pt x="10762615" y="1080959"/>
                  <a:pt x="10793095" y="1058734"/>
                  <a:pt x="10779125" y="1039684"/>
                </a:cubicBezTo>
                <a:close/>
                <a:moveTo>
                  <a:pt x="10921365" y="943163"/>
                </a:moveTo>
                <a:cubicBezTo>
                  <a:pt x="10908665" y="922844"/>
                  <a:pt x="10877550" y="943163"/>
                  <a:pt x="10890885" y="962849"/>
                </a:cubicBezTo>
                <a:cubicBezTo>
                  <a:pt x="10903585" y="983804"/>
                  <a:pt x="10934700" y="963484"/>
                  <a:pt x="10921365" y="943163"/>
                </a:cubicBezTo>
                <a:close/>
                <a:moveTo>
                  <a:pt x="10445750" y="1232088"/>
                </a:moveTo>
                <a:cubicBezTo>
                  <a:pt x="10439400" y="1244154"/>
                  <a:pt x="10448290" y="1260029"/>
                  <a:pt x="10461625" y="1261934"/>
                </a:cubicBezTo>
                <a:cubicBezTo>
                  <a:pt x="10464800" y="1266379"/>
                  <a:pt x="10469880" y="1269554"/>
                  <a:pt x="10475595" y="1270188"/>
                </a:cubicBezTo>
                <a:cubicBezTo>
                  <a:pt x="10476865" y="1272729"/>
                  <a:pt x="10478770" y="1275269"/>
                  <a:pt x="10480675" y="1276538"/>
                </a:cubicBezTo>
                <a:cubicBezTo>
                  <a:pt x="10455910" y="1314004"/>
                  <a:pt x="10531475" y="1311463"/>
                  <a:pt x="10504170" y="1275904"/>
                </a:cubicBezTo>
                <a:cubicBezTo>
                  <a:pt x="10514965" y="1267013"/>
                  <a:pt x="10510520" y="1247329"/>
                  <a:pt x="10496550" y="1244788"/>
                </a:cubicBezTo>
                <a:cubicBezTo>
                  <a:pt x="10495280" y="1239074"/>
                  <a:pt x="10490200" y="1234629"/>
                  <a:pt x="10485120" y="1232724"/>
                </a:cubicBezTo>
                <a:cubicBezTo>
                  <a:pt x="10490835" y="1222563"/>
                  <a:pt x="10487660" y="1208594"/>
                  <a:pt x="10477500" y="1202244"/>
                </a:cubicBezTo>
                <a:cubicBezTo>
                  <a:pt x="10480040" y="1201609"/>
                  <a:pt x="10482580" y="1200338"/>
                  <a:pt x="10485120" y="1199069"/>
                </a:cubicBezTo>
                <a:cubicBezTo>
                  <a:pt x="10525125" y="1204784"/>
                  <a:pt x="10518140" y="1139379"/>
                  <a:pt x="10480040" y="1153349"/>
                </a:cubicBezTo>
                <a:cubicBezTo>
                  <a:pt x="10452100" y="1143188"/>
                  <a:pt x="10433050" y="1185734"/>
                  <a:pt x="10459720" y="1199704"/>
                </a:cubicBezTo>
                <a:cubicBezTo>
                  <a:pt x="10445750" y="1202244"/>
                  <a:pt x="10438765" y="1220024"/>
                  <a:pt x="10445750" y="1232088"/>
                </a:cubicBezTo>
                <a:close/>
                <a:moveTo>
                  <a:pt x="10840720" y="770444"/>
                </a:moveTo>
                <a:cubicBezTo>
                  <a:pt x="10824845" y="833944"/>
                  <a:pt x="10927080" y="790763"/>
                  <a:pt x="10870565" y="757744"/>
                </a:cubicBezTo>
                <a:cubicBezTo>
                  <a:pt x="10890250" y="688529"/>
                  <a:pt x="10777220" y="736154"/>
                  <a:pt x="10840720" y="770444"/>
                </a:cubicBezTo>
                <a:close/>
                <a:moveTo>
                  <a:pt x="10543540" y="1112709"/>
                </a:moveTo>
                <a:cubicBezTo>
                  <a:pt x="10544810" y="1112709"/>
                  <a:pt x="10545445" y="1112709"/>
                  <a:pt x="10546715" y="1112074"/>
                </a:cubicBezTo>
                <a:cubicBezTo>
                  <a:pt x="10581005" y="1134299"/>
                  <a:pt x="10601960" y="1070799"/>
                  <a:pt x="10560685" y="1068259"/>
                </a:cubicBezTo>
                <a:cubicBezTo>
                  <a:pt x="10525125" y="1038413"/>
                  <a:pt x="10496550" y="1110804"/>
                  <a:pt x="10543540" y="1112709"/>
                </a:cubicBezTo>
                <a:close/>
                <a:moveTo>
                  <a:pt x="10581005" y="1240344"/>
                </a:moveTo>
                <a:cubicBezTo>
                  <a:pt x="10563860" y="1251138"/>
                  <a:pt x="10581005" y="1277809"/>
                  <a:pt x="10598150" y="1266379"/>
                </a:cubicBezTo>
                <a:cubicBezTo>
                  <a:pt x="10614660" y="1255584"/>
                  <a:pt x="10597515" y="1228913"/>
                  <a:pt x="10581005" y="1240344"/>
                </a:cubicBezTo>
                <a:close/>
                <a:moveTo>
                  <a:pt x="10518775" y="1187004"/>
                </a:moveTo>
                <a:cubicBezTo>
                  <a:pt x="10520680" y="1188909"/>
                  <a:pt x="10523220" y="1190813"/>
                  <a:pt x="10525760" y="1192084"/>
                </a:cubicBezTo>
                <a:cubicBezTo>
                  <a:pt x="10526395" y="1199069"/>
                  <a:pt x="10532745" y="1206054"/>
                  <a:pt x="10539730" y="1207959"/>
                </a:cubicBezTo>
                <a:cubicBezTo>
                  <a:pt x="10539730" y="1214944"/>
                  <a:pt x="10544175" y="1221929"/>
                  <a:pt x="10551160" y="1224469"/>
                </a:cubicBezTo>
                <a:cubicBezTo>
                  <a:pt x="10504805" y="1262569"/>
                  <a:pt x="10607675" y="1266379"/>
                  <a:pt x="10563860" y="1225104"/>
                </a:cubicBezTo>
                <a:cubicBezTo>
                  <a:pt x="10579735" y="1220024"/>
                  <a:pt x="10580370" y="1196529"/>
                  <a:pt x="10564495" y="1190813"/>
                </a:cubicBezTo>
                <a:cubicBezTo>
                  <a:pt x="10565130" y="1183829"/>
                  <a:pt x="10561320" y="1175574"/>
                  <a:pt x="10554335" y="1171763"/>
                </a:cubicBezTo>
                <a:cubicBezTo>
                  <a:pt x="10554335" y="1167954"/>
                  <a:pt x="10553065" y="1164144"/>
                  <a:pt x="10551160" y="1160969"/>
                </a:cubicBezTo>
                <a:cubicBezTo>
                  <a:pt x="10582910" y="1115249"/>
                  <a:pt x="10489565" y="1110804"/>
                  <a:pt x="10516870" y="1159063"/>
                </a:cubicBezTo>
                <a:cubicBezTo>
                  <a:pt x="10511155" y="1167319"/>
                  <a:pt x="10511790" y="1179384"/>
                  <a:pt x="10518775" y="1187004"/>
                </a:cubicBezTo>
                <a:close/>
                <a:moveTo>
                  <a:pt x="10551795" y="1160334"/>
                </a:moveTo>
                <a:lnTo>
                  <a:pt x="10551795" y="1160334"/>
                </a:lnTo>
                <a:cubicBezTo>
                  <a:pt x="10551795" y="1160969"/>
                  <a:pt x="10551795" y="1160969"/>
                  <a:pt x="10551795" y="1160334"/>
                </a:cubicBezTo>
                <a:cubicBezTo>
                  <a:pt x="10551795" y="1160969"/>
                  <a:pt x="10551795" y="1160969"/>
                  <a:pt x="10551795" y="1160334"/>
                </a:cubicBezTo>
                <a:close/>
                <a:moveTo>
                  <a:pt x="10746740" y="1087944"/>
                </a:moveTo>
                <a:cubicBezTo>
                  <a:pt x="10746740" y="1087944"/>
                  <a:pt x="10746740" y="1087944"/>
                  <a:pt x="10746740" y="1087944"/>
                </a:cubicBezTo>
                <a:cubicBezTo>
                  <a:pt x="10728325" y="1100009"/>
                  <a:pt x="10747375" y="1128584"/>
                  <a:pt x="10765155" y="1116519"/>
                </a:cubicBezTo>
                <a:cubicBezTo>
                  <a:pt x="10783570" y="1105088"/>
                  <a:pt x="10764520" y="1075879"/>
                  <a:pt x="10746740" y="1087944"/>
                </a:cubicBezTo>
                <a:close/>
                <a:moveTo>
                  <a:pt x="10595610" y="1123504"/>
                </a:moveTo>
                <a:cubicBezTo>
                  <a:pt x="10593070" y="1133029"/>
                  <a:pt x="10599420" y="1143824"/>
                  <a:pt x="10608945" y="1146363"/>
                </a:cubicBezTo>
                <a:cubicBezTo>
                  <a:pt x="10598785" y="1193988"/>
                  <a:pt x="10674350" y="1160969"/>
                  <a:pt x="10632440" y="1136204"/>
                </a:cubicBezTo>
                <a:cubicBezTo>
                  <a:pt x="10636885" y="1127313"/>
                  <a:pt x="10633710" y="1115249"/>
                  <a:pt x="10624185" y="1110804"/>
                </a:cubicBezTo>
                <a:cubicBezTo>
                  <a:pt x="10626725" y="1103819"/>
                  <a:pt x="10624820" y="1094929"/>
                  <a:pt x="10619105" y="1089213"/>
                </a:cubicBezTo>
                <a:cubicBezTo>
                  <a:pt x="10664825" y="1041588"/>
                  <a:pt x="10553065" y="1033969"/>
                  <a:pt x="10591800" y="1087309"/>
                </a:cubicBezTo>
                <a:cubicBezTo>
                  <a:pt x="10579100" y="1096199"/>
                  <a:pt x="10581005" y="1117788"/>
                  <a:pt x="10595610" y="1123504"/>
                </a:cubicBezTo>
                <a:close/>
                <a:moveTo>
                  <a:pt x="10754360" y="949513"/>
                </a:moveTo>
                <a:cubicBezTo>
                  <a:pt x="10796270" y="947609"/>
                  <a:pt x="10770870" y="883474"/>
                  <a:pt x="10739120" y="910144"/>
                </a:cubicBezTo>
                <a:cubicBezTo>
                  <a:pt x="10723880" y="923479"/>
                  <a:pt x="10734675" y="950149"/>
                  <a:pt x="10754360" y="949513"/>
                </a:cubicBezTo>
                <a:close/>
                <a:moveTo>
                  <a:pt x="10683875" y="937449"/>
                </a:moveTo>
                <a:cubicBezTo>
                  <a:pt x="10696575" y="985074"/>
                  <a:pt x="10760710" y="933638"/>
                  <a:pt x="10716895" y="911413"/>
                </a:cubicBezTo>
                <a:cubicBezTo>
                  <a:pt x="10706100" y="855534"/>
                  <a:pt x="10632440" y="914588"/>
                  <a:pt x="10683875" y="937449"/>
                </a:cubicBezTo>
                <a:close/>
                <a:moveTo>
                  <a:pt x="10612755" y="1024444"/>
                </a:moveTo>
                <a:cubicBezTo>
                  <a:pt x="10636885" y="1061274"/>
                  <a:pt x="10681335" y="1003488"/>
                  <a:pt x="10640060" y="988884"/>
                </a:cubicBezTo>
                <a:cubicBezTo>
                  <a:pt x="10614660" y="943163"/>
                  <a:pt x="10561955" y="1012379"/>
                  <a:pt x="10612755" y="1024444"/>
                </a:cubicBezTo>
                <a:close/>
                <a:moveTo>
                  <a:pt x="9133840" y="2333179"/>
                </a:moveTo>
                <a:cubicBezTo>
                  <a:pt x="9123680" y="2336989"/>
                  <a:pt x="9119235" y="2349054"/>
                  <a:pt x="9123680" y="2359214"/>
                </a:cubicBezTo>
                <a:cubicBezTo>
                  <a:pt x="9152255" y="2402394"/>
                  <a:pt x="9184005" y="2321114"/>
                  <a:pt x="9133840" y="2333179"/>
                </a:cubicBezTo>
                <a:close/>
                <a:moveTo>
                  <a:pt x="9323705" y="2261424"/>
                </a:moveTo>
                <a:cubicBezTo>
                  <a:pt x="9311640" y="2238564"/>
                  <a:pt x="9276715" y="2258249"/>
                  <a:pt x="9288780" y="2280474"/>
                </a:cubicBezTo>
                <a:cubicBezTo>
                  <a:pt x="9301480" y="2302699"/>
                  <a:pt x="9336405" y="2283649"/>
                  <a:pt x="9323705" y="2261424"/>
                </a:cubicBezTo>
                <a:close/>
                <a:moveTo>
                  <a:pt x="9302750" y="2412554"/>
                </a:moveTo>
                <a:cubicBezTo>
                  <a:pt x="9318625" y="2437319"/>
                  <a:pt x="9356725" y="2411284"/>
                  <a:pt x="9340215" y="2387154"/>
                </a:cubicBezTo>
                <a:cubicBezTo>
                  <a:pt x="9324340" y="2363024"/>
                  <a:pt x="9286240" y="2388424"/>
                  <a:pt x="9302750" y="2412554"/>
                </a:cubicBezTo>
                <a:close/>
                <a:moveTo>
                  <a:pt x="9387840" y="2354134"/>
                </a:moveTo>
                <a:cubicBezTo>
                  <a:pt x="9404985" y="2378264"/>
                  <a:pt x="9441815" y="2350959"/>
                  <a:pt x="9424035" y="2327464"/>
                </a:cubicBezTo>
                <a:cubicBezTo>
                  <a:pt x="9406890" y="2303334"/>
                  <a:pt x="9370060" y="2330639"/>
                  <a:pt x="9387840" y="2354134"/>
                </a:cubicBezTo>
                <a:close/>
                <a:moveTo>
                  <a:pt x="10891520" y="884744"/>
                </a:moveTo>
                <a:cubicBezTo>
                  <a:pt x="10870565" y="899349"/>
                  <a:pt x="10894060" y="931734"/>
                  <a:pt x="10914380" y="917129"/>
                </a:cubicBezTo>
                <a:cubicBezTo>
                  <a:pt x="10935970" y="902524"/>
                  <a:pt x="10912475" y="870138"/>
                  <a:pt x="10891520" y="884744"/>
                </a:cubicBezTo>
                <a:close/>
                <a:moveTo>
                  <a:pt x="9436735" y="1981388"/>
                </a:moveTo>
                <a:cubicBezTo>
                  <a:pt x="9458325" y="1981388"/>
                  <a:pt x="9452610" y="1947099"/>
                  <a:pt x="9431655" y="1954084"/>
                </a:cubicBezTo>
                <a:cubicBezTo>
                  <a:pt x="9417685" y="1959163"/>
                  <a:pt x="9421495" y="1982024"/>
                  <a:pt x="9436735" y="1981388"/>
                </a:cubicBezTo>
                <a:close/>
                <a:moveTo>
                  <a:pt x="9403080" y="2215069"/>
                </a:moveTo>
                <a:cubicBezTo>
                  <a:pt x="9397365" y="2205544"/>
                  <a:pt x="9385300" y="2202369"/>
                  <a:pt x="9375775" y="2208084"/>
                </a:cubicBezTo>
                <a:cubicBezTo>
                  <a:pt x="9375775" y="2208084"/>
                  <a:pt x="9375775" y="2208084"/>
                  <a:pt x="9375775" y="2208084"/>
                </a:cubicBezTo>
                <a:cubicBezTo>
                  <a:pt x="9337040" y="2242374"/>
                  <a:pt x="9421495" y="2263329"/>
                  <a:pt x="9403080" y="2215069"/>
                </a:cubicBezTo>
                <a:close/>
                <a:moveTo>
                  <a:pt x="9460865" y="2048063"/>
                </a:moveTo>
                <a:cubicBezTo>
                  <a:pt x="9441180" y="2058224"/>
                  <a:pt x="9457055" y="2088704"/>
                  <a:pt x="9476740" y="2077909"/>
                </a:cubicBezTo>
                <a:cubicBezTo>
                  <a:pt x="9496425" y="2068384"/>
                  <a:pt x="9480550" y="2037904"/>
                  <a:pt x="9460865" y="2048063"/>
                </a:cubicBezTo>
                <a:close/>
                <a:moveTo>
                  <a:pt x="9463405" y="1915349"/>
                </a:moveTo>
                <a:cubicBezTo>
                  <a:pt x="9482455" y="1915349"/>
                  <a:pt x="9478010" y="1884869"/>
                  <a:pt x="9459595" y="1890584"/>
                </a:cubicBezTo>
                <a:cubicBezTo>
                  <a:pt x="9445625" y="1893759"/>
                  <a:pt x="9449435" y="1915349"/>
                  <a:pt x="9463405" y="1915349"/>
                </a:cubicBezTo>
                <a:close/>
                <a:moveTo>
                  <a:pt x="9401810" y="2022029"/>
                </a:moveTo>
                <a:cubicBezTo>
                  <a:pt x="9383395" y="2029649"/>
                  <a:pt x="9395460" y="2058859"/>
                  <a:pt x="9413875" y="2050604"/>
                </a:cubicBezTo>
                <a:cubicBezTo>
                  <a:pt x="9432290" y="2042984"/>
                  <a:pt x="9420225" y="2013774"/>
                  <a:pt x="9401810" y="2022029"/>
                </a:cubicBezTo>
                <a:close/>
                <a:moveTo>
                  <a:pt x="9145905" y="2530029"/>
                </a:moveTo>
                <a:cubicBezTo>
                  <a:pt x="9182735" y="2529394"/>
                  <a:pt x="9168130" y="2470339"/>
                  <a:pt x="9135110" y="2487484"/>
                </a:cubicBezTo>
                <a:cubicBezTo>
                  <a:pt x="9114790" y="2497644"/>
                  <a:pt x="9123680" y="2530664"/>
                  <a:pt x="9145905" y="2530029"/>
                </a:cubicBezTo>
                <a:close/>
                <a:moveTo>
                  <a:pt x="9255125" y="2178239"/>
                </a:moveTo>
                <a:cubicBezTo>
                  <a:pt x="9276080" y="2170619"/>
                  <a:pt x="9263380" y="2138234"/>
                  <a:pt x="9243060" y="2146489"/>
                </a:cubicBezTo>
                <a:cubicBezTo>
                  <a:pt x="9222105" y="2154109"/>
                  <a:pt x="9234805" y="2186494"/>
                  <a:pt x="9255125" y="2178239"/>
                </a:cubicBezTo>
                <a:close/>
                <a:moveTo>
                  <a:pt x="9242425" y="2303969"/>
                </a:moveTo>
                <a:cubicBezTo>
                  <a:pt x="9231630" y="2281109"/>
                  <a:pt x="9195435" y="2298254"/>
                  <a:pt x="9206865" y="2321114"/>
                </a:cubicBezTo>
                <a:cubicBezTo>
                  <a:pt x="9218295" y="2344609"/>
                  <a:pt x="9254490" y="2326829"/>
                  <a:pt x="9242425" y="2303969"/>
                </a:cubicBezTo>
                <a:close/>
                <a:moveTo>
                  <a:pt x="9208135" y="2268409"/>
                </a:moveTo>
                <a:cubicBezTo>
                  <a:pt x="9230360" y="2259519"/>
                  <a:pt x="9215755" y="2225229"/>
                  <a:pt x="9194165" y="2234754"/>
                </a:cubicBezTo>
                <a:cubicBezTo>
                  <a:pt x="9171940" y="2243009"/>
                  <a:pt x="9186545" y="2277934"/>
                  <a:pt x="9208135" y="2268409"/>
                </a:cubicBezTo>
                <a:close/>
                <a:moveTo>
                  <a:pt x="9096375" y="2473514"/>
                </a:moveTo>
                <a:cubicBezTo>
                  <a:pt x="9121775" y="2462719"/>
                  <a:pt x="9103995" y="2423349"/>
                  <a:pt x="9079230" y="2434779"/>
                </a:cubicBezTo>
                <a:cubicBezTo>
                  <a:pt x="9053195" y="2446209"/>
                  <a:pt x="9071610" y="2485579"/>
                  <a:pt x="9096375" y="2473514"/>
                </a:cubicBezTo>
                <a:close/>
                <a:moveTo>
                  <a:pt x="9254490" y="2443669"/>
                </a:moveTo>
                <a:cubicBezTo>
                  <a:pt x="9239250" y="2418269"/>
                  <a:pt x="9200515" y="2442399"/>
                  <a:pt x="9215755" y="2467164"/>
                </a:cubicBezTo>
                <a:cubicBezTo>
                  <a:pt x="9230995" y="2492564"/>
                  <a:pt x="9269730" y="2468434"/>
                  <a:pt x="9254490" y="2443669"/>
                </a:cubicBezTo>
                <a:close/>
                <a:moveTo>
                  <a:pt x="9091930" y="2197289"/>
                </a:moveTo>
                <a:cubicBezTo>
                  <a:pt x="9073515" y="2202369"/>
                  <a:pt x="9077960" y="2230944"/>
                  <a:pt x="9096375" y="2230309"/>
                </a:cubicBezTo>
                <a:cubicBezTo>
                  <a:pt x="9121775" y="2230944"/>
                  <a:pt x="9116060" y="2190304"/>
                  <a:pt x="9091930" y="2197289"/>
                </a:cubicBezTo>
                <a:close/>
                <a:moveTo>
                  <a:pt x="9598025" y="2133154"/>
                </a:moveTo>
                <a:cubicBezTo>
                  <a:pt x="9580880" y="2111564"/>
                  <a:pt x="9547860" y="2138234"/>
                  <a:pt x="9565005" y="2159824"/>
                </a:cubicBezTo>
                <a:cubicBezTo>
                  <a:pt x="9582150" y="2181414"/>
                  <a:pt x="9615805" y="2154109"/>
                  <a:pt x="9598025" y="2133154"/>
                </a:cubicBezTo>
                <a:close/>
                <a:moveTo>
                  <a:pt x="9044305" y="2533839"/>
                </a:moveTo>
                <a:cubicBezTo>
                  <a:pt x="9033510" y="2538919"/>
                  <a:pt x="9028430" y="2552889"/>
                  <a:pt x="9033510" y="2563684"/>
                </a:cubicBezTo>
                <a:cubicBezTo>
                  <a:pt x="9068435" y="2611944"/>
                  <a:pt x="9101455" y="2517329"/>
                  <a:pt x="9044305" y="2533839"/>
                </a:cubicBezTo>
                <a:close/>
                <a:moveTo>
                  <a:pt x="9127490" y="2300159"/>
                </a:moveTo>
                <a:cubicBezTo>
                  <a:pt x="9149715" y="2292539"/>
                  <a:pt x="9137015" y="2256979"/>
                  <a:pt x="9114790" y="2265869"/>
                </a:cubicBezTo>
                <a:cubicBezTo>
                  <a:pt x="9092565" y="2273489"/>
                  <a:pt x="9105265" y="2308414"/>
                  <a:pt x="9127490" y="2300159"/>
                </a:cubicBezTo>
                <a:close/>
                <a:moveTo>
                  <a:pt x="9173210" y="2206814"/>
                </a:moveTo>
                <a:cubicBezTo>
                  <a:pt x="9198610" y="2206814"/>
                  <a:pt x="9192260" y="2165539"/>
                  <a:pt x="9168130" y="2173794"/>
                </a:cubicBezTo>
                <a:cubicBezTo>
                  <a:pt x="9149715" y="2178874"/>
                  <a:pt x="9154795" y="2207449"/>
                  <a:pt x="9173210" y="2206814"/>
                </a:cubicBezTo>
                <a:close/>
                <a:moveTo>
                  <a:pt x="9643110" y="1853119"/>
                </a:moveTo>
                <a:cubicBezTo>
                  <a:pt x="9662795" y="1853119"/>
                  <a:pt x="9657080" y="1821369"/>
                  <a:pt x="9638665" y="1828354"/>
                </a:cubicBezTo>
                <a:cubicBezTo>
                  <a:pt x="9625965" y="1833434"/>
                  <a:pt x="9629775" y="1853754"/>
                  <a:pt x="9643110" y="1853119"/>
                </a:cubicBezTo>
                <a:close/>
                <a:moveTo>
                  <a:pt x="9596120" y="1947099"/>
                </a:moveTo>
                <a:cubicBezTo>
                  <a:pt x="9605645" y="1964879"/>
                  <a:pt x="9632950" y="1950274"/>
                  <a:pt x="9623425" y="1932494"/>
                </a:cubicBezTo>
                <a:cubicBezTo>
                  <a:pt x="9614535" y="1914713"/>
                  <a:pt x="9586595" y="1929319"/>
                  <a:pt x="9596120" y="1947099"/>
                </a:cubicBezTo>
                <a:close/>
                <a:moveTo>
                  <a:pt x="9628505" y="1902013"/>
                </a:moveTo>
                <a:cubicBezTo>
                  <a:pt x="9651365" y="1901379"/>
                  <a:pt x="9643110" y="1865819"/>
                  <a:pt x="9622155" y="1875344"/>
                </a:cubicBezTo>
                <a:cubicBezTo>
                  <a:pt x="9608820" y="1881059"/>
                  <a:pt x="9613900" y="1902649"/>
                  <a:pt x="9628505" y="1902013"/>
                </a:cubicBezTo>
                <a:close/>
                <a:moveTo>
                  <a:pt x="9584055" y="1875344"/>
                </a:moveTo>
                <a:cubicBezTo>
                  <a:pt x="9603740" y="1875344"/>
                  <a:pt x="9598025" y="1844229"/>
                  <a:pt x="9579610" y="1850579"/>
                </a:cubicBezTo>
                <a:cubicBezTo>
                  <a:pt x="9566275" y="1855024"/>
                  <a:pt x="9570085" y="1875979"/>
                  <a:pt x="9584055" y="1875344"/>
                </a:cubicBezTo>
                <a:close/>
                <a:moveTo>
                  <a:pt x="9552305" y="2195384"/>
                </a:moveTo>
                <a:cubicBezTo>
                  <a:pt x="9530080" y="2214434"/>
                  <a:pt x="9559925" y="2248724"/>
                  <a:pt x="9581515" y="2229674"/>
                </a:cubicBezTo>
                <a:cubicBezTo>
                  <a:pt x="9604375" y="2211259"/>
                  <a:pt x="9574530" y="2176334"/>
                  <a:pt x="9552305" y="2195384"/>
                </a:cubicBezTo>
                <a:close/>
                <a:moveTo>
                  <a:pt x="9569450" y="2032824"/>
                </a:moveTo>
                <a:cubicBezTo>
                  <a:pt x="9549130" y="2045524"/>
                  <a:pt x="9570085" y="2076638"/>
                  <a:pt x="9589770" y="2063304"/>
                </a:cubicBezTo>
                <a:cubicBezTo>
                  <a:pt x="9610090" y="2050604"/>
                  <a:pt x="9589135" y="2019488"/>
                  <a:pt x="9569450" y="2032824"/>
                </a:cubicBezTo>
                <a:close/>
                <a:moveTo>
                  <a:pt x="9565640" y="1930588"/>
                </a:moveTo>
                <a:cubicBezTo>
                  <a:pt x="9587865" y="1930588"/>
                  <a:pt x="9580880" y="1895029"/>
                  <a:pt x="9559925" y="1903284"/>
                </a:cubicBezTo>
                <a:cubicBezTo>
                  <a:pt x="9545955" y="1908999"/>
                  <a:pt x="9550400" y="1931224"/>
                  <a:pt x="9565640" y="1930588"/>
                </a:cubicBezTo>
                <a:close/>
                <a:moveTo>
                  <a:pt x="9608820" y="2001074"/>
                </a:moveTo>
                <a:cubicBezTo>
                  <a:pt x="9637395" y="2000438"/>
                  <a:pt x="9624695" y="1955354"/>
                  <a:pt x="9599930" y="1969959"/>
                </a:cubicBezTo>
                <a:cubicBezTo>
                  <a:pt x="9585325" y="1978213"/>
                  <a:pt x="9592310" y="2001709"/>
                  <a:pt x="9608820" y="2001074"/>
                </a:cubicBezTo>
                <a:close/>
                <a:moveTo>
                  <a:pt x="9625965" y="2087434"/>
                </a:moveTo>
                <a:cubicBezTo>
                  <a:pt x="9646920" y="2072194"/>
                  <a:pt x="9622790" y="2040444"/>
                  <a:pt x="9602470" y="2055684"/>
                </a:cubicBezTo>
                <a:cubicBezTo>
                  <a:pt x="9581515" y="2070924"/>
                  <a:pt x="9605645" y="2102674"/>
                  <a:pt x="9625965" y="2087434"/>
                </a:cubicBezTo>
                <a:close/>
                <a:moveTo>
                  <a:pt x="9469755" y="2292539"/>
                </a:moveTo>
                <a:cubicBezTo>
                  <a:pt x="9487535" y="2316034"/>
                  <a:pt x="9523730" y="2286824"/>
                  <a:pt x="9505315" y="2264599"/>
                </a:cubicBezTo>
                <a:cubicBezTo>
                  <a:pt x="9487535" y="2241104"/>
                  <a:pt x="9451340" y="2269679"/>
                  <a:pt x="9469755" y="2292539"/>
                </a:cubicBezTo>
                <a:close/>
                <a:moveTo>
                  <a:pt x="9482455" y="2020759"/>
                </a:moveTo>
                <a:cubicBezTo>
                  <a:pt x="9500870" y="2012504"/>
                  <a:pt x="9487535" y="1983929"/>
                  <a:pt x="9469755" y="1992819"/>
                </a:cubicBezTo>
                <a:cubicBezTo>
                  <a:pt x="9451340" y="2000438"/>
                  <a:pt x="9464675" y="2029013"/>
                  <a:pt x="9482455" y="2020759"/>
                </a:cubicBezTo>
                <a:close/>
                <a:moveTo>
                  <a:pt x="9501505" y="1957259"/>
                </a:moveTo>
                <a:cubicBezTo>
                  <a:pt x="9523730" y="1957259"/>
                  <a:pt x="9516745" y="1922334"/>
                  <a:pt x="9496425" y="1929954"/>
                </a:cubicBezTo>
                <a:cubicBezTo>
                  <a:pt x="9481820" y="1935034"/>
                  <a:pt x="9486900" y="1957894"/>
                  <a:pt x="9501505" y="1957259"/>
                </a:cubicBezTo>
                <a:close/>
                <a:moveTo>
                  <a:pt x="9453245" y="2160459"/>
                </a:moveTo>
                <a:cubicBezTo>
                  <a:pt x="9436735" y="2170619"/>
                  <a:pt x="9444990" y="2197289"/>
                  <a:pt x="9464040" y="2196654"/>
                </a:cubicBezTo>
                <a:cubicBezTo>
                  <a:pt x="9497695" y="2195384"/>
                  <a:pt x="9481820" y="2142679"/>
                  <a:pt x="9453245" y="2160459"/>
                </a:cubicBezTo>
                <a:close/>
                <a:moveTo>
                  <a:pt x="9424035" y="2122359"/>
                </a:moveTo>
                <a:cubicBezTo>
                  <a:pt x="9403080" y="2133789"/>
                  <a:pt x="9421495" y="2166174"/>
                  <a:pt x="9441815" y="2154109"/>
                </a:cubicBezTo>
                <a:cubicBezTo>
                  <a:pt x="9463405" y="2142679"/>
                  <a:pt x="9444990" y="2110294"/>
                  <a:pt x="9424035" y="2122359"/>
                </a:cubicBezTo>
                <a:close/>
                <a:moveTo>
                  <a:pt x="9539605" y="2041713"/>
                </a:moveTo>
                <a:cubicBezTo>
                  <a:pt x="9567545" y="2041079"/>
                  <a:pt x="9556115" y="1996629"/>
                  <a:pt x="9531350" y="2009963"/>
                </a:cubicBezTo>
                <a:cubicBezTo>
                  <a:pt x="9516110" y="2018219"/>
                  <a:pt x="9522460" y="2042349"/>
                  <a:pt x="9539605" y="2041713"/>
                </a:cubicBezTo>
                <a:close/>
                <a:moveTo>
                  <a:pt x="9529445" y="1981388"/>
                </a:moveTo>
                <a:cubicBezTo>
                  <a:pt x="9538335" y="1999804"/>
                  <a:pt x="9566275" y="1985199"/>
                  <a:pt x="9557385" y="1967419"/>
                </a:cubicBezTo>
                <a:cubicBezTo>
                  <a:pt x="9548495" y="1949004"/>
                  <a:pt x="9520555" y="1962974"/>
                  <a:pt x="9529445" y="1981388"/>
                </a:cubicBezTo>
                <a:close/>
                <a:moveTo>
                  <a:pt x="9497695" y="2078544"/>
                </a:moveTo>
                <a:cubicBezTo>
                  <a:pt x="9477375" y="2090609"/>
                  <a:pt x="9497060" y="2122359"/>
                  <a:pt x="9516745" y="2109659"/>
                </a:cubicBezTo>
                <a:cubicBezTo>
                  <a:pt x="9537700" y="2098229"/>
                  <a:pt x="9518015" y="2065844"/>
                  <a:pt x="9497695" y="2078544"/>
                </a:cubicBezTo>
                <a:close/>
                <a:moveTo>
                  <a:pt x="9523730" y="1896299"/>
                </a:moveTo>
                <a:cubicBezTo>
                  <a:pt x="9542780" y="1896299"/>
                  <a:pt x="9537700" y="1865819"/>
                  <a:pt x="9519920" y="1871534"/>
                </a:cubicBezTo>
                <a:cubicBezTo>
                  <a:pt x="9506585" y="1875344"/>
                  <a:pt x="9509760" y="1896299"/>
                  <a:pt x="9523730" y="1896299"/>
                </a:cubicBezTo>
                <a:close/>
                <a:moveTo>
                  <a:pt x="11238230" y="618679"/>
                </a:moveTo>
                <a:cubicBezTo>
                  <a:pt x="11224260" y="595184"/>
                  <a:pt x="11187430" y="617409"/>
                  <a:pt x="11202035" y="640269"/>
                </a:cubicBezTo>
                <a:cubicBezTo>
                  <a:pt x="11215370" y="664399"/>
                  <a:pt x="11252200" y="642174"/>
                  <a:pt x="11238230" y="618679"/>
                </a:cubicBezTo>
                <a:close/>
                <a:moveTo>
                  <a:pt x="11771630" y="224344"/>
                </a:moveTo>
                <a:cubicBezTo>
                  <a:pt x="11807825" y="224344"/>
                  <a:pt x="11798300" y="166558"/>
                  <a:pt x="11764010" y="177354"/>
                </a:cubicBezTo>
                <a:cubicBezTo>
                  <a:pt x="11738610" y="184974"/>
                  <a:pt x="11745595" y="224979"/>
                  <a:pt x="11771630" y="224344"/>
                </a:cubicBezTo>
                <a:close/>
                <a:moveTo>
                  <a:pt x="11750675" y="413574"/>
                </a:moveTo>
                <a:cubicBezTo>
                  <a:pt x="11782425" y="413574"/>
                  <a:pt x="11774805" y="363408"/>
                  <a:pt x="11744960" y="372299"/>
                </a:cubicBezTo>
                <a:cubicBezTo>
                  <a:pt x="11722100" y="378649"/>
                  <a:pt x="11727180" y="414844"/>
                  <a:pt x="11750675" y="413574"/>
                </a:cubicBezTo>
                <a:close/>
                <a:moveTo>
                  <a:pt x="11783060" y="128458"/>
                </a:moveTo>
                <a:cubicBezTo>
                  <a:pt x="11821795" y="128458"/>
                  <a:pt x="11811000" y="66229"/>
                  <a:pt x="11774805" y="78929"/>
                </a:cubicBezTo>
                <a:cubicBezTo>
                  <a:pt x="11748135" y="87819"/>
                  <a:pt x="11755755" y="129729"/>
                  <a:pt x="11783060" y="128458"/>
                </a:cubicBezTo>
                <a:close/>
                <a:moveTo>
                  <a:pt x="11567795" y="477074"/>
                </a:moveTo>
                <a:cubicBezTo>
                  <a:pt x="11600815" y="476438"/>
                  <a:pt x="11590655" y="424369"/>
                  <a:pt x="11560175" y="436433"/>
                </a:cubicBezTo>
                <a:cubicBezTo>
                  <a:pt x="11537950" y="444054"/>
                  <a:pt x="11544935" y="478344"/>
                  <a:pt x="11567795" y="477074"/>
                </a:cubicBezTo>
                <a:close/>
                <a:moveTo>
                  <a:pt x="11791315" y="263713"/>
                </a:moveTo>
                <a:cubicBezTo>
                  <a:pt x="11762740" y="271333"/>
                  <a:pt x="11776075" y="315783"/>
                  <a:pt x="11804015" y="306894"/>
                </a:cubicBezTo>
                <a:cubicBezTo>
                  <a:pt x="11832590" y="299274"/>
                  <a:pt x="11819255" y="255458"/>
                  <a:pt x="11791315" y="263713"/>
                </a:cubicBezTo>
                <a:close/>
                <a:moveTo>
                  <a:pt x="11845290" y="388808"/>
                </a:moveTo>
                <a:cubicBezTo>
                  <a:pt x="11875770" y="388808"/>
                  <a:pt x="11870055" y="339913"/>
                  <a:pt x="11840210" y="346899"/>
                </a:cubicBezTo>
                <a:cubicBezTo>
                  <a:pt x="11816080" y="351979"/>
                  <a:pt x="11821160" y="389444"/>
                  <a:pt x="11845290" y="388808"/>
                </a:cubicBezTo>
                <a:close/>
                <a:moveTo>
                  <a:pt x="11764010" y="556449"/>
                </a:moveTo>
                <a:cubicBezTo>
                  <a:pt x="11740515" y="561529"/>
                  <a:pt x="11749405" y="597724"/>
                  <a:pt x="11772265" y="592009"/>
                </a:cubicBezTo>
                <a:cubicBezTo>
                  <a:pt x="11795760" y="586929"/>
                  <a:pt x="11787505" y="550734"/>
                  <a:pt x="11764010" y="556449"/>
                </a:cubicBezTo>
                <a:close/>
                <a:moveTo>
                  <a:pt x="11804015" y="451674"/>
                </a:moveTo>
                <a:cubicBezTo>
                  <a:pt x="11778615" y="457388"/>
                  <a:pt x="11788140" y="496124"/>
                  <a:pt x="11812905" y="490408"/>
                </a:cubicBezTo>
                <a:cubicBezTo>
                  <a:pt x="11838305" y="484694"/>
                  <a:pt x="11828780" y="445324"/>
                  <a:pt x="11804015" y="451674"/>
                </a:cubicBezTo>
                <a:close/>
                <a:moveTo>
                  <a:pt x="11680190" y="577404"/>
                </a:moveTo>
                <a:cubicBezTo>
                  <a:pt x="11657330" y="583119"/>
                  <a:pt x="11666855" y="619313"/>
                  <a:pt x="11689715" y="612963"/>
                </a:cubicBezTo>
                <a:cubicBezTo>
                  <a:pt x="11712575" y="606613"/>
                  <a:pt x="11703050" y="570419"/>
                  <a:pt x="11680190" y="577404"/>
                </a:cubicBezTo>
                <a:close/>
                <a:moveTo>
                  <a:pt x="11834495" y="559624"/>
                </a:moveTo>
                <a:cubicBezTo>
                  <a:pt x="11851640" y="604709"/>
                  <a:pt x="11897360" y="537399"/>
                  <a:pt x="11849100" y="538034"/>
                </a:cubicBezTo>
                <a:cubicBezTo>
                  <a:pt x="11839575" y="539938"/>
                  <a:pt x="11832590" y="549463"/>
                  <a:pt x="11834495" y="559624"/>
                </a:cubicBezTo>
                <a:close/>
                <a:moveTo>
                  <a:pt x="11707495" y="338644"/>
                </a:moveTo>
                <a:cubicBezTo>
                  <a:pt x="11735435" y="329119"/>
                  <a:pt x="11720195" y="285938"/>
                  <a:pt x="11692255" y="296099"/>
                </a:cubicBezTo>
                <a:cubicBezTo>
                  <a:pt x="11664315" y="304988"/>
                  <a:pt x="11680190" y="348804"/>
                  <a:pt x="11707495" y="338644"/>
                </a:cubicBezTo>
                <a:close/>
                <a:moveTo>
                  <a:pt x="11597005" y="601534"/>
                </a:moveTo>
                <a:cubicBezTo>
                  <a:pt x="11574145" y="608519"/>
                  <a:pt x="11585575" y="644079"/>
                  <a:pt x="11607800" y="636459"/>
                </a:cubicBezTo>
                <a:cubicBezTo>
                  <a:pt x="11630660" y="630109"/>
                  <a:pt x="11619230" y="593913"/>
                  <a:pt x="11597005" y="601534"/>
                </a:cubicBezTo>
                <a:close/>
                <a:moveTo>
                  <a:pt x="11583035" y="362774"/>
                </a:moveTo>
                <a:cubicBezTo>
                  <a:pt x="11593830" y="390079"/>
                  <a:pt x="11636375" y="372299"/>
                  <a:pt x="11624945" y="345629"/>
                </a:cubicBezTo>
                <a:cubicBezTo>
                  <a:pt x="11614150" y="318324"/>
                  <a:pt x="11571605" y="335469"/>
                  <a:pt x="11583035" y="362774"/>
                </a:cubicBezTo>
                <a:close/>
                <a:moveTo>
                  <a:pt x="11570335" y="305624"/>
                </a:moveTo>
                <a:cubicBezTo>
                  <a:pt x="11608435" y="304988"/>
                  <a:pt x="11595100" y="244029"/>
                  <a:pt x="11560175" y="259904"/>
                </a:cubicBezTo>
                <a:cubicBezTo>
                  <a:pt x="11537315" y="269429"/>
                  <a:pt x="11545570" y="306258"/>
                  <a:pt x="11570335" y="305624"/>
                </a:cubicBezTo>
                <a:close/>
                <a:moveTo>
                  <a:pt x="11572875" y="218629"/>
                </a:moveTo>
                <a:cubicBezTo>
                  <a:pt x="11614150" y="217994"/>
                  <a:pt x="11598275" y="152588"/>
                  <a:pt x="11561445" y="170369"/>
                </a:cubicBezTo>
                <a:cubicBezTo>
                  <a:pt x="11537950" y="181799"/>
                  <a:pt x="11547475" y="219899"/>
                  <a:pt x="11572875" y="218629"/>
                </a:cubicBezTo>
                <a:close/>
                <a:moveTo>
                  <a:pt x="11670030" y="261808"/>
                </a:moveTo>
                <a:cubicBezTo>
                  <a:pt x="11707495" y="261174"/>
                  <a:pt x="11696065" y="202119"/>
                  <a:pt x="11661140" y="215454"/>
                </a:cubicBezTo>
                <a:cubicBezTo>
                  <a:pt x="11637010" y="224344"/>
                  <a:pt x="11644630" y="263079"/>
                  <a:pt x="11670030" y="261808"/>
                </a:cubicBezTo>
                <a:close/>
                <a:moveTo>
                  <a:pt x="11613515" y="526604"/>
                </a:moveTo>
                <a:cubicBezTo>
                  <a:pt x="11621135" y="551369"/>
                  <a:pt x="11659235" y="538034"/>
                  <a:pt x="11650980" y="513904"/>
                </a:cubicBezTo>
                <a:cubicBezTo>
                  <a:pt x="11643360" y="489774"/>
                  <a:pt x="11605260" y="502474"/>
                  <a:pt x="11613515" y="526604"/>
                </a:cubicBezTo>
                <a:close/>
                <a:moveTo>
                  <a:pt x="11676380" y="170369"/>
                </a:moveTo>
                <a:cubicBezTo>
                  <a:pt x="11716385" y="169733"/>
                  <a:pt x="11703685" y="106233"/>
                  <a:pt x="11666220" y="121474"/>
                </a:cubicBezTo>
                <a:cubicBezTo>
                  <a:pt x="11641455" y="131633"/>
                  <a:pt x="11649710" y="171004"/>
                  <a:pt x="11676380" y="170369"/>
                </a:cubicBezTo>
                <a:close/>
                <a:moveTo>
                  <a:pt x="11658600" y="443419"/>
                </a:moveTo>
                <a:cubicBezTo>
                  <a:pt x="11690985" y="442783"/>
                  <a:pt x="11682095" y="391983"/>
                  <a:pt x="11651615" y="402144"/>
                </a:cubicBezTo>
                <a:cubicBezTo>
                  <a:pt x="11629390" y="409129"/>
                  <a:pt x="11635740" y="444054"/>
                  <a:pt x="11658600" y="443419"/>
                </a:cubicBezTo>
                <a:close/>
                <a:moveTo>
                  <a:pt x="11738610" y="488504"/>
                </a:moveTo>
                <a:cubicBezTo>
                  <a:pt x="11716385" y="441513"/>
                  <a:pt x="11673205" y="518349"/>
                  <a:pt x="11725275" y="512633"/>
                </a:cubicBezTo>
                <a:lnTo>
                  <a:pt x="11725275" y="512633"/>
                </a:lnTo>
                <a:cubicBezTo>
                  <a:pt x="11736070" y="510094"/>
                  <a:pt x="11741785" y="498663"/>
                  <a:pt x="11738610" y="488504"/>
                </a:cubicBezTo>
                <a:close/>
                <a:moveTo>
                  <a:pt x="12115800" y="50988"/>
                </a:moveTo>
                <a:cubicBezTo>
                  <a:pt x="12150725" y="51624"/>
                  <a:pt x="12147550" y="-3621"/>
                  <a:pt x="12113260" y="188"/>
                </a:cubicBezTo>
                <a:cubicBezTo>
                  <a:pt x="12082145" y="3363"/>
                  <a:pt x="12084685" y="52258"/>
                  <a:pt x="12115800" y="50988"/>
                </a:cubicBezTo>
                <a:close/>
                <a:moveTo>
                  <a:pt x="12099290" y="424369"/>
                </a:moveTo>
                <a:cubicBezTo>
                  <a:pt x="12097385" y="398969"/>
                  <a:pt x="12057380" y="402779"/>
                  <a:pt x="12059920" y="428179"/>
                </a:cubicBezTo>
                <a:cubicBezTo>
                  <a:pt x="12062460" y="453579"/>
                  <a:pt x="12102465" y="449769"/>
                  <a:pt x="12099290" y="424369"/>
                </a:cubicBezTo>
                <a:close/>
                <a:moveTo>
                  <a:pt x="12088495" y="151954"/>
                </a:moveTo>
                <a:cubicBezTo>
                  <a:pt x="12089765" y="151954"/>
                  <a:pt x="12090400" y="151954"/>
                  <a:pt x="12091670" y="151954"/>
                </a:cubicBezTo>
                <a:lnTo>
                  <a:pt x="12091670" y="151954"/>
                </a:lnTo>
                <a:cubicBezTo>
                  <a:pt x="12122785" y="148779"/>
                  <a:pt x="12117070" y="99883"/>
                  <a:pt x="12085955" y="104329"/>
                </a:cubicBezTo>
                <a:cubicBezTo>
                  <a:pt x="12056745" y="107504"/>
                  <a:pt x="12059285" y="153224"/>
                  <a:pt x="12088495" y="151954"/>
                </a:cubicBezTo>
                <a:close/>
                <a:moveTo>
                  <a:pt x="12015470" y="334833"/>
                </a:moveTo>
                <a:cubicBezTo>
                  <a:pt x="12018645" y="362138"/>
                  <a:pt x="12061190" y="356424"/>
                  <a:pt x="12057380" y="329119"/>
                </a:cubicBezTo>
                <a:cubicBezTo>
                  <a:pt x="12054205" y="302449"/>
                  <a:pt x="12011660" y="308163"/>
                  <a:pt x="12015470" y="334833"/>
                </a:cubicBezTo>
                <a:close/>
                <a:moveTo>
                  <a:pt x="12090400" y="524699"/>
                </a:moveTo>
                <a:cubicBezTo>
                  <a:pt x="12091670" y="548829"/>
                  <a:pt x="12129135" y="545654"/>
                  <a:pt x="12127230" y="522158"/>
                </a:cubicBezTo>
                <a:cubicBezTo>
                  <a:pt x="12125325" y="498029"/>
                  <a:pt x="12087860" y="500569"/>
                  <a:pt x="12090400" y="524699"/>
                </a:cubicBezTo>
                <a:close/>
                <a:moveTo>
                  <a:pt x="12111990" y="324038"/>
                </a:moveTo>
                <a:cubicBezTo>
                  <a:pt x="12113895" y="351344"/>
                  <a:pt x="12156440" y="348169"/>
                  <a:pt x="12154535" y="320863"/>
                </a:cubicBezTo>
                <a:cubicBezTo>
                  <a:pt x="12152630" y="293558"/>
                  <a:pt x="12109450" y="296733"/>
                  <a:pt x="12111990" y="324038"/>
                </a:cubicBezTo>
                <a:close/>
                <a:moveTo>
                  <a:pt x="12122785" y="223708"/>
                </a:moveTo>
                <a:cubicBezTo>
                  <a:pt x="12120245" y="194499"/>
                  <a:pt x="12074525" y="198944"/>
                  <a:pt x="12077700" y="228154"/>
                </a:cubicBezTo>
                <a:cubicBezTo>
                  <a:pt x="12080240" y="257999"/>
                  <a:pt x="12125960" y="252919"/>
                  <a:pt x="12122785" y="223708"/>
                </a:cubicBezTo>
                <a:close/>
                <a:moveTo>
                  <a:pt x="12109450" y="722184"/>
                </a:moveTo>
                <a:cubicBezTo>
                  <a:pt x="12110085" y="742504"/>
                  <a:pt x="12141835" y="741234"/>
                  <a:pt x="12140565" y="720913"/>
                </a:cubicBezTo>
                <a:cubicBezTo>
                  <a:pt x="12139295" y="700594"/>
                  <a:pt x="12108180" y="701863"/>
                  <a:pt x="12109450" y="722184"/>
                </a:cubicBezTo>
                <a:close/>
                <a:moveTo>
                  <a:pt x="11969115" y="439608"/>
                </a:moveTo>
                <a:cubicBezTo>
                  <a:pt x="11972290" y="465008"/>
                  <a:pt x="12012295" y="459294"/>
                  <a:pt x="12008485" y="433894"/>
                </a:cubicBezTo>
                <a:cubicBezTo>
                  <a:pt x="12005310" y="409129"/>
                  <a:pt x="11965305" y="414208"/>
                  <a:pt x="11969115" y="439608"/>
                </a:cubicBezTo>
                <a:close/>
                <a:moveTo>
                  <a:pt x="11892280" y="94169"/>
                </a:moveTo>
                <a:cubicBezTo>
                  <a:pt x="11929745" y="94169"/>
                  <a:pt x="11922125" y="34479"/>
                  <a:pt x="11885295" y="44004"/>
                </a:cubicBezTo>
                <a:cubicBezTo>
                  <a:pt x="11857355" y="51624"/>
                  <a:pt x="11863705" y="95438"/>
                  <a:pt x="11892280" y="94169"/>
                </a:cubicBezTo>
                <a:close/>
                <a:moveTo>
                  <a:pt x="11892280" y="237679"/>
                </a:moveTo>
                <a:cubicBezTo>
                  <a:pt x="11863705" y="244029"/>
                  <a:pt x="11873865" y="288479"/>
                  <a:pt x="11902440" y="281494"/>
                </a:cubicBezTo>
                <a:cubicBezTo>
                  <a:pt x="11931015" y="275779"/>
                  <a:pt x="11920855" y="230694"/>
                  <a:pt x="11892280" y="237679"/>
                </a:cubicBezTo>
                <a:close/>
                <a:moveTo>
                  <a:pt x="11994515" y="217358"/>
                </a:moveTo>
                <a:cubicBezTo>
                  <a:pt x="11967845" y="221169"/>
                  <a:pt x="11971020" y="263079"/>
                  <a:pt x="11998325" y="262444"/>
                </a:cubicBezTo>
                <a:cubicBezTo>
                  <a:pt x="12030075" y="262444"/>
                  <a:pt x="12025630" y="212279"/>
                  <a:pt x="11994515" y="217358"/>
                </a:cubicBezTo>
                <a:close/>
                <a:moveTo>
                  <a:pt x="11934825" y="523429"/>
                </a:moveTo>
                <a:cubicBezTo>
                  <a:pt x="11911330" y="526604"/>
                  <a:pt x="11917045" y="563434"/>
                  <a:pt x="11940540" y="559624"/>
                </a:cubicBezTo>
                <a:cubicBezTo>
                  <a:pt x="11963400" y="557084"/>
                  <a:pt x="11958320" y="519619"/>
                  <a:pt x="11934825" y="523429"/>
                </a:cubicBezTo>
                <a:close/>
                <a:moveTo>
                  <a:pt x="11875770" y="193229"/>
                </a:moveTo>
                <a:cubicBezTo>
                  <a:pt x="11910695" y="193229"/>
                  <a:pt x="11903710" y="136713"/>
                  <a:pt x="11869420" y="146238"/>
                </a:cubicBezTo>
                <a:cubicBezTo>
                  <a:pt x="11842750" y="152588"/>
                  <a:pt x="11848465" y="193863"/>
                  <a:pt x="11875770" y="193229"/>
                </a:cubicBezTo>
                <a:close/>
                <a:moveTo>
                  <a:pt x="11919585" y="351344"/>
                </a:moveTo>
                <a:cubicBezTo>
                  <a:pt x="11924030" y="378649"/>
                  <a:pt x="11966575" y="370394"/>
                  <a:pt x="11961495" y="343724"/>
                </a:cubicBezTo>
                <a:cubicBezTo>
                  <a:pt x="11956415" y="316419"/>
                  <a:pt x="11913870" y="324674"/>
                  <a:pt x="11919585" y="351344"/>
                </a:cubicBezTo>
                <a:close/>
                <a:moveTo>
                  <a:pt x="11981180" y="169099"/>
                </a:moveTo>
                <a:cubicBezTo>
                  <a:pt x="12015470" y="169099"/>
                  <a:pt x="12010390" y="115124"/>
                  <a:pt x="11976735" y="121474"/>
                </a:cubicBezTo>
                <a:cubicBezTo>
                  <a:pt x="11948795" y="125919"/>
                  <a:pt x="11953240" y="169733"/>
                  <a:pt x="11981180" y="169099"/>
                </a:cubicBezTo>
                <a:close/>
                <a:moveTo>
                  <a:pt x="12022455" y="549463"/>
                </a:moveTo>
                <a:cubicBezTo>
                  <a:pt x="12047855" y="549463"/>
                  <a:pt x="12045315" y="510094"/>
                  <a:pt x="12020550" y="512633"/>
                </a:cubicBezTo>
                <a:cubicBezTo>
                  <a:pt x="11998325" y="514538"/>
                  <a:pt x="12000230" y="549463"/>
                  <a:pt x="12022455" y="549463"/>
                </a:cubicBezTo>
                <a:close/>
                <a:moveTo>
                  <a:pt x="12002770" y="68133"/>
                </a:moveTo>
                <a:cubicBezTo>
                  <a:pt x="12038965" y="68133"/>
                  <a:pt x="12033250" y="10983"/>
                  <a:pt x="11997690" y="17969"/>
                </a:cubicBezTo>
                <a:cubicBezTo>
                  <a:pt x="11968480" y="23049"/>
                  <a:pt x="11973560" y="69404"/>
                  <a:pt x="12002770" y="68133"/>
                </a:cubicBezTo>
                <a:close/>
                <a:moveTo>
                  <a:pt x="11460480" y="604709"/>
                </a:moveTo>
                <a:cubicBezTo>
                  <a:pt x="11491595" y="604074"/>
                  <a:pt x="11481435" y="555179"/>
                  <a:pt x="11452860" y="566609"/>
                </a:cubicBezTo>
                <a:cubicBezTo>
                  <a:pt x="11433175" y="574229"/>
                  <a:pt x="11439525" y="605344"/>
                  <a:pt x="11460480" y="604709"/>
                </a:cubicBezTo>
                <a:close/>
                <a:moveTo>
                  <a:pt x="11099165" y="538034"/>
                </a:moveTo>
                <a:cubicBezTo>
                  <a:pt x="11144885" y="536129"/>
                  <a:pt x="11119485" y="465008"/>
                  <a:pt x="11082655" y="492949"/>
                </a:cubicBezTo>
                <a:cubicBezTo>
                  <a:pt x="11064240" y="507554"/>
                  <a:pt x="11076305" y="538669"/>
                  <a:pt x="11099165" y="538034"/>
                </a:cubicBezTo>
                <a:close/>
                <a:moveTo>
                  <a:pt x="11135360" y="615504"/>
                </a:moveTo>
                <a:cubicBezTo>
                  <a:pt x="11151870" y="639634"/>
                  <a:pt x="11189335" y="613599"/>
                  <a:pt x="11172825" y="590104"/>
                </a:cubicBezTo>
                <a:cubicBezTo>
                  <a:pt x="11156315" y="565338"/>
                  <a:pt x="11118215" y="591374"/>
                  <a:pt x="11135360" y="615504"/>
                </a:cubicBezTo>
                <a:close/>
                <a:moveTo>
                  <a:pt x="11095355" y="549463"/>
                </a:moveTo>
                <a:cubicBezTo>
                  <a:pt x="11070590" y="567879"/>
                  <a:pt x="11100435" y="606613"/>
                  <a:pt x="11124565" y="587563"/>
                </a:cubicBezTo>
                <a:cubicBezTo>
                  <a:pt x="11149330" y="568513"/>
                  <a:pt x="11119485" y="529779"/>
                  <a:pt x="11095355" y="549463"/>
                </a:cubicBezTo>
                <a:close/>
                <a:moveTo>
                  <a:pt x="11038840" y="809179"/>
                </a:moveTo>
                <a:cubicBezTo>
                  <a:pt x="11073765" y="847913"/>
                  <a:pt x="11092815" y="762188"/>
                  <a:pt x="11045190" y="781874"/>
                </a:cubicBezTo>
                <a:cubicBezTo>
                  <a:pt x="11045190" y="781874"/>
                  <a:pt x="11045190" y="781874"/>
                  <a:pt x="11045190" y="781874"/>
                </a:cubicBezTo>
                <a:cubicBezTo>
                  <a:pt x="11035665" y="787588"/>
                  <a:pt x="11032490" y="799654"/>
                  <a:pt x="11038840" y="809179"/>
                </a:cubicBezTo>
                <a:close/>
                <a:moveTo>
                  <a:pt x="11009630" y="618044"/>
                </a:moveTo>
                <a:cubicBezTo>
                  <a:pt x="11009630" y="618044"/>
                  <a:pt x="11009630" y="618044"/>
                  <a:pt x="11009630" y="618044"/>
                </a:cubicBezTo>
                <a:cubicBezTo>
                  <a:pt x="10985500" y="637729"/>
                  <a:pt x="11016615" y="675194"/>
                  <a:pt x="11040110" y="654874"/>
                </a:cubicBezTo>
                <a:cubicBezTo>
                  <a:pt x="11064875" y="635188"/>
                  <a:pt x="11033760" y="597724"/>
                  <a:pt x="11009630" y="618044"/>
                </a:cubicBezTo>
                <a:close/>
                <a:moveTo>
                  <a:pt x="11220450" y="557719"/>
                </a:moveTo>
                <a:cubicBezTo>
                  <a:pt x="11260455" y="601534"/>
                  <a:pt x="11282045" y="503744"/>
                  <a:pt x="11227435" y="526604"/>
                </a:cubicBezTo>
                <a:cubicBezTo>
                  <a:pt x="11227435" y="526604"/>
                  <a:pt x="11227435" y="526604"/>
                  <a:pt x="11227435" y="526604"/>
                </a:cubicBezTo>
                <a:cubicBezTo>
                  <a:pt x="11217275" y="532954"/>
                  <a:pt x="11214100" y="546924"/>
                  <a:pt x="11220450" y="557719"/>
                </a:cubicBezTo>
                <a:close/>
                <a:moveTo>
                  <a:pt x="11188065" y="465644"/>
                </a:moveTo>
                <a:cubicBezTo>
                  <a:pt x="11233150" y="463738"/>
                  <a:pt x="11209020" y="393888"/>
                  <a:pt x="11172190" y="419924"/>
                </a:cubicBezTo>
                <a:cubicBezTo>
                  <a:pt x="11153140" y="434529"/>
                  <a:pt x="11164570" y="466913"/>
                  <a:pt x="11188065" y="465644"/>
                </a:cubicBezTo>
                <a:close/>
                <a:moveTo>
                  <a:pt x="11279505" y="397699"/>
                </a:moveTo>
                <a:cubicBezTo>
                  <a:pt x="11323320" y="395794"/>
                  <a:pt x="11301730" y="327213"/>
                  <a:pt x="11264900" y="351344"/>
                </a:cubicBezTo>
                <a:cubicBezTo>
                  <a:pt x="11244580" y="364679"/>
                  <a:pt x="11256010" y="398333"/>
                  <a:pt x="11279505" y="397699"/>
                </a:cubicBezTo>
                <a:close/>
                <a:moveTo>
                  <a:pt x="11182985" y="484058"/>
                </a:moveTo>
                <a:cubicBezTo>
                  <a:pt x="11157585" y="501838"/>
                  <a:pt x="11186160" y="541209"/>
                  <a:pt x="11210925" y="522794"/>
                </a:cubicBezTo>
                <a:cubicBezTo>
                  <a:pt x="11236325" y="505013"/>
                  <a:pt x="11207750" y="465008"/>
                  <a:pt x="11182985" y="484058"/>
                </a:cubicBezTo>
                <a:close/>
                <a:moveTo>
                  <a:pt x="11527155" y="557719"/>
                </a:moveTo>
                <a:cubicBezTo>
                  <a:pt x="11536045" y="581849"/>
                  <a:pt x="11573510" y="567879"/>
                  <a:pt x="11563985" y="543749"/>
                </a:cubicBezTo>
                <a:cubicBezTo>
                  <a:pt x="11555730" y="520254"/>
                  <a:pt x="11517630" y="534224"/>
                  <a:pt x="11527155" y="557719"/>
                </a:cubicBezTo>
                <a:close/>
                <a:moveTo>
                  <a:pt x="11036935" y="872679"/>
                </a:moveTo>
                <a:cubicBezTo>
                  <a:pt x="11049000" y="893634"/>
                  <a:pt x="11080750" y="874584"/>
                  <a:pt x="11068685" y="854263"/>
                </a:cubicBezTo>
                <a:cubicBezTo>
                  <a:pt x="11057255" y="833309"/>
                  <a:pt x="11024870" y="852359"/>
                  <a:pt x="11036935" y="872679"/>
                </a:cubicBezTo>
                <a:close/>
                <a:moveTo>
                  <a:pt x="10925810" y="690434"/>
                </a:moveTo>
                <a:cubicBezTo>
                  <a:pt x="10889615" y="760919"/>
                  <a:pt x="11017885" y="719009"/>
                  <a:pt x="10947400" y="683449"/>
                </a:cubicBezTo>
                <a:cubicBezTo>
                  <a:pt x="10986770" y="607884"/>
                  <a:pt x="10848340" y="653604"/>
                  <a:pt x="10925810" y="690434"/>
                </a:cubicBezTo>
                <a:close/>
                <a:moveTo>
                  <a:pt x="10969625" y="891729"/>
                </a:moveTo>
                <a:cubicBezTo>
                  <a:pt x="10949305" y="903794"/>
                  <a:pt x="10968990" y="935544"/>
                  <a:pt x="10988675" y="922844"/>
                </a:cubicBezTo>
                <a:cubicBezTo>
                  <a:pt x="11008995" y="910779"/>
                  <a:pt x="10989310" y="879029"/>
                  <a:pt x="10969625" y="891729"/>
                </a:cubicBezTo>
                <a:close/>
                <a:moveTo>
                  <a:pt x="9279255" y="2355404"/>
                </a:moveTo>
                <a:cubicBezTo>
                  <a:pt x="9265920" y="2331274"/>
                  <a:pt x="9228455" y="2352864"/>
                  <a:pt x="9242425" y="2376359"/>
                </a:cubicBezTo>
                <a:cubicBezTo>
                  <a:pt x="9255760" y="2400489"/>
                  <a:pt x="9293225" y="2378899"/>
                  <a:pt x="9279255" y="2355404"/>
                </a:cubicBezTo>
                <a:close/>
                <a:moveTo>
                  <a:pt x="10994390" y="779334"/>
                </a:moveTo>
                <a:cubicBezTo>
                  <a:pt x="10978515" y="757109"/>
                  <a:pt x="10943590" y="782509"/>
                  <a:pt x="10960100" y="804099"/>
                </a:cubicBezTo>
                <a:cubicBezTo>
                  <a:pt x="10976610" y="826324"/>
                  <a:pt x="11010900" y="800924"/>
                  <a:pt x="10994390" y="779334"/>
                </a:cubicBezTo>
                <a:close/>
                <a:moveTo>
                  <a:pt x="10995025" y="837754"/>
                </a:moveTo>
                <a:cubicBezTo>
                  <a:pt x="10981055" y="816163"/>
                  <a:pt x="10947400" y="839024"/>
                  <a:pt x="10962005" y="859979"/>
                </a:cubicBezTo>
                <a:cubicBezTo>
                  <a:pt x="10975975" y="881569"/>
                  <a:pt x="11009630" y="858709"/>
                  <a:pt x="10995025" y="837754"/>
                </a:cubicBezTo>
                <a:close/>
                <a:moveTo>
                  <a:pt x="11012805" y="612963"/>
                </a:moveTo>
                <a:cubicBezTo>
                  <a:pt x="11059160" y="611059"/>
                  <a:pt x="11031855" y="539304"/>
                  <a:pt x="10995660" y="568513"/>
                </a:cubicBezTo>
                <a:cubicBezTo>
                  <a:pt x="10978515" y="583754"/>
                  <a:pt x="10990580" y="613599"/>
                  <a:pt x="11012805" y="612963"/>
                </a:cubicBezTo>
                <a:close/>
                <a:moveTo>
                  <a:pt x="10970895" y="738694"/>
                </a:moveTo>
                <a:cubicBezTo>
                  <a:pt x="10988675" y="762188"/>
                  <a:pt x="11024870" y="733613"/>
                  <a:pt x="11006455" y="710754"/>
                </a:cubicBezTo>
                <a:cubicBezTo>
                  <a:pt x="10988675" y="687894"/>
                  <a:pt x="10952480" y="716469"/>
                  <a:pt x="10970895" y="738694"/>
                </a:cubicBezTo>
                <a:close/>
                <a:moveTo>
                  <a:pt x="10891520" y="804734"/>
                </a:moveTo>
                <a:cubicBezTo>
                  <a:pt x="10909935" y="827594"/>
                  <a:pt x="10945495" y="797749"/>
                  <a:pt x="10925810" y="775524"/>
                </a:cubicBezTo>
                <a:cubicBezTo>
                  <a:pt x="10907395" y="752663"/>
                  <a:pt x="10872470" y="782509"/>
                  <a:pt x="10891520" y="804734"/>
                </a:cubicBezTo>
                <a:close/>
                <a:moveTo>
                  <a:pt x="11448415" y="839659"/>
                </a:moveTo>
                <a:cubicBezTo>
                  <a:pt x="11454130" y="859344"/>
                  <a:pt x="11483975" y="849819"/>
                  <a:pt x="11478260" y="830769"/>
                </a:cubicBezTo>
                <a:cubicBezTo>
                  <a:pt x="11472545" y="811084"/>
                  <a:pt x="11442065" y="819974"/>
                  <a:pt x="11448415" y="839659"/>
                </a:cubicBezTo>
                <a:close/>
                <a:moveTo>
                  <a:pt x="11397615" y="452308"/>
                </a:moveTo>
                <a:cubicBezTo>
                  <a:pt x="11410950" y="478344"/>
                  <a:pt x="11451590" y="456754"/>
                  <a:pt x="11437620" y="431354"/>
                </a:cubicBezTo>
                <a:cubicBezTo>
                  <a:pt x="11424285" y="405319"/>
                  <a:pt x="11383645" y="426274"/>
                  <a:pt x="11397615" y="452308"/>
                </a:cubicBezTo>
                <a:close/>
                <a:moveTo>
                  <a:pt x="11384915" y="639634"/>
                </a:moveTo>
                <a:cubicBezTo>
                  <a:pt x="11408410" y="629474"/>
                  <a:pt x="11391265" y="592644"/>
                  <a:pt x="11368405" y="604074"/>
                </a:cubicBezTo>
                <a:cubicBezTo>
                  <a:pt x="11344910" y="614869"/>
                  <a:pt x="11362055" y="651063"/>
                  <a:pt x="11384915" y="639634"/>
                </a:cubicBezTo>
                <a:close/>
                <a:moveTo>
                  <a:pt x="11399520" y="555179"/>
                </a:moveTo>
                <a:lnTo>
                  <a:pt x="11399520" y="555179"/>
                </a:lnTo>
                <a:cubicBezTo>
                  <a:pt x="11424285" y="543113"/>
                  <a:pt x="11404600" y="504379"/>
                  <a:pt x="11380470" y="517079"/>
                </a:cubicBezTo>
                <a:cubicBezTo>
                  <a:pt x="11355705" y="529144"/>
                  <a:pt x="11375390" y="567244"/>
                  <a:pt x="11399520" y="555179"/>
                </a:cubicBezTo>
                <a:close/>
                <a:moveTo>
                  <a:pt x="11490960" y="741234"/>
                </a:moveTo>
                <a:cubicBezTo>
                  <a:pt x="11483975" y="720279"/>
                  <a:pt x="11451590" y="731074"/>
                  <a:pt x="11458575" y="752029"/>
                </a:cubicBezTo>
                <a:cubicBezTo>
                  <a:pt x="11465560" y="772984"/>
                  <a:pt x="11497945" y="762188"/>
                  <a:pt x="11490960" y="741234"/>
                </a:cubicBezTo>
                <a:close/>
                <a:moveTo>
                  <a:pt x="11452225" y="341183"/>
                </a:moveTo>
                <a:cubicBezTo>
                  <a:pt x="11466830" y="369124"/>
                  <a:pt x="11509375" y="345629"/>
                  <a:pt x="11494770" y="318324"/>
                </a:cubicBezTo>
                <a:cubicBezTo>
                  <a:pt x="11480165" y="291019"/>
                  <a:pt x="11436985" y="314513"/>
                  <a:pt x="11452225" y="341183"/>
                </a:cubicBezTo>
                <a:close/>
                <a:moveTo>
                  <a:pt x="11489055" y="405319"/>
                </a:moveTo>
                <a:cubicBezTo>
                  <a:pt x="11501120" y="431988"/>
                  <a:pt x="11543030" y="412304"/>
                  <a:pt x="11529695" y="386269"/>
                </a:cubicBezTo>
                <a:cubicBezTo>
                  <a:pt x="11518265" y="359599"/>
                  <a:pt x="11476355" y="378649"/>
                  <a:pt x="11489055" y="405319"/>
                </a:cubicBezTo>
                <a:close/>
                <a:moveTo>
                  <a:pt x="10886440" y="833944"/>
                </a:moveTo>
                <a:cubicBezTo>
                  <a:pt x="10864215" y="850454"/>
                  <a:pt x="10890885" y="884744"/>
                  <a:pt x="10912475" y="867599"/>
                </a:cubicBezTo>
                <a:cubicBezTo>
                  <a:pt x="10934700" y="850454"/>
                  <a:pt x="10908030" y="816799"/>
                  <a:pt x="10886440" y="833944"/>
                </a:cubicBezTo>
                <a:close/>
                <a:moveTo>
                  <a:pt x="11471910" y="273238"/>
                </a:moveTo>
                <a:cubicBezTo>
                  <a:pt x="11513820" y="271969"/>
                  <a:pt x="11496675" y="205294"/>
                  <a:pt x="11459210" y="225613"/>
                </a:cubicBezTo>
                <a:cubicBezTo>
                  <a:pt x="11436985" y="237679"/>
                  <a:pt x="11447145" y="274508"/>
                  <a:pt x="11471910" y="273238"/>
                </a:cubicBezTo>
                <a:close/>
                <a:moveTo>
                  <a:pt x="11366500" y="363408"/>
                </a:moveTo>
                <a:cubicBezTo>
                  <a:pt x="11339195" y="379283"/>
                  <a:pt x="11364595" y="421194"/>
                  <a:pt x="11391265" y="404683"/>
                </a:cubicBezTo>
                <a:cubicBezTo>
                  <a:pt x="11417935" y="388808"/>
                  <a:pt x="11392535" y="346899"/>
                  <a:pt x="11366500" y="363408"/>
                </a:cubicBezTo>
                <a:close/>
                <a:moveTo>
                  <a:pt x="11285220" y="644713"/>
                </a:moveTo>
                <a:cubicBezTo>
                  <a:pt x="11262360" y="656144"/>
                  <a:pt x="11280775" y="691704"/>
                  <a:pt x="11303000" y="679638"/>
                </a:cubicBezTo>
                <a:cubicBezTo>
                  <a:pt x="11325860" y="668209"/>
                  <a:pt x="11308080" y="632649"/>
                  <a:pt x="11285220" y="644713"/>
                </a:cubicBezTo>
                <a:close/>
                <a:moveTo>
                  <a:pt x="11273155" y="421829"/>
                </a:moveTo>
                <a:cubicBezTo>
                  <a:pt x="11247120" y="438974"/>
                  <a:pt x="11273790" y="479613"/>
                  <a:pt x="11299825" y="461833"/>
                </a:cubicBezTo>
                <a:cubicBezTo>
                  <a:pt x="11325860" y="444688"/>
                  <a:pt x="11299190" y="404049"/>
                  <a:pt x="11273155" y="421829"/>
                </a:cubicBezTo>
                <a:close/>
                <a:moveTo>
                  <a:pt x="11414760" y="767269"/>
                </a:moveTo>
                <a:cubicBezTo>
                  <a:pt x="11407140" y="746313"/>
                  <a:pt x="11374755" y="758379"/>
                  <a:pt x="11383010" y="779334"/>
                </a:cubicBezTo>
                <a:cubicBezTo>
                  <a:pt x="11390630" y="800288"/>
                  <a:pt x="11423015" y="788224"/>
                  <a:pt x="11414760" y="767269"/>
                </a:cubicBezTo>
                <a:close/>
                <a:moveTo>
                  <a:pt x="11242675" y="818069"/>
                </a:moveTo>
                <a:cubicBezTo>
                  <a:pt x="11222355" y="826324"/>
                  <a:pt x="11236325" y="858074"/>
                  <a:pt x="11256010" y="849184"/>
                </a:cubicBezTo>
                <a:cubicBezTo>
                  <a:pt x="11276965" y="840294"/>
                  <a:pt x="11262995" y="808544"/>
                  <a:pt x="11242675" y="818069"/>
                </a:cubicBezTo>
                <a:close/>
                <a:moveTo>
                  <a:pt x="11322685" y="571054"/>
                </a:moveTo>
                <a:cubicBezTo>
                  <a:pt x="11309985" y="546924"/>
                  <a:pt x="11271885" y="567879"/>
                  <a:pt x="11285855" y="591374"/>
                </a:cubicBezTo>
                <a:cubicBezTo>
                  <a:pt x="11298555" y="615504"/>
                  <a:pt x="11336020" y="594549"/>
                  <a:pt x="11322685" y="571054"/>
                </a:cubicBezTo>
                <a:close/>
                <a:moveTo>
                  <a:pt x="11245850" y="893634"/>
                </a:moveTo>
                <a:cubicBezTo>
                  <a:pt x="11226800" y="900619"/>
                  <a:pt x="11238865" y="930463"/>
                  <a:pt x="11257280" y="922209"/>
                </a:cubicBezTo>
                <a:cubicBezTo>
                  <a:pt x="11275695" y="915859"/>
                  <a:pt x="11264265" y="886013"/>
                  <a:pt x="11245850" y="893634"/>
                </a:cubicBezTo>
                <a:close/>
                <a:moveTo>
                  <a:pt x="11374755" y="332929"/>
                </a:moveTo>
                <a:cubicBezTo>
                  <a:pt x="11417935" y="331658"/>
                  <a:pt x="11398250" y="263713"/>
                  <a:pt x="11360785" y="285938"/>
                </a:cubicBezTo>
                <a:cubicBezTo>
                  <a:pt x="11339195" y="299274"/>
                  <a:pt x="11349990" y="334199"/>
                  <a:pt x="11374755" y="332929"/>
                </a:cubicBezTo>
                <a:close/>
                <a:moveTo>
                  <a:pt x="11308080" y="503108"/>
                </a:moveTo>
                <a:cubicBezTo>
                  <a:pt x="11322685" y="528509"/>
                  <a:pt x="11362055" y="505649"/>
                  <a:pt x="11346815" y="480249"/>
                </a:cubicBezTo>
                <a:cubicBezTo>
                  <a:pt x="11332845" y="454849"/>
                  <a:pt x="11292840" y="478344"/>
                  <a:pt x="11308080" y="503108"/>
                </a:cubicBezTo>
                <a:close/>
                <a:moveTo>
                  <a:pt x="8964930" y="2007424"/>
                </a:moveTo>
                <a:cubicBezTo>
                  <a:pt x="8982075" y="2007424"/>
                  <a:pt x="8980805" y="1980754"/>
                  <a:pt x="8963660" y="1982024"/>
                </a:cubicBezTo>
                <a:cubicBezTo>
                  <a:pt x="8947785" y="1983294"/>
                  <a:pt x="8949055" y="2008059"/>
                  <a:pt x="8964930" y="2007424"/>
                </a:cubicBezTo>
                <a:close/>
                <a:moveTo>
                  <a:pt x="8071485" y="2028379"/>
                </a:moveTo>
                <a:cubicBezTo>
                  <a:pt x="8089265" y="2032824"/>
                  <a:pt x="8095615" y="2004884"/>
                  <a:pt x="8077835" y="2001074"/>
                </a:cubicBezTo>
                <a:cubicBezTo>
                  <a:pt x="8060056" y="1996629"/>
                  <a:pt x="8053706" y="2024569"/>
                  <a:pt x="8071485" y="2028379"/>
                </a:cubicBezTo>
                <a:close/>
                <a:moveTo>
                  <a:pt x="8078470" y="1942019"/>
                </a:moveTo>
                <a:cubicBezTo>
                  <a:pt x="8094345" y="1945829"/>
                  <a:pt x="8100060" y="1920429"/>
                  <a:pt x="8083550" y="1917254"/>
                </a:cubicBezTo>
                <a:cubicBezTo>
                  <a:pt x="8067675" y="1914079"/>
                  <a:pt x="8062595" y="1938844"/>
                  <a:pt x="8078470" y="1942019"/>
                </a:cubicBezTo>
                <a:close/>
                <a:moveTo>
                  <a:pt x="8059420" y="2230309"/>
                </a:moveTo>
                <a:cubicBezTo>
                  <a:pt x="8080375" y="2236024"/>
                  <a:pt x="8089265" y="2203004"/>
                  <a:pt x="8067675" y="2197289"/>
                </a:cubicBezTo>
                <a:cubicBezTo>
                  <a:pt x="8047356" y="2191574"/>
                  <a:pt x="8038465" y="2225229"/>
                  <a:pt x="8059420" y="2230309"/>
                </a:cubicBezTo>
                <a:close/>
                <a:moveTo>
                  <a:pt x="8003540" y="2309684"/>
                </a:moveTo>
                <a:cubicBezTo>
                  <a:pt x="7997190" y="2332544"/>
                  <a:pt x="8032750" y="2342704"/>
                  <a:pt x="8039100" y="2319209"/>
                </a:cubicBezTo>
                <a:cubicBezTo>
                  <a:pt x="8046085" y="2296349"/>
                  <a:pt x="8009890" y="2286189"/>
                  <a:pt x="8003540" y="2309684"/>
                </a:cubicBezTo>
                <a:close/>
                <a:moveTo>
                  <a:pt x="8138160" y="2249359"/>
                </a:moveTo>
                <a:cubicBezTo>
                  <a:pt x="8159115" y="2254439"/>
                  <a:pt x="8167370" y="2220784"/>
                  <a:pt x="8145781" y="2216339"/>
                </a:cubicBezTo>
                <a:cubicBezTo>
                  <a:pt x="8124190" y="2211259"/>
                  <a:pt x="8117206" y="2244914"/>
                  <a:pt x="8138160" y="2249359"/>
                </a:cubicBezTo>
                <a:close/>
                <a:moveTo>
                  <a:pt x="8139431" y="2043619"/>
                </a:moveTo>
                <a:cubicBezTo>
                  <a:pt x="8157210" y="2048063"/>
                  <a:pt x="8163560" y="2019488"/>
                  <a:pt x="8145145" y="2016313"/>
                </a:cubicBezTo>
                <a:cubicBezTo>
                  <a:pt x="8127365" y="2011869"/>
                  <a:pt x="8121650" y="2039809"/>
                  <a:pt x="8139431" y="2043619"/>
                </a:cubicBezTo>
                <a:close/>
                <a:moveTo>
                  <a:pt x="8140700" y="2556064"/>
                </a:moveTo>
                <a:cubicBezTo>
                  <a:pt x="8113395" y="2550984"/>
                  <a:pt x="8106410" y="2593529"/>
                  <a:pt x="8133081" y="2597974"/>
                </a:cubicBezTo>
                <a:cubicBezTo>
                  <a:pt x="8160385" y="2603054"/>
                  <a:pt x="8168006" y="2560509"/>
                  <a:pt x="8140700" y="2556064"/>
                </a:cubicBezTo>
                <a:close/>
                <a:moveTo>
                  <a:pt x="8140700" y="1954719"/>
                </a:moveTo>
                <a:cubicBezTo>
                  <a:pt x="8140700" y="1954719"/>
                  <a:pt x="8140700" y="1954719"/>
                  <a:pt x="8140700" y="1954719"/>
                </a:cubicBezTo>
                <a:cubicBezTo>
                  <a:pt x="8140700" y="1954719"/>
                  <a:pt x="8140700" y="1954719"/>
                  <a:pt x="8140700" y="1954719"/>
                </a:cubicBezTo>
                <a:lnTo>
                  <a:pt x="8140700" y="1954719"/>
                </a:lnTo>
                <a:close/>
                <a:moveTo>
                  <a:pt x="8140700" y="1954719"/>
                </a:moveTo>
                <a:cubicBezTo>
                  <a:pt x="8194675" y="1933129"/>
                  <a:pt x="8098790" y="1915349"/>
                  <a:pt x="8140700" y="1954719"/>
                </a:cubicBezTo>
                <a:lnTo>
                  <a:pt x="8140700" y="1954719"/>
                </a:lnTo>
                <a:close/>
                <a:moveTo>
                  <a:pt x="8016240" y="1928684"/>
                </a:moveTo>
                <a:cubicBezTo>
                  <a:pt x="8032115" y="1932494"/>
                  <a:pt x="8037831" y="1907094"/>
                  <a:pt x="8021956" y="1903919"/>
                </a:cubicBezTo>
                <a:cubicBezTo>
                  <a:pt x="8005445" y="1900109"/>
                  <a:pt x="7999731" y="1925509"/>
                  <a:pt x="8016240" y="1928684"/>
                </a:cubicBezTo>
                <a:close/>
                <a:moveTo>
                  <a:pt x="7954010" y="1914713"/>
                </a:moveTo>
                <a:cubicBezTo>
                  <a:pt x="7969885" y="1919159"/>
                  <a:pt x="7976235" y="1893759"/>
                  <a:pt x="7959725" y="1889949"/>
                </a:cubicBezTo>
                <a:cubicBezTo>
                  <a:pt x="7943850" y="1886138"/>
                  <a:pt x="7938135" y="1910904"/>
                  <a:pt x="7954010" y="1914713"/>
                </a:cubicBezTo>
                <a:close/>
                <a:moveTo>
                  <a:pt x="7944485" y="2272219"/>
                </a:moveTo>
                <a:cubicBezTo>
                  <a:pt x="7921625" y="2264599"/>
                  <a:pt x="7910831" y="2300159"/>
                  <a:pt x="7933690" y="2307144"/>
                </a:cubicBezTo>
                <a:cubicBezTo>
                  <a:pt x="7955915" y="2314764"/>
                  <a:pt x="7967345" y="2279204"/>
                  <a:pt x="7944485" y="2272219"/>
                </a:cubicBezTo>
                <a:close/>
                <a:moveTo>
                  <a:pt x="7927340" y="2526219"/>
                </a:moveTo>
                <a:cubicBezTo>
                  <a:pt x="7919085" y="2552254"/>
                  <a:pt x="7960360" y="2564319"/>
                  <a:pt x="7967981" y="2538284"/>
                </a:cubicBezTo>
                <a:cubicBezTo>
                  <a:pt x="7976235" y="2511614"/>
                  <a:pt x="7934960" y="2499549"/>
                  <a:pt x="7927340" y="2526219"/>
                </a:cubicBezTo>
                <a:close/>
                <a:moveTo>
                  <a:pt x="7947660" y="2060763"/>
                </a:moveTo>
                <a:cubicBezTo>
                  <a:pt x="7928610" y="2054413"/>
                  <a:pt x="7919720" y="2084894"/>
                  <a:pt x="7938770" y="2090609"/>
                </a:cubicBezTo>
                <a:cubicBezTo>
                  <a:pt x="7957820" y="2096324"/>
                  <a:pt x="7966710" y="2065844"/>
                  <a:pt x="7947660" y="2060763"/>
                </a:cubicBezTo>
                <a:close/>
                <a:moveTo>
                  <a:pt x="8004175" y="2011869"/>
                </a:moveTo>
                <a:cubicBezTo>
                  <a:pt x="8021956" y="2016949"/>
                  <a:pt x="8028940" y="1989009"/>
                  <a:pt x="8011160" y="1984563"/>
                </a:cubicBezTo>
                <a:cubicBezTo>
                  <a:pt x="7993381" y="1980119"/>
                  <a:pt x="7986395" y="2008059"/>
                  <a:pt x="8004175" y="2011869"/>
                </a:cubicBezTo>
                <a:close/>
                <a:moveTo>
                  <a:pt x="7981950" y="2208719"/>
                </a:moveTo>
                <a:cubicBezTo>
                  <a:pt x="8002906" y="2215069"/>
                  <a:pt x="8013065" y="2182049"/>
                  <a:pt x="7991475" y="2176334"/>
                </a:cubicBezTo>
                <a:cubicBezTo>
                  <a:pt x="7970520" y="2169984"/>
                  <a:pt x="7960360" y="2203004"/>
                  <a:pt x="7981950" y="2208719"/>
                </a:cubicBezTo>
                <a:close/>
                <a:moveTo>
                  <a:pt x="8018781" y="2081084"/>
                </a:moveTo>
                <a:cubicBezTo>
                  <a:pt x="7996556" y="2075369"/>
                  <a:pt x="7991475" y="2111564"/>
                  <a:pt x="8014335" y="2111564"/>
                </a:cubicBezTo>
                <a:cubicBezTo>
                  <a:pt x="8032115" y="2112199"/>
                  <a:pt x="8036560" y="2084894"/>
                  <a:pt x="8018781" y="2081084"/>
                </a:cubicBezTo>
                <a:close/>
                <a:moveTo>
                  <a:pt x="8174356" y="2465259"/>
                </a:moveTo>
                <a:cubicBezTo>
                  <a:pt x="8179435" y="2440494"/>
                  <a:pt x="8140065" y="2432874"/>
                  <a:pt x="8135620" y="2457639"/>
                </a:cubicBezTo>
                <a:cubicBezTo>
                  <a:pt x="8130540" y="2483039"/>
                  <a:pt x="8169910" y="2490659"/>
                  <a:pt x="8174356" y="2465259"/>
                </a:cubicBezTo>
                <a:close/>
                <a:moveTo>
                  <a:pt x="8021320" y="2552254"/>
                </a:moveTo>
                <a:cubicBezTo>
                  <a:pt x="8014970" y="2578924"/>
                  <a:pt x="8056245" y="2589084"/>
                  <a:pt x="8062595" y="2561779"/>
                </a:cubicBezTo>
                <a:cubicBezTo>
                  <a:pt x="8069581" y="2535109"/>
                  <a:pt x="8027035" y="2525584"/>
                  <a:pt x="8021320" y="2552254"/>
                </a:cubicBezTo>
                <a:close/>
                <a:moveTo>
                  <a:pt x="8308975" y="2598609"/>
                </a:moveTo>
                <a:cubicBezTo>
                  <a:pt x="8307070" y="2625914"/>
                  <a:pt x="8350250" y="2628454"/>
                  <a:pt x="8351520" y="2601149"/>
                </a:cubicBezTo>
                <a:cubicBezTo>
                  <a:pt x="8353425" y="2573844"/>
                  <a:pt x="8310245" y="2570669"/>
                  <a:pt x="8308975" y="2598609"/>
                </a:cubicBezTo>
                <a:close/>
                <a:moveTo>
                  <a:pt x="8332470" y="2063938"/>
                </a:moveTo>
                <a:cubicBezTo>
                  <a:pt x="8333740" y="2100769"/>
                  <a:pt x="8383906" y="2063304"/>
                  <a:pt x="8348345" y="2051874"/>
                </a:cubicBezTo>
                <a:cubicBezTo>
                  <a:pt x="8340725" y="2051238"/>
                  <a:pt x="8333740" y="2056319"/>
                  <a:pt x="8332470" y="2063938"/>
                </a:cubicBezTo>
                <a:close/>
                <a:moveTo>
                  <a:pt x="8361045" y="2360484"/>
                </a:moveTo>
                <a:cubicBezTo>
                  <a:pt x="8337550" y="2357944"/>
                  <a:pt x="8333740" y="2394774"/>
                  <a:pt x="8357235" y="2397314"/>
                </a:cubicBezTo>
                <a:cubicBezTo>
                  <a:pt x="8381365" y="2399219"/>
                  <a:pt x="8385175" y="2362389"/>
                  <a:pt x="8361045" y="2360484"/>
                </a:cubicBezTo>
                <a:close/>
                <a:moveTo>
                  <a:pt x="8145145" y="2128074"/>
                </a:moveTo>
                <a:cubicBezTo>
                  <a:pt x="8140700" y="2147759"/>
                  <a:pt x="8171181" y="2154744"/>
                  <a:pt x="8175625" y="2134424"/>
                </a:cubicBezTo>
                <a:cubicBezTo>
                  <a:pt x="8180070" y="2115374"/>
                  <a:pt x="8148956" y="2108389"/>
                  <a:pt x="8145145" y="2128074"/>
                </a:cubicBezTo>
                <a:close/>
                <a:moveTo>
                  <a:pt x="8357870" y="2737674"/>
                </a:moveTo>
                <a:cubicBezTo>
                  <a:pt x="8387081" y="2738309"/>
                  <a:pt x="8387715" y="2692589"/>
                  <a:pt x="8358506" y="2692589"/>
                </a:cubicBezTo>
                <a:cubicBezTo>
                  <a:pt x="8329295" y="2691954"/>
                  <a:pt x="8328660" y="2738309"/>
                  <a:pt x="8357870" y="2737674"/>
                </a:cubicBezTo>
                <a:close/>
                <a:moveTo>
                  <a:pt x="8338185" y="2467164"/>
                </a:moveTo>
                <a:cubicBezTo>
                  <a:pt x="8311515" y="2464624"/>
                  <a:pt x="8309610" y="2507169"/>
                  <a:pt x="8336915" y="2506534"/>
                </a:cubicBezTo>
                <a:cubicBezTo>
                  <a:pt x="8361045" y="2507169"/>
                  <a:pt x="8362950" y="2469069"/>
                  <a:pt x="8338185" y="2467164"/>
                </a:cubicBezTo>
                <a:close/>
                <a:moveTo>
                  <a:pt x="8304531" y="2174429"/>
                </a:moveTo>
                <a:cubicBezTo>
                  <a:pt x="8324215" y="2178239"/>
                  <a:pt x="8329295" y="2146489"/>
                  <a:pt x="8309610" y="2143949"/>
                </a:cubicBezTo>
                <a:cubicBezTo>
                  <a:pt x="8289925" y="2140139"/>
                  <a:pt x="8284845" y="2171889"/>
                  <a:pt x="8304531" y="2174429"/>
                </a:cubicBezTo>
                <a:close/>
                <a:moveTo>
                  <a:pt x="8379460" y="2185224"/>
                </a:moveTo>
                <a:cubicBezTo>
                  <a:pt x="8399145" y="2188399"/>
                  <a:pt x="8403590" y="2156649"/>
                  <a:pt x="8383270" y="2154109"/>
                </a:cubicBezTo>
                <a:cubicBezTo>
                  <a:pt x="8363585" y="2151569"/>
                  <a:pt x="8359140" y="2182684"/>
                  <a:pt x="8379460" y="2185224"/>
                </a:cubicBezTo>
                <a:close/>
                <a:moveTo>
                  <a:pt x="8392795" y="1993454"/>
                </a:moveTo>
                <a:cubicBezTo>
                  <a:pt x="8409305" y="1995359"/>
                  <a:pt x="8412480" y="1969959"/>
                  <a:pt x="8395970" y="1968054"/>
                </a:cubicBezTo>
                <a:cubicBezTo>
                  <a:pt x="8379460" y="1966149"/>
                  <a:pt x="8376285" y="1991549"/>
                  <a:pt x="8392795" y="1993454"/>
                </a:cubicBezTo>
                <a:close/>
                <a:moveTo>
                  <a:pt x="7936865" y="1994088"/>
                </a:moveTo>
                <a:lnTo>
                  <a:pt x="7936865" y="1994088"/>
                </a:lnTo>
                <a:cubicBezTo>
                  <a:pt x="7954010" y="1999169"/>
                  <a:pt x="7962265" y="1971229"/>
                  <a:pt x="7944485" y="1966784"/>
                </a:cubicBezTo>
                <a:cubicBezTo>
                  <a:pt x="7926706" y="1961704"/>
                  <a:pt x="7919085" y="1989644"/>
                  <a:pt x="7936865" y="1994088"/>
                </a:cubicBezTo>
                <a:close/>
                <a:moveTo>
                  <a:pt x="8329295" y="1985199"/>
                </a:moveTo>
                <a:cubicBezTo>
                  <a:pt x="8345806" y="1987738"/>
                  <a:pt x="8348981" y="1961704"/>
                  <a:pt x="8332470" y="1959799"/>
                </a:cubicBezTo>
                <a:cubicBezTo>
                  <a:pt x="8316595" y="1957894"/>
                  <a:pt x="8313420" y="1983294"/>
                  <a:pt x="8329295" y="1985199"/>
                </a:cubicBezTo>
                <a:close/>
                <a:moveTo>
                  <a:pt x="8195945" y="2041079"/>
                </a:moveTo>
                <a:cubicBezTo>
                  <a:pt x="8192135" y="2058859"/>
                  <a:pt x="8220710" y="2064574"/>
                  <a:pt x="8223885" y="2046159"/>
                </a:cubicBezTo>
                <a:cubicBezTo>
                  <a:pt x="8227695" y="2028379"/>
                  <a:pt x="8199120" y="2022663"/>
                  <a:pt x="8195945" y="2041079"/>
                </a:cubicBezTo>
                <a:close/>
                <a:moveTo>
                  <a:pt x="8264525" y="2053144"/>
                </a:moveTo>
                <a:cubicBezTo>
                  <a:pt x="8261350" y="2070924"/>
                  <a:pt x="8289290" y="2076004"/>
                  <a:pt x="8292465" y="2057588"/>
                </a:cubicBezTo>
                <a:cubicBezTo>
                  <a:pt x="8295006" y="2039809"/>
                  <a:pt x="8267065" y="2035363"/>
                  <a:pt x="8264525" y="2053144"/>
                </a:cubicBezTo>
                <a:close/>
                <a:moveTo>
                  <a:pt x="8265160" y="2479229"/>
                </a:moveTo>
                <a:cubicBezTo>
                  <a:pt x="8266431" y="2468434"/>
                  <a:pt x="8258810" y="2458274"/>
                  <a:pt x="8248015" y="2457004"/>
                </a:cubicBezTo>
                <a:cubicBezTo>
                  <a:pt x="8196581" y="2458909"/>
                  <a:pt x="8249285" y="2528759"/>
                  <a:pt x="8265160" y="2479229"/>
                </a:cubicBezTo>
                <a:close/>
                <a:moveTo>
                  <a:pt x="8203565" y="1965513"/>
                </a:moveTo>
                <a:cubicBezTo>
                  <a:pt x="8219440" y="1968688"/>
                  <a:pt x="8224520" y="1943288"/>
                  <a:pt x="8208010" y="1940749"/>
                </a:cubicBezTo>
                <a:cubicBezTo>
                  <a:pt x="8191500" y="1937574"/>
                  <a:pt x="8187056" y="1962974"/>
                  <a:pt x="8203565" y="1965513"/>
                </a:cubicBezTo>
                <a:close/>
                <a:moveTo>
                  <a:pt x="8218170" y="2143314"/>
                </a:moveTo>
                <a:cubicBezTo>
                  <a:pt x="8214360" y="2162999"/>
                  <a:pt x="8244840" y="2168714"/>
                  <a:pt x="8248650" y="2149029"/>
                </a:cubicBezTo>
                <a:cubicBezTo>
                  <a:pt x="8252460" y="2129344"/>
                  <a:pt x="8221345" y="2123629"/>
                  <a:pt x="8218170" y="2143314"/>
                </a:cubicBezTo>
                <a:close/>
                <a:moveTo>
                  <a:pt x="8223885" y="2232849"/>
                </a:moveTo>
                <a:cubicBezTo>
                  <a:pt x="8200390" y="2228404"/>
                  <a:pt x="8196581" y="2266504"/>
                  <a:pt x="8220710" y="2266504"/>
                </a:cubicBezTo>
                <a:cubicBezTo>
                  <a:pt x="8241031" y="2266504"/>
                  <a:pt x="8244206" y="2236024"/>
                  <a:pt x="8223885" y="2232849"/>
                </a:cubicBezTo>
                <a:close/>
                <a:moveTo>
                  <a:pt x="8266431" y="1976309"/>
                </a:moveTo>
                <a:cubicBezTo>
                  <a:pt x="8282306" y="1978849"/>
                  <a:pt x="8286750" y="1953449"/>
                  <a:pt x="8270240" y="1950909"/>
                </a:cubicBezTo>
                <a:cubicBezTo>
                  <a:pt x="8254365" y="1948369"/>
                  <a:pt x="8249920" y="1973769"/>
                  <a:pt x="8266431" y="1976309"/>
                </a:cubicBezTo>
                <a:close/>
                <a:moveTo>
                  <a:pt x="8230870" y="2611944"/>
                </a:moveTo>
                <a:cubicBezTo>
                  <a:pt x="8258175" y="2615754"/>
                  <a:pt x="8263256" y="2572574"/>
                  <a:pt x="8235950" y="2570034"/>
                </a:cubicBezTo>
                <a:cubicBezTo>
                  <a:pt x="8208645" y="2566224"/>
                  <a:pt x="8203565" y="2609404"/>
                  <a:pt x="8230870" y="2611944"/>
                </a:cubicBezTo>
                <a:close/>
                <a:moveTo>
                  <a:pt x="7707631" y="1849944"/>
                </a:moveTo>
                <a:cubicBezTo>
                  <a:pt x="7723506" y="1855024"/>
                  <a:pt x="7730490" y="1830259"/>
                  <a:pt x="7714615" y="1825813"/>
                </a:cubicBezTo>
                <a:cubicBezTo>
                  <a:pt x="7699375" y="1820734"/>
                  <a:pt x="7691756" y="1845499"/>
                  <a:pt x="7707631" y="1849944"/>
                </a:cubicBezTo>
                <a:close/>
                <a:moveTo>
                  <a:pt x="7616190" y="2037904"/>
                </a:moveTo>
                <a:cubicBezTo>
                  <a:pt x="7596506" y="2029013"/>
                  <a:pt x="7582535" y="2060763"/>
                  <a:pt x="7602856" y="2069019"/>
                </a:cubicBezTo>
                <a:cubicBezTo>
                  <a:pt x="7622540" y="2078544"/>
                  <a:pt x="7636510" y="2046794"/>
                  <a:pt x="7616190" y="2037904"/>
                </a:cubicBezTo>
                <a:close/>
                <a:moveTo>
                  <a:pt x="7598410" y="1870899"/>
                </a:moveTo>
                <a:cubicBezTo>
                  <a:pt x="7592060" y="1888044"/>
                  <a:pt x="7618731" y="1897569"/>
                  <a:pt x="7625081" y="1880424"/>
                </a:cubicBezTo>
                <a:cubicBezTo>
                  <a:pt x="7631431" y="1863279"/>
                  <a:pt x="7604125" y="1853754"/>
                  <a:pt x="7598410" y="1870899"/>
                </a:cubicBezTo>
                <a:close/>
                <a:moveTo>
                  <a:pt x="7601585" y="2157284"/>
                </a:moveTo>
                <a:cubicBezTo>
                  <a:pt x="7591425" y="2178874"/>
                  <a:pt x="7625081" y="2194114"/>
                  <a:pt x="7635240" y="2172524"/>
                </a:cubicBezTo>
                <a:cubicBezTo>
                  <a:pt x="7645400" y="2151569"/>
                  <a:pt x="7611110" y="2135694"/>
                  <a:pt x="7601585" y="2157284"/>
                </a:cubicBezTo>
                <a:close/>
                <a:moveTo>
                  <a:pt x="7586345" y="1812479"/>
                </a:moveTo>
                <a:cubicBezTo>
                  <a:pt x="7601585" y="1817559"/>
                  <a:pt x="7609840" y="1792794"/>
                  <a:pt x="7593965" y="1788349"/>
                </a:cubicBezTo>
                <a:cubicBezTo>
                  <a:pt x="7578090" y="1783269"/>
                  <a:pt x="7570470" y="1808034"/>
                  <a:pt x="7586345" y="1812479"/>
                </a:cubicBezTo>
                <a:close/>
                <a:moveTo>
                  <a:pt x="7585075" y="1964244"/>
                </a:moveTo>
                <a:cubicBezTo>
                  <a:pt x="7603490" y="1972499"/>
                  <a:pt x="7615556" y="1942654"/>
                  <a:pt x="7596506" y="1935669"/>
                </a:cubicBezTo>
                <a:cubicBezTo>
                  <a:pt x="7578090" y="1928049"/>
                  <a:pt x="7566025" y="1957259"/>
                  <a:pt x="7585075" y="1964244"/>
                </a:cubicBezTo>
                <a:close/>
                <a:moveTo>
                  <a:pt x="8428355" y="2472244"/>
                </a:moveTo>
                <a:cubicBezTo>
                  <a:pt x="8402955" y="2470974"/>
                  <a:pt x="8401685" y="2511614"/>
                  <a:pt x="8427085" y="2511614"/>
                </a:cubicBezTo>
                <a:cubicBezTo>
                  <a:pt x="8453120" y="2512884"/>
                  <a:pt x="8454390" y="2472879"/>
                  <a:pt x="8428355" y="2472244"/>
                </a:cubicBezTo>
                <a:close/>
                <a:moveTo>
                  <a:pt x="7667625" y="2078544"/>
                </a:moveTo>
                <a:cubicBezTo>
                  <a:pt x="7658735" y="2098864"/>
                  <a:pt x="7690485" y="2112199"/>
                  <a:pt x="7698740" y="2091244"/>
                </a:cubicBezTo>
                <a:cubicBezTo>
                  <a:pt x="7707631" y="2071559"/>
                  <a:pt x="7675881" y="2058224"/>
                  <a:pt x="7667625" y="2078544"/>
                </a:cubicBezTo>
                <a:close/>
                <a:moveTo>
                  <a:pt x="7646670" y="1831529"/>
                </a:moveTo>
                <a:cubicBezTo>
                  <a:pt x="7662545" y="1836609"/>
                  <a:pt x="7670165" y="1811844"/>
                  <a:pt x="7654290" y="1807399"/>
                </a:cubicBezTo>
                <a:cubicBezTo>
                  <a:pt x="7639050" y="1802319"/>
                  <a:pt x="7630795" y="1827084"/>
                  <a:pt x="7646670" y="1831529"/>
                </a:cubicBezTo>
                <a:close/>
                <a:moveTo>
                  <a:pt x="7672070" y="1912174"/>
                </a:moveTo>
                <a:cubicBezTo>
                  <a:pt x="7689215" y="1918524"/>
                  <a:pt x="7698740" y="1891219"/>
                  <a:pt x="7680960" y="1885504"/>
                </a:cubicBezTo>
                <a:cubicBezTo>
                  <a:pt x="7663815" y="1879154"/>
                  <a:pt x="7654925" y="1906459"/>
                  <a:pt x="7672070" y="1912174"/>
                </a:cubicBezTo>
                <a:close/>
                <a:moveTo>
                  <a:pt x="7533640" y="1846769"/>
                </a:moveTo>
                <a:cubicBezTo>
                  <a:pt x="7527290" y="1863913"/>
                  <a:pt x="7553960" y="1874074"/>
                  <a:pt x="7560310" y="1856929"/>
                </a:cubicBezTo>
                <a:cubicBezTo>
                  <a:pt x="7566660" y="1839784"/>
                  <a:pt x="7539356" y="1829624"/>
                  <a:pt x="7533640" y="1846769"/>
                </a:cubicBezTo>
                <a:close/>
                <a:moveTo>
                  <a:pt x="7456170" y="2001709"/>
                </a:moveTo>
                <a:cubicBezTo>
                  <a:pt x="7475856" y="2011869"/>
                  <a:pt x="7491095" y="1980754"/>
                  <a:pt x="7470775" y="1971229"/>
                </a:cubicBezTo>
                <a:cubicBezTo>
                  <a:pt x="7451090" y="1961069"/>
                  <a:pt x="7435850" y="1992184"/>
                  <a:pt x="7456170" y="2001709"/>
                </a:cubicBezTo>
                <a:close/>
                <a:moveTo>
                  <a:pt x="7468870" y="1822004"/>
                </a:moveTo>
                <a:cubicBezTo>
                  <a:pt x="7461885" y="1839149"/>
                  <a:pt x="7488556" y="1849309"/>
                  <a:pt x="7494906" y="1832163"/>
                </a:cubicBezTo>
                <a:cubicBezTo>
                  <a:pt x="7501890" y="1815654"/>
                  <a:pt x="7475220" y="1804859"/>
                  <a:pt x="7468870" y="1822004"/>
                </a:cubicBezTo>
                <a:close/>
                <a:moveTo>
                  <a:pt x="7465060" y="1773109"/>
                </a:moveTo>
                <a:cubicBezTo>
                  <a:pt x="7480300" y="1778824"/>
                  <a:pt x="7489190" y="1754059"/>
                  <a:pt x="7473315" y="1748979"/>
                </a:cubicBezTo>
                <a:cubicBezTo>
                  <a:pt x="7458075" y="1743263"/>
                  <a:pt x="7449185" y="1768029"/>
                  <a:pt x="7465060" y="1773109"/>
                </a:cubicBezTo>
                <a:close/>
                <a:moveTo>
                  <a:pt x="7480300" y="2335719"/>
                </a:moveTo>
                <a:cubicBezTo>
                  <a:pt x="7466965" y="2359849"/>
                  <a:pt x="7505065" y="2380169"/>
                  <a:pt x="7517765" y="2355404"/>
                </a:cubicBezTo>
                <a:cubicBezTo>
                  <a:pt x="7531100" y="2331909"/>
                  <a:pt x="7493000" y="2311589"/>
                  <a:pt x="7480300" y="2335719"/>
                </a:cubicBezTo>
                <a:close/>
                <a:moveTo>
                  <a:pt x="7576185" y="2409379"/>
                </a:moveTo>
                <a:cubicBezTo>
                  <a:pt x="7600315" y="2421444"/>
                  <a:pt x="7620000" y="2383344"/>
                  <a:pt x="7594600" y="2371279"/>
                </a:cubicBezTo>
                <a:cubicBezTo>
                  <a:pt x="7570470" y="2358579"/>
                  <a:pt x="7551420" y="2397314"/>
                  <a:pt x="7576185" y="2409379"/>
                </a:cubicBezTo>
                <a:close/>
                <a:moveTo>
                  <a:pt x="7738110" y="1934399"/>
                </a:moveTo>
                <a:cubicBezTo>
                  <a:pt x="7755256" y="1940113"/>
                  <a:pt x="7764781" y="1912809"/>
                  <a:pt x="7747000" y="1907729"/>
                </a:cubicBezTo>
                <a:cubicBezTo>
                  <a:pt x="7729220" y="1901379"/>
                  <a:pt x="7720331" y="1928684"/>
                  <a:pt x="7738110" y="1934399"/>
                </a:cubicBezTo>
                <a:close/>
                <a:moveTo>
                  <a:pt x="7515860" y="1935669"/>
                </a:moveTo>
                <a:cubicBezTo>
                  <a:pt x="7534275" y="1943924"/>
                  <a:pt x="7546975" y="1914713"/>
                  <a:pt x="7527925" y="1907094"/>
                </a:cubicBezTo>
                <a:cubicBezTo>
                  <a:pt x="7509510" y="1898838"/>
                  <a:pt x="7496810" y="1928049"/>
                  <a:pt x="7515860" y="1935669"/>
                </a:cubicBezTo>
                <a:close/>
                <a:moveTo>
                  <a:pt x="7520306" y="2013774"/>
                </a:moveTo>
                <a:cubicBezTo>
                  <a:pt x="7510781" y="2033459"/>
                  <a:pt x="7541895" y="2048063"/>
                  <a:pt x="7550785" y="2027744"/>
                </a:cubicBezTo>
                <a:cubicBezTo>
                  <a:pt x="7560945" y="2008059"/>
                  <a:pt x="7529831" y="1993454"/>
                  <a:pt x="7520306" y="2013774"/>
                </a:cubicBezTo>
                <a:close/>
                <a:moveTo>
                  <a:pt x="7525385" y="1793429"/>
                </a:moveTo>
                <a:cubicBezTo>
                  <a:pt x="7540625" y="1798509"/>
                  <a:pt x="7548881" y="1774379"/>
                  <a:pt x="7533006" y="1769299"/>
                </a:cubicBezTo>
                <a:cubicBezTo>
                  <a:pt x="7517765" y="1763584"/>
                  <a:pt x="7509510" y="1788349"/>
                  <a:pt x="7525385" y="1793429"/>
                </a:cubicBezTo>
                <a:close/>
                <a:moveTo>
                  <a:pt x="7804150" y="1955354"/>
                </a:moveTo>
                <a:cubicBezTo>
                  <a:pt x="7821295" y="1961069"/>
                  <a:pt x="7830185" y="1933763"/>
                  <a:pt x="7812406" y="1928684"/>
                </a:cubicBezTo>
                <a:cubicBezTo>
                  <a:pt x="7794625" y="1922334"/>
                  <a:pt x="7786370" y="1950274"/>
                  <a:pt x="7804150" y="1955354"/>
                </a:cubicBezTo>
                <a:close/>
                <a:moveTo>
                  <a:pt x="7830820" y="1883599"/>
                </a:moveTo>
                <a:cubicBezTo>
                  <a:pt x="7846695" y="1888044"/>
                  <a:pt x="7853681" y="1863279"/>
                  <a:pt x="7837170" y="1858834"/>
                </a:cubicBezTo>
                <a:cubicBezTo>
                  <a:pt x="7821295" y="1855024"/>
                  <a:pt x="7814310" y="1879788"/>
                  <a:pt x="7830820" y="1883599"/>
                </a:cubicBezTo>
                <a:close/>
                <a:moveTo>
                  <a:pt x="7817485" y="2136964"/>
                </a:moveTo>
                <a:cubicBezTo>
                  <a:pt x="7809865" y="2157284"/>
                  <a:pt x="7842250" y="2169349"/>
                  <a:pt x="7849235" y="2148394"/>
                </a:cubicBezTo>
                <a:cubicBezTo>
                  <a:pt x="7857490" y="2128074"/>
                  <a:pt x="7824470" y="2116009"/>
                  <a:pt x="7817485" y="2136964"/>
                </a:cubicBezTo>
                <a:close/>
                <a:moveTo>
                  <a:pt x="7795895" y="2044254"/>
                </a:moveTo>
                <a:cubicBezTo>
                  <a:pt x="7814945" y="2051238"/>
                  <a:pt x="7825106" y="2021394"/>
                  <a:pt x="7806056" y="2015044"/>
                </a:cubicBezTo>
                <a:cubicBezTo>
                  <a:pt x="7787006" y="2008059"/>
                  <a:pt x="7776845" y="2037904"/>
                  <a:pt x="7795895" y="2044254"/>
                </a:cubicBezTo>
                <a:close/>
                <a:moveTo>
                  <a:pt x="7851140" y="2279839"/>
                </a:moveTo>
                <a:cubicBezTo>
                  <a:pt x="7873365" y="2288094"/>
                  <a:pt x="7886065" y="2252534"/>
                  <a:pt x="7863206" y="2245549"/>
                </a:cubicBezTo>
                <a:cubicBezTo>
                  <a:pt x="7840981" y="2236659"/>
                  <a:pt x="7828915" y="2272219"/>
                  <a:pt x="7851140" y="2279839"/>
                </a:cubicBezTo>
                <a:close/>
                <a:moveTo>
                  <a:pt x="7893685" y="2163634"/>
                </a:moveTo>
                <a:cubicBezTo>
                  <a:pt x="7886700" y="2184589"/>
                  <a:pt x="7919085" y="2195384"/>
                  <a:pt x="7926070" y="2173794"/>
                </a:cubicBezTo>
                <a:cubicBezTo>
                  <a:pt x="7933056" y="2153474"/>
                  <a:pt x="7900035" y="2142679"/>
                  <a:pt x="7893685" y="2163634"/>
                </a:cubicBezTo>
                <a:close/>
                <a:moveTo>
                  <a:pt x="7882890" y="2410014"/>
                </a:moveTo>
                <a:cubicBezTo>
                  <a:pt x="7907020" y="2418904"/>
                  <a:pt x="7919720" y="2380169"/>
                  <a:pt x="7895590" y="2372549"/>
                </a:cubicBezTo>
                <a:cubicBezTo>
                  <a:pt x="7871460" y="2364294"/>
                  <a:pt x="7858760" y="2402394"/>
                  <a:pt x="7882890" y="2410014"/>
                </a:cubicBezTo>
                <a:close/>
                <a:moveTo>
                  <a:pt x="7724775" y="2018854"/>
                </a:moveTo>
                <a:cubicBezTo>
                  <a:pt x="7743190" y="2025838"/>
                  <a:pt x="7754620" y="1996629"/>
                  <a:pt x="7735570" y="1989644"/>
                </a:cubicBezTo>
                <a:cubicBezTo>
                  <a:pt x="7717156" y="1982659"/>
                  <a:pt x="7705725" y="2012504"/>
                  <a:pt x="7724775" y="2018854"/>
                </a:cubicBezTo>
                <a:close/>
                <a:moveTo>
                  <a:pt x="7892415" y="1899474"/>
                </a:moveTo>
                <a:cubicBezTo>
                  <a:pt x="7908290" y="1903919"/>
                  <a:pt x="7914640" y="1878519"/>
                  <a:pt x="7898765" y="1874709"/>
                </a:cubicBezTo>
                <a:cubicBezTo>
                  <a:pt x="7882256" y="1870899"/>
                  <a:pt x="7876540" y="1895663"/>
                  <a:pt x="7892415" y="1899474"/>
                </a:cubicBezTo>
                <a:close/>
                <a:moveTo>
                  <a:pt x="7870190" y="1975038"/>
                </a:moveTo>
                <a:cubicBezTo>
                  <a:pt x="7887335" y="1980754"/>
                  <a:pt x="7895590" y="1952813"/>
                  <a:pt x="7877810" y="1947734"/>
                </a:cubicBezTo>
                <a:cubicBezTo>
                  <a:pt x="7860665" y="1942654"/>
                  <a:pt x="7852410" y="1970594"/>
                  <a:pt x="7870190" y="1975038"/>
                </a:cubicBezTo>
                <a:close/>
                <a:moveTo>
                  <a:pt x="7867015" y="2067749"/>
                </a:moveTo>
                <a:cubicBezTo>
                  <a:pt x="7886065" y="2074099"/>
                  <a:pt x="7896225" y="2044254"/>
                  <a:pt x="7876540" y="2037904"/>
                </a:cubicBezTo>
                <a:cubicBezTo>
                  <a:pt x="7857490" y="2031554"/>
                  <a:pt x="7847331" y="2062034"/>
                  <a:pt x="7867015" y="2067749"/>
                </a:cubicBezTo>
                <a:close/>
                <a:moveTo>
                  <a:pt x="7742556" y="2109024"/>
                </a:moveTo>
                <a:cubicBezTo>
                  <a:pt x="7734300" y="2129344"/>
                  <a:pt x="7766685" y="2142044"/>
                  <a:pt x="7774306" y="2121089"/>
                </a:cubicBezTo>
                <a:cubicBezTo>
                  <a:pt x="7781925" y="2100769"/>
                  <a:pt x="7750175" y="2088069"/>
                  <a:pt x="7742556" y="2109024"/>
                </a:cubicBezTo>
                <a:close/>
                <a:moveTo>
                  <a:pt x="7665085" y="2450654"/>
                </a:moveTo>
                <a:cubicBezTo>
                  <a:pt x="7689850" y="2462084"/>
                  <a:pt x="7707631" y="2422714"/>
                  <a:pt x="7682231" y="2411919"/>
                </a:cubicBezTo>
                <a:cubicBezTo>
                  <a:pt x="7657465" y="2400489"/>
                  <a:pt x="7639685" y="2439859"/>
                  <a:pt x="7665085" y="2450654"/>
                </a:cubicBezTo>
                <a:close/>
                <a:moveTo>
                  <a:pt x="7674610" y="1983294"/>
                </a:moveTo>
                <a:cubicBezTo>
                  <a:pt x="7682231" y="1964244"/>
                  <a:pt x="7652385" y="1953449"/>
                  <a:pt x="7645400" y="1971863"/>
                </a:cubicBezTo>
                <a:cubicBezTo>
                  <a:pt x="7638415" y="1990913"/>
                  <a:pt x="7667625" y="2002344"/>
                  <a:pt x="7674610" y="1983294"/>
                </a:cubicBezTo>
                <a:close/>
                <a:moveTo>
                  <a:pt x="7771765" y="2449384"/>
                </a:moveTo>
                <a:cubicBezTo>
                  <a:pt x="7746365" y="2438589"/>
                  <a:pt x="7730490" y="2479229"/>
                  <a:pt x="7756525" y="2488754"/>
                </a:cubicBezTo>
                <a:cubicBezTo>
                  <a:pt x="7781290" y="2498914"/>
                  <a:pt x="7797165" y="2458909"/>
                  <a:pt x="7771765" y="2449384"/>
                </a:cubicBezTo>
                <a:close/>
                <a:moveTo>
                  <a:pt x="7713981" y="2206814"/>
                </a:moveTo>
                <a:cubicBezTo>
                  <a:pt x="7723506" y="2185224"/>
                  <a:pt x="7689215" y="2170619"/>
                  <a:pt x="7680325" y="2192209"/>
                </a:cubicBezTo>
                <a:cubicBezTo>
                  <a:pt x="7670800" y="2214434"/>
                  <a:pt x="7704456" y="2229039"/>
                  <a:pt x="7713981" y="2206814"/>
                </a:cubicBezTo>
                <a:close/>
                <a:moveTo>
                  <a:pt x="7769225" y="1867088"/>
                </a:moveTo>
                <a:cubicBezTo>
                  <a:pt x="7785100" y="1871534"/>
                  <a:pt x="7792085" y="1846769"/>
                  <a:pt x="7776210" y="1842324"/>
                </a:cubicBezTo>
                <a:cubicBezTo>
                  <a:pt x="7760335" y="1837879"/>
                  <a:pt x="7753350" y="1862644"/>
                  <a:pt x="7769225" y="1867088"/>
                </a:cubicBezTo>
                <a:close/>
                <a:moveTo>
                  <a:pt x="7820025" y="2745929"/>
                </a:moveTo>
                <a:cubicBezTo>
                  <a:pt x="7830820" y="2716719"/>
                  <a:pt x="7784465" y="2700844"/>
                  <a:pt x="7774940" y="2730054"/>
                </a:cubicBezTo>
                <a:cubicBezTo>
                  <a:pt x="7764145" y="2759899"/>
                  <a:pt x="7809865" y="2775774"/>
                  <a:pt x="7820025" y="2745929"/>
                </a:cubicBezTo>
                <a:close/>
                <a:moveTo>
                  <a:pt x="7793990" y="2239199"/>
                </a:moveTo>
                <a:cubicBezTo>
                  <a:pt x="7802881" y="2216974"/>
                  <a:pt x="7767956" y="2203639"/>
                  <a:pt x="7759700" y="2225864"/>
                </a:cubicBezTo>
                <a:cubicBezTo>
                  <a:pt x="7750810" y="2248089"/>
                  <a:pt x="7785100" y="2261424"/>
                  <a:pt x="7793990" y="2239199"/>
                </a:cubicBezTo>
                <a:close/>
                <a:moveTo>
                  <a:pt x="9373870" y="2170619"/>
                </a:moveTo>
                <a:cubicBezTo>
                  <a:pt x="9363075" y="2149664"/>
                  <a:pt x="9330055" y="2166174"/>
                  <a:pt x="9341485" y="2187764"/>
                </a:cubicBezTo>
                <a:cubicBezTo>
                  <a:pt x="9351645" y="2208719"/>
                  <a:pt x="9385300" y="2191574"/>
                  <a:pt x="9373870" y="2170619"/>
                </a:cubicBezTo>
                <a:close/>
                <a:moveTo>
                  <a:pt x="9018905" y="2251264"/>
                </a:moveTo>
                <a:cubicBezTo>
                  <a:pt x="9043670" y="2251264"/>
                  <a:pt x="9038590" y="2211894"/>
                  <a:pt x="9015095" y="2217609"/>
                </a:cubicBezTo>
                <a:cubicBezTo>
                  <a:pt x="8996045" y="2222054"/>
                  <a:pt x="8999220" y="2251899"/>
                  <a:pt x="9018905" y="2251264"/>
                </a:cubicBezTo>
                <a:close/>
                <a:moveTo>
                  <a:pt x="8977630" y="2499549"/>
                </a:moveTo>
                <a:cubicBezTo>
                  <a:pt x="8987155" y="2525584"/>
                  <a:pt x="9027160" y="2509709"/>
                  <a:pt x="9017000" y="2484309"/>
                </a:cubicBezTo>
                <a:cubicBezTo>
                  <a:pt x="9008110" y="2458274"/>
                  <a:pt x="8967470" y="2474149"/>
                  <a:pt x="8977630" y="2499549"/>
                </a:cubicBezTo>
                <a:close/>
                <a:moveTo>
                  <a:pt x="8989060" y="2409379"/>
                </a:moveTo>
                <a:cubicBezTo>
                  <a:pt x="8964930" y="2363659"/>
                  <a:pt x="8924925" y="2441129"/>
                  <a:pt x="8976360" y="2434144"/>
                </a:cubicBezTo>
                <a:lnTo>
                  <a:pt x="8976360" y="2434144"/>
                </a:lnTo>
                <a:cubicBezTo>
                  <a:pt x="8986520" y="2430969"/>
                  <a:pt x="8992235" y="2419539"/>
                  <a:pt x="8989060" y="2409379"/>
                </a:cubicBezTo>
                <a:close/>
                <a:moveTo>
                  <a:pt x="8939530" y="2604324"/>
                </a:moveTo>
                <a:cubicBezTo>
                  <a:pt x="8950325" y="2631629"/>
                  <a:pt x="8992870" y="2613849"/>
                  <a:pt x="8981440" y="2587179"/>
                </a:cubicBezTo>
                <a:cubicBezTo>
                  <a:pt x="8970010" y="2559874"/>
                  <a:pt x="8927465" y="2577654"/>
                  <a:pt x="8939530" y="2604324"/>
                </a:cubicBezTo>
                <a:close/>
                <a:moveTo>
                  <a:pt x="8952230" y="2315399"/>
                </a:moveTo>
                <a:cubicBezTo>
                  <a:pt x="8929370" y="2321114"/>
                  <a:pt x="8938895" y="2357309"/>
                  <a:pt x="8961120" y="2350959"/>
                </a:cubicBezTo>
                <a:cubicBezTo>
                  <a:pt x="8984615" y="2345879"/>
                  <a:pt x="8975090" y="2309684"/>
                  <a:pt x="8952230" y="2315399"/>
                </a:cubicBezTo>
                <a:close/>
                <a:moveTo>
                  <a:pt x="9044940" y="2327464"/>
                </a:moveTo>
                <a:cubicBezTo>
                  <a:pt x="9067800" y="2320479"/>
                  <a:pt x="9057005" y="2284919"/>
                  <a:pt x="9034145" y="2292539"/>
                </a:cubicBezTo>
                <a:cubicBezTo>
                  <a:pt x="9011285" y="2298889"/>
                  <a:pt x="9022715" y="2335084"/>
                  <a:pt x="9044940" y="2327464"/>
                </a:cubicBezTo>
                <a:close/>
                <a:moveTo>
                  <a:pt x="9027795" y="2001709"/>
                </a:moveTo>
                <a:cubicBezTo>
                  <a:pt x="9044940" y="2001709"/>
                  <a:pt x="9043670" y="1974404"/>
                  <a:pt x="9026525" y="1976309"/>
                </a:cubicBezTo>
                <a:cubicBezTo>
                  <a:pt x="9011285" y="1977579"/>
                  <a:pt x="9012555" y="2001709"/>
                  <a:pt x="9027795" y="2001709"/>
                </a:cubicBezTo>
                <a:close/>
                <a:moveTo>
                  <a:pt x="9035415" y="2149664"/>
                </a:moveTo>
                <a:cubicBezTo>
                  <a:pt x="9039225" y="2169349"/>
                  <a:pt x="9070340" y="2162999"/>
                  <a:pt x="9065895" y="2143314"/>
                </a:cubicBezTo>
                <a:cubicBezTo>
                  <a:pt x="9062085" y="2123629"/>
                  <a:pt x="9031605" y="2129979"/>
                  <a:pt x="9035415" y="2149664"/>
                </a:cubicBezTo>
                <a:close/>
                <a:moveTo>
                  <a:pt x="9033510" y="2055049"/>
                </a:moveTo>
                <a:cubicBezTo>
                  <a:pt x="9015095" y="2057588"/>
                  <a:pt x="9019540" y="2086163"/>
                  <a:pt x="9037955" y="2082988"/>
                </a:cubicBezTo>
                <a:cubicBezTo>
                  <a:pt x="9055735" y="2080449"/>
                  <a:pt x="9051290" y="2051874"/>
                  <a:pt x="9033510" y="2055049"/>
                </a:cubicBezTo>
                <a:close/>
                <a:moveTo>
                  <a:pt x="8965565" y="2063938"/>
                </a:moveTo>
                <a:cubicBezTo>
                  <a:pt x="8947150" y="2065844"/>
                  <a:pt x="8950960" y="2094419"/>
                  <a:pt x="8968740" y="2091879"/>
                </a:cubicBezTo>
                <a:cubicBezTo>
                  <a:pt x="8986520" y="2089974"/>
                  <a:pt x="8983345" y="2061399"/>
                  <a:pt x="8965565" y="2063938"/>
                </a:cubicBezTo>
                <a:close/>
                <a:moveTo>
                  <a:pt x="8876665" y="2421444"/>
                </a:moveTo>
                <a:cubicBezTo>
                  <a:pt x="8851900" y="2427794"/>
                  <a:pt x="8862060" y="2466529"/>
                  <a:pt x="8886825" y="2459544"/>
                </a:cubicBezTo>
                <a:cubicBezTo>
                  <a:pt x="8911590" y="2453829"/>
                  <a:pt x="8901430" y="2415094"/>
                  <a:pt x="8876665" y="2421444"/>
                </a:cubicBezTo>
                <a:close/>
                <a:moveTo>
                  <a:pt x="8869680" y="2335084"/>
                </a:moveTo>
                <a:cubicBezTo>
                  <a:pt x="8846185" y="2339529"/>
                  <a:pt x="8853805" y="2376359"/>
                  <a:pt x="8877300" y="2371279"/>
                </a:cubicBezTo>
                <a:cubicBezTo>
                  <a:pt x="8900160" y="2366199"/>
                  <a:pt x="8892540" y="2329369"/>
                  <a:pt x="8869680" y="2335084"/>
                </a:cubicBezTo>
                <a:close/>
                <a:moveTo>
                  <a:pt x="8842375" y="2639249"/>
                </a:moveTo>
                <a:cubicBezTo>
                  <a:pt x="8851900" y="2667189"/>
                  <a:pt x="8895080" y="2651949"/>
                  <a:pt x="8884920" y="2624644"/>
                </a:cubicBezTo>
                <a:cubicBezTo>
                  <a:pt x="8876030" y="2596704"/>
                  <a:pt x="8832850" y="2611944"/>
                  <a:pt x="8842375" y="2639249"/>
                </a:cubicBezTo>
                <a:close/>
                <a:moveTo>
                  <a:pt x="8901430" y="2156014"/>
                </a:moveTo>
                <a:cubicBezTo>
                  <a:pt x="8881110" y="2157919"/>
                  <a:pt x="8885555" y="2189669"/>
                  <a:pt x="8905240" y="2187129"/>
                </a:cubicBezTo>
                <a:cubicBezTo>
                  <a:pt x="8925560" y="2184589"/>
                  <a:pt x="8921750" y="2152839"/>
                  <a:pt x="8901430" y="2156014"/>
                </a:cubicBezTo>
                <a:close/>
                <a:moveTo>
                  <a:pt x="8899525" y="2504629"/>
                </a:moveTo>
                <a:cubicBezTo>
                  <a:pt x="8872855" y="2512884"/>
                  <a:pt x="8886825" y="2553524"/>
                  <a:pt x="8912860" y="2544634"/>
                </a:cubicBezTo>
                <a:cubicBezTo>
                  <a:pt x="8938895" y="2536379"/>
                  <a:pt x="8925560" y="2495739"/>
                  <a:pt x="8899525" y="2504629"/>
                </a:cubicBezTo>
                <a:close/>
                <a:moveTo>
                  <a:pt x="8975090" y="2145219"/>
                </a:moveTo>
                <a:cubicBezTo>
                  <a:pt x="8955405" y="2148394"/>
                  <a:pt x="8960485" y="2179509"/>
                  <a:pt x="8980170" y="2175699"/>
                </a:cubicBezTo>
                <a:lnTo>
                  <a:pt x="8980170" y="2175699"/>
                </a:lnTo>
                <a:cubicBezTo>
                  <a:pt x="8999855" y="2172524"/>
                  <a:pt x="8994775" y="2141409"/>
                  <a:pt x="8975090" y="2145219"/>
                </a:cubicBezTo>
                <a:close/>
                <a:moveTo>
                  <a:pt x="7404735" y="1796604"/>
                </a:moveTo>
                <a:cubicBezTo>
                  <a:pt x="7397750" y="1813113"/>
                  <a:pt x="7424420" y="1824544"/>
                  <a:pt x="7430770" y="1807399"/>
                </a:cubicBezTo>
                <a:cubicBezTo>
                  <a:pt x="7437756" y="1790254"/>
                  <a:pt x="7411085" y="1779459"/>
                  <a:pt x="7404735" y="1796604"/>
                </a:cubicBezTo>
                <a:close/>
                <a:moveTo>
                  <a:pt x="9049385" y="2366834"/>
                </a:moveTo>
                <a:cubicBezTo>
                  <a:pt x="9025255" y="2375089"/>
                  <a:pt x="9039225" y="2413189"/>
                  <a:pt x="9063355" y="2403664"/>
                </a:cubicBezTo>
                <a:cubicBezTo>
                  <a:pt x="9087485" y="2395409"/>
                  <a:pt x="9073515" y="2357309"/>
                  <a:pt x="9049385" y="2366834"/>
                </a:cubicBezTo>
                <a:close/>
                <a:moveTo>
                  <a:pt x="8940165" y="2268409"/>
                </a:moveTo>
                <a:cubicBezTo>
                  <a:pt x="8964295" y="2268409"/>
                  <a:pt x="8960485" y="2230309"/>
                  <a:pt x="8936990" y="2234754"/>
                </a:cubicBezTo>
                <a:cubicBezTo>
                  <a:pt x="8917305" y="2238564"/>
                  <a:pt x="8920480" y="2269044"/>
                  <a:pt x="8940165" y="2268409"/>
                </a:cubicBezTo>
                <a:close/>
                <a:moveTo>
                  <a:pt x="9091295" y="1994088"/>
                </a:moveTo>
                <a:cubicBezTo>
                  <a:pt x="9091930" y="1994088"/>
                  <a:pt x="9092565" y="1994088"/>
                  <a:pt x="9093200" y="1994088"/>
                </a:cubicBezTo>
                <a:lnTo>
                  <a:pt x="9093200" y="1994088"/>
                </a:lnTo>
                <a:cubicBezTo>
                  <a:pt x="9137650" y="1960434"/>
                  <a:pt x="9042400" y="1966149"/>
                  <a:pt x="9091295" y="1994088"/>
                </a:cubicBezTo>
                <a:close/>
                <a:moveTo>
                  <a:pt x="9340850" y="1948369"/>
                </a:moveTo>
                <a:cubicBezTo>
                  <a:pt x="9359265" y="1948369"/>
                  <a:pt x="9356090" y="1919159"/>
                  <a:pt x="9337675" y="1923604"/>
                </a:cubicBezTo>
                <a:cubicBezTo>
                  <a:pt x="9323705" y="1926144"/>
                  <a:pt x="9326245" y="1948369"/>
                  <a:pt x="9340850" y="1948369"/>
                </a:cubicBezTo>
                <a:close/>
                <a:moveTo>
                  <a:pt x="9337675" y="2079179"/>
                </a:moveTo>
                <a:cubicBezTo>
                  <a:pt x="9339580" y="2079179"/>
                  <a:pt x="9341485" y="2078544"/>
                  <a:pt x="9343390" y="2077909"/>
                </a:cubicBezTo>
                <a:lnTo>
                  <a:pt x="9343390" y="2077909"/>
                </a:lnTo>
                <a:cubicBezTo>
                  <a:pt x="9386570" y="2031554"/>
                  <a:pt x="9281160" y="2050604"/>
                  <a:pt x="9337675" y="2079179"/>
                </a:cubicBezTo>
                <a:close/>
                <a:moveTo>
                  <a:pt x="9319260" y="2006154"/>
                </a:moveTo>
                <a:cubicBezTo>
                  <a:pt x="9314180" y="1988374"/>
                  <a:pt x="9286875" y="1996629"/>
                  <a:pt x="9291955" y="2013774"/>
                </a:cubicBezTo>
                <a:cubicBezTo>
                  <a:pt x="9297035" y="2031554"/>
                  <a:pt x="9324340" y="2023934"/>
                  <a:pt x="9319260" y="2006154"/>
                </a:cubicBezTo>
                <a:close/>
                <a:moveTo>
                  <a:pt x="9371330" y="2004249"/>
                </a:moveTo>
                <a:cubicBezTo>
                  <a:pt x="9392920" y="2004249"/>
                  <a:pt x="9387205" y="1970594"/>
                  <a:pt x="9366885" y="1976944"/>
                </a:cubicBezTo>
                <a:cubicBezTo>
                  <a:pt x="9352280" y="1980754"/>
                  <a:pt x="9356090" y="2004249"/>
                  <a:pt x="9371330" y="2004249"/>
                </a:cubicBezTo>
                <a:close/>
                <a:moveTo>
                  <a:pt x="8901430" y="2011869"/>
                </a:moveTo>
                <a:cubicBezTo>
                  <a:pt x="8918575" y="2011869"/>
                  <a:pt x="8917305" y="1985199"/>
                  <a:pt x="8900795" y="1986469"/>
                </a:cubicBezTo>
                <a:cubicBezTo>
                  <a:pt x="8884920" y="1987104"/>
                  <a:pt x="8885555" y="2011869"/>
                  <a:pt x="8901430" y="2011869"/>
                </a:cubicBezTo>
                <a:close/>
                <a:moveTo>
                  <a:pt x="9278620" y="1962338"/>
                </a:moveTo>
                <a:cubicBezTo>
                  <a:pt x="9297035" y="1962338"/>
                  <a:pt x="9293860" y="1933129"/>
                  <a:pt x="9276080" y="1936938"/>
                </a:cubicBezTo>
                <a:cubicBezTo>
                  <a:pt x="9261475" y="1940113"/>
                  <a:pt x="9264015" y="1962338"/>
                  <a:pt x="9278620" y="1962338"/>
                </a:cubicBezTo>
                <a:close/>
                <a:moveTo>
                  <a:pt x="9402445" y="1932494"/>
                </a:moveTo>
                <a:cubicBezTo>
                  <a:pt x="9420860" y="1932494"/>
                  <a:pt x="9417050" y="1902649"/>
                  <a:pt x="9399270" y="1907729"/>
                </a:cubicBezTo>
                <a:cubicBezTo>
                  <a:pt x="9384665" y="1910904"/>
                  <a:pt x="9387840" y="1933129"/>
                  <a:pt x="9402445" y="1932494"/>
                </a:cubicBezTo>
                <a:close/>
                <a:moveTo>
                  <a:pt x="9338945" y="2125534"/>
                </a:moveTo>
                <a:cubicBezTo>
                  <a:pt x="9330690" y="2105214"/>
                  <a:pt x="9298940" y="2118549"/>
                  <a:pt x="9307830" y="2138869"/>
                </a:cubicBezTo>
                <a:cubicBezTo>
                  <a:pt x="9316720" y="2159189"/>
                  <a:pt x="9347835" y="2145854"/>
                  <a:pt x="9338945" y="2125534"/>
                </a:cubicBezTo>
                <a:close/>
                <a:moveTo>
                  <a:pt x="9411970" y="2091879"/>
                </a:moveTo>
                <a:cubicBezTo>
                  <a:pt x="9403080" y="2072194"/>
                  <a:pt x="9371965" y="2086799"/>
                  <a:pt x="9381490" y="2106484"/>
                </a:cubicBezTo>
                <a:cubicBezTo>
                  <a:pt x="9391015" y="2126804"/>
                  <a:pt x="9421495" y="2111564"/>
                  <a:pt x="9411970" y="2091879"/>
                </a:cubicBezTo>
                <a:close/>
                <a:moveTo>
                  <a:pt x="9272270" y="2200464"/>
                </a:moveTo>
                <a:cubicBezTo>
                  <a:pt x="9254490" y="2208084"/>
                  <a:pt x="9261475" y="2236024"/>
                  <a:pt x="9279890" y="2235389"/>
                </a:cubicBezTo>
                <a:cubicBezTo>
                  <a:pt x="9309735" y="2234754"/>
                  <a:pt x="9299575" y="2188399"/>
                  <a:pt x="9272270" y="2200464"/>
                </a:cubicBezTo>
                <a:close/>
                <a:moveTo>
                  <a:pt x="9252585" y="2093149"/>
                </a:moveTo>
                <a:cubicBezTo>
                  <a:pt x="9258935" y="2112199"/>
                  <a:pt x="9288780" y="2102039"/>
                  <a:pt x="9281795" y="2083624"/>
                </a:cubicBezTo>
                <a:cubicBezTo>
                  <a:pt x="9276080" y="2063938"/>
                  <a:pt x="9246235" y="2074099"/>
                  <a:pt x="9252585" y="2093149"/>
                </a:cubicBezTo>
                <a:close/>
                <a:moveTo>
                  <a:pt x="9154160" y="1985199"/>
                </a:moveTo>
                <a:cubicBezTo>
                  <a:pt x="9171940" y="1985199"/>
                  <a:pt x="9170035" y="1957259"/>
                  <a:pt x="9152255" y="1959799"/>
                </a:cubicBezTo>
                <a:cubicBezTo>
                  <a:pt x="9137015" y="1961704"/>
                  <a:pt x="9138920" y="1985834"/>
                  <a:pt x="9154160" y="1985199"/>
                </a:cubicBezTo>
                <a:close/>
                <a:moveTo>
                  <a:pt x="9090025" y="2060129"/>
                </a:moveTo>
                <a:cubicBezTo>
                  <a:pt x="9093200" y="2078544"/>
                  <a:pt x="9121140" y="2072829"/>
                  <a:pt x="9117965" y="2055049"/>
                </a:cubicBezTo>
                <a:cubicBezTo>
                  <a:pt x="9114790" y="2036634"/>
                  <a:pt x="9086215" y="2042349"/>
                  <a:pt x="9090025" y="2060129"/>
                </a:cubicBezTo>
                <a:close/>
                <a:moveTo>
                  <a:pt x="9157335" y="2046794"/>
                </a:moveTo>
                <a:cubicBezTo>
                  <a:pt x="9161145" y="2064574"/>
                  <a:pt x="9189085" y="2058859"/>
                  <a:pt x="9184640" y="2041079"/>
                </a:cubicBezTo>
                <a:cubicBezTo>
                  <a:pt x="9181465" y="2023299"/>
                  <a:pt x="9153525" y="2029013"/>
                  <a:pt x="9157335" y="2046794"/>
                </a:cubicBezTo>
                <a:close/>
                <a:moveTo>
                  <a:pt x="9108440" y="2133789"/>
                </a:moveTo>
                <a:cubicBezTo>
                  <a:pt x="9112885" y="2153474"/>
                  <a:pt x="9144000" y="2145854"/>
                  <a:pt x="9138920" y="2126169"/>
                </a:cubicBezTo>
                <a:cubicBezTo>
                  <a:pt x="9134475" y="2106484"/>
                  <a:pt x="9103360" y="2114104"/>
                  <a:pt x="9108440" y="2133789"/>
                </a:cubicBezTo>
                <a:close/>
                <a:moveTo>
                  <a:pt x="9225280" y="2031554"/>
                </a:moveTo>
                <a:cubicBezTo>
                  <a:pt x="9229725" y="2049334"/>
                  <a:pt x="9257665" y="2042349"/>
                  <a:pt x="9252585" y="2024569"/>
                </a:cubicBezTo>
                <a:cubicBezTo>
                  <a:pt x="9248140" y="2006788"/>
                  <a:pt x="9220200" y="2013774"/>
                  <a:pt x="9225280" y="2031554"/>
                </a:cubicBezTo>
                <a:close/>
                <a:moveTo>
                  <a:pt x="9216390" y="1974404"/>
                </a:moveTo>
                <a:cubicBezTo>
                  <a:pt x="9234170" y="1974404"/>
                  <a:pt x="9231630" y="1945829"/>
                  <a:pt x="9213850" y="1949004"/>
                </a:cubicBezTo>
                <a:cubicBezTo>
                  <a:pt x="9199245" y="1951544"/>
                  <a:pt x="9201785" y="1975038"/>
                  <a:pt x="9216390" y="1974404"/>
                </a:cubicBezTo>
                <a:close/>
                <a:moveTo>
                  <a:pt x="9180830" y="2114739"/>
                </a:moveTo>
                <a:cubicBezTo>
                  <a:pt x="9186545" y="2134424"/>
                  <a:pt x="9216390" y="2125534"/>
                  <a:pt x="9210675" y="2105849"/>
                </a:cubicBezTo>
                <a:cubicBezTo>
                  <a:pt x="9205595" y="2086799"/>
                  <a:pt x="9175115" y="2095688"/>
                  <a:pt x="9180830" y="2114739"/>
                </a:cubicBezTo>
                <a:close/>
                <a:moveTo>
                  <a:pt x="8646795" y="2013774"/>
                </a:moveTo>
                <a:cubicBezTo>
                  <a:pt x="8663305" y="2014409"/>
                  <a:pt x="8663940" y="1989009"/>
                  <a:pt x="8648065" y="1988374"/>
                </a:cubicBezTo>
                <a:cubicBezTo>
                  <a:pt x="8631555" y="1987104"/>
                  <a:pt x="8630285" y="2013138"/>
                  <a:pt x="8646795" y="2013774"/>
                </a:cubicBezTo>
                <a:close/>
                <a:moveTo>
                  <a:pt x="8583295" y="2010599"/>
                </a:moveTo>
                <a:cubicBezTo>
                  <a:pt x="8599805" y="2011869"/>
                  <a:pt x="8601075" y="1985834"/>
                  <a:pt x="8584565" y="1985199"/>
                </a:cubicBezTo>
                <a:cubicBezTo>
                  <a:pt x="8568055" y="1983929"/>
                  <a:pt x="8566785" y="2009963"/>
                  <a:pt x="8583295" y="2010599"/>
                </a:cubicBezTo>
                <a:close/>
                <a:moveTo>
                  <a:pt x="8531225" y="2168079"/>
                </a:moveTo>
                <a:cubicBezTo>
                  <a:pt x="8510270" y="2166809"/>
                  <a:pt x="8509635" y="2199194"/>
                  <a:pt x="8530590" y="2199194"/>
                </a:cubicBezTo>
                <a:cubicBezTo>
                  <a:pt x="8549640" y="2199194"/>
                  <a:pt x="8550910" y="2168714"/>
                  <a:pt x="8531225" y="2168079"/>
                </a:cubicBezTo>
                <a:close/>
                <a:moveTo>
                  <a:pt x="8444230" y="2403029"/>
                </a:moveTo>
                <a:cubicBezTo>
                  <a:pt x="8467725" y="2404934"/>
                  <a:pt x="8469630" y="2367469"/>
                  <a:pt x="8446135" y="2366199"/>
                </a:cubicBezTo>
                <a:cubicBezTo>
                  <a:pt x="8422005" y="2364929"/>
                  <a:pt x="8420100" y="2402394"/>
                  <a:pt x="8444230" y="2403029"/>
                </a:cubicBezTo>
                <a:close/>
                <a:moveTo>
                  <a:pt x="8589645" y="2185859"/>
                </a:moveTo>
                <a:cubicBezTo>
                  <a:pt x="8589010" y="2206179"/>
                  <a:pt x="8620760" y="2206814"/>
                  <a:pt x="8620760" y="2186494"/>
                </a:cubicBezTo>
                <a:cubicBezTo>
                  <a:pt x="8621395" y="2166809"/>
                  <a:pt x="8589645" y="2166174"/>
                  <a:pt x="8589645" y="2185859"/>
                </a:cubicBezTo>
                <a:close/>
                <a:moveTo>
                  <a:pt x="8620760" y="2267774"/>
                </a:moveTo>
                <a:cubicBezTo>
                  <a:pt x="8598535" y="2267774"/>
                  <a:pt x="8599170" y="2302064"/>
                  <a:pt x="8621395" y="2301429"/>
                </a:cubicBezTo>
                <a:cubicBezTo>
                  <a:pt x="8642985" y="2302064"/>
                  <a:pt x="8642350" y="2267139"/>
                  <a:pt x="8620760" y="2267774"/>
                </a:cubicBezTo>
                <a:close/>
                <a:moveTo>
                  <a:pt x="8598535" y="2385884"/>
                </a:moveTo>
                <a:cubicBezTo>
                  <a:pt x="8599170" y="2410014"/>
                  <a:pt x="8636635" y="2408109"/>
                  <a:pt x="8635365" y="2383979"/>
                </a:cubicBezTo>
                <a:cubicBezTo>
                  <a:pt x="8634730" y="2360484"/>
                  <a:pt x="8597265" y="2362389"/>
                  <a:pt x="8598535" y="2385884"/>
                </a:cubicBezTo>
                <a:close/>
                <a:moveTo>
                  <a:pt x="8621395" y="2105214"/>
                </a:moveTo>
                <a:cubicBezTo>
                  <a:pt x="8639810" y="2106484"/>
                  <a:pt x="8640445" y="2077274"/>
                  <a:pt x="8622665" y="2077274"/>
                </a:cubicBezTo>
                <a:cubicBezTo>
                  <a:pt x="8604250" y="2076004"/>
                  <a:pt x="8602980" y="2105214"/>
                  <a:pt x="8621395" y="2105214"/>
                </a:cubicBezTo>
                <a:close/>
                <a:moveTo>
                  <a:pt x="8591550" y="2488754"/>
                </a:moveTo>
                <a:cubicBezTo>
                  <a:pt x="8593455" y="2514154"/>
                  <a:pt x="8633460" y="2510979"/>
                  <a:pt x="8630920" y="2485579"/>
                </a:cubicBezTo>
                <a:cubicBezTo>
                  <a:pt x="8629015" y="2460179"/>
                  <a:pt x="8589010" y="2463354"/>
                  <a:pt x="8591550" y="2488754"/>
                </a:cubicBezTo>
                <a:close/>
                <a:moveTo>
                  <a:pt x="8531225" y="2405569"/>
                </a:moveTo>
                <a:cubicBezTo>
                  <a:pt x="8555355" y="2406204"/>
                  <a:pt x="8555355" y="2368739"/>
                  <a:pt x="8531225" y="2368739"/>
                </a:cubicBezTo>
                <a:cubicBezTo>
                  <a:pt x="8507730" y="2368104"/>
                  <a:pt x="8507095" y="2405569"/>
                  <a:pt x="8531225" y="2405569"/>
                </a:cubicBezTo>
                <a:close/>
                <a:moveTo>
                  <a:pt x="8523605" y="2283649"/>
                </a:moveTo>
                <a:cubicBezTo>
                  <a:pt x="8523605" y="2293174"/>
                  <a:pt x="8530590" y="2300794"/>
                  <a:pt x="8540115" y="2301429"/>
                </a:cubicBezTo>
                <a:lnTo>
                  <a:pt x="8540115" y="2301429"/>
                </a:lnTo>
                <a:cubicBezTo>
                  <a:pt x="8583930" y="2295079"/>
                  <a:pt x="8532495" y="2240469"/>
                  <a:pt x="8523605" y="2283649"/>
                </a:cubicBezTo>
                <a:close/>
                <a:moveTo>
                  <a:pt x="8459470" y="2690049"/>
                </a:moveTo>
                <a:cubicBezTo>
                  <a:pt x="8430260" y="2691319"/>
                  <a:pt x="8432800" y="2737674"/>
                  <a:pt x="8462010" y="2735134"/>
                </a:cubicBezTo>
                <a:cubicBezTo>
                  <a:pt x="8491855" y="2733864"/>
                  <a:pt x="8488680" y="2688144"/>
                  <a:pt x="8459470" y="2690049"/>
                </a:cubicBezTo>
                <a:cubicBezTo>
                  <a:pt x="8459470" y="2690049"/>
                  <a:pt x="8459470" y="2690049"/>
                  <a:pt x="8459470" y="2690049"/>
                </a:cubicBezTo>
                <a:close/>
                <a:moveTo>
                  <a:pt x="8898255" y="2098864"/>
                </a:moveTo>
                <a:cubicBezTo>
                  <a:pt x="8917305" y="2098864"/>
                  <a:pt x="8916035" y="2069019"/>
                  <a:pt x="8896985" y="2070924"/>
                </a:cubicBezTo>
                <a:cubicBezTo>
                  <a:pt x="8879205" y="2072194"/>
                  <a:pt x="8880475" y="2099499"/>
                  <a:pt x="8898255" y="2098864"/>
                </a:cubicBezTo>
                <a:close/>
                <a:moveTo>
                  <a:pt x="8461375" y="2263329"/>
                </a:moveTo>
                <a:cubicBezTo>
                  <a:pt x="8439150" y="2261424"/>
                  <a:pt x="8437245" y="2295714"/>
                  <a:pt x="8458835" y="2296984"/>
                </a:cubicBezTo>
                <a:cubicBezTo>
                  <a:pt x="8481060" y="2298889"/>
                  <a:pt x="8483600" y="2264599"/>
                  <a:pt x="8461375" y="2263329"/>
                </a:cubicBezTo>
                <a:close/>
                <a:moveTo>
                  <a:pt x="8454390" y="2193479"/>
                </a:moveTo>
                <a:cubicBezTo>
                  <a:pt x="8474075" y="2195384"/>
                  <a:pt x="8477250" y="2164269"/>
                  <a:pt x="8456930" y="2162364"/>
                </a:cubicBezTo>
                <a:cubicBezTo>
                  <a:pt x="8437245" y="2160459"/>
                  <a:pt x="8434070" y="2191574"/>
                  <a:pt x="8454390" y="2193479"/>
                </a:cubicBezTo>
                <a:close/>
                <a:moveTo>
                  <a:pt x="8541385" y="2705924"/>
                </a:moveTo>
                <a:cubicBezTo>
                  <a:pt x="8545195" y="2735134"/>
                  <a:pt x="8590280" y="2728784"/>
                  <a:pt x="8586470" y="2700209"/>
                </a:cubicBezTo>
                <a:cubicBezTo>
                  <a:pt x="8582660" y="2670999"/>
                  <a:pt x="8536940" y="2676714"/>
                  <a:pt x="8541385" y="2705924"/>
                </a:cubicBezTo>
                <a:close/>
                <a:moveTo>
                  <a:pt x="8551545" y="2102039"/>
                </a:moveTo>
                <a:cubicBezTo>
                  <a:pt x="8569960" y="2103309"/>
                  <a:pt x="8571865" y="2074734"/>
                  <a:pt x="8553450" y="2074099"/>
                </a:cubicBezTo>
                <a:cubicBezTo>
                  <a:pt x="8535035" y="2072194"/>
                  <a:pt x="8533765" y="2100769"/>
                  <a:pt x="8551545" y="2102039"/>
                </a:cubicBezTo>
                <a:close/>
                <a:moveTo>
                  <a:pt x="8519795" y="2006154"/>
                </a:moveTo>
                <a:cubicBezTo>
                  <a:pt x="8536305" y="2008059"/>
                  <a:pt x="8538210" y="1982024"/>
                  <a:pt x="8521700" y="1980754"/>
                </a:cubicBezTo>
                <a:cubicBezTo>
                  <a:pt x="8505190" y="1979484"/>
                  <a:pt x="8503285" y="2004884"/>
                  <a:pt x="8519795" y="2006154"/>
                </a:cubicBezTo>
                <a:close/>
                <a:moveTo>
                  <a:pt x="8482330" y="2096324"/>
                </a:moveTo>
                <a:cubicBezTo>
                  <a:pt x="8500745" y="2098229"/>
                  <a:pt x="8503285" y="2069654"/>
                  <a:pt x="8484870" y="2068384"/>
                </a:cubicBezTo>
                <a:cubicBezTo>
                  <a:pt x="8467090" y="2066479"/>
                  <a:pt x="8463915" y="2095054"/>
                  <a:pt x="8482330" y="2096324"/>
                </a:cubicBezTo>
                <a:close/>
                <a:moveTo>
                  <a:pt x="8456295" y="2000438"/>
                </a:moveTo>
                <a:cubicBezTo>
                  <a:pt x="8472805" y="2002344"/>
                  <a:pt x="8475345" y="1976309"/>
                  <a:pt x="8458835" y="1975038"/>
                </a:cubicBezTo>
                <a:cubicBezTo>
                  <a:pt x="8442325" y="1973134"/>
                  <a:pt x="8439785" y="1999169"/>
                  <a:pt x="8456295" y="2000438"/>
                </a:cubicBezTo>
                <a:close/>
                <a:moveTo>
                  <a:pt x="8785860" y="2349689"/>
                </a:moveTo>
                <a:cubicBezTo>
                  <a:pt x="8762365" y="2352864"/>
                  <a:pt x="8768080" y="2389694"/>
                  <a:pt x="8791575" y="2385884"/>
                </a:cubicBezTo>
                <a:cubicBezTo>
                  <a:pt x="8814435" y="2382709"/>
                  <a:pt x="8808720" y="2345879"/>
                  <a:pt x="8785860" y="2349689"/>
                </a:cubicBezTo>
                <a:close/>
                <a:moveTo>
                  <a:pt x="8788400" y="2441764"/>
                </a:moveTo>
                <a:cubicBezTo>
                  <a:pt x="8763000" y="2446209"/>
                  <a:pt x="8771255" y="2486214"/>
                  <a:pt x="8796020" y="2480499"/>
                </a:cubicBezTo>
                <a:cubicBezTo>
                  <a:pt x="8821420" y="2476054"/>
                  <a:pt x="8813800" y="2436684"/>
                  <a:pt x="8788400" y="2441764"/>
                </a:cubicBezTo>
                <a:close/>
                <a:moveTo>
                  <a:pt x="8759190" y="2640519"/>
                </a:moveTo>
                <a:cubicBezTo>
                  <a:pt x="8730615" y="2647504"/>
                  <a:pt x="8743315" y="2691954"/>
                  <a:pt x="8771255" y="2684334"/>
                </a:cubicBezTo>
                <a:cubicBezTo>
                  <a:pt x="8799830" y="2676714"/>
                  <a:pt x="8787765" y="2632264"/>
                  <a:pt x="8759190" y="2640519"/>
                </a:cubicBezTo>
                <a:close/>
                <a:moveTo>
                  <a:pt x="8779510" y="2258884"/>
                </a:moveTo>
                <a:cubicBezTo>
                  <a:pt x="8757285" y="2260789"/>
                  <a:pt x="8761095" y="2295079"/>
                  <a:pt x="8783320" y="2292539"/>
                </a:cubicBezTo>
                <a:cubicBezTo>
                  <a:pt x="8804910" y="2290634"/>
                  <a:pt x="8801735" y="2256344"/>
                  <a:pt x="8779510" y="2258884"/>
                </a:cubicBezTo>
                <a:close/>
                <a:moveTo>
                  <a:pt x="8837930" y="2014409"/>
                </a:moveTo>
                <a:cubicBezTo>
                  <a:pt x="8854440" y="2014409"/>
                  <a:pt x="8854440" y="1988374"/>
                  <a:pt x="8837295" y="1989009"/>
                </a:cubicBezTo>
                <a:cubicBezTo>
                  <a:pt x="8821420" y="1989009"/>
                  <a:pt x="8821420" y="2014409"/>
                  <a:pt x="8837930" y="2014409"/>
                </a:cubicBezTo>
                <a:close/>
                <a:moveTo>
                  <a:pt x="8844280" y="2267774"/>
                </a:moveTo>
                <a:cubicBezTo>
                  <a:pt x="8847455" y="2289364"/>
                  <a:pt x="8881110" y="2284284"/>
                  <a:pt x="8877935" y="2262694"/>
                </a:cubicBezTo>
                <a:cubicBezTo>
                  <a:pt x="8874760" y="2241104"/>
                  <a:pt x="8840470" y="2246184"/>
                  <a:pt x="8844280" y="2267774"/>
                </a:cubicBezTo>
                <a:close/>
                <a:moveTo>
                  <a:pt x="8774430" y="2015679"/>
                </a:moveTo>
                <a:cubicBezTo>
                  <a:pt x="8790940" y="2015679"/>
                  <a:pt x="8790940" y="1989644"/>
                  <a:pt x="8774430" y="1990279"/>
                </a:cubicBezTo>
                <a:cubicBezTo>
                  <a:pt x="8757920" y="1990279"/>
                  <a:pt x="8757920" y="2015679"/>
                  <a:pt x="8774430" y="2015679"/>
                </a:cubicBezTo>
                <a:close/>
                <a:moveTo>
                  <a:pt x="8829040" y="2103944"/>
                </a:moveTo>
                <a:cubicBezTo>
                  <a:pt x="8848090" y="2103944"/>
                  <a:pt x="8846820" y="2074734"/>
                  <a:pt x="8828405" y="2076004"/>
                </a:cubicBezTo>
                <a:cubicBezTo>
                  <a:pt x="8810625" y="2076004"/>
                  <a:pt x="8811260" y="2103944"/>
                  <a:pt x="8829040" y="2103944"/>
                </a:cubicBezTo>
                <a:close/>
                <a:moveTo>
                  <a:pt x="8829040" y="2194749"/>
                </a:moveTo>
                <a:cubicBezTo>
                  <a:pt x="8849995" y="2194749"/>
                  <a:pt x="8848725" y="2161729"/>
                  <a:pt x="8827770" y="2163634"/>
                </a:cubicBezTo>
                <a:cubicBezTo>
                  <a:pt x="8808720" y="2164904"/>
                  <a:pt x="8809990" y="2195384"/>
                  <a:pt x="8829040" y="2194749"/>
                </a:cubicBezTo>
                <a:close/>
                <a:moveTo>
                  <a:pt x="8642985" y="2690684"/>
                </a:moveTo>
                <a:cubicBezTo>
                  <a:pt x="8648700" y="2719259"/>
                  <a:pt x="8693150" y="2710369"/>
                  <a:pt x="8687435" y="2681794"/>
                </a:cubicBezTo>
                <a:cubicBezTo>
                  <a:pt x="8681720" y="2652584"/>
                  <a:pt x="8636635" y="2662109"/>
                  <a:pt x="8642985" y="2690684"/>
                </a:cubicBezTo>
                <a:close/>
                <a:moveTo>
                  <a:pt x="8702040" y="2298889"/>
                </a:moveTo>
                <a:cubicBezTo>
                  <a:pt x="8724265" y="2297619"/>
                  <a:pt x="8721725" y="2263329"/>
                  <a:pt x="8700135" y="2265234"/>
                </a:cubicBezTo>
                <a:cubicBezTo>
                  <a:pt x="8678545" y="2265869"/>
                  <a:pt x="8680450" y="2300159"/>
                  <a:pt x="8702040" y="2298889"/>
                </a:cubicBezTo>
                <a:close/>
                <a:moveTo>
                  <a:pt x="8679815" y="2202369"/>
                </a:moveTo>
                <a:cubicBezTo>
                  <a:pt x="8700135" y="2202369"/>
                  <a:pt x="8700135" y="2170619"/>
                  <a:pt x="8679815" y="2171254"/>
                </a:cubicBezTo>
                <a:cubicBezTo>
                  <a:pt x="8659495" y="2171254"/>
                  <a:pt x="8660130" y="2202369"/>
                  <a:pt x="8679815" y="2202369"/>
                </a:cubicBezTo>
                <a:close/>
                <a:moveTo>
                  <a:pt x="8684895" y="2380169"/>
                </a:moveTo>
                <a:cubicBezTo>
                  <a:pt x="8686800" y="2403664"/>
                  <a:pt x="8724265" y="2399854"/>
                  <a:pt x="8721725" y="2376359"/>
                </a:cubicBezTo>
                <a:cubicBezTo>
                  <a:pt x="8719185" y="2352864"/>
                  <a:pt x="8681720" y="2356674"/>
                  <a:pt x="8684895" y="2380169"/>
                </a:cubicBezTo>
                <a:close/>
                <a:moveTo>
                  <a:pt x="8690610" y="2107119"/>
                </a:moveTo>
                <a:cubicBezTo>
                  <a:pt x="8709025" y="2107754"/>
                  <a:pt x="8709025" y="2078544"/>
                  <a:pt x="8690610" y="2079179"/>
                </a:cubicBezTo>
                <a:cubicBezTo>
                  <a:pt x="8672830" y="2078544"/>
                  <a:pt x="8672830" y="2107119"/>
                  <a:pt x="8690610" y="2107119"/>
                </a:cubicBezTo>
                <a:close/>
                <a:moveTo>
                  <a:pt x="8710930" y="2015044"/>
                </a:moveTo>
                <a:cubicBezTo>
                  <a:pt x="8727440" y="2015679"/>
                  <a:pt x="8727440" y="1989644"/>
                  <a:pt x="8711565" y="1989644"/>
                </a:cubicBezTo>
                <a:cubicBezTo>
                  <a:pt x="8694420" y="1989009"/>
                  <a:pt x="8694420" y="2015044"/>
                  <a:pt x="8710930" y="2015044"/>
                </a:cubicBezTo>
                <a:close/>
                <a:moveTo>
                  <a:pt x="8721725" y="2474149"/>
                </a:moveTo>
                <a:cubicBezTo>
                  <a:pt x="8718550" y="2448749"/>
                  <a:pt x="8678545" y="2454464"/>
                  <a:pt x="8682355" y="2479864"/>
                </a:cubicBezTo>
                <a:cubicBezTo>
                  <a:pt x="8686165" y="2505264"/>
                  <a:pt x="8725535" y="2499549"/>
                  <a:pt x="8721725" y="2474149"/>
                </a:cubicBezTo>
                <a:close/>
                <a:moveTo>
                  <a:pt x="8754745" y="2199829"/>
                </a:moveTo>
                <a:cubicBezTo>
                  <a:pt x="8775065" y="2199829"/>
                  <a:pt x="8774430" y="2167444"/>
                  <a:pt x="8754110" y="2168714"/>
                </a:cubicBezTo>
                <a:cubicBezTo>
                  <a:pt x="8733790" y="2169349"/>
                  <a:pt x="8735060" y="2200464"/>
                  <a:pt x="8754745" y="2199829"/>
                </a:cubicBezTo>
                <a:close/>
                <a:moveTo>
                  <a:pt x="8759825" y="2106484"/>
                </a:moveTo>
                <a:cubicBezTo>
                  <a:pt x="8778240" y="2106484"/>
                  <a:pt x="8778240" y="2077274"/>
                  <a:pt x="8759190" y="2078544"/>
                </a:cubicBezTo>
                <a:cubicBezTo>
                  <a:pt x="8741410" y="2078544"/>
                  <a:pt x="8742045" y="2106484"/>
                  <a:pt x="8759825" y="2106484"/>
                </a:cubicBezTo>
                <a:close/>
                <a:moveTo>
                  <a:pt x="5309870" y="1019363"/>
                </a:moveTo>
                <a:cubicBezTo>
                  <a:pt x="5293995" y="1016188"/>
                  <a:pt x="5288915" y="1041588"/>
                  <a:pt x="5305425" y="1044129"/>
                </a:cubicBezTo>
                <a:cubicBezTo>
                  <a:pt x="5321935" y="1047938"/>
                  <a:pt x="5326380" y="1021904"/>
                  <a:pt x="5309870" y="1019363"/>
                </a:cubicBezTo>
                <a:close/>
                <a:moveTo>
                  <a:pt x="7705090" y="2677984"/>
                </a:moveTo>
                <a:cubicBezTo>
                  <a:pt x="7676515" y="2665919"/>
                  <a:pt x="7658100" y="2711004"/>
                  <a:pt x="7686675" y="2722434"/>
                </a:cubicBezTo>
                <a:cubicBezTo>
                  <a:pt x="7715250" y="2734499"/>
                  <a:pt x="7734300" y="2688779"/>
                  <a:pt x="7705090" y="2677984"/>
                </a:cubicBezTo>
                <a:close/>
                <a:moveTo>
                  <a:pt x="7699375" y="2806254"/>
                </a:moveTo>
                <a:cubicBezTo>
                  <a:pt x="7668895" y="2793554"/>
                  <a:pt x="7649845" y="2841814"/>
                  <a:pt x="7680325" y="2853244"/>
                </a:cubicBezTo>
                <a:cubicBezTo>
                  <a:pt x="7710806" y="2866579"/>
                  <a:pt x="7730490" y="2818319"/>
                  <a:pt x="7699375" y="2806254"/>
                </a:cubicBezTo>
                <a:close/>
                <a:moveTo>
                  <a:pt x="7764145" y="2572574"/>
                </a:moveTo>
                <a:cubicBezTo>
                  <a:pt x="7736840" y="2561779"/>
                  <a:pt x="7720331" y="2604324"/>
                  <a:pt x="7747635" y="2614484"/>
                </a:cubicBezTo>
                <a:lnTo>
                  <a:pt x="7747635" y="2614484"/>
                </a:lnTo>
                <a:cubicBezTo>
                  <a:pt x="7774940" y="2625279"/>
                  <a:pt x="7792085" y="2582734"/>
                  <a:pt x="7764145" y="2572574"/>
                </a:cubicBezTo>
                <a:close/>
                <a:moveTo>
                  <a:pt x="7725410" y="2308414"/>
                </a:moveTo>
                <a:cubicBezTo>
                  <a:pt x="7701915" y="2298254"/>
                  <a:pt x="7686040" y="2335084"/>
                  <a:pt x="7710170" y="2344609"/>
                </a:cubicBezTo>
                <a:cubicBezTo>
                  <a:pt x="7733031" y="2355404"/>
                  <a:pt x="7749540" y="2317939"/>
                  <a:pt x="7725410" y="2308414"/>
                </a:cubicBezTo>
                <a:close/>
                <a:moveTo>
                  <a:pt x="7569200" y="2258249"/>
                </a:moveTo>
                <a:cubicBezTo>
                  <a:pt x="7581265" y="2235389"/>
                  <a:pt x="7545070" y="2217609"/>
                  <a:pt x="7533640" y="2240469"/>
                </a:cubicBezTo>
                <a:cubicBezTo>
                  <a:pt x="7521575" y="2263329"/>
                  <a:pt x="7557770" y="2281744"/>
                  <a:pt x="7569200" y="2258249"/>
                </a:cubicBezTo>
                <a:close/>
                <a:moveTo>
                  <a:pt x="7588250" y="2519869"/>
                </a:moveTo>
                <a:cubicBezTo>
                  <a:pt x="7601585" y="2493834"/>
                  <a:pt x="7560310" y="2473514"/>
                  <a:pt x="7547610" y="2500184"/>
                </a:cubicBezTo>
                <a:cubicBezTo>
                  <a:pt x="7534275" y="2526219"/>
                  <a:pt x="7575550" y="2546539"/>
                  <a:pt x="7588250" y="2519869"/>
                </a:cubicBezTo>
                <a:close/>
                <a:moveTo>
                  <a:pt x="7595870" y="2761804"/>
                </a:moveTo>
                <a:cubicBezTo>
                  <a:pt x="7566025" y="2747199"/>
                  <a:pt x="7544435" y="2794189"/>
                  <a:pt x="7574281" y="2808159"/>
                </a:cubicBezTo>
                <a:cubicBezTo>
                  <a:pt x="7603490" y="2822129"/>
                  <a:pt x="7625715" y="2775139"/>
                  <a:pt x="7595870" y="2761804"/>
                </a:cubicBezTo>
                <a:close/>
                <a:moveTo>
                  <a:pt x="7651750" y="2297619"/>
                </a:moveTo>
                <a:cubicBezTo>
                  <a:pt x="7662545" y="2274759"/>
                  <a:pt x="7626350" y="2257614"/>
                  <a:pt x="7615556" y="2281109"/>
                </a:cubicBezTo>
                <a:cubicBezTo>
                  <a:pt x="7604760" y="2303969"/>
                  <a:pt x="7641590" y="2321114"/>
                  <a:pt x="7651750" y="2297619"/>
                </a:cubicBezTo>
                <a:close/>
                <a:moveTo>
                  <a:pt x="7606665" y="2634169"/>
                </a:moveTo>
                <a:cubicBezTo>
                  <a:pt x="7578725" y="2620199"/>
                  <a:pt x="7557770" y="2664649"/>
                  <a:pt x="7586345" y="2677349"/>
                </a:cubicBezTo>
                <a:cubicBezTo>
                  <a:pt x="7614285" y="2691319"/>
                  <a:pt x="7635240" y="2647504"/>
                  <a:pt x="7606665" y="2634169"/>
                </a:cubicBezTo>
                <a:close/>
                <a:moveTo>
                  <a:pt x="7681595" y="2563049"/>
                </a:moveTo>
                <a:cubicBezTo>
                  <a:pt x="7693660" y="2536379"/>
                  <a:pt x="7651750" y="2517964"/>
                  <a:pt x="7640320" y="2544634"/>
                </a:cubicBezTo>
                <a:cubicBezTo>
                  <a:pt x="7628256" y="2571304"/>
                  <a:pt x="7670165" y="2590354"/>
                  <a:pt x="7681595" y="2563049"/>
                </a:cubicBezTo>
                <a:close/>
                <a:moveTo>
                  <a:pt x="7805420" y="2844989"/>
                </a:moveTo>
                <a:cubicBezTo>
                  <a:pt x="7774306" y="2834194"/>
                  <a:pt x="7757795" y="2883089"/>
                  <a:pt x="7789545" y="2893248"/>
                </a:cubicBezTo>
                <a:cubicBezTo>
                  <a:pt x="7820025" y="2904679"/>
                  <a:pt x="7836535" y="2855148"/>
                  <a:pt x="7805420" y="2844989"/>
                </a:cubicBezTo>
                <a:close/>
                <a:moveTo>
                  <a:pt x="7957820" y="2636074"/>
                </a:moveTo>
                <a:cubicBezTo>
                  <a:pt x="7929881" y="2627819"/>
                  <a:pt x="7917815" y="2672269"/>
                  <a:pt x="7945756" y="2679889"/>
                </a:cubicBezTo>
                <a:cubicBezTo>
                  <a:pt x="7973695" y="2688144"/>
                  <a:pt x="7986395" y="2643059"/>
                  <a:pt x="7957820" y="2636074"/>
                </a:cubicBezTo>
                <a:close/>
                <a:moveTo>
                  <a:pt x="7995285" y="2424619"/>
                </a:moveTo>
                <a:cubicBezTo>
                  <a:pt x="8002906" y="2399854"/>
                  <a:pt x="7964170" y="2389059"/>
                  <a:pt x="7957185" y="2413824"/>
                </a:cubicBezTo>
                <a:cubicBezTo>
                  <a:pt x="7950200" y="2437954"/>
                  <a:pt x="7988935" y="2449384"/>
                  <a:pt x="7995285" y="2424619"/>
                </a:cubicBezTo>
                <a:close/>
                <a:moveTo>
                  <a:pt x="8011795" y="2773869"/>
                </a:moveTo>
                <a:cubicBezTo>
                  <a:pt x="7978140" y="2766249"/>
                  <a:pt x="7972425" y="2821494"/>
                  <a:pt x="8006715" y="2821494"/>
                </a:cubicBezTo>
                <a:cubicBezTo>
                  <a:pt x="8034020" y="2822129"/>
                  <a:pt x="8039100" y="2778949"/>
                  <a:pt x="8011795" y="2773869"/>
                </a:cubicBezTo>
                <a:close/>
                <a:moveTo>
                  <a:pt x="7913370" y="2877373"/>
                </a:moveTo>
                <a:cubicBezTo>
                  <a:pt x="7881620" y="2868484"/>
                  <a:pt x="7868285" y="2918648"/>
                  <a:pt x="7900670" y="2926269"/>
                </a:cubicBezTo>
                <a:cubicBezTo>
                  <a:pt x="7931785" y="2935159"/>
                  <a:pt x="7945120" y="2884994"/>
                  <a:pt x="7913370" y="2877373"/>
                </a:cubicBezTo>
                <a:close/>
                <a:moveTo>
                  <a:pt x="7809865" y="2342069"/>
                </a:moveTo>
                <a:cubicBezTo>
                  <a:pt x="7786370" y="2332544"/>
                  <a:pt x="7771765" y="2370009"/>
                  <a:pt x="7795895" y="2378899"/>
                </a:cubicBezTo>
                <a:cubicBezTo>
                  <a:pt x="7819390" y="2388424"/>
                  <a:pt x="7833995" y="2350959"/>
                  <a:pt x="7809865" y="2342069"/>
                </a:cubicBezTo>
                <a:close/>
                <a:moveTo>
                  <a:pt x="7860031" y="2606864"/>
                </a:moveTo>
                <a:cubicBezTo>
                  <a:pt x="7832090" y="2597339"/>
                  <a:pt x="7818120" y="2641154"/>
                  <a:pt x="7846060" y="2650044"/>
                </a:cubicBezTo>
                <a:cubicBezTo>
                  <a:pt x="7873365" y="2659569"/>
                  <a:pt x="7887970" y="2615754"/>
                  <a:pt x="7860031" y="2606864"/>
                </a:cubicBezTo>
                <a:close/>
                <a:moveTo>
                  <a:pt x="7861935" y="2482404"/>
                </a:moveTo>
                <a:cubicBezTo>
                  <a:pt x="7835900" y="2472879"/>
                  <a:pt x="7821931" y="2514154"/>
                  <a:pt x="7847965" y="2522409"/>
                </a:cubicBezTo>
                <a:cubicBezTo>
                  <a:pt x="7874000" y="2531934"/>
                  <a:pt x="7887970" y="2491294"/>
                  <a:pt x="7861935" y="2482404"/>
                </a:cubicBezTo>
                <a:close/>
                <a:moveTo>
                  <a:pt x="7894320" y="2794189"/>
                </a:moveTo>
                <a:cubicBezTo>
                  <a:pt x="7923531" y="2803079"/>
                  <a:pt x="7937500" y="2756089"/>
                  <a:pt x="7907656" y="2747834"/>
                </a:cubicBezTo>
                <a:cubicBezTo>
                  <a:pt x="7877810" y="2738944"/>
                  <a:pt x="7864475" y="2785934"/>
                  <a:pt x="7894320" y="2794189"/>
                </a:cubicBezTo>
                <a:close/>
                <a:moveTo>
                  <a:pt x="7460615" y="2224594"/>
                </a:moveTo>
                <a:cubicBezTo>
                  <a:pt x="7482840" y="2237294"/>
                  <a:pt x="7501890" y="2201734"/>
                  <a:pt x="7479031" y="2189669"/>
                </a:cubicBezTo>
                <a:cubicBezTo>
                  <a:pt x="7456806" y="2177604"/>
                  <a:pt x="7437756" y="2213164"/>
                  <a:pt x="7460615" y="2224594"/>
                </a:cubicBezTo>
                <a:close/>
                <a:moveTo>
                  <a:pt x="7395845" y="2656394"/>
                </a:moveTo>
                <a:cubicBezTo>
                  <a:pt x="7367906" y="2639249"/>
                  <a:pt x="7341235" y="2684334"/>
                  <a:pt x="7370445" y="2700209"/>
                </a:cubicBezTo>
                <a:cubicBezTo>
                  <a:pt x="7397750" y="2717354"/>
                  <a:pt x="7424420" y="2672904"/>
                  <a:pt x="7395845" y="2656394"/>
                </a:cubicBezTo>
                <a:close/>
                <a:moveTo>
                  <a:pt x="7324090" y="2478594"/>
                </a:moveTo>
                <a:cubicBezTo>
                  <a:pt x="7298056" y="2461449"/>
                  <a:pt x="7272020" y="2502724"/>
                  <a:pt x="7298690" y="2519234"/>
                </a:cubicBezTo>
                <a:cubicBezTo>
                  <a:pt x="7324090" y="2536379"/>
                  <a:pt x="7350760" y="2495104"/>
                  <a:pt x="7324090" y="2478594"/>
                </a:cubicBezTo>
                <a:close/>
                <a:moveTo>
                  <a:pt x="7298690" y="2597339"/>
                </a:moveTo>
                <a:cubicBezTo>
                  <a:pt x="7271385" y="2578924"/>
                  <a:pt x="7243445" y="2622739"/>
                  <a:pt x="7271385" y="2640519"/>
                </a:cubicBezTo>
                <a:cubicBezTo>
                  <a:pt x="7298690" y="2658299"/>
                  <a:pt x="7327265" y="2615119"/>
                  <a:pt x="7298690" y="2597339"/>
                </a:cubicBezTo>
                <a:close/>
                <a:moveTo>
                  <a:pt x="7366635" y="1780729"/>
                </a:moveTo>
                <a:cubicBezTo>
                  <a:pt x="7373620" y="1764219"/>
                  <a:pt x="7347585" y="1752788"/>
                  <a:pt x="7340600" y="1769934"/>
                </a:cubicBezTo>
                <a:cubicBezTo>
                  <a:pt x="7333615" y="1787079"/>
                  <a:pt x="7359650" y="1797874"/>
                  <a:pt x="7366635" y="1780729"/>
                </a:cubicBezTo>
                <a:close/>
                <a:moveTo>
                  <a:pt x="7340600" y="2231579"/>
                </a:moveTo>
                <a:cubicBezTo>
                  <a:pt x="7317106" y="2216974"/>
                  <a:pt x="7294881" y="2253804"/>
                  <a:pt x="7318375" y="2267774"/>
                </a:cubicBezTo>
                <a:cubicBezTo>
                  <a:pt x="7341870" y="2282379"/>
                  <a:pt x="7364731" y="2245549"/>
                  <a:pt x="7340600" y="2231579"/>
                </a:cubicBezTo>
                <a:close/>
                <a:moveTo>
                  <a:pt x="7204710" y="2534474"/>
                </a:moveTo>
                <a:cubicBezTo>
                  <a:pt x="7178040" y="2515424"/>
                  <a:pt x="7148195" y="2557969"/>
                  <a:pt x="7176135" y="2576384"/>
                </a:cubicBezTo>
                <a:cubicBezTo>
                  <a:pt x="7202170" y="2595434"/>
                  <a:pt x="7232015" y="2552889"/>
                  <a:pt x="7204710" y="2534474"/>
                </a:cubicBezTo>
                <a:close/>
                <a:moveTo>
                  <a:pt x="7145020" y="2357944"/>
                </a:moveTo>
                <a:cubicBezTo>
                  <a:pt x="7120256" y="2339529"/>
                  <a:pt x="7091681" y="2378899"/>
                  <a:pt x="7117081" y="2396679"/>
                </a:cubicBezTo>
                <a:cubicBezTo>
                  <a:pt x="7141845" y="2415094"/>
                  <a:pt x="7171056" y="2375724"/>
                  <a:pt x="7145020" y="2357944"/>
                </a:cubicBezTo>
                <a:close/>
                <a:moveTo>
                  <a:pt x="7233920" y="2419539"/>
                </a:moveTo>
                <a:cubicBezTo>
                  <a:pt x="7208520" y="2401759"/>
                  <a:pt x="7181215" y="2442399"/>
                  <a:pt x="7207250" y="2459544"/>
                </a:cubicBezTo>
                <a:cubicBezTo>
                  <a:pt x="7232015" y="2477324"/>
                  <a:pt x="7259956" y="2436684"/>
                  <a:pt x="7233920" y="2419539"/>
                </a:cubicBezTo>
                <a:close/>
                <a:moveTo>
                  <a:pt x="7265035" y="2209354"/>
                </a:moveTo>
                <a:cubicBezTo>
                  <a:pt x="7280275" y="2186494"/>
                  <a:pt x="7244081" y="2162999"/>
                  <a:pt x="7229475" y="2186494"/>
                </a:cubicBezTo>
                <a:cubicBezTo>
                  <a:pt x="7214235" y="2208719"/>
                  <a:pt x="7250431" y="2232214"/>
                  <a:pt x="7265035" y="2209354"/>
                </a:cubicBezTo>
                <a:close/>
                <a:moveTo>
                  <a:pt x="7510781" y="2586544"/>
                </a:moveTo>
                <a:cubicBezTo>
                  <a:pt x="7483475" y="2571939"/>
                  <a:pt x="7460615" y="2615119"/>
                  <a:pt x="7488556" y="2629089"/>
                </a:cubicBezTo>
                <a:cubicBezTo>
                  <a:pt x="7515225" y="2643694"/>
                  <a:pt x="7538085" y="2600514"/>
                  <a:pt x="7510781" y="2586544"/>
                </a:cubicBezTo>
                <a:close/>
                <a:moveTo>
                  <a:pt x="7494270" y="2711639"/>
                </a:moveTo>
                <a:cubicBezTo>
                  <a:pt x="7465060" y="2695764"/>
                  <a:pt x="7440931" y="2741484"/>
                  <a:pt x="7470775" y="2756724"/>
                </a:cubicBezTo>
                <a:cubicBezTo>
                  <a:pt x="7499350" y="2772599"/>
                  <a:pt x="7524115" y="2726879"/>
                  <a:pt x="7494270" y="2711639"/>
                </a:cubicBezTo>
                <a:close/>
                <a:moveTo>
                  <a:pt x="7465695" y="2482404"/>
                </a:moveTo>
                <a:cubicBezTo>
                  <a:pt x="7491095" y="2497009"/>
                  <a:pt x="7513320" y="2456369"/>
                  <a:pt x="7487285" y="2443034"/>
                </a:cubicBezTo>
                <a:cubicBezTo>
                  <a:pt x="7461885" y="2428429"/>
                  <a:pt x="7439660" y="2469069"/>
                  <a:pt x="7465695" y="2482404"/>
                </a:cubicBezTo>
                <a:close/>
                <a:moveTo>
                  <a:pt x="8023225" y="2901504"/>
                </a:moveTo>
                <a:cubicBezTo>
                  <a:pt x="7990840" y="2895154"/>
                  <a:pt x="7981315" y="2945954"/>
                  <a:pt x="8013700" y="2951669"/>
                </a:cubicBezTo>
                <a:cubicBezTo>
                  <a:pt x="8045450" y="2958019"/>
                  <a:pt x="8055610" y="2907219"/>
                  <a:pt x="8023225" y="2901504"/>
                </a:cubicBezTo>
                <a:close/>
                <a:moveTo>
                  <a:pt x="7532370" y="2145219"/>
                </a:moveTo>
                <a:cubicBezTo>
                  <a:pt x="7553325" y="2156014"/>
                  <a:pt x="7569835" y="2122359"/>
                  <a:pt x="7548245" y="2112199"/>
                </a:cubicBezTo>
                <a:cubicBezTo>
                  <a:pt x="7527290" y="2101404"/>
                  <a:pt x="7510781" y="2135059"/>
                  <a:pt x="7532370" y="2145219"/>
                </a:cubicBezTo>
                <a:lnTo>
                  <a:pt x="7532370" y="2145219"/>
                </a:lnTo>
                <a:close/>
                <a:moveTo>
                  <a:pt x="7424420" y="2280474"/>
                </a:moveTo>
                <a:cubicBezTo>
                  <a:pt x="7400925" y="2266504"/>
                  <a:pt x="7379335" y="2303969"/>
                  <a:pt x="7403465" y="2317304"/>
                </a:cubicBezTo>
                <a:lnTo>
                  <a:pt x="7403465" y="2317304"/>
                </a:lnTo>
                <a:cubicBezTo>
                  <a:pt x="7426960" y="2331274"/>
                  <a:pt x="7448550" y="2293809"/>
                  <a:pt x="7424420" y="2280474"/>
                </a:cubicBezTo>
                <a:close/>
                <a:moveTo>
                  <a:pt x="7416165" y="2534474"/>
                </a:moveTo>
                <a:cubicBezTo>
                  <a:pt x="7389495" y="2518599"/>
                  <a:pt x="7364731" y="2560509"/>
                  <a:pt x="7392035" y="2575749"/>
                </a:cubicBezTo>
                <a:cubicBezTo>
                  <a:pt x="7418706" y="2592259"/>
                  <a:pt x="7443470" y="2549714"/>
                  <a:pt x="7416165" y="2534474"/>
                </a:cubicBezTo>
                <a:close/>
                <a:moveTo>
                  <a:pt x="7454900" y="2105849"/>
                </a:moveTo>
                <a:cubicBezTo>
                  <a:pt x="7475856" y="2117279"/>
                  <a:pt x="7493000" y="2083624"/>
                  <a:pt x="7472045" y="2073463"/>
                </a:cubicBezTo>
                <a:cubicBezTo>
                  <a:pt x="7451090" y="2062034"/>
                  <a:pt x="7433945" y="2095688"/>
                  <a:pt x="7454900" y="2105849"/>
                </a:cubicBezTo>
                <a:lnTo>
                  <a:pt x="7454900" y="2105849"/>
                </a:lnTo>
                <a:close/>
                <a:moveTo>
                  <a:pt x="7459345" y="1877249"/>
                </a:moveTo>
                <a:cubicBezTo>
                  <a:pt x="7436485" y="1867724"/>
                  <a:pt x="7428231" y="1906459"/>
                  <a:pt x="7452995" y="1907094"/>
                </a:cubicBezTo>
                <a:cubicBezTo>
                  <a:pt x="7469506" y="1907729"/>
                  <a:pt x="7474585" y="1883599"/>
                  <a:pt x="7459345" y="1877249"/>
                </a:cubicBezTo>
                <a:close/>
                <a:moveTo>
                  <a:pt x="8580120" y="2894519"/>
                </a:moveTo>
                <a:cubicBezTo>
                  <a:pt x="8547735" y="2900869"/>
                  <a:pt x="8559165" y="2951669"/>
                  <a:pt x="8590915" y="2944048"/>
                </a:cubicBezTo>
                <a:cubicBezTo>
                  <a:pt x="8623300" y="2937698"/>
                  <a:pt x="8611870" y="2886898"/>
                  <a:pt x="8580120" y="2894519"/>
                </a:cubicBezTo>
                <a:close/>
                <a:moveTo>
                  <a:pt x="9139555" y="2566224"/>
                </a:moveTo>
                <a:cubicBezTo>
                  <a:pt x="9139555" y="2566224"/>
                  <a:pt x="9139555" y="2566224"/>
                  <a:pt x="9139555" y="2566224"/>
                </a:cubicBezTo>
                <a:cubicBezTo>
                  <a:pt x="9112885" y="2582099"/>
                  <a:pt x="9138285" y="2624009"/>
                  <a:pt x="9164320" y="2607499"/>
                </a:cubicBezTo>
                <a:cubicBezTo>
                  <a:pt x="9190990" y="2592259"/>
                  <a:pt x="9166225" y="2550349"/>
                  <a:pt x="9139555" y="2566224"/>
                </a:cubicBezTo>
                <a:close/>
                <a:moveTo>
                  <a:pt x="8676005" y="2789109"/>
                </a:moveTo>
                <a:cubicBezTo>
                  <a:pt x="8651240" y="2730689"/>
                  <a:pt x="8595360" y="2821494"/>
                  <a:pt x="8658225" y="2817684"/>
                </a:cubicBezTo>
                <a:lnTo>
                  <a:pt x="8658225" y="2817684"/>
                </a:lnTo>
                <a:cubicBezTo>
                  <a:pt x="8670925" y="2814509"/>
                  <a:pt x="8679180" y="2801809"/>
                  <a:pt x="8676005" y="2789109"/>
                </a:cubicBezTo>
                <a:close/>
                <a:moveTo>
                  <a:pt x="8642350" y="2586544"/>
                </a:moveTo>
                <a:cubicBezTo>
                  <a:pt x="8639175" y="2559239"/>
                  <a:pt x="8596630" y="2564954"/>
                  <a:pt x="8600440" y="2592259"/>
                </a:cubicBezTo>
                <a:cubicBezTo>
                  <a:pt x="8603615" y="2619564"/>
                  <a:pt x="8646795" y="2613849"/>
                  <a:pt x="8642350" y="2586544"/>
                </a:cubicBezTo>
                <a:close/>
                <a:moveTo>
                  <a:pt x="8738235" y="2569399"/>
                </a:moveTo>
                <a:cubicBezTo>
                  <a:pt x="8733155" y="2542094"/>
                  <a:pt x="8691245" y="2550349"/>
                  <a:pt x="8696960" y="2577654"/>
                </a:cubicBezTo>
                <a:cubicBezTo>
                  <a:pt x="8702040" y="2604959"/>
                  <a:pt x="8743950" y="2596069"/>
                  <a:pt x="8738235" y="2569399"/>
                </a:cubicBezTo>
                <a:close/>
                <a:moveTo>
                  <a:pt x="8688705" y="2866579"/>
                </a:moveTo>
                <a:cubicBezTo>
                  <a:pt x="8656955" y="2875469"/>
                  <a:pt x="8672195" y="2924998"/>
                  <a:pt x="8703310" y="2915473"/>
                </a:cubicBezTo>
                <a:cubicBezTo>
                  <a:pt x="8735060" y="2905948"/>
                  <a:pt x="8719820" y="2856419"/>
                  <a:pt x="8688705" y="2866579"/>
                </a:cubicBezTo>
                <a:close/>
                <a:moveTo>
                  <a:pt x="8522970" y="2577654"/>
                </a:moveTo>
                <a:cubicBezTo>
                  <a:pt x="8495665" y="2578924"/>
                  <a:pt x="8498205" y="2622104"/>
                  <a:pt x="8526145" y="2619564"/>
                </a:cubicBezTo>
                <a:cubicBezTo>
                  <a:pt x="8553450" y="2618294"/>
                  <a:pt x="8550910" y="2575114"/>
                  <a:pt x="8522970" y="2577654"/>
                </a:cubicBezTo>
                <a:close/>
                <a:moveTo>
                  <a:pt x="8569325" y="2811334"/>
                </a:moveTo>
                <a:cubicBezTo>
                  <a:pt x="8549005" y="2751644"/>
                  <a:pt x="8486140" y="2838004"/>
                  <a:pt x="8549005" y="2838639"/>
                </a:cubicBezTo>
                <a:cubicBezTo>
                  <a:pt x="8562340" y="2836734"/>
                  <a:pt x="8571865" y="2824669"/>
                  <a:pt x="8569325" y="2811334"/>
                </a:cubicBezTo>
                <a:close/>
                <a:moveTo>
                  <a:pt x="8469630" y="2913569"/>
                </a:moveTo>
                <a:cubicBezTo>
                  <a:pt x="8436610" y="2917379"/>
                  <a:pt x="8444230" y="2968814"/>
                  <a:pt x="8476615" y="2963734"/>
                </a:cubicBezTo>
                <a:cubicBezTo>
                  <a:pt x="8509000" y="2960559"/>
                  <a:pt x="8502015" y="2909123"/>
                  <a:pt x="8469630" y="2913569"/>
                </a:cubicBezTo>
                <a:close/>
                <a:moveTo>
                  <a:pt x="8549640" y="2838639"/>
                </a:moveTo>
                <a:lnTo>
                  <a:pt x="8549640" y="2838639"/>
                </a:lnTo>
                <a:cubicBezTo>
                  <a:pt x="8549640" y="2838639"/>
                  <a:pt x="8549640" y="2838639"/>
                  <a:pt x="8549640" y="2838639"/>
                </a:cubicBezTo>
                <a:cubicBezTo>
                  <a:pt x="8549640" y="2838639"/>
                  <a:pt x="8549640" y="2838639"/>
                  <a:pt x="8549640" y="2838639"/>
                </a:cubicBezTo>
                <a:close/>
                <a:moveTo>
                  <a:pt x="8519795" y="2512249"/>
                </a:moveTo>
                <a:cubicBezTo>
                  <a:pt x="8545830" y="2512249"/>
                  <a:pt x="8545195" y="2471609"/>
                  <a:pt x="8519160" y="2472879"/>
                </a:cubicBezTo>
                <a:cubicBezTo>
                  <a:pt x="8493760" y="2472879"/>
                  <a:pt x="8494395" y="2512249"/>
                  <a:pt x="8519795" y="2512249"/>
                </a:cubicBezTo>
                <a:close/>
                <a:moveTo>
                  <a:pt x="8950325" y="2666554"/>
                </a:moveTo>
                <a:cubicBezTo>
                  <a:pt x="8921750" y="2679254"/>
                  <a:pt x="8942705" y="2723704"/>
                  <a:pt x="8970010" y="2710369"/>
                </a:cubicBezTo>
                <a:cubicBezTo>
                  <a:pt x="8998585" y="2697669"/>
                  <a:pt x="8978265" y="2653219"/>
                  <a:pt x="8950325" y="2666554"/>
                </a:cubicBezTo>
                <a:close/>
                <a:moveTo>
                  <a:pt x="8999220" y="2735769"/>
                </a:moveTo>
                <a:cubicBezTo>
                  <a:pt x="8970010" y="2751009"/>
                  <a:pt x="8994775" y="2796729"/>
                  <a:pt x="9023350" y="2780219"/>
                </a:cubicBezTo>
                <a:lnTo>
                  <a:pt x="9023350" y="2780219"/>
                </a:lnTo>
                <a:cubicBezTo>
                  <a:pt x="9052560" y="2765614"/>
                  <a:pt x="9027795" y="2719894"/>
                  <a:pt x="8999220" y="2735769"/>
                </a:cubicBezTo>
                <a:close/>
                <a:moveTo>
                  <a:pt x="9046210" y="2619564"/>
                </a:moveTo>
                <a:cubicBezTo>
                  <a:pt x="9018270" y="2633534"/>
                  <a:pt x="9041765" y="2676714"/>
                  <a:pt x="9068435" y="2662109"/>
                </a:cubicBezTo>
                <a:cubicBezTo>
                  <a:pt x="9096375" y="2647504"/>
                  <a:pt x="9073515" y="2604324"/>
                  <a:pt x="9046210" y="2619564"/>
                </a:cubicBezTo>
                <a:close/>
                <a:moveTo>
                  <a:pt x="9097010" y="2679254"/>
                </a:moveTo>
                <a:cubicBezTo>
                  <a:pt x="9068435" y="2696399"/>
                  <a:pt x="9096375" y="2740214"/>
                  <a:pt x="9123680" y="2722434"/>
                </a:cubicBezTo>
                <a:cubicBezTo>
                  <a:pt x="9151620" y="2705289"/>
                  <a:pt x="9124315" y="2661474"/>
                  <a:pt x="9097010" y="2679254"/>
                </a:cubicBezTo>
                <a:close/>
                <a:moveTo>
                  <a:pt x="8794750" y="2830384"/>
                </a:moveTo>
                <a:cubicBezTo>
                  <a:pt x="8763635" y="2841814"/>
                  <a:pt x="8782685" y="2890073"/>
                  <a:pt x="8813165" y="2878009"/>
                </a:cubicBezTo>
                <a:cubicBezTo>
                  <a:pt x="8844280" y="2866579"/>
                  <a:pt x="8825865" y="2817684"/>
                  <a:pt x="8794750" y="2830384"/>
                </a:cubicBezTo>
                <a:close/>
                <a:moveTo>
                  <a:pt x="8056881" y="2659569"/>
                </a:moveTo>
                <a:cubicBezTo>
                  <a:pt x="8028306" y="2653219"/>
                  <a:pt x="8018781" y="2698304"/>
                  <a:pt x="8047990" y="2704019"/>
                </a:cubicBezTo>
                <a:cubicBezTo>
                  <a:pt x="8075931" y="2710369"/>
                  <a:pt x="8085456" y="2665284"/>
                  <a:pt x="8056881" y="2659569"/>
                </a:cubicBezTo>
                <a:close/>
                <a:moveTo>
                  <a:pt x="8780145" y="2759264"/>
                </a:moveTo>
                <a:cubicBezTo>
                  <a:pt x="8771255" y="2729419"/>
                  <a:pt x="8724900" y="2744024"/>
                  <a:pt x="8734425" y="2773234"/>
                </a:cubicBezTo>
                <a:cubicBezTo>
                  <a:pt x="8743315" y="2803079"/>
                  <a:pt x="8789670" y="2788474"/>
                  <a:pt x="8780145" y="2759264"/>
                </a:cubicBezTo>
                <a:close/>
                <a:moveTo>
                  <a:pt x="8807450" y="2531299"/>
                </a:moveTo>
                <a:cubicBezTo>
                  <a:pt x="8780780" y="2537649"/>
                  <a:pt x="8791575" y="2579559"/>
                  <a:pt x="8818245" y="2572574"/>
                </a:cubicBezTo>
                <a:cubicBezTo>
                  <a:pt x="8844280" y="2566224"/>
                  <a:pt x="8833485" y="2524314"/>
                  <a:pt x="8807450" y="2531299"/>
                </a:cubicBezTo>
                <a:close/>
                <a:moveTo>
                  <a:pt x="8837295" y="2739579"/>
                </a:moveTo>
                <a:cubicBezTo>
                  <a:pt x="8848090" y="2768789"/>
                  <a:pt x="8893810" y="2751009"/>
                  <a:pt x="8882380" y="2722434"/>
                </a:cubicBezTo>
                <a:cubicBezTo>
                  <a:pt x="8871585" y="2693224"/>
                  <a:pt x="8825865" y="2710369"/>
                  <a:pt x="8837295" y="2739579"/>
                </a:cubicBezTo>
                <a:close/>
                <a:moveTo>
                  <a:pt x="8898890" y="2786569"/>
                </a:moveTo>
                <a:cubicBezTo>
                  <a:pt x="8868410" y="2799904"/>
                  <a:pt x="8890635" y="2846894"/>
                  <a:pt x="8920480" y="2832924"/>
                </a:cubicBezTo>
                <a:cubicBezTo>
                  <a:pt x="8950325" y="2818954"/>
                  <a:pt x="8928100" y="2771964"/>
                  <a:pt x="8898890" y="2786569"/>
                </a:cubicBezTo>
                <a:close/>
                <a:moveTo>
                  <a:pt x="8133715" y="2918014"/>
                </a:moveTo>
                <a:cubicBezTo>
                  <a:pt x="8101331" y="2914204"/>
                  <a:pt x="8095615" y="2965639"/>
                  <a:pt x="8128000" y="2968814"/>
                </a:cubicBezTo>
                <a:cubicBezTo>
                  <a:pt x="8161020" y="2972623"/>
                  <a:pt x="8166735" y="2921189"/>
                  <a:pt x="8133715" y="2918014"/>
                </a:cubicBezTo>
                <a:close/>
                <a:moveTo>
                  <a:pt x="8156575" y="2677349"/>
                </a:moveTo>
                <a:cubicBezTo>
                  <a:pt x="8128000" y="2672904"/>
                  <a:pt x="8121015" y="2718624"/>
                  <a:pt x="8150225" y="2721799"/>
                </a:cubicBezTo>
                <a:cubicBezTo>
                  <a:pt x="8178800" y="2726879"/>
                  <a:pt x="8185785" y="2681159"/>
                  <a:pt x="8156575" y="2677349"/>
                </a:cubicBezTo>
                <a:close/>
                <a:moveTo>
                  <a:pt x="8207375" y="2357309"/>
                </a:moveTo>
                <a:cubicBezTo>
                  <a:pt x="8212456" y="2333814"/>
                  <a:pt x="8175625" y="2326829"/>
                  <a:pt x="8171181" y="2350324"/>
                </a:cubicBezTo>
                <a:cubicBezTo>
                  <a:pt x="8166100" y="2373184"/>
                  <a:pt x="8202931" y="2380804"/>
                  <a:pt x="8207375" y="2357309"/>
                </a:cubicBezTo>
                <a:close/>
                <a:moveTo>
                  <a:pt x="8244840" y="2829749"/>
                </a:moveTo>
                <a:cubicBezTo>
                  <a:pt x="8247381" y="2798634"/>
                  <a:pt x="8198485" y="2795459"/>
                  <a:pt x="8197215" y="2826574"/>
                </a:cubicBezTo>
                <a:cubicBezTo>
                  <a:pt x="8194675" y="2857689"/>
                  <a:pt x="8242935" y="2860864"/>
                  <a:pt x="8244840" y="2829749"/>
                </a:cubicBezTo>
                <a:close/>
                <a:moveTo>
                  <a:pt x="8102600" y="2118549"/>
                </a:moveTo>
                <a:cubicBezTo>
                  <a:pt x="8107681" y="2098864"/>
                  <a:pt x="8077200" y="2091244"/>
                  <a:pt x="8072120" y="2110929"/>
                </a:cubicBezTo>
                <a:cubicBezTo>
                  <a:pt x="8067040" y="2130614"/>
                  <a:pt x="8097520" y="2138234"/>
                  <a:pt x="8102600" y="2118549"/>
                </a:cubicBezTo>
                <a:close/>
                <a:moveTo>
                  <a:pt x="8070215" y="2423349"/>
                </a:moveTo>
                <a:cubicBezTo>
                  <a:pt x="8045450" y="2416999"/>
                  <a:pt x="8035925" y="2456369"/>
                  <a:pt x="8060690" y="2461449"/>
                </a:cubicBezTo>
                <a:cubicBezTo>
                  <a:pt x="8085456" y="2468434"/>
                  <a:pt x="8094981" y="2429064"/>
                  <a:pt x="8070215" y="2423349"/>
                </a:cubicBezTo>
                <a:close/>
                <a:moveTo>
                  <a:pt x="8245475" y="2925634"/>
                </a:moveTo>
                <a:cubicBezTo>
                  <a:pt x="8211820" y="2924364"/>
                  <a:pt x="8211185" y="2977069"/>
                  <a:pt x="8244840" y="2976434"/>
                </a:cubicBezTo>
                <a:cubicBezTo>
                  <a:pt x="8277225" y="2977069"/>
                  <a:pt x="8277860" y="2926269"/>
                  <a:pt x="8245475" y="2925634"/>
                </a:cubicBezTo>
                <a:close/>
                <a:moveTo>
                  <a:pt x="8100695" y="2353499"/>
                </a:moveTo>
                <a:cubicBezTo>
                  <a:pt x="8123556" y="2359214"/>
                  <a:pt x="8132445" y="2323019"/>
                  <a:pt x="8108950" y="2317939"/>
                </a:cubicBezTo>
                <a:cubicBezTo>
                  <a:pt x="8086090" y="2312224"/>
                  <a:pt x="8077200" y="2348419"/>
                  <a:pt x="8100695" y="2353499"/>
                </a:cubicBezTo>
                <a:close/>
                <a:moveTo>
                  <a:pt x="8116570" y="2792919"/>
                </a:moveTo>
                <a:cubicBezTo>
                  <a:pt x="8083550" y="2787839"/>
                  <a:pt x="8079740" y="2841179"/>
                  <a:pt x="8113395" y="2840544"/>
                </a:cubicBezTo>
                <a:cubicBezTo>
                  <a:pt x="8141970" y="2841179"/>
                  <a:pt x="8145781" y="2796094"/>
                  <a:pt x="8116570" y="2792919"/>
                </a:cubicBezTo>
                <a:close/>
                <a:moveTo>
                  <a:pt x="8416290" y="2061399"/>
                </a:moveTo>
                <a:cubicBezTo>
                  <a:pt x="8397240" y="2058859"/>
                  <a:pt x="8395335" y="2089974"/>
                  <a:pt x="8414385" y="2089338"/>
                </a:cubicBezTo>
                <a:cubicBezTo>
                  <a:pt x="8432165" y="2089974"/>
                  <a:pt x="8434070" y="2062669"/>
                  <a:pt x="8416290" y="2061399"/>
                </a:cubicBezTo>
                <a:close/>
                <a:moveTo>
                  <a:pt x="8382000" y="2256344"/>
                </a:moveTo>
                <a:cubicBezTo>
                  <a:pt x="8360410" y="2253804"/>
                  <a:pt x="8356600" y="2288094"/>
                  <a:pt x="8378190" y="2289999"/>
                </a:cubicBezTo>
                <a:cubicBezTo>
                  <a:pt x="8399780" y="2292539"/>
                  <a:pt x="8403590" y="2258249"/>
                  <a:pt x="8382000" y="2256344"/>
                </a:cubicBezTo>
                <a:close/>
                <a:moveTo>
                  <a:pt x="8462010" y="2825304"/>
                </a:moveTo>
                <a:cubicBezTo>
                  <a:pt x="8460105" y="2794189"/>
                  <a:pt x="8411210" y="2797999"/>
                  <a:pt x="8414385" y="2829114"/>
                </a:cubicBezTo>
                <a:cubicBezTo>
                  <a:pt x="8416290" y="2860229"/>
                  <a:pt x="8464550" y="2856419"/>
                  <a:pt x="8462010" y="2825304"/>
                </a:cubicBezTo>
                <a:close/>
                <a:moveTo>
                  <a:pt x="8357870" y="2924364"/>
                </a:moveTo>
                <a:cubicBezTo>
                  <a:pt x="8324850" y="2925634"/>
                  <a:pt x="8327390" y="2977069"/>
                  <a:pt x="8360410" y="2975164"/>
                </a:cubicBezTo>
                <a:cubicBezTo>
                  <a:pt x="8393430" y="2973894"/>
                  <a:pt x="8390890" y="2921823"/>
                  <a:pt x="8357870" y="2924364"/>
                </a:cubicBezTo>
                <a:close/>
                <a:moveTo>
                  <a:pt x="8448675" y="2602419"/>
                </a:moveTo>
                <a:cubicBezTo>
                  <a:pt x="8449310" y="2575114"/>
                  <a:pt x="8406130" y="2575114"/>
                  <a:pt x="8406130" y="2602419"/>
                </a:cubicBezTo>
                <a:cubicBezTo>
                  <a:pt x="8406130" y="2629724"/>
                  <a:pt x="8449310" y="2629724"/>
                  <a:pt x="8448675" y="2602419"/>
                </a:cubicBezTo>
                <a:close/>
                <a:moveTo>
                  <a:pt x="8256906" y="2688144"/>
                </a:moveTo>
                <a:cubicBezTo>
                  <a:pt x="8227695" y="2685604"/>
                  <a:pt x="8224520" y="2731324"/>
                  <a:pt x="8253731" y="2733229"/>
                </a:cubicBezTo>
                <a:cubicBezTo>
                  <a:pt x="8282940" y="2736404"/>
                  <a:pt x="8286115" y="2690049"/>
                  <a:pt x="8256906" y="2688144"/>
                </a:cubicBezTo>
                <a:close/>
                <a:moveTo>
                  <a:pt x="8353425" y="2831654"/>
                </a:moveTo>
                <a:cubicBezTo>
                  <a:pt x="8342631" y="2769424"/>
                  <a:pt x="8267700" y="2844989"/>
                  <a:pt x="8329295" y="2855784"/>
                </a:cubicBezTo>
                <a:cubicBezTo>
                  <a:pt x="8342631" y="2855784"/>
                  <a:pt x="8353425" y="2844989"/>
                  <a:pt x="8353425" y="2831654"/>
                </a:cubicBezTo>
                <a:close/>
                <a:moveTo>
                  <a:pt x="8276590" y="2349689"/>
                </a:moveTo>
                <a:cubicBezTo>
                  <a:pt x="8253095" y="2345879"/>
                  <a:pt x="8247381" y="2382709"/>
                  <a:pt x="8271510" y="2385884"/>
                </a:cubicBezTo>
                <a:cubicBezTo>
                  <a:pt x="8295006" y="2389694"/>
                  <a:pt x="8300085" y="2352864"/>
                  <a:pt x="8276590" y="2349689"/>
                </a:cubicBezTo>
                <a:close/>
                <a:moveTo>
                  <a:pt x="8317231" y="2265234"/>
                </a:moveTo>
                <a:cubicBezTo>
                  <a:pt x="8321040" y="2243644"/>
                  <a:pt x="8286750" y="2238564"/>
                  <a:pt x="8283575" y="2260154"/>
                </a:cubicBezTo>
                <a:cubicBezTo>
                  <a:pt x="8279765" y="2281744"/>
                  <a:pt x="8314056" y="2286824"/>
                  <a:pt x="8317231" y="2265234"/>
                </a:cubicBezTo>
                <a:close/>
                <a:moveTo>
                  <a:pt x="7112000" y="2468434"/>
                </a:moveTo>
                <a:cubicBezTo>
                  <a:pt x="7085965" y="2448749"/>
                  <a:pt x="7054850" y="2490024"/>
                  <a:pt x="7081520" y="2509074"/>
                </a:cubicBezTo>
                <a:cubicBezTo>
                  <a:pt x="7108190" y="2529394"/>
                  <a:pt x="7139306" y="2488119"/>
                  <a:pt x="7112000" y="2468434"/>
                </a:cubicBezTo>
                <a:close/>
                <a:moveTo>
                  <a:pt x="5510530" y="998409"/>
                </a:moveTo>
                <a:cubicBezTo>
                  <a:pt x="5492750" y="993963"/>
                  <a:pt x="5486400" y="1021904"/>
                  <a:pt x="5504180" y="1025713"/>
                </a:cubicBezTo>
                <a:cubicBezTo>
                  <a:pt x="5521960" y="1030794"/>
                  <a:pt x="5528945" y="1002219"/>
                  <a:pt x="5510530" y="998409"/>
                </a:cubicBezTo>
                <a:close/>
                <a:moveTo>
                  <a:pt x="5577840" y="1014919"/>
                </a:moveTo>
                <a:cubicBezTo>
                  <a:pt x="5560060" y="1010474"/>
                  <a:pt x="5553075" y="1037779"/>
                  <a:pt x="5570855" y="1042224"/>
                </a:cubicBezTo>
                <a:cubicBezTo>
                  <a:pt x="5588635" y="1047304"/>
                  <a:pt x="5596255" y="1019363"/>
                  <a:pt x="5577840" y="1014919"/>
                </a:cubicBezTo>
                <a:close/>
                <a:moveTo>
                  <a:pt x="5559425" y="1069529"/>
                </a:moveTo>
                <a:cubicBezTo>
                  <a:pt x="5543550" y="1065719"/>
                  <a:pt x="5537835" y="1091119"/>
                  <a:pt x="5553710" y="1094294"/>
                </a:cubicBezTo>
                <a:cubicBezTo>
                  <a:pt x="5570220" y="1098104"/>
                  <a:pt x="5575935" y="1072704"/>
                  <a:pt x="5559425" y="1069529"/>
                </a:cubicBezTo>
                <a:close/>
                <a:moveTo>
                  <a:pt x="5616575" y="895538"/>
                </a:moveTo>
                <a:cubicBezTo>
                  <a:pt x="5626100" y="879663"/>
                  <a:pt x="5608320" y="860613"/>
                  <a:pt x="5591810" y="867599"/>
                </a:cubicBezTo>
                <a:cubicBezTo>
                  <a:pt x="5593080" y="835213"/>
                  <a:pt x="5541010" y="842199"/>
                  <a:pt x="5550535" y="872679"/>
                </a:cubicBezTo>
                <a:cubicBezTo>
                  <a:pt x="5493385" y="861884"/>
                  <a:pt x="5528310" y="953324"/>
                  <a:pt x="5563870" y="907604"/>
                </a:cubicBezTo>
                <a:cubicBezTo>
                  <a:pt x="5565140" y="908874"/>
                  <a:pt x="5567045" y="910144"/>
                  <a:pt x="5569585" y="910144"/>
                </a:cubicBezTo>
                <a:cubicBezTo>
                  <a:pt x="5556885" y="911413"/>
                  <a:pt x="5549900" y="928559"/>
                  <a:pt x="5558790" y="937449"/>
                </a:cubicBezTo>
                <a:cubicBezTo>
                  <a:pt x="5516880" y="932369"/>
                  <a:pt x="5525135" y="1001584"/>
                  <a:pt x="5565140" y="985709"/>
                </a:cubicBezTo>
                <a:cubicBezTo>
                  <a:pt x="5583555" y="1002219"/>
                  <a:pt x="5603875" y="967929"/>
                  <a:pt x="5580380" y="959674"/>
                </a:cubicBezTo>
                <a:cubicBezTo>
                  <a:pt x="5579745" y="953959"/>
                  <a:pt x="5577205" y="947609"/>
                  <a:pt x="5572125" y="943163"/>
                </a:cubicBezTo>
                <a:cubicBezTo>
                  <a:pt x="5589905" y="943163"/>
                  <a:pt x="5594985" y="916494"/>
                  <a:pt x="5577840" y="910144"/>
                </a:cubicBezTo>
                <a:cubicBezTo>
                  <a:pt x="5583555" y="908874"/>
                  <a:pt x="5588635" y="906969"/>
                  <a:pt x="5593080" y="903159"/>
                </a:cubicBezTo>
                <a:cubicBezTo>
                  <a:pt x="5601335" y="907604"/>
                  <a:pt x="5612130" y="903794"/>
                  <a:pt x="5616575" y="895538"/>
                </a:cubicBezTo>
                <a:close/>
                <a:moveTo>
                  <a:pt x="5490210" y="916494"/>
                </a:moveTo>
                <a:cubicBezTo>
                  <a:pt x="5512435" y="924113"/>
                  <a:pt x="5521960" y="887919"/>
                  <a:pt x="5498465" y="884109"/>
                </a:cubicBezTo>
                <a:cubicBezTo>
                  <a:pt x="5498465" y="881569"/>
                  <a:pt x="5498465" y="879663"/>
                  <a:pt x="5497830" y="877124"/>
                </a:cubicBezTo>
                <a:cubicBezTo>
                  <a:pt x="5505450" y="876488"/>
                  <a:pt x="5513070" y="870138"/>
                  <a:pt x="5513705" y="861884"/>
                </a:cubicBezTo>
                <a:cubicBezTo>
                  <a:pt x="5535295" y="867599"/>
                  <a:pt x="5547360" y="834579"/>
                  <a:pt x="5527040" y="825054"/>
                </a:cubicBezTo>
                <a:cubicBezTo>
                  <a:pt x="5523865" y="823149"/>
                  <a:pt x="5520055" y="822513"/>
                  <a:pt x="5516880" y="823149"/>
                </a:cubicBezTo>
                <a:cubicBezTo>
                  <a:pt x="5516245" y="817434"/>
                  <a:pt x="5513070" y="812354"/>
                  <a:pt x="5507990" y="808544"/>
                </a:cubicBezTo>
                <a:cubicBezTo>
                  <a:pt x="5503545" y="792034"/>
                  <a:pt x="5478780" y="788859"/>
                  <a:pt x="5469890" y="804099"/>
                </a:cubicBezTo>
                <a:cubicBezTo>
                  <a:pt x="5465445" y="802194"/>
                  <a:pt x="5460365" y="801559"/>
                  <a:pt x="5455285" y="802194"/>
                </a:cubicBezTo>
                <a:cubicBezTo>
                  <a:pt x="5455285" y="771079"/>
                  <a:pt x="5405755" y="780604"/>
                  <a:pt x="5417185" y="809179"/>
                </a:cubicBezTo>
                <a:cubicBezTo>
                  <a:pt x="5415915" y="809179"/>
                  <a:pt x="5415280" y="809179"/>
                  <a:pt x="5414010" y="809179"/>
                </a:cubicBezTo>
                <a:cubicBezTo>
                  <a:pt x="5415280" y="802194"/>
                  <a:pt x="5413375" y="795209"/>
                  <a:pt x="5408930" y="789494"/>
                </a:cubicBezTo>
                <a:cubicBezTo>
                  <a:pt x="5448300" y="787588"/>
                  <a:pt x="5431155" y="730438"/>
                  <a:pt x="5396230" y="746313"/>
                </a:cubicBezTo>
                <a:cubicBezTo>
                  <a:pt x="5388610" y="730438"/>
                  <a:pt x="5364480" y="729169"/>
                  <a:pt x="5355590" y="744409"/>
                </a:cubicBezTo>
                <a:cubicBezTo>
                  <a:pt x="5318125" y="740599"/>
                  <a:pt x="5334000" y="800924"/>
                  <a:pt x="5365115" y="779334"/>
                </a:cubicBezTo>
                <a:cubicBezTo>
                  <a:pt x="5372100" y="783144"/>
                  <a:pt x="5380355" y="782509"/>
                  <a:pt x="5387340" y="778699"/>
                </a:cubicBezTo>
                <a:cubicBezTo>
                  <a:pt x="5387975" y="779334"/>
                  <a:pt x="5387975" y="779969"/>
                  <a:pt x="5388610" y="780604"/>
                </a:cubicBezTo>
                <a:cubicBezTo>
                  <a:pt x="5351145" y="781874"/>
                  <a:pt x="5361940" y="842199"/>
                  <a:pt x="5397500" y="830134"/>
                </a:cubicBezTo>
                <a:cubicBezTo>
                  <a:pt x="5400040" y="856804"/>
                  <a:pt x="5441950" y="847913"/>
                  <a:pt x="5433060" y="821879"/>
                </a:cubicBezTo>
                <a:cubicBezTo>
                  <a:pt x="5434330" y="821879"/>
                  <a:pt x="5435600" y="822513"/>
                  <a:pt x="5436870" y="821879"/>
                </a:cubicBezTo>
                <a:cubicBezTo>
                  <a:pt x="5431790" y="844104"/>
                  <a:pt x="5462905" y="859979"/>
                  <a:pt x="5478145" y="842199"/>
                </a:cubicBezTo>
                <a:cubicBezTo>
                  <a:pt x="5479415" y="844104"/>
                  <a:pt x="5481320" y="845374"/>
                  <a:pt x="5483860" y="846644"/>
                </a:cubicBezTo>
                <a:cubicBezTo>
                  <a:pt x="5480685" y="849819"/>
                  <a:pt x="5478145" y="854263"/>
                  <a:pt x="5478145" y="859344"/>
                </a:cubicBezTo>
                <a:cubicBezTo>
                  <a:pt x="5454650" y="854263"/>
                  <a:pt x="5437505" y="886013"/>
                  <a:pt x="5455920" y="902524"/>
                </a:cubicBezTo>
                <a:lnTo>
                  <a:pt x="5455920" y="902524"/>
                </a:lnTo>
                <a:cubicBezTo>
                  <a:pt x="5462905" y="908874"/>
                  <a:pt x="5471795" y="911413"/>
                  <a:pt x="5480685" y="908874"/>
                </a:cubicBezTo>
                <a:cubicBezTo>
                  <a:pt x="5481955" y="911413"/>
                  <a:pt x="5485765" y="915224"/>
                  <a:pt x="5490210" y="916494"/>
                </a:cubicBezTo>
                <a:close/>
                <a:moveTo>
                  <a:pt x="5497195" y="1055559"/>
                </a:moveTo>
                <a:cubicBezTo>
                  <a:pt x="5481320" y="1051749"/>
                  <a:pt x="5475605" y="1077149"/>
                  <a:pt x="5492115" y="1080324"/>
                </a:cubicBezTo>
                <a:cubicBezTo>
                  <a:pt x="5507990" y="1084769"/>
                  <a:pt x="5513705" y="1059369"/>
                  <a:pt x="5497195" y="1055559"/>
                </a:cubicBezTo>
                <a:close/>
                <a:moveTo>
                  <a:pt x="5621655" y="1083499"/>
                </a:moveTo>
                <a:cubicBezTo>
                  <a:pt x="5605780" y="1079688"/>
                  <a:pt x="5600065" y="1104454"/>
                  <a:pt x="5615940" y="1108263"/>
                </a:cubicBezTo>
                <a:lnTo>
                  <a:pt x="5615940" y="1108263"/>
                </a:lnTo>
                <a:cubicBezTo>
                  <a:pt x="5631815" y="1112074"/>
                  <a:pt x="5637530" y="1086674"/>
                  <a:pt x="5621655" y="1083499"/>
                </a:cubicBezTo>
                <a:close/>
                <a:moveTo>
                  <a:pt x="5434965" y="1042859"/>
                </a:moveTo>
                <a:cubicBezTo>
                  <a:pt x="5419090" y="1039684"/>
                  <a:pt x="5414010" y="1064449"/>
                  <a:pt x="5429885" y="1067624"/>
                </a:cubicBezTo>
                <a:cubicBezTo>
                  <a:pt x="5445760" y="1071434"/>
                  <a:pt x="5451475" y="1046034"/>
                  <a:pt x="5434965" y="1042859"/>
                </a:cubicBezTo>
                <a:close/>
                <a:moveTo>
                  <a:pt x="5507990" y="939354"/>
                </a:moveTo>
                <a:cubicBezTo>
                  <a:pt x="5488940" y="933638"/>
                  <a:pt x="5480050" y="964119"/>
                  <a:pt x="5499735" y="969199"/>
                </a:cubicBezTo>
                <a:cubicBezTo>
                  <a:pt x="5518785" y="974913"/>
                  <a:pt x="5527040" y="944434"/>
                  <a:pt x="5507990" y="939354"/>
                </a:cubicBezTo>
                <a:close/>
                <a:moveTo>
                  <a:pt x="5443220" y="982534"/>
                </a:moveTo>
                <a:cubicBezTo>
                  <a:pt x="5425440" y="978088"/>
                  <a:pt x="5419090" y="1006029"/>
                  <a:pt x="5436870" y="1009838"/>
                </a:cubicBezTo>
                <a:cubicBezTo>
                  <a:pt x="5454650" y="1014919"/>
                  <a:pt x="5461635" y="986344"/>
                  <a:pt x="5443220" y="982534"/>
                </a:cubicBezTo>
                <a:close/>
                <a:moveTo>
                  <a:pt x="5952490" y="1288604"/>
                </a:moveTo>
                <a:cubicBezTo>
                  <a:pt x="5974715" y="1267013"/>
                  <a:pt x="5940425" y="1232088"/>
                  <a:pt x="5918835" y="1254313"/>
                </a:cubicBezTo>
                <a:cubicBezTo>
                  <a:pt x="5895975" y="1275904"/>
                  <a:pt x="5930265" y="1310829"/>
                  <a:pt x="5952490" y="1288604"/>
                </a:cubicBezTo>
                <a:close/>
                <a:moveTo>
                  <a:pt x="5852160" y="1276538"/>
                </a:moveTo>
                <a:cubicBezTo>
                  <a:pt x="5827395" y="1298129"/>
                  <a:pt x="5862320" y="1336863"/>
                  <a:pt x="5886450" y="1314004"/>
                </a:cubicBezTo>
                <a:cubicBezTo>
                  <a:pt x="5911215" y="1292413"/>
                  <a:pt x="5875655" y="1254313"/>
                  <a:pt x="5852160" y="1276538"/>
                </a:cubicBezTo>
                <a:close/>
                <a:moveTo>
                  <a:pt x="5909945" y="1139379"/>
                </a:moveTo>
                <a:cubicBezTo>
                  <a:pt x="5942965" y="1121599"/>
                  <a:pt x="5885815" y="1093659"/>
                  <a:pt x="5892165" y="1130488"/>
                </a:cubicBezTo>
                <a:cubicBezTo>
                  <a:pt x="5882640" y="1129854"/>
                  <a:pt x="5872480" y="1137474"/>
                  <a:pt x="5870575" y="1146999"/>
                </a:cubicBezTo>
                <a:cubicBezTo>
                  <a:pt x="5855970" y="1139379"/>
                  <a:pt x="5844540" y="1162874"/>
                  <a:pt x="5859145" y="1169859"/>
                </a:cubicBezTo>
                <a:cubicBezTo>
                  <a:pt x="5770245" y="1215579"/>
                  <a:pt x="5937250" y="1240979"/>
                  <a:pt x="5865495" y="1171129"/>
                </a:cubicBezTo>
                <a:cubicBezTo>
                  <a:pt x="5868670" y="1171129"/>
                  <a:pt x="5871845" y="1169224"/>
                  <a:pt x="5873750" y="1166684"/>
                </a:cubicBezTo>
                <a:cubicBezTo>
                  <a:pt x="5892165" y="1190813"/>
                  <a:pt x="5928360" y="1162238"/>
                  <a:pt x="5909945" y="1139379"/>
                </a:cubicBezTo>
                <a:close/>
                <a:moveTo>
                  <a:pt x="5928995" y="1360994"/>
                </a:moveTo>
                <a:cubicBezTo>
                  <a:pt x="5904230" y="1382584"/>
                  <a:pt x="5939155" y="1421319"/>
                  <a:pt x="5963285" y="1398459"/>
                </a:cubicBezTo>
                <a:cubicBezTo>
                  <a:pt x="5988050" y="1376869"/>
                  <a:pt x="5953125" y="1338134"/>
                  <a:pt x="5928995" y="1360994"/>
                </a:cubicBezTo>
                <a:close/>
                <a:moveTo>
                  <a:pt x="5617845" y="1026349"/>
                </a:moveTo>
                <a:cubicBezTo>
                  <a:pt x="5593715" y="1048574"/>
                  <a:pt x="5629910" y="1086038"/>
                  <a:pt x="5653405" y="1063179"/>
                </a:cubicBezTo>
                <a:cubicBezTo>
                  <a:pt x="5676900" y="1040319"/>
                  <a:pt x="5640705" y="1002854"/>
                  <a:pt x="5617845" y="1026349"/>
                </a:cubicBezTo>
                <a:close/>
                <a:moveTo>
                  <a:pt x="5651500" y="982534"/>
                </a:moveTo>
                <a:cubicBezTo>
                  <a:pt x="5648960" y="981899"/>
                  <a:pt x="5646420" y="981899"/>
                  <a:pt x="5643245" y="981899"/>
                </a:cubicBezTo>
                <a:cubicBezTo>
                  <a:pt x="5645150" y="978724"/>
                  <a:pt x="5647055" y="975549"/>
                  <a:pt x="5647690" y="972374"/>
                </a:cubicBezTo>
                <a:cubicBezTo>
                  <a:pt x="5648325" y="972374"/>
                  <a:pt x="5648960" y="972374"/>
                  <a:pt x="5649595" y="972374"/>
                </a:cubicBezTo>
                <a:cubicBezTo>
                  <a:pt x="5663565" y="979359"/>
                  <a:pt x="5681980" y="966659"/>
                  <a:pt x="5680710" y="950784"/>
                </a:cubicBezTo>
                <a:cubicBezTo>
                  <a:pt x="5709920" y="948244"/>
                  <a:pt x="5699125" y="901888"/>
                  <a:pt x="5671820" y="913319"/>
                </a:cubicBezTo>
                <a:cubicBezTo>
                  <a:pt x="5655310" y="880299"/>
                  <a:pt x="5614035" y="915224"/>
                  <a:pt x="5638800" y="940624"/>
                </a:cubicBezTo>
                <a:cubicBezTo>
                  <a:pt x="5638800" y="940624"/>
                  <a:pt x="5638165" y="941259"/>
                  <a:pt x="5638165" y="941259"/>
                </a:cubicBezTo>
                <a:cubicBezTo>
                  <a:pt x="5636260" y="942529"/>
                  <a:pt x="5634355" y="943799"/>
                  <a:pt x="5633085" y="945704"/>
                </a:cubicBezTo>
                <a:cubicBezTo>
                  <a:pt x="5591175" y="931099"/>
                  <a:pt x="5590540" y="1004124"/>
                  <a:pt x="5633085" y="990154"/>
                </a:cubicBezTo>
                <a:cubicBezTo>
                  <a:pt x="5621020" y="1032063"/>
                  <a:pt x="5689600" y="1004124"/>
                  <a:pt x="5651500" y="982534"/>
                </a:cubicBezTo>
                <a:close/>
                <a:moveTo>
                  <a:pt x="5745480" y="1113979"/>
                </a:moveTo>
                <a:cubicBezTo>
                  <a:pt x="5742305" y="1113344"/>
                  <a:pt x="5739130" y="1113979"/>
                  <a:pt x="5735955" y="1115249"/>
                </a:cubicBezTo>
                <a:cubicBezTo>
                  <a:pt x="5727700" y="1098738"/>
                  <a:pt x="5702935" y="1098104"/>
                  <a:pt x="5692775" y="1113344"/>
                </a:cubicBezTo>
                <a:cubicBezTo>
                  <a:pt x="5682615" y="1065084"/>
                  <a:pt x="5645150" y="1140649"/>
                  <a:pt x="5689600" y="1119059"/>
                </a:cubicBezTo>
                <a:cubicBezTo>
                  <a:pt x="5678805" y="1148269"/>
                  <a:pt x="5724525" y="1167319"/>
                  <a:pt x="5736590" y="1137474"/>
                </a:cubicBezTo>
                <a:cubicBezTo>
                  <a:pt x="5753100" y="1145094"/>
                  <a:pt x="5762625" y="1117788"/>
                  <a:pt x="5745480" y="1113979"/>
                </a:cubicBezTo>
                <a:close/>
                <a:moveTo>
                  <a:pt x="5982970" y="1206688"/>
                </a:moveTo>
                <a:cubicBezTo>
                  <a:pt x="5982335" y="1206054"/>
                  <a:pt x="5981700" y="1206054"/>
                  <a:pt x="5981065" y="1205419"/>
                </a:cubicBezTo>
                <a:cubicBezTo>
                  <a:pt x="6033770" y="1203513"/>
                  <a:pt x="5959475" y="1153984"/>
                  <a:pt x="5977890" y="1203513"/>
                </a:cubicBezTo>
                <a:cubicBezTo>
                  <a:pt x="5883275" y="1202879"/>
                  <a:pt x="6014720" y="1296859"/>
                  <a:pt x="5982970" y="1206688"/>
                </a:cubicBezTo>
                <a:close/>
                <a:moveTo>
                  <a:pt x="5774690" y="1192719"/>
                </a:moveTo>
                <a:cubicBezTo>
                  <a:pt x="5749925" y="1214944"/>
                  <a:pt x="5785485" y="1252409"/>
                  <a:pt x="5808980" y="1230184"/>
                </a:cubicBezTo>
                <a:cubicBezTo>
                  <a:pt x="5833110" y="1207959"/>
                  <a:pt x="5798185" y="1169859"/>
                  <a:pt x="5774690" y="1192719"/>
                </a:cubicBezTo>
                <a:close/>
                <a:moveTo>
                  <a:pt x="5837555" y="1090484"/>
                </a:moveTo>
                <a:cubicBezTo>
                  <a:pt x="5835015" y="1030159"/>
                  <a:pt x="5784215" y="1075879"/>
                  <a:pt x="5795010" y="1096834"/>
                </a:cubicBezTo>
                <a:cubicBezTo>
                  <a:pt x="5791835" y="1094929"/>
                  <a:pt x="5788660" y="1093659"/>
                  <a:pt x="5784850" y="1093659"/>
                </a:cubicBezTo>
                <a:cubicBezTo>
                  <a:pt x="5805170" y="1056194"/>
                  <a:pt x="5734050" y="1072704"/>
                  <a:pt x="5769610" y="1097469"/>
                </a:cubicBezTo>
                <a:cubicBezTo>
                  <a:pt x="5745480" y="1112709"/>
                  <a:pt x="5765800" y="1150809"/>
                  <a:pt x="5791835" y="1140013"/>
                </a:cubicBezTo>
                <a:cubicBezTo>
                  <a:pt x="5792470" y="1177479"/>
                  <a:pt x="5840095" y="1135569"/>
                  <a:pt x="5803265" y="1129854"/>
                </a:cubicBezTo>
                <a:cubicBezTo>
                  <a:pt x="5808980" y="1121599"/>
                  <a:pt x="5807075" y="1110804"/>
                  <a:pt x="5801360" y="1103184"/>
                </a:cubicBezTo>
                <a:cubicBezTo>
                  <a:pt x="5806440" y="1105724"/>
                  <a:pt x="5814695" y="1106359"/>
                  <a:pt x="5826125" y="1105088"/>
                </a:cubicBezTo>
                <a:cubicBezTo>
                  <a:pt x="5826125" y="1112709"/>
                  <a:pt x="5832475" y="1119694"/>
                  <a:pt x="5840095" y="1119059"/>
                </a:cubicBezTo>
                <a:cubicBezTo>
                  <a:pt x="5859780" y="1119059"/>
                  <a:pt x="5857240" y="1086674"/>
                  <a:pt x="5837555" y="1090484"/>
                </a:cubicBezTo>
                <a:close/>
                <a:moveTo>
                  <a:pt x="5197475" y="882204"/>
                </a:moveTo>
                <a:cubicBezTo>
                  <a:pt x="5193030" y="901888"/>
                  <a:pt x="5224145" y="908238"/>
                  <a:pt x="5227955" y="887919"/>
                </a:cubicBezTo>
                <a:cubicBezTo>
                  <a:pt x="5231765" y="868234"/>
                  <a:pt x="5200650" y="862519"/>
                  <a:pt x="5197475" y="882204"/>
                </a:cubicBezTo>
                <a:close/>
                <a:moveTo>
                  <a:pt x="5239385" y="941894"/>
                </a:moveTo>
                <a:cubicBezTo>
                  <a:pt x="5219700" y="938084"/>
                  <a:pt x="5217160" y="969834"/>
                  <a:pt x="5236845" y="969834"/>
                </a:cubicBezTo>
                <a:cubicBezTo>
                  <a:pt x="5253990" y="970469"/>
                  <a:pt x="5256530" y="945069"/>
                  <a:pt x="5239385" y="941894"/>
                </a:cubicBezTo>
                <a:close/>
                <a:moveTo>
                  <a:pt x="5247005" y="1008569"/>
                </a:moveTo>
                <a:cubicBezTo>
                  <a:pt x="5230495" y="1005394"/>
                  <a:pt x="5226685" y="1031429"/>
                  <a:pt x="5242560" y="1033334"/>
                </a:cubicBezTo>
                <a:cubicBezTo>
                  <a:pt x="5259070" y="1036509"/>
                  <a:pt x="5263515" y="1011109"/>
                  <a:pt x="5247005" y="1008569"/>
                </a:cubicBezTo>
                <a:close/>
                <a:moveTo>
                  <a:pt x="5184775" y="998409"/>
                </a:moveTo>
                <a:cubicBezTo>
                  <a:pt x="5168265" y="995869"/>
                  <a:pt x="5164455" y="1021269"/>
                  <a:pt x="5180965" y="1023809"/>
                </a:cubicBezTo>
                <a:cubicBezTo>
                  <a:pt x="5196840" y="1026349"/>
                  <a:pt x="5200650" y="1000949"/>
                  <a:pt x="5184775" y="998409"/>
                </a:cubicBezTo>
                <a:close/>
                <a:moveTo>
                  <a:pt x="5182870" y="946974"/>
                </a:moveTo>
                <a:cubicBezTo>
                  <a:pt x="5186045" y="929194"/>
                  <a:pt x="5157470" y="924113"/>
                  <a:pt x="5154930" y="942529"/>
                </a:cubicBezTo>
                <a:cubicBezTo>
                  <a:pt x="5151755" y="960309"/>
                  <a:pt x="5180330" y="965388"/>
                  <a:pt x="5182870" y="946974"/>
                </a:cubicBezTo>
                <a:close/>
                <a:moveTo>
                  <a:pt x="5114925" y="936179"/>
                </a:moveTo>
                <a:cubicBezTo>
                  <a:pt x="5117465" y="918399"/>
                  <a:pt x="5089525" y="913954"/>
                  <a:pt x="5086985" y="932369"/>
                </a:cubicBezTo>
                <a:cubicBezTo>
                  <a:pt x="5083810" y="950149"/>
                  <a:pt x="5112385" y="954594"/>
                  <a:pt x="5114925" y="936179"/>
                </a:cubicBezTo>
                <a:close/>
                <a:moveTo>
                  <a:pt x="5121275" y="989519"/>
                </a:moveTo>
                <a:cubicBezTo>
                  <a:pt x="5104765" y="986979"/>
                  <a:pt x="5101590" y="1012379"/>
                  <a:pt x="5117465" y="1014919"/>
                </a:cubicBezTo>
                <a:cubicBezTo>
                  <a:pt x="5133975" y="1016824"/>
                  <a:pt x="5137785" y="991424"/>
                  <a:pt x="5121275" y="989519"/>
                </a:cubicBezTo>
                <a:close/>
                <a:moveTo>
                  <a:pt x="5141595" y="856169"/>
                </a:moveTo>
                <a:cubicBezTo>
                  <a:pt x="5121910" y="852359"/>
                  <a:pt x="5116195" y="883474"/>
                  <a:pt x="5136515" y="886649"/>
                </a:cubicBezTo>
                <a:cubicBezTo>
                  <a:pt x="5156200" y="890459"/>
                  <a:pt x="5161915" y="859344"/>
                  <a:pt x="5141595" y="856169"/>
                </a:cubicBezTo>
                <a:close/>
                <a:moveTo>
                  <a:pt x="5280660" y="836484"/>
                </a:moveTo>
                <a:cubicBezTo>
                  <a:pt x="5286375" y="815529"/>
                  <a:pt x="5252720" y="806638"/>
                  <a:pt x="5247640" y="828229"/>
                </a:cubicBezTo>
                <a:cubicBezTo>
                  <a:pt x="5242560" y="849184"/>
                  <a:pt x="5275580" y="857438"/>
                  <a:pt x="5280660" y="836484"/>
                </a:cubicBezTo>
                <a:close/>
                <a:moveTo>
                  <a:pt x="5358765" y="857438"/>
                </a:moveTo>
                <a:cubicBezTo>
                  <a:pt x="5365115" y="836484"/>
                  <a:pt x="5332095" y="826959"/>
                  <a:pt x="5326380" y="848549"/>
                </a:cubicBezTo>
                <a:cubicBezTo>
                  <a:pt x="5319395" y="869504"/>
                  <a:pt x="5353050" y="878394"/>
                  <a:pt x="5358765" y="857438"/>
                </a:cubicBezTo>
                <a:close/>
                <a:moveTo>
                  <a:pt x="5374005" y="920304"/>
                </a:moveTo>
                <a:cubicBezTo>
                  <a:pt x="5379085" y="900619"/>
                  <a:pt x="5347970" y="893634"/>
                  <a:pt x="5343525" y="913319"/>
                </a:cubicBezTo>
                <a:cubicBezTo>
                  <a:pt x="5338445" y="932369"/>
                  <a:pt x="5369560" y="939988"/>
                  <a:pt x="5374005" y="920304"/>
                </a:cubicBezTo>
                <a:close/>
                <a:moveTo>
                  <a:pt x="5372735" y="1030794"/>
                </a:moveTo>
                <a:cubicBezTo>
                  <a:pt x="5356860" y="1027619"/>
                  <a:pt x="5351780" y="1053019"/>
                  <a:pt x="5368290" y="1055559"/>
                </a:cubicBezTo>
                <a:cubicBezTo>
                  <a:pt x="5384165" y="1059369"/>
                  <a:pt x="5388610" y="1033969"/>
                  <a:pt x="5372735" y="1030794"/>
                </a:cubicBezTo>
                <a:close/>
                <a:moveTo>
                  <a:pt x="5375910" y="967929"/>
                </a:moveTo>
                <a:cubicBezTo>
                  <a:pt x="5358130" y="964119"/>
                  <a:pt x="5352415" y="992059"/>
                  <a:pt x="5370195" y="995869"/>
                </a:cubicBezTo>
                <a:cubicBezTo>
                  <a:pt x="5387975" y="999679"/>
                  <a:pt x="5393690" y="971738"/>
                  <a:pt x="5375910" y="967929"/>
                </a:cubicBezTo>
                <a:close/>
                <a:moveTo>
                  <a:pt x="5435600" y="880934"/>
                </a:moveTo>
                <a:cubicBezTo>
                  <a:pt x="5438140" y="872044"/>
                  <a:pt x="5433695" y="862519"/>
                  <a:pt x="5424170" y="859979"/>
                </a:cubicBezTo>
                <a:cubicBezTo>
                  <a:pt x="5380355" y="853629"/>
                  <a:pt x="5415280" y="920304"/>
                  <a:pt x="5435600" y="880934"/>
                </a:cubicBezTo>
                <a:close/>
                <a:moveTo>
                  <a:pt x="5431155" y="950149"/>
                </a:moveTo>
                <a:cubicBezTo>
                  <a:pt x="5448935" y="950784"/>
                  <a:pt x="5452110" y="923479"/>
                  <a:pt x="5434965" y="919669"/>
                </a:cubicBezTo>
                <a:cubicBezTo>
                  <a:pt x="5413375" y="913954"/>
                  <a:pt x="5408295" y="950149"/>
                  <a:pt x="5431155" y="950149"/>
                </a:cubicBezTo>
                <a:close/>
                <a:moveTo>
                  <a:pt x="5300980" y="903159"/>
                </a:moveTo>
                <a:cubicBezTo>
                  <a:pt x="5305425" y="883474"/>
                  <a:pt x="5274310" y="877124"/>
                  <a:pt x="5270500" y="896809"/>
                </a:cubicBezTo>
                <a:cubicBezTo>
                  <a:pt x="5266055" y="916494"/>
                  <a:pt x="5297170" y="923479"/>
                  <a:pt x="5300980" y="903159"/>
                </a:cubicBezTo>
                <a:close/>
                <a:moveTo>
                  <a:pt x="5305425" y="982534"/>
                </a:moveTo>
                <a:cubicBezTo>
                  <a:pt x="5321935" y="983169"/>
                  <a:pt x="5324475" y="957134"/>
                  <a:pt x="5307965" y="954594"/>
                </a:cubicBezTo>
                <a:cubicBezTo>
                  <a:pt x="5288280" y="950784"/>
                  <a:pt x="5285105" y="982534"/>
                  <a:pt x="5305425" y="982534"/>
                </a:cubicBezTo>
                <a:close/>
                <a:moveTo>
                  <a:pt x="5341620" y="779969"/>
                </a:moveTo>
                <a:cubicBezTo>
                  <a:pt x="5315585" y="771079"/>
                  <a:pt x="5307330" y="815529"/>
                  <a:pt x="5335270" y="815529"/>
                </a:cubicBezTo>
                <a:cubicBezTo>
                  <a:pt x="5355590" y="816799"/>
                  <a:pt x="5360670" y="786319"/>
                  <a:pt x="5341620" y="779969"/>
                </a:cubicBezTo>
                <a:close/>
                <a:moveTo>
                  <a:pt x="6725285" y="2016313"/>
                </a:moveTo>
                <a:cubicBezTo>
                  <a:pt x="6702425" y="1995359"/>
                  <a:pt x="6670040" y="2031554"/>
                  <a:pt x="6693535" y="2051874"/>
                </a:cubicBezTo>
                <a:cubicBezTo>
                  <a:pt x="6716395" y="2073463"/>
                  <a:pt x="6748781" y="2036634"/>
                  <a:pt x="6725285" y="2016313"/>
                </a:cubicBezTo>
                <a:close/>
                <a:moveTo>
                  <a:pt x="6645275" y="1943288"/>
                </a:moveTo>
                <a:cubicBezTo>
                  <a:pt x="6622415" y="1921699"/>
                  <a:pt x="6589395" y="1957894"/>
                  <a:pt x="6612890" y="1978849"/>
                </a:cubicBezTo>
                <a:cubicBezTo>
                  <a:pt x="6635115" y="1999804"/>
                  <a:pt x="6668770" y="1964244"/>
                  <a:pt x="6645275" y="1943288"/>
                </a:cubicBezTo>
                <a:close/>
                <a:moveTo>
                  <a:pt x="6624956" y="1749613"/>
                </a:moveTo>
                <a:cubicBezTo>
                  <a:pt x="6644006" y="1750249"/>
                  <a:pt x="6653531" y="1724213"/>
                  <a:pt x="6638290" y="1712149"/>
                </a:cubicBezTo>
                <a:cubicBezTo>
                  <a:pt x="6608445" y="1689288"/>
                  <a:pt x="6586856" y="1748344"/>
                  <a:pt x="6624956" y="1749613"/>
                </a:cubicBezTo>
                <a:close/>
                <a:moveTo>
                  <a:pt x="6641465" y="2103309"/>
                </a:moveTo>
                <a:cubicBezTo>
                  <a:pt x="6631940" y="2113469"/>
                  <a:pt x="6632575" y="2129344"/>
                  <a:pt x="6642735" y="2139504"/>
                </a:cubicBezTo>
                <a:lnTo>
                  <a:pt x="6642735" y="2139504"/>
                </a:lnTo>
                <a:cubicBezTo>
                  <a:pt x="6698615" y="2175699"/>
                  <a:pt x="6694806" y="2063304"/>
                  <a:pt x="6641465" y="2103309"/>
                </a:cubicBezTo>
                <a:close/>
                <a:moveTo>
                  <a:pt x="6713856" y="1774379"/>
                </a:moveTo>
                <a:cubicBezTo>
                  <a:pt x="6713220" y="1774379"/>
                  <a:pt x="6713220" y="1774379"/>
                  <a:pt x="6713856" y="1774379"/>
                </a:cubicBezTo>
                <a:cubicBezTo>
                  <a:pt x="6683375" y="1751519"/>
                  <a:pt x="6662420" y="1810574"/>
                  <a:pt x="6700520" y="1811844"/>
                </a:cubicBezTo>
                <a:cubicBezTo>
                  <a:pt x="6718935" y="1813113"/>
                  <a:pt x="6729095" y="1786444"/>
                  <a:pt x="6713856" y="1774379"/>
                </a:cubicBezTo>
                <a:close/>
                <a:moveTo>
                  <a:pt x="6565900" y="1868994"/>
                </a:moveTo>
                <a:cubicBezTo>
                  <a:pt x="6543675" y="1847404"/>
                  <a:pt x="6510020" y="1882963"/>
                  <a:pt x="6532881" y="1903919"/>
                </a:cubicBezTo>
                <a:cubicBezTo>
                  <a:pt x="6555106" y="1925509"/>
                  <a:pt x="6588760" y="1889949"/>
                  <a:pt x="6565900" y="1868994"/>
                </a:cubicBezTo>
                <a:close/>
                <a:moveTo>
                  <a:pt x="6536690" y="1495613"/>
                </a:moveTo>
                <a:cubicBezTo>
                  <a:pt x="6551295" y="1476563"/>
                  <a:pt x="6520815" y="1454338"/>
                  <a:pt x="6506845" y="1474024"/>
                </a:cubicBezTo>
                <a:cubicBezTo>
                  <a:pt x="6492875" y="1493074"/>
                  <a:pt x="6523356" y="1515299"/>
                  <a:pt x="6536690" y="1495613"/>
                </a:cubicBezTo>
                <a:close/>
                <a:moveTo>
                  <a:pt x="7098665" y="2070924"/>
                </a:moveTo>
                <a:cubicBezTo>
                  <a:pt x="7067550" y="2050604"/>
                  <a:pt x="7049770" y="2107754"/>
                  <a:pt x="7086600" y="2109024"/>
                </a:cubicBezTo>
                <a:cubicBezTo>
                  <a:pt x="7106285" y="2110294"/>
                  <a:pt x="7115175" y="2082354"/>
                  <a:pt x="7098665" y="2070924"/>
                </a:cubicBezTo>
                <a:close/>
                <a:moveTo>
                  <a:pt x="6558915" y="2023934"/>
                </a:moveTo>
                <a:cubicBezTo>
                  <a:pt x="6535420" y="2047429"/>
                  <a:pt x="6572885" y="2082988"/>
                  <a:pt x="6595745" y="2059494"/>
                </a:cubicBezTo>
                <a:cubicBezTo>
                  <a:pt x="6618606" y="2035999"/>
                  <a:pt x="6581775" y="1999804"/>
                  <a:pt x="6558915" y="2023934"/>
                </a:cubicBezTo>
                <a:close/>
                <a:moveTo>
                  <a:pt x="6602731" y="1520379"/>
                </a:moveTo>
                <a:cubicBezTo>
                  <a:pt x="6583681" y="1506409"/>
                  <a:pt x="6562090" y="1536888"/>
                  <a:pt x="6581140" y="1550224"/>
                </a:cubicBezTo>
                <a:cubicBezTo>
                  <a:pt x="6600190" y="1564829"/>
                  <a:pt x="6622415" y="1534349"/>
                  <a:pt x="6602731" y="1520379"/>
                </a:cubicBezTo>
                <a:close/>
                <a:moveTo>
                  <a:pt x="6513831" y="1943288"/>
                </a:moveTo>
                <a:cubicBezTo>
                  <a:pt x="6490970" y="1919794"/>
                  <a:pt x="6454140" y="1956624"/>
                  <a:pt x="6478270" y="1979484"/>
                </a:cubicBezTo>
                <a:lnTo>
                  <a:pt x="6478270" y="1979484"/>
                </a:lnTo>
                <a:cubicBezTo>
                  <a:pt x="6500495" y="2002979"/>
                  <a:pt x="6537325" y="1966149"/>
                  <a:pt x="6513831" y="1943288"/>
                </a:cubicBezTo>
                <a:cubicBezTo>
                  <a:pt x="6513831" y="1943288"/>
                  <a:pt x="6513831" y="1943288"/>
                  <a:pt x="6513831" y="1943288"/>
                </a:cubicBezTo>
                <a:close/>
                <a:moveTo>
                  <a:pt x="7021831" y="2399854"/>
                </a:moveTo>
                <a:cubicBezTo>
                  <a:pt x="6996431" y="2378899"/>
                  <a:pt x="6964045" y="2419539"/>
                  <a:pt x="6990715" y="2439859"/>
                </a:cubicBezTo>
                <a:cubicBezTo>
                  <a:pt x="7016115" y="2460814"/>
                  <a:pt x="7047865" y="2419539"/>
                  <a:pt x="7021831" y="2399854"/>
                </a:cubicBezTo>
                <a:close/>
                <a:moveTo>
                  <a:pt x="6972935" y="2227134"/>
                </a:moveTo>
                <a:cubicBezTo>
                  <a:pt x="6948806" y="2207449"/>
                  <a:pt x="6918325" y="2245549"/>
                  <a:pt x="6943090" y="2264599"/>
                </a:cubicBezTo>
                <a:cubicBezTo>
                  <a:pt x="6967220" y="2284284"/>
                  <a:pt x="6997700" y="2246184"/>
                  <a:pt x="6972935" y="2227134"/>
                </a:cubicBezTo>
                <a:close/>
                <a:moveTo>
                  <a:pt x="7058025" y="2293174"/>
                </a:moveTo>
                <a:cubicBezTo>
                  <a:pt x="7033260" y="2274124"/>
                  <a:pt x="7004050" y="2312859"/>
                  <a:pt x="7028815" y="2331274"/>
                </a:cubicBezTo>
                <a:cubicBezTo>
                  <a:pt x="7053581" y="2350959"/>
                  <a:pt x="7083425" y="2312224"/>
                  <a:pt x="7058025" y="2293174"/>
                </a:cubicBezTo>
                <a:close/>
                <a:moveTo>
                  <a:pt x="6897370" y="2331909"/>
                </a:moveTo>
                <a:cubicBezTo>
                  <a:pt x="6875781" y="2356674"/>
                  <a:pt x="6915785" y="2389694"/>
                  <a:pt x="6936740" y="2364294"/>
                </a:cubicBezTo>
                <a:cubicBezTo>
                  <a:pt x="6958331" y="2338894"/>
                  <a:pt x="6918325" y="2305874"/>
                  <a:pt x="6897370" y="2331909"/>
                </a:cubicBezTo>
                <a:close/>
                <a:moveTo>
                  <a:pt x="6811010" y="2257614"/>
                </a:moveTo>
                <a:cubicBezTo>
                  <a:pt x="6802120" y="2268409"/>
                  <a:pt x="6802756" y="2284284"/>
                  <a:pt x="6813550" y="2293174"/>
                </a:cubicBezTo>
                <a:lnTo>
                  <a:pt x="6813550" y="2293174"/>
                </a:lnTo>
                <a:cubicBezTo>
                  <a:pt x="6870700" y="2327464"/>
                  <a:pt x="6862445" y="2215069"/>
                  <a:pt x="6811010" y="2257614"/>
                </a:cubicBezTo>
                <a:close/>
                <a:moveTo>
                  <a:pt x="6806565" y="2088069"/>
                </a:moveTo>
                <a:cubicBezTo>
                  <a:pt x="6783070" y="2067113"/>
                  <a:pt x="6751320" y="2103944"/>
                  <a:pt x="6775450" y="2124264"/>
                </a:cubicBezTo>
                <a:cubicBezTo>
                  <a:pt x="6798310" y="2145219"/>
                  <a:pt x="6830695" y="2108389"/>
                  <a:pt x="6806565" y="2088069"/>
                </a:cubicBezTo>
                <a:close/>
                <a:moveTo>
                  <a:pt x="6725285" y="2181414"/>
                </a:moveTo>
                <a:cubicBezTo>
                  <a:pt x="6703060" y="2205544"/>
                  <a:pt x="6741160" y="2240469"/>
                  <a:pt x="6762750" y="2215704"/>
                </a:cubicBezTo>
                <a:cubicBezTo>
                  <a:pt x="6785610" y="2190939"/>
                  <a:pt x="6747510" y="2156649"/>
                  <a:pt x="6725285" y="2181414"/>
                </a:cubicBezTo>
                <a:close/>
                <a:moveTo>
                  <a:pt x="6889115" y="2158554"/>
                </a:moveTo>
                <a:cubicBezTo>
                  <a:pt x="6865620" y="2138234"/>
                  <a:pt x="6834506" y="2175699"/>
                  <a:pt x="6858635" y="2195384"/>
                </a:cubicBezTo>
                <a:cubicBezTo>
                  <a:pt x="6882131" y="2215704"/>
                  <a:pt x="6913881" y="2178239"/>
                  <a:pt x="6889115" y="2158554"/>
                </a:cubicBezTo>
                <a:close/>
                <a:moveTo>
                  <a:pt x="6410325" y="1752154"/>
                </a:moveTo>
                <a:cubicBezTo>
                  <a:pt x="6432550" y="1730563"/>
                  <a:pt x="6397625" y="1695638"/>
                  <a:pt x="6376035" y="1718499"/>
                </a:cubicBezTo>
                <a:cubicBezTo>
                  <a:pt x="6354445" y="1740724"/>
                  <a:pt x="6389370" y="1775013"/>
                  <a:pt x="6410325" y="1752154"/>
                </a:cubicBezTo>
                <a:close/>
                <a:moveTo>
                  <a:pt x="6161405" y="1613724"/>
                </a:moveTo>
                <a:cubicBezTo>
                  <a:pt x="6137275" y="1635949"/>
                  <a:pt x="6172200" y="1673413"/>
                  <a:pt x="6196330" y="1650554"/>
                </a:cubicBezTo>
                <a:cubicBezTo>
                  <a:pt x="6220460" y="1628963"/>
                  <a:pt x="6184900" y="1590863"/>
                  <a:pt x="6161405" y="1613724"/>
                </a:cubicBezTo>
                <a:close/>
                <a:moveTo>
                  <a:pt x="6133465" y="1348294"/>
                </a:moveTo>
                <a:cubicBezTo>
                  <a:pt x="6112510" y="1327974"/>
                  <a:pt x="6080760" y="1360994"/>
                  <a:pt x="6102350" y="1381313"/>
                </a:cubicBezTo>
                <a:cubicBezTo>
                  <a:pt x="6122670" y="1401634"/>
                  <a:pt x="6155055" y="1367979"/>
                  <a:pt x="6133465" y="1348294"/>
                </a:cubicBezTo>
                <a:close/>
                <a:moveTo>
                  <a:pt x="6180455" y="1521649"/>
                </a:moveTo>
                <a:cubicBezTo>
                  <a:pt x="6202680" y="1500059"/>
                  <a:pt x="6169025" y="1465134"/>
                  <a:pt x="6146800" y="1487359"/>
                </a:cubicBezTo>
                <a:cubicBezTo>
                  <a:pt x="6124575" y="1508949"/>
                  <a:pt x="6158230" y="1543874"/>
                  <a:pt x="6180455" y="1521649"/>
                </a:cubicBezTo>
                <a:close/>
                <a:moveTo>
                  <a:pt x="6176010" y="1420049"/>
                </a:moveTo>
                <a:cubicBezTo>
                  <a:pt x="6167755" y="1428938"/>
                  <a:pt x="6167755" y="1443544"/>
                  <a:pt x="6176645" y="1451799"/>
                </a:cubicBezTo>
                <a:lnTo>
                  <a:pt x="6176645" y="1451799"/>
                </a:lnTo>
                <a:cubicBezTo>
                  <a:pt x="6226175" y="1484819"/>
                  <a:pt x="6223635" y="1385124"/>
                  <a:pt x="6176010" y="1420049"/>
                </a:cubicBezTo>
                <a:close/>
                <a:moveTo>
                  <a:pt x="6058535" y="1277174"/>
                </a:moveTo>
                <a:cubicBezTo>
                  <a:pt x="6037580" y="1256854"/>
                  <a:pt x="6005830" y="1289874"/>
                  <a:pt x="6027420" y="1310194"/>
                </a:cubicBezTo>
                <a:cubicBezTo>
                  <a:pt x="6048375" y="1330513"/>
                  <a:pt x="6080125" y="1297494"/>
                  <a:pt x="6058535" y="1277174"/>
                </a:cubicBezTo>
                <a:close/>
                <a:moveTo>
                  <a:pt x="6006465" y="1445449"/>
                </a:moveTo>
                <a:cubicBezTo>
                  <a:pt x="5981700" y="1467038"/>
                  <a:pt x="6016625" y="1505774"/>
                  <a:pt x="6040755" y="1482913"/>
                </a:cubicBezTo>
                <a:cubicBezTo>
                  <a:pt x="6065520" y="1461324"/>
                  <a:pt x="6030595" y="1422588"/>
                  <a:pt x="6006465" y="1445449"/>
                </a:cubicBezTo>
                <a:close/>
                <a:moveTo>
                  <a:pt x="6256655" y="1599119"/>
                </a:moveTo>
                <a:cubicBezTo>
                  <a:pt x="6278880" y="1577529"/>
                  <a:pt x="6244590" y="1542604"/>
                  <a:pt x="6223000" y="1564829"/>
                </a:cubicBezTo>
                <a:cubicBezTo>
                  <a:pt x="6200775" y="1586419"/>
                  <a:pt x="6235065" y="1621344"/>
                  <a:pt x="6256655" y="1599119"/>
                </a:cubicBezTo>
                <a:close/>
                <a:moveTo>
                  <a:pt x="6104255" y="1444179"/>
                </a:moveTo>
                <a:cubicBezTo>
                  <a:pt x="6127115" y="1422588"/>
                  <a:pt x="6092825" y="1387663"/>
                  <a:pt x="6070600" y="1409888"/>
                </a:cubicBezTo>
                <a:cubicBezTo>
                  <a:pt x="6048375" y="1430844"/>
                  <a:pt x="6082665" y="1465769"/>
                  <a:pt x="6104255" y="1444179"/>
                </a:cubicBezTo>
                <a:close/>
                <a:moveTo>
                  <a:pt x="6083935" y="1529904"/>
                </a:moveTo>
                <a:cubicBezTo>
                  <a:pt x="6059170" y="1552129"/>
                  <a:pt x="6094730" y="1590229"/>
                  <a:pt x="6118225" y="1567369"/>
                </a:cubicBezTo>
                <a:cubicBezTo>
                  <a:pt x="6142990" y="1545144"/>
                  <a:pt x="6107430" y="1507044"/>
                  <a:pt x="6083935" y="1529904"/>
                </a:cubicBezTo>
                <a:close/>
                <a:moveTo>
                  <a:pt x="6488430" y="1828354"/>
                </a:moveTo>
                <a:cubicBezTo>
                  <a:pt x="6510656" y="1806129"/>
                  <a:pt x="6475095" y="1772474"/>
                  <a:pt x="6454140" y="1794699"/>
                </a:cubicBezTo>
                <a:cubicBezTo>
                  <a:pt x="6431915" y="1816924"/>
                  <a:pt x="6466840" y="1850579"/>
                  <a:pt x="6488430" y="1828354"/>
                </a:cubicBezTo>
                <a:close/>
                <a:moveTo>
                  <a:pt x="6028055" y="1366074"/>
                </a:moveTo>
                <a:cubicBezTo>
                  <a:pt x="6050915" y="1344484"/>
                  <a:pt x="6016625" y="1309559"/>
                  <a:pt x="5994400" y="1331784"/>
                </a:cubicBezTo>
                <a:cubicBezTo>
                  <a:pt x="5972175" y="1353374"/>
                  <a:pt x="6006465" y="1388299"/>
                  <a:pt x="6028055" y="1366074"/>
                </a:cubicBezTo>
                <a:close/>
                <a:moveTo>
                  <a:pt x="6358890" y="1399094"/>
                </a:moveTo>
                <a:cubicBezTo>
                  <a:pt x="6339205" y="1382584"/>
                  <a:pt x="6313805" y="1414334"/>
                  <a:pt x="6334125" y="1430209"/>
                </a:cubicBezTo>
                <a:cubicBezTo>
                  <a:pt x="6353810" y="1446719"/>
                  <a:pt x="6379210" y="1414969"/>
                  <a:pt x="6358890" y="1399094"/>
                </a:cubicBezTo>
                <a:close/>
                <a:moveTo>
                  <a:pt x="6325870" y="1561654"/>
                </a:moveTo>
                <a:cubicBezTo>
                  <a:pt x="6305550" y="1582609"/>
                  <a:pt x="6339205" y="1614359"/>
                  <a:pt x="6358890" y="1592769"/>
                </a:cubicBezTo>
                <a:cubicBezTo>
                  <a:pt x="6379210" y="1571813"/>
                  <a:pt x="6345555" y="1540063"/>
                  <a:pt x="6325870" y="1561654"/>
                </a:cubicBezTo>
                <a:close/>
                <a:moveTo>
                  <a:pt x="6397625" y="1862009"/>
                </a:moveTo>
                <a:cubicBezTo>
                  <a:pt x="6373495" y="1884869"/>
                  <a:pt x="6410325" y="1921699"/>
                  <a:pt x="6433185" y="1898204"/>
                </a:cubicBezTo>
                <a:cubicBezTo>
                  <a:pt x="6456680" y="1875979"/>
                  <a:pt x="6420485" y="1839149"/>
                  <a:pt x="6397625" y="1862009"/>
                </a:cubicBezTo>
                <a:close/>
                <a:moveTo>
                  <a:pt x="6250940" y="1491169"/>
                </a:moveTo>
                <a:cubicBezTo>
                  <a:pt x="6230620" y="1512124"/>
                  <a:pt x="6263640" y="1543874"/>
                  <a:pt x="6283960" y="1522284"/>
                </a:cubicBezTo>
                <a:cubicBezTo>
                  <a:pt x="6304280" y="1501329"/>
                  <a:pt x="6270625" y="1469579"/>
                  <a:pt x="6250940" y="1491169"/>
                </a:cubicBezTo>
                <a:close/>
                <a:moveTo>
                  <a:pt x="6239510" y="1697544"/>
                </a:moveTo>
                <a:cubicBezTo>
                  <a:pt x="6215380" y="1719769"/>
                  <a:pt x="6250940" y="1757234"/>
                  <a:pt x="6274435" y="1734374"/>
                </a:cubicBezTo>
                <a:cubicBezTo>
                  <a:pt x="6298565" y="1712149"/>
                  <a:pt x="6263005" y="1674049"/>
                  <a:pt x="6239510" y="1697544"/>
                </a:cubicBezTo>
                <a:close/>
                <a:moveTo>
                  <a:pt x="6333490" y="1675954"/>
                </a:moveTo>
                <a:cubicBezTo>
                  <a:pt x="6355715" y="1654363"/>
                  <a:pt x="6321425" y="1619438"/>
                  <a:pt x="6299835" y="1642299"/>
                </a:cubicBezTo>
                <a:cubicBezTo>
                  <a:pt x="6276975" y="1663888"/>
                  <a:pt x="6311900" y="1698179"/>
                  <a:pt x="6333490" y="1675954"/>
                </a:cubicBezTo>
                <a:close/>
                <a:moveTo>
                  <a:pt x="6318250" y="1780094"/>
                </a:moveTo>
                <a:cubicBezTo>
                  <a:pt x="6294120" y="1802319"/>
                  <a:pt x="6330315" y="1839784"/>
                  <a:pt x="6353175" y="1816924"/>
                </a:cubicBezTo>
                <a:cubicBezTo>
                  <a:pt x="6377305" y="1794063"/>
                  <a:pt x="6341745" y="1756599"/>
                  <a:pt x="6318250" y="1780094"/>
                </a:cubicBezTo>
                <a:close/>
                <a:moveTo>
                  <a:pt x="11677015" y="763459"/>
                </a:moveTo>
                <a:cubicBezTo>
                  <a:pt x="11657330" y="767269"/>
                  <a:pt x="11664315" y="798384"/>
                  <a:pt x="11683365" y="793938"/>
                </a:cubicBezTo>
                <a:cubicBezTo>
                  <a:pt x="11703050" y="790129"/>
                  <a:pt x="11696700" y="759013"/>
                  <a:pt x="11677015" y="763459"/>
                </a:cubicBezTo>
                <a:close/>
                <a:moveTo>
                  <a:pt x="11456670" y="669479"/>
                </a:moveTo>
                <a:cubicBezTo>
                  <a:pt x="11448415" y="647254"/>
                  <a:pt x="11413490" y="660588"/>
                  <a:pt x="11422380" y="682813"/>
                </a:cubicBezTo>
                <a:cubicBezTo>
                  <a:pt x="11431270" y="705038"/>
                  <a:pt x="11466195" y="691069"/>
                  <a:pt x="11456670" y="669479"/>
                </a:cubicBezTo>
                <a:close/>
                <a:moveTo>
                  <a:pt x="11421110" y="1004124"/>
                </a:moveTo>
                <a:cubicBezTo>
                  <a:pt x="11405235" y="1007934"/>
                  <a:pt x="11411585" y="1033334"/>
                  <a:pt x="11427460" y="1028888"/>
                </a:cubicBezTo>
                <a:cubicBezTo>
                  <a:pt x="11443335" y="1025079"/>
                  <a:pt x="11436985" y="1000313"/>
                  <a:pt x="11421110" y="1004124"/>
                </a:cubicBezTo>
                <a:close/>
                <a:moveTo>
                  <a:pt x="11315700" y="867599"/>
                </a:moveTo>
                <a:cubicBezTo>
                  <a:pt x="11296650" y="873949"/>
                  <a:pt x="11307445" y="903794"/>
                  <a:pt x="11326495" y="896809"/>
                </a:cubicBezTo>
                <a:cubicBezTo>
                  <a:pt x="11345545" y="889824"/>
                  <a:pt x="11334750" y="859979"/>
                  <a:pt x="11315700" y="867599"/>
                </a:cubicBezTo>
                <a:close/>
                <a:moveTo>
                  <a:pt x="11386820" y="842834"/>
                </a:moveTo>
                <a:cubicBezTo>
                  <a:pt x="11367770" y="848549"/>
                  <a:pt x="11377930" y="879029"/>
                  <a:pt x="11396345" y="872044"/>
                </a:cubicBezTo>
                <a:cubicBezTo>
                  <a:pt x="11416030" y="866329"/>
                  <a:pt x="11405870" y="835849"/>
                  <a:pt x="11386820" y="842834"/>
                </a:cubicBezTo>
                <a:close/>
                <a:moveTo>
                  <a:pt x="11367135" y="725359"/>
                </a:moveTo>
                <a:cubicBezTo>
                  <a:pt x="11389360" y="716469"/>
                  <a:pt x="11374755" y="682179"/>
                  <a:pt x="11352530" y="691704"/>
                </a:cubicBezTo>
                <a:cubicBezTo>
                  <a:pt x="11330940" y="700594"/>
                  <a:pt x="11346180" y="734884"/>
                  <a:pt x="11367135" y="725359"/>
                </a:cubicBezTo>
                <a:close/>
                <a:moveTo>
                  <a:pt x="1247775" y="2085529"/>
                </a:moveTo>
                <a:cubicBezTo>
                  <a:pt x="1226185" y="2088704"/>
                  <a:pt x="1231900" y="2122994"/>
                  <a:pt x="1253490" y="2118549"/>
                </a:cubicBezTo>
                <a:cubicBezTo>
                  <a:pt x="1275080" y="2115374"/>
                  <a:pt x="1269365" y="2081719"/>
                  <a:pt x="1247775" y="2085529"/>
                </a:cubicBezTo>
                <a:close/>
                <a:moveTo>
                  <a:pt x="11317605" y="786319"/>
                </a:moveTo>
                <a:cubicBezTo>
                  <a:pt x="11297285" y="793938"/>
                  <a:pt x="11309985" y="826324"/>
                  <a:pt x="11330305" y="817434"/>
                </a:cubicBezTo>
                <a:cubicBezTo>
                  <a:pt x="11350625" y="809813"/>
                  <a:pt x="11337925" y="778063"/>
                  <a:pt x="11317605" y="786319"/>
                </a:cubicBezTo>
                <a:close/>
                <a:moveTo>
                  <a:pt x="11359515" y="1020634"/>
                </a:moveTo>
                <a:cubicBezTo>
                  <a:pt x="11343640" y="1024444"/>
                  <a:pt x="11350625" y="1049844"/>
                  <a:pt x="11366500" y="1045399"/>
                </a:cubicBezTo>
                <a:cubicBezTo>
                  <a:pt x="11381740" y="1040954"/>
                  <a:pt x="11375390" y="1016188"/>
                  <a:pt x="11359515" y="1020634"/>
                </a:cubicBezTo>
                <a:close/>
                <a:moveTo>
                  <a:pt x="11383645" y="927924"/>
                </a:moveTo>
                <a:cubicBezTo>
                  <a:pt x="11365865" y="933004"/>
                  <a:pt x="11374120" y="960309"/>
                  <a:pt x="11391900" y="955229"/>
                </a:cubicBezTo>
                <a:cubicBezTo>
                  <a:pt x="11409045" y="950149"/>
                  <a:pt x="11400790" y="922844"/>
                  <a:pt x="11383645" y="927924"/>
                </a:cubicBezTo>
                <a:close/>
                <a:moveTo>
                  <a:pt x="11450320" y="908874"/>
                </a:moveTo>
                <a:cubicBezTo>
                  <a:pt x="11432540" y="913319"/>
                  <a:pt x="11440160" y="941259"/>
                  <a:pt x="11457940" y="936179"/>
                </a:cubicBezTo>
                <a:cubicBezTo>
                  <a:pt x="11475085" y="931734"/>
                  <a:pt x="11468100" y="903794"/>
                  <a:pt x="11450320" y="908874"/>
                </a:cubicBezTo>
                <a:close/>
                <a:moveTo>
                  <a:pt x="11546840" y="706309"/>
                </a:moveTo>
                <a:cubicBezTo>
                  <a:pt x="11525885" y="712659"/>
                  <a:pt x="11536045" y="745679"/>
                  <a:pt x="11556365" y="738694"/>
                </a:cubicBezTo>
                <a:cubicBezTo>
                  <a:pt x="11577320" y="732344"/>
                  <a:pt x="11567795" y="699324"/>
                  <a:pt x="11546840" y="706309"/>
                </a:cubicBezTo>
                <a:close/>
                <a:moveTo>
                  <a:pt x="11602085" y="886649"/>
                </a:moveTo>
                <a:cubicBezTo>
                  <a:pt x="11587480" y="852359"/>
                  <a:pt x="11554460" y="905699"/>
                  <a:pt x="11591290" y="903794"/>
                </a:cubicBezTo>
                <a:lnTo>
                  <a:pt x="11591290" y="903794"/>
                </a:lnTo>
                <a:cubicBezTo>
                  <a:pt x="11598910" y="901254"/>
                  <a:pt x="11603355" y="894269"/>
                  <a:pt x="11602085" y="886649"/>
                </a:cubicBezTo>
                <a:close/>
                <a:moveTo>
                  <a:pt x="11469370" y="475169"/>
                </a:moveTo>
                <a:cubicBezTo>
                  <a:pt x="11443970" y="485963"/>
                  <a:pt x="11462385" y="525334"/>
                  <a:pt x="11486515" y="513904"/>
                </a:cubicBezTo>
                <a:cubicBezTo>
                  <a:pt x="11511915" y="502474"/>
                  <a:pt x="11494135" y="463104"/>
                  <a:pt x="11469370" y="475169"/>
                </a:cubicBezTo>
                <a:close/>
                <a:moveTo>
                  <a:pt x="11603990" y="779969"/>
                </a:moveTo>
                <a:cubicBezTo>
                  <a:pt x="11584305" y="784413"/>
                  <a:pt x="11591925" y="815529"/>
                  <a:pt x="11611610" y="809813"/>
                </a:cubicBezTo>
                <a:cubicBezTo>
                  <a:pt x="11630660" y="806004"/>
                  <a:pt x="11623040" y="775524"/>
                  <a:pt x="11603990" y="779969"/>
                </a:cubicBezTo>
                <a:close/>
                <a:moveTo>
                  <a:pt x="11607800" y="963484"/>
                </a:moveTo>
                <a:cubicBezTo>
                  <a:pt x="11591290" y="966024"/>
                  <a:pt x="11596370" y="991424"/>
                  <a:pt x="11612880" y="988249"/>
                </a:cubicBezTo>
                <a:cubicBezTo>
                  <a:pt x="11628755" y="985074"/>
                  <a:pt x="11623675" y="959674"/>
                  <a:pt x="11607800" y="963484"/>
                </a:cubicBezTo>
                <a:close/>
                <a:moveTo>
                  <a:pt x="11526520" y="663129"/>
                </a:moveTo>
                <a:lnTo>
                  <a:pt x="11526520" y="663129"/>
                </a:lnTo>
                <a:cubicBezTo>
                  <a:pt x="11579225" y="608519"/>
                  <a:pt x="11452860" y="630109"/>
                  <a:pt x="11520170" y="664399"/>
                </a:cubicBezTo>
                <a:cubicBezTo>
                  <a:pt x="11522710" y="664399"/>
                  <a:pt x="11524615" y="663763"/>
                  <a:pt x="11526520" y="663129"/>
                </a:cubicBezTo>
                <a:close/>
                <a:moveTo>
                  <a:pt x="11520170" y="818069"/>
                </a:moveTo>
                <a:cubicBezTo>
                  <a:pt x="11525250" y="837754"/>
                  <a:pt x="11555730" y="828863"/>
                  <a:pt x="11550015" y="809813"/>
                </a:cubicBezTo>
                <a:cubicBezTo>
                  <a:pt x="11544935" y="790763"/>
                  <a:pt x="11514455" y="799019"/>
                  <a:pt x="11520170" y="818069"/>
                </a:cubicBezTo>
                <a:close/>
                <a:moveTo>
                  <a:pt x="11517630" y="891729"/>
                </a:moveTo>
                <a:cubicBezTo>
                  <a:pt x="11499850" y="895538"/>
                  <a:pt x="11506835" y="924113"/>
                  <a:pt x="11524615" y="919034"/>
                </a:cubicBezTo>
                <a:cubicBezTo>
                  <a:pt x="11542395" y="914588"/>
                  <a:pt x="11535410" y="886649"/>
                  <a:pt x="11517630" y="891729"/>
                </a:cubicBezTo>
                <a:close/>
                <a:moveTo>
                  <a:pt x="11544935" y="975549"/>
                </a:moveTo>
                <a:cubicBezTo>
                  <a:pt x="11528425" y="978724"/>
                  <a:pt x="11534140" y="1004124"/>
                  <a:pt x="11550015" y="1000313"/>
                </a:cubicBezTo>
                <a:cubicBezTo>
                  <a:pt x="11566525" y="997138"/>
                  <a:pt x="11561445" y="972374"/>
                  <a:pt x="11544935" y="975549"/>
                </a:cubicBezTo>
                <a:close/>
                <a:moveTo>
                  <a:pt x="11185525" y="993329"/>
                </a:moveTo>
                <a:cubicBezTo>
                  <a:pt x="11168380" y="999044"/>
                  <a:pt x="11178540" y="1026349"/>
                  <a:pt x="11195050" y="1019999"/>
                </a:cubicBezTo>
                <a:cubicBezTo>
                  <a:pt x="11212830" y="1014284"/>
                  <a:pt x="11202670" y="986979"/>
                  <a:pt x="11185525" y="993329"/>
                </a:cubicBezTo>
                <a:close/>
                <a:moveTo>
                  <a:pt x="11316970" y="948244"/>
                </a:moveTo>
                <a:cubicBezTo>
                  <a:pt x="11299190" y="953324"/>
                  <a:pt x="11308080" y="981263"/>
                  <a:pt x="11325225" y="974913"/>
                </a:cubicBezTo>
                <a:lnTo>
                  <a:pt x="11325225" y="974913"/>
                </a:lnTo>
                <a:cubicBezTo>
                  <a:pt x="11343005" y="969834"/>
                  <a:pt x="11334750" y="942529"/>
                  <a:pt x="11316970" y="948244"/>
                </a:cubicBezTo>
                <a:close/>
                <a:moveTo>
                  <a:pt x="11123295" y="733613"/>
                </a:moveTo>
                <a:cubicBezTo>
                  <a:pt x="11123295" y="733613"/>
                  <a:pt x="11123295" y="733613"/>
                  <a:pt x="11123295" y="733613"/>
                </a:cubicBezTo>
                <a:cubicBezTo>
                  <a:pt x="11101070" y="746313"/>
                  <a:pt x="11121390" y="780604"/>
                  <a:pt x="11143615" y="767269"/>
                </a:cubicBezTo>
                <a:cubicBezTo>
                  <a:pt x="11165840" y="754569"/>
                  <a:pt x="11145520" y="720279"/>
                  <a:pt x="11123295" y="733613"/>
                </a:cubicBezTo>
                <a:close/>
                <a:moveTo>
                  <a:pt x="11183620" y="881569"/>
                </a:moveTo>
                <a:cubicBezTo>
                  <a:pt x="11203940" y="872679"/>
                  <a:pt x="11188700" y="841563"/>
                  <a:pt x="11169015" y="851088"/>
                </a:cubicBezTo>
                <a:cubicBezTo>
                  <a:pt x="11149330" y="859979"/>
                  <a:pt x="11163935" y="891094"/>
                  <a:pt x="11183620" y="881569"/>
                </a:cubicBezTo>
                <a:close/>
                <a:moveTo>
                  <a:pt x="11119485" y="805369"/>
                </a:moveTo>
                <a:cubicBezTo>
                  <a:pt x="11098530" y="816163"/>
                  <a:pt x="11116310" y="849184"/>
                  <a:pt x="11137265" y="837754"/>
                </a:cubicBezTo>
                <a:cubicBezTo>
                  <a:pt x="11157585" y="826324"/>
                  <a:pt x="11139805" y="793304"/>
                  <a:pt x="11119485" y="805369"/>
                </a:cubicBezTo>
                <a:close/>
                <a:moveTo>
                  <a:pt x="11120755" y="1018094"/>
                </a:moveTo>
                <a:cubicBezTo>
                  <a:pt x="11103610" y="1024444"/>
                  <a:pt x="11114405" y="1051113"/>
                  <a:pt x="11130915" y="1044129"/>
                </a:cubicBezTo>
                <a:cubicBezTo>
                  <a:pt x="11148695" y="1038413"/>
                  <a:pt x="11137900" y="1011109"/>
                  <a:pt x="11120755" y="1018094"/>
                </a:cubicBezTo>
                <a:close/>
                <a:moveTo>
                  <a:pt x="11111865" y="916494"/>
                </a:moveTo>
                <a:cubicBezTo>
                  <a:pt x="11131550" y="906969"/>
                  <a:pt x="11116310" y="875854"/>
                  <a:pt x="11096625" y="886013"/>
                </a:cubicBezTo>
                <a:cubicBezTo>
                  <a:pt x="11076305" y="896174"/>
                  <a:pt x="11092180" y="926654"/>
                  <a:pt x="11111865" y="916494"/>
                </a:cubicBezTo>
                <a:close/>
                <a:moveTo>
                  <a:pt x="11119485" y="979994"/>
                </a:moveTo>
                <a:cubicBezTo>
                  <a:pt x="11137900" y="972374"/>
                  <a:pt x="11125200" y="943163"/>
                  <a:pt x="11106785" y="951419"/>
                </a:cubicBezTo>
                <a:cubicBezTo>
                  <a:pt x="11088370" y="959674"/>
                  <a:pt x="11101070" y="988249"/>
                  <a:pt x="11119485" y="979994"/>
                </a:cubicBezTo>
                <a:close/>
                <a:moveTo>
                  <a:pt x="11181715" y="951419"/>
                </a:moveTo>
                <a:cubicBezTo>
                  <a:pt x="11205845" y="950784"/>
                  <a:pt x="11198225" y="912684"/>
                  <a:pt x="11176000" y="921574"/>
                </a:cubicBezTo>
                <a:cubicBezTo>
                  <a:pt x="11160125" y="927924"/>
                  <a:pt x="11165840" y="952054"/>
                  <a:pt x="11181715" y="951419"/>
                </a:cubicBezTo>
                <a:close/>
                <a:moveTo>
                  <a:pt x="9165590" y="2393504"/>
                </a:moveTo>
                <a:cubicBezTo>
                  <a:pt x="9140825" y="2405569"/>
                  <a:pt x="9160510" y="2444304"/>
                  <a:pt x="9184640" y="2430969"/>
                </a:cubicBezTo>
                <a:cubicBezTo>
                  <a:pt x="9209405" y="2418904"/>
                  <a:pt x="9189720" y="2380804"/>
                  <a:pt x="9165590" y="2393504"/>
                </a:cubicBezTo>
                <a:close/>
                <a:moveTo>
                  <a:pt x="11125835" y="663129"/>
                </a:moveTo>
                <a:cubicBezTo>
                  <a:pt x="11102340" y="677734"/>
                  <a:pt x="11125835" y="713929"/>
                  <a:pt x="11148695" y="698688"/>
                </a:cubicBezTo>
                <a:cubicBezTo>
                  <a:pt x="11172190" y="684084"/>
                  <a:pt x="11148695" y="647888"/>
                  <a:pt x="11125835" y="663129"/>
                </a:cubicBezTo>
                <a:close/>
                <a:moveTo>
                  <a:pt x="11250930" y="970469"/>
                </a:moveTo>
                <a:cubicBezTo>
                  <a:pt x="11233785" y="976184"/>
                  <a:pt x="11243310" y="1003488"/>
                  <a:pt x="11260455" y="997138"/>
                </a:cubicBezTo>
                <a:cubicBezTo>
                  <a:pt x="11277600" y="991424"/>
                  <a:pt x="11268710" y="964119"/>
                  <a:pt x="11250930" y="970469"/>
                </a:cubicBezTo>
                <a:close/>
                <a:moveTo>
                  <a:pt x="11176635" y="1075244"/>
                </a:moveTo>
                <a:cubicBezTo>
                  <a:pt x="11160760" y="1080324"/>
                  <a:pt x="11169015" y="1104454"/>
                  <a:pt x="11184890" y="1099374"/>
                </a:cubicBezTo>
                <a:cubicBezTo>
                  <a:pt x="11200130" y="1094929"/>
                  <a:pt x="11191875" y="1070163"/>
                  <a:pt x="11176635" y="1075244"/>
                </a:cubicBezTo>
                <a:close/>
                <a:moveTo>
                  <a:pt x="11236960" y="1056194"/>
                </a:moveTo>
                <a:cubicBezTo>
                  <a:pt x="11221085" y="1060638"/>
                  <a:pt x="11228705" y="1085404"/>
                  <a:pt x="11244580" y="1080324"/>
                </a:cubicBezTo>
                <a:cubicBezTo>
                  <a:pt x="11260455" y="1075879"/>
                  <a:pt x="11252835" y="1051113"/>
                  <a:pt x="11236960" y="1056194"/>
                </a:cubicBezTo>
                <a:close/>
                <a:moveTo>
                  <a:pt x="11297920" y="1037779"/>
                </a:moveTo>
                <a:cubicBezTo>
                  <a:pt x="11282045" y="1042224"/>
                  <a:pt x="11289665" y="1066988"/>
                  <a:pt x="11304905" y="1061909"/>
                </a:cubicBezTo>
                <a:cubicBezTo>
                  <a:pt x="11320780" y="1057463"/>
                  <a:pt x="11313795" y="1032699"/>
                  <a:pt x="11297920" y="1037779"/>
                </a:cubicBezTo>
                <a:close/>
                <a:moveTo>
                  <a:pt x="11298555" y="736154"/>
                </a:moveTo>
                <a:cubicBezTo>
                  <a:pt x="11289030" y="714563"/>
                  <a:pt x="11254740" y="730438"/>
                  <a:pt x="11265535" y="751394"/>
                </a:cubicBezTo>
                <a:cubicBezTo>
                  <a:pt x="11275060" y="772984"/>
                  <a:pt x="11308715" y="757109"/>
                  <a:pt x="11298555" y="736154"/>
                </a:cubicBezTo>
                <a:close/>
                <a:moveTo>
                  <a:pt x="11645265" y="696149"/>
                </a:moveTo>
                <a:cubicBezTo>
                  <a:pt x="11640185" y="674559"/>
                  <a:pt x="11606530" y="683449"/>
                  <a:pt x="11612245" y="705038"/>
                </a:cubicBezTo>
                <a:cubicBezTo>
                  <a:pt x="11617960" y="725994"/>
                  <a:pt x="11650980" y="717104"/>
                  <a:pt x="11645265" y="696149"/>
                </a:cubicBezTo>
                <a:close/>
                <a:moveTo>
                  <a:pt x="11230610" y="695513"/>
                </a:moveTo>
                <a:cubicBezTo>
                  <a:pt x="11218545" y="672654"/>
                  <a:pt x="11182985" y="692338"/>
                  <a:pt x="11196320" y="714563"/>
                </a:cubicBezTo>
                <a:cubicBezTo>
                  <a:pt x="11207750" y="737424"/>
                  <a:pt x="11243310" y="717738"/>
                  <a:pt x="11230610" y="695513"/>
                </a:cubicBezTo>
                <a:close/>
                <a:moveTo>
                  <a:pt x="11195685" y="764729"/>
                </a:moveTo>
                <a:cubicBezTo>
                  <a:pt x="11174095" y="775524"/>
                  <a:pt x="11191240" y="808544"/>
                  <a:pt x="11212195" y="797749"/>
                </a:cubicBezTo>
                <a:cubicBezTo>
                  <a:pt x="11233785" y="787588"/>
                  <a:pt x="11217275" y="753934"/>
                  <a:pt x="11195685" y="764729"/>
                </a:cubicBezTo>
                <a:close/>
                <a:moveTo>
                  <a:pt x="11723370" y="677099"/>
                </a:moveTo>
                <a:cubicBezTo>
                  <a:pt x="11718925" y="655509"/>
                  <a:pt x="11685270" y="663129"/>
                  <a:pt x="11690350" y="684719"/>
                </a:cubicBezTo>
                <a:cubicBezTo>
                  <a:pt x="11695430" y="706309"/>
                  <a:pt x="11728450" y="698054"/>
                  <a:pt x="11723370" y="677099"/>
                </a:cubicBezTo>
                <a:close/>
                <a:moveTo>
                  <a:pt x="12066270" y="809179"/>
                </a:moveTo>
                <a:cubicBezTo>
                  <a:pt x="12047855" y="809813"/>
                  <a:pt x="12049760" y="839024"/>
                  <a:pt x="12067540" y="837119"/>
                </a:cubicBezTo>
                <a:lnTo>
                  <a:pt x="12067540" y="837119"/>
                </a:lnTo>
                <a:cubicBezTo>
                  <a:pt x="12085955" y="836484"/>
                  <a:pt x="12084685" y="807909"/>
                  <a:pt x="12066270" y="809179"/>
                </a:cubicBezTo>
                <a:close/>
                <a:moveTo>
                  <a:pt x="12103100" y="605979"/>
                </a:moveTo>
                <a:cubicBezTo>
                  <a:pt x="12080875" y="606613"/>
                  <a:pt x="12083415" y="641538"/>
                  <a:pt x="12105005" y="639634"/>
                </a:cubicBezTo>
                <a:cubicBezTo>
                  <a:pt x="12127230" y="638999"/>
                  <a:pt x="12125325" y="604074"/>
                  <a:pt x="12103100" y="605979"/>
                </a:cubicBezTo>
                <a:close/>
                <a:moveTo>
                  <a:pt x="12113895" y="907604"/>
                </a:moveTo>
                <a:cubicBezTo>
                  <a:pt x="12097385" y="907604"/>
                  <a:pt x="12098020" y="933638"/>
                  <a:pt x="12114530" y="933004"/>
                </a:cubicBezTo>
                <a:cubicBezTo>
                  <a:pt x="12131040" y="933004"/>
                  <a:pt x="12130405" y="906969"/>
                  <a:pt x="12113895" y="907604"/>
                </a:cubicBezTo>
                <a:close/>
                <a:moveTo>
                  <a:pt x="12050395" y="910144"/>
                </a:moveTo>
                <a:cubicBezTo>
                  <a:pt x="12033885" y="910779"/>
                  <a:pt x="12035155" y="936813"/>
                  <a:pt x="12051665" y="935544"/>
                </a:cubicBezTo>
                <a:cubicBezTo>
                  <a:pt x="12068175" y="934909"/>
                  <a:pt x="12066905" y="909509"/>
                  <a:pt x="12050395" y="910144"/>
                </a:cubicBezTo>
                <a:close/>
                <a:moveTo>
                  <a:pt x="12049760" y="741234"/>
                </a:moveTo>
                <a:cubicBezTo>
                  <a:pt x="12070715" y="741234"/>
                  <a:pt x="12069445" y="708213"/>
                  <a:pt x="12048490" y="710119"/>
                </a:cubicBezTo>
                <a:cubicBezTo>
                  <a:pt x="12029440" y="710754"/>
                  <a:pt x="12030710" y="741234"/>
                  <a:pt x="12049760" y="741234"/>
                </a:cubicBezTo>
                <a:close/>
                <a:moveTo>
                  <a:pt x="12135485" y="806004"/>
                </a:moveTo>
                <a:cubicBezTo>
                  <a:pt x="12117070" y="806638"/>
                  <a:pt x="12118340" y="835213"/>
                  <a:pt x="12136120" y="833944"/>
                </a:cubicBezTo>
                <a:cubicBezTo>
                  <a:pt x="12154535" y="833944"/>
                  <a:pt x="12153900" y="805369"/>
                  <a:pt x="12135485" y="806004"/>
                </a:cubicBezTo>
                <a:close/>
                <a:moveTo>
                  <a:pt x="11997055" y="813624"/>
                </a:moveTo>
                <a:cubicBezTo>
                  <a:pt x="11978640" y="814894"/>
                  <a:pt x="11981180" y="843469"/>
                  <a:pt x="11999595" y="841563"/>
                </a:cubicBezTo>
                <a:cubicBezTo>
                  <a:pt x="12017375" y="840929"/>
                  <a:pt x="12014835" y="812354"/>
                  <a:pt x="11997055" y="813624"/>
                </a:cubicBezTo>
                <a:close/>
                <a:moveTo>
                  <a:pt x="11669395" y="872679"/>
                </a:moveTo>
                <a:cubicBezTo>
                  <a:pt x="11666220" y="854899"/>
                  <a:pt x="11637645" y="859979"/>
                  <a:pt x="11641455" y="878394"/>
                </a:cubicBezTo>
                <a:cubicBezTo>
                  <a:pt x="11645265" y="896174"/>
                  <a:pt x="11673205" y="890459"/>
                  <a:pt x="11669395" y="872679"/>
                </a:cubicBezTo>
                <a:close/>
                <a:moveTo>
                  <a:pt x="12040870" y="627569"/>
                </a:moveTo>
                <a:cubicBezTo>
                  <a:pt x="12038965" y="605979"/>
                  <a:pt x="12004675" y="609154"/>
                  <a:pt x="12007215" y="630744"/>
                </a:cubicBezTo>
                <a:cubicBezTo>
                  <a:pt x="12009120" y="652969"/>
                  <a:pt x="12043410" y="649159"/>
                  <a:pt x="12040870" y="627569"/>
                </a:cubicBezTo>
                <a:close/>
                <a:moveTo>
                  <a:pt x="12192000" y="238949"/>
                </a:moveTo>
                <a:lnTo>
                  <a:pt x="12192000" y="198944"/>
                </a:lnTo>
                <a:cubicBezTo>
                  <a:pt x="12176760" y="207199"/>
                  <a:pt x="12177395" y="231329"/>
                  <a:pt x="12192000" y="238949"/>
                </a:cubicBezTo>
                <a:close/>
                <a:moveTo>
                  <a:pt x="12167235" y="619949"/>
                </a:moveTo>
                <a:cubicBezTo>
                  <a:pt x="12167235" y="633919"/>
                  <a:pt x="12181840" y="638999"/>
                  <a:pt x="12192000" y="634554"/>
                </a:cubicBezTo>
                <a:lnTo>
                  <a:pt x="12192000" y="604709"/>
                </a:lnTo>
                <a:cubicBezTo>
                  <a:pt x="12181840" y="600263"/>
                  <a:pt x="12167235" y="605344"/>
                  <a:pt x="12167235" y="619949"/>
                </a:cubicBezTo>
                <a:close/>
                <a:moveTo>
                  <a:pt x="11974195" y="716469"/>
                </a:moveTo>
                <a:cubicBezTo>
                  <a:pt x="11953875" y="718374"/>
                  <a:pt x="11957050" y="749488"/>
                  <a:pt x="11977370" y="747584"/>
                </a:cubicBezTo>
                <a:cubicBezTo>
                  <a:pt x="11997055" y="745679"/>
                  <a:pt x="11993880" y="713929"/>
                  <a:pt x="11974195" y="716469"/>
                </a:cubicBezTo>
                <a:close/>
                <a:moveTo>
                  <a:pt x="12192000" y="537399"/>
                </a:moveTo>
                <a:lnTo>
                  <a:pt x="12192000" y="501204"/>
                </a:lnTo>
                <a:cubicBezTo>
                  <a:pt x="12171045" y="503108"/>
                  <a:pt x="12171680" y="535494"/>
                  <a:pt x="12192000" y="537399"/>
                </a:cubicBezTo>
                <a:close/>
                <a:moveTo>
                  <a:pt x="12192000" y="143063"/>
                </a:moveTo>
                <a:lnTo>
                  <a:pt x="12192000" y="96074"/>
                </a:lnTo>
                <a:cubicBezTo>
                  <a:pt x="12167235" y="99883"/>
                  <a:pt x="12167870" y="138619"/>
                  <a:pt x="12192000" y="143063"/>
                </a:cubicBezTo>
                <a:close/>
                <a:moveTo>
                  <a:pt x="12192000" y="823149"/>
                </a:moveTo>
                <a:lnTo>
                  <a:pt x="12192000" y="814894"/>
                </a:lnTo>
                <a:cubicBezTo>
                  <a:pt x="12191365" y="817434"/>
                  <a:pt x="12191365" y="820609"/>
                  <a:pt x="12192000" y="823149"/>
                </a:cubicBezTo>
                <a:close/>
                <a:moveTo>
                  <a:pt x="12178030" y="906334"/>
                </a:moveTo>
                <a:cubicBezTo>
                  <a:pt x="12161520" y="906334"/>
                  <a:pt x="12161520" y="932369"/>
                  <a:pt x="12178665" y="931734"/>
                </a:cubicBezTo>
                <a:cubicBezTo>
                  <a:pt x="12194540" y="931734"/>
                  <a:pt x="12194540" y="905699"/>
                  <a:pt x="12178030" y="906334"/>
                </a:cubicBezTo>
                <a:close/>
                <a:moveTo>
                  <a:pt x="12170410" y="400238"/>
                </a:moveTo>
                <a:cubicBezTo>
                  <a:pt x="12145010" y="400874"/>
                  <a:pt x="12146915" y="441513"/>
                  <a:pt x="12172315" y="439608"/>
                </a:cubicBezTo>
                <a:cubicBezTo>
                  <a:pt x="12197715" y="438974"/>
                  <a:pt x="12195810" y="398969"/>
                  <a:pt x="12170410" y="400238"/>
                </a:cubicBezTo>
                <a:close/>
                <a:moveTo>
                  <a:pt x="12192000" y="732979"/>
                </a:moveTo>
                <a:lnTo>
                  <a:pt x="12192000" y="705038"/>
                </a:lnTo>
                <a:cubicBezTo>
                  <a:pt x="12181840" y="710754"/>
                  <a:pt x="12181840" y="727263"/>
                  <a:pt x="12192000" y="732979"/>
                </a:cubicBezTo>
                <a:close/>
                <a:moveTo>
                  <a:pt x="11986895" y="914588"/>
                </a:moveTo>
                <a:cubicBezTo>
                  <a:pt x="11970385" y="915224"/>
                  <a:pt x="11972290" y="941259"/>
                  <a:pt x="11988800" y="939988"/>
                </a:cubicBezTo>
                <a:cubicBezTo>
                  <a:pt x="12004675" y="938719"/>
                  <a:pt x="12003405" y="912684"/>
                  <a:pt x="11986895" y="914588"/>
                </a:cubicBezTo>
                <a:close/>
                <a:moveTo>
                  <a:pt x="11750675" y="748854"/>
                </a:moveTo>
                <a:cubicBezTo>
                  <a:pt x="11730990" y="752029"/>
                  <a:pt x="11736705" y="783144"/>
                  <a:pt x="11756390" y="779334"/>
                </a:cubicBezTo>
                <a:cubicBezTo>
                  <a:pt x="11776075" y="775524"/>
                  <a:pt x="11770360" y="744409"/>
                  <a:pt x="11750675" y="748854"/>
                </a:cubicBezTo>
                <a:close/>
                <a:moveTo>
                  <a:pt x="11788775" y="680274"/>
                </a:moveTo>
                <a:cubicBezTo>
                  <a:pt x="11810365" y="676463"/>
                  <a:pt x="11804015" y="642809"/>
                  <a:pt x="11782425" y="647254"/>
                </a:cubicBezTo>
                <a:cubicBezTo>
                  <a:pt x="11760200" y="651063"/>
                  <a:pt x="11767185" y="685354"/>
                  <a:pt x="11788775" y="680274"/>
                </a:cubicBezTo>
                <a:close/>
                <a:moveTo>
                  <a:pt x="11733530" y="941894"/>
                </a:moveTo>
                <a:cubicBezTo>
                  <a:pt x="11717020" y="943799"/>
                  <a:pt x="11721465" y="969834"/>
                  <a:pt x="11737340" y="967294"/>
                </a:cubicBezTo>
                <a:cubicBezTo>
                  <a:pt x="11753215" y="964754"/>
                  <a:pt x="11749405" y="939354"/>
                  <a:pt x="11733530" y="941894"/>
                </a:cubicBezTo>
                <a:close/>
                <a:moveTo>
                  <a:pt x="11793855" y="865694"/>
                </a:moveTo>
                <a:cubicBezTo>
                  <a:pt x="11812270" y="863154"/>
                  <a:pt x="11807825" y="834579"/>
                  <a:pt x="11789410" y="837754"/>
                </a:cubicBezTo>
                <a:cubicBezTo>
                  <a:pt x="11771630" y="840294"/>
                  <a:pt x="11776075" y="868869"/>
                  <a:pt x="11793855" y="865694"/>
                </a:cubicBezTo>
                <a:close/>
                <a:moveTo>
                  <a:pt x="11725910" y="876488"/>
                </a:moveTo>
                <a:cubicBezTo>
                  <a:pt x="11743690" y="873313"/>
                  <a:pt x="11739245" y="845374"/>
                  <a:pt x="11720830" y="848549"/>
                </a:cubicBezTo>
                <a:cubicBezTo>
                  <a:pt x="11703050" y="851724"/>
                  <a:pt x="11708130" y="879663"/>
                  <a:pt x="11725910" y="876488"/>
                </a:cubicBezTo>
                <a:close/>
                <a:moveTo>
                  <a:pt x="11670665" y="952054"/>
                </a:moveTo>
                <a:cubicBezTo>
                  <a:pt x="11654155" y="954594"/>
                  <a:pt x="11658600" y="979994"/>
                  <a:pt x="11675110" y="976819"/>
                </a:cubicBezTo>
                <a:cubicBezTo>
                  <a:pt x="11690985" y="974913"/>
                  <a:pt x="11686540" y="948879"/>
                  <a:pt x="11670665" y="952054"/>
                </a:cubicBezTo>
                <a:close/>
                <a:moveTo>
                  <a:pt x="11796395" y="933004"/>
                </a:moveTo>
                <a:cubicBezTo>
                  <a:pt x="11779885" y="934909"/>
                  <a:pt x="11783695" y="960309"/>
                  <a:pt x="11799570" y="958404"/>
                </a:cubicBezTo>
                <a:lnTo>
                  <a:pt x="11799570" y="958404"/>
                </a:lnTo>
                <a:cubicBezTo>
                  <a:pt x="11816080" y="956499"/>
                  <a:pt x="11812905" y="931099"/>
                  <a:pt x="11796395" y="933004"/>
                </a:cubicBezTo>
                <a:close/>
                <a:moveTo>
                  <a:pt x="5067300" y="844738"/>
                </a:moveTo>
                <a:cubicBezTo>
                  <a:pt x="5047615" y="841563"/>
                  <a:pt x="5042535" y="872679"/>
                  <a:pt x="5062855" y="875219"/>
                </a:cubicBezTo>
                <a:cubicBezTo>
                  <a:pt x="5082540" y="878394"/>
                  <a:pt x="5087620" y="847279"/>
                  <a:pt x="5067300" y="844738"/>
                </a:cubicBezTo>
                <a:close/>
                <a:moveTo>
                  <a:pt x="11088370" y="649159"/>
                </a:moveTo>
                <a:cubicBezTo>
                  <a:pt x="11045190" y="608519"/>
                  <a:pt x="11030585" y="707579"/>
                  <a:pt x="11083925" y="680909"/>
                </a:cubicBezTo>
                <a:lnTo>
                  <a:pt x="11083925" y="680909"/>
                </a:lnTo>
                <a:cubicBezTo>
                  <a:pt x="11093450" y="673288"/>
                  <a:pt x="11095990" y="658684"/>
                  <a:pt x="11088370" y="649159"/>
                </a:cubicBezTo>
                <a:close/>
                <a:moveTo>
                  <a:pt x="11960860" y="635824"/>
                </a:moveTo>
                <a:cubicBezTo>
                  <a:pt x="11958320" y="614234"/>
                  <a:pt x="11924030" y="618044"/>
                  <a:pt x="11927205" y="640269"/>
                </a:cubicBezTo>
                <a:cubicBezTo>
                  <a:pt x="11929745" y="661859"/>
                  <a:pt x="11964035" y="657413"/>
                  <a:pt x="11960860" y="635824"/>
                </a:cubicBezTo>
                <a:close/>
                <a:moveTo>
                  <a:pt x="11916410" y="738694"/>
                </a:moveTo>
                <a:cubicBezTo>
                  <a:pt x="11904345" y="699959"/>
                  <a:pt x="11862435" y="754569"/>
                  <a:pt x="11903075" y="755838"/>
                </a:cubicBezTo>
                <a:lnTo>
                  <a:pt x="11903075" y="755838"/>
                </a:lnTo>
                <a:cubicBezTo>
                  <a:pt x="11911965" y="754569"/>
                  <a:pt x="11917680" y="746949"/>
                  <a:pt x="11916410" y="738694"/>
                </a:cubicBezTo>
                <a:close/>
                <a:moveTo>
                  <a:pt x="11923395" y="919669"/>
                </a:moveTo>
                <a:cubicBezTo>
                  <a:pt x="11906885" y="920938"/>
                  <a:pt x="11909425" y="946974"/>
                  <a:pt x="11925935" y="945069"/>
                </a:cubicBezTo>
                <a:cubicBezTo>
                  <a:pt x="11941810" y="943163"/>
                  <a:pt x="11939905" y="917763"/>
                  <a:pt x="11923395" y="919669"/>
                </a:cubicBezTo>
                <a:close/>
                <a:moveTo>
                  <a:pt x="11927840" y="819974"/>
                </a:moveTo>
                <a:cubicBezTo>
                  <a:pt x="11909425" y="821244"/>
                  <a:pt x="11912600" y="850454"/>
                  <a:pt x="11931015" y="847913"/>
                </a:cubicBezTo>
                <a:cubicBezTo>
                  <a:pt x="11948795" y="846644"/>
                  <a:pt x="11945620" y="818069"/>
                  <a:pt x="11927840" y="819974"/>
                </a:cubicBezTo>
                <a:close/>
                <a:moveTo>
                  <a:pt x="11901805" y="471358"/>
                </a:moveTo>
                <a:lnTo>
                  <a:pt x="11901805" y="471358"/>
                </a:lnTo>
                <a:cubicBezTo>
                  <a:pt x="11927205" y="466913"/>
                  <a:pt x="11919585" y="427544"/>
                  <a:pt x="11894185" y="432624"/>
                </a:cubicBezTo>
                <a:cubicBezTo>
                  <a:pt x="11869420" y="437069"/>
                  <a:pt x="11877040" y="476438"/>
                  <a:pt x="11901805" y="471358"/>
                </a:cubicBezTo>
                <a:close/>
                <a:moveTo>
                  <a:pt x="11861800" y="633284"/>
                </a:moveTo>
                <a:cubicBezTo>
                  <a:pt x="11840210" y="636459"/>
                  <a:pt x="11845925" y="670749"/>
                  <a:pt x="11867515" y="666938"/>
                </a:cubicBezTo>
                <a:cubicBezTo>
                  <a:pt x="11889105" y="663129"/>
                  <a:pt x="11883390" y="628838"/>
                  <a:pt x="11861800" y="633284"/>
                </a:cubicBezTo>
                <a:close/>
                <a:moveTo>
                  <a:pt x="11824970" y="735519"/>
                </a:moveTo>
                <a:cubicBezTo>
                  <a:pt x="11804650" y="738059"/>
                  <a:pt x="11809730" y="769809"/>
                  <a:pt x="11830050" y="765999"/>
                </a:cubicBezTo>
                <a:cubicBezTo>
                  <a:pt x="11849735" y="763459"/>
                  <a:pt x="11844655" y="732344"/>
                  <a:pt x="11824970" y="735519"/>
                </a:cubicBezTo>
                <a:close/>
                <a:moveTo>
                  <a:pt x="11859895" y="925384"/>
                </a:moveTo>
                <a:cubicBezTo>
                  <a:pt x="11843385" y="926654"/>
                  <a:pt x="11846560" y="952688"/>
                  <a:pt x="11862435" y="950784"/>
                </a:cubicBezTo>
                <a:cubicBezTo>
                  <a:pt x="11878945" y="949513"/>
                  <a:pt x="11876405" y="923479"/>
                  <a:pt x="11859895" y="925384"/>
                </a:cubicBezTo>
                <a:close/>
                <a:moveTo>
                  <a:pt x="11858625" y="828229"/>
                </a:moveTo>
                <a:cubicBezTo>
                  <a:pt x="11840210" y="830134"/>
                  <a:pt x="11844020" y="858709"/>
                  <a:pt x="11862435" y="856169"/>
                </a:cubicBezTo>
                <a:cubicBezTo>
                  <a:pt x="11880215" y="854263"/>
                  <a:pt x="11877040" y="825688"/>
                  <a:pt x="11858625" y="828229"/>
                </a:cubicBezTo>
                <a:close/>
                <a:moveTo>
                  <a:pt x="11116310" y="1096199"/>
                </a:moveTo>
                <a:cubicBezTo>
                  <a:pt x="11100435" y="1101279"/>
                  <a:pt x="11109325" y="1126044"/>
                  <a:pt x="11124565" y="1120329"/>
                </a:cubicBezTo>
                <a:cubicBezTo>
                  <a:pt x="11140440" y="1114613"/>
                  <a:pt x="11131550" y="1090484"/>
                  <a:pt x="11116310" y="1096199"/>
                </a:cubicBezTo>
                <a:close/>
                <a:moveTo>
                  <a:pt x="9740900" y="2080449"/>
                </a:moveTo>
                <a:cubicBezTo>
                  <a:pt x="9748520" y="2020124"/>
                  <a:pt x="9658985" y="2070288"/>
                  <a:pt x="9714230" y="2095688"/>
                </a:cubicBezTo>
                <a:cubicBezTo>
                  <a:pt x="9703435" y="2162364"/>
                  <a:pt x="9803130" y="2106484"/>
                  <a:pt x="9740900" y="2080449"/>
                </a:cubicBezTo>
                <a:close/>
                <a:moveTo>
                  <a:pt x="9907270" y="1820734"/>
                </a:moveTo>
                <a:cubicBezTo>
                  <a:pt x="9890125" y="1801684"/>
                  <a:pt x="9860915" y="1829624"/>
                  <a:pt x="9878695" y="1848038"/>
                </a:cubicBezTo>
                <a:cubicBezTo>
                  <a:pt x="9896475" y="1866454"/>
                  <a:pt x="9925685" y="1839149"/>
                  <a:pt x="9907270" y="1820734"/>
                </a:cubicBezTo>
                <a:close/>
                <a:moveTo>
                  <a:pt x="9948545" y="1896299"/>
                </a:moveTo>
                <a:cubicBezTo>
                  <a:pt x="9922510" y="1875979"/>
                  <a:pt x="9891395" y="1916619"/>
                  <a:pt x="9917430" y="1936304"/>
                </a:cubicBezTo>
                <a:cubicBezTo>
                  <a:pt x="9942830" y="1957259"/>
                  <a:pt x="9974580" y="1916619"/>
                  <a:pt x="9948545" y="1896299"/>
                </a:cubicBezTo>
                <a:close/>
                <a:moveTo>
                  <a:pt x="10033635" y="1755329"/>
                </a:moveTo>
                <a:cubicBezTo>
                  <a:pt x="10031095" y="1753424"/>
                  <a:pt x="10027920" y="1751519"/>
                  <a:pt x="10024745" y="1750884"/>
                </a:cubicBezTo>
                <a:cubicBezTo>
                  <a:pt x="10030460" y="1736913"/>
                  <a:pt x="10016490" y="1720404"/>
                  <a:pt x="10001250" y="1723579"/>
                </a:cubicBezTo>
                <a:cubicBezTo>
                  <a:pt x="10000615" y="1720404"/>
                  <a:pt x="9999345" y="1717863"/>
                  <a:pt x="9997440" y="1715324"/>
                </a:cubicBezTo>
                <a:cubicBezTo>
                  <a:pt x="9999980" y="1715324"/>
                  <a:pt x="10003155" y="1714688"/>
                  <a:pt x="10005695" y="1712784"/>
                </a:cubicBezTo>
                <a:cubicBezTo>
                  <a:pt x="10039985" y="1759774"/>
                  <a:pt x="10063480" y="1664524"/>
                  <a:pt x="10011410" y="1689924"/>
                </a:cubicBezTo>
                <a:cubicBezTo>
                  <a:pt x="10009505" y="1686113"/>
                  <a:pt x="10005695" y="1683574"/>
                  <a:pt x="10001885" y="1682304"/>
                </a:cubicBezTo>
                <a:cubicBezTo>
                  <a:pt x="10001885" y="1657538"/>
                  <a:pt x="9968230" y="1657538"/>
                  <a:pt x="9973945" y="1683574"/>
                </a:cubicBezTo>
                <a:cubicBezTo>
                  <a:pt x="9966325" y="1691194"/>
                  <a:pt x="9969500" y="1705799"/>
                  <a:pt x="9979660" y="1708974"/>
                </a:cubicBezTo>
                <a:cubicBezTo>
                  <a:pt x="9958070" y="1712784"/>
                  <a:pt x="9961880" y="1746438"/>
                  <a:pt x="9983470" y="1745169"/>
                </a:cubicBezTo>
                <a:cubicBezTo>
                  <a:pt x="9983470" y="1748344"/>
                  <a:pt x="9984740" y="1752154"/>
                  <a:pt x="9986010" y="1754694"/>
                </a:cubicBezTo>
                <a:cubicBezTo>
                  <a:pt x="9982200" y="1757234"/>
                  <a:pt x="9979025" y="1761679"/>
                  <a:pt x="9977755" y="1766124"/>
                </a:cubicBezTo>
                <a:cubicBezTo>
                  <a:pt x="9975850" y="1754694"/>
                  <a:pt x="9961880" y="1747074"/>
                  <a:pt x="9951085" y="1751519"/>
                </a:cubicBezTo>
                <a:cubicBezTo>
                  <a:pt x="9952355" y="1743899"/>
                  <a:pt x="9946640" y="1735009"/>
                  <a:pt x="9938385" y="1733104"/>
                </a:cubicBezTo>
                <a:cubicBezTo>
                  <a:pt x="9937750" y="1731834"/>
                  <a:pt x="9937750" y="1731199"/>
                  <a:pt x="9937115" y="1730563"/>
                </a:cubicBezTo>
                <a:cubicBezTo>
                  <a:pt x="9942830" y="1726119"/>
                  <a:pt x="9944735" y="1717863"/>
                  <a:pt x="9940925" y="1711513"/>
                </a:cubicBezTo>
                <a:cubicBezTo>
                  <a:pt x="9947275" y="1701354"/>
                  <a:pt x="9934575" y="1688019"/>
                  <a:pt x="9923780" y="1694369"/>
                </a:cubicBezTo>
                <a:cubicBezTo>
                  <a:pt x="9918065" y="1696909"/>
                  <a:pt x="9915525" y="1704529"/>
                  <a:pt x="9918065" y="1710244"/>
                </a:cubicBezTo>
                <a:cubicBezTo>
                  <a:pt x="9914890" y="1714688"/>
                  <a:pt x="9914255" y="1720404"/>
                  <a:pt x="9916795" y="1725484"/>
                </a:cubicBezTo>
                <a:cubicBezTo>
                  <a:pt x="9906000" y="1731199"/>
                  <a:pt x="9907270" y="1748344"/>
                  <a:pt x="9918065" y="1752788"/>
                </a:cubicBezTo>
                <a:cubicBezTo>
                  <a:pt x="9919335" y="1762313"/>
                  <a:pt x="9930130" y="1768663"/>
                  <a:pt x="9939020" y="1765488"/>
                </a:cubicBezTo>
                <a:cubicBezTo>
                  <a:pt x="9933305" y="1788984"/>
                  <a:pt x="9970135" y="1799144"/>
                  <a:pt x="9977120" y="1775649"/>
                </a:cubicBezTo>
                <a:cubicBezTo>
                  <a:pt x="9978390" y="1788349"/>
                  <a:pt x="9992995" y="1797874"/>
                  <a:pt x="10005060" y="1794063"/>
                </a:cubicBezTo>
                <a:cubicBezTo>
                  <a:pt x="10030460" y="1811209"/>
                  <a:pt x="10057765" y="1773744"/>
                  <a:pt x="10033635" y="1755329"/>
                </a:cubicBezTo>
                <a:close/>
                <a:moveTo>
                  <a:pt x="10016490" y="1804859"/>
                </a:moveTo>
                <a:cubicBezTo>
                  <a:pt x="9990455" y="1785174"/>
                  <a:pt x="9959340" y="1826449"/>
                  <a:pt x="9986645" y="1845499"/>
                </a:cubicBezTo>
                <a:cubicBezTo>
                  <a:pt x="10012680" y="1865819"/>
                  <a:pt x="10043795" y="1823909"/>
                  <a:pt x="10016490" y="1804859"/>
                </a:cubicBezTo>
                <a:close/>
                <a:moveTo>
                  <a:pt x="9884410" y="1919159"/>
                </a:moveTo>
                <a:cubicBezTo>
                  <a:pt x="9882505" y="1914079"/>
                  <a:pt x="9878060" y="1908999"/>
                  <a:pt x="9872980" y="1907094"/>
                </a:cubicBezTo>
                <a:cubicBezTo>
                  <a:pt x="9944100" y="1868359"/>
                  <a:pt x="9807575" y="1844229"/>
                  <a:pt x="9860915" y="1905188"/>
                </a:cubicBezTo>
                <a:cubicBezTo>
                  <a:pt x="9836150" y="1907094"/>
                  <a:pt x="9833610" y="1945194"/>
                  <a:pt x="9858375" y="1949638"/>
                </a:cubicBezTo>
                <a:cubicBezTo>
                  <a:pt x="9877425" y="1999169"/>
                  <a:pt x="9937115" y="1931224"/>
                  <a:pt x="9884410" y="1919159"/>
                </a:cubicBezTo>
                <a:close/>
                <a:moveTo>
                  <a:pt x="9769475" y="2077909"/>
                </a:moveTo>
                <a:cubicBezTo>
                  <a:pt x="9747885" y="2102674"/>
                  <a:pt x="9787255" y="2136329"/>
                  <a:pt x="9808210" y="2110929"/>
                </a:cubicBezTo>
                <a:cubicBezTo>
                  <a:pt x="9829800" y="2086163"/>
                  <a:pt x="9790430" y="2052509"/>
                  <a:pt x="9769475" y="2077909"/>
                </a:cubicBezTo>
                <a:close/>
                <a:moveTo>
                  <a:pt x="9814560" y="2001074"/>
                </a:moveTo>
                <a:cubicBezTo>
                  <a:pt x="9807575" y="1949004"/>
                  <a:pt x="9737090" y="2002979"/>
                  <a:pt x="9785985" y="2023299"/>
                </a:cubicBezTo>
                <a:cubicBezTo>
                  <a:pt x="9791065" y="2082354"/>
                  <a:pt x="9870440" y="2021394"/>
                  <a:pt x="9814560" y="2001074"/>
                </a:cubicBezTo>
                <a:close/>
                <a:moveTo>
                  <a:pt x="9878060" y="1986469"/>
                </a:moveTo>
                <a:cubicBezTo>
                  <a:pt x="9852660" y="1965513"/>
                  <a:pt x="9820275" y="2005519"/>
                  <a:pt x="9846310" y="2025838"/>
                </a:cubicBezTo>
                <a:cubicBezTo>
                  <a:pt x="9871075" y="2047429"/>
                  <a:pt x="9904095" y="2006788"/>
                  <a:pt x="9878060" y="1986469"/>
                </a:cubicBezTo>
                <a:close/>
                <a:moveTo>
                  <a:pt x="9949180" y="1835338"/>
                </a:moveTo>
                <a:cubicBezTo>
                  <a:pt x="9949180" y="1834704"/>
                  <a:pt x="9948545" y="1834704"/>
                  <a:pt x="9948545" y="1834069"/>
                </a:cubicBezTo>
                <a:cubicBezTo>
                  <a:pt x="9950450" y="1832799"/>
                  <a:pt x="9952355" y="1831529"/>
                  <a:pt x="9954260" y="1830259"/>
                </a:cubicBezTo>
                <a:lnTo>
                  <a:pt x="9954260" y="1830259"/>
                </a:lnTo>
                <a:cubicBezTo>
                  <a:pt x="9968230" y="1816288"/>
                  <a:pt x="9954260" y="1790254"/>
                  <a:pt x="9935210" y="1794699"/>
                </a:cubicBezTo>
                <a:cubicBezTo>
                  <a:pt x="9952990" y="1733104"/>
                  <a:pt x="9859645" y="1790254"/>
                  <a:pt x="9922510" y="1802319"/>
                </a:cubicBezTo>
                <a:cubicBezTo>
                  <a:pt x="9916160" y="1810574"/>
                  <a:pt x="9916795" y="1822004"/>
                  <a:pt x="9923780" y="1829624"/>
                </a:cubicBezTo>
                <a:cubicBezTo>
                  <a:pt x="9902825" y="1838513"/>
                  <a:pt x="9909175" y="1872169"/>
                  <a:pt x="9932670" y="1872804"/>
                </a:cubicBezTo>
                <a:cubicBezTo>
                  <a:pt x="9963785" y="1912174"/>
                  <a:pt x="9999980" y="1835338"/>
                  <a:pt x="9949180" y="1835338"/>
                </a:cubicBezTo>
                <a:close/>
                <a:moveTo>
                  <a:pt x="10366375" y="1444179"/>
                </a:moveTo>
                <a:cubicBezTo>
                  <a:pt x="10351770" y="1451799"/>
                  <a:pt x="10364470" y="1474659"/>
                  <a:pt x="10379075" y="1466404"/>
                </a:cubicBezTo>
                <a:cubicBezTo>
                  <a:pt x="10393045" y="1458784"/>
                  <a:pt x="10380345" y="1435924"/>
                  <a:pt x="10366375" y="1444179"/>
                </a:cubicBezTo>
                <a:close/>
                <a:moveTo>
                  <a:pt x="10383520" y="1402269"/>
                </a:moveTo>
                <a:cubicBezTo>
                  <a:pt x="10367645" y="1411794"/>
                  <a:pt x="10383520" y="1435924"/>
                  <a:pt x="10398760" y="1425763"/>
                </a:cubicBezTo>
                <a:cubicBezTo>
                  <a:pt x="10414635" y="1416238"/>
                  <a:pt x="10398760" y="1392109"/>
                  <a:pt x="10383520" y="1402269"/>
                </a:cubicBezTo>
                <a:close/>
                <a:moveTo>
                  <a:pt x="10422255" y="1413699"/>
                </a:moveTo>
                <a:cubicBezTo>
                  <a:pt x="10407650" y="1421319"/>
                  <a:pt x="10420350" y="1444179"/>
                  <a:pt x="10434320" y="1435924"/>
                </a:cubicBezTo>
                <a:cubicBezTo>
                  <a:pt x="10448925" y="1428304"/>
                  <a:pt x="10436225" y="1405444"/>
                  <a:pt x="10422255" y="1413699"/>
                </a:cubicBezTo>
                <a:close/>
                <a:moveTo>
                  <a:pt x="10333990" y="1410524"/>
                </a:moveTo>
                <a:cubicBezTo>
                  <a:pt x="10317480" y="1421954"/>
                  <a:pt x="10336530" y="1447988"/>
                  <a:pt x="10352405" y="1435288"/>
                </a:cubicBezTo>
                <a:cubicBezTo>
                  <a:pt x="10368280" y="1424494"/>
                  <a:pt x="10349865" y="1398459"/>
                  <a:pt x="10333990" y="1410524"/>
                </a:cubicBezTo>
                <a:close/>
                <a:moveTo>
                  <a:pt x="10293350" y="1455609"/>
                </a:moveTo>
                <a:lnTo>
                  <a:pt x="10293350" y="1455609"/>
                </a:lnTo>
                <a:cubicBezTo>
                  <a:pt x="10293985" y="1454974"/>
                  <a:pt x="10295255" y="1453704"/>
                  <a:pt x="10295890" y="1453069"/>
                </a:cubicBezTo>
                <a:cubicBezTo>
                  <a:pt x="10325100" y="1464499"/>
                  <a:pt x="10327005" y="1421319"/>
                  <a:pt x="10302240" y="1414969"/>
                </a:cubicBezTo>
                <a:cubicBezTo>
                  <a:pt x="10290175" y="1395919"/>
                  <a:pt x="10258425" y="1405444"/>
                  <a:pt x="10259060" y="1427669"/>
                </a:cubicBezTo>
                <a:cubicBezTo>
                  <a:pt x="10230485" y="1435288"/>
                  <a:pt x="10236200" y="1482913"/>
                  <a:pt x="10268585" y="1477199"/>
                </a:cubicBezTo>
                <a:cubicBezTo>
                  <a:pt x="10240010" y="1500059"/>
                  <a:pt x="10299700" y="1517838"/>
                  <a:pt x="10287635" y="1482913"/>
                </a:cubicBezTo>
                <a:cubicBezTo>
                  <a:pt x="10299065" y="1479738"/>
                  <a:pt x="10302240" y="1463863"/>
                  <a:pt x="10293350" y="1456244"/>
                </a:cubicBezTo>
                <a:cubicBezTo>
                  <a:pt x="10293350" y="1455609"/>
                  <a:pt x="10293350" y="1455609"/>
                  <a:pt x="10293350" y="1455609"/>
                </a:cubicBezTo>
                <a:close/>
                <a:moveTo>
                  <a:pt x="10252710" y="1501963"/>
                </a:moveTo>
                <a:cubicBezTo>
                  <a:pt x="10278110" y="1476563"/>
                  <a:pt x="10221595" y="1456244"/>
                  <a:pt x="10215880" y="1486724"/>
                </a:cubicBezTo>
                <a:cubicBezTo>
                  <a:pt x="10205085" y="1485454"/>
                  <a:pt x="10197465" y="1494979"/>
                  <a:pt x="10194290" y="1504504"/>
                </a:cubicBezTo>
                <a:cubicBezTo>
                  <a:pt x="10184130" y="1506409"/>
                  <a:pt x="10179685" y="1515934"/>
                  <a:pt x="10175875" y="1524188"/>
                </a:cubicBezTo>
                <a:cubicBezTo>
                  <a:pt x="10172065" y="1524824"/>
                  <a:pt x="10168255" y="1527363"/>
                  <a:pt x="10166350" y="1531174"/>
                </a:cubicBezTo>
                <a:cubicBezTo>
                  <a:pt x="10160000" y="1532444"/>
                  <a:pt x="10154285" y="1538794"/>
                  <a:pt x="10153015" y="1545144"/>
                </a:cubicBezTo>
                <a:cubicBezTo>
                  <a:pt x="10150475" y="1547049"/>
                  <a:pt x="10149205" y="1549588"/>
                  <a:pt x="10147935" y="1552763"/>
                </a:cubicBezTo>
                <a:cubicBezTo>
                  <a:pt x="10136505" y="1554034"/>
                  <a:pt x="10128250" y="1566734"/>
                  <a:pt x="10132060" y="1577529"/>
                </a:cubicBezTo>
                <a:cubicBezTo>
                  <a:pt x="10130790" y="1577529"/>
                  <a:pt x="10128885" y="1578163"/>
                  <a:pt x="10127615" y="1578799"/>
                </a:cubicBezTo>
                <a:cubicBezTo>
                  <a:pt x="10121265" y="1575624"/>
                  <a:pt x="10113645" y="1575624"/>
                  <a:pt x="10107930" y="1580704"/>
                </a:cubicBezTo>
                <a:cubicBezTo>
                  <a:pt x="10107930" y="1580704"/>
                  <a:pt x="10107930" y="1580704"/>
                  <a:pt x="10107930" y="1580704"/>
                </a:cubicBezTo>
                <a:cubicBezTo>
                  <a:pt x="10105390" y="1582609"/>
                  <a:pt x="10104120" y="1585149"/>
                  <a:pt x="10102850" y="1587688"/>
                </a:cubicBezTo>
                <a:cubicBezTo>
                  <a:pt x="10094595" y="1587688"/>
                  <a:pt x="10087610" y="1595309"/>
                  <a:pt x="10088245" y="1602929"/>
                </a:cubicBezTo>
                <a:cubicBezTo>
                  <a:pt x="10083800" y="1606738"/>
                  <a:pt x="10082530" y="1613724"/>
                  <a:pt x="10085705" y="1618804"/>
                </a:cubicBezTo>
                <a:cubicBezTo>
                  <a:pt x="10081260" y="1619438"/>
                  <a:pt x="10076815" y="1621344"/>
                  <a:pt x="10073005" y="1624519"/>
                </a:cubicBezTo>
                <a:cubicBezTo>
                  <a:pt x="10073005" y="1624519"/>
                  <a:pt x="10073005" y="1624519"/>
                  <a:pt x="10073005" y="1624519"/>
                </a:cubicBezTo>
                <a:cubicBezTo>
                  <a:pt x="10071100" y="1627059"/>
                  <a:pt x="10069195" y="1629599"/>
                  <a:pt x="10068560" y="1632138"/>
                </a:cubicBezTo>
                <a:cubicBezTo>
                  <a:pt x="10063480" y="1628329"/>
                  <a:pt x="10057130" y="1627059"/>
                  <a:pt x="10051415" y="1629599"/>
                </a:cubicBezTo>
                <a:cubicBezTo>
                  <a:pt x="10036175" y="1622613"/>
                  <a:pt x="10022840" y="1642934"/>
                  <a:pt x="10031095" y="1656269"/>
                </a:cubicBezTo>
                <a:cubicBezTo>
                  <a:pt x="10022205" y="1667063"/>
                  <a:pt x="10031095" y="1684844"/>
                  <a:pt x="10044430" y="1685479"/>
                </a:cubicBezTo>
                <a:cubicBezTo>
                  <a:pt x="10041255" y="1695004"/>
                  <a:pt x="10044430" y="1706434"/>
                  <a:pt x="10053320" y="1711513"/>
                </a:cubicBezTo>
                <a:cubicBezTo>
                  <a:pt x="10003790" y="1769299"/>
                  <a:pt x="10133330" y="1768029"/>
                  <a:pt x="10082530" y="1710879"/>
                </a:cubicBezTo>
                <a:cubicBezTo>
                  <a:pt x="10111740" y="1714688"/>
                  <a:pt x="10118725" y="1668334"/>
                  <a:pt x="10088880" y="1663888"/>
                </a:cubicBezTo>
                <a:cubicBezTo>
                  <a:pt x="10088245" y="1661984"/>
                  <a:pt x="10086975" y="1659444"/>
                  <a:pt x="10085705" y="1657538"/>
                </a:cubicBezTo>
                <a:cubicBezTo>
                  <a:pt x="10102850" y="1659444"/>
                  <a:pt x="10113645" y="1636584"/>
                  <a:pt x="10100945" y="1624519"/>
                </a:cubicBezTo>
                <a:cubicBezTo>
                  <a:pt x="10104120" y="1625788"/>
                  <a:pt x="10107930" y="1626424"/>
                  <a:pt x="10111740" y="1625788"/>
                </a:cubicBezTo>
                <a:cubicBezTo>
                  <a:pt x="10089515" y="1675954"/>
                  <a:pt x="10180955" y="1672144"/>
                  <a:pt x="10154920" y="1623884"/>
                </a:cubicBezTo>
                <a:cubicBezTo>
                  <a:pt x="10160635" y="1622613"/>
                  <a:pt x="10165715" y="1620074"/>
                  <a:pt x="10169525" y="1614994"/>
                </a:cubicBezTo>
                <a:lnTo>
                  <a:pt x="10169525" y="1614994"/>
                </a:lnTo>
                <a:cubicBezTo>
                  <a:pt x="10177145" y="1605469"/>
                  <a:pt x="10175240" y="1591499"/>
                  <a:pt x="10166985" y="1583244"/>
                </a:cubicBezTo>
                <a:cubicBezTo>
                  <a:pt x="10168890" y="1580704"/>
                  <a:pt x="10170160" y="1576894"/>
                  <a:pt x="10170160" y="1573719"/>
                </a:cubicBezTo>
                <a:cubicBezTo>
                  <a:pt x="10171430" y="1571813"/>
                  <a:pt x="10172700" y="1570544"/>
                  <a:pt x="10172700" y="1568004"/>
                </a:cubicBezTo>
                <a:cubicBezTo>
                  <a:pt x="10173335" y="1567369"/>
                  <a:pt x="10173970" y="1566734"/>
                  <a:pt x="10174605" y="1565463"/>
                </a:cubicBezTo>
                <a:cubicBezTo>
                  <a:pt x="10177145" y="1564829"/>
                  <a:pt x="10179685" y="1563559"/>
                  <a:pt x="10181590" y="1562288"/>
                </a:cubicBezTo>
                <a:cubicBezTo>
                  <a:pt x="10198735" y="1580069"/>
                  <a:pt x="10229850" y="1561654"/>
                  <a:pt x="10223500" y="1538159"/>
                </a:cubicBezTo>
                <a:cubicBezTo>
                  <a:pt x="10233025" y="1531174"/>
                  <a:pt x="10242550" y="1519744"/>
                  <a:pt x="10238740" y="1506409"/>
                </a:cubicBezTo>
                <a:cubicBezTo>
                  <a:pt x="10243820" y="1505774"/>
                  <a:pt x="10248900" y="1505774"/>
                  <a:pt x="10252710" y="1501963"/>
                </a:cubicBezTo>
                <a:close/>
                <a:moveTo>
                  <a:pt x="10255885" y="1507044"/>
                </a:moveTo>
                <a:cubicBezTo>
                  <a:pt x="10241280" y="1514663"/>
                  <a:pt x="10254615" y="1537524"/>
                  <a:pt x="10268585" y="1529269"/>
                </a:cubicBezTo>
                <a:cubicBezTo>
                  <a:pt x="10282555" y="1521013"/>
                  <a:pt x="10269855" y="1498788"/>
                  <a:pt x="10255885" y="1507044"/>
                </a:cubicBezTo>
                <a:close/>
                <a:moveTo>
                  <a:pt x="10311130" y="1475294"/>
                </a:moveTo>
                <a:cubicBezTo>
                  <a:pt x="10296525" y="1483549"/>
                  <a:pt x="10309225" y="1505774"/>
                  <a:pt x="10323830" y="1497519"/>
                </a:cubicBezTo>
                <a:cubicBezTo>
                  <a:pt x="10337800" y="1489899"/>
                  <a:pt x="10325100" y="1467038"/>
                  <a:pt x="10311130" y="1475294"/>
                </a:cubicBezTo>
                <a:close/>
                <a:moveTo>
                  <a:pt x="10325100" y="1439734"/>
                </a:moveTo>
                <a:cubicBezTo>
                  <a:pt x="10325100" y="1439734"/>
                  <a:pt x="10325100" y="1439734"/>
                  <a:pt x="10325100" y="1439734"/>
                </a:cubicBezTo>
                <a:cubicBezTo>
                  <a:pt x="10298430" y="1497519"/>
                  <a:pt x="10389235" y="1439099"/>
                  <a:pt x="10325100" y="1439734"/>
                </a:cubicBezTo>
                <a:close/>
                <a:moveTo>
                  <a:pt x="10416540" y="1370519"/>
                </a:moveTo>
                <a:cubicBezTo>
                  <a:pt x="10405110" y="1354009"/>
                  <a:pt x="10379075" y="1372424"/>
                  <a:pt x="10391140" y="1388299"/>
                </a:cubicBezTo>
                <a:cubicBezTo>
                  <a:pt x="10402570" y="1405444"/>
                  <a:pt x="10427970" y="1387029"/>
                  <a:pt x="10416540" y="1370519"/>
                </a:cubicBezTo>
                <a:close/>
                <a:moveTo>
                  <a:pt x="9370695" y="2479864"/>
                </a:moveTo>
                <a:cubicBezTo>
                  <a:pt x="9345295" y="2500819"/>
                  <a:pt x="9378315" y="2540189"/>
                  <a:pt x="9403080" y="2518599"/>
                </a:cubicBezTo>
                <a:cubicBezTo>
                  <a:pt x="9428480" y="2497644"/>
                  <a:pt x="9395460" y="2458274"/>
                  <a:pt x="9370695" y="2479864"/>
                </a:cubicBezTo>
                <a:close/>
                <a:moveTo>
                  <a:pt x="9403080" y="2380804"/>
                </a:moveTo>
                <a:cubicBezTo>
                  <a:pt x="9378315" y="2399854"/>
                  <a:pt x="9409430" y="2437954"/>
                  <a:pt x="9432925" y="2418269"/>
                </a:cubicBezTo>
                <a:cubicBezTo>
                  <a:pt x="9457690" y="2399219"/>
                  <a:pt x="9427210" y="2361119"/>
                  <a:pt x="9403080" y="2380804"/>
                </a:cubicBezTo>
                <a:close/>
                <a:moveTo>
                  <a:pt x="9413240" y="2244914"/>
                </a:moveTo>
                <a:cubicBezTo>
                  <a:pt x="9390380" y="2260154"/>
                  <a:pt x="9415145" y="2295714"/>
                  <a:pt x="9437370" y="2279839"/>
                </a:cubicBezTo>
                <a:cubicBezTo>
                  <a:pt x="9460230" y="2264599"/>
                  <a:pt x="9436100" y="2229039"/>
                  <a:pt x="9413240" y="2244914"/>
                </a:cubicBezTo>
                <a:close/>
                <a:moveTo>
                  <a:pt x="9361805" y="2304604"/>
                </a:moveTo>
                <a:cubicBezTo>
                  <a:pt x="9347200" y="2281109"/>
                  <a:pt x="9311005" y="2303969"/>
                  <a:pt x="9325610" y="2327464"/>
                </a:cubicBezTo>
                <a:cubicBezTo>
                  <a:pt x="9340850" y="2350959"/>
                  <a:pt x="9377045" y="2327464"/>
                  <a:pt x="9361805" y="2304604"/>
                </a:cubicBezTo>
                <a:close/>
                <a:moveTo>
                  <a:pt x="9317990" y="2446844"/>
                </a:moveTo>
                <a:cubicBezTo>
                  <a:pt x="9292590" y="2465259"/>
                  <a:pt x="9321800" y="2504629"/>
                  <a:pt x="9346565" y="2485579"/>
                </a:cubicBezTo>
                <a:cubicBezTo>
                  <a:pt x="9371965" y="2467164"/>
                  <a:pt x="9342755" y="2427794"/>
                  <a:pt x="9317990" y="2446844"/>
                </a:cubicBezTo>
                <a:close/>
                <a:moveTo>
                  <a:pt x="9230360" y="2509074"/>
                </a:moveTo>
                <a:cubicBezTo>
                  <a:pt x="9204325" y="2526219"/>
                  <a:pt x="9231630" y="2566859"/>
                  <a:pt x="9257030" y="2549079"/>
                </a:cubicBezTo>
                <a:cubicBezTo>
                  <a:pt x="9283065" y="2531934"/>
                  <a:pt x="9255760" y="2491294"/>
                  <a:pt x="9230360" y="2509074"/>
                </a:cubicBezTo>
                <a:close/>
                <a:moveTo>
                  <a:pt x="9455785" y="2404934"/>
                </a:moveTo>
                <a:cubicBezTo>
                  <a:pt x="9431020" y="2426524"/>
                  <a:pt x="9465945" y="2465259"/>
                  <a:pt x="9490075" y="2442399"/>
                </a:cubicBezTo>
                <a:cubicBezTo>
                  <a:pt x="9514205" y="2420809"/>
                  <a:pt x="9479280" y="2382709"/>
                  <a:pt x="9455785" y="2404934"/>
                </a:cubicBezTo>
                <a:close/>
                <a:moveTo>
                  <a:pt x="9190990" y="2617024"/>
                </a:moveTo>
                <a:cubicBezTo>
                  <a:pt x="9163685" y="2635439"/>
                  <a:pt x="9193530" y="2677984"/>
                  <a:pt x="9220200" y="2658934"/>
                </a:cubicBezTo>
                <a:lnTo>
                  <a:pt x="9220200" y="2658934"/>
                </a:lnTo>
                <a:cubicBezTo>
                  <a:pt x="9247505" y="2640519"/>
                  <a:pt x="9217660" y="2597974"/>
                  <a:pt x="9190990" y="2617024"/>
                </a:cubicBezTo>
                <a:close/>
                <a:moveTo>
                  <a:pt x="9282430" y="2550349"/>
                </a:moveTo>
                <a:cubicBezTo>
                  <a:pt x="9255760" y="2570034"/>
                  <a:pt x="9287510" y="2611309"/>
                  <a:pt x="9313545" y="2590354"/>
                </a:cubicBezTo>
                <a:cubicBezTo>
                  <a:pt x="9339580" y="2571304"/>
                  <a:pt x="9307830" y="2530029"/>
                  <a:pt x="9282430" y="2550349"/>
                </a:cubicBezTo>
                <a:close/>
                <a:moveTo>
                  <a:pt x="9617710" y="2246184"/>
                </a:moveTo>
                <a:cubicBezTo>
                  <a:pt x="9594850" y="2269679"/>
                  <a:pt x="9632315" y="2305239"/>
                  <a:pt x="9654540" y="2281109"/>
                </a:cubicBezTo>
                <a:cubicBezTo>
                  <a:pt x="9677400" y="2258249"/>
                  <a:pt x="9639935" y="2222054"/>
                  <a:pt x="9617710" y="2246184"/>
                </a:cubicBezTo>
                <a:close/>
                <a:moveTo>
                  <a:pt x="9662160" y="2157919"/>
                </a:moveTo>
                <a:cubicBezTo>
                  <a:pt x="9688830" y="2089338"/>
                  <a:pt x="9573895" y="2139504"/>
                  <a:pt x="9641840" y="2166809"/>
                </a:cubicBezTo>
                <a:cubicBezTo>
                  <a:pt x="9611995" y="2241104"/>
                  <a:pt x="9736455" y="2186494"/>
                  <a:pt x="9662160" y="2157919"/>
                </a:cubicBezTo>
                <a:close/>
                <a:moveTo>
                  <a:pt x="9485630" y="2312224"/>
                </a:moveTo>
                <a:cubicBezTo>
                  <a:pt x="9461500" y="2332544"/>
                  <a:pt x="9493885" y="2369374"/>
                  <a:pt x="9517380" y="2348419"/>
                </a:cubicBezTo>
                <a:cubicBezTo>
                  <a:pt x="9540875" y="2328099"/>
                  <a:pt x="9509125" y="2291269"/>
                  <a:pt x="9485630" y="2312224"/>
                </a:cubicBezTo>
                <a:close/>
                <a:moveTo>
                  <a:pt x="9695180" y="2162999"/>
                </a:moveTo>
                <a:cubicBezTo>
                  <a:pt x="9672955" y="2187129"/>
                  <a:pt x="9711055" y="2222054"/>
                  <a:pt x="9732645" y="2196654"/>
                </a:cubicBezTo>
                <a:cubicBezTo>
                  <a:pt x="9754870" y="2173159"/>
                  <a:pt x="9716770" y="2138234"/>
                  <a:pt x="9695180" y="2162999"/>
                </a:cubicBezTo>
                <a:close/>
                <a:moveTo>
                  <a:pt x="9701530" y="2002979"/>
                </a:moveTo>
                <a:cubicBezTo>
                  <a:pt x="9694545" y="1994724"/>
                  <a:pt x="9682480" y="1992819"/>
                  <a:pt x="9673590" y="1999804"/>
                </a:cubicBezTo>
                <a:cubicBezTo>
                  <a:pt x="9673590" y="1999804"/>
                  <a:pt x="9673590" y="1999804"/>
                  <a:pt x="9673590" y="1999804"/>
                </a:cubicBezTo>
                <a:cubicBezTo>
                  <a:pt x="9639300" y="2038538"/>
                  <a:pt x="9726930" y="2048063"/>
                  <a:pt x="9701530" y="2002979"/>
                </a:cubicBezTo>
                <a:close/>
                <a:moveTo>
                  <a:pt x="9565640" y="2239834"/>
                </a:moveTo>
                <a:cubicBezTo>
                  <a:pt x="9542780" y="2260789"/>
                  <a:pt x="9575800" y="2296349"/>
                  <a:pt x="9598660" y="2274759"/>
                </a:cubicBezTo>
                <a:cubicBezTo>
                  <a:pt x="9621520" y="2253804"/>
                  <a:pt x="9588500" y="2218244"/>
                  <a:pt x="9565640" y="2239834"/>
                </a:cubicBezTo>
                <a:close/>
                <a:moveTo>
                  <a:pt x="9491980" y="2189034"/>
                </a:moveTo>
                <a:cubicBezTo>
                  <a:pt x="9469755" y="2204909"/>
                  <a:pt x="9495790" y="2239834"/>
                  <a:pt x="9517380" y="2222689"/>
                </a:cubicBezTo>
                <a:cubicBezTo>
                  <a:pt x="9539605" y="2206814"/>
                  <a:pt x="9513570" y="2171889"/>
                  <a:pt x="9491980" y="2189034"/>
                </a:cubicBezTo>
                <a:close/>
                <a:moveTo>
                  <a:pt x="9537700" y="2327464"/>
                </a:moveTo>
                <a:cubicBezTo>
                  <a:pt x="9513570" y="2350324"/>
                  <a:pt x="9550400" y="2387154"/>
                  <a:pt x="9573260" y="2363659"/>
                </a:cubicBezTo>
                <a:cubicBezTo>
                  <a:pt x="9597390" y="2340799"/>
                  <a:pt x="9561195" y="2303969"/>
                  <a:pt x="9537700" y="2327464"/>
                </a:cubicBezTo>
                <a:close/>
                <a:moveTo>
                  <a:pt x="9551035" y="2141409"/>
                </a:moveTo>
                <a:cubicBezTo>
                  <a:pt x="9571990" y="2126804"/>
                  <a:pt x="9549130" y="2093784"/>
                  <a:pt x="9528175" y="2109024"/>
                </a:cubicBezTo>
                <a:cubicBezTo>
                  <a:pt x="9507220" y="2123629"/>
                  <a:pt x="9530715" y="2156649"/>
                  <a:pt x="9551035" y="2141409"/>
                </a:cubicBezTo>
                <a:close/>
                <a:moveTo>
                  <a:pt x="10976610" y="968563"/>
                </a:moveTo>
                <a:cubicBezTo>
                  <a:pt x="10965815" y="949513"/>
                  <a:pt x="10935970" y="966024"/>
                  <a:pt x="10946765" y="985074"/>
                </a:cubicBezTo>
                <a:cubicBezTo>
                  <a:pt x="10957560" y="1004759"/>
                  <a:pt x="10987405" y="987613"/>
                  <a:pt x="10976610" y="968563"/>
                </a:cubicBezTo>
                <a:close/>
                <a:moveTo>
                  <a:pt x="10937240" y="1164144"/>
                </a:moveTo>
                <a:cubicBezTo>
                  <a:pt x="10922000" y="1170494"/>
                  <a:pt x="10931525" y="1193988"/>
                  <a:pt x="10946765" y="1187638"/>
                </a:cubicBezTo>
                <a:cubicBezTo>
                  <a:pt x="10962640" y="1181924"/>
                  <a:pt x="10952480" y="1157794"/>
                  <a:pt x="10937240" y="1164144"/>
                </a:cubicBezTo>
                <a:close/>
                <a:moveTo>
                  <a:pt x="10878820" y="1188909"/>
                </a:moveTo>
                <a:cubicBezTo>
                  <a:pt x="10863580" y="1195259"/>
                  <a:pt x="10873740" y="1218754"/>
                  <a:pt x="10888980" y="1212404"/>
                </a:cubicBezTo>
                <a:cubicBezTo>
                  <a:pt x="10904220" y="1206054"/>
                  <a:pt x="10894060" y="1181924"/>
                  <a:pt x="10878820" y="1188909"/>
                </a:cubicBezTo>
                <a:close/>
                <a:moveTo>
                  <a:pt x="10941050" y="1125409"/>
                </a:moveTo>
                <a:cubicBezTo>
                  <a:pt x="10957560" y="1117788"/>
                  <a:pt x="10945495" y="1091754"/>
                  <a:pt x="10928985" y="1100009"/>
                </a:cubicBezTo>
                <a:cubicBezTo>
                  <a:pt x="10912475" y="1106994"/>
                  <a:pt x="10924540" y="1133663"/>
                  <a:pt x="10941050" y="1125409"/>
                </a:cubicBezTo>
                <a:close/>
                <a:moveTo>
                  <a:pt x="10878820" y="1155254"/>
                </a:moveTo>
                <a:cubicBezTo>
                  <a:pt x="10895330" y="1147634"/>
                  <a:pt x="10882630" y="1121599"/>
                  <a:pt x="10866755" y="1129854"/>
                </a:cubicBezTo>
                <a:cubicBezTo>
                  <a:pt x="10850245" y="1137474"/>
                  <a:pt x="10862945" y="1163509"/>
                  <a:pt x="10878820" y="1155254"/>
                </a:cubicBezTo>
                <a:close/>
                <a:moveTo>
                  <a:pt x="10925175" y="1056194"/>
                </a:moveTo>
                <a:cubicBezTo>
                  <a:pt x="10915650" y="1038413"/>
                  <a:pt x="10888345" y="1053019"/>
                  <a:pt x="10897870" y="1070799"/>
                </a:cubicBezTo>
                <a:cubicBezTo>
                  <a:pt x="10906760" y="1088579"/>
                  <a:pt x="10934700" y="1073974"/>
                  <a:pt x="10925175" y="1056194"/>
                </a:cubicBezTo>
                <a:close/>
                <a:moveTo>
                  <a:pt x="10823575" y="1166684"/>
                </a:moveTo>
                <a:cubicBezTo>
                  <a:pt x="10815320" y="1150174"/>
                  <a:pt x="10789920" y="1162874"/>
                  <a:pt x="10798175" y="1179384"/>
                </a:cubicBezTo>
                <a:cubicBezTo>
                  <a:pt x="10806430" y="1195894"/>
                  <a:pt x="10831830" y="1183194"/>
                  <a:pt x="10823575" y="1166684"/>
                </a:cubicBezTo>
                <a:close/>
                <a:moveTo>
                  <a:pt x="10772775" y="1122234"/>
                </a:moveTo>
                <a:cubicBezTo>
                  <a:pt x="10754995" y="1131759"/>
                  <a:pt x="10770870" y="1159699"/>
                  <a:pt x="10788650" y="1148904"/>
                </a:cubicBezTo>
                <a:cubicBezTo>
                  <a:pt x="10805795" y="1139379"/>
                  <a:pt x="10789920" y="1112074"/>
                  <a:pt x="10772775" y="1122234"/>
                </a:cubicBezTo>
                <a:close/>
                <a:moveTo>
                  <a:pt x="10820400" y="1214309"/>
                </a:moveTo>
                <a:cubicBezTo>
                  <a:pt x="10805160" y="1220659"/>
                  <a:pt x="10815955" y="1244788"/>
                  <a:pt x="10830560" y="1237169"/>
                </a:cubicBezTo>
                <a:cubicBezTo>
                  <a:pt x="10845800" y="1230819"/>
                  <a:pt x="10835005" y="1207324"/>
                  <a:pt x="10820400" y="1214309"/>
                </a:cubicBezTo>
                <a:close/>
                <a:moveTo>
                  <a:pt x="10859135" y="1091754"/>
                </a:moveTo>
                <a:cubicBezTo>
                  <a:pt x="10849610" y="1073974"/>
                  <a:pt x="10821670" y="1089213"/>
                  <a:pt x="10831830" y="1106994"/>
                </a:cubicBezTo>
                <a:cubicBezTo>
                  <a:pt x="10841355" y="1124774"/>
                  <a:pt x="10869295" y="1108899"/>
                  <a:pt x="10859135" y="1091754"/>
                </a:cubicBezTo>
                <a:close/>
                <a:moveTo>
                  <a:pt x="11056620" y="1044129"/>
                </a:moveTo>
                <a:cubicBezTo>
                  <a:pt x="11039475" y="1051113"/>
                  <a:pt x="11050905" y="1077784"/>
                  <a:pt x="11067415" y="1070163"/>
                </a:cubicBezTo>
                <a:cubicBezTo>
                  <a:pt x="11084560" y="1063179"/>
                  <a:pt x="11073130" y="1037144"/>
                  <a:pt x="11056620" y="1044129"/>
                </a:cubicBezTo>
                <a:close/>
                <a:moveTo>
                  <a:pt x="11052175" y="1011109"/>
                </a:moveTo>
                <a:cubicBezTo>
                  <a:pt x="11070590" y="1002854"/>
                  <a:pt x="11057255" y="974279"/>
                  <a:pt x="11038840" y="983169"/>
                </a:cubicBezTo>
                <a:cubicBezTo>
                  <a:pt x="11020425" y="991424"/>
                  <a:pt x="11033760" y="1019999"/>
                  <a:pt x="11052175" y="1011109"/>
                </a:cubicBezTo>
                <a:lnTo>
                  <a:pt x="11052175" y="1011109"/>
                </a:lnTo>
                <a:close/>
                <a:moveTo>
                  <a:pt x="11055985" y="1117788"/>
                </a:moveTo>
                <a:cubicBezTo>
                  <a:pt x="11040745" y="1123504"/>
                  <a:pt x="11049635" y="1147634"/>
                  <a:pt x="11064875" y="1141284"/>
                </a:cubicBezTo>
                <a:cubicBezTo>
                  <a:pt x="11080750" y="1136204"/>
                  <a:pt x="11071225" y="1112074"/>
                  <a:pt x="11055985" y="1117788"/>
                </a:cubicBezTo>
                <a:close/>
                <a:moveTo>
                  <a:pt x="10762615" y="1240344"/>
                </a:moveTo>
                <a:cubicBezTo>
                  <a:pt x="10747375" y="1247329"/>
                  <a:pt x="10758805" y="1270824"/>
                  <a:pt x="10773410" y="1263204"/>
                </a:cubicBezTo>
                <a:cubicBezTo>
                  <a:pt x="10788015" y="1256854"/>
                  <a:pt x="10777220" y="1233359"/>
                  <a:pt x="10762615" y="1240344"/>
                </a:cubicBezTo>
                <a:close/>
                <a:moveTo>
                  <a:pt x="11044555" y="717738"/>
                </a:moveTo>
                <a:cubicBezTo>
                  <a:pt x="11021695" y="732979"/>
                  <a:pt x="11046460" y="768538"/>
                  <a:pt x="11068685" y="752663"/>
                </a:cubicBezTo>
                <a:cubicBezTo>
                  <a:pt x="11091545" y="736788"/>
                  <a:pt x="11066780" y="701863"/>
                  <a:pt x="11044555" y="717738"/>
                </a:cubicBezTo>
                <a:close/>
                <a:moveTo>
                  <a:pt x="11040745" y="953324"/>
                </a:moveTo>
                <a:cubicBezTo>
                  <a:pt x="11060430" y="943163"/>
                  <a:pt x="11043920" y="912684"/>
                  <a:pt x="11024870" y="923479"/>
                </a:cubicBezTo>
                <a:cubicBezTo>
                  <a:pt x="11005185" y="933638"/>
                  <a:pt x="11021060" y="964119"/>
                  <a:pt x="11040745" y="953324"/>
                </a:cubicBezTo>
                <a:close/>
                <a:moveTo>
                  <a:pt x="10996930" y="1140649"/>
                </a:moveTo>
                <a:cubicBezTo>
                  <a:pt x="10981690" y="1146363"/>
                  <a:pt x="10991215" y="1170494"/>
                  <a:pt x="11006455" y="1164144"/>
                </a:cubicBezTo>
                <a:cubicBezTo>
                  <a:pt x="11021060" y="1158429"/>
                  <a:pt x="11012170" y="1134299"/>
                  <a:pt x="10996930" y="1140649"/>
                </a:cubicBezTo>
                <a:close/>
                <a:moveTo>
                  <a:pt x="10991850" y="1022538"/>
                </a:moveTo>
                <a:cubicBezTo>
                  <a:pt x="10982960" y="1004124"/>
                  <a:pt x="10955020" y="1018729"/>
                  <a:pt x="10963910" y="1036509"/>
                </a:cubicBezTo>
                <a:cubicBezTo>
                  <a:pt x="10972800" y="1054924"/>
                  <a:pt x="11001375" y="1040319"/>
                  <a:pt x="10991850" y="1022538"/>
                </a:cubicBezTo>
                <a:close/>
                <a:moveTo>
                  <a:pt x="11003915" y="1097469"/>
                </a:moveTo>
                <a:cubicBezTo>
                  <a:pt x="11020425" y="1090484"/>
                  <a:pt x="11008995" y="1063813"/>
                  <a:pt x="10992485" y="1071434"/>
                </a:cubicBezTo>
                <a:cubicBezTo>
                  <a:pt x="10975975" y="1078419"/>
                  <a:pt x="10987405" y="1105088"/>
                  <a:pt x="11003915" y="1097469"/>
                </a:cubicBezTo>
                <a:close/>
                <a:moveTo>
                  <a:pt x="10534015" y="1353374"/>
                </a:moveTo>
                <a:cubicBezTo>
                  <a:pt x="10519410" y="1360994"/>
                  <a:pt x="10531475" y="1383854"/>
                  <a:pt x="10545445" y="1375599"/>
                </a:cubicBezTo>
                <a:cubicBezTo>
                  <a:pt x="10560685" y="1368613"/>
                  <a:pt x="10548620" y="1345754"/>
                  <a:pt x="10534015" y="1353374"/>
                </a:cubicBezTo>
                <a:close/>
                <a:moveTo>
                  <a:pt x="10442575" y="1365438"/>
                </a:moveTo>
                <a:cubicBezTo>
                  <a:pt x="10426700" y="1374963"/>
                  <a:pt x="10441940" y="1399094"/>
                  <a:pt x="10457180" y="1389569"/>
                </a:cubicBezTo>
                <a:cubicBezTo>
                  <a:pt x="10473055" y="1380044"/>
                  <a:pt x="10457815" y="1355279"/>
                  <a:pt x="10442575" y="1365438"/>
                </a:cubicBezTo>
                <a:close/>
                <a:moveTo>
                  <a:pt x="10590530" y="1324163"/>
                </a:moveTo>
                <a:cubicBezTo>
                  <a:pt x="10575925" y="1331784"/>
                  <a:pt x="10587355" y="1354644"/>
                  <a:pt x="10601960" y="1347024"/>
                </a:cubicBezTo>
                <a:cubicBezTo>
                  <a:pt x="10617200" y="1339404"/>
                  <a:pt x="10605135" y="1316544"/>
                  <a:pt x="10590530" y="1324163"/>
                </a:cubicBezTo>
                <a:close/>
                <a:moveTo>
                  <a:pt x="10561320" y="1293684"/>
                </a:moveTo>
                <a:cubicBezTo>
                  <a:pt x="10545445" y="1302574"/>
                  <a:pt x="10560050" y="1327338"/>
                  <a:pt x="10575290" y="1317813"/>
                </a:cubicBezTo>
                <a:lnTo>
                  <a:pt x="10575290" y="1317813"/>
                </a:lnTo>
                <a:cubicBezTo>
                  <a:pt x="10591165" y="1308924"/>
                  <a:pt x="10576560" y="1284159"/>
                  <a:pt x="10561320" y="1293684"/>
                </a:cubicBezTo>
                <a:close/>
                <a:moveTo>
                  <a:pt x="10632440" y="1206688"/>
                </a:moveTo>
                <a:cubicBezTo>
                  <a:pt x="10650855" y="1193988"/>
                  <a:pt x="10630535" y="1166049"/>
                  <a:pt x="10612755" y="1178749"/>
                </a:cubicBezTo>
                <a:cubicBezTo>
                  <a:pt x="10612755" y="1178749"/>
                  <a:pt x="10612755" y="1178749"/>
                  <a:pt x="10612755" y="1178749"/>
                </a:cubicBezTo>
                <a:cubicBezTo>
                  <a:pt x="10594975" y="1191449"/>
                  <a:pt x="10614660" y="1219388"/>
                  <a:pt x="10632440" y="1206688"/>
                </a:cubicBezTo>
                <a:close/>
                <a:moveTo>
                  <a:pt x="10473690" y="1349563"/>
                </a:moveTo>
                <a:cubicBezTo>
                  <a:pt x="10490200" y="1338134"/>
                  <a:pt x="10472420" y="1312099"/>
                  <a:pt x="10455910" y="1324163"/>
                </a:cubicBezTo>
                <a:cubicBezTo>
                  <a:pt x="10455910" y="1324163"/>
                  <a:pt x="10455910" y="1324163"/>
                  <a:pt x="10455910" y="1324163"/>
                </a:cubicBezTo>
                <a:cubicBezTo>
                  <a:pt x="10439400" y="1334959"/>
                  <a:pt x="10457815" y="1360994"/>
                  <a:pt x="10473690" y="1349563"/>
                </a:cubicBezTo>
                <a:lnTo>
                  <a:pt x="10473690" y="1349563"/>
                </a:lnTo>
                <a:close/>
                <a:moveTo>
                  <a:pt x="10539730" y="1286063"/>
                </a:moveTo>
                <a:cubicBezTo>
                  <a:pt x="10528935" y="1268919"/>
                  <a:pt x="10502265" y="1286699"/>
                  <a:pt x="10513695" y="1303209"/>
                </a:cubicBezTo>
                <a:cubicBezTo>
                  <a:pt x="10525125" y="1320354"/>
                  <a:pt x="10551160" y="1302574"/>
                  <a:pt x="10539730" y="1286063"/>
                </a:cubicBezTo>
                <a:close/>
                <a:moveTo>
                  <a:pt x="10640060" y="1264474"/>
                </a:moveTo>
                <a:cubicBezTo>
                  <a:pt x="10631170" y="1248599"/>
                  <a:pt x="10606405" y="1262569"/>
                  <a:pt x="10615295" y="1278444"/>
                </a:cubicBezTo>
                <a:cubicBezTo>
                  <a:pt x="10624820" y="1294319"/>
                  <a:pt x="10649585" y="1280349"/>
                  <a:pt x="10640060" y="1264474"/>
                </a:cubicBezTo>
                <a:close/>
                <a:moveTo>
                  <a:pt x="10761980" y="1198434"/>
                </a:moveTo>
                <a:cubicBezTo>
                  <a:pt x="10753725" y="1181924"/>
                  <a:pt x="10728325" y="1195259"/>
                  <a:pt x="10737215" y="1211769"/>
                </a:cubicBezTo>
                <a:cubicBezTo>
                  <a:pt x="10745470" y="1227644"/>
                  <a:pt x="10770870" y="1214309"/>
                  <a:pt x="10761980" y="1198434"/>
                </a:cubicBezTo>
                <a:close/>
                <a:moveTo>
                  <a:pt x="10501630" y="1329244"/>
                </a:moveTo>
                <a:cubicBezTo>
                  <a:pt x="10485755" y="1338769"/>
                  <a:pt x="10500995" y="1362899"/>
                  <a:pt x="10516235" y="1353374"/>
                </a:cubicBezTo>
                <a:cubicBezTo>
                  <a:pt x="10532110" y="1343849"/>
                  <a:pt x="10516870" y="1319719"/>
                  <a:pt x="10501630" y="1329244"/>
                </a:cubicBezTo>
                <a:close/>
                <a:moveTo>
                  <a:pt x="10478135" y="1383219"/>
                </a:moveTo>
                <a:cubicBezTo>
                  <a:pt x="10463530" y="1390838"/>
                  <a:pt x="10476230" y="1413699"/>
                  <a:pt x="10490200" y="1405444"/>
                </a:cubicBezTo>
                <a:cubicBezTo>
                  <a:pt x="10504805" y="1397824"/>
                  <a:pt x="10492105" y="1375599"/>
                  <a:pt x="10478135" y="1383219"/>
                </a:cubicBezTo>
                <a:close/>
                <a:moveTo>
                  <a:pt x="10704830" y="1267649"/>
                </a:moveTo>
                <a:cubicBezTo>
                  <a:pt x="10689590" y="1274634"/>
                  <a:pt x="10701020" y="1298129"/>
                  <a:pt x="10715625" y="1290509"/>
                </a:cubicBezTo>
                <a:cubicBezTo>
                  <a:pt x="10730865" y="1283524"/>
                  <a:pt x="10719435" y="1260663"/>
                  <a:pt x="10704830" y="1267649"/>
                </a:cubicBezTo>
                <a:close/>
                <a:moveTo>
                  <a:pt x="10647680" y="1295588"/>
                </a:moveTo>
                <a:cubicBezTo>
                  <a:pt x="10633075" y="1302574"/>
                  <a:pt x="10644505" y="1326069"/>
                  <a:pt x="10659110" y="1318449"/>
                </a:cubicBezTo>
                <a:cubicBezTo>
                  <a:pt x="10673715" y="1311463"/>
                  <a:pt x="10662285" y="1287969"/>
                  <a:pt x="10647680" y="1295588"/>
                </a:cubicBezTo>
                <a:close/>
                <a:moveTo>
                  <a:pt x="10701020" y="1230819"/>
                </a:moveTo>
                <a:cubicBezTo>
                  <a:pt x="10692765" y="1214309"/>
                  <a:pt x="10667365" y="1228279"/>
                  <a:pt x="10676255" y="1244154"/>
                </a:cubicBezTo>
                <a:cubicBezTo>
                  <a:pt x="10684510" y="1260663"/>
                  <a:pt x="10709910" y="1246694"/>
                  <a:pt x="10701020" y="1230819"/>
                </a:cubicBezTo>
                <a:close/>
                <a:moveTo>
                  <a:pt x="10744200" y="995869"/>
                </a:moveTo>
                <a:cubicBezTo>
                  <a:pt x="10706735" y="1052384"/>
                  <a:pt x="10819765" y="1025713"/>
                  <a:pt x="10760075" y="992059"/>
                </a:cubicBezTo>
                <a:cubicBezTo>
                  <a:pt x="10807700" y="931734"/>
                  <a:pt x="10678795" y="956499"/>
                  <a:pt x="10745470" y="994599"/>
                </a:cubicBezTo>
                <a:cubicBezTo>
                  <a:pt x="10744835" y="995234"/>
                  <a:pt x="10744835" y="995234"/>
                  <a:pt x="10744200" y="995869"/>
                </a:cubicBezTo>
                <a:close/>
                <a:moveTo>
                  <a:pt x="10708005" y="1160969"/>
                </a:moveTo>
                <a:cubicBezTo>
                  <a:pt x="10690860" y="1171129"/>
                  <a:pt x="10706735" y="1198434"/>
                  <a:pt x="10723880" y="1187638"/>
                </a:cubicBezTo>
                <a:cubicBezTo>
                  <a:pt x="10741660" y="1177479"/>
                  <a:pt x="10725150" y="1150174"/>
                  <a:pt x="10708005" y="1160969"/>
                </a:cubicBezTo>
                <a:close/>
                <a:moveTo>
                  <a:pt x="10643870" y="1199704"/>
                </a:moveTo>
                <a:cubicBezTo>
                  <a:pt x="10626725" y="1209863"/>
                  <a:pt x="10643870" y="1237169"/>
                  <a:pt x="10660380" y="1225738"/>
                </a:cubicBezTo>
                <a:cubicBezTo>
                  <a:pt x="10677525" y="1215579"/>
                  <a:pt x="10661015" y="1188909"/>
                  <a:pt x="10643870" y="1199704"/>
                </a:cubicBezTo>
                <a:close/>
                <a:moveTo>
                  <a:pt x="10688955" y="1164144"/>
                </a:moveTo>
                <a:cubicBezTo>
                  <a:pt x="10718165" y="1163509"/>
                  <a:pt x="10704195" y="1117788"/>
                  <a:pt x="10679430" y="1133029"/>
                </a:cubicBezTo>
                <a:cubicBezTo>
                  <a:pt x="10665460" y="1141919"/>
                  <a:pt x="10673080" y="1164779"/>
                  <a:pt x="10688955" y="1164144"/>
                </a:cubicBezTo>
                <a:close/>
                <a:moveTo>
                  <a:pt x="10679430" y="1112074"/>
                </a:moveTo>
                <a:cubicBezTo>
                  <a:pt x="10701020" y="1138109"/>
                  <a:pt x="10730230" y="1091119"/>
                  <a:pt x="10697845" y="1083499"/>
                </a:cubicBezTo>
                <a:cubicBezTo>
                  <a:pt x="10708005" y="1074609"/>
                  <a:pt x="10705465" y="1056829"/>
                  <a:pt x="10692765" y="1051113"/>
                </a:cubicBezTo>
                <a:cubicBezTo>
                  <a:pt x="10700385" y="1040954"/>
                  <a:pt x="10696575" y="1025079"/>
                  <a:pt x="10685145" y="1019999"/>
                </a:cubicBezTo>
                <a:cubicBezTo>
                  <a:pt x="10753090" y="972374"/>
                  <a:pt x="10612120" y="959674"/>
                  <a:pt x="10669905" y="1018729"/>
                </a:cubicBezTo>
                <a:cubicBezTo>
                  <a:pt x="10650855" y="1023174"/>
                  <a:pt x="10649585" y="1052384"/>
                  <a:pt x="10668000" y="1058734"/>
                </a:cubicBezTo>
                <a:cubicBezTo>
                  <a:pt x="10660380" y="1069529"/>
                  <a:pt x="10667365" y="1087309"/>
                  <a:pt x="10681335" y="1088579"/>
                </a:cubicBezTo>
                <a:cubicBezTo>
                  <a:pt x="10674985" y="1094929"/>
                  <a:pt x="10674350" y="1105088"/>
                  <a:pt x="10679430" y="1112074"/>
                </a:cubicBezTo>
                <a:close/>
                <a:moveTo>
                  <a:pt x="11482705" y="989519"/>
                </a:moveTo>
                <a:cubicBezTo>
                  <a:pt x="11466830" y="992694"/>
                  <a:pt x="11472545" y="1018094"/>
                  <a:pt x="11488420" y="1014284"/>
                </a:cubicBezTo>
                <a:cubicBezTo>
                  <a:pt x="11504930" y="1010474"/>
                  <a:pt x="11499215" y="985709"/>
                  <a:pt x="11482705" y="989519"/>
                </a:cubicBezTo>
                <a:close/>
                <a:moveTo>
                  <a:pt x="635" y="1256854"/>
                </a:moveTo>
                <a:cubicBezTo>
                  <a:pt x="0" y="1256854"/>
                  <a:pt x="0" y="1256854"/>
                  <a:pt x="635" y="1256854"/>
                </a:cubicBezTo>
                <a:lnTo>
                  <a:pt x="0" y="1293049"/>
                </a:lnTo>
                <a:cubicBezTo>
                  <a:pt x="18415" y="1289874"/>
                  <a:pt x="20955" y="1260029"/>
                  <a:pt x="635" y="1256854"/>
                </a:cubicBezTo>
                <a:close/>
                <a:moveTo>
                  <a:pt x="635" y="1186369"/>
                </a:moveTo>
                <a:cubicBezTo>
                  <a:pt x="0" y="1186369"/>
                  <a:pt x="0" y="1186369"/>
                  <a:pt x="635" y="1186369"/>
                </a:cubicBezTo>
                <a:lnTo>
                  <a:pt x="0" y="1223199"/>
                </a:lnTo>
                <a:cubicBezTo>
                  <a:pt x="18415" y="1220024"/>
                  <a:pt x="20320" y="1190179"/>
                  <a:pt x="635" y="1186369"/>
                </a:cubicBezTo>
                <a:close/>
                <a:moveTo>
                  <a:pt x="15240" y="1344484"/>
                </a:moveTo>
                <a:cubicBezTo>
                  <a:pt x="15240" y="1333054"/>
                  <a:pt x="8255" y="1327974"/>
                  <a:pt x="0" y="1326704"/>
                </a:cubicBezTo>
                <a:lnTo>
                  <a:pt x="0" y="1362263"/>
                </a:lnTo>
                <a:cubicBezTo>
                  <a:pt x="8255" y="1360994"/>
                  <a:pt x="15240" y="1354644"/>
                  <a:pt x="15240" y="1344484"/>
                </a:cubicBezTo>
                <a:close/>
                <a:moveTo>
                  <a:pt x="163830" y="1565463"/>
                </a:moveTo>
                <a:cubicBezTo>
                  <a:pt x="178435" y="1573084"/>
                  <a:pt x="189865" y="1549588"/>
                  <a:pt x="175260" y="1542604"/>
                </a:cubicBezTo>
                <a:cubicBezTo>
                  <a:pt x="160020" y="1534984"/>
                  <a:pt x="148590" y="1558479"/>
                  <a:pt x="163830" y="1565463"/>
                </a:cubicBezTo>
                <a:close/>
                <a:moveTo>
                  <a:pt x="132080" y="1957894"/>
                </a:moveTo>
                <a:cubicBezTo>
                  <a:pt x="123825" y="1978213"/>
                  <a:pt x="155575" y="1990913"/>
                  <a:pt x="163830" y="1970594"/>
                </a:cubicBezTo>
                <a:cubicBezTo>
                  <a:pt x="172085" y="1950274"/>
                  <a:pt x="139700" y="1937574"/>
                  <a:pt x="132080" y="1957894"/>
                </a:cubicBezTo>
                <a:close/>
                <a:moveTo>
                  <a:pt x="15240" y="1414334"/>
                </a:moveTo>
                <a:cubicBezTo>
                  <a:pt x="15240" y="1402904"/>
                  <a:pt x="8255" y="1397824"/>
                  <a:pt x="0" y="1396554"/>
                </a:cubicBezTo>
                <a:lnTo>
                  <a:pt x="0" y="1432113"/>
                </a:lnTo>
                <a:cubicBezTo>
                  <a:pt x="8255" y="1430844"/>
                  <a:pt x="15240" y="1424494"/>
                  <a:pt x="15240" y="1414334"/>
                </a:cubicBezTo>
                <a:close/>
                <a:moveTo>
                  <a:pt x="121285" y="1812479"/>
                </a:moveTo>
                <a:cubicBezTo>
                  <a:pt x="113030" y="1830894"/>
                  <a:pt x="141605" y="1843594"/>
                  <a:pt x="149860" y="1825179"/>
                </a:cubicBezTo>
                <a:cubicBezTo>
                  <a:pt x="158115" y="1806763"/>
                  <a:pt x="129540" y="1794063"/>
                  <a:pt x="121285" y="1812479"/>
                </a:cubicBezTo>
                <a:close/>
                <a:moveTo>
                  <a:pt x="111125" y="1666429"/>
                </a:moveTo>
                <a:cubicBezTo>
                  <a:pt x="107950" y="1673413"/>
                  <a:pt x="110490" y="1681669"/>
                  <a:pt x="117475" y="1685479"/>
                </a:cubicBezTo>
                <a:lnTo>
                  <a:pt x="117475" y="1685479"/>
                </a:lnTo>
                <a:cubicBezTo>
                  <a:pt x="153670" y="1695004"/>
                  <a:pt x="132715" y="1636584"/>
                  <a:pt x="111125" y="1666429"/>
                </a:cubicBezTo>
                <a:close/>
                <a:moveTo>
                  <a:pt x="106680" y="1536888"/>
                </a:moveTo>
                <a:cubicBezTo>
                  <a:pt x="121285" y="1544509"/>
                  <a:pt x="133350" y="1521649"/>
                  <a:pt x="118110" y="1514029"/>
                </a:cubicBezTo>
                <a:cubicBezTo>
                  <a:pt x="103505" y="1506409"/>
                  <a:pt x="92075" y="1529269"/>
                  <a:pt x="106680" y="1536888"/>
                </a:cubicBezTo>
                <a:close/>
                <a:moveTo>
                  <a:pt x="635" y="1116519"/>
                </a:moveTo>
                <a:cubicBezTo>
                  <a:pt x="0" y="1116519"/>
                  <a:pt x="0" y="1116519"/>
                  <a:pt x="635" y="1116519"/>
                </a:cubicBezTo>
                <a:lnTo>
                  <a:pt x="0" y="1152713"/>
                </a:lnTo>
                <a:cubicBezTo>
                  <a:pt x="18415" y="1150174"/>
                  <a:pt x="20955" y="1120329"/>
                  <a:pt x="635" y="1116519"/>
                </a:cubicBezTo>
                <a:close/>
                <a:moveTo>
                  <a:pt x="7620" y="2171254"/>
                </a:moveTo>
                <a:cubicBezTo>
                  <a:pt x="5080" y="2169984"/>
                  <a:pt x="2540" y="2169984"/>
                  <a:pt x="0" y="2169349"/>
                </a:cubicBezTo>
                <a:lnTo>
                  <a:pt x="0" y="2209354"/>
                </a:lnTo>
                <a:cubicBezTo>
                  <a:pt x="19050" y="2209989"/>
                  <a:pt x="28575" y="2179509"/>
                  <a:pt x="7620" y="2171254"/>
                </a:cubicBezTo>
                <a:close/>
                <a:moveTo>
                  <a:pt x="10795" y="1472754"/>
                </a:moveTo>
                <a:cubicBezTo>
                  <a:pt x="16510" y="1461959"/>
                  <a:pt x="8255" y="1454974"/>
                  <a:pt x="0" y="1454338"/>
                </a:cubicBezTo>
                <a:lnTo>
                  <a:pt x="0" y="1502599"/>
                </a:lnTo>
                <a:cubicBezTo>
                  <a:pt x="13335" y="1500694"/>
                  <a:pt x="20320" y="1482913"/>
                  <a:pt x="10795" y="1472754"/>
                </a:cubicBezTo>
                <a:close/>
                <a:moveTo>
                  <a:pt x="437515" y="1820734"/>
                </a:moveTo>
                <a:cubicBezTo>
                  <a:pt x="454660" y="1827084"/>
                  <a:pt x="464820" y="1800413"/>
                  <a:pt x="447040" y="1794063"/>
                </a:cubicBezTo>
                <a:cubicBezTo>
                  <a:pt x="429895" y="1787079"/>
                  <a:pt x="419735" y="1814384"/>
                  <a:pt x="437515" y="1820734"/>
                </a:cubicBezTo>
                <a:close/>
                <a:moveTo>
                  <a:pt x="7620" y="2457639"/>
                </a:moveTo>
                <a:cubicBezTo>
                  <a:pt x="5080" y="2457004"/>
                  <a:pt x="2540" y="2456369"/>
                  <a:pt x="0" y="2456369"/>
                </a:cubicBezTo>
                <a:lnTo>
                  <a:pt x="0" y="2501454"/>
                </a:lnTo>
                <a:cubicBezTo>
                  <a:pt x="22225" y="2502089"/>
                  <a:pt x="32385" y="2465894"/>
                  <a:pt x="7620" y="2457639"/>
                </a:cubicBezTo>
                <a:close/>
                <a:moveTo>
                  <a:pt x="7620" y="2028379"/>
                </a:moveTo>
                <a:cubicBezTo>
                  <a:pt x="5080" y="2027109"/>
                  <a:pt x="2540" y="2026474"/>
                  <a:pt x="0" y="2026474"/>
                </a:cubicBezTo>
                <a:lnTo>
                  <a:pt x="0" y="2063304"/>
                </a:lnTo>
                <a:cubicBezTo>
                  <a:pt x="17145" y="2063938"/>
                  <a:pt x="26670" y="2036634"/>
                  <a:pt x="7620" y="2028379"/>
                </a:cubicBezTo>
                <a:close/>
                <a:moveTo>
                  <a:pt x="13335" y="1616263"/>
                </a:moveTo>
                <a:cubicBezTo>
                  <a:pt x="17780" y="1605469"/>
                  <a:pt x="8890" y="1597849"/>
                  <a:pt x="0" y="1597849"/>
                </a:cubicBezTo>
                <a:lnTo>
                  <a:pt x="0" y="1642299"/>
                </a:lnTo>
                <a:cubicBezTo>
                  <a:pt x="10795" y="1639759"/>
                  <a:pt x="19685" y="1628963"/>
                  <a:pt x="13335" y="1616263"/>
                </a:cubicBezTo>
                <a:close/>
                <a:moveTo>
                  <a:pt x="635" y="1536254"/>
                </a:moveTo>
                <a:cubicBezTo>
                  <a:pt x="0" y="1536254"/>
                  <a:pt x="0" y="1536254"/>
                  <a:pt x="635" y="1536254"/>
                </a:cubicBezTo>
                <a:lnTo>
                  <a:pt x="0" y="1572449"/>
                </a:lnTo>
                <a:cubicBezTo>
                  <a:pt x="18415" y="1569909"/>
                  <a:pt x="20955" y="1540063"/>
                  <a:pt x="635" y="1536254"/>
                </a:cubicBezTo>
                <a:close/>
                <a:moveTo>
                  <a:pt x="6985" y="1741994"/>
                </a:moveTo>
                <a:cubicBezTo>
                  <a:pt x="4445" y="1740724"/>
                  <a:pt x="2540" y="1740088"/>
                  <a:pt x="0" y="1740088"/>
                </a:cubicBezTo>
                <a:lnTo>
                  <a:pt x="0" y="1771204"/>
                </a:lnTo>
                <a:cubicBezTo>
                  <a:pt x="13970" y="1771204"/>
                  <a:pt x="22860" y="1748979"/>
                  <a:pt x="6985" y="1741994"/>
                </a:cubicBezTo>
                <a:close/>
                <a:moveTo>
                  <a:pt x="635" y="1675954"/>
                </a:moveTo>
                <a:cubicBezTo>
                  <a:pt x="0" y="1675954"/>
                  <a:pt x="0" y="1675954"/>
                  <a:pt x="635" y="1675954"/>
                </a:cubicBezTo>
                <a:lnTo>
                  <a:pt x="0" y="1712149"/>
                </a:lnTo>
                <a:cubicBezTo>
                  <a:pt x="19050" y="1709609"/>
                  <a:pt x="20320" y="1679763"/>
                  <a:pt x="635" y="1675954"/>
                </a:cubicBezTo>
                <a:close/>
                <a:moveTo>
                  <a:pt x="6985" y="1884869"/>
                </a:moveTo>
                <a:cubicBezTo>
                  <a:pt x="4445" y="1883599"/>
                  <a:pt x="1905" y="1882963"/>
                  <a:pt x="0" y="1882963"/>
                </a:cubicBezTo>
                <a:lnTo>
                  <a:pt x="0" y="1917254"/>
                </a:lnTo>
                <a:cubicBezTo>
                  <a:pt x="15875" y="1917888"/>
                  <a:pt x="24765" y="1893124"/>
                  <a:pt x="6985" y="1884869"/>
                </a:cubicBezTo>
                <a:close/>
                <a:moveTo>
                  <a:pt x="307975" y="1769934"/>
                </a:moveTo>
                <a:cubicBezTo>
                  <a:pt x="324485" y="1777554"/>
                  <a:pt x="335915" y="1750884"/>
                  <a:pt x="318770" y="1743899"/>
                </a:cubicBezTo>
                <a:cubicBezTo>
                  <a:pt x="301625" y="1736913"/>
                  <a:pt x="290830" y="1762949"/>
                  <a:pt x="307975" y="1769934"/>
                </a:cubicBezTo>
                <a:close/>
                <a:moveTo>
                  <a:pt x="347345" y="2314129"/>
                </a:moveTo>
                <a:cubicBezTo>
                  <a:pt x="372110" y="2319209"/>
                  <a:pt x="380365" y="2279839"/>
                  <a:pt x="354965" y="2275394"/>
                </a:cubicBezTo>
                <a:cubicBezTo>
                  <a:pt x="329565" y="2270314"/>
                  <a:pt x="321945" y="2309684"/>
                  <a:pt x="347345" y="2314129"/>
                </a:cubicBezTo>
                <a:close/>
                <a:moveTo>
                  <a:pt x="173355" y="1695638"/>
                </a:moveTo>
                <a:cubicBezTo>
                  <a:pt x="165735" y="1712149"/>
                  <a:pt x="191770" y="1724213"/>
                  <a:pt x="198755" y="1707069"/>
                </a:cubicBezTo>
                <a:cubicBezTo>
                  <a:pt x="207010" y="1691194"/>
                  <a:pt x="180975" y="1679129"/>
                  <a:pt x="173355" y="1695638"/>
                </a:cubicBezTo>
                <a:close/>
                <a:moveTo>
                  <a:pt x="338455" y="1916619"/>
                </a:moveTo>
                <a:cubicBezTo>
                  <a:pt x="357505" y="1923604"/>
                  <a:pt x="368300" y="1893759"/>
                  <a:pt x="348615" y="1887409"/>
                </a:cubicBezTo>
                <a:cubicBezTo>
                  <a:pt x="330200" y="1879788"/>
                  <a:pt x="320040" y="1909634"/>
                  <a:pt x="338455" y="1916619"/>
                </a:cubicBezTo>
                <a:close/>
                <a:moveTo>
                  <a:pt x="336550" y="1646744"/>
                </a:moveTo>
                <a:cubicBezTo>
                  <a:pt x="351155" y="1653729"/>
                  <a:pt x="361950" y="1630234"/>
                  <a:pt x="346710" y="1623884"/>
                </a:cubicBezTo>
                <a:cubicBezTo>
                  <a:pt x="331470" y="1616899"/>
                  <a:pt x="321310" y="1640394"/>
                  <a:pt x="336550" y="1646744"/>
                </a:cubicBezTo>
                <a:close/>
                <a:moveTo>
                  <a:pt x="400050" y="1921063"/>
                </a:moveTo>
                <a:cubicBezTo>
                  <a:pt x="393700" y="1940113"/>
                  <a:pt x="423545" y="1950274"/>
                  <a:pt x="429260" y="1930588"/>
                </a:cubicBezTo>
                <a:cubicBezTo>
                  <a:pt x="436245" y="1911538"/>
                  <a:pt x="405765" y="1902013"/>
                  <a:pt x="400050" y="1921063"/>
                </a:cubicBezTo>
                <a:close/>
                <a:moveTo>
                  <a:pt x="375920" y="2059494"/>
                </a:moveTo>
                <a:cubicBezTo>
                  <a:pt x="394970" y="2060129"/>
                  <a:pt x="399415" y="2030919"/>
                  <a:pt x="380365" y="2026474"/>
                </a:cubicBezTo>
                <a:cubicBezTo>
                  <a:pt x="356235" y="2019488"/>
                  <a:pt x="350520" y="2059494"/>
                  <a:pt x="375920" y="2059494"/>
                </a:cubicBezTo>
                <a:close/>
                <a:moveTo>
                  <a:pt x="394335" y="1672144"/>
                </a:moveTo>
                <a:cubicBezTo>
                  <a:pt x="408940" y="1679129"/>
                  <a:pt x="419735" y="1654999"/>
                  <a:pt x="404495" y="1648649"/>
                </a:cubicBezTo>
                <a:cubicBezTo>
                  <a:pt x="389890" y="1642299"/>
                  <a:pt x="379095" y="1665794"/>
                  <a:pt x="394335" y="1672144"/>
                </a:cubicBezTo>
                <a:close/>
                <a:moveTo>
                  <a:pt x="372110" y="1795969"/>
                </a:moveTo>
                <a:cubicBezTo>
                  <a:pt x="388620" y="1802954"/>
                  <a:pt x="399415" y="1776284"/>
                  <a:pt x="382270" y="1769934"/>
                </a:cubicBezTo>
                <a:cubicBezTo>
                  <a:pt x="365760" y="1762949"/>
                  <a:pt x="354965" y="1789619"/>
                  <a:pt x="372110" y="1795969"/>
                </a:cubicBezTo>
                <a:close/>
                <a:moveTo>
                  <a:pt x="342265" y="2163634"/>
                </a:moveTo>
                <a:cubicBezTo>
                  <a:pt x="348615" y="2140774"/>
                  <a:pt x="312420" y="2131249"/>
                  <a:pt x="306705" y="2154109"/>
                </a:cubicBezTo>
                <a:cubicBezTo>
                  <a:pt x="300355" y="2176969"/>
                  <a:pt x="336550" y="2186494"/>
                  <a:pt x="342265" y="2163634"/>
                </a:cubicBezTo>
                <a:close/>
                <a:moveTo>
                  <a:pt x="278130" y="1620074"/>
                </a:moveTo>
                <a:cubicBezTo>
                  <a:pt x="292735" y="1627059"/>
                  <a:pt x="304165" y="1603563"/>
                  <a:pt x="288925" y="1597213"/>
                </a:cubicBezTo>
                <a:cubicBezTo>
                  <a:pt x="274320" y="1590229"/>
                  <a:pt x="263525" y="1613724"/>
                  <a:pt x="278130" y="1620074"/>
                </a:cubicBezTo>
                <a:close/>
                <a:moveTo>
                  <a:pt x="243840" y="1742629"/>
                </a:moveTo>
                <a:cubicBezTo>
                  <a:pt x="260350" y="1750249"/>
                  <a:pt x="271780" y="1723579"/>
                  <a:pt x="255270" y="1716594"/>
                </a:cubicBezTo>
                <a:cubicBezTo>
                  <a:pt x="238760" y="1709609"/>
                  <a:pt x="227330" y="1735644"/>
                  <a:pt x="243840" y="1742629"/>
                </a:cubicBezTo>
                <a:close/>
                <a:moveTo>
                  <a:pt x="220980" y="1593404"/>
                </a:moveTo>
                <a:cubicBezTo>
                  <a:pt x="235585" y="1601024"/>
                  <a:pt x="247015" y="1577529"/>
                  <a:pt x="231775" y="1570544"/>
                </a:cubicBezTo>
                <a:cubicBezTo>
                  <a:pt x="217170" y="1562924"/>
                  <a:pt x="205740" y="1586419"/>
                  <a:pt x="220980" y="1593404"/>
                </a:cubicBezTo>
                <a:close/>
                <a:moveTo>
                  <a:pt x="189865" y="1842324"/>
                </a:moveTo>
                <a:cubicBezTo>
                  <a:pt x="181610" y="1860738"/>
                  <a:pt x="210820" y="1872804"/>
                  <a:pt x="218440" y="1854388"/>
                </a:cubicBezTo>
                <a:cubicBezTo>
                  <a:pt x="226695" y="1835338"/>
                  <a:pt x="197485" y="1823274"/>
                  <a:pt x="189865" y="1842324"/>
                </a:cubicBezTo>
                <a:close/>
                <a:moveTo>
                  <a:pt x="282575" y="2013774"/>
                </a:moveTo>
                <a:cubicBezTo>
                  <a:pt x="275590" y="2034729"/>
                  <a:pt x="307975" y="2045524"/>
                  <a:pt x="314960" y="2024569"/>
                </a:cubicBezTo>
                <a:cubicBezTo>
                  <a:pt x="321945" y="2003613"/>
                  <a:pt x="289560" y="1992819"/>
                  <a:pt x="282575" y="2013774"/>
                </a:cubicBezTo>
                <a:close/>
                <a:moveTo>
                  <a:pt x="236220" y="2152839"/>
                </a:moveTo>
                <a:cubicBezTo>
                  <a:pt x="258445" y="2160459"/>
                  <a:pt x="269875" y="2124264"/>
                  <a:pt x="247015" y="2117914"/>
                </a:cubicBezTo>
                <a:cubicBezTo>
                  <a:pt x="224790" y="2110294"/>
                  <a:pt x="213360" y="2145854"/>
                  <a:pt x="236220" y="2152839"/>
                </a:cubicBezTo>
                <a:close/>
                <a:moveTo>
                  <a:pt x="267970" y="1890584"/>
                </a:moveTo>
                <a:cubicBezTo>
                  <a:pt x="286385" y="1898204"/>
                  <a:pt x="298450" y="1868359"/>
                  <a:pt x="278765" y="1861374"/>
                </a:cubicBezTo>
                <a:cubicBezTo>
                  <a:pt x="260985" y="1853754"/>
                  <a:pt x="249555" y="1883599"/>
                  <a:pt x="267970" y="1890584"/>
                </a:cubicBezTo>
                <a:close/>
                <a:moveTo>
                  <a:pt x="238760" y="1998534"/>
                </a:moveTo>
                <a:cubicBezTo>
                  <a:pt x="246380" y="1978213"/>
                  <a:pt x="213995" y="1966149"/>
                  <a:pt x="207010" y="1987104"/>
                </a:cubicBezTo>
                <a:cubicBezTo>
                  <a:pt x="199390" y="2007424"/>
                  <a:pt x="231140" y="2019488"/>
                  <a:pt x="238760" y="1998534"/>
                </a:cubicBezTo>
                <a:close/>
                <a:moveTo>
                  <a:pt x="7620" y="2314129"/>
                </a:moveTo>
                <a:cubicBezTo>
                  <a:pt x="5080" y="2312859"/>
                  <a:pt x="2540" y="2312859"/>
                  <a:pt x="0" y="2312859"/>
                </a:cubicBezTo>
                <a:lnTo>
                  <a:pt x="0" y="2355404"/>
                </a:lnTo>
                <a:cubicBezTo>
                  <a:pt x="20320" y="2356039"/>
                  <a:pt x="30480" y="2323019"/>
                  <a:pt x="7620" y="2314129"/>
                </a:cubicBezTo>
                <a:close/>
                <a:moveTo>
                  <a:pt x="302260" y="2415729"/>
                </a:moveTo>
                <a:cubicBezTo>
                  <a:pt x="307340" y="2389059"/>
                  <a:pt x="264795" y="2381439"/>
                  <a:pt x="260350" y="2408109"/>
                </a:cubicBezTo>
                <a:cubicBezTo>
                  <a:pt x="255270" y="2435414"/>
                  <a:pt x="297815" y="2443034"/>
                  <a:pt x="302260" y="2415729"/>
                </a:cubicBezTo>
                <a:close/>
                <a:moveTo>
                  <a:pt x="426720" y="2552254"/>
                </a:moveTo>
                <a:cubicBezTo>
                  <a:pt x="427990" y="2523044"/>
                  <a:pt x="381635" y="2521774"/>
                  <a:pt x="381635" y="2550984"/>
                </a:cubicBezTo>
                <a:cubicBezTo>
                  <a:pt x="380365" y="2580829"/>
                  <a:pt x="426085" y="2582099"/>
                  <a:pt x="426720" y="2552254"/>
                </a:cubicBezTo>
                <a:close/>
                <a:moveTo>
                  <a:pt x="448945" y="2761169"/>
                </a:moveTo>
                <a:cubicBezTo>
                  <a:pt x="415925" y="2766249"/>
                  <a:pt x="424815" y="2817049"/>
                  <a:pt x="457200" y="2811334"/>
                </a:cubicBezTo>
                <a:cubicBezTo>
                  <a:pt x="489585" y="2806889"/>
                  <a:pt x="481330" y="2755454"/>
                  <a:pt x="448945" y="2761169"/>
                </a:cubicBezTo>
                <a:close/>
                <a:moveTo>
                  <a:pt x="529590" y="2549714"/>
                </a:moveTo>
                <a:cubicBezTo>
                  <a:pt x="528320" y="2520504"/>
                  <a:pt x="482600" y="2522409"/>
                  <a:pt x="484505" y="2551619"/>
                </a:cubicBezTo>
                <a:cubicBezTo>
                  <a:pt x="485140" y="2581464"/>
                  <a:pt x="531495" y="2578924"/>
                  <a:pt x="529590" y="2549714"/>
                </a:cubicBezTo>
                <a:close/>
                <a:moveTo>
                  <a:pt x="561340" y="2657029"/>
                </a:moveTo>
                <a:cubicBezTo>
                  <a:pt x="556895" y="2625914"/>
                  <a:pt x="508635" y="2633534"/>
                  <a:pt x="513715" y="2664014"/>
                </a:cubicBezTo>
                <a:cubicBezTo>
                  <a:pt x="518160" y="2695129"/>
                  <a:pt x="566420" y="2687509"/>
                  <a:pt x="561340" y="2657029"/>
                </a:cubicBezTo>
                <a:close/>
                <a:moveTo>
                  <a:pt x="398780" y="2428429"/>
                </a:moveTo>
                <a:cubicBezTo>
                  <a:pt x="402590" y="2401124"/>
                  <a:pt x="359410" y="2396679"/>
                  <a:pt x="356870" y="2423984"/>
                </a:cubicBezTo>
                <a:cubicBezTo>
                  <a:pt x="353060" y="2450654"/>
                  <a:pt x="395605" y="2455734"/>
                  <a:pt x="398780" y="2428429"/>
                </a:cubicBezTo>
                <a:close/>
                <a:moveTo>
                  <a:pt x="321310" y="2650679"/>
                </a:moveTo>
                <a:cubicBezTo>
                  <a:pt x="290195" y="2649409"/>
                  <a:pt x="289560" y="2698939"/>
                  <a:pt x="320675" y="2698939"/>
                </a:cubicBezTo>
                <a:cubicBezTo>
                  <a:pt x="351790" y="2699574"/>
                  <a:pt x="352425" y="2650679"/>
                  <a:pt x="321310" y="2650679"/>
                </a:cubicBezTo>
                <a:close/>
                <a:moveTo>
                  <a:pt x="303530" y="2523044"/>
                </a:moveTo>
                <a:cubicBezTo>
                  <a:pt x="273050" y="2519869"/>
                  <a:pt x="270510" y="2568129"/>
                  <a:pt x="300990" y="2568129"/>
                </a:cubicBezTo>
                <a:cubicBezTo>
                  <a:pt x="328930" y="2568764"/>
                  <a:pt x="331470" y="2524949"/>
                  <a:pt x="303530" y="2523044"/>
                </a:cubicBezTo>
                <a:close/>
                <a:moveTo>
                  <a:pt x="337820" y="2774504"/>
                </a:moveTo>
                <a:cubicBezTo>
                  <a:pt x="304800" y="2776409"/>
                  <a:pt x="308610" y="2827844"/>
                  <a:pt x="341630" y="2825304"/>
                </a:cubicBezTo>
                <a:cubicBezTo>
                  <a:pt x="374650" y="2823399"/>
                  <a:pt x="370840" y="2771964"/>
                  <a:pt x="337820" y="2774504"/>
                </a:cubicBezTo>
                <a:close/>
                <a:moveTo>
                  <a:pt x="427990" y="2648139"/>
                </a:moveTo>
                <a:cubicBezTo>
                  <a:pt x="396875" y="2650044"/>
                  <a:pt x="400050" y="2698304"/>
                  <a:pt x="431165" y="2695764"/>
                </a:cubicBezTo>
                <a:cubicBezTo>
                  <a:pt x="462280" y="2694494"/>
                  <a:pt x="459105" y="2645599"/>
                  <a:pt x="427990" y="2648139"/>
                </a:cubicBezTo>
                <a:close/>
                <a:moveTo>
                  <a:pt x="833755" y="2500184"/>
                </a:moveTo>
                <a:cubicBezTo>
                  <a:pt x="827405" y="2471609"/>
                  <a:pt x="782320" y="2482404"/>
                  <a:pt x="789940" y="2510979"/>
                </a:cubicBezTo>
                <a:cubicBezTo>
                  <a:pt x="796925" y="2539554"/>
                  <a:pt x="841375" y="2528124"/>
                  <a:pt x="833755" y="2500184"/>
                </a:cubicBezTo>
                <a:close/>
                <a:moveTo>
                  <a:pt x="772160" y="2667824"/>
                </a:moveTo>
                <a:cubicBezTo>
                  <a:pt x="741045" y="2679889"/>
                  <a:pt x="760730" y="2727514"/>
                  <a:pt x="791210" y="2714814"/>
                </a:cubicBezTo>
                <a:cubicBezTo>
                  <a:pt x="822325" y="2702749"/>
                  <a:pt x="802640" y="2655124"/>
                  <a:pt x="772160" y="2667824"/>
                </a:cubicBezTo>
                <a:close/>
                <a:moveTo>
                  <a:pt x="875030" y="2571939"/>
                </a:moveTo>
                <a:cubicBezTo>
                  <a:pt x="864870" y="2542729"/>
                  <a:pt x="819150" y="2559239"/>
                  <a:pt x="829945" y="2588449"/>
                </a:cubicBezTo>
                <a:cubicBezTo>
                  <a:pt x="840105" y="2617659"/>
                  <a:pt x="885825" y="2600514"/>
                  <a:pt x="875030" y="2571939"/>
                </a:cubicBezTo>
                <a:close/>
                <a:moveTo>
                  <a:pt x="558800" y="2738309"/>
                </a:moveTo>
                <a:cubicBezTo>
                  <a:pt x="526415" y="2745929"/>
                  <a:pt x="539750" y="2796094"/>
                  <a:pt x="571500" y="2787839"/>
                </a:cubicBezTo>
                <a:cubicBezTo>
                  <a:pt x="603250" y="2780219"/>
                  <a:pt x="590550" y="2730054"/>
                  <a:pt x="558800" y="2738309"/>
                </a:cubicBezTo>
                <a:close/>
                <a:moveTo>
                  <a:pt x="772160" y="2606864"/>
                </a:moveTo>
                <a:cubicBezTo>
                  <a:pt x="763905" y="2577019"/>
                  <a:pt x="716915" y="2590354"/>
                  <a:pt x="725805" y="2620199"/>
                </a:cubicBezTo>
                <a:cubicBezTo>
                  <a:pt x="734695" y="2650044"/>
                  <a:pt x="781685" y="2636074"/>
                  <a:pt x="772160" y="2606864"/>
                </a:cubicBezTo>
                <a:close/>
                <a:moveTo>
                  <a:pt x="6985" y="2600514"/>
                </a:moveTo>
                <a:cubicBezTo>
                  <a:pt x="4445" y="2599879"/>
                  <a:pt x="1905" y="2599244"/>
                  <a:pt x="0" y="2599244"/>
                </a:cubicBezTo>
                <a:lnTo>
                  <a:pt x="0" y="2647504"/>
                </a:lnTo>
                <a:cubicBezTo>
                  <a:pt x="24130" y="2648139"/>
                  <a:pt x="34290" y="2608769"/>
                  <a:pt x="6985" y="2600514"/>
                </a:cubicBezTo>
                <a:close/>
                <a:moveTo>
                  <a:pt x="733425" y="2523044"/>
                </a:moveTo>
                <a:cubicBezTo>
                  <a:pt x="728345" y="2493834"/>
                  <a:pt x="683260" y="2502724"/>
                  <a:pt x="688975" y="2531299"/>
                </a:cubicBezTo>
                <a:cubicBezTo>
                  <a:pt x="694055" y="2559874"/>
                  <a:pt x="739140" y="2551619"/>
                  <a:pt x="733425" y="2523044"/>
                </a:cubicBezTo>
                <a:close/>
                <a:moveTo>
                  <a:pt x="631825" y="2539554"/>
                </a:moveTo>
                <a:cubicBezTo>
                  <a:pt x="628650" y="2510344"/>
                  <a:pt x="582930" y="2515424"/>
                  <a:pt x="586740" y="2544634"/>
                </a:cubicBezTo>
                <a:cubicBezTo>
                  <a:pt x="589915" y="2574479"/>
                  <a:pt x="635635" y="2568764"/>
                  <a:pt x="631825" y="2539554"/>
                </a:cubicBezTo>
                <a:close/>
                <a:moveTo>
                  <a:pt x="666750" y="2706559"/>
                </a:moveTo>
                <a:cubicBezTo>
                  <a:pt x="635000" y="2716719"/>
                  <a:pt x="652145" y="2765614"/>
                  <a:pt x="682625" y="2754819"/>
                </a:cubicBezTo>
                <a:cubicBezTo>
                  <a:pt x="713740" y="2745294"/>
                  <a:pt x="697865" y="2695764"/>
                  <a:pt x="666750" y="2706559"/>
                </a:cubicBezTo>
                <a:close/>
                <a:moveTo>
                  <a:pt x="667385" y="2635439"/>
                </a:moveTo>
                <a:cubicBezTo>
                  <a:pt x="661035" y="2604959"/>
                  <a:pt x="613410" y="2615754"/>
                  <a:pt x="620395" y="2646234"/>
                </a:cubicBezTo>
                <a:cubicBezTo>
                  <a:pt x="627380" y="2676714"/>
                  <a:pt x="675005" y="2665919"/>
                  <a:pt x="667385" y="2635439"/>
                </a:cubicBezTo>
                <a:close/>
                <a:moveTo>
                  <a:pt x="86360" y="2060763"/>
                </a:moveTo>
                <a:cubicBezTo>
                  <a:pt x="64135" y="2051874"/>
                  <a:pt x="50800" y="2086163"/>
                  <a:pt x="73025" y="2095054"/>
                </a:cubicBezTo>
                <a:cubicBezTo>
                  <a:pt x="94615" y="2104579"/>
                  <a:pt x="108585" y="2069654"/>
                  <a:pt x="86360" y="2060763"/>
                </a:cubicBezTo>
                <a:close/>
                <a:moveTo>
                  <a:pt x="92710" y="2530664"/>
                </a:moveTo>
                <a:cubicBezTo>
                  <a:pt x="120650" y="2538919"/>
                  <a:pt x="132715" y="2493834"/>
                  <a:pt x="104140" y="2486849"/>
                </a:cubicBezTo>
                <a:cubicBezTo>
                  <a:pt x="76200" y="2479229"/>
                  <a:pt x="64135" y="2523679"/>
                  <a:pt x="92710" y="2530664"/>
                </a:cubicBezTo>
                <a:close/>
                <a:moveTo>
                  <a:pt x="80010" y="1917888"/>
                </a:moveTo>
                <a:cubicBezTo>
                  <a:pt x="59690" y="1908999"/>
                  <a:pt x="46355" y="1940749"/>
                  <a:pt x="66675" y="1949004"/>
                </a:cubicBezTo>
                <a:cubicBezTo>
                  <a:pt x="86360" y="1957894"/>
                  <a:pt x="100330" y="1926144"/>
                  <a:pt x="80010" y="1917888"/>
                </a:cubicBezTo>
                <a:close/>
                <a:moveTo>
                  <a:pt x="85725" y="2385884"/>
                </a:moveTo>
                <a:cubicBezTo>
                  <a:pt x="111760" y="2394774"/>
                  <a:pt x="124460" y="2353499"/>
                  <a:pt x="98425" y="2345244"/>
                </a:cubicBezTo>
                <a:cubicBezTo>
                  <a:pt x="72390" y="2336989"/>
                  <a:pt x="59690" y="2378264"/>
                  <a:pt x="85725" y="2385884"/>
                </a:cubicBezTo>
                <a:close/>
                <a:moveTo>
                  <a:pt x="79375" y="2241104"/>
                </a:moveTo>
                <a:cubicBezTo>
                  <a:pt x="102870" y="2249994"/>
                  <a:pt x="116840" y="2211894"/>
                  <a:pt x="92710" y="2203639"/>
                </a:cubicBezTo>
                <a:cubicBezTo>
                  <a:pt x="67945" y="2194749"/>
                  <a:pt x="54610" y="2232849"/>
                  <a:pt x="79375" y="2241104"/>
                </a:cubicBezTo>
                <a:close/>
                <a:moveTo>
                  <a:pt x="260985" y="2295079"/>
                </a:moveTo>
                <a:cubicBezTo>
                  <a:pt x="334010" y="2255074"/>
                  <a:pt x="194945" y="2237929"/>
                  <a:pt x="255905" y="2294444"/>
                </a:cubicBezTo>
                <a:lnTo>
                  <a:pt x="255905" y="2294444"/>
                </a:lnTo>
                <a:cubicBezTo>
                  <a:pt x="257810" y="2294444"/>
                  <a:pt x="259715" y="2295079"/>
                  <a:pt x="260985" y="2295079"/>
                </a:cubicBezTo>
                <a:close/>
                <a:moveTo>
                  <a:pt x="6350" y="2743389"/>
                </a:moveTo>
                <a:cubicBezTo>
                  <a:pt x="3810" y="2742754"/>
                  <a:pt x="1905" y="2742754"/>
                  <a:pt x="0" y="2742119"/>
                </a:cubicBezTo>
                <a:lnTo>
                  <a:pt x="0" y="2792919"/>
                </a:lnTo>
                <a:cubicBezTo>
                  <a:pt x="26670" y="2794824"/>
                  <a:pt x="36195" y="2751009"/>
                  <a:pt x="6350" y="2743389"/>
                </a:cubicBezTo>
                <a:close/>
                <a:moveTo>
                  <a:pt x="62230" y="1484819"/>
                </a:moveTo>
                <a:cubicBezTo>
                  <a:pt x="43815" y="1475294"/>
                  <a:pt x="35560" y="1508313"/>
                  <a:pt x="56515" y="1508949"/>
                </a:cubicBezTo>
                <a:cubicBezTo>
                  <a:pt x="68580" y="1509584"/>
                  <a:pt x="73660" y="1490534"/>
                  <a:pt x="62230" y="1484819"/>
                </a:cubicBezTo>
                <a:close/>
                <a:moveTo>
                  <a:pt x="67945" y="1629599"/>
                </a:moveTo>
                <a:cubicBezTo>
                  <a:pt x="46990" y="1620074"/>
                  <a:pt x="38735" y="1655634"/>
                  <a:pt x="61595" y="1656269"/>
                </a:cubicBezTo>
                <a:cubicBezTo>
                  <a:pt x="76200" y="1656904"/>
                  <a:pt x="81280" y="1635949"/>
                  <a:pt x="67945" y="1629599"/>
                </a:cubicBezTo>
                <a:close/>
                <a:moveTo>
                  <a:pt x="67310" y="1803588"/>
                </a:moveTo>
                <a:cubicBezTo>
                  <a:pt x="83185" y="1804224"/>
                  <a:pt x="88900" y="1780094"/>
                  <a:pt x="73660" y="1773744"/>
                </a:cubicBezTo>
                <a:cubicBezTo>
                  <a:pt x="51435" y="1763584"/>
                  <a:pt x="42545" y="1802954"/>
                  <a:pt x="67310" y="1803588"/>
                </a:cubicBezTo>
                <a:close/>
                <a:moveTo>
                  <a:pt x="203200" y="2508439"/>
                </a:moveTo>
                <a:cubicBezTo>
                  <a:pt x="172085" y="2502724"/>
                  <a:pt x="167005" y="2553524"/>
                  <a:pt x="199390" y="2553524"/>
                </a:cubicBezTo>
                <a:cubicBezTo>
                  <a:pt x="225425" y="2554159"/>
                  <a:pt x="229870" y="2512884"/>
                  <a:pt x="203200" y="2508439"/>
                </a:cubicBezTo>
                <a:close/>
                <a:moveTo>
                  <a:pt x="209550" y="2691319"/>
                </a:moveTo>
                <a:cubicBezTo>
                  <a:pt x="240030" y="2695129"/>
                  <a:pt x="245745" y="2646869"/>
                  <a:pt x="214630" y="2643694"/>
                </a:cubicBezTo>
                <a:cubicBezTo>
                  <a:pt x="184150" y="2639884"/>
                  <a:pt x="179070" y="2688779"/>
                  <a:pt x="209550" y="2691319"/>
                </a:cubicBezTo>
                <a:lnTo>
                  <a:pt x="209550" y="2691319"/>
                </a:lnTo>
                <a:close/>
                <a:moveTo>
                  <a:pt x="100330" y="2674174"/>
                </a:moveTo>
                <a:cubicBezTo>
                  <a:pt x="130810" y="2681159"/>
                  <a:pt x="140970" y="2632899"/>
                  <a:pt x="109855" y="2627184"/>
                </a:cubicBezTo>
                <a:cubicBezTo>
                  <a:pt x="79375" y="2620199"/>
                  <a:pt x="69850" y="2668459"/>
                  <a:pt x="100330" y="2674174"/>
                </a:cubicBezTo>
                <a:close/>
                <a:moveTo>
                  <a:pt x="191135" y="2371279"/>
                </a:moveTo>
                <a:cubicBezTo>
                  <a:pt x="161290" y="2363659"/>
                  <a:pt x="154940" y="2413189"/>
                  <a:pt x="186055" y="2413189"/>
                </a:cubicBezTo>
                <a:cubicBezTo>
                  <a:pt x="210185" y="2413824"/>
                  <a:pt x="214630" y="2376359"/>
                  <a:pt x="191135" y="2371279"/>
                </a:cubicBezTo>
                <a:close/>
                <a:moveTo>
                  <a:pt x="226695" y="2776409"/>
                </a:moveTo>
                <a:cubicBezTo>
                  <a:pt x="193675" y="2774504"/>
                  <a:pt x="191770" y="2826574"/>
                  <a:pt x="224790" y="2827209"/>
                </a:cubicBezTo>
                <a:cubicBezTo>
                  <a:pt x="257175" y="2829114"/>
                  <a:pt x="259715" y="2777044"/>
                  <a:pt x="226695" y="2776409"/>
                </a:cubicBezTo>
                <a:close/>
                <a:moveTo>
                  <a:pt x="178435" y="2232214"/>
                </a:moveTo>
                <a:cubicBezTo>
                  <a:pt x="149860" y="2223959"/>
                  <a:pt x="143510" y="2270949"/>
                  <a:pt x="172720" y="2270949"/>
                </a:cubicBezTo>
                <a:cubicBezTo>
                  <a:pt x="194945" y="2271584"/>
                  <a:pt x="200025" y="2237929"/>
                  <a:pt x="178435" y="2232214"/>
                </a:cubicBezTo>
                <a:close/>
                <a:moveTo>
                  <a:pt x="115570" y="2766249"/>
                </a:moveTo>
                <a:cubicBezTo>
                  <a:pt x="83185" y="2761169"/>
                  <a:pt x="75565" y="2811969"/>
                  <a:pt x="107950" y="2816414"/>
                </a:cubicBezTo>
                <a:cubicBezTo>
                  <a:pt x="140335" y="2822129"/>
                  <a:pt x="148590" y="2770694"/>
                  <a:pt x="115570" y="2766249"/>
                </a:cubicBezTo>
                <a:close/>
                <a:moveTo>
                  <a:pt x="166370" y="2090609"/>
                </a:moveTo>
                <a:cubicBezTo>
                  <a:pt x="139700" y="2081719"/>
                  <a:pt x="132080" y="2126169"/>
                  <a:pt x="160020" y="2126169"/>
                </a:cubicBezTo>
                <a:cubicBezTo>
                  <a:pt x="179705" y="2127439"/>
                  <a:pt x="185420" y="2096959"/>
                  <a:pt x="166370" y="2090609"/>
                </a:cubicBezTo>
                <a:close/>
                <a:moveTo>
                  <a:pt x="1195070" y="2180779"/>
                </a:moveTo>
                <a:cubicBezTo>
                  <a:pt x="1190625" y="2157284"/>
                  <a:pt x="1153795" y="2164904"/>
                  <a:pt x="1158875" y="2188399"/>
                </a:cubicBezTo>
                <a:cubicBezTo>
                  <a:pt x="1163955" y="2211894"/>
                  <a:pt x="1200150" y="2203639"/>
                  <a:pt x="1195070" y="2180779"/>
                </a:cubicBezTo>
                <a:close/>
                <a:moveTo>
                  <a:pt x="936625" y="2389059"/>
                </a:moveTo>
                <a:cubicBezTo>
                  <a:pt x="942975" y="2415729"/>
                  <a:pt x="984885" y="2405569"/>
                  <a:pt x="977900" y="2378899"/>
                </a:cubicBezTo>
                <a:cubicBezTo>
                  <a:pt x="971550" y="2352229"/>
                  <a:pt x="929640" y="2363024"/>
                  <a:pt x="936625" y="2389059"/>
                </a:cubicBezTo>
                <a:close/>
                <a:moveTo>
                  <a:pt x="974725" y="1958529"/>
                </a:moveTo>
                <a:cubicBezTo>
                  <a:pt x="992505" y="1961069"/>
                  <a:pt x="996950" y="1932494"/>
                  <a:pt x="978535" y="1930588"/>
                </a:cubicBezTo>
                <a:cubicBezTo>
                  <a:pt x="960755" y="1927413"/>
                  <a:pt x="956945" y="1955988"/>
                  <a:pt x="974725" y="1958529"/>
                </a:cubicBezTo>
                <a:close/>
                <a:moveTo>
                  <a:pt x="835660" y="2240469"/>
                </a:moveTo>
                <a:cubicBezTo>
                  <a:pt x="859790" y="2240469"/>
                  <a:pt x="859155" y="2203004"/>
                  <a:pt x="835025" y="2203639"/>
                </a:cubicBezTo>
                <a:cubicBezTo>
                  <a:pt x="811530" y="2203639"/>
                  <a:pt x="812165" y="2241104"/>
                  <a:pt x="835660" y="2240469"/>
                </a:cubicBezTo>
                <a:close/>
                <a:moveTo>
                  <a:pt x="1000760" y="1866454"/>
                </a:moveTo>
                <a:cubicBezTo>
                  <a:pt x="1016635" y="1870263"/>
                  <a:pt x="1021715" y="1844229"/>
                  <a:pt x="1005840" y="1841688"/>
                </a:cubicBezTo>
                <a:cubicBezTo>
                  <a:pt x="989330" y="1837879"/>
                  <a:pt x="984250" y="1863279"/>
                  <a:pt x="1000760" y="1866454"/>
                </a:cubicBezTo>
                <a:close/>
                <a:moveTo>
                  <a:pt x="1001395" y="2023299"/>
                </a:moveTo>
                <a:cubicBezTo>
                  <a:pt x="981075" y="2022029"/>
                  <a:pt x="979805" y="2053779"/>
                  <a:pt x="1000125" y="2054413"/>
                </a:cubicBezTo>
                <a:cubicBezTo>
                  <a:pt x="1019810" y="2055049"/>
                  <a:pt x="1021080" y="2023934"/>
                  <a:pt x="1001395" y="2023299"/>
                </a:cubicBezTo>
                <a:close/>
                <a:moveTo>
                  <a:pt x="993775" y="2126804"/>
                </a:moveTo>
                <a:cubicBezTo>
                  <a:pt x="994410" y="2149029"/>
                  <a:pt x="1028700" y="2147759"/>
                  <a:pt x="1027430" y="2125534"/>
                </a:cubicBezTo>
                <a:cubicBezTo>
                  <a:pt x="1027430" y="2103944"/>
                  <a:pt x="993140" y="2105214"/>
                  <a:pt x="993775" y="2126804"/>
                </a:cubicBezTo>
                <a:close/>
                <a:moveTo>
                  <a:pt x="1025525" y="2209354"/>
                </a:moveTo>
                <a:cubicBezTo>
                  <a:pt x="1023620" y="2185859"/>
                  <a:pt x="986155" y="2189669"/>
                  <a:pt x="989330" y="2213164"/>
                </a:cubicBezTo>
                <a:cubicBezTo>
                  <a:pt x="991235" y="2237294"/>
                  <a:pt x="1028700" y="2232849"/>
                  <a:pt x="1025525" y="2209354"/>
                </a:cubicBezTo>
                <a:close/>
                <a:moveTo>
                  <a:pt x="985520" y="2276664"/>
                </a:moveTo>
                <a:cubicBezTo>
                  <a:pt x="960120" y="2281109"/>
                  <a:pt x="967740" y="2320479"/>
                  <a:pt x="992505" y="2315399"/>
                </a:cubicBezTo>
                <a:cubicBezTo>
                  <a:pt x="1017905" y="2311589"/>
                  <a:pt x="1010920" y="2271584"/>
                  <a:pt x="985520" y="2276664"/>
                </a:cubicBezTo>
                <a:close/>
                <a:moveTo>
                  <a:pt x="848995" y="2142044"/>
                </a:moveTo>
                <a:cubicBezTo>
                  <a:pt x="871220" y="2143314"/>
                  <a:pt x="872490" y="2109024"/>
                  <a:pt x="850900" y="2108389"/>
                </a:cubicBezTo>
                <a:cubicBezTo>
                  <a:pt x="829310" y="2106484"/>
                  <a:pt x="827405" y="2140774"/>
                  <a:pt x="848995" y="2142044"/>
                </a:cubicBezTo>
                <a:close/>
                <a:moveTo>
                  <a:pt x="906145" y="1947734"/>
                </a:moveTo>
                <a:cubicBezTo>
                  <a:pt x="923925" y="1950909"/>
                  <a:pt x="929005" y="1922969"/>
                  <a:pt x="910590" y="1919794"/>
                </a:cubicBezTo>
                <a:cubicBezTo>
                  <a:pt x="892810" y="1916619"/>
                  <a:pt x="888365" y="1945194"/>
                  <a:pt x="906145" y="1947734"/>
                </a:cubicBezTo>
                <a:close/>
                <a:moveTo>
                  <a:pt x="1050925" y="2379534"/>
                </a:moveTo>
                <a:cubicBezTo>
                  <a:pt x="1082675" y="2379534"/>
                  <a:pt x="1075055" y="2329369"/>
                  <a:pt x="1044575" y="2338259"/>
                </a:cubicBezTo>
                <a:cubicBezTo>
                  <a:pt x="1021715" y="2344609"/>
                  <a:pt x="1027430" y="2380169"/>
                  <a:pt x="1050925" y="2379534"/>
                </a:cubicBezTo>
                <a:close/>
                <a:moveTo>
                  <a:pt x="876300" y="1838513"/>
                </a:moveTo>
                <a:cubicBezTo>
                  <a:pt x="892175" y="1842959"/>
                  <a:pt x="898525" y="1817559"/>
                  <a:pt x="882650" y="1813749"/>
                </a:cubicBezTo>
                <a:cubicBezTo>
                  <a:pt x="866775" y="1809938"/>
                  <a:pt x="860425" y="1834704"/>
                  <a:pt x="876300" y="1838513"/>
                </a:cubicBezTo>
                <a:close/>
                <a:moveTo>
                  <a:pt x="862330" y="2426524"/>
                </a:moveTo>
                <a:cubicBezTo>
                  <a:pt x="892175" y="2426524"/>
                  <a:pt x="887730" y="2378899"/>
                  <a:pt x="858520" y="2384614"/>
                </a:cubicBezTo>
                <a:cubicBezTo>
                  <a:pt x="833120" y="2388424"/>
                  <a:pt x="837565" y="2427159"/>
                  <a:pt x="862330" y="2426524"/>
                </a:cubicBezTo>
                <a:close/>
                <a:moveTo>
                  <a:pt x="910590" y="2032188"/>
                </a:moveTo>
                <a:cubicBezTo>
                  <a:pt x="908685" y="2052509"/>
                  <a:pt x="939800" y="2055049"/>
                  <a:pt x="941705" y="2034729"/>
                </a:cubicBezTo>
                <a:cubicBezTo>
                  <a:pt x="943610" y="2015044"/>
                  <a:pt x="911860" y="2011869"/>
                  <a:pt x="910590" y="2032188"/>
                </a:cubicBezTo>
                <a:close/>
                <a:moveTo>
                  <a:pt x="836295" y="2023299"/>
                </a:moveTo>
                <a:cubicBezTo>
                  <a:pt x="833755" y="2042984"/>
                  <a:pt x="864870" y="2047429"/>
                  <a:pt x="867410" y="2027109"/>
                </a:cubicBezTo>
                <a:cubicBezTo>
                  <a:pt x="869950" y="2007424"/>
                  <a:pt x="838200" y="2003613"/>
                  <a:pt x="836295" y="2023299"/>
                </a:cubicBezTo>
                <a:close/>
                <a:moveTo>
                  <a:pt x="920115" y="2200464"/>
                </a:moveTo>
                <a:cubicBezTo>
                  <a:pt x="896620" y="2201734"/>
                  <a:pt x="898525" y="2239199"/>
                  <a:pt x="922655" y="2237294"/>
                </a:cubicBezTo>
                <a:cubicBezTo>
                  <a:pt x="946150" y="2236024"/>
                  <a:pt x="944245" y="2198559"/>
                  <a:pt x="920115" y="2200464"/>
                </a:cubicBezTo>
                <a:close/>
                <a:moveTo>
                  <a:pt x="898525" y="2330004"/>
                </a:moveTo>
                <a:cubicBezTo>
                  <a:pt x="925830" y="2330004"/>
                  <a:pt x="923290" y="2286824"/>
                  <a:pt x="895985" y="2290634"/>
                </a:cubicBezTo>
                <a:cubicBezTo>
                  <a:pt x="871855" y="2293174"/>
                  <a:pt x="875030" y="2330639"/>
                  <a:pt x="898525" y="2330004"/>
                </a:cubicBezTo>
                <a:close/>
                <a:moveTo>
                  <a:pt x="938530" y="1853119"/>
                </a:moveTo>
                <a:cubicBezTo>
                  <a:pt x="954405" y="1856929"/>
                  <a:pt x="960120" y="1831529"/>
                  <a:pt x="944245" y="1828354"/>
                </a:cubicBezTo>
                <a:cubicBezTo>
                  <a:pt x="927735" y="1824544"/>
                  <a:pt x="922020" y="1849944"/>
                  <a:pt x="938530" y="1853119"/>
                </a:cubicBezTo>
                <a:close/>
                <a:moveTo>
                  <a:pt x="930910" y="2110294"/>
                </a:moveTo>
                <a:cubicBezTo>
                  <a:pt x="908685" y="2109659"/>
                  <a:pt x="908685" y="2144584"/>
                  <a:pt x="930910" y="2143949"/>
                </a:cubicBezTo>
                <a:cubicBezTo>
                  <a:pt x="952500" y="2144584"/>
                  <a:pt x="952500" y="2110294"/>
                  <a:pt x="930910" y="2110294"/>
                </a:cubicBezTo>
                <a:close/>
                <a:moveTo>
                  <a:pt x="1134745" y="2040444"/>
                </a:moveTo>
                <a:cubicBezTo>
                  <a:pt x="1135380" y="2060763"/>
                  <a:pt x="1166495" y="2059494"/>
                  <a:pt x="1165860" y="2039174"/>
                </a:cubicBezTo>
                <a:cubicBezTo>
                  <a:pt x="1165225" y="2019488"/>
                  <a:pt x="1133475" y="2020124"/>
                  <a:pt x="1134745" y="2040444"/>
                </a:cubicBezTo>
                <a:close/>
                <a:moveTo>
                  <a:pt x="1173480" y="2273489"/>
                </a:moveTo>
                <a:cubicBezTo>
                  <a:pt x="1198245" y="2267139"/>
                  <a:pt x="1187450" y="2227769"/>
                  <a:pt x="1162685" y="2235389"/>
                </a:cubicBezTo>
                <a:cubicBezTo>
                  <a:pt x="1137285" y="2242374"/>
                  <a:pt x="1148715" y="2281109"/>
                  <a:pt x="1173480" y="2273489"/>
                </a:cubicBezTo>
                <a:close/>
                <a:moveTo>
                  <a:pt x="1136650" y="2308414"/>
                </a:moveTo>
                <a:cubicBezTo>
                  <a:pt x="1110615" y="2317304"/>
                  <a:pt x="1125220" y="2357944"/>
                  <a:pt x="1150620" y="2348419"/>
                </a:cubicBezTo>
                <a:cubicBezTo>
                  <a:pt x="1176655" y="2339529"/>
                  <a:pt x="1162050" y="2298889"/>
                  <a:pt x="1136650" y="2308414"/>
                </a:cubicBezTo>
                <a:close/>
                <a:moveTo>
                  <a:pt x="1188085" y="2112199"/>
                </a:moveTo>
                <a:cubicBezTo>
                  <a:pt x="1185545" y="2089974"/>
                  <a:pt x="1151255" y="2094419"/>
                  <a:pt x="1154430" y="2116644"/>
                </a:cubicBezTo>
                <a:cubicBezTo>
                  <a:pt x="1156970" y="2138234"/>
                  <a:pt x="1191260" y="2133789"/>
                  <a:pt x="1188085" y="2112199"/>
                </a:cubicBezTo>
                <a:close/>
                <a:moveTo>
                  <a:pt x="1183005" y="1975038"/>
                </a:moveTo>
                <a:cubicBezTo>
                  <a:pt x="1201420" y="1975674"/>
                  <a:pt x="1202055" y="1947099"/>
                  <a:pt x="1183640" y="1947099"/>
                </a:cubicBezTo>
                <a:cubicBezTo>
                  <a:pt x="1165225" y="1946463"/>
                  <a:pt x="1164590" y="1975038"/>
                  <a:pt x="1183005" y="1975038"/>
                </a:cubicBezTo>
                <a:close/>
                <a:moveTo>
                  <a:pt x="875665" y="2622739"/>
                </a:moveTo>
                <a:cubicBezTo>
                  <a:pt x="845185" y="2636074"/>
                  <a:pt x="867410" y="2683064"/>
                  <a:pt x="897255" y="2668459"/>
                </a:cubicBezTo>
                <a:cubicBezTo>
                  <a:pt x="927735" y="2655124"/>
                  <a:pt x="905510" y="2608134"/>
                  <a:pt x="875665" y="2622739"/>
                </a:cubicBezTo>
                <a:close/>
                <a:moveTo>
                  <a:pt x="1252855" y="1975674"/>
                </a:moveTo>
                <a:lnTo>
                  <a:pt x="1252855" y="1975674"/>
                </a:lnTo>
                <a:lnTo>
                  <a:pt x="1252855" y="1975674"/>
                </a:lnTo>
                <a:cubicBezTo>
                  <a:pt x="1271270" y="1975674"/>
                  <a:pt x="1270635" y="1947099"/>
                  <a:pt x="1252855" y="1947099"/>
                </a:cubicBezTo>
                <a:cubicBezTo>
                  <a:pt x="1234440" y="1947734"/>
                  <a:pt x="1234440" y="1976309"/>
                  <a:pt x="1252855" y="1975674"/>
                </a:cubicBezTo>
                <a:close/>
                <a:moveTo>
                  <a:pt x="1190625" y="1894394"/>
                </a:moveTo>
                <a:cubicBezTo>
                  <a:pt x="1207135" y="1896299"/>
                  <a:pt x="1209675" y="1870263"/>
                  <a:pt x="1193165" y="1868994"/>
                </a:cubicBezTo>
                <a:cubicBezTo>
                  <a:pt x="1176655" y="1867088"/>
                  <a:pt x="1174115" y="1893124"/>
                  <a:pt x="1190625" y="1894394"/>
                </a:cubicBezTo>
                <a:close/>
                <a:moveTo>
                  <a:pt x="1043940" y="1966784"/>
                </a:moveTo>
                <a:cubicBezTo>
                  <a:pt x="1061720" y="1968688"/>
                  <a:pt x="1064895" y="1940113"/>
                  <a:pt x="1046480" y="1938844"/>
                </a:cubicBezTo>
                <a:cubicBezTo>
                  <a:pt x="1028700" y="1936304"/>
                  <a:pt x="1025525" y="1964879"/>
                  <a:pt x="1043940" y="1966784"/>
                </a:cubicBezTo>
                <a:close/>
                <a:moveTo>
                  <a:pt x="1224915" y="2051238"/>
                </a:moveTo>
                <a:cubicBezTo>
                  <a:pt x="1245870" y="2051238"/>
                  <a:pt x="1244600" y="2018219"/>
                  <a:pt x="1223645" y="2020124"/>
                </a:cubicBezTo>
                <a:cubicBezTo>
                  <a:pt x="1203960" y="2021394"/>
                  <a:pt x="1205230" y="2051874"/>
                  <a:pt x="1224915" y="2051238"/>
                </a:cubicBezTo>
                <a:close/>
                <a:moveTo>
                  <a:pt x="1254125" y="1899474"/>
                </a:moveTo>
                <a:cubicBezTo>
                  <a:pt x="1270635" y="1900744"/>
                  <a:pt x="1271905" y="1874709"/>
                  <a:pt x="1255395" y="1874074"/>
                </a:cubicBezTo>
                <a:cubicBezTo>
                  <a:pt x="1238885" y="1872804"/>
                  <a:pt x="1237615" y="1898204"/>
                  <a:pt x="1254125" y="1899474"/>
                </a:cubicBezTo>
                <a:close/>
                <a:moveTo>
                  <a:pt x="1059815" y="2040444"/>
                </a:moveTo>
                <a:cubicBezTo>
                  <a:pt x="1059180" y="2060763"/>
                  <a:pt x="1090930" y="2060763"/>
                  <a:pt x="1090930" y="2040444"/>
                </a:cubicBezTo>
                <a:cubicBezTo>
                  <a:pt x="1091565" y="2020759"/>
                  <a:pt x="1059815" y="2020124"/>
                  <a:pt x="1059815" y="2040444"/>
                </a:cubicBezTo>
                <a:close/>
                <a:moveTo>
                  <a:pt x="5058410" y="980629"/>
                </a:moveTo>
                <a:cubicBezTo>
                  <a:pt x="5041900" y="978088"/>
                  <a:pt x="5038725" y="1004124"/>
                  <a:pt x="5055235" y="1006029"/>
                </a:cubicBezTo>
                <a:cubicBezTo>
                  <a:pt x="5071745" y="1007934"/>
                  <a:pt x="5074920" y="982534"/>
                  <a:pt x="5058410" y="980629"/>
                </a:cubicBezTo>
                <a:close/>
                <a:moveTo>
                  <a:pt x="837565" y="1935034"/>
                </a:moveTo>
                <a:cubicBezTo>
                  <a:pt x="855345" y="1938844"/>
                  <a:pt x="861060" y="1910904"/>
                  <a:pt x="843280" y="1907094"/>
                </a:cubicBezTo>
                <a:cubicBezTo>
                  <a:pt x="825500" y="1903919"/>
                  <a:pt x="819785" y="1931859"/>
                  <a:pt x="837565" y="1935034"/>
                </a:cubicBezTo>
                <a:close/>
                <a:moveTo>
                  <a:pt x="1074420" y="2258249"/>
                </a:moveTo>
                <a:cubicBezTo>
                  <a:pt x="1049020" y="2263964"/>
                  <a:pt x="1058545" y="2303334"/>
                  <a:pt x="1083310" y="2296349"/>
                </a:cubicBezTo>
                <a:cubicBezTo>
                  <a:pt x="1108710" y="2291269"/>
                  <a:pt x="1099185" y="2252534"/>
                  <a:pt x="1074420" y="2258249"/>
                </a:cubicBezTo>
                <a:close/>
                <a:moveTo>
                  <a:pt x="1063625" y="1877884"/>
                </a:moveTo>
                <a:cubicBezTo>
                  <a:pt x="1079500" y="1880424"/>
                  <a:pt x="1083945" y="1855024"/>
                  <a:pt x="1067435" y="1852484"/>
                </a:cubicBezTo>
                <a:cubicBezTo>
                  <a:pt x="1051560" y="1849944"/>
                  <a:pt x="1047115" y="1875344"/>
                  <a:pt x="1063625" y="1877884"/>
                </a:cubicBezTo>
                <a:close/>
                <a:moveTo>
                  <a:pt x="1110615" y="2196654"/>
                </a:moveTo>
                <a:cubicBezTo>
                  <a:pt x="1107440" y="2173159"/>
                  <a:pt x="1069975" y="2178874"/>
                  <a:pt x="1074420" y="2202369"/>
                </a:cubicBezTo>
                <a:cubicBezTo>
                  <a:pt x="1078230" y="2226499"/>
                  <a:pt x="1114425" y="2220149"/>
                  <a:pt x="1110615" y="2196654"/>
                </a:cubicBezTo>
                <a:close/>
                <a:moveTo>
                  <a:pt x="1127125" y="1886774"/>
                </a:moveTo>
                <a:cubicBezTo>
                  <a:pt x="1143635" y="1889313"/>
                  <a:pt x="1146810" y="1863279"/>
                  <a:pt x="1130300" y="1861374"/>
                </a:cubicBezTo>
                <a:cubicBezTo>
                  <a:pt x="1113790" y="1859469"/>
                  <a:pt x="1110615" y="1884869"/>
                  <a:pt x="1127125" y="1886774"/>
                </a:cubicBezTo>
                <a:close/>
                <a:moveTo>
                  <a:pt x="1113155" y="1971863"/>
                </a:moveTo>
                <a:cubicBezTo>
                  <a:pt x="1131570" y="1973769"/>
                  <a:pt x="1133475" y="1944559"/>
                  <a:pt x="1115060" y="1943924"/>
                </a:cubicBezTo>
                <a:cubicBezTo>
                  <a:pt x="1097280" y="1942654"/>
                  <a:pt x="1095375" y="1971229"/>
                  <a:pt x="1113155" y="1971863"/>
                </a:cubicBezTo>
                <a:close/>
                <a:moveTo>
                  <a:pt x="808990" y="2339529"/>
                </a:moveTo>
                <a:cubicBezTo>
                  <a:pt x="834390" y="2338259"/>
                  <a:pt x="831215" y="2297619"/>
                  <a:pt x="805815" y="2300159"/>
                </a:cubicBezTo>
                <a:cubicBezTo>
                  <a:pt x="780415" y="2302064"/>
                  <a:pt x="783590" y="2342069"/>
                  <a:pt x="808990" y="2339529"/>
                </a:cubicBezTo>
                <a:close/>
                <a:moveTo>
                  <a:pt x="554355" y="1983294"/>
                </a:moveTo>
                <a:cubicBezTo>
                  <a:pt x="573405" y="1989009"/>
                  <a:pt x="581660" y="1957894"/>
                  <a:pt x="561975" y="1953449"/>
                </a:cubicBezTo>
                <a:cubicBezTo>
                  <a:pt x="542925" y="1947734"/>
                  <a:pt x="534670" y="1978213"/>
                  <a:pt x="554355" y="1983294"/>
                </a:cubicBezTo>
                <a:close/>
                <a:moveTo>
                  <a:pt x="568960" y="1865184"/>
                </a:moveTo>
                <a:cubicBezTo>
                  <a:pt x="586105" y="1870899"/>
                  <a:pt x="594995" y="1843594"/>
                  <a:pt x="577215" y="1838513"/>
                </a:cubicBezTo>
                <a:cubicBezTo>
                  <a:pt x="560070" y="1832799"/>
                  <a:pt x="551180" y="1860104"/>
                  <a:pt x="568960" y="1865184"/>
                </a:cubicBezTo>
                <a:close/>
                <a:moveTo>
                  <a:pt x="514985" y="2078544"/>
                </a:moveTo>
                <a:cubicBezTo>
                  <a:pt x="509905" y="2100134"/>
                  <a:pt x="543560" y="2107119"/>
                  <a:pt x="548005" y="2085529"/>
                </a:cubicBezTo>
                <a:cubicBezTo>
                  <a:pt x="553085" y="2063938"/>
                  <a:pt x="519430" y="2056954"/>
                  <a:pt x="514985" y="2078544"/>
                </a:cubicBezTo>
                <a:close/>
                <a:moveTo>
                  <a:pt x="572135" y="1743263"/>
                </a:moveTo>
                <a:cubicBezTo>
                  <a:pt x="587375" y="1748979"/>
                  <a:pt x="596265" y="1724849"/>
                  <a:pt x="581025" y="1719134"/>
                </a:cubicBezTo>
                <a:cubicBezTo>
                  <a:pt x="565785" y="1713419"/>
                  <a:pt x="556260" y="1737549"/>
                  <a:pt x="572135" y="1743263"/>
                </a:cubicBezTo>
                <a:close/>
                <a:moveTo>
                  <a:pt x="607695" y="2114104"/>
                </a:moveTo>
                <a:cubicBezTo>
                  <a:pt x="629285" y="2118549"/>
                  <a:pt x="635000" y="2084259"/>
                  <a:pt x="613410" y="2080449"/>
                </a:cubicBezTo>
                <a:cubicBezTo>
                  <a:pt x="591820" y="2076638"/>
                  <a:pt x="586105" y="2110929"/>
                  <a:pt x="607695" y="2114104"/>
                </a:cubicBezTo>
                <a:close/>
                <a:moveTo>
                  <a:pt x="534035" y="2299524"/>
                </a:moveTo>
                <a:cubicBezTo>
                  <a:pt x="508635" y="2296984"/>
                  <a:pt x="505460" y="2336989"/>
                  <a:pt x="530860" y="2338894"/>
                </a:cubicBezTo>
                <a:cubicBezTo>
                  <a:pt x="556260" y="2341434"/>
                  <a:pt x="560070" y="2301429"/>
                  <a:pt x="534035" y="2299524"/>
                </a:cubicBezTo>
                <a:close/>
                <a:moveTo>
                  <a:pt x="512445" y="1720404"/>
                </a:moveTo>
                <a:cubicBezTo>
                  <a:pt x="568960" y="1709609"/>
                  <a:pt x="478155" y="1674684"/>
                  <a:pt x="512445" y="1720404"/>
                </a:cubicBezTo>
                <a:lnTo>
                  <a:pt x="512445" y="1720404"/>
                </a:lnTo>
                <a:close/>
                <a:moveTo>
                  <a:pt x="559435" y="2205544"/>
                </a:moveTo>
                <a:cubicBezTo>
                  <a:pt x="556260" y="2229039"/>
                  <a:pt x="593090" y="2234119"/>
                  <a:pt x="595630" y="2209989"/>
                </a:cubicBezTo>
                <a:cubicBezTo>
                  <a:pt x="599440" y="2186494"/>
                  <a:pt x="561975" y="2182049"/>
                  <a:pt x="559435" y="2205544"/>
                </a:cubicBezTo>
                <a:close/>
                <a:moveTo>
                  <a:pt x="624840" y="2304604"/>
                </a:moveTo>
                <a:cubicBezTo>
                  <a:pt x="599440" y="2303334"/>
                  <a:pt x="598170" y="2343974"/>
                  <a:pt x="623570" y="2343974"/>
                </a:cubicBezTo>
                <a:cubicBezTo>
                  <a:pt x="648970" y="2345244"/>
                  <a:pt x="650240" y="2305239"/>
                  <a:pt x="624840" y="2304604"/>
                </a:cubicBezTo>
                <a:close/>
                <a:moveTo>
                  <a:pt x="572135" y="2456369"/>
                </a:moveTo>
                <a:cubicBezTo>
                  <a:pt x="600075" y="2457004"/>
                  <a:pt x="599440" y="2413189"/>
                  <a:pt x="571500" y="2413824"/>
                </a:cubicBezTo>
                <a:cubicBezTo>
                  <a:pt x="544195" y="2413824"/>
                  <a:pt x="544830" y="2457004"/>
                  <a:pt x="572135" y="2456369"/>
                </a:cubicBezTo>
                <a:close/>
                <a:moveTo>
                  <a:pt x="448945" y="2079813"/>
                </a:moveTo>
                <a:cubicBezTo>
                  <a:pt x="469900" y="2085529"/>
                  <a:pt x="478790" y="2051874"/>
                  <a:pt x="457200" y="2046794"/>
                </a:cubicBezTo>
                <a:cubicBezTo>
                  <a:pt x="436245" y="2041713"/>
                  <a:pt x="427990" y="2075369"/>
                  <a:pt x="448945" y="2079813"/>
                </a:cubicBezTo>
                <a:close/>
                <a:moveTo>
                  <a:pt x="814705" y="1822004"/>
                </a:moveTo>
                <a:cubicBezTo>
                  <a:pt x="830580" y="1827084"/>
                  <a:pt x="837565" y="1801684"/>
                  <a:pt x="821690" y="1797238"/>
                </a:cubicBezTo>
                <a:cubicBezTo>
                  <a:pt x="805180" y="1793429"/>
                  <a:pt x="798830" y="1818194"/>
                  <a:pt x="814705" y="1822004"/>
                </a:cubicBezTo>
                <a:close/>
                <a:moveTo>
                  <a:pt x="473710" y="2454464"/>
                </a:moveTo>
                <a:cubicBezTo>
                  <a:pt x="501015" y="2456369"/>
                  <a:pt x="503555" y="2413189"/>
                  <a:pt x="475615" y="2412554"/>
                </a:cubicBezTo>
                <a:cubicBezTo>
                  <a:pt x="448310" y="2410649"/>
                  <a:pt x="446405" y="2453829"/>
                  <a:pt x="473710" y="2454464"/>
                </a:cubicBezTo>
                <a:close/>
                <a:moveTo>
                  <a:pt x="481965" y="1962974"/>
                </a:moveTo>
                <a:cubicBezTo>
                  <a:pt x="501015" y="1968688"/>
                  <a:pt x="510540" y="1938844"/>
                  <a:pt x="490855" y="1933129"/>
                </a:cubicBezTo>
                <a:cubicBezTo>
                  <a:pt x="471170" y="1927413"/>
                  <a:pt x="462280" y="1957259"/>
                  <a:pt x="481965" y="1962974"/>
                </a:cubicBezTo>
                <a:close/>
                <a:moveTo>
                  <a:pt x="412115" y="2161094"/>
                </a:moveTo>
                <a:cubicBezTo>
                  <a:pt x="389255" y="2155379"/>
                  <a:pt x="381000" y="2192209"/>
                  <a:pt x="404495" y="2196654"/>
                </a:cubicBezTo>
                <a:cubicBezTo>
                  <a:pt x="427355" y="2202369"/>
                  <a:pt x="435610" y="2165539"/>
                  <a:pt x="412115" y="2161094"/>
                </a:cubicBezTo>
                <a:close/>
                <a:moveTo>
                  <a:pt x="502920" y="1843594"/>
                </a:moveTo>
                <a:cubicBezTo>
                  <a:pt x="520065" y="1849944"/>
                  <a:pt x="529590" y="1822638"/>
                  <a:pt x="511810" y="1816924"/>
                </a:cubicBezTo>
                <a:cubicBezTo>
                  <a:pt x="494665" y="1810574"/>
                  <a:pt x="485140" y="1837879"/>
                  <a:pt x="502920" y="1843594"/>
                </a:cubicBezTo>
                <a:close/>
                <a:moveTo>
                  <a:pt x="438785" y="2328734"/>
                </a:moveTo>
                <a:cubicBezTo>
                  <a:pt x="464185" y="2332544"/>
                  <a:pt x="469900" y="2292539"/>
                  <a:pt x="443865" y="2289364"/>
                </a:cubicBezTo>
                <a:cubicBezTo>
                  <a:pt x="418465" y="2286189"/>
                  <a:pt x="413385" y="2326194"/>
                  <a:pt x="438785" y="2328734"/>
                </a:cubicBezTo>
                <a:close/>
                <a:moveTo>
                  <a:pt x="512445" y="1720404"/>
                </a:moveTo>
                <a:cubicBezTo>
                  <a:pt x="512445" y="1720404"/>
                  <a:pt x="512445" y="1720404"/>
                  <a:pt x="512445" y="1720404"/>
                </a:cubicBezTo>
                <a:cubicBezTo>
                  <a:pt x="512445" y="1720404"/>
                  <a:pt x="512445" y="1720404"/>
                  <a:pt x="512445" y="1720404"/>
                </a:cubicBezTo>
                <a:lnTo>
                  <a:pt x="512445" y="1720404"/>
                </a:lnTo>
                <a:close/>
                <a:moveTo>
                  <a:pt x="510540" y="2198559"/>
                </a:moveTo>
                <a:cubicBezTo>
                  <a:pt x="514985" y="2175064"/>
                  <a:pt x="478155" y="2168714"/>
                  <a:pt x="474345" y="2192209"/>
                </a:cubicBezTo>
                <a:cubicBezTo>
                  <a:pt x="470535" y="2215704"/>
                  <a:pt x="506730" y="2222054"/>
                  <a:pt x="510540" y="2198559"/>
                </a:cubicBezTo>
                <a:close/>
                <a:moveTo>
                  <a:pt x="753110" y="1804224"/>
                </a:moveTo>
                <a:cubicBezTo>
                  <a:pt x="768350" y="1809304"/>
                  <a:pt x="776605" y="1784538"/>
                  <a:pt x="760730" y="1780094"/>
                </a:cubicBezTo>
                <a:cubicBezTo>
                  <a:pt x="744855" y="1775013"/>
                  <a:pt x="737235" y="1799779"/>
                  <a:pt x="753110" y="1804224"/>
                </a:cubicBezTo>
                <a:close/>
                <a:moveTo>
                  <a:pt x="759460" y="1903284"/>
                </a:moveTo>
                <a:cubicBezTo>
                  <a:pt x="755015" y="1921063"/>
                  <a:pt x="782955" y="1927413"/>
                  <a:pt x="786765" y="1909634"/>
                </a:cubicBezTo>
                <a:cubicBezTo>
                  <a:pt x="791210" y="1891854"/>
                  <a:pt x="763270" y="1885504"/>
                  <a:pt x="759460" y="1903284"/>
                </a:cubicBezTo>
                <a:close/>
                <a:moveTo>
                  <a:pt x="748665" y="2239834"/>
                </a:moveTo>
                <a:cubicBezTo>
                  <a:pt x="748665" y="2239834"/>
                  <a:pt x="748665" y="2239834"/>
                  <a:pt x="748665" y="2239834"/>
                </a:cubicBezTo>
                <a:cubicBezTo>
                  <a:pt x="748665" y="2239834"/>
                  <a:pt x="748665" y="2239834"/>
                  <a:pt x="748665" y="2239834"/>
                </a:cubicBezTo>
                <a:lnTo>
                  <a:pt x="748665" y="2239834"/>
                </a:lnTo>
                <a:close/>
                <a:moveTo>
                  <a:pt x="748665" y="2239834"/>
                </a:moveTo>
                <a:cubicBezTo>
                  <a:pt x="772160" y="2241104"/>
                  <a:pt x="773430" y="2203639"/>
                  <a:pt x="749935" y="2203004"/>
                </a:cubicBezTo>
                <a:cubicBezTo>
                  <a:pt x="726440" y="2201734"/>
                  <a:pt x="725170" y="2239199"/>
                  <a:pt x="748665" y="2239834"/>
                </a:cubicBezTo>
                <a:close/>
                <a:moveTo>
                  <a:pt x="453390" y="1696909"/>
                </a:moveTo>
                <a:cubicBezTo>
                  <a:pt x="468630" y="1703259"/>
                  <a:pt x="478155" y="1679129"/>
                  <a:pt x="462915" y="1673413"/>
                </a:cubicBezTo>
                <a:cubicBezTo>
                  <a:pt x="447675" y="1667063"/>
                  <a:pt x="438150" y="1691194"/>
                  <a:pt x="453390" y="1696909"/>
                </a:cubicBezTo>
                <a:close/>
                <a:moveTo>
                  <a:pt x="695960" y="2324924"/>
                </a:moveTo>
                <a:cubicBezTo>
                  <a:pt x="695960" y="2350324"/>
                  <a:pt x="736600" y="2349689"/>
                  <a:pt x="735330" y="2323654"/>
                </a:cubicBezTo>
                <a:cubicBezTo>
                  <a:pt x="735330" y="2298889"/>
                  <a:pt x="695325" y="2299524"/>
                  <a:pt x="695960" y="2324924"/>
                </a:cubicBezTo>
                <a:close/>
                <a:moveTo>
                  <a:pt x="762000" y="2012504"/>
                </a:moveTo>
                <a:cubicBezTo>
                  <a:pt x="758190" y="2032188"/>
                  <a:pt x="789940" y="2037269"/>
                  <a:pt x="792480" y="2017584"/>
                </a:cubicBezTo>
                <a:cubicBezTo>
                  <a:pt x="796290" y="1997263"/>
                  <a:pt x="765175" y="1992184"/>
                  <a:pt x="762000" y="2012504"/>
                </a:cubicBezTo>
                <a:close/>
                <a:moveTo>
                  <a:pt x="763270" y="2399854"/>
                </a:moveTo>
                <a:cubicBezTo>
                  <a:pt x="735965" y="2403029"/>
                  <a:pt x="741680" y="2445574"/>
                  <a:pt x="768985" y="2441764"/>
                </a:cubicBezTo>
                <a:cubicBezTo>
                  <a:pt x="796290" y="2438589"/>
                  <a:pt x="790575" y="2396044"/>
                  <a:pt x="763270" y="2399854"/>
                </a:cubicBezTo>
                <a:close/>
                <a:moveTo>
                  <a:pt x="753110" y="2117279"/>
                </a:moveTo>
                <a:cubicBezTo>
                  <a:pt x="750570" y="2138869"/>
                  <a:pt x="784860" y="2142679"/>
                  <a:pt x="786765" y="2120454"/>
                </a:cubicBezTo>
                <a:cubicBezTo>
                  <a:pt x="789305" y="2098864"/>
                  <a:pt x="755015" y="2095688"/>
                  <a:pt x="753110" y="2117279"/>
                </a:cubicBezTo>
                <a:close/>
                <a:moveTo>
                  <a:pt x="706755" y="1986469"/>
                </a:moveTo>
                <a:cubicBezTo>
                  <a:pt x="687070" y="1982024"/>
                  <a:pt x="680720" y="2013138"/>
                  <a:pt x="701040" y="2016949"/>
                </a:cubicBezTo>
                <a:cubicBezTo>
                  <a:pt x="720725" y="2021394"/>
                  <a:pt x="727075" y="1990279"/>
                  <a:pt x="706755" y="1986469"/>
                </a:cubicBezTo>
                <a:close/>
                <a:moveTo>
                  <a:pt x="667385" y="2410014"/>
                </a:moveTo>
                <a:cubicBezTo>
                  <a:pt x="640080" y="2411284"/>
                  <a:pt x="643255" y="2454464"/>
                  <a:pt x="670560" y="2451924"/>
                </a:cubicBezTo>
                <a:cubicBezTo>
                  <a:pt x="698500" y="2450654"/>
                  <a:pt x="694690" y="2407474"/>
                  <a:pt x="667385" y="2410014"/>
                </a:cubicBezTo>
                <a:close/>
                <a:moveTo>
                  <a:pt x="625475" y="1867724"/>
                </a:moveTo>
                <a:cubicBezTo>
                  <a:pt x="620395" y="1884869"/>
                  <a:pt x="647700" y="1893124"/>
                  <a:pt x="652780" y="1875344"/>
                </a:cubicBezTo>
                <a:cubicBezTo>
                  <a:pt x="657860" y="1858199"/>
                  <a:pt x="630555" y="1849944"/>
                  <a:pt x="625475" y="1867724"/>
                </a:cubicBezTo>
                <a:close/>
                <a:moveTo>
                  <a:pt x="645160" y="2215069"/>
                </a:moveTo>
                <a:cubicBezTo>
                  <a:pt x="642620" y="2238564"/>
                  <a:pt x="680085" y="2241739"/>
                  <a:pt x="681990" y="2217609"/>
                </a:cubicBezTo>
                <a:cubicBezTo>
                  <a:pt x="683895" y="2194749"/>
                  <a:pt x="647065" y="2191574"/>
                  <a:pt x="645160" y="2215069"/>
                </a:cubicBezTo>
                <a:close/>
                <a:moveTo>
                  <a:pt x="631825" y="1764854"/>
                </a:moveTo>
                <a:cubicBezTo>
                  <a:pt x="647065" y="1770569"/>
                  <a:pt x="655955" y="1745804"/>
                  <a:pt x="640080" y="1740724"/>
                </a:cubicBezTo>
                <a:cubicBezTo>
                  <a:pt x="624840" y="1735009"/>
                  <a:pt x="616585" y="1759774"/>
                  <a:pt x="631825" y="1764854"/>
                </a:cubicBezTo>
                <a:close/>
                <a:moveTo>
                  <a:pt x="627380" y="2001074"/>
                </a:moveTo>
                <a:cubicBezTo>
                  <a:pt x="647065" y="2006154"/>
                  <a:pt x="654050" y="1975038"/>
                  <a:pt x="634365" y="1970594"/>
                </a:cubicBezTo>
                <a:cubicBezTo>
                  <a:pt x="614680" y="1966149"/>
                  <a:pt x="607695" y="1996629"/>
                  <a:pt x="627380" y="2001074"/>
                </a:cubicBezTo>
                <a:close/>
                <a:moveTo>
                  <a:pt x="692150" y="1886774"/>
                </a:moveTo>
                <a:cubicBezTo>
                  <a:pt x="688975" y="1923604"/>
                  <a:pt x="742950" y="1891854"/>
                  <a:pt x="709295" y="1876613"/>
                </a:cubicBezTo>
                <a:cubicBezTo>
                  <a:pt x="702310" y="1874709"/>
                  <a:pt x="694055" y="1879154"/>
                  <a:pt x="692150" y="1886774"/>
                </a:cubicBezTo>
                <a:close/>
                <a:moveTo>
                  <a:pt x="692150" y="1785174"/>
                </a:moveTo>
                <a:cubicBezTo>
                  <a:pt x="707390" y="1790254"/>
                  <a:pt x="715645" y="1766124"/>
                  <a:pt x="699770" y="1761044"/>
                </a:cubicBezTo>
                <a:cubicBezTo>
                  <a:pt x="684530" y="1755963"/>
                  <a:pt x="676910" y="1780729"/>
                  <a:pt x="692150" y="1785174"/>
                </a:cubicBezTo>
                <a:close/>
                <a:moveTo>
                  <a:pt x="687705" y="2126804"/>
                </a:moveTo>
                <a:cubicBezTo>
                  <a:pt x="709295" y="2129979"/>
                  <a:pt x="714375" y="2095688"/>
                  <a:pt x="692150" y="2093149"/>
                </a:cubicBezTo>
                <a:cubicBezTo>
                  <a:pt x="670560" y="2089974"/>
                  <a:pt x="666115" y="2124264"/>
                  <a:pt x="687705" y="2126804"/>
                </a:cubicBezTo>
                <a:close/>
                <a:moveTo>
                  <a:pt x="1092835" y="2138869"/>
                </a:moveTo>
                <a:cubicBezTo>
                  <a:pt x="1115060" y="2137599"/>
                  <a:pt x="1111885" y="2103309"/>
                  <a:pt x="1090295" y="2105214"/>
                </a:cubicBezTo>
                <a:cubicBezTo>
                  <a:pt x="1068070" y="2106484"/>
                  <a:pt x="1070610" y="2140774"/>
                  <a:pt x="1092835" y="2138869"/>
                </a:cubicBezTo>
                <a:close/>
                <a:moveTo>
                  <a:pt x="4357370" y="893634"/>
                </a:moveTo>
                <a:cubicBezTo>
                  <a:pt x="4356735" y="875219"/>
                  <a:pt x="4328160" y="876488"/>
                  <a:pt x="4328795" y="894904"/>
                </a:cubicBezTo>
                <a:cubicBezTo>
                  <a:pt x="4329430" y="912684"/>
                  <a:pt x="4358005" y="911413"/>
                  <a:pt x="4357370" y="893634"/>
                </a:cubicBezTo>
                <a:close/>
                <a:moveTo>
                  <a:pt x="4335780" y="827594"/>
                </a:moveTo>
                <a:cubicBezTo>
                  <a:pt x="4335145" y="807274"/>
                  <a:pt x="4303395" y="809813"/>
                  <a:pt x="4304665" y="829499"/>
                </a:cubicBezTo>
                <a:cubicBezTo>
                  <a:pt x="4305935" y="849819"/>
                  <a:pt x="4337685" y="847913"/>
                  <a:pt x="4335780" y="827594"/>
                </a:cubicBezTo>
                <a:close/>
                <a:moveTo>
                  <a:pt x="4297045" y="937449"/>
                </a:moveTo>
                <a:cubicBezTo>
                  <a:pt x="4280535" y="937449"/>
                  <a:pt x="4281170" y="963484"/>
                  <a:pt x="4297680" y="962849"/>
                </a:cubicBezTo>
                <a:cubicBezTo>
                  <a:pt x="4314190" y="962849"/>
                  <a:pt x="4313555" y="936813"/>
                  <a:pt x="4297045" y="937449"/>
                </a:cubicBezTo>
                <a:close/>
                <a:moveTo>
                  <a:pt x="4360545" y="936813"/>
                </a:moveTo>
                <a:cubicBezTo>
                  <a:pt x="4344035" y="936813"/>
                  <a:pt x="4344035" y="962213"/>
                  <a:pt x="4360545" y="962213"/>
                </a:cubicBezTo>
                <a:cubicBezTo>
                  <a:pt x="4377055" y="962213"/>
                  <a:pt x="4377055" y="936179"/>
                  <a:pt x="4360545" y="936813"/>
                </a:cubicBezTo>
                <a:close/>
                <a:moveTo>
                  <a:pt x="4387215" y="729804"/>
                </a:moveTo>
                <a:cubicBezTo>
                  <a:pt x="4364990" y="731074"/>
                  <a:pt x="4367530" y="765363"/>
                  <a:pt x="4389120" y="763459"/>
                </a:cubicBezTo>
                <a:cubicBezTo>
                  <a:pt x="4410710" y="762824"/>
                  <a:pt x="4408805" y="728534"/>
                  <a:pt x="4387215" y="729804"/>
                </a:cubicBezTo>
                <a:close/>
                <a:moveTo>
                  <a:pt x="4204335" y="887284"/>
                </a:moveTo>
                <a:cubicBezTo>
                  <a:pt x="4185920" y="888554"/>
                  <a:pt x="4188460" y="917129"/>
                  <a:pt x="4206240" y="915224"/>
                </a:cubicBezTo>
                <a:cubicBezTo>
                  <a:pt x="4224655" y="914588"/>
                  <a:pt x="4222115" y="886013"/>
                  <a:pt x="4204335" y="887284"/>
                </a:cubicBezTo>
                <a:close/>
                <a:moveTo>
                  <a:pt x="4233545" y="939354"/>
                </a:moveTo>
                <a:cubicBezTo>
                  <a:pt x="4217035" y="939988"/>
                  <a:pt x="4218305" y="965388"/>
                  <a:pt x="4234180" y="964754"/>
                </a:cubicBezTo>
                <a:cubicBezTo>
                  <a:pt x="4250690" y="964119"/>
                  <a:pt x="4250055" y="938719"/>
                  <a:pt x="4233545" y="939354"/>
                </a:cubicBezTo>
                <a:close/>
                <a:moveTo>
                  <a:pt x="4260215" y="898079"/>
                </a:moveTo>
                <a:cubicBezTo>
                  <a:pt x="4260850" y="916494"/>
                  <a:pt x="4289425" y="914588"/>
                  <a:pt x="4288155" y="896809"/>
                </a:cubicBezTo>
                <a:cubicBezTo>
                  <a:pt x="4287520" y="877759"/>
                  <a:pt x="4258945" y="879663"/>
                  <a:pt x="4260215" y="898079"/>
                </a:cubicBezTo>
                <a:close/>
                <a:moveTo>
                  <a:pt x="3859530" y="926654"/>
                </a:moveTo>
                <a:cubicBezTo>
                  <a:pt x="3841115" y="929194"/>
                  <a:pt x="3846195" y="957769"/>
                  <a:pt x="3863975" y="954594"/>
                </a:cubicBezTo>
                <a:cubicBezTo>
                  <a:pt x="3882390" y="952054"/>
                  <a:pt x="3877945" y="923479"/>
                  <a:pt x="3859530" y="926654"/>
                </a:cubicBezTo>
                <a:close/>
                <a:moveTo>
                  <a:pt x="4411980" y="877759"/>
                </a:moveTo>
                <a:cubicBezTo>
                  <a:pt x="4393565" y="877759"/>
                  <a:pt x="4394200" y="906969"/>
                  <a:pt x="4412615" y="906334"/>
                </a:cubicBezTo>
                <a:cubicBezTo>
                  <a:pt x="4431030" y="905699"/>
                  <a:pt x="4430395" y="877124"/>
                  <a:pt x="4411980" y="877759"/>
                </a:cubicBezTo>
                <a:close/>
                <a:moveTo>
                  <a:pt x="4464685" y="471994"/>
                </a:moveTo>
                <a:cubicBezTo>
                  <a:pt x="4462780" y="499299"/>
                  <a:pt x="4505960" y="501838"/>
                  <a:pt x="4507230" y="473899"/>
                </a:cubicBezTo>
                <a:cubicBezTo>
                  <a:pt x="4508500" y="447229"/>
                  <a:pt x="4465320" y="444688"/>
                  <a:pt x="4464685" y="471994"/>
                </a:cubicBezTo>
                <a:close/>
                <a:moveTo>
                  <a:pt x="4410710" y="823784"/>
                </a:moveTo>
                <a:cubicBezTo>
                  <a:pt x="4410075" y="803463"/>
                  <a:pt x="4378325" y="805369"/>
                  <a:pt x="4379595" y="825054"/>
                </a:cubicBezTo>
                <a:cubicBezTo>
                  <a:pt x="4380230" y="845374"/>
                  <a:pt x="4411980" y="844104"/>
                  <a:pt x="4410710" y="823784"/>
                </a:cubicBezTo>
                <a:close/>
                <a:moveTo>
                  <a:pt x="4464685" y="545654"/>
                </a:moveTo>
                <a:cubicBezTo>
                  <a:pt x="4439285" y="545654"/>
                  <a:pt x="4439285" y="585659"/>
                  <a:pt x="4464685" y="585024"/>
                </a:cubicBezTo>
                <a:cubicBezTo>
                  <a:pt x="4490720" y="585659"/>
                  <a:pt x="4490085" y="545654"/>
                  <a:pt x="4464685" y="545654"/>
                </a:cubicBezTo>
                <a:close/>
                <a:moveTo>
                  <a:pt x="4481195" y="877124"/>
                </a:moveTo>
                <a:cubicBezTo>
                  <a:pt x="4462780" y="877124"/>
                  <a:pt x="4462780" y="905699"/>
                  <a:pt x="4481195" y="905063"/>
                </a:cubicBezTo>
                <a:cubicBezTo>
                  <a:pt x="4499610" y="905063"/>
                  <a:pt x="4499610" y="876488"/>
                  <a:pt x="4481195" y="877124"/>
                </a:cubicBezTo>
                <a:close/>
                <a:moveTo>
                  <a:pt x="4467860" y="760284"/>
                </a:moveTo>
                <a:cubicBezTo>
                  <a:pt x="4490085" y="760284"/>
                  <a:pt x="4489450" y="725359"/>
                  <a:pt x="4467225" y="726629"/>
                </a:cubicBezTo>
                <a:cubicBezTo>
                  <a:pt x="4445635" y="726629"/>
                  <a:pt x="4446270" y="760919"/>
                  <a:pt x="4467860" y="760284"/>
                </a:cubicBezTo>
                <a:close/>
                <a:moveTo>
                  <a:pt x="4464685" y="404049"/>
                </a:moveTo>
                <a:cubicBezTo>
                  <a:pt x="4493895" y="407858"/>
                  <a:pt x="4498975" y="361504"/>
                  <a:pt x="4469130" y="358963"/>
                </a:cubicBezTo>
                <a:cubicBezTo>
                  <a:pt x="4440555" y="355154"/>
                  <a:pt x="4435475" y="401508"/>
                  <a:pt x="4464685" y="404049"/>
                </a:cubicBezTo>
                <a:close/>
                <a:moveTo>
                  <a:pt x="4210050" y="583119"/>
                </a:moveTo>
                <a:cubicBezTo>
                  <a:pt x="4206875" y="557719"/>
                  <a:pt x="4166870" y="563434"/>
                  <a:pt x="4170680" y="588834"/>
                </a:cubicBezTo>
                <a:cubicBezTo>
                  <a:pt x="4174490" y="614234"/>
                  <a:pt x="4214495" y="608519"/>
                  <a:pt x="4210050" y="583119"/>
                </a:cubicBezTo>
                <a:close/>
                <a:moveTo>
                  <a:pt x="4424045" y="936813"/>
                </a:moveTo>
                <a:cubicBezTo>
                  <a:pt x="4407535" y="936179"/>
                  <a:pt x="4407535" y="962213"/>
                  <a:pt x="4424045" y="962213"/>
                </a:cubicBezTo>
                <a:cubicBezTo>
                  <a:pt x="4440555" y="962213"/>
                  <a:pt x="4440555" y="936179"/>
                  <a:pt x="4424045" y="936813"/>
                </a:cubicBezTo>
                <a:close/>
                <a:moveTo>
                  <a:pt x="4432300" y="186879"/>
                </a:moveTo>
                <a:cubicBezTo>
                  <a:pt x="4400550" y="177988"/>
                  <a:pt x="4387215" y="228154"/>
                  <a:pt x="4419600" y="235774"/>
                </a:cubicBezTo>
                <a:cubicBezTo>
                  <a:pt x="4450715" y="245299"/>
                  <a:pt x="4464685" y="195133"/>
                  <a:pt x="4432300" y="186879"/>
                </a:cubicBezTo>
                <a:close/>
                <a:moveTo>
                  <a:pt x="4469130" y="806638"/>
                </a:moveTo>
                <a:cubicBezTo>
                  <a:pt x="4448810" y="806638"/>
                  <a:pt x="4449445" y="838388"/>
                  <a:pt x="4469765" y="837754"/>
                </a:cubicBezTo>
                <a:cubicBezTo>
                  <a:pt x="4490085" y="837119"/>
                  <a:pt x="4489450" y="805369"/>
                  <a:pt x="4469130" y="806638"/>
                </a:cubicBezTo>
                <a:close/>
                <a:moveTo>
                  <a:pt x="3983990" y="737424"/>
                </a:moveTo>
                <a:cubicBezTo>
                  <a:pt x="4007485" y="732344"/>
                  <a:pt x="3998595" y="696149"/>
                  <a:pt x="3975735" y="701863"/>
                </a:cubicBezTo>
                <a:cubicBezTo>
                  <a:pt x="3952875" y="706944"/>
                  <a:pt x="3961130" y="743138"/>
                  <a:pt x="3983990" y="737424"/>
                </a:cubicBezTo>
                <a:close/>
                <a:moveTo>
                  <a:pt x="3947160" y="858074"/>
                </a:moveTo>
                <a:cubicBezTo>
                  <a:pt x="3927475" y="861249"/>
                  <a:pt x="3932555" y="892363"/>
                  <a:pt x="3952240" y="888554"/>
                </a:cubicBezTo>
                <a:cubicBezTo>
                  <a:pt x="3971925" y="885379"/>
                  <a:pt x="3966845" y="854263"/>
                  <a:pt x="3947160" y="858074"/>
                </a:cubicBezTo>
                <a:close/>
                <a:moveTo>
                  <a:pt x="3979545" y="955229"/>
                </a:moveTo>
                <a:cubicBezTo>
                  <a:pt x="3963035" y="956499"/>
                  <a:pt x="3965575" y="982534"/>
                  <a:pt x="3982085" y="980629"/>
                </a:cubicBezTo>
                <a:cubicBezTo>
                  <a:pt x="3997960" y="979359"/>
                  <a:pt x="3996055" y="953324"/>
                  <a:pt x="3979545" y="955229"/>
                </a:cubicBezTo>
                <a:close/>
                <a:moveTo>
                  <a:pt x="3997325" y="907604"/>
                </a:moveTo>
                <a:cubicBezTo>
                  <a:pt x="3978910" y="909509"/>
                  <a:pt x="3982720" y="938084"/>
                  <a:pt x="4001135" y="935544"/>
                </a:cubicBezTo>
                <a:cubicBezTo>
                  <a:pt x="4018915" y="933638"/>
                  <a:pt x="4015105" y="905063"/>
                  <a:pt x="3997325" y="907604"/>
                </a:cubicBezTo>
                <a:close/>
                <a:moveTo>
                  <a:pt x="3914775" y="831404"/>
                </a:moveTo>
                <a:cubicBezTo>
                  <a:pt x="3936365" y="826959"/>
                  <a:pt x="3928745" y="793304"/>
                  <a:pt x="3907155" y="798384"/>
                </a:cubicBezTo>
                <a:cubicBezTo>
                  <a:pt x="3886200" y="802829"/>
                  <a:pt x="3893820" y="836484"/>
                  <a:pt x="3914775" y="831404"/>
                </a:cubicBezTo>
                <a:close/>
                <a:moveTo>
                  <a:pt x="3873500" y="871409"/>
                </a:moveTo>
                <a:cubicBezTo>
                  <a:pt x="3853815" y="874584"/>
                  <a:pt x="3860165" y="906334"/>
                  <a:pt x="3879215" y="901888"/>
                </a:cubicBezTo>
                <a:cubicBezTo>
                  <a:pt x="3898900" y="898713"/>
                  <a:pt x="3892550" y="867599"/>
                  <a:pt x="3873500" y="871409"/>
                </a:cubicBezTo>
                <a:close/>
                <a:moveTo>
                  <a:pt x="3928110" y="916494"/>
                </a:moveTo>
                <a:cubicBezTo>
                  <a:pt x="3909695" y="919034"/>
                  <a:pt x="3914140" y="946974"/>
                  <a:pt x="3931920" y="944434"/>
                </a:cubicBezTo>
                <a:cubicBezTo>
                  <a:pt x="3950335" y="941894"/>
                  <a:pt x="3946525" y="913954"/>
                  <a:pt x="3928110" y="916494"/>
                </a:cubicBezTo>
                <a:close/>
                <a:moveTo>
                  <a:pt x="4038600" y="858709"/>
                </a:moveTo>
                <a:cubicBezTo>
                  <a:pt x="4037330" y="850454"/>
                  <a:pt x="4029075" y="844738"/>
                  <a:pt x="4020820" y="846009"/>
                </a:cubicBezTo>
                <a:cubicBezTo>
                  <a:pt x="3982720" y="858709"/>
                  <a:pt x="4037965" y="899984"/>
                  <a:pt x="4038600" y="858709"/>
                </a:cubicBezTo>
                <a:close/>
                <a:moveTo>
                  <a:pt x="3916045" y="961579"/>
                </a:moveTo>
                <a:cubicBezTo>
                  <a:pt x="3899535" y="962849"/>
                  <a:pt x="3902710" y="988884"/>
                  <a:pt x="3918585" y="986979"/>
                </a:cubicBezTo>
                <a:cubicBezTo>
                  <a:pt x="3935095" y="985074"/>
                  <a:pt x="3932555" y="959674"/>
                  <a:pt x="3916045" y="961579"/>
                </a:cubicBezTo>
                <a:close/>
                <a:moveTo>
                  <a:pt x="4170045" y="826324"/>
                </a:moveTo>
                <a:cubicBezTo>
                  <a:pt x="4149725" y="828229"/>
                  <a:pt x="4153535" y="859979"/>
                  <a:pt x="4173220" y="857438"/>
                </a:cubicBezTo>
                <a:cubicBezTo>
                  <a:pt x="4193540" y="855534"/>
                  <a:pt x="4189730" y="823784"/>
                  <a:pt x="4170045" y="826324"/>
                </a:cubicBezTo>
                <a:close/>
                <a:moveTo>
                  <a:pt x="4097020" y="581849"/>
                </a:moveTo>
                <a:cubicBezTo>
                  <a:pt x="4071620" y="586294"/>
                  <a:pt x="4079240" y="625663"/>
                  <a:pt x="4104640" y="620584"/>
                </a:cubicBezTo>
                <a:cubicBezTo>
                  <a:pt x="4129405" y="616138"/>
                  <a:pt x="4121785" y="576769"/>
                  <a:pt x="4097020" y="581849"/>
                </a:cubicBezTo>
                <a:close/>
                <a:moveTo>
                  <a:pt x="4106545" y="945704"/>
                </a:moveTo>
                <a:cubicBezTo>
                  <a:pt x="4090035" y="946338"/>
                  <a:pt x="4091940" y="972374"/>
                  <a:pt x="4108450" y="971104"/>
                </a:cubicBezTo>
                <a:cubicBezTo>
                  <a:pt x="4124325" y="969834"/>
                  <a:pt x="4123055" y="944434"/>
                  <a:pt x="4106545" y="945704"/>
                </a:cubicBezTo>
                <a:close/>
                <a:moveTo>
                  <a:pt x="4135120" y="892999"/>
                </a:moveTo>
                <a:cubicBezTo>
                  <a:pt x="4116705" y="894269"/>
                  <a:pt x="4119245" y="922844"/>
                  <a:pt x="4137660" y="920938"/>
                </a:cubicBezTo>
                <a:cubicBezTo>
                  <a:pt x="4156075" y="919669"/>
                  <a:pt x="4153535" y="891094"/>
                  <a:pt x="4135120" y="892999"/>
                </a:cubicBezTo>
                <a:close/>
                <a:moveTo>
                  <a:pt x="4170045" y="941894"/>
                </a:moveTo>
                <a:cubicBezTo>
                  <a:pt x="4153535" y="942529"/>
                  <a:pt x="4154805" y="968563"/>
                  <a:pt x="4171315" y="967294"/>
                </a:cubicBezTo>
                <a:cubicBezTo>
                  <a:pt x="4187825" y="966659"/>
                  <a:pt x="4186555" y="940624"/>
                  <a:pt x="4170045" y="941894"/>
                </a:cubicBezTo>
                <a:close/>
                <a:moveTo>
                  <a:pt x="4065905" y="766634"/>
                </a:moveTo>
                <a:cubicBezTo>
                  <a:pt x="4044315" y="769809"/>
                  <a:pt x="4050030" y="804099"/>
                  <a:pt x="4071620" y="800288"/>
                </a:cubicBezTo>
                <a:cubicBezTo>
                  <a:pt x="4093845" y="797113"/>
                  <a:pt x="4087495" y="762824"/>
                  <a:pt x="4065905" y="766634"/>
                </a:cubicBezTo>
                <a:close/>
                <a:moveTo>
                  <a:pt x="4099560" y="866329"/>
                </a:moveTo>
                <a:cubicBezTo>
                  <a:pt x="4119245" y="863788"/>
                  <a:pt x="4115435" y="832674"/>
                  <a:pt x="4095750" y="835213"/>
                </a:cubicBezTo>
                <a:cubicBezTo>
                  <a:pt x="4075430" y="837754"/>
                  <a:pt x="4079875" y="868869"/>
                  <a:pt x="4099560" y="866329"/>
                </a:cubicBezTo>
                <a:close/>
                <a:moveTo>
                  <a:pt x="4065905" y="899349"/>
                </a:moveTo>
                <a:cubicBezTo>
                  <a:pt x="4047490" y="900619"/>
                  <a:pt x="4050665" y="929829"/>
                  <a:pt x="4069080" y="927288"/>
                </a:cubicBezTo>
                <a:cubicBezTo>
                  <a:pt x="4087495" y="926019"/>
                  <a:pt x="4084320" y="897444"/>
                  <a:pt x="4065905" y="899349"/>
                </a:cubicBezTo>
                <a:close/>
                <a:moveTo>
                  <a:pt x="4043045" y="949513"/>
                </a:moveTo>
                <a:cubicBezTo>
                  <a:pt x="4026535" y="950784"/>
                  <a:pt x="4028440" y="976184"/>
                  <a:pt x="4044950" y="974913"/>
                </a:cubicBezTo>
                <a:cubicBezTo>
                  <a:pt x="4061460" y="974279"/>
                  <a:pt x="4059555" y="948244"/>
                  <a:pt x="4043045" y="949513"/>
                </a:cubicBezTo>
                <a:close/>
                <a:moveTo>
                  <a:pt x="4244340" y="818704"/>
                </a:moveTo>
                <a:cubicBezTo>
                  <a:pt x="4224020" y="819974"/>
                  <a:pt x="4227195" y="851724"/>
                  <a:pt x="4246880" y="849819"/>
                </a:cubicBezTo>
                <a:cubicBezTo>
                  <a:pt x="4267200" y="848549"/>
                  <a:pt x="4264660" y="816799"/>
                  <a:pt x="4244340" y="818704"/>
                </a:cubicBezTo>
                <a:close/>
                <a:moveTo>
                  <a:pt x="4827270" y="889824"/>
                </a:moveTo>
                <a:cubicBezTo>
                  <a:pt x="4808855" y="887919"/>
                  <a:pt x="4806950" y="917129"/>
                  <a:pt x="4825365" y="917763"/>
                </a:cubicBezTo>
                <a:cubicBezTo>
                  <a:pt x="4843145" y="919669"/>
                  <a:pt x="4845685" y="891094"/>
                  <a:pt x="4827270" y="889824"/>
                </a:cubicBezTo>
                <a:close/>
                <a:moveTo>
                  <a:pt x="4869180" y="959038"/>
                </a:moveTo>
                <a:cubicBezTo>
                  <a:pt x="4852670" y="957134"/>
                  <a:pt x="4850130" y="983169"/>
                  <a:pt x="4866640" y="984438"/>
                </a:cubicBezTo>
                <a:cubicBezTo>
                  <a:pt x="4882515" y="986344"/>
                  <a:pt x="4885055" y="960944"/>
                  <a:pt x="4869180" y="959038"/>
                </a:cubicBezTo>
                <a:close/>
                <a:moveTo>
                  <a:pt x="4843780" y="818069"/>
                </a:moveTo>
                <a:cubicBezTo>
                  <a:pt x="4824095" y="816163"/>
                  <a:pt x="4820920" y="847279"/>
                  <a:pt x="4841240" y="849184"/>
                </a:cubicBezTo>
                <a:cubicBezTo>
                  <a:pt x="4861560" y="851088"/>
                  <a:pt x="4864100" y="819338"/>
                  <a:pt x="4843780" y="818069"/>
                </a:cubicBezTo>
                <a:close/>
                <a:moveTo>
                  <a:pt x="4871085" y="742504"/>
                </a:moveTo>
                <a:cubicBezTo>
                  <a:pt x="4849495" y="739963"/>
                  <a:pt x="4845685" y="774254"/>
                  <a:pt x="4867275" y="776159"/>
                </a:cubicBezTo>
                <a:cubicBezTo>
                  <a:pt x="4888865" y="779334"/>
                  <a:pt x="4893310" y="745044"/>
                  <a:pt x="4871085" y="742504"/>
                </a:cubicBezTo>
                <a:close/>
                <a:moveTo>
                  <a:pt x="4806315" y="753299"/>
                </a:moveTo>
                <a:cubicBezTo>
                  <a:pt x="4808220" y="731709"/>
                  <a:pt x="4773930" y="728534"/>
                  <a:pt x="4772660" y="750759"/>
                </a:cubicBezTo>
                <a:cubicBezTo>
                  <a:pt x="4770120" y="772349"/>
                  <a:pt x="4804410" y="774888"/>
                  <a:pt x="4806315" y="753299"/>
                </a:cubicBezTo>
                <a:close/>
                <a:moveTo>
                  <a:pt x="4758055" y="884744"/>
                </a:moveTo>
                <a:cubicBezTo>
                  <a:pt x="4739005" y="883474"/>
                  <a:pt x="4738370" y="913319"/>
                  <a:pt x="4757420" y="912684"/>
                </a:cubicBezTo>
                <a:cubicBezTo>
                  <a:pt x="4775200" y="913319"/>
                  <a:pt x="4775835" y="886013"/>
                  <a:pt x="4758055" y="884744"/>
                </a:cubicBezTo>
                <a:close/>
                <a:moveTo>
                  <a:pt x="4805680" y="953959"/>
                </a:moveTo>
                <a:cubicBezTo>
                  <a:pt x="4788535" y="952688"/>
                  <a:pt x="4787265" y="979359"/>
                  <a:pt x="4804410" y="979359"/>
                </a:cubicBezTo>
                <a:cubicBezTo>
                  <a:pt x="4820285" y="979359"/>
                  <a:pt x="4821555" y="954594"/>
                  <a:pt x="4805680" y="953959"/>
                </a:cubicBezTo>
                <a:close/>
                <a:moveTo>
                  <a:pt x="4769485" y="812354"/>
                </a:moveTo>
                <a:cubicBezTo>
                  <a:pt x="4749165" y="811084"/>
                  <a:pt x="4747260" y="842199"/>
                  <a:pt x="4767580" y="843469"/>
                </a:cubicBezTo>
                <a:cubicBezTo>
                  <a:pt x="4787265" y="845374"/>
                  <a:pt x="4789805" y="813624"/>
                  <a:pt x="4769485" y="812354"/>
                </a:cubicBezTo>
                <a:close/>
                <a:moveTo>
                  <a:pt x="4742180" y="948879"/>
                </a:moveTo>
                <a:cubicBezTo>
                  <a:pt x="4725035" y="947609"/>
                  <a:pt x="4724400" y="974279"/>
                  <a:pt x="4741545" y="974279"/>
                </a:cubicBezTo>
                <a:cubicBezTo>
                  <a:pt x="4757420" y="974279"/>
                  <a:pt x="4758055" y="949513"/>
                  <a:pt x="4742180" y="948879"/>
                </a:cubicBezTo>
                <a:close/>
                <a:moveTo>
                  <a:pt x="4896485" y="896174"/>
                </a:moveTo>
                <a:cubicBezTo>
                  <a:pt x="4878070" y="894269"/>
                  <a:pt x="4875530" y="922844"/>
                  <a:pt x="4893945" y="924113"/>
                </a:cubicBezTo>
                <a:cubicBezTo>
                  <a:pt x="4911725" y="926019"/>
                  <a:pt x="4914900" y="897444"/>
                  <a:pt x="4896485" y="896174"/>
                </a:cubicBezTo>
                <a:close/>
                <a:moveTo>
                  <a:pt x="4995545" y="973009"/>
                </a:moveTo>
                <a:cubicBezTo>
                  <a:pt x="4979035" y="971104"/>
                  <a:pt x="4975860" y="996504"/>
                  <a:pt x="4992370" y="998409"/>
                </a:cubicBezTo>
                <a:cubicBezTo>
                  <a:pt x="5008880" y="1000313"/>
                  <a:pt x="5012055" y="974279"/>
                  <a:pt x="4995545" y="973009"/>
                </a:cubicBezTo>
                <a:close/>
                <a:moveTo>
                  <a:pt x="5031105" y="765363"/>
                </a:moveTo>
                <a:cubicBezTo>
                  <a:pt x="5007610" y="760919"/>
                  <a:pt x="5004435" y="799019"/>
                  <a:pt x="5028565" y="799019"/>
                </a:cubicBezTo>
                <a:cubicBezTo>
                  <a:pt x="5048885" y="799654"/>
                  <a:pt x="5051425" y="768538"/>
                  <a:pt x="5031105" y="765363"/>
                </a:cubicBezTo>
                <a:close/>
                <a:moveTo>
                  <a:pt x="4993005" y="833944"/>
                </a:moveTo>
                <a:cubicBezTo>
                  <a:pt x="4973320" y="831404"/>
                  <a:pt x="4968875" y="862519"/>
                  <a:pt x="4989195" y="865059"/>
                </a:cubicBezTo>
                <a:cubicBezTo>
                  <a:pt x="5008880" y="867599"/>
                  <a:pt x="5013325" y="836484"/>
                  <a:pt x="4993005" y="833944"/>
                </a:cubicBezTo>
                <a:close/>
                <a:moveTo>
                  <a:pt x="5034280" y="911413"/>
                </a:moveTo>
                <a:cubicBezTo>
                  <a:pt x="5016500" y="908874"/>
                  <a:pt x="5012690" y="937449"/>
                  <a:pt x="5030470" y="939354"/>
                </a:cubicBezTo>
                <a:cubicBezTo>
                  <a:pt x="5048885" y="941894"/>
                  <a:pt x="5052695" y="913319"/>
                  <a:pt x="5034280" y="911413"/>
                </a:cubicBezTo>
                <a:close/>
                <a:moveTo>
                  <a:pt x="4932045" y="966024"/>
                </a:moveTo>
                <a:cubicBezTo>
                  <a:pt x="4915535" y="964119"/>
                  <a:pt x="4912995" y="989519"/>
                  <a:pt x="4929505" y="991424"/>
                </a:cubicBezTo>
                <a:cubicBezTo>
                  <a:pt x="4946015" y="992694"/>
                  <a:pt x="4948555" y="967294"/>
                  <a:pt x="4932045" y="966024"/>
                </a:cubicBezTo>
                <a:close/>
                <a:moveTo>
                  <a:pt x="4932680" y="842199"/>
                </a:moveTo>
                <a:cubicBezTo>
                  <a:pt x="4935220" y="822513"/>
                  <a:pt x="4903470" y="818704"/>
                  <a:pt x="4901565" y="839024"/>
                </a:cubicBezTo>
                <a:cubicBezTo>
                  <a:pt x="4899025" y="859344"/>
                  <a:pt x="4930775" y="862519"/>
                  <a:pt x="4932680" y="842199"/>
                </a:cubicBezTo>
                <a:close/>
                <a:moveTo>
                  <a:pt x="4965700" y="903159"/>
                </a:moveTo>
                <a:cubicBezTo>
                  <a:pt x="4947285" y="900619"/>
                  <a:pt x="4944110" y="929829"/>
                  <a:pt x="4962525" y="931099"/>
                </a:cubicBezTo>
                <a:cubicBezTo>
                  <a:pt x="4980305" y="933004"/>
                  <a:pt x="4983480" y="905063"/>
                  <a:pt x="4965700" y="903159"/>
                </a:cubicBezTo>
                <a:close/>
                <a:moveTo>
                  <a:pt x="4965700" y="772349"/>
                </a:moveTo>
                <a:cubicBezTo>
                  <a:pt x="4968875" y="750759"/>
                  <a:pt x="4934585" y="745679"/>
                  <a:pt x="4932045" y="767904"/>
                </a:cubicBezTo>
                <a:cubicBezTo>
                  <a:pt x="4928870" y="788859"/>
                  <a:pt x="4963160" y="793938"/>
                  <a:pt x="4965700" y="772349"/>
                </a:cubicBezTo>
                <a:close/>
                <a:moveTo>
                  <a:pt x="4619625" y="879029"/>
                </a:moveTo>
                <a:cubicBezTo>
                  <a:pt x="4601210" y="878394"/>
                  <a:pt x="4600575" y="906969"/>
                  <a:pt x="4618990" y="906969"/>
                </a:cubicBezTo>
                <a:cubicBezTo>
                  <a:pt x="4637405" y="907604"/>
                  <a:pt x="4638040" y="879029"/>
                  <a:pt x="4619625" y="879029"/>
                </a:cubicBezTo>
                <a:close/>
                <a:moveTo>
                  <a:pt x="4577715" y="638363"/>
                </a:moveTo>
                <a:cubicBezTo>
                  <a:pt x="4553585" y="637729"/>
                  <a:pt x="4553585" y="675194"/>
                  <a:pt x="4577080" y="675194"/>
                </a:cubicBezTo>
                <a:cubicBezTo>
                  <a:pt x="4600575" y="675829"/>
                  <a:pt x="4601210" y="638999"/>
                  <a:pt x="4577715" y="638363"/>
                </a:cubicBezTo>
                <a:close/>
                <a:moveTo>
                  <a:pt x="4615180" y="941259"/>
                </a:moveTo>
                <a:cubicBezTo>
                  <a:pt x="4598670" y="939988"/>
                  <a:pt x="4597400" y="966024"/>
                  <a:pt x="4613910" y="966659"/>
                </a:cubicBezTo>
                <a:cubicBezTo>
                  <a:pt x="4630420" y="967929"/>
                  <a:pt x="4631690" y="941894"/>
                  <a:pt x="4615180" y="941259"/>
                </a:cubicBezTo>
                <a:close/>
                <a:moveTo>
                  <a:pt x="4548505" y="725359"/>
                </a:moveTo>
                <a:cubicBezTo>
                  <a:pt x="4526280" y="725359"/>
                  <a:pt x="4526915" y="759649"/>
                  <a:pt x="4548505" y="759013"/>
                </a:cubicBezTo>
                <a:cubicBezTo>
                  <a:pt x="4570730" y="759013"/>
                  <a:pt x="4570730" y="724724"/>
                  <a:pt x="4548505" y="725359"/>
                </a:cubicBezTo>
                <a:close/>
                <a:moveTo>
                  <a:pt x="4741545" y="564704"/>
                </a:moveTo>
                <a:cubicBezTo>
                  <a:pt x="4730750" y="563434"/>
                  <a:pt x="4720590" y="570419"/>
                  <a:pt x="4719320" y="581849"/>
                </a:cubicBezTo>
                <a:cubicBezTo>
                  <a:pt x="4721225" y="633284"/>
                  <a:pt x="4791075" y="579944"/>
                  <a:pt x="4741545" y="564704"/>
                </a:cubicBezTo>
                <a:close/>
                <a:moveTo>
                  <a:pt x="4550410" y="877124"/>
                </a:moveTo>
                <a:cubicBezTo>
                  <a:pt x="4531995" y="876488"/>
                  <a:pt x="4531995" y="905699"/>
                  <a:pt x="4550410" y="905699"/>
                </a:cubicBezTo>
                <a:cubicBezTo>
                  <a:pt x="4568825" y="905699"/>
                  <a:pt x="4568825" y="877124"/>
                  <a:pt x="4550410" y="877124"/>
                </a:cubicBezTo>
                <a:close/>
                <a:moveTo>
                  <a:pt x="4540250" y="312608"/>
                </a:moveTo>
                <a:cubicBezTo>
                  <a:pt x="4547870" y="282129"/>
                  <a:pt x="4500245" y="271333"/>
                  <a:pt x="4493260" y="301813"/>
                </a:cubicBezTo>
                <a:cubicBezTo>
                  <a:pt x="4485640" y="332294"/>
                  <a:pt x="4533265" y="343088"/>
                  <a:pt x="4540250" y="312608"/>
                </a:cubicBezTo>
                <a:close/>
                <a:moveTo>
                  <a:pt x="4490720" y="638363"/>
                </a:moveTo>
                <a:cubicBezTo>
                  <a:pt x="4466590" y="638363"/>
                  <a:pt x="4467225" y="675829"/>
                  <a:pt x="4491355" y="675194"/>
                </a:cubicBezTo>
                <a:cubicBezTo>
                  <a:pt x="4514850" y="675194"/>
                  <a:pt x="4514850" y="637729"/>
                  <a:pt x="4490720" y="638363"/>
                </a:cubicBezTo>
                <a:close/>
                <a:moveTo>
                  <a:pt x="4551680" y="939354"/>
                </a:moveTo>
                <a:cubicBezTo>
                  <a:pt x="4535170" y="938719"/>
                  <a:pt x="4534535" y="964754"/>
                  <a:pt x="4551045" y="964754"/>
                </a:cubicBezTo>
                <a:cubicBezTo>
                  <a:pt x="4567555" y="964754"/>
                  <a:pt x="4567555" y="939354"/>
                  <a:pt x="4551680" y="939354"/>
                </a:cubicBezTo>
                <a:close/>
                <a:moveTo>
                  <a:pt x="4559935" y="821244"/>
                </a:moveTo>
                <a:cubicBezTo>
                  <a:pt x="4559935" y="800924"/>
                  <a:pt x="4528820" y="800924"/>
                  <a:pt x="4528820" y="821244"/>
                </a:cubicBezTo>
                <a:cubicBezTo>
                  <a:pt x="4528820" y="841563"/>
                  <a:pt x="4559935" y="840929"/>
                  <a:pt x="4559935" y="821244"/>
                </a:cubicBezTo>
                <a:close/>
                <a:moveTo>
                  <a:pt x="4584700" y="459929"/>
                </a:moveTo>
                <a:cubicBezTo>
                  <a:pt x="4557395" y="456754"/>
                  <a:pt x="4552950" y="499299"/>
                  <a:pt x="4580255" y="501838"/>
                </a:cubicBezTo>
                <a:cubicBezTo>
                  <a:pt x="4607560" y="505649"/>
                  <a:pt x="4612640" y="462469"/>
                  <a:pt x="4584700" y="459929"/>
                </a:cubicBezTo>
                <a:close/>
                <a:moveTo>
                  <a:pt x="4678680" y="945069"/>
                </a:moveTo>
                <a:cubicBezTo>
                  <a:pt x="4662170" y="943799"/>
                  <a:pt x="4660900" y="969834"/>
                  <a:pt x="4677410" y="970469"/>
                </a:cubicBezTo>
                <a:cubicBezTo>
                  <a:pt x="4693285" y="971738"/>
                  <a:pt x="4695190" y="945704"/>
                  <a:pt x="4678680" y="945069"/>
                </a:cubicBezTo>
                <a:close/>
                <a:moveTo>
                  <a:pt x="4688840" y="881569"/>
                </a:moveTo>
                <a:cubicBezTo>
                  <a:pt x="4670425" y="880299"/>
                  <a:pt x="4669155" y="909509"/>
                  <a:pt x="4687570" y="909509"/>
                </a:cubicBezTo>
                <a:cubicBezTo>
                  <a:pt x="4705985" y="910779"/>
                  <a:pt x="4707255" y="882204"/>
                  <a:pt x="4688840" y="881569"/>
                </a:cubicBezTo>
                <a:close/>
                <a:moveTo>
                  <a:pt x="4694555" y="808544"/>
                </a:moveTo>
                <a:cubicBezTo>
                  <a:pt x="4674235" y="807274"/>
                  <a:pt x="4672965" y="839659"/>
                  <a:pt x="4693920" y="839659"/>
                </a:cubicBezTo>
                <a:cubicBezTo>
                  <a:pt x="4713605" y="840294"/>
                  <a:pt x="4714240" y="809179"/>
                  <a:pt x="4694555" y="808544"/>
                </a:cubicBezTo>
                <a:close/>
                <a:moveTo>
                  <a:pt x="4709795" y="729169"/>
                </a:moveTo>
                <a:cubicBezTo>
                  <a:pt x="4687570" y="727899"/>
                  <a:pt x="4686300" y="762188"/>
                  <a:pt x="4707890" y="762824"/>
                </a:cubicBezTo>
                <a:cubicBezTo>
                  <a:pt x="4730115" y="764729"/>
                  <a:pt x="4732020" y="730438"/>
                  <a:pt x="4709795" y="729169"/>
                </a:cubicBezTo>
                <a:close/>
                <a:moveTo>
                  <a:pt x="4681220" y="661224"/>
                </a:moveTo>
                <a:cubicBezTo>
                  <a:pt x="4683125" y="637729"/>
                  <a:pt x="4645660" y="635188"/>
                  <a:pt x="4644390" y="659319"/>
                </a:cubicBezTo>
                <a:cubicBezTo>
                  <a:pt x="4643120" y="682813"/>
                  <a:pt x="4680585" y="685354"/>
                  <a:pt x="4681220" y="661224"/>
                </a:cubicBezTo>
                <a:close/>
                <a:moveTo>
                  <a:pt x="4619625" y="806004"/>
                </a:moveTo>
                <a:cubicBezTo>
                  <a:pt x="4599305" y="805369"/>
                  <a:pt x="4598670" y="837119"/>
                  <a:pt x="4618990" y="837119"/>
                </a:cubicBezTo>
                <a:cubicBezTo>
                  <a:pt x="4638675" y="837754"/>
                  <a:pt x="4639310" y="806638"/>
                  <a:pt x="4619625" y="806004"/>
                </a:cubicBezTo>
                <a:close/>
                <a:moveTo>
                  <a:pt x="4629150" y="725994"/>
                </a:moveTo>
                <a:cubicBezTo>
                  <a:pt x="4606925" y="725359"/>
                  <a:pt x="4606290" y="760284"/>
                  <a:pt x="4628515" y="759649"/>
                </a:cubicBezTo>
                <a:cubicBezTo>
                  <a:pt x="4650105" y="760284"/>
                  <a:pt x="4650740" y="726629"/>
                  <a:pt x="4629150" y="725994"/>
                </a:cubicBezTo>
                <a:close/>
                <a:moveTo>
                  <a:pt x="4488180" y="937449"/>
                </a:moveTo>
                <a:cubicBezTo>
                  <a:pt x="4471670" y="936813"/>
                  <a:pt x="4471035" y="962849"/>
                  <a:pt x="4487545" y="962849"/>
                </a:cubicBezTo>
                <a:cubicBezTo>
                  <a:pt x="4504055" y="963484"/>
                  <a:pt x="4504690" y="937449"/>
                  <a:pt x="4488180" y="937449"/>
                </a:cubicBezTo>
                <a:close/>
                <a:moveTo>
                  <a:pt x="1173480" y="2458909"/>
                </a:moveTo>
                <a:cubicBezTo>
                  <a:pt x="1172210" y="2459544"/>
                  <a:pt x="1170940" y="2460814"/>
                  <a:pt x="1169670" y="2462084"/>
                </a:cubicBezTo>
                <a:cubicBezTo>
                  <a:pt x="1189355" y="2368739"/>
                  <a:pt x="1066165" y="2473514"/>
                  <a:pt x="1162050" y="2469069"/>
                </a:cubicBezTo>
                <a:lnTo>
                  <a:pt x="1162050" y="2469069"/>
                </a:lnTo>
                <a:cubicBezTo>
                  <a:pt x="1164590" y="2467799"/>
                  <a:pt x="1166495" y="2465894"/>
                  <a:pt x="1168400" y="2463989"/>
                </a:cubicBezTo>
                <a:cubicBezTo>
                  <a:pt x="1144270" y="2566859"/>
                  <a:pt x="1278255" y="2450654"/>
                  <a:pt x="1173480" y="2458909"/>
                </a:cubicBezTo>
                <a:close/>
                <a:moveTo>
                  <a:pt x="3246120" y="971738"/>
                </a:moveTo>
                <a:cubicBezTo>
                  <a:pt x="3224530" y="981899"/>
                  <a:pt x="3241675" y="1015554"/>
                  <a:pt x="3262630" y="1004759"/>
                </a:cubicBezTo>
                <a:cubicBezTo>
                  <a:pt x="3284220" y="994599"/>
                  <a:pt x="3267710" y="960944"/>
                  <a:pt x="3246120" y="971738"/>
                </a:cubicBezTo>
                <a:close/>
                <a:moveTo>
                  <a:pt x="2949575" y="1176209"/>
                </a:moveTo>
                <a:cubicBezTo>
                  <a:pt x="2936240" y="1156524"/>
                  <a:pt x="2907030" y="1180019"/>
                  <a:pt x="2923540" y="1197163"/>
                </a:cubicBezTo>
                <a:cubicBezTo>
                  <a:pt x="2905760" y="1218754"/>
                  <a:pt x="2950845" y="1232088"/>
                  <a:pt x="2947670" y="1204149"/>
                </a:cubicBezTo>
                <a:cubicBezTo>
                  <a:pt x="2973705" y="1216849"/>
                  <a:pt x="2977515" y="1168588"/>
                  <a:pt x="2949575" y="1176209"/>
                </a:cubicBezTo>
                <a:close/>
                <a:moveTo>
                  <a:pt x="2893060" y="1209229"/>
                </a:moveTo>
                <a:cubicBezTo>
                  <a:pt x="2901315" y="1199704"/>
                  <a:pt x="2895600" y="1182559"/>
                  <a:pt x="2882900" y="1180019"/>
                </a:cubicBezTo>
                <a:cubicBezTo>
                  <a:pt x="2875915" y="1131124"/>
                  <a:pt x="2813050" y="1185099"/>
                  <a:pt x="2860675" y="1199069"/>
                </a:cubicBezTo>
                <a:cubicBezTo>
                  <a:pt x="2860675" y="1201609"/>
                  <a:pt x="2861945" y="1204784"/>
                  <a:pt x="2863215" y="1207324"/>
                </a:cubicBezTo>
                <a:cubicBezTo>
                  <a:pt x="2846705" y="1207959"/>
                  <a:pt x="2842260" y="1232088"/>
                  <a:pt x="2856865" y="1239074"/>
                </a:cubicBezTo>
                <a:cubicBezTo>
                  <a:pt x="2860675" y="1252409"/>
                  <a:pt x="2880995" y="1251138"/>
                  <a:pt x="2883535" y="1238438"/>
                </a:cubicBezTo>
                <a:cubicBezTo>
                  <a:pt x="2901315" y="1242884"/>
                  <a:pt x="2909570" y="1215579"/>
                  <a:pt x="2893060" y="1209229"/>
                </a:cubicBezTo>
                <a:close/>
                <a:moveTo>
                  <a:pt x="2957195" y="1135569"/>
                </a:moveTo>
                <a:cubicBezTo>
                  <a:pt x="2967355" y="1080324"/>
                  <a:pt x="2883535" y="1124774"/>
                  <a:pt x="2934970" y="1146999"/>
                </a:cubicBezTo>
                <a:cubicBezTo>
                  <a:pt x="2927985" y="1195894"/>
                  <a:pt x="3001645" y="1157159"/>
                  <a:pt x="2957195" y="1135569"/>
                </a:cubicBezTo>
                <a:close/>
                <a:moveTo>
                  <a:pt x="2991485" y="1043494"/>
                </a:moveTo>
                <a:cubicBezTo>
                  <a:pt x="2975610" y="1021269"/>
                  <a:pt x="2940685" y="1047304"/>
                  <a:pt x="2957830" y="1068894"/>
                </a:cubicBezTo>
                <a:cubicBezTo>
                  <a:pt x="2973705" y="1091119"/>
                  <a:pt x="3007995" y="1065084"/>
                  <a:pt x="2991485" y="1043494"/>
                </a:cubicBezTo>
                <a:close/>
                <a:moveTo>
                  <a:pt x="2806700" y="1158429"/>
                </a:moveTo>
                <a:cubicBezTo>
                  <a:pt x="2785110" y="1174938"/>
                  <a:pt x="2811780" y="1209229"/>
                  <a:pt x="2832735" y="1191449"/>
                </a:cubicBezTo>
                <a:cubicBezTo>
                  <a:pt x="2854960" y="1174938"/>
                  <a:pt x="2828290" y="1140649"/>
                  <a:pt x="2806700" y="1158429"/>
                </a:cubicBezTo>
                <a:close/>
                <a:moveTo>
                  <a:pt x="2767330" y="1275269"/>
                </a:moveTo>
                <a:cubicBezTo>
                  <a:pt x="2763520" y="1265744"/>
                  <a:pt x="2748915" y="1265109"/>
                  <a:pt x="2744470" y="1274634"/>
                </a:cubicBezTo>
                <a:cubicBezTo>
                  <a:pt x="2740025" y="1270824"/>
                  <a:pt x="2733040" y="1269554"/>
                  <a:pt x="2727325" y="1270824"/>
                </a:cubicBezTo>
                <a:cubicBezTo>
                  <a:pt x="2720340" y="1263838"/>
                  <a:pt x="2709545" y="1262569"/>
                  <a:pt x="2701925" y="1268919"/>
                </a:cubicBezTo>
                <a:cubicBezTo>
                  <a:pt x="2701925" y="1268919"/>
                  <a:pt x="2701925" y="1268919"/>
                  <a:pt x="2701925" y="1268919"/>
                </a:cubicBezTo>
                <a:cubicBezTo>
                  <a:pt x="2693670" y="1274634"/>
                  <a:pt x="2691765" y="1286063"/>
                  <a:pt x="2696210" y="1294319"/>
                </a:cubicBezTo>
                <a:cubicBezTo>
                  <a:pt x="2693670" y="1294954"/>
                  <a:pt x="2691130" y="1296224"/>
                  <a:pt x="2689225" y="1298129"/>
                </a:cubicBezTo>
                <a:cubicBezTo>
                  <a:pt x="2689860" y="1291144"/>
                  <a:pt x="2686685" y="1283524"/>
                  <a:pt x="2680335" y="1279079"/>
                </a:cubicBezTo>
                <a:cubicBezTo>
                  <a:pt x="2701925" y="1275904"/>
                  <a:pt x="2705735" y="1244788"/>
                  <a:pt x="2685415" y="1236534"/>
                </a:cubicBezTo>
                <a:cubicBezTo>
                  <a:pt x="2696845" y="1220659"/>
                  <a:pt x="2681605" y="1195894"/>
                  <a:pt x="2661920" y="1199704"/>
                </a:cubicBezTo>
                <a:cubicBezTo>
                  <a:pt x="2649855" y="1127949"/>
                  <a:pt x="2568575" y="1221294"/>
                  <a:pt x="2641600" y="1223834"/>
                </a:cubicBezTo>
                <a:cubicBezTo>
                  <a:pt x="2641600" y="1233359"/>
                  <a:pt x="2647950" y="1242884"/>
                  <a:pt x="2656840" y="1246059"/>
                </a:cubicBezTo>
                <a:cubicBezTo>
                  <a:pt x="2651125" y="1255584"/>
                  <a:pt x="2653665" y="1269554"/>
                  <a:pt x="2663825" y="1275904"/>
                </a:cubicBezTo>
                <a:cubicBezTo>
                  <a:pt x="2638425" y="1280349"/>
                  <a:pt x="2644140" y="1320354"/>
                  <a:pt x="2670175" y="1317813"/>
                </a:cubicBezTo>
                <a:cubicBezTo>
                  <a:pt x="2669540" y="1318449"/>
                  <a:pt x="2669540" y="1319719"/>
                  <a:pt x="2668905" y="1320354"/>
                </a:cubicBezTo>
                <a:cubicBezTo>
                  <a:pt x="2662555" y="1317179"/>
                  <a:pt x="2654300" y="1317813"/>
                  <a:pt x="2648585" y="1322894"/>
                </a:cubicBezTo>
                <a:cubicBezTo>
                  <a:pt x="2640330" y="1317813"/>
                  <a:pt x="2627630" y="1320354"/>
                  <a:pt x="2622550" y="1329244"/>
                </a:cubicBezTo>
                <a:cubicBezTo>
                  <a:pt x="2623185" y="1321624"/>
                  <a:pt x="2619375" y="1312734"/>
                  <a:pt x="2612390" y="1308288"/>
                </a:cubicBezTo>
                <a:cubicBezTo>
                  <a:pt x="2617470" y="1292413"/>
                  <a:pt x="2602230" y="1275269"/>
                  <a:pt x="2585720" y="1278444"/>
                </a:cubicBezTo>
                <a:cubicBezTo>
                  <a:pt x="2557145" y="1220659"/>
                  <a:pt x="2502535" y="1314004"/>
                  <a:pt x="2566670" y="1310829"/>
                </a:cubicBezTo>
                <a:cubicBezTo>
                  <a:pt x="2568575" y="1315909"/>
                  <a:pt x="2572385" y="1320354"/>
                  <a:pt x="2577465" y="1322894"/>
                </a:cubicBezTo>
                <a:cubicBezTo>
                  <a:pt x="2576195" y="1328609"/>
                  <a:pt x="2577465" y="1334959"/>
                  <a:pt x="2581275" y="1340674"/>
                </a:cubicBezTo>
                <a:cubicBezTo>
                  <a:pt x="2570480" y="1346388"/>
                  <a:pt x="2567305" y="1363534"/>
                  <a:pt x="2574290" y="1373059"/>
                </a:cubicBezTo>
                <a:cubicBezTo>
                  <a:pt x="2573020" y="1374329"/>
                  <a:pt x="2572385" y="1375599"/>
                  <a:pt x="2571750" y="1376869"/>
                </a:cubicBezTo>
                <a:cubicBezTo>
                  <a:pt x="2561590" y="1373059"/>
                  <a:pt x="2545080" y="1376234"/>
                  <a:pt x="2545080" y="1389569"/>
                </a:cubicBezTo>
                <a:cubicBezTo>
                  <a:pt x="2545080" y="1389569"/>
                  <a:pt x="2544445" y="1390204"/>
                  <a:pt x="2544445" y="1390204"/>
                </a:cubicBezTo>
                <a:cubicBezTo>
                  <a:pt x="2543175" y="1385759"/>
                  <a:pt x="2540000" y="1381313"/>
                  <a:pt x="2536190" y="1378774"/>
                </a:cubicBezTo>
                <a:cubicBezTo>
                  <a:pt x="2536190" y="1364169"/>
                  <a:pt x="2519680" y="1352104"/>
                  <a:pt x="2505710" y="1357184"/>
                </a:cubicBezTo>
                <a:cubicBezTo>
                  <a:pt x="2464435" y="1314638"/>
                  <a:pt x="2437130" y="1410524"/>
                  <a:pt x="2494280" y="1395919"/>
                </a:cubicBezTo>
                <a:cubicBezTo>
                  <a:pt x="2496185" y="1397824"/>
                  <a:pt x="2498090" y="1399729"/>
                  <a:pt x="2500630" y="1400999"/>
                </a:cubicBezTo>
                <a:cubicBezTo>
                  <a:pt x="2500630" y="1402269"/>
                  <a:pt x="2501265" y="1404174"/>
                  <a:pt x="2501900" y="1405444"/>
                </a:cubicBezTo>
                <a:cubicBezTo>
                  <a:pt x="2500630" y="1406713"/>
                  <a:pt x="2499360" y="1407984"/>
                  <a:pt x="2498725" y="1409888"/>
                </a:cubicBezTo>
                <a:cubicBezTo>
                  <a:pt x="2490470" y="1409888"/>
                  <a:pt x="2483485" y="1418144"/>
                  <a:pt x="2484755" y="1425763"/>
                </a:cubicBezTo>
                <a:cubicBezTo>
                  <a:pt x="2484755" y="1425763"/>
                  <a:pt x="2484120" y="1425763"/>
                  <a:pt x="2484120" y="1426399"/>
                </a:cubicBezTo>
                <a:cubicBezTo>
                  <a:pt x="2476500" y="1387029"/>
                  <a:pt x="2436495" y="1442274"/>
                  <a:pt x="2475865" y="1437194"/>
                </a:cubicBezTo>
                <a:cubicBezTo>
                  <a:pt x="2475865" y="1437194"/>
                  <a:pt x="2475865" y="1437194"/>
                  <a:pt x="2475865" y="1437194"/>
                </a:cubicBezTo>
                <a:cubicBezTo>
                  <a:pt x="2452370" y="1464499"/>
                  <a:pt x="2507615" y="1486724"/>
                  <a:pt x="2510155" y="1451163"/>
                </a:cubicBezTo>
                <a:cubicBezTo>
                  <a:pt x="2522220" y="1456879"/>
                  <a:pt x="2536825" y="1444813"/>
                  <a:pt x="2534920" y="1432113"/>
                </a:cubicBezTo>
                <a:cubicBezTo>
                  <a:pt x="2537460" y="1427034"/>
                  <a:pt x="2538095" y="1421319"/>
                  <a:pt x="2536825" y="1415604"/>
                </a:cubicBezTo>
                <a:cubicBezTo>
                  <a:pt x="2539365" y="1414334"/>
                  <a:pt x="2541270" y="1411794"/>
                  <a:pt x="2542540" y="1409254"/>
                </a:cubicBezTo>
                <a:cubicBezTo>
                  <a:pt x="2546985" y="1416238"/>
                  <a:pt x="2555875" y="1418779"/>
                  <a:pt x="2563495" y="1414969"/>
                </a:cubicBezTo>
                <a:cubicBezTo>
                  <a:pt x="2570480" y="1415604"/>
                  <a:pt x="2578735" y="1411159"/>
                  <a:pt x="2581910" y="1404809"/>
                </a:cubicBezTo>
                <a:cubicBezTo>
                  <a:pt x="2586355" y="1406079"/>
                  <a:pt x="2590800" y="1405444"/>
                  <a:pt x="2594610" y="1402904"/>
                </a:cubicBezTo>
                <a:lnTo>
                  <a:pt x="2594610" y="1402904"/>
                </a:lnTo>
                <a:cubicBezTo>
                  <a:pt x="2604770" y="1399094"/>
                  <a:pt x="2609850" y="1386394"/>
                  <a:pt x="2604135" y="1376869"/>
                </a:cubicBezTo>
                <a:cubicBezTo>
                  <a:pt x="2606040" y="1375599"/>
                  <a:pt x="2607310" y="1374329"/>
                  <a:pt x="2607945" y="1373059"/>
                </a:cubicBezTo>
                <a:cubicBezTo>
                  <a:pt x="2612390" y="1379409"/>
                  <a:pt x="2621280" y="1381313"/>
                  <a:pt x="2628265" y="1377504"/>
                </a:cubicBezTo>
                <a:lnTo>
                  <a:pt x="2628265" y="1377504"/>
                </a:lnTo>
                <a:cubicBezTo>
                  <a:pt x="2634615" y="1373694"/>
                  <a:pt x="2637155" y="1366709"/>
                  <a:pt x="2635885" y="1360359"/>
                </a:cubicBezTo>
                <a:cubicBezTo>
                  <a:pt x="2638425" y="1360994"/>
                  <a:pt x="2641600" y="1360359"/>
                  <a:pt x="2644140" y="1359724"/>
                </a:cubicBezTo>
                <a:cubicBezTo>
                  <a:pt x="2652395" y="1366709"/>
                  <a:pt x="2665730" y="1362899"/>
                  <a:pt x="2669540" y="1352738"/>
                </a:cubicBezTo>
                <a:cubicBezTo>
                  <a:pt x="2673985" y="1349563"/>
                  <a:pt x="2676525" y="1345119"/>
                  <a:pt x="2677795" y="1340674"/>
                </a:cubicBezTo>
                <a:cubicBezTo>
                  <a:pt x="2690495" y="1349563"/>
                  <a:pt x="2707005" y="1334324"/>
                  <a:pt x="2700020" y="1320988"/>
                </a:cubicBezTo>
                <a:cubicBezTo>
                  <a:pt x="2703830" y="1320354"/>
                  <a:pt x="2707640" y="1317179"/>
                  <a:pt x="2708910" y="1313369"/>
                </a:cubicBezTo>
                <a:cubicBezTo>
                  <a:pt x="2716530" y="1326704"/>
                  <a:pt x="2738120" y="1322259"/>
                  <a:pt x="2740025" y="1307654"/>
                </a:cubicBezTo>
                <a:cubicBezTo>
                  <a:pt x="2743200" y="1308288"/>
                  <a:pt x="2746375" y="1308288"/>
                  <a:pt x="2748915" y="1307019"/>
                </a:cubicBezTo>
                <a:cubicBezTo>
                  <a:pt x="2760345" y="1310194"/>
                  <a:pt x="2770505" y="1297494"/>
                  <a:pt x="2766695" y="1286699"/>
                </a:cubicBezTo>
                <a:cubicBezTo>
                  <a:pt x="2768600" y="1282254"/>
                  <a:pt x="2769235" y="1279079"/>
                  <a:pt x="2767330" y="1275269"/>
                </a:cubicBezTo>
                <a:close/>
                <a:moveTo>
                  <a:pt x="2615565" y="1342579"/>
                </a:moveTo>
                <a:cubicBezTo>
                  <a:pt x="2616835" y="1341309"/>
                  <a:pt x="2618105" y="1340038"/>
                  <a:pt x="2618740" y="1338134"/>
                </a:cubicBezTo>
                <a:cubicBezTo>
                  <a:pt x="2618740" y="1339404"/>
                  <a:pt x="2618740" y="1340674"/>
                  <a:pt x="2618740" y="1341309"/>
                </a:cubicBezTo>
                <a:cubicBezTo>
                  <a:pt x="2618105" y="1341944"/>
                  <a:pt x="2616835" y="1341944"/>
                  <a:pt x="2615565" y="1342579"/>
                </a:cubicBezTo>
                <a:close/>
                <a:moveTo>
                  <a:pt x="2684145" y="1310194"/>
                </a:moveTo>
                <a:cubicBezTo>
                  <a:pt x="2684780" y="1309559"/>
                  <a:pt x="2684780" y="1308924"/>
                  <a:pt x="2685415" y="1308924"/>
                </a:cubicBezTo>
                <a:cubicBezTo>
                  <a:pt x="2685415" y="1309559"/>
                  <a:pt x="2685415" y="1310194"/>
                  <a:pt x="2685415" y="1310829"/>
                </a:cubicBezTo>
                <a:cubicBezTo>
                  <a:pt x="2685415" y="1310194"/>
                  <a:pt x="2684780" y="1310194"/>
                  <a:pt x="2684145" y="1310194"/>
                </a:cubicBezTo>
                <a:close/>
                <a:moveTo>
                  <a:pt x="2458085" y="1446084"/>
                </a:moveTo>
                <a:cubicBezTo>
                  <a:pt x="2452370" y="1433384"/>
                  <a:pt x="2435860" y="1428938"/>
                  <a:pt x="2424430" y="1435924"/>
                </a:cubicBezTo>
                <a:cubicBezTo>
                  <a:pt x="2385060" y="1411794"/>
                  <a:pt x="2367280" y="1485454"/>
                  <a:pt x="2413000" y="1482279"/>
                </a:cubicBezTo>
                <a:cubicBezTo>
                  <a:pt x="2413000" y="1483549"/>
                  <a:pt x="2413635" y="1484184"/>
                  <a:pt x="2414270" y="1485454"/>
                </a:cubicBezTo>
                <a:cubicBezTo>
                  <a:pt x="2366645" y="1501329"/>
                  <a:pt x="2433320" y="1552763"/>
                  <a:pt x="2437130" y="1503234"/>
                </a:cubicBezTo>
                <a:cubicBezTo>
                  <a:pt x="2444115" y="1504504"/>
                  <a:pt x="2451735" y="1502599"/>
                  <a:pt x="2456815" y="1496884"/>
                </a:cubicBezTo>
                <a:lnTo>
                  <a:pt x="2456815" y="1496884"/>
                </a:lnTo>
                <a:cubicBezTo>
                  <a:pt x="2468880" y="1484184"/>
                  <a:pt x="2477770" y="1456244"/>
                  <a:pt x="2458085" y="1446084"/>
                </a:cubicBezTo>
                <a:close/>
                <a:moveTo>
                  <a:pt x="2823845" y="1241613"/>
                </a:moveTo>
                <a:cubicBezTo>
                  <a:pt x="2823845" y="1232724"/>
                  <a:pt x="2814955" y="1224469"/>
                  <a:pt x="2806700" y="1224469"/>
                </a:cubicBezTo>
                <a:cubicBezTo>
                  <a:pt x="2789555" y="1189544"/>
                  <a:pt x="2746375" y="1237804"/>
                  <a:pt x="2783205" y="1251138"/>
                </a:cubicBezTo>
                <a:cubicBezTo>
                  <a:pt x="2767965" y="1264474"/>
                  <a:pt x="2788285" y="1289874"/>
                  <a:pt x="2804795" y="1277174"/>
                </a:cubicBezTo>
                <a:cubicBezTo>
                  <a:pt x="2809875" y="1278444"/>
                  <a:pt x="2815590" y="1275904"/>
                  <a:pt x="2818765" y="1272094"/>
                </a:cubicBezTo>
                <a:cubicBezTo>
                  <a:pt x="2836545" y="1274634"/>
                  <a:pt x="2841625" y="1245424"/>
                  <a:pt x="2823845" y="1241613"/>
                </a:cubicBezTo>
                <a:close/>
                <a:moveTo>
                  <a:pt x="3187065" y="1094294"/>
                </a:moveTo>
                <a:cubicBezTo>
                  <a:pt x="3178810" y="1096834"/>
                  <a:pt x="3175000" y="1106994"/>
                  <a:pt x="3179445" y="1113979"/>
                </a:cubicBezTo>
                <a:cubicBezTo>
                  <a:pt x="3176905" y="1112074"/>
                  <a:pt x="3174365" y="1111438"/>
                  <a:pt x="3171190" y="1111438"/>
                </a:cubicBezTo>
                <a:cubicBezTo>
                  <a:pt x="3178810" y="1104454"/>
                  <a:pt x="3175635" y="1090484"/>
                  <a:pt x="3166110" y="1086674"/>
                </a:cubicBezTo>
                <a:cubicBezTo>
                  <a:pt x="3181985" y="1040954"/>
                  <a:pt x="3104515" y="1068894"/>
                  <a:pt x="3146425" y="1093659"/>
                </a:cubicBezTo>
                <a:cubicBezTo>
                  <a:pt x="3140075" y="1103819"/>
                  <a:pt x="3150235" y="1118424"/>
                  <a:pt x="3161665" y="1115884"/>
                </a:cubicBezTo>
                <a:cubicBezTo>
                  <a:pt x="3146425" y="1139379"/>
                  <a:pt x="3192780" y="1143824"/>
                  <a:pt x="3183255" y="1118424"/>
                </a:cubicBezTo>
                <a:cubicBezTo>
                  <a:pt x="3207385" y="1134934"/>
                  <a:pt x="3215005" y="1087309"/>
                  <a:pt x="3187065" y="1094294"/>
                </a:cubicBezTo>
                <a:close/>
                <a:moveTo>
                  <a:pt x="2390775" y="1503234"/>
                </a:moveTo>
                <a:cubicBezTo>
                  <a:pt x="2402205" y="1491804"/>
                  <a:pt x="2386330" y="1472754"/>
                  <a:pt x="2372995" y="1481644"/>
                </a:cubicBezTo>
                <a:cubicBezTo>
                  <a:pt x="2352040" y="1457513"/>
                  <a:pt x="2337435" y="1509584"/>
                  <a:pt x="2367915" y="1500059"/>
                </a:cubicBezTo>
                <a:cubicBezTo>
                  <a:pt x="2368550" y="1501329"/>
                  <a:pt x="2369185" y="1502599"/>
                  <a:pt x="2370455" y="1503869"/>
                </a:cubicBezTo>
                <a:cubicBezTo>
                  <a:pt x="2363470" y="1500694"/>
                  <a:pt x="2353945" y="1503869"/>
                  <a:pt x="2350770" y="1511488"/>
                </a:cubicBezTo>
                <a:cubicBezTo>
                  <a:pt x="2347595" y="1512759"/>
                  <a:pt x="2343785" y="1515299"/>
                  <a:pt x="2341245" y="1517838"/>
                </a:cubicBezTo>
                <a:cubicBezTo>
                  <a:pt x="2336165" y="1515934"/>
                  <a:pt x="2331085" y="1515934"/>
                  <a:pt x="2326005" y="1517838"/>
                </a:cubicBezTo>
                <a:cubicBezTo>
                  <a:pt x="2324100" y="1517204"/>
                  <a:pt x="2321560" y="1516569"/>
                  <a:pt x="2319655" y="1517204"/>
                </a:cubicBezTo>
                <a:cubicBezTo>
                  <a:pt x="2316480" y="1510219"/>
                  <a:pt x="2307590" y="1508313"/>
                  <a:pt x="2301240" y="1512124"/>
                </a:cubicBezTo>
                <a:cubicBezTo>
                  <a:pt x="2301240" y="1512124"/>
                  <a:pt x="2301240" y="1512124"/>
                  <a:pt x="2301240" y="1512124"/>
                </a:cubicBezTo>
                <a:cubicBezTo>
                  <a:pt x="2290445" y="1518474"/>
                  <a:pt x="2296160" y="1535619"/>
                  <a:pt x="2308225" y="1535619"/>
                </a:cubicBezTo>
                <a:cubicBezTo>
                  <a:pt x="2308225" y="1536254"/>
                  <a:pt x="2308225" y="1536254"/>
                  <a:pt x="2308860" y="1536888"/>
                </a:cubicBezTo>
                <a:cubicBezTo>
                  <a:pt x="2308225" y="1540063"/>
                  <a:pt x="2308225" y="1542604"/>
                  <a:pt x="2308860" y="1545779"/>
                </a:cubicBezTo>
                <a:cubicBezTo>
                  <a:pt x="2293620" y="1538159"/>
                  <a:pt x="2279015" y="1559749"/>
                  <a:pt x="2291715" y="1571179"/>
                </a:cubicBezTo>
                <a:cubicBezTo>
                  <a:pt x="2289175" y="1574354"/>
                  <a:pt x="2287905" y="1578799"/>
                  <a:pt x="2287905" y="1582609"/>
                </a:cubicBezTo>
                <a:cubicBezTo>
                  <a:pt x="2285365" y="1583244"/>
                  <a:pt x="2283460" y="1584513"/>
                  <a:pt x="2281555" y="1585784"/>
                </a:cubicBezTo>
                <a:cubicBezTo>
                  <a:pt x="2273935" y="1585784"/>
                  <a:pt x="2266315" y="1590229"/>
                  <a:pt x="2262505" y="1597213"/>
                </a:cubicBezTo>
                <a:cubicBezTo>
                  <a:pt x="2259965" y="1594674"/>
                  <a:pt x="2257425" y="1593404"/>
                  <a:pt x="2254250" y="1592769"/>
                </a:cubicBezTo>
                <a:cubicBezTo>
                  <a:pt x="2249805" y="1585149"/>
                  <a:pt x="2239645" y="1583244"/>
                  <a:pt x="2232660" y="1588324"/>
                </a:cubicBezTo>
                <a:cubicBezTo>
                  <a:pt x="2232660" y="1588324"/>
                  <a:pt x="2232660" y="1588324"/>
                  <a:pt x="2232660" y="1588324"/>
                </a:cubicBezTo>
                <a:cubicBezTo>
                  <a:pt x="2223135" y="1594674"/>
                  <a:pt x="2223770" y="1609279"/>
                  <a:pt x="2233930" y="1614359"/>
                </a:cubicBezTo>
                <a:cubicBezTo>
                  <a:pt x="2206625" y="1620074"/>
                  <a:pt x="2223135" y="1662619"/>
                  <a:pt x="2247265" y="1648013"/>
                </a:cubicBezTo>
                <a:cubicBezTo>
                  <a:pt x="2259965" y="1654363"/>
                  <a:pt x="2277110" y="1647379"/>
                  <a:pt x="2281555" y="1634044"/>
                </a:cubicBezTo>
                <a:cubicBezTo>
                  <a:pt x="2282190" y="1634044"/>
                  <a:pt x="2282825" y="1633409"/>
                  <a:pt x="2283460" y="1633409"/>
                </a:cubicBezTo>
                <a:cubicBezTo>
                  <a:pt x="2290445" y="1634044"/>
                  <a:pt x="2297430" y="1630869"/>
                  <a:pt x="2301875" y="1625788"/>
                </a:cubicBezTo>
                <a:cubicBezTo>
                  <a:pt x="2313940" y="1623249"/>
                  <a:pt x="2321560" y="1609279"/>
                  <a:pt x="2317750" y="1597849"/>
                </a:cubicBezTo>
                <a:cubicBezTo>
                  <a:pt x="2324100" y="1594038"/>
                  <a:pt x="2327275" y="1586419"/>
                  <a:pt x="2326005" y="1579434"/>
                </a:cubicBezTo>
                <a:cubicBezTo>
                  <a:pt x="2328545" y="1578163"/>
                  <a:pt x="2330450" y="1576259"/>
                  <a:pt x="2332355" y="1573719"/>
                </a:cubicBezTo>
                <a:cubicBezTo>
                  <a:pt x="2341880" y="1585784"/>
                  <a:pt x="2362835" y="1580704"/>
                  <a:pt x="2366010" y="1565463"/>
                </a:cubicBezTo>
                <a:cubicBezTo>
                  <a:pt x="2383790" y="1568004"/>
                  <a:pt x="2395855" y="1546413"/>
                  <a:pt x="2396490" y="1531174"/>
                </a:cubicBezTo>
                <a:cubicBezTo>
                  <a:pt x="2402840" y="1523554"/>
                  <a:pt x="2400935" y="1508313"/>
                  <a:pt x="2390775" y="1503234"/>
                </a:cubicBezTo>
                <a:close/>
                <a:moveTo>
                  <a:pt x="3235325" y="1088579"/>
                </a:moveTo>
                <a:cubicBezTo>
                  <a:pt x="3248660" y="1084134"/>
                  <a:pt x="3248025" y="1063179"/>
                  <a:pt x="3234055" y="1059369"/>
                </a:cubicBezTo>
                <a:cubicBezTo>
                  <a:pt x="3270885" y="1013013"/>
                  <a:pt x="3171190" y="1028888"/>
                  <a:pt x="3220720" y="1061274"/>
                </a:cubicBezTo>
                <a:cubicBezTo>
                  <a:pt x="3206115" y="1070799"/>
                  <a:pt x="3219450" y="1094929"/>
                  <a:pt x="3235325" y="1088579"/>
                </a:cubicBezTo>
                <a:close/>
                <a:moveTo>
                  <a:pt x="3228975" y="1094294"/>
                </a:moveTo>
                <a:cubicBezTo>
                  <a:pt x="3213100" y="1098738"/>
                  <a:pt x="3220085" y="1123504"/>
                  <a:pt x="3235960" y="1118424"/>
                </a:cubicBezTo>
                <a:cubicBezTo>
                  <a:pt x="3252470" y="1114613"/>
                  <a:pt x="3244850" y="1089213"/>
                  <a:pt x="3228975" y="1094294"/>
                </a:cubicBezTo>
                <a:close/>
                <a:moveTo>
                  <a:pt x="3253105" y="1072704"/>
                </a:moveTo>
                <a:cubicBezTo>
                  <a:pt x="3235325" y="1077784"/>
                  <a:pt x="3244850" y="1105724"/>
                  <a:pt x="3261995" y="1099374"/>
                </a:cubicBezTo>
                <a:cubicBezTo>
                  <a:pt x="3279140" y="1093659"/>
                  <a:pt x="3270250" y="1066354"/>
                  <a:pt x="3253105" y="1072704"/>
                </a:cubicBezTo>
                <a:close/>
                <a:moveTo>
                  <a:pt x="2992120" y="1167319"/>
                </a:moveTo>
                <a:cubicBezTo>
                  <a:pt x="2988945" y="1168588"/>
                  <a:pt x="2986405" y="1171129"/>
                  <a:pt x="2985135" y="1174304"/>
                </a:cubicBezTo>
                <a:cubicBezTo>
                  <a:pt x="2969260" y="1183829"/>
                  <a:pt x="2987040" y="1207324"/>
                  <a:pt x="3000375" y="1194624"/>
                </a:cubicBezTo>
                <a:cubicBezTo>
                  <a:pt x="3020060" y="1190813"/>
                  <a:pt x="3010535" y="1159699"/>
                  <a:pt x="2992120" y="1167319"/>
                </a:cubicBezTo>
                <a:close/>
                <a:moveTo>
                  <a:pt x="3023235" y="1144459"/>
                </a:moveTo>
                <a:cubicBezTo>
                  <a:pt x="3007360" y="1106359"/>
                  <a:pt x="2967355" y="1162874"/>
                  <a:pt x="3007995" y="1165413"/>
                </a:cubicBezTo>
                <a:cubicBezTo>
                  <a:pt x="3023870" y="1195894"/>
                  <a:pt x="3056890" y="1149538"/>
                  <a:pt x="3023235" y="1144459"/>
                </a:cubicBezTo>
                <a:close/>
                <a:moveTo>
                  <a:pt x="3028950" y="1091754"/>
                </a:moveTo>
                <a:cubicBezTo>
                  <a:pt x="3061970" y="1030794"/>
                  <a:pt x="2950210" y="1070163"/>
                  <a:pt x="3013710" y="1096834"/>
                </a:cubicBezTo>
                <a:cubicBezTo>
                  <a:pt x="3007995" y="1102549"/>
                  <a:pt x="3006090" y="1111438"/>
                  <a:pt x="3010535" y="1119059"/>
                </a:cubicBezTo>
                <a:cubicBezTo>
                  <a:pt x="3031490" y="1149538"/>
                  <a:pt x="3065145" y="1098738"/>
                  <a:pt x="3028950" y="1091754"/>
                </a:cubicBezTo>
                <a:close/>
                <a:moveTo>
                  <a:pt x="3056890" y="1141919"/>
                </a:moveTo>
                <a:cubicBezTo>
                  <a:pt x="3052445" y="1143824"/>
                  <a:pt x="3049270" y="1146999"/>
                  <a:pt x="3048000" y="1151444"/>
                </a:cubicBezTo>
                <a:cubicBezTo>
                  <a:pt x="3023870" y="1159063"/>
                  <a:pt x="3050540" y="1190813"/>
                  <a:pt x="3062605" y="1169224"/>
                </a:cubicBezTo>
                <a:cubicBezTo>
                  <a:pt x="3083560" y="1167954"/>
                  <a:pt x="3076575" y="1134299"/>
                  <a:pt x="3056890" y="1141919"/>
                </a:cubicBezTo>
                <a:close/>
                <a:moveTo>
                  <a:pt x="3121660" y="1117788"/>
                </a:moveTo>
                <a:cubicBezTo>
                  <a:pt x="3115945" y="1119694"/>
                  <a:pt x="3112135" y="1125409"/>
                  <a:pt x="3112135" y="1131124"/>
                </a:cubicBezTo>
                <a:cubicBezTo>
                  <a:pt x="3110230" y="1131124"/>
                  <a:pt x="3107690" y="1131124"/>
                  <a:pt x="3105785" y="1132394"/>
                </a:cubicBezTo>
                <a:cubicBezTo>
                  <a:pt x="3107055" y="1125409"/>
                  <a:pt x="3101975" y="1117788"/>
                  <a:pt x="3094990" y="1115884"/>
                </a:cubicBezTo>
                <a:cubicBezTo>
                  <a:pt x="3097530" y="1103184"/>
                  <a:pt x="3082290" y="1092388"/>
                  <a:pt x="3070860" y="1098104"/>
                </a:cubicBezTo>
                <a:cubicBezTo>
                  <a:pt x="3056890" y="1104454"/>
                  <a:pt x="3059430" y="1127313"/>
                  <a:pt x="3074670" y="1129854"/>
                </a:cubicBezTo>
                <a:cubicBezTo>
                  <a:pt x="3074035" y="1141919"/>
                  <a:pt x="3088005" y="1150174"/>
                  <a:pt x="3097530" y="1143824"/>
                </a:cubicBezTo>
                <a:cubicBezTo>
                  <a:pt x="3096895" y="1160334"/>
                  <a:pt x="3122295" y="1160969"/>
                  <a:pt x="3122930" y="1145094"/>
                </a:cubicBezTo>
                <a:cubicBezTo>
                  <a:pt x="3147060" y="1148904"/>
                  <a:pt x="3144520" y="1110169"/>
                  <a:pt x="3121660" y="1117788"/>
                </a:cubicBezTo>
                <a:close/>
                <a:moveTo>
                  <a:pt x="2884170" y="1098104"/>
                </a:moveTo>
                <a:cubicBezTo>
                  <a:pt x="2861945" y="1114613"/>
                  <a:pt x="2888615" y="1148904"/>
                  <a:pt x="2910205" y="1131759"/>
                </a:cubicBezTo>
                <a:cubicBezTo>
                  <a:pt x="2931795" y="1115249"/>
                  <a:pt x="2905760" y="1080959"/>
                  <a:pt x="2884170" y="1098104"/>
                </a:cubicBezTo>
                <a:close/>
                <a:moveTo>
                  <a:pt x="2200910" y="1651824"/>
                </a:moveTo>
                <a:cubicBezTo>
                  <a:pt x="2200910" y="1651824"/>
                  <a:pt x="2200275" y="1651824"/>
                  <a:pt x="2200275" y="1651824"/>
                </a:cubicBezTo>
                <a:cubicBezTo>
                  <a:pt x="2199640" y="1648013"/>
                  <a:pt x="2197100" y="1644204"/>
                  <a:pt x="2193290" y="1641663"/>
                </a:cubicBezTo>
                <a:cubicBezTo>
                  <a:pt x="2191385" y="1623249"/>
                  <a:pt x="2163445" y="1623884"/>
                  <a:pt x="2162810" y="1642299"/>
                </a:cubicBezTo>
                <a:cubicBezTo>
                  <a:pt x="2162175" y="1641029"/>
                  <a:pt x="2161540" y="1639124"/>
                  <a:pt x="2160270" y="1637854"/>
                </a:cubicBezTo>
                <a:cubicBezTo>
                  <a:pt x="2176780" y="1613088"/>
                  <a:pt x="2126615" y="1609913"/>
                  <a:pt x="2139950" y="1636584"/>
                </a:cubicBezTo>
                <a:cubicBezTo>
                  <a:pt x="2121535" y="1654999"/>
                  <a:pt x="2159635" y="1674049"/>
                  <a:pt x="2163445" y="1648649"/>
                </a:cubicBezTo>
                <a:cubicBezTo>
                  <a:pt x="2164080" y="1650554"/>
                  <a:pt x="2165350" y="1652459"/>
                  <a:pt x="2166620" y="1654363"/>
                </a:cubicBezTo>
                <a:cubicBezTo>
                  <a:pt x="2165985" y="1658174"/>
                  <a:pt x="2167255" y="1661984"/>
                  <a:pt x="2169795" y="1665159"/>
                </a:cubicBezTo>
                <a:cubicBezTo>
                  <a:pt x="2152650" y="1660713"/>
                  <a:pt x="2139950" y="1684209"/>
                  <a:pt x="2153285" y="1695638"/>
                </a:cubicBezTo>
                <a:cubicBezTo>
                  <a:pt x="2150745" y="1700084"/>
                  <a:pt x="2150110" y="1705163"/>
                  <a:pt x="2150745" y="1710244"/>
                </a:cubicBezTo>
                <a:cubicBezTo>
                  <a:pt x="2145665" y="1707069"/>
                  <a:pt x="2139950" y="1705799"/>
                  <a:pt x="2134235" y="1707069"/>
                </a:cubicBezTo>
                <a:cubicBezTo>
                  <a:pt x="2135505" y="1701988"/>
                  <a:pt x="2134870" y="1696274"/>
                  <a:pt x="2131695" y="1691829"/>
                </a:cubicBezTo>
                <a:cubicBezTo>
                  <a:pt x="2136775" y="1678494"/>
                  <a:pt x="2120265" y="1665159"/>
                  <a:pt x="2108835" y="1673413"/>
                </a:cubicBezTo>
                <a:cubicBezTo>
                  <a:pt x="2124075" y="1646744"/>
                  <a:pt x="2072640" y="1648013"/>
                  <a:pt x="2089150" y="1674049"/>
                </a:cubicBezTo>
                <a:cubicBezTo>
                  <a:pt x="2087880" y="1674684"/>
                  <a:pt x="2086610" y="1675319"/>
                  <a:pt x="2085340" y="1675954"/>
                </a:cubicBezTo>
                <a:cubicBezTo>
                  <a:pt x="2085340" y="1675954"/>
                  <a:pt x="2085340" y="1675954"/>
                  <a:pt x="2085340" y="1675954"/>
                </a:cubicBezTo>
                <a:cubicBezTo>
                  <a:pt x="2070100" y="1686749"/>
                  <a:pt x="2087245" y="1709609"/>
                  <a:pt x="2101850" y="1698813"/>
                </a:cubicBezTo>
                <a:cubicBezTo>
                  <a:pt x="2100580" y="1705163"/>
                  <a:pt x="2103120" y="1712149"/>
                  <a:pt x="2108835" y="1715959"/>
                </a:cubicBezTo>
                <a:cubicBezTo>
                  <a:pt x="2108200" y="1716594"/>
                  <a:pt x="2107565" y="1717863"/>
                  <a:pt x="2107565" y="1719134"/>
                </a:cubicBezTo>
                <a:cubicBezTo>
                  <a:pt x="2078355" y="1700084"/>
                  <a:pt x="2065655" y="1755963"/>
                  <a:pt x="2099945" y="1752154"/>
                </a:cubicBezTo>
                <a:cubicBezTo>
                  <a:pt x="2099310" y="1755329"/>
                  <a:pt x="2099310" y="1758504"/>
                  <a:pt x="2099945" y="1761679"/>
                </a:cubicBezTo>
                <a:cubicBezTo>
                  <a:pt x="2091055" y="1759774"/>
                  <a:pt x="2080895" y="1762949"/>
                  <a:pt x="2074545" y="1770569"/>
                </a:cubicBezTo>
                <a:cubicBezTo>
                  <a:pt x="2072005" y="1768663"/>
                  <a:pt x="2068195" y="1767394"/>
                  <a:pt x="2065020" y="1766759"/>
                </a:cubicBezTo>
                <a:cubicBezTo>
                  <a:pt x="2063750" y="1765488"/>
                  <a:pt x="2062480" y="1764854"/>
                  <a:pt x="2061210" y="1764219"/>
                </a:cubicBezTo>
                <a:cubicBezTo>
                  <a:pt x="2069465" y="1759774"/>
                  <a:pt x="2072005" y="1748979"/>
                  <a:pt x="2067560" y="1741359"/>
                </a:cubicBezTo>
                <a:cubicBezTo>
                  <a:pt x="2080260" y="1728659"/>
                  <a:pt x="2061845" y="1707069"/>
                  <a:pt x="2047240" y="1717863"/>
                </a:cubicBezTo>
                <a:cubicBezTo>
                  <a:pt x="2026285" y="1694369"/>
                  <a:pt x="2007870" y="1743899"/>
                  <a:pt x="2038985" y="1740088"/>
                </a:cubicBezTo>
                <a:cubicBezTo>
                  <a:pt x="2033270" y="1747709"/>
                  <a:pt x="2035175" y="1759138"/>
                  <a:pt x="2043430" y="1764219"/>
                </a:cubicBezTo>
                <a:cubicBezTo>
                  <a:pt x="2040890" y="1765488"/>
                  <a:pt x="2038350" y="1767394"/>
                  <a:pt x="2036445" y="1769934"/>
                </a:cubicBezTo>
                <a:cubicBezTo>
                  <a:pt x="2001520" y="1752154"/>
                  <a:pt x="2000250" y="1817559"/>
                  <a:pt x="2035810" y="1801049"/>
                </a:cubicBezTo>
                <a:cubicBezTo>
                  <a:pt x="2035810" y="1802319"/>
                  <a:pt x="2035810" y="1803588"/>
                  <a:pt x="2035810" y="1804859"/>
                </a:cubicBezTo>
                <a:cubicBezTo>
                  <a:pt x="2019935" y="1807399"/>
                  <a:pt x="2011680" y="1827719"/>
                  <a:pt x="2020570" y="1841054"/>
                </a:cubicBezTo>
                <a:cubicBezTo>
                  <a:pt x="2015490" y="1838513"/>
                  <a:pt x="2009775" y="1837879"/>
                  <a:pt x="2004695" y="1839149"/>
                </a:cubicBezTo>
                <a:cubicBezTo>
                  <a:pt x="2003425" y="1835338"/>
                  <a:pt x="2000250" y="1832163"/>
                  <a:pt x="1996440" y="1829624"/>
                </a:cubicBezTo>
                <a:cubicBezTo>
                  <a:pt x="1991995" y="1818194"/>
                  <a:pt x="1977390" y="1813749"/>
                  <a:pt x="1967230" y="1820734"/>
                </a:cubicBezTo>
                <a:cubicBezTo>
                  <a:pt x="1938020" y="1802954"/>
                  <a:pt x="1925955" y="1858199"/>
                  <a:pt x="1960245" y="1853754"/>
                </a:cubicBezTo>
                <a:cubicBezTo>
                  <a:pt x="1955800" y="1859469"/>
                  <a:pt x="1954530" y="1867088"/>
                  <a:pt x="1956435" y="1873438"/>
                </a:cubicBezTo>
                <a:cubicBezTo>
                  <a:pt x="1888490" y="1891854"/>
                  <a:pt x="1986915" y="1959799"/>
                  <a:pt x="1979930" y="1889949"/>
                </a:cubicBezTo>
                <a:cubicBezTo>
                  <a:pt x="1985010" y="1889313"/>
                  <a:pt x="1990090" y="1887409"/>
                  <a:pt x="1993900" y="1883599"/>
                </a:cubicBezTo>
                <a:cubicBezTo>
                  <a:pt x="2015490" y="1902013"/>
                  <a:pt x="2047240" y="1872804"/>
                  <a:pt x="2030730" y="1849944"/>
                </a:cubicBezTo>
                <a:cubicBezTo>
                  <a:pt x="2047240" y="1858199"/>
                  <a:pt x="2067560" y="1842959"/>
                  <a:pt x="2064385" y="1825179"/>
                </a:cubicBezTo>
                <a:cubicBezTo>
                  <a:pt x="2072005" y="1823274"/>
                  <a:pt x="2078990" y="1815654"/>
                  <a:pt x="2080260" y="1808034"/>
                </a:cubicBezTo>
                <a:cubicBezTo>
                  <a:pt x="2098675" y="1820734"/>
                  <a:pt x="2124710" y="1801049"/>
                  <a:pt x="2117725" y="1780094"/>
                </a:cubicBezTo>
                <a:cubicBezTo>
                  <a:pt x="2131060" y="1783269"/>
                  <a:pt x="2145665" y="1771838"/>
                  <a:pt x="2146300" y="1758504"/>
                </a:cubicBezTo>
                <a:cubicBezTo>
                  <a:pt x="2160270" y="1753424"/>
                  <a:pt x="2160270" y="1738819"/>
                  <a:pt x="2159635" y="1726754"/>
                </a:cubicBezTo>
                <a:cubicBezTo>
                  <a:pt x="2174875" y="1740088"/>
                  <a:pt x="2200910" y="1727388"/>
                  <a:pt x="2200275" y="1707704"/>
                </a:cubicBezTo>
                <a:cubicBezTo>
                  <a:pt x="2210435" y="1708974"/>
                  <a:pt x="2221865" y="1701988"/>
                  <a:pt x="2224405" y="1691829"/>
                </a:cubicBezTo>
                <a:cubicBezTo>
                  <a:pt x="2238375" y="1686113"/>
                  <a:pt x="2242185" y="1667063"/>
                  <a:pt x="2232025" y="1656269"/>
                </a:cubicBezTo>
                <a:cubicBezTo>
                  <a:pt x="2226945" y="1644838"/>
                  <a:pt x="2210435" y="1642934"/>
                  <a:pt x="2200910" y="1651824"/>
                </a:cubicBezTo>
                <a:close/>
                <a:moveTo>
                  <a:pt x="2104390" y="1679129"/>
                </a:moveTo>
                <a:cubicBezTo>
                  <a:pt x="2104390" y="1679129"/>
                  <a:pt x="2103755" y="1678494"/>
                  <a:pt x="2103755" y="1678494"/>
                </a:cubicBezTo>
                <a:cubicBezTo>
                  <a:pt x="2104390" y="1678494"/>
                  <a:pt x="2105025" y="1677859"/>
                  <a:pt x="2105660" y="1677859"/>
                </a:cubicBezTo>
                <a:cubicBezTo>
                  <a:pt x="2105025" y="1677859"/>
                  <a:pt x="2105025" y="1678494"/>
                  <a:pt x="2104390" y="1679129"/>
                </a:cubicBezTo>
                <a:close/>
                <a:moveTo>
                  <a:pt x="932815" y="2471609"/>
                </a:moveTo>
                <a:cubicBezTo>
                  <a:pt x="905510" y="2418904"/>
                  <a:pt x="859155" y="2507169"/>
                  <a:pt x="917575" y="2499549"/>
                </a:cubicBezTo>
                <a:lnTo>
                  <a:pt x="917575" y="2499549"/>
                </a:lnTo>
                <a:cubicBezTo>
                  <a:pt x="929640" y="2495739"/>
                  <a:pt x="936625" y="2483039"/>
                  <a:pt x="932815" y="2471609"/>
                </a:cubicBezTo>
                <a:close/>
                <a:moveTo>
                  <a:pt x="1178560" y="2376359"/>
                </a:moveTo>
                <a:cubicBezTo>
                  <a:pt x="1190625" y="2403029"/>
                  <a:pt x="1232535" y="2383344"/>
                  <a:pt x="1219200" y="2357309"/>
                </a:cubicBezTo>
                <a:cubicBezTo>
                  <a:pt x="1207770" y="2330004"/>
                  <a:pt x="1166495" y="2349689"/>
                  <a:pt x="1178560" y="2376359"/>
                </a:cubicBezTo>
                <a:close/>
                <a:moveTo>
                  <a:pt x="1076325" y="2517329"/>
                </a:moveTo>
                <a:cubicBezTo>
                  <a:pt x="1047750" y="2533204"/>
                  <a:pt x="1073785" y="2578289"/>
                  <a:pt x="1101725" y="2561144"/>
                </a:cubicBezTo>
                <a:cubicBezTo>
                  <a:pt x="1130300" y="2545269"/>
                  <a:pt x="1104900" y="2500819"/>
                  <a:pt x="1076325" y="2517329"/>
                </a:cubicBezTo>
                <a:close/>
                <a:moveTo>
                  <a:pt x="1075055" y="2486214"/>
                </a:moveTo>
                <a:cubicBezTo>
                  <a:pt x="1062355" y="2457639"/>
                  <a:pt x="1017905" y="2478594"/>
                  <a:pt x="1031875" y="2506534"/>
                </a:cubicBezTo>
                <a:cubicBezTo>
                  <a:pt x="1044575" y="2535109"/>
                  <a:pt x="1088390" y="2514154"/>
                  <a:pt x="1075055" y="2486214"/>
                </a:cubicBezTo>
                <a:close/>
                <a:moveTo>
                  <a:pt x="975995" y="2531299"/>
                </a:moveTo>
                <a:cubicBezTo>
                  <a:pt x="964565" y="2502724"/>
                  <a:pt x="919480" y="2521139"/>
                  <a:pt x="931545" y="2549714"/>
                </a:cubicBezTo>
                <a:cubicBezTo>
                  <a:pt x="943610" y="2578924"/>
                  <a:pt x="988695" y="2559874"/>
                  <a:pt x="975995" y="2531299"/>
                </a:cubicBezTo>
                <a:close/>
                <a:moveTo>
                  <a:pt x="977265" y="2572574"/>
                </a:moveTo>
                <a:cubicBezTo>
                  <a:pt x="948055" y="2587814"/>
                  <a:pt x="972185" y="2633534"/>
                  <a:pt x="1000760" y="2617659"/>
                </a:cubicBezTo>
                <a:cubicBezTo>
                  <a:pt x="1029970" y="2602419"/>
                  <a:pt x="1005840" y="2556699"/>
                  <a:pt x="977265" y="2572574"/>
                </a:cubicBezTo>
                <a:close/>
                <a:moveTo>
                  <a:pt x="1029970" y="2437954"/>
                </a:moveTo>
                <a:cubicBezTo>
                  <a:pt x="1020445" y="2410014"/>
                  <a:pt x="977265" y="2425889"/>
                  <a:pt x="987425" y="2453194"/>
                </a:cubicBezTo>
                <a:cubicBezTo>
                  <a:pt x="997585" y="2481134"/>
                  <a:pt x="1040765" y="2465259"/>
                  <a:pt x="1029970" y="2437954"/>
                </a:cubicBezTo>
                <a:close/>
                <a:moveTo>
                  <a:pt x="1269365" y="2397314"/>
                </a:moveTo>
                <a:cubicBezTo>
                  <a:pt x="1250950" y="2319844"/>
                  <a:pt x="1180465" y="2435414"/>
                  <a:pt x="1257935" y="2416364"/>
                </a:cubicBezTo>
                <a:cubicBezTo>
                  <a:pt x="1275715" y="2500184"/>
                  <a:pt x="1352550" y="2375089"/>
                  <a:pt x="1269365" y="2397314"/>
                </a:cubicBezTo>
                <a:close/>
                <a:moveTo>
                  <a:pt x="1125855" y="2399219"/>
                </a:moveTo>
                <a:cubicBezTo>
                  <a:pt x="1115060" y="2371914"/>
                  <a:pt x="1072515" y="2389694"/>
                  <a:pt x="1083945" y="2416364"/>
                </a:cubicBezTo>
                <a:cubicBezTo>
                  <a:pt x="1095375" y="2444304"/>
                  <a:pt x="1137285" y="2425889"/>
                  <a:pt x="1125855" y="2399219"/>
                </a:cubicBezTo>
                <a:close/>
                <a:moveTo>
                  <a:pt x="1488440" y="2150934"/>
                </a:moveTo>
                <a:cubicBezTo>
                  <a:pt x="1464310" y="2163634"/>
                  <a:pt x="1484630" y="2201734"/>
                  <a:pt x="1508760" y="2188399"/>
                </a:cubicBezTo>
                <a:cubicBezTo>
                  <a:pt x="1532890" y="2175064"/>
                  <a:pt x="1512570" y="2136964"/>
                  <a:pt x="1488440" y="2150934"/>
                </a:cubicBezTo>
                <a:close/>
                <a:moveTo>
                  <a:pt x="1546860" y="2199194"/>
                </a:moveTo>
                <a:cubicBezTo>
                  <a:pt x="1546860" y="2199194"/>
                  <a:pt x="1546860" y="2199194"/>
                  <a:pt x="1546860" y="2199194"/>
                </a:cubicBezTo>
                <a:cubicBezTo>
                  <a:pt x="1543685" y="2201099"/>
                  <a:pt x="1541780" y="2204274"/>
                  <a:pt x="1539875" y="2206814"/>
                </a:cubicBezTo>
                <a:cubicBezTo>
                  <a:pt x="1482725" y="2162999"/>
                  <a:pt x="1490980" y="2284919"/>
                  <a:pt x="1541780" y="2234119"/>
                </a:cubicBezTo>
                <a:cubicBezTo>
                  <a:pt x="1550035" y="2245549"/>
                  <a:pt x="1565910" y="2247454"/>
                  <a:pt x="1577340" y="2239199"/>
                </a:cubicBezTo>
                <a:lnTo>
                  <a:pt x="1577340" y="2239199"/>
                </a:lnTo>
                <a:cubicBezTo>
                  <a:pt x="1604010" y="2220149"/>
                  <a:pt x="1572895" y="2178874"/>
                  <a:pt x="1546860" y="2199194"/>
                </a:cubicBezTo>
                <a:close/>
                <a:moveTo>
                  <a:pt x="1662430" y="2126169"/>
                </a:moveTo>
                <a:cubicBezTo>
                  <a:pt x="1696720" y="2067749"/>
                  <a:pt x="1583690" y="2089338"/>
                  <a:pt x="1636395" y="2131249"/>
                </a:cubicBezTo>
                <a:cubicBezTo>
                  <a:pt x="1632585" y="2135059"/>
                  <a:pt x="1630045" y="2139504"/>
                  <a:pt x="1628775" y="2143949"/>
                </a:cubicBezTo>
                <a:cubicBezTo>
                  <a:pt x="1616710" y="2136329"/>
                  <a:pt x="1607820" y="2134424"/>
                  <a:pt x="1601470" y="2135694"/>
                </a:cubicBezTo>
                <a:cubicBezTo>
                  <a:pt x="1607820" y="2130614"/>
                  <a:pt x="1607820" y="2120454"/>
                  <a:pt x="1593850" y="2102674"/>
                </a:cubicBezTo>
                <a:cubicBezTo>
                  <a:pt x="1616075" y="2102039"/>
                  <a:pt x="1618615" y="2068384"/>
                  <a:pt x="1597660" y="2063938"/>
                </a:cubicBezTo>
                <a:cubicBezTo>
                  <a:pt x="1630045" y="2013774"/>
                  <a:pt x="1530350" y="2034729"/>
                  <a:pt x="1580515" y="2067749"/>
                </a:cubicBezTo>
                <a:cubicBezTo>
                  <a:pt x="1569720" y="2076004"/>
                  <a:pt x="1570990" y="2093784"/>
                  <a:pt x="1583055" y="2100134"/>
                </a:cubicBezTo>
                <a:cubicBezTo>
                  <a:pt x="1534795" y="2122994"/>
                  <a:pt x="1576705" y="2143949"/>
                  <a:pt x="1596390" y="2138234"/>
                </a:cubicBezTo>
                <a:cubicBezTo>
                  <a:pt x="1577975" y="2153474"/>
                  <a:pt x="1602740" y="2216339"/>
                  <a:pt x="1634490" y="2165539"/>
                </a:cubicBezTo>
                <a:cubicBezTo>
                  <a:pt x="1661795" y="2198559"/>
                  <a:pt x="1701165" y="2142044"/>
                  <a:pt x="1662430" y="2126169"/>
                </a:cubicBezTo>
                <a:close/>
                <a:moveTo>
                  <a:pt x="1281430" y="2301429"/>
                </a:moveTo>
                <a:cubicBezTo>
                  <a:pt x="1254760" y="2314764"/>
                  <a:pt x="1276350" y="2355404"/>
                  <a:pt x="1301750" y="2341434"/>
                </a:cubicBezTo>
                <a:lnTo>
                  <a:pt x="1301750" y="2341434"/>
                </a:lnTo>
                <a:cubicBezTo>
                  <a:pt x="1328420" y="2328099"/>
                  <a:pt x="1307465" y="2287459"/>
                  <a:pt x="1281430" y="2301429"/>
                </a:cubicBezTo>
                <a:close/>
                <a:moveTo>
                  <a:pt x="1927860" y="1914079"/>
                </a:moveTo>
                <a:cubicBezTo>
                  <a:pt x="1930400" y="1907094"/>
                  <a:pt x="1929765" y="1898838"/>
                  <a:pt x="1924685" y="1893124"/>
                </a:cubicBezTo>
                <a:cubicBezTo>
                  <a:pt x="1926590" y="1880424"/>
                  <a:pt x="1912620" y="1868994"/>
                  <a:pt x="1900555" y="1872169"/>
                </a:cubicBezTo>
                <a:cubicBezTo>
                  <a:pt x="1891665" y="1861374"/>
                  <a:pt x="1871980" y="1866454"/>
                  <a:pt x="1869440" y="1880424"/>
                </a:cubicBezTo>
                <a:cubicBezTo>
                  <a:pt x="1831340" y="1823909"/>
                  <a:pt x="1826260" y="1940749"/>
                  <a:pt x="1869440" y="1887409"/>
                </a:cubicBezTo>
                <a:cubicBezTo>
                  <a:pt x="1870710" y="1896299"/>
                  <a:pt x="1879600" y="1903284"/>
                  <a:pt x="1887855" y="1902649"/>
                </a:cubicBezTo>
                <a:cubicBezTo>
                  <a:pt x="1887220" y="1905188"/>
                  <a:pt x="1887220" y="1907729"/>
                  <a:pt x="1887855" y="1910269"/>
                </a:cubicBezTo>
                <a:cubicBezTo>
                  <a:pt x="1876425" y="1915984"/>
                  <a:pt x="1871980" y="1930588"/>
                  <a:pt x="1878330" y="1941384"/>
                </a:cubicBezTo>
                <a:cubicBezTo>
                  <a:pt x="1866900" y="1938209"/>
                  <a:pt x="1852930" y="1945829"/>
                  <a:pt x="1850390" y="1957894"/>
                </a:cubicBezTo>
                <a:cubicBezTo>
                  <a:pt x="1849755" y="1955354"/>
                  <a:pt x="1849120" y="1953449"/>
                  <a:pt x="1847850" y="1951544"/>
                </a:cubicBezTo>
                <a:cubicBezTo>
                  <a:pt x="1854200" y="1940113"/>
                  <a:pt x="1845310" y="1923604"/>
                  <a:pt x="1831975" y="1923604"/>
                </a:cubicBezTo>
                <a:cubicBezTo>
                  <a:pt x="1826895" y="1910269"/>
                  <a:pt x="1807210" y="1907729"/>
                  <a:pt x="1799590" y="1920429"/>
                </a:cubicBezTo>
                <a:cubicBezTo>
                  <a:pt x="1772285" y="1865184"/>
                  <a:pt x="1746250" y="1967419"/>
                  <a:pt x="1796415" y="1931859"/>
                </a:cubicBezTo>
                <a:cubicBezTo>
                  <a:pt x="1797050" y="1939479"/>
                  <a:pt x="1803400" y="1947099"/>
                  <a:pt x="1811020" y="1948369"/>
                </a:cubicBezTo>
                <a:cubicBezTo>
                  <a:pt x="1811020" y="1949638"/>
                  <a:pt x="1811655" y="1950909"/>
                  <a:pt x="1812290" y="1952179"/>
                </a:cubicBezTo>
                <a:cubicBezTo>
                  <a:pt x="1808480" y="1957894"/>
                  <a:pt x="1807845" y="1964244"/>
                  <a:pt x="1810385" y="1970594"/>
                </a:cubicBezTo>
                <a:cubicBezTo>
                  <a:pt x="1791335" y="1974404"/>
                  <a:pt x="1788795" y="1999169"/>
                  <a:pt x="1801495" y="2009963"/>
                </a:cubicBezTo>
                <a:cubicBezTo>
                  <a:pt x="1795780" y="2006788"/>
                  <a:pt x="1786255" y="2006788"/>
                  <a:pt x="1772920" y="2011869"/>
                </a:cubicBezTo>
                <a:cubicBezTo>
                  <a:pt x="1772285" y="2012504"/>
                  <a:pt x="1771650" y="2013138"/>
                  <a:pt x="1771015" y="2013774"/>
                </a:cubicBezTo>
                <a:cubicBezTo>
                  <a:pt x="1770380" y="2011234"/>
                  <a:pt x="1769745" y="2008694"/>
                  <a:pt x="1767840" y="2006154"/>
                </a:cubicBezTo>
                <a:cubicBezTo>
                  <a:pt x="1778000" y="1996629"/>
                  <a:pt x="1772920" y="1976944"/>
                  <a:pt x="1759585" y="1973769"/>
                </a:cubicBezTo>
                <a:cubicBezTo>
                  <a:pt x="1760855" y="1957894"/>
                  <a:pt x="1739900" y="1948369"/>
                  <a:pt x="1728470" y="1960434"/>
                </a:cubicBezTo>
                <a:cubicBezTo>
                  <a:pt x="1720215" y="1905188"/>
                  <a:pt x="1663700" y="1981388"/>
                  <a:pt x="1718945" y="1973134"/>
                </a:cubicBezTo>
                <a:lnTo>
                  <a:pt x="1718945" y="1973134"/>
                </a:lnTo>
                <a:cubicBezTo>
                  <a:pt x="1720850" y="1972499"/>
                  <a:pt x="1722120" y="1971229"/>
                  <a:pt x="1723390" y="1969959"/>
                </a:cubicBezTo>
                <a:cubicBezTo>
                  <a:pt x="1721485" y="1978213"/>
                  <a:pt x="1726565" y="1987104"/>
                  <a:pt x="1734185" y="1990279"/>
                </a:cubicBezTo>
                <a:cubicBezTo>
                  <a:pt x="1733550" y="1994724"/>
                  <a:pt x="1734185" y="1998534"/>
                  <a:pt x="1736725" y="2002344"/>
                </a:cubicBezTo>
                <a:cubicBezTo>
                  <a:pt x="1729105" y="2009329"/>
                  <a:pt x="1727200" y="2020759"/>
                  <a:pt x="1732915" y="2029649"/>
                </a:cubicBezTo>
                <a:cubicBezTo>
                  <a:pt x="1710690" y="2028379"/>
                  <a:pt x="1701800" y="2061399"/>
                  <a:pt x="1721485" y="2071559"/>
                </a:cubicBezTo>
                <a:cubicBezTo>
                  <a:pt x="1720215" y="2074734"/>
                  <a:pt x="1720215" y="2078544"/>
                  <a:pt x="1720215" y="2082354"/>
                </a:cubicBezTo>
                <a:cubicBezTo>
                  <a:pt x="1713865" y="2072194"/>
                  <a:pt x="1699895" y="2069019"/>
                  <a:pt x="1689100" y="2074734"/>
                </a:cubicBezTo>
                <a:cubicBezTo>
                  <a:pt x="1690370" y="2068384"/>
                  <a:pt x="1688465" y="2061399"/>
                  <a:pt x="1684020" y="2056954"/>
                </a:cubicBezTo>
                <a:cubicBezTo>
                  <a:pt x="1698625" y="2049969"/>
                  <a:pt x="1696720" y="2026474"/>
                  <a:pt x="1681480" y="2021394"/>
                </a:cubicBezTo>
                <a:cubicBezTo>
                  <a:pt x="1693545" y="1975038"/>
                  <a:pt x="1617345" y="2003613"/>
                  <a:pt x="1657350" y="2030284"/>
                </a:cubicBezTo>
                <a:cubicBezTo>
                  <a:pt x="1653540" y="2036634"/>
                  <a:pt x="1654175" y="2046159"/>
                  <a:pt x="1659890" y="2051874"/>
                </a:cubicBezTo>
                <a:cubicBezTo>
                  <a:pt x="1635125" y="2062669"/>
                  <a:pt x="1652905" y="2102039"/>
                  <a:pt x="1677670" y="2090609"/>
                </a:cubicBezTo>
                <a:cubicBezTo>
                  <a:pt x="1669415" y="2126169"/>
                  <a:pt x="1727835" y="2129979"/>
                  <a:pt x="1724660" y="2093784"/>
                </a:cubicBezTo>
                <a:cubicBezTo>
                  <a:pt x="1749425" y="2130614"/>
                  <a:pt x="1795780" y="2073463"/>
                  <a:pt x="1755140" y="2056319"/>
                </a:cubicBezTo>
                <a:cubicBezTo>
                  <a:pt x="1756410" y="2050604"/>
                  <a:pt x="1755140" y="2044254"/>
                  <a:pt x="1751330" y="2039174"/>
                </a:cubicBezTo>
                <a:cubicBezTo>
                  <a:pt x="1755775" y="2039174"/>
                  <a:pt x="1760855" y="2037269"/>
                  <a:pt x="1764030" y="2034094"/>
                </a:cubicBezTo>
                <a:cubicBezTo>
                  <a:pt x="1788160" y="2088069"/>
                  <a:pt x="1823085" y="2028379"/>
                  <a:pt x="1804670" y="2011234"/>
                </a:cubicBezTo>
                <a:cubicBezTo>
                  <a:pt x="1806575" y="2012504"/>
                  <a:pt x="1808480" y="2013138"/>
                  <a:pt x="1811020" y="2013774"/>
                </a:cubicBezTo>
                <a:cubicBezTo>
                  <a:pt x="1828800" y="2072194"/>
                  <a:pt x="1897380" y="1995994"/>
                  <a:pt x="1837690" y="1984563"/>
                </a:cubicBezTo>
                <a:cubicBezTo>
                  <a:pt x="1837690" y="1983929"/>
                  <a:pt x="1837690" y="1983929"/>
                  <a:pt x="1837055" y="1983294"/>
                </a:cubicBezTo>
                <a:cubicBezTo>
                  <a:pt x="1843405" y="1981388"/>
                  <a:pt x="1849120" y="1975674"/>
                  <a:pt x="1851025" y="1969959"/>
                </a:cubicBezTo>
                <a:cubicBezTo>
                  <a:pt x="1858645" y="2006154"/>
                  <a:pt x="1913890" y="1983929"/>
                  <a:pt x="1894840" y="1952813"/>
                </a:cubicBezTo>
                <a:cubicBezTo>
                  <a:pt x="1898015" y="1953449"/>
                  <a:pt x="1901190" y="1953449"/>
                  <a:pt x="1904365" y="1952813"/>
                </a:cubicBezTo>
                <a:cubicBezTo>
                  <a:pt x="1931035" y="1992184"/>
                  <a:pt x="1975485" y="1924874"/>
                  <a:pt x="1927860" y="1914079"/>
                </a:cubicBezTo>
                <a:close/>
                <a:moveTo>
                  <a:pt x="1362710" y="2333179"/>
                </a:moveTo>
                <a:cubicBezTo>
                  <a:pt x="1362710" y="2333179"/>
                  <a:pt x="1362075" y="2333814"/>
                  <a:pt x="1362075" y="2333814"/>
                </a:cubicBezTo>
                <a:cubicBezTo>
                  <a:pt x="1327150" y="2270949"/>
                  <a:pt x="1285875" y="2385884"/>
                  <a:pt x="1352550" y="2359849"/>
                </a:cubicBezTo>
                <a:cubicBezTo>
                  <a:pt x="1388745" y="2428429"/>
                  <a:pt x="1435100" y="2305239"/>
                  <a:pt x="1362710" y="2333179"/>
                </a:cubicBezTo>
                <a:close/>
                <a:moveTo>
                  <a:pt x="1455420" y="2267139"/>
                </a:moveTo>
                <a:cubicBezTo>
                  <a:pt x="1454150" y="2268409"/>
                  <a:pt x="1452880" y="2269044"/>
                  <a:pt x="1451610" y="2270314"/>
                </a:cubicBezTo>
                <a:cubicBezTo>
                  <a:pt x="1404620" y="2219514"/>
                  <a:pt x="1388745" y="2336354"/>
                  <a:pt x="1447800" y="2299524"/>
                </a:cubicBezTo>
                <a:cubicBezTo>
                  <a:pt x="1454785" y="2313494"/>
                  <a:pt x="1473200" y="2317304"/>
                  <a:pt x="1485265" y="2308414"/>
                </a:cubicBezTo>
                <a:lnTo>
                  <a:pt x="1485265" y="2308414"/>
                </a:lnTo>
                <a:cubicBezTo>
                  <a:pt x="1512570" y="2288729"/>
                  <a:pt x="1482090" y="2247454"/>
                  <a:pt x="1455420" y="2267139"/>
                </a:cubicBezTo>
                <a:close/>
                <a:moveTo>
                  <a:pt x="1371600" y="2253169"/>
                </a:moveTo>
                <a:cubicBezTo>
                  <a:pt x="1345565" y="2267139"/>
                  <a:pt x="1368425" y="2307144"/>
                  <a:pt x="1393825" y="2292539"/>
                </a:cubicBezTo>
                <a:cubicBezTo>
                  <a:pt x="1419860" y="2278569"/>
                  <a:pt x="1397000" y="2238564"/>
                  <a:pt x="1371600" y="2253169"/>
                </a:cubicBezTo>
                <a:close/>
                <a:moveTo>
                  <a:pt x="3589020" y="971104"/>
                </a:moveTo>
                <a:cubicBezTo>
                  <a:pt x="3608705" y="966024"/>
                  <a:pt x="3599815" y="935544"/>
                  <a:pt x="3580765" y="941259"/>
                </a:cubicBezTo>
                <a:cubicBezTo>
                  <a:pt x="3561080" y="946338"/>
                  <a:pt x="3569970" y="976819"/>
                  <a:pt x="3589020" y="971104"/>
                </a:cubicBezTo>
                <a:close/>
                <a:moveTo>
                  <a:pt x="3660775" y="382458"/>
                </a:moveTo>
                <a:cubicBezTo>
                  <a:pt x="3632200" y="395158"/>
                  <a:pt x="3653790" y="439608"/>
                  <a:pt x="3681095" y="425638"/>
                </a:cubicBezTo>
                <a:cubicBezTo>
                  <a:pt x="3709670" y="412938"/>
                  <a:pt x="3688715" y="369124"/>
                  <a:pt x="3660775" y="382458"/>
                </a:cubicBezTo>
                <a:close/>
                <a:moveTo>
                  <a:pt x="3728720" y="978724"/>
                </a:moveTo>
                <a:cubicBezTo>
                  <a:pt x="3746500" y="975549"/>
                  <a:pt x="3741420" y="946974"/>
                  <a:pt x="3723005" y="950784"/>
                </a:cubicBezTo>
                <a:cubicBezTo>
                  <a:pt x="3705225" y="953959"/>
                  <a:pt x="3710940" y="982534"/>
                  <a:pt x="3728720" y="978724"/>
                </a:cubicBezTo>
                <a:close/>
                <a:moveTo>
                  <a:pt x="3733800" y="629474"/>
                </a:moveTo>
                <a:cubicBezTo>
                  <a:pt x="3759200" y="619313"/>
                  <a:pt x="3743325" y="579309"/>
                  <a:pt x="3717925" y="590104"/>
                </a:cubicBezTo>
                <a:cubicBezTo>
                  <a:pt x="3691890" y="600263"/>
                  <a:pt x="3709035" y="640269"/>
                  <a:pt x="3733800" y="629474"/>
                </a:cubicBezTo>
                <a:close/>
                <a:moveTo>
                  <a:pt x="3725545" y="771713"/>
                </a:moveTo>
                <a:cubicBezTo>
                  <a:pt x="3702685" y="778699"/>
                  <a:pt x="3714750" y="814259"/>
                  <a:pt x="3736975" y="806638"/>
                </a:cubicBezTo>
                <a:cubicBezTo>
                  <a:pt x="3759835" y="799654"/>
                  <a:pt x="3748405" y="764094"/>
                  <a:pt x="3725545" y="771713"/>
                </a:cubicBezTo>
                <a:close/>
                <a:moveTo>
                  <a:pt x="3766185" y="692338"/>
                </a:moveTo>
                <a:cubicBezTo>
                  <a:pt x="3757930" y="668209"/>
                  <a:pt x="3719830" y="682179"/>
                  <a:pt x="3729355" y="705674"/>
                </a:cubicBezTo>
                <a:cubicBezTo>
                  <a:pt x="3737610" y="730438"/>
                  <a:pt x="3775075" y="716469"/>
                  <a:pt x="3766185" y="692338"/>
                </a:cubicBezTo>
                <a:close/>
                <a:moveTo>
                  <a:pt x="3660775" y="992059"/>
                </a:moveTo>
                <a:cubicBezTo>
                  <a:pt x="3678555" y="988249"/>
                  <a:pt x="3672840" y="960309"/>
                  <a:pt x="3655060" y="964119"/>
                </a:cubicBezTo>
                <a:cubicBezTo>
                  <a:pt x="3637280" y="968563"/>
                  <a:pt x="3642995" y="996504"/>
                  <a:pt x="3660775" y="992059"/>
                </a:cubicBezTo>
                <a:close/>
                <a:moveTo>
                  <a:pt x="3657600" y="952054"/>
                </a:moveTo>
                <a:cubicBezTo>
                  <a:pt x="3680460" y="952054"/>
                  <a:pt x="3676015" y="915859"/>
                  <a:pt x="3653790" y="921574"/>
                </a:cubicBezTo>
                <a:cubicBezTo>
                  <a:pt x="3636010" y="925384"/>
                  <a:pt x="3639820" y="952688"/>
                  <a:pt x="3657600" y="952054"/>
                </a:cubicBezTo>
                <a:close/>
                <a:moveTo>
                  <a:pt x="3663950" y="995869"/>
                </a:moveTo>
                <a:cubicBezTo>
                  <a:pt x="3647440" y="998409"/>
                  <a:pt x="3651885" y="1023809"/>
                  <a:pt x="3668395" y="1020634"/>
                </a:cubicBezTo>
                <a:cubicBezTo>
                  <a:pt x="3684270" y="1018729"/>
                  <a:pt x="3679825" y="992694"/>
                  <a:pt x="3663950" y="995869"/>
                </a:cubicBezTo>
                <a:close/>
                <a:moveTo>
                  <a:pt x="3305810" y="852994"/>
                </a:moveTo>
                <a:cubicBezTo>
                  <a:pt x="3329305" y="839024"/>
                  <a:pt x="3306445" y="802194"/>
                  <a:pt x="3283585" y="817434"/>
                </a:cubicBezTo>
                <a:cubicBezTo>
                  <a:pt x="3260090" y="831404"/>
                  <a:pt x="3282950" y="867599"/>
                  <a:pt x="3305810" y="852994"/>
                </a:cubicBezTo>
                <a:close/>
                <a:moveTo>
                  <a:pt x="3656330" y="834579"/>
                </a:moveTo>
                <a:cubicBezTo>
                  <a:pt x="3678555" y="826959"/>
                  <a:pt x="3665855" y="791399"/>
                  <a:pt x="3643630" y="800288"/>
                </a:cubicBezTo>
                <a:cubicBezTo>
                  <a:pt x="3621405" y="807909"/>
                  <a:pt x="3634105" y="842834"/>
                  <a:pt x="3656330" y="834579"/>
                </a:cubicBezTo>
                <a:close/>
                <a:moveTo>
                  <a:pt x="3791585" y="938084"/>
                </a:moveTo>
                <a:cubicBezTo>
                  <a:pt x="3773170" y="940624"/>
                  <a:pt x="3778885" y="969199"/>
                  <a:pt x="3796665" y="966024"/>
                </a:cubicBezTo>
                <a:cubicBezTo>
                  <a:pt x="3814445" y="963484"/>
                  <a:pt x="3809365" y="934909"/>
                  <a:pt x="3791585" y="938084"/>
                </a:cubicBezTo>
                <a:close/>
                <a:moveTo>
                  <a:pt x="3789680" y="976819"/>
                </a:moveTo>
                <a:cubicBezTo>
                  <a:pt x="3773170" y="978724"/>
                  <a:pt x="3776980" y="1004124"/>
                  <a:pt x="3792855" y="1002219"/>
                </a:cubicBezTo>
                <a:cubicBezTo>
                  <a:pt x="3809365" y="999679"/>
                  <a:pt x="3806190" y="974279"/>
                  <a:pt x="3789680" y="976819"/>
                </a:cubicBezTo>
                <a:close/>
                <a:moveTo>
                  <a:pt x="3799840" y="886649"/>
                </a:moveTo>
                <a:cubicBezTo>
                  <a:pt x="3780155" y="890459"/>
                  <a:pt x="3787140" y="921574"/>
                  <a:pt x="3806190" y="917129"/>
                </a:cubicBezTo>
                <a:cubicBezTo>
                  <a:pt x="3825875" y="913319"/>
                  <a:pt x="3818890" y="882204"/>
                  <a:pt x="3799840" y="886649"/>
                </a:cubicBezTo>
                <a:close/>
                <a:moveTo>
                  <a:pt x="3849370" y="828863"/>
                </a:moveTo>
                <a:cubicBezTo>
                  <a:pt x="3844290" y="807274"/>
                  <a:pt x="3810635" y="816163"/>
                  <a:pt x="3816350" y="837119"/>
                </a:cubicBezTo>
                <a:cubicBezTo>
                  <a:pt x="3821430" y="858709"/>
                  <a:pt x="3855085" y="850454"/>
                  <a:pt x="3849370" y="828863"/>
                </a:cubicBezTo>
                <a:close/>
                <a:moveTo>
                  <a:pt x="3750945" y="837119"/>
                </a:moveTo>
                <a:cubicBezTo>
                  <a:pt x="3729355" y="842834"/>
                  <a:pt x="3738880" y="875854"/>
                  <a:pt x="3759835" y="869504"/>
                </a:cubicBezTo>
                <a:cubicBezTo>
                  <a:pt x="3780790" y="864424"/>
                  <a:pt x="3771900" y="831404"/>
                  <a:pt x="3750945" y="837119"/>
                </a:cubicBezTo>
                <a:close/>
                <a:moveTo>
                  <a:pt x="3782695" y="476438"/>
                </a:moveTo>
                <a:cubicBezTo>
                  <a:pt x="3771900" y="449133"/>
                  <a:pt x="3729355" y="466279"/>
                  <a:pt x="3740785" y="493583"/>
                </a:cubicBezTo>
                <a:cubicBezTo>
                  <a:pt x="3751580" y="520888"/>
                  <a:pt x="3794125" y="503744"/>
                  <a:pt x="3782695" y="476438"/>
                </a:cubicBezTo>
                <a:close/>
                <a:moveTo>
                  <a:pt x="3726180" y="903159"/>
                </a:moveTo>
                <a:cubicBezTo>
                  <a:pt x="3706495" y="907604"/>
                  <a:pt x="3714115" y="938084"/>
                  <a:pt x="3733165" y="933638"/>
                </a:cubicBezTo>
                <a:cubicBezTo>
                  <a:pt x="3752850" y="929194"/>
                  <a:pt x="3745865" y="898713"/>
                  <a:pt x="3726180" y="903159"/>
                </a:cubicBezTo>
                <a:close/>
                <a:moveTo>
                  <a:pt x="3726815" y="985709"/>
                </a:moveTo>
                <a:cubicBezTo>
                  <a:pt x="3710305" y="987613"/>
                  <a:pt x="3714115" y="1013649"/>
                  <a:pt x="3730625" y="1011109"/>
                </a:cubicBezTo>
                <a:cubicBezTo>
                  <a:pt x="3747135" y="1008569"/>
                  <a:pt x="3742690" y="983169"/>
                  <a:pt x="3726815" y="985709"/>
                </a:cubicBezTo>
                <a:close/>
                <a:moveTo>
                  <a:pt x="3672840" y="859979"/>
                </a:moveTo>
                <a:cubicBezTo>
                  <a:pt x="3651885" y="865694"/>
                  <a:pt x="3662045" y="899349"/>
                  <a:pt x="3682365" y="892363"/>
                </a:cubicBezTo>
                <a:cubicBezTo>
                  <a:pt x="3703955" y="886013"/>
                  <a:pt x="3693795" y="852994"/>
                  <a:pt x="3672840" y="859979"/>
                </a:cubicBezTo>
                <a:close/>
                <a:moveTo>
                  <a:pt x="3414395" y="1046034"/>
                </a:moveTo>
                <a:cubicBezTo>
                  <a:pt x="3398520" y="1049844"/>
                  <a:pt x="3404235" y="1074609"/>
                  <a:pt x="3420110" y="1070799"/>
                </a:cubicBezTo>
                <a:cubicBezTo>
                  <a:pt x="3435985" y="1066988"/>
                  <a:pt x="3430270" y="1042224"/>
                  <a:pt x="3414395" y="1046034"/>
                </a:cubicBezTo>
                <a:close/>
                <a:moveTo>
                  <a:pt x="3476625" y="1032063"/>
                </a:moveTo>
                <a:cubicBezTo>
                  <a:pt x="3460115" y="1035238"/>
                  <a:pt x="3465830" y="1060638"/>
                  <a:pt x="3481705" y="1056829"/>
                </a:cubicBezTo>
                <a:cubicBezTo>
                  <a:pt x="3497580" y="1053654"/>
                  <a:pt x="3492500" y="1028254"/>
                  <a:pt x="3476625" y="1032063"/>
                </a:cubicBezTo>
                <a:close/>
                <a:moveTo>
                  <a:pt x="3645535" y="667574"/>
                </a:moveTo>
                <a:cubicBezTo>
                  <a:pt x="3670935" y="656779"/>
                  <a:pt x="3652520" y="617409"/>
                  <a:pt x="3627755" y="628838"/>
                </a:cubicBezTo>
                <a:cubicBezTo>
                  <a:pt x="3602355" y="640269"/>
                  <a:pt x="3620770" y="679638"/>
                  <a:pt x="3645535" y="667574"/>
                </a:cubicBezTo>
                <a:close/>
                <a:moveTo>
                  <a:pt x="3385820" y="1032063"/>
                </a:moveTo>
                <a:cubicBezTo>
                  <a:pt x="3368040" y="1037144"/>
                  <a:pt x="3376295" y="1064449"/>
                  <a:pt x="3393440" y="1059369"/>
                </a:cubicBezTo>
                <a:cubicBezTo>
                  <a:pt x="3411220" y="1054288"/>
                  <a:pt x="3403600" y="1026349"/>
                  <a:pt x="3385820" y="1032063"/>
                </a:cubicBezTo>
                <a:close/>
                <a:moveTo>
                  <a:pt x="3456305" y="994599"/>
                </a:moveTo>
                <a:cubicBezTo>
                  <a:pt x="3450590" y="975549"/>
                  <a:pt x="3420110" y="985074"/>
                  <a:pt x="3426460" y="1004124"/>
                </a:cubicBezTo>
                <a:cubicBezTo>
                  <a:pt x="3432810" y="1023174"/>
                  <a:pt x="3463290" y="1013649"/>
                  <a:pt x="3456305" y="994599"/>
                </a:cubicBezTo>
                <a:close/>
                <a:moveTo>
                  <a:pt x="3385185" y="1017459"/>
                </a:moveTo>
                <a:cubicBezTo>
                  <a:pt x="3378835" y="998409"/>
                  <a:pt x="3348990" y="1008569"/>
                  <a:pt x="3355975" y="1027619"/>
                </a:cubicBezTo>
                <a:cubicBezTo>
                  <a:pt x="3362325" y="1046669"/>
                  <a:pt x="3392170" y="1036509"/>
                  <a:pt x="3385185" y="1017459"/>
                </a:cubicBezTo>
                <a:close/>
                <a:moveTo>
                  <a:pt x="3319145" y="1051749"/>
                </a:moveTo>
                <a:cubicBezTo>
                  <a:pt x="3317240" y="1052384"/>
                  <a:pt x="3315335" y="1053654"/>
                  <a:pt x="3313430" y="1054924"/>
                </a:cubicBezTo>
                <a:cubicBezTo>
                  <a:pt x="3314700" y="990788"/>
                  <a:pt x="3249295" y="1077149"/>
                  <a:pt x="3310255" y="1058734"/>
                </a:cubicBezTo>
                <a:cubicBezTo>
                  <a:pt x="3304540" y="1108263"/>
                  <a:pt x="3368675" y="1053019"/>
                  <a:pt x="3319145" y="1051749"/>
                </a:cubicBezTo>
                <a:close/>
                <a:moveTo>
                  <a:pt x="3290570" y="1077149"/>
                </a:moveTo>
                <a:cubicBezTo>
                  <a:pt x="3274695" y="1080959"/>
                  <a:pt x="3281680" y="1106359"/>
                  <a:pt x="3296920" y="1101913"/>
                </a:cubicBezTo>
                <a:cubicBezTo>
                  <a:pt x="3313430" y="1097469"/>
                  <a:pt x="3306445" y="1072704"/>
                  <a:pt x="3290570" y="1077149"/>
                </a:cubicBezTo>
                <a:close/>
                <a:moveTo>
                  <a:pt x="3352165" y="1061274"/>
                </a:moveTo>
                <a:cubicBezTo>
                  <a:pt x="3336290" y="1065084"/>
                  <a:pt x="3342640" y="1090484"/>
                  <a:pt x="3358515" y="1086038"/>
                </a:cubicBezTo>
                <a:cubicBezTo>
                  <a:pt x="3374390" y="1081594"/>
                  <a:pt x="3368040" y="1056829"/>
                  <a:pt x="3352165" y="1061274"/>
                </a:cubicBezTo>
                <a:close/>
                <a:moveTo>
                  <a:pt x="3470275" y="1023174"/>
                </a:moveTo>
                <a:cubicBezTo>
                  <a:pt x="3465830" y="1005394"/>
                  <a:pt x="3437890" y="1013013"/>
                  <a:pt x="3442970" y="1030794"/>
                </a:cubicBezTo>
                <a:cubicBezTo>
                  <a:pt x="3447415" y="1048574"/>
                  <a:pt x="3474720" y="1040954"/>
                  <a:pt x="3470275" y="1023174"/>
                </a:cubicBezTo>
                <a:close/>
                <a:moveTo>
                  <a:pt x="3604260" y="990154"/>
                </a:moveTo>
                <a:cubicBezTo>
                  <a:pt x="3600450" y="972374"/>
                  <a:pt x="3572510" y="978724"/>
                  <a:pt x="3576955" y="996504"/>
                </a:cubicBezTo>
                <a:cubicBezTo>
                  <a:pt x="3580765" y="1014919"/>
                  <a:pt x="3608705" y="1007934"/>
                  <a:pt x="3604260" y="990154"/>
                </a:cubicBezTo>
                <a:close/>
                <a:moveTo>
                  <a:pt x="3601085" y="1006663"/>
                </a:moveTo>
                <a:cubicBezTo>
                  <a:pt x="3584575" y="1009204"/>
                  <a:pt x="3589655" y="1034604"/>
                  <a:pt x="3605530" y="1031429"/>
                </a:cubicBezTo>
                <a:cubicBezTo>
                  <a:pt x="3622040" y="1028888"/>
                  <a:pt x="3617595" y="1003488"/>
                  <a:pt x="3601085" y="1006663"/>
                </a:cubicBezTo>
                <a:close/>
                <a:moveTo>
                  <a:pt x="3853180" y="968563"/>
                </a:moveTo>
                <a:cubicBezTo>
                  <a:pt x="3836670" y="970469"/>
                  <a:pt x="3839845" y="995869"/>
                  <a:pt x="3856355" y="993963"/>
                </a:cubicBezTo>
                <a:cubicBezTo>
                  <a:pt x="3872230" y="992059"/>
                  <a:pt x="3869055" y="966659"/>
                  <a:pt x="3853180" y="968563"/>
                </a:cubicBezTo>
                <a:close/>
                <a:moveTo>
                  <a:pt x="3596005" y="884109"/>
                </a:moveTo>
                <a:cubicBezTo>
                  <a:pt x="3575050" y="890459"/>
                  <a:pt x="3585845" y="923479"/>
                  <a:pt x="3606800" y="916494"/>
                </a:cubicBezTo>
                <a:cubicBezTo>
                  <a:pt x="3627120" y="909509"/>
                  <a:pt x="3616325" y="876488"/>
                  <a:pt x="3596005" y="884109"/>
                </a:cubicBezTo>
                <a:close/>
                <a:moveTo>
                  <a:pt x="3536950" y="1006029"/>
                </a:moveTo>
                <a:cubicBezTo>
                  <a:pt x="3532505" y="988249"/>
                  <a:pt x="3505200" y="995234"/>
                  <a:pt x="3509645" y="1013013"/>
                </a:cubicBezTo>
                <a:cubicBezTo>
                  <a:pt x="3514090" y="1030794"/>
                  <a:pt x="3541395" y="1023809"/>
                  <a:pt x="3536950" y="1006029"/>
                </a:cubicBezTo>
                <a:close/>
                <a:moveTo>
                  <a:pt x="3586480" y="840929"/>
                </a:moveTo>
                <a:cubicBezTo>
                  <a:pt x="3578225" y="818704"/>
                  <a:pt x="3543300" y="832038"/>
                  <a:pt x="3552190" y="854263"/>
                </a:cubicBezTo>
                <a:cubicBezTo>
                  <a:pt x="3560445" y="876488"/>
                  <a:pt x="3595370" y="863154"/>
                  <a:pt x="3586480" y="840929"/>
                </a:cubicBezTo>
                <a:close/>
                <a:moveTo>
                  <a:pt x="3517900" y="991424"/>
                </a:moveTo>
                <a:cubicBezTo>
                  <a:pt x="3537585" y="985709"/>
                  <a:pt x="3528060" y="955863"/>
                  <a:pt x="3509010" y="961579"/>
                </a:cubicBezTo>
                <a:cubicBezTo>
                  <a:pt x="3489325" y="967294"/>
                  <a:pt x="3498850" y="997774"/>
                  <a:pt x="3517900" y="991424"/>
                </a:cubicBezTo>
                <a:close/>
                <a:moveTo>
                  <a:pt x="3538855" y="1018729"/>
                </a:moveTo>
                <a:cubicBezTo>
                  <a:pt x="3522345" y="1021904"/>
                  <a:pt x="3528060" y="1047304"/>
                  <a:pt x="3543935" y="1043494"/>
                </a:cubicBezTo>
                <a:cubicBezTo>
                  <a:pt x="3559810" y="1040954"/>
                  <a:pt x="3554730" y="1015554"/>
                  <a:pt x="3538855" y="1018729"/>
                </a:cubicBezTo>
                <a:close/>
              </a:path>
            </a:pathLst>
          </a:custGeom>
          <a:gradFill>
            <a:gsLst>
              <a:gs pos="0">
                <a:schemeClr val="accent1"/>
              </a:gs>
              <a:gs pos="22000">
                <a:schemeClr val="lt2"/>
              </a:gs>
              <a:gs pos="63000">
                <a:schemeClr val="lt2"/>
              </a:gs>
              <a:gs pos="85000">
                <a:schemeClr val="accent1"/>
              </a:gs>
              <a:gs pos="100000">
                <a:schemeClr val="accent2"/>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Calibri"/>
              <a:ea typeface="Calibri"/>
              <a:cs typeface="Calibri"/>
              <a:sym typeface="Calibri"/>
            </a:endParaRPr>
          </a:p>
        </p:txBody>
      </p:sp>
      <p:sp>
        <p:nvSpPr>
          <p:cNvPr id="28" name="Google Shape;28;p6"/>
          <p:cNvSpPr txBox="1">
            <a:spLocks noGrp="1"/>
          </p:cNvSpPr>
          <p:nvPr>
            <p:ph type="title"/>
          </p:nvPr>
        </p:nvSpPr>
        <p:spPr>
          <a:xfrm>
            <a:off x="1037875" y="836000"/>
            <a:ext cx="7068300" cy="396300"/>
          </a:xfrm>
          <a:prstGeom prst="rect">
            <a:avLst/>
          </a:prstGeom>
        </p:spPr>
        <p:txBody>
          <a:bodyPr spcFirstLastPara="1" wrap="square" lIns="0" tIns="0" rIns="0" bIns="0"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29" name="Google Shape;29;p6"/>
          <p:cNvSpPr txBox="1">
            <a:spLocks noGrp="1"/>
          </p:cNvSpPr>
          <p:nvPr>
            <p:ph type="body" idx="1"/>
          </p:nvPr>
        </p:nvSpPr>
        <p:spPr>
          <a:xfrm>
            <a:off x="1037825" y="1353950"/>
            <a:ext cx="3302400" cy="3155400"/>
          </a:xfrm>
          <a:prstGeom prst="rect">
            <a:avLst/>
          </a:prstGeom>
        </p:spPr>
        <p:txBody>
          <a:bodyPr spcFirstLastPara="1" wrap="square" lIns="0" tIns="0" rIns="0" bIns="0" anchor="t" anchorCtr="0">
            <a:noAutofit/>
          </a:bodyPr>
          <a:lstStyle>
            <a:lvl1pPr marL="457200" lvl="0" indent="-355600" rtl="0">
              <a:spcBef>
                <a:spcPts val="600"/>
              </a:spcBef>
              <a:spcAft>
                <a:spcPts val="0"/>
              </a:spcAft>
              <a:buSzPts val="2000"/>
              <a:buChar char="●"/>
              <a:defRPr sz="2000"/>
            </a:lvl1pPr>
            <a:lvl2pPr marL="914400" lvl="1" indent="-355600" rtl="0">
              <a:spcBef>
                <a:spcPts val="0"/>
              </a:spcBef>
              <a:spcAft>
                <a:spcPts val="0"/>
              </a:spcAft>
              <a:buSzPts val="2000"/>
              <a:buChar char="○"/>
              <a:defRPr sz="2000"/>
            </a:lvl2pPr>
            <a:lvl3pPr marL="1371600" lvl="2" indent="-355600" rtl="0">
              <a:spcBef>
                <a:spcPts val="0"/>
              </a:spcBef>
              <a:spcAft>
                <a:spcPts val="0"/>
              </a:spcAft>
              <a:buSzPts val="2000"/>
              <a:buChar char="■"/>
              <a:defRPr sz="2000"/>
            </a:lvl3pPr>
            <a:lvl4pPr marL="1828800" lvl="3" indent="-355600" rtl="0">
              <a:spcBef>
                <a:spcPts val="0"/>
              </a:spcBef>
              <a:spcAft>
                <a:spcPts val="0"/>
              </a:spcAft>
              <a:buSzPts val="2000"/>
              <a:buChar char="●"/>
              <a:defRPr sz="2000"/>
            </a:lvl4pPr>
            <a:lvl5pPr marL="2286000" lvl="4" indent="-355600" rtl="0">
              <a:spcBef>
                <a:spcPts val="0"/>
              </a:spcBef>
              <a:spcAft>
                <a:spcPts val="0"/>
              </a:spcAft>
              <a:buSzPts val="2000"/>
              <a:buChar char="○"/>
              <a:defRPr sz="2000"/>
            </a:lvl5pPr>
            <a:lvl6pPr marL="2743200" lvl="5" indent="-355600" rtl="0">
              <a:spcBef>
                <a:spcPts val="0"/>
              </a:spcBef>
              <a:spcAft>
                <a:spcPts val="0"/>
              </a:spcAft>
              <a:buSzPts val="2000"/>
              <a:buChar char="■"/>
              <a:defRPr sz="2000"/>
            </a:lvl6pPr>
            <a:lvl7pPr marL="3200400" lvl="6" indent="-355600" rtl="0">
              <a:spcBef>
                <a:spcPts val="0"/>
              </a:spcBef>
              <a:spcAft>
                <a:spcPts val="0"/>
              </a:spcAft>
              <a:buSzPts val="2000"/>
              <a:buChar char="●"/>
              <a:defRPr sz="2000"/>
            </a:lvl7pPr>
            <a:lvl8pPr marL="3657600" lvl="7" indent="-355600" rtl="0">
              <a:spcBef>
                <a:spcPts val="0"/>
              </a:spcBef>
              <a:spcAft>
                <a:spcPts val="0"/>
              </a:spcAft>
              <a:buSzPts val="2000"/>
              <a:buChar char="○"/>
              <a:defRPr sz="2000"/>
            </a:lvl8pPr>
            <a:lvl9pPr marL="4114800" lvl="8" indent="-355600" rtl="0">
              <a:spcBef>
                <a:spcPts val="0"/>
              </a:spcBef>
              <a:spcAft>
                <a:spcPts val="0"/>
              </a:spcAft>
              <a:buSzPts val="2000"/>
              <a:buChar char="■"/>
              <a:defRPr sz="2000"/>
            </a:lvl9pPr>
          </a:lstStyle>
          <a:p>
            <a:endParaRPr/>
          </a:p>
        </p:txBody>
      </p:sp>
      <p:sp>
        <p:nvSpPr>
          <p:cNvPr id="30" name="Google Shape;30;p6"/>
          <p:cNvSpPr txBox="1">
            <a:spLocks noGrp="1"/>
          </p:cNvSpPr>
          <p:nvPr>
            <p:ph type="body" idx="2"/>
          </p:nvPr>
        </p:nvSpPr>
        <p:spPr>
          <a:xfrm>
            <a:off x="4803623" y="1353950"/>
            <a:ext cx="3302400" cy="3155400"/>
          </a:xfrm>
          <a:prstGeom prst="rect">
            <a:avLst/>
          </a:prstGeom>
        </p:spPr>
        <p:txBody>
          <a:bodyPr spcFirstLastPara="1" wrap="square" lIns="0" tIns="0" rIns="0" bIns="0" anchor="t" anchorCtr="0">
            <a:noAutofit/>
          </a:bodyPr>
          <a:lstStyle>
            <a:lvl1pPr marL="457200" lvl="0" indent="-355600" rtl="0">
              <a:spcBef>
                <a:spcPts val="600"/>
              </a:spcBef>
              <a:spcAft>
                <a:spcPts val="0"/>
              </a:spcAft>
              <a:buSzPts val="2000"/>
              <a:buChar char="●"/>
              <a:defRPr sz="2000"/>
            </a:lvl1pPr>
            <a:lvl2pPr marL="914400" lvl="1" indent="-355600" rtl="0">
              <a:spcBef>
                <a:spcPts val="0"/>
              </a:spcBef>
              <a:spcAft>
                <a:spcPts val="0"/>
              </a:spcAft>
              <a:buSzPts val="2000"/>
              <a:buChar char="○"/>
              <a:defRPr sz="2000"/>
            </a:lvl2pPr>
            <a:lvl3pPr marL="1371600" lvl="2" indent="-355600" rtl="0">
              <a:spcBef>
                <a:spcPts val="0"/>
              </a:spcBef>
              <a:spcAft>
                <a:spcPts val="0"/>
              </a:spcAft>
              <a:buSzPts val="2000"/>
              <a:buChar char="■"/>
              <a:defRPr sz="2000"/>
            </a:lvl3pPr>
            <a:lvl4pPr marL="1828800" lvl="3" indent="-355600" rtl="0">
              <a:spcBef>
                <a:spcPts val="0"/>
              </a:spcBef>
              <a:spcAft>
                <a:spcPts val="0"/>
              </a:spcAft>
              <a:buSzPts val="2000"/>
              <a:buChar char="●"/>
              <a:defRPr sz="2000"/>
            </a:lvl4pPr>
            <a:lvl5pPr marL="2286000" lvl="4" indent="-355600" rtl="0">
              <a:spcBef>
                <a:spcPts val="0"/>
              </a:spcBef>
              <a:spcAft>
                <a:spcPts val="0"/>
              </a:spcAft>
              <a:buSzPts val="2000"/>
              <a:buChar char="○"/>
              <a:defRPr sz="2000"/>
            </a:lvl5pPr>
            <a:lvl6pPr marL="2743200" lvl="5" indent="-355600" rtl="0">
              <a:spcBef>
                <a:spcPts val="0"/>
              </a:spcBef>
              <a:spcAft>
                <a:spcPts val="0"/>
              </a:spcAft>
              <a:buSzPts val="2000"/>
              <a:buChar char="■"/>
              <a:defRPr sz="2000"/>
            </a:lvl6pPr>
            <a:lvl7pPr marL="3200400" lvl="6" indent="-355600" rtl="0">
              <a:spcBef>
                <a:spcPts val="0"/>
              </a:spcBef>
              <a:spcAft>
                <a:spcPts val="0"/>
              </a:spcAft>
              <a:buSzPts val="2000"/>
              <a:buChar char="●"/>
              <a:defRPr sz="2000"/>
            </a:lvl7pPr>
            <a:lvl8pPr marL="3657600" lvl="7" indent="-355600" rtl="0">
              <a:spcBef>
                <a:spcPts val="0"/>
              </a:spcBef>
              <a:spcAft>
                <a:spcPts val="0"/>
              </a:spcAft>
              <a:buSzPts val="2000"/>
              <a:buChar char="○"/>
              <a:defRPr sz="2000"/>
            </a:lvl8pPr>
            <a:lvl9pPr marL="4114800" lvl="8" indent="-355600" rtl="0">
              <a:spcBef>
                <a:spcPts val="0"/>
              </a:spcBef>
              <a:spcAft>
                <a:spcPts val="0"/>
              </a:spcAft>
              <a:buSzPts val="2000"/>
              <a:buChar char="■"/>
              <a:defRPr sz="2000"/>
            </a:lvl9pPr>
          </a:lstStyle>
          <a:p>
            <a:endParaRPr/>
          </a:p>
        </p:txBody>
      </p:sp>
      <p:sp>
        <p:nvSpPr>
          <p:cNvPr id="31" name="Google Shape;31;p6"/>
          <p:cNvSpPr txBox="1">
            <a:spLocks noGrp="1"/>
          </p:cNvSpPr>
          <p:nvPr>
            <p:ph type="sldNum" idx="12"/>
          </p:nvPr>
        </p:nvSpPr>
        <p:spPr>
          <a:xfrm>
            <a:off x="8328184" y="45974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9"/>
        <p:cNvGrpSpPr/>
        <p:nvPr/>
      </p:nvGrpSpPr>
      <p:grpSpPr>
        <a:xfrm>
          <a:off x="0" y="0"/>
          <a:ext cx="0" cy="0"/>
          <a:chOff x="0" y="0"/>
          <a:chExt cx="0" cy="0"/>
        </a:xfrm>
      </p:grpSpPr>
      <p:sp>
        <p:nvSpPr>
          <p:cNvPr id="40" name="Google Shape;40;p8"/>
          <p:cNvSpPr/>
          <p:nvPr/>
        </p:nvSpPr>
        <p:spPr>
          <a:xfrm>
            <a:off x="0" y="2625824"/>
            <a:ext cx="9144000" cy="2232329"/>
          </a:xfrm>
          <a:custGeom>
            <a:avLst/>
            <a:gdLst/>
            <a:ahLst/>
            <a:cxnLst/>
            <a:rect l="l" t="t" r="r" b="b"/>
            <a:pathLst>
              <a:path w="12192000" h="2976439" extrusionOk="0">
                <a:moveTo>
                  <a:pt x="6456680" y="1376234"/>
                </a:moveTo>
                <a:cubicBezTo>
                  <a:pt x="6463665" y="1380044"/>
                  <a:pt x="6471920" y="1378138"/>
                  <a:pt x="6476365" y="1371788"/>
                </a:cubicBezTo>
                <a:cubicBezTo>
                  <a:pt x="6503670" y="1378138"/>
                  <a:pt x="6495415" y="1331784"/>
                  <a:pt x="6471920" y="1347024"/>
                </a:cubicBezTo>
                <a:cubicBezTo>
                  <a:pt x="6454775" y="1340674"/>
                  <a:pt x="6438900" y="1365438"/>
                  <a:pt x="6456680" y="1376234"/>
                </a:cubicBezTo>
                <a:close/>
                <a:moveTo>
                  <a:pt x="6391910" y="1339404"/>
                </a:moveTo>
                <a:cubicBezTo>
                  <a:pt x="6393180" y="1340038"/>
                  <a:pt x="6395085" y="1340674"/>
                  <a:pt x="6396355" y="1341309"/>
                </a:cubicBezTo>
                <a:cubicBezTo>
                  <a:pt x="6399530" y="1350199"/>
                  <a:pt x="6413500" y="1352104"/>
                  <a:pt x="6418580" y="1343213"/>
                </a:cubicBezTo>
                <a:cubicBezTo>
                  <a:pt x="6441440" y="1342579"/>
                  <a:pt x="6431915" y="1306384"/>
                  <a:pt x="6411595" y="1316544"/>
                </a:cubicBezTo>
                <a:cubicBezTo>
                  <a:pt x="6396990" y="1296859"/>
                  <a:pt x="6370320" y="1327338"/>
                  <a:pt x="6391910" y="1339404"/>
                </a:cubicBezTo>
                <a:close/>
                <a:moveTo>
                  <a:pt x="6412865" y="1360359"/>
                </a:moveTo>
                <a:cubicBezTo>
                  <a:pt x="6400800" y="1378774"/>
                  <a:pt x="6429375" y="1397188"/>
                  <a:pt x="6440805" y="1378774"/>
                </a:cubicBezTo>
                <a:cubicBezTo>
                  <a:pt x="6453505" y="1360994"/>
                  <a:pt x="6424295" y="1341944"/>
                  <a:pt x="6412865" y="1360359"/>
                </a:cubicBezTo>
                <a:close/>
                <a:moveTo>
                  <a:pt x="6502400" y="1514029"/>
                </a:moveTo>
                <a:cubicBezTo>
                  <a:pt x="6482715" y="1497519"/>
                  <a:pt x="6457315" y="1529269"/>
                  <a:pt x="6477635" y="1545144"/>
                </a:cubicBezTo>
                <a:cubicBezTo>
                  <a:pt x="6497320" y="1561019"/>
                  <a:pt x="6522720" y="1529269"/>
                  <a:pt x="6502400" y="1514029"/>
                </a:cubicBezTo>
                <a:close/>
                <a:moveTo>
                  <a:pt x="6382385" y="1402269"/>
                </a:moveTo>
                <a:cubicBezTo>
                  <a:pt x="6399530" y="1402904"/>
                  <a:pt x="6407785" y="1378774"/>
                  <a:pt x="6393180" y="1369249"/>
                </a:cubicBezTo>
                <a:cubicBezTo>
                  <a:pt x="6367145" y="1350834"/>
                  <a:pt x="6350635" y="1400999"/>
                  <a:pt x="6382385" y="1402269"/>
                </a:cubicBezTo>
                <a:close/>
                <a:moveTo>
                  <a:pt x="6216015" y="1284794"/>
                </a:moveTo>
                <a:cubicBezTo>
                  <a:pt x="6196330" y="1268284"/>
                  <a:pt x="6170930" y="1300034"/>
                  <a:pt x="6191250" y="1315909"/>
                </a:cubicBezTo>
                <a:cubicBezTo>
                  <a:pt x="6210935" y="1331784"/>
                  <a:pt x="6236335" y="1300669"/>
                  <a:pt x="6216015" y="1284794"/>
                </a:cubicBezTo>
                <a:close/>
                <a:moveTo>
                  <a:pt x="6049645" y="1169859"/>
                </a:moveTo>
                <a:cubicBezTo>
                  <a:pt x="6049010" y="1164779"/>
                  <a:pt x="6045835" y="1159699"/>
                  <a:pt x="6040755" y="1157794"/>
                </a:cubicBezTo>
                <a:cubicBezTo>
                  <a:pt x="6017260" y="1150174"/>
                  <a:pt x="6015355" y="1190813"/>
                  <a:pt x="6039485" y="1184463"/>
                </a:cubicBezTo>
                <a:cubicBezTo>
                  <a:pt x="6038850" y="1189544"/>
                  <a:pt x="6040120" y="1194624"/>
                  <a:pt x="6043295" y="1198434"/>
                </a:cubicBezTo>
                <a:cubicBezTo>
                  <a:pt x="5981700" y="1191449"/>
                  <a:pt x="6039485" y="1279079"/>
                  <a:pt x="6057265" y="1220024"/>
                </a:cubicBezTo>
                <a:cubicBezTo>
                  <a:pt x="6060440" y="1216213"/>
                  <a:pt x="6061075" y="1210499"/>
                  <a:pt x="6059170" y="1206688"/>
                </a:cubicBezTo>
                <a:cubicBezTo>
                  <a:pt x="6075045" y="1207324"/>
                  <a:pt x="6085205" y="1186369"/>
                  <a:pt x="6074410" y="1174938"/>
                </a:cubicBezTo>
                <a:cubicBezTo>
                  <a:pt x="6077585" y="1176844"/>
                  <a:pt x="6081395" y="1178113"/>
                  <a:pt x="6084570" y="1177479"/>
                </a:cubicBezTo>
                <a:cubicBezTo>
                  <a:pt x="6082030" y="1183194"/>
                  <a:pt x="6082665" y="1190179"/>
                  <a:pt x="6085840" y="1195259"/>
                </a:cubicBezTo>
                <a:cubicBezTo>
                  <a:pt x="6085205" y="1211769"/>
                  <a:pt x="6111240" y="1214944"/>
                  <a:pt x="6113780" y="1197799"/>
                </a:cubicBezTo>
                <a:cubicBezTo>
                  <a:pt x="6115050" y="1196529"/>
                  <a:pt x="6116320" y="1194624"/>
                  <a:pt x="6117590" y="1192719"/>
                </a:cubicBezTo>
                <a:cubicBezTo>
                  <a:pt x="6118860" y="1200974"/>
                  <a:pt x="6128385" y="1207324"/>
                  <a:pt x="6137275" y="1204784"/>
                </a:cubicBezTo>
                <a:cubicBezTo>
                  <a:pt x="6139180" y="1210499"/>
                  <a:pt x="6144895" y="1216213"/>
                  <a:pt x="6151245" y="1216849"/>
                </a:cubicBezTo>
                <a:cubicBezTo>
                  <a:pt x="6149975" y="1221929"/>
                  <a:pt x="6151245" y="1227009"/>
                  <a:pt x="6155055" y="1230819"/>
                </a:cubicBezTo>
                <a:cubicBezTo>
                  <a:pt x="6154420" y="1235263"/>
                  <a:pt x="6155690" y="1240344"/>
                  <a:pt x="6158865" y="1244154"/>
                </a:cubicBezTo>
                <a:cubicBezTo>
                  <a:pt x="6145530" y="1263838"/>
                  <a:pt x="6184265" y="1273363"/>
                  <a:pt x="6181725" y="1249234"/>
                </a:cubicBezTo>
                <a:cubicBezTo>
                  <a:pt x="6187440" y="1246694"/>
                  <a:pt x="6191250" y="1240344"/>
                  <a:pt x="6191885" y="1234629"/>
                </a:cubicBezTo>
                <a:cubicBezTo>
                  <a:pt x="6196330" y="1237804"/>
                  <a:pt x="6202045" y="1238438"/>
                  <a:pt x="6207125" y="1236534"/>
                </a:cubicBezTo>
                <a:cubicBezTo>
                  <a:pt x="6203315" y="1248599"/>
                  <a:pt x="6214745" y="1256219"/>
                  <a:pt x="6224905" y="1260029"/>
                </a:cubicBezTo>
                <a:cubicBezTo>
                  <a:pt x="6213475" y="1263838"/>
                  <a:pt x="6214110" y="1280984"/>
                  <a:pt x="6225540" y="1284159"/>
                </a:cubicBezTo>
                <a:cubicBezTo>
                  <a:pt x="6239510" y="1333054"/>
                  <a:pt x="6290945" y="1263204"/>
                  <a:pt x="6239510" y="1265109"/>
                </a:cubicBezTo>
                <a:cubicBezTo>
                  <a:pt x="6238240" y="1263204"/>
                  <a:pt x="6235700" y="1261299"/>
                  <a:pt x="6233160" y="1260029"/>
                </a:cubicBezTo>
                <a:cubicBezTo>
                  <a:pt x="6254750" y="1252409"/>
                  <a:pt x="6235065" y="1214944"/>
                  <a:pt x="6216015" y="1225738"/>
                </a:cubicBezTo>
                <a:cubicBezTo>
                  <a:pt x="6220460" y="1206054"/>
                  <a:pt x="6188710" y="1199704"/>
                  <a:pt x="6185535" y="1220024"/>
                </a:cubicBezTo>
                <a:cubicBezTo>
                  <a:pt x="6183630" y="1218119"/>
                  <a:pt x="6180455" y="1216849"/>
                  <a:pt x="6177915" y="1215579"/>
                </a:cubicBezTo>
                <a:cubicBezTo>
                  <a:pt x="6176645" y="1211769"/>
                  <a:pt x="6172835" y="1208594"/>
                  <a:pt x="6169025" y="1207324"/>
                </a:cubicBezTo>
                <a:cubicBezTo>
                  <a:pt x="6176010" y="1193988"/>
                  <a:pt x="6161405" y="1178749"/>
                  <a:pt x="6147435" y="1184463"/>
                </a:cubicBezTo>
                <a:cubicBezTo>
                  <a:pt x="6142990" y="1172399"/>
                  <a:pt x="6125210" y="1171129"/>
                  <a:pt x="6119495" y="1182559"/>
                </a:cubicBezTo>
                <a:cubicBezTo>
                  <a:pt x="6118860" y="1173034"/>
                  <a:pt x="6108065" y="1165413"/>
                  <a:pt x="6098540" y="1167319"/>
                </a:cubicBezTo>
                <a:cubicBezTo>
                  <a:pt x="6104890" y="1152713"/>
                  <a:pt x="6087110" y="1138109"/>
                  <a:pt x="6073775" y="1146999"/>
                </a:cubicBezTo>
                <a:cubicBezTo>
                  <a:pt x="6059805" y="1135569"/>
                  <a:pt x="6040755" y="1155888"/>
                  <a:pt x="6052820" y="1169224"/>
                </a:cubicBezTo>
                <a:cubicBezTo>
                  <a:pt x="6052185" y="1168588"/>
                  <a:pt x="6050915" y="1169224"/>
                  <a:pt x="6049645" y="1169859"/>
                </a:cubicBezTo>
                <a:close/>
                <a:moveTo>
                  <a:pt x="6279515" y="1267649"/>
                </a:moveTo>
                <a:cubicBezTo>
                  <a:pt x="6278880" y="1268919"/>
                  <a:pt x="6278880" y="1270824"/>
                  <a:pt x="6278245" y="1272094"/>
                </a:cubicBezTo>
                <a:cubicBezTo>
                  <a:pt x="6273800" y="1277174"/>
                  <a:pt x="6273800" y="1284794"/>
                  <a:pt x="6276340" y="1289874"/>
                </a:cubicBezTo>
                <a:cubicBezTo>
                  <a:pt x="6272530" y="1305113"/>
                  <a:pt x="6296660" y="1311463"/>
                  <a:pt x="6300470" y="1296224"/>
                </a:cubicBezTo>
                <a:cubicBezTo>
                  <a:pt x="6308090" y="1291779"/>
                  <a:pt x="6309995" y="1280984"/>
                  <a:pt x="6305550" y="1273999"/>
                </a:cubicBezTo>
                <a:cubicBezTo>
                  <a:pt x="6308090" y="1258759"/>
                  <a:pt x="6285230" y="1253044"/>
                  <a:pt x="6279515" y="1267649"/>
                </a:cubicBezTo>
                <a:close/>
                <a:moveTo>
                  <a:pt x="6260465" y="1269554"/>
                </a:moveTo>
                <a:cubicBezTo>
                  <a:pt x="6278245" y="1279079"/>
                  <a:pt x="6292850" y="1250504"/>
                  <a:pt x="6274435" y="1241613"/>
                </a:cubicBezTo>
                <a:cubicBezTo>
                  <a:pt x="6256655" y="1232724"/>
                  <a:pt x="6242050" y="1260663"/>
                  <a:pt x="6260465" y="1269554"/>
                </a:cubicBezTo>
                <a:close/>
                <a:moveTo>
                  <a:pt x="6492875" y="1740088"/>
                </a:moveTo>
                <a:cubicBezTo>
                  <a:pt x="6512560" y="1740724"/>
                  <a:pt x="6523356" y="1714054"/>
                  <a:pt x="6508115" y="1700719"/>
                </a:cubicBezTo>
                <a:cubicBezTo>
                  <a:pt x="6476365" y="1674049"/>
                  <a:pt x="6451600" y="1738184"/>
                  <a:pt x="6492875" y="1740088"/>
                </a:cubicBezTo>
                <a:close/>
                <a:moveTo>
                  <a:pt x="6313805" y="1461324"/>
                </a:moveTo>
                <a:cubicBezTo>
                  <a:pt x="6285230" y="1508949"/>
                  <a:pt x="6378575" y="1502599"/>
                  <a:pt x="6343650" y="1459419"/>
                </a:cubicBezTo>
                <a:cubicBezTo>
                  <a:pt x="6343650" y="1459419"/>
                  <a:pt x="6343650" y="1459419"/>
                  <a:pt x="6343650" y="1459419"/>
                </a:cubicBezTo>
                <a:cubicBezTo>
                  <a:pt x="6334760" y="1451163"/>
                  <a:pt x="6321425" y="1452434"/>
                  <a:pt x="6313805" y="1461324"/>
                </a:cubicBezTo>
                <a:close/>
                <a:moveTo>
                  <a:pt x="6298565" y="1322259"/>
                </a:moveTo>
                <a:cubicBezTo>
                  <a:pt x="6284595" y="1341309"/>
                  <a:pt x="6314440" y="1363534"/>
                  <a:pt x="6328410" y="1343849"/>
                </a:cubicBezTo>
                <a:cubicBezTo>
                  <a:pt x="6342380" y="1324799"/>
                  <a:pt x="6311900" y="1302574"/>
                  <a:pt x="6298565" y="1322259"/>
                </a:cubicBezTo>
                <a:close/>
                <a:moveTo>
                  <a:pt x="6326505" y="1303844"/>
                </a:moveTo>
                <a:cubicBezTo>
                  <a:pt x="6331585" y="1306384"/>
                  <a:pt x="6337300" y="1306384"/>
                  <a:pt x="6341745" y="1303209"/>
                </a:cubicBezTo>
                <a:cubicBezTo>
                  <a:pt x="6334125" y="1308288"/>
                  <a:pt x="6334760" y="1320988"/>
                  <a:pt x="6343015" y="1324799"/>
                </a:cubicBezTo>
                <a:cubicBezTo>
                  <a:pt x="6346825" y="1362263"/>
                  <a:pt x="6399530" y="1327974"/>
                  <a:pt x="6366510" y="1309559"/>
                </a:cubicBezTo>
                <a:cubicBezTo>
                  <a:pt x="6376670" y="1298129"/>
                  <a:pt x="6362065" y="1280349"/>
                  <a:pt x="6349365" y="1287969"/>
                </a:cubicBezTo>
                <a:cubicBezTo>
                  <a:pt x="6343015" y="1257488"/>
                  <a:pt x="6299835" y="1287334"/>
                  <a:pt x="6326505" y="1303844"/>
                </a:cubicBezTo>
                <a:close/>
                <a:moveTo>
                  <a:pt x="6341745" y="1303844"/>
                </a:moveTo>
                <a:cubicBezTo>
                  <a:pt x="6341745" y="1303844"/>
                  <a:pt x="6341745" y="1303844"/>
                  <a:pt x="6341745" y="1303844"/>
                </a:cubicBezTo>
                <a:cubicBezTo>
                  <a:pt x="6341745" y="1303844"/>
                  <a:pt x="6341745" y="1303844"/>
                  <a:pt x="6341745" y="1303844"/>
                </a:cubicBezTo>
                <a:cubicBezTo>
                  <a:pt x="6341745" y="1303844"/>
                  <a:pt x="6341745" y="1303844"/>
                  <a:pt x="6341745" y="1303844"/>
                </a:cubicBezTo>
                <a:close/>
                <a:moveTo>
                  <a:pt x="6287135" y="1341944"/>
                </a:moveTo>
                <a:cubicBezTo>
                  <a:pt x="6267450" y="1325434"/>
                  <a:pt x="6242050" y="1357184"/>
                  <a:pt x="6262370" y="1373059"/>
                </a:cubicBezTo>
                <a:cubicBezTo>
                  <a:pt x="6282690" y="1388934"/>
                  <a:pt x="6307455" y="1357819"/>
                  <a:pt x="6287135" y="1341944"/>
                </a:cubicBezTo>
                <a:close/>
                <a:moveTo>
                  <a:pt x="6242685" y="1427034"/>
                </a:moveTo>
                <a:cubicBezTo>
                  <a:pt x="6263005" y="1445449"/>
                  <a:pt x="6291580" y="1413063"/>
                  <a:pt x="6270625" y="1395284"/>
                </a:cubicBezTo>
                <a:cubicBezTo>
                  <a:pt x="6250305" y="1376869"/>
                  <a:pt x="6221730" y="1409254"/>
                  <a:pt x="6242685" y="1427034"/>
                </a:cubicBezTo>
                <a:close/>
                <a:moveTo>
                  <a:pt x="6574156" y="1570544"/>
                </a:moveTo>
                <a:cubicBezTo>
                  <a:pt x="6554470" y="1554669"/>
                  <a:pt x="6529070" y="1585784"/>
                  <a:pt x="6550025" y="1601659"/>
                </a:cubicBezTo>
                <a:cubicBezTo>
                  <a:pt x="6569710" y="1618169"/>
                  <a:pt x="6594475" y="1586419"/>
                  <a:pt x="6574156" y="1570544"/>
                </a:cubicBezTo>
                <a:close/>
                <a:moveTo>
                  <a:pt x="6614795" y="1493074"/>
                </a:moveTo>
                <a:cubicBezTo>
                  <a:pt x="6602731" y="1511488"/>
                  <a:pt x="6631306" y="1529904"/>
                  <a:pt x="6643370" y="1511488"/>
                </a:cubicBezTo>
                <a:cubicBezTo>
                  <a:pt x="6655435" y="1493074"/>
                  <a:pt x="6626225" y="1474024"/>
                  <a:pt x="6614795" y="1493074"/>
                </a:cubicBezTo>
                <a:close/>
                <a:moveTo>
                  <a:pt x="6580506" y="1418144"/>
                </a:moveTo>
                <a:cubicBezTo>
                  <a:pt x="6583681" y="1419413"/>
                  <a:pt x="6587490" y="1419413"/>
                  <a:pt x="6590031" y="1418144"/>
                </a:cubicBezTo>
                <a:cubicBezTo>
                  <a:pt x="6590031" y="1420049"/>
                  <a:pt x="6590031" y="1421954"/>
                  <a:pt x="6590031" y="1423224"/>
                </a:cubicBezTo>
                <a:cubicBezTo>
                  <a:pt x="6549390" y="1439099"/>
                  <a:pt x="6612890" y="1476563"/>
                  <a:pt x="6607175" y="1433384"/>
                </a:cubicBezTo>
                <a:cubicBezTo>
                  <a:pt x="6626860" y="1428304"/>
                  <a:pt x="6615431" y="1397824"/>
                  <a:pt x="6597015" y="1407349"/>
                </a:cubicBezTo>
                <a:cubicBezTo>
                  <a:pt x="6597015" y="1378138"/>
                  <a:pt x="6555106" y="1403538"/>
                  <a:pt x="6580506" y="1418144"/>
                </a:cubicBezTo>
                <a:close/>
                <a:moveTo>
                  <a:pt x="6639560" y="1442274"/>
                </a:moveTo>
                <a:cubicBezTo>
                  <a:pt x="6654800" y="1449259"/>
                  <a:pt x="6664960" y="1425129"/>
                  <a:pt x="6649085" y="1418779"/>
                </a:cubicBezTo>
                <a:cubicBezTo>
                  <a:pt x="6634481" y="1412429"/>
                  <a:pt x="6624320" y="1435924"/>
                  <a:pt x="6639560" y="1442274"/>
                </a:cubicBezTo>
                <a:close/>
                <a:moveTo>
                  <a:pt x="6547485" y="1448624"/>
                </a:moveTo>
                <a:cubicBezTo>
                  <a:pt x="6535420" y="1467038"/>
                  <a:pt x="6563995" y="1485454"/>
                  <a:pt x="6576060" y="1467038"/>
                </a:cubicBezTo>
                <a:cubicBezTo>
                  <a:pt x="6588125" y="1449259"/>
                  <a:pt x="6558915" y="1430209"/>
                  <a:pt x="6547485" y="1448624"/>
                </a:cubicBezTo>
                <a:close/>
                <a:moveTo>
                  <a:pt x="6569075" y="1809304"/>
                </a:moveTo>
                <a:cubicBezTo>
                  <a:pt x="6588760" y="1809938"/>
                  <a:pt x="6599556" y="1782634"/>
                  <a:pt x="6584315" y="1769934"/>
                </a:cubicBezTo>
                <a:cubicBezTo>
                  <a:pt x="6551931" y="1743899"/>
                  <a:pt x="6527800" y="1807399"/>
                  <a:pt x="6569075" y="1809304"/>
                </a:cubicBezTo>
                <a:close/>
                <a:moveTo>
                  <a:pt x="6653531" y="1444813"/>
                </a:moveTo>
                <a:cubicBezTo>
                  <a:pt x="6650990" y="1449894"/>
                  <a:pt x="6651625" y="1456244"/>
                  <a:pt x="6655435" y="1460688"/>
                </a:cubicBezTo>
                <a:cubicBezTo>
                  <a:pt x="6609081" y="1484184"/>
                  <a:pt x="6693535" y="1510854"/>
                  <a:pt x="6668770" y="1465134"/>
                </a:cubicBezTo>
                <a:cubicBezTo>
                  <a:pt x="6695440" y="1457513"/>
                  <a:pt x="6667500" y="1421319"/>
                  <a:pt x="6653531" y="1444813"/>
                </a:cubicBezTo>
                <a:close/>
                <a:moveTo>
                  <a:pt x="6646545" y="1627059"/>
                </a:moveTo>
                <a:cubicBezTo>
                  <a:pt x="6626225" y="1611184"/>
                  <a:pt x="6602095" y="1642934"/>
                  <a:pt x="6622415" y="1658174"/>
                </a:cubicBezTo>
                <a:cubicBezTo>
                  <a:pt x="6642100" y="1674684"/>
                  <a:pt x="6666865" y="1642299"/>
                  <a:pt x="6646545" y="1627059"/>
                </a:cubicBezTo>
                <a:close/>
                <a:moveTo>
                  <a:pt x="6629400" y="1840419"/>
                </a:moveTo>
                <a:cubicBezTo>
                  <a:pt x="6609715" y="1862009"/>
                  <a:pt x="6644006" y="1892488"/>
                  <a:pt x="6663056" y="1870263"/>
                </a:cubicBezTo>
                <a:cubicBezTo>
                  <a:pt x="6682740" y="1848674"/>
                  <a:pt x="6648450" y="1818194"/>
                  <a:pt x="6629400" y="1840419"/>
                </a:cubicBezTo>
                <a:close/>
                <a:moveTo>
                  <a:pt x="6677025" y="1595944"/>
                </a:moveTo>
                <a:cubicBezTo>
                  <a:pt x="6690995" y="1576894"/>
                  <a:pt x="6660515" y="1555304"/>
                  <a:pt x="6647181" y="1574988"/>
                </a:cubicBezTo>
                <a:cubicBezTo>
                  <a:pt x="6633210" y="1594038"/>
                  <a:pt x="6663690" y="1615629"/>
                  <a:pt x="6677025" y="1595944"/>
                </a:cubicBezTo>
                <a:close/>
                <a:moveTo>
                  <a:pt x="6419215" y="1552763"/>
                </a:moveTo>
                <a:cubicBezTo>
                  <a:pt x="6437630" y="1532444"/>
                  <a:pt x="6404610" y="1503869"/>
                  <a:pt x="6387465" y="1524824"/>
                </a:cubicBezTo>
                <a:cubicBezTo>
                  <a:pt x="6369050" y="1545144"/>
                  <a:pt x="6401435" y="1573719"/>
                  <a:pt x="6419215" y="1552763"/>
                </a:cubicBezTo>
                <a:close/>
                <a:moveTo>
                  <a:pt x="6405880" y="1487359"/>
                </a:moveTo>
                <a:cubicBezTo>
                  <a:pt x="6425565" y="1503869"/>
                  <a:pt x="6450965" y="1472119"/>
                  <a:pt x="6430645" y="1456244"/>
                </a:cubicBezTo>
                <a:cubicBezTo>
                  <a:pt x="6410960" y="1440369"/>
                  <a:pt x="6385560" y="1472119"/>
                  <a:pt x="6405880" y="1487359"/>
                </a:cubicBezTo>
                <a:close/>
                <a:moveTo>
                  <a:pt x="6417310" y="1670238"/>
                </a:moveTo>
                <a:cubicBezTo>
                  <a:pt x="6436995" y="1670874"/>
                  <a:pt x="6447790" y="1644204"/>
                  <a:pt x="6432550" y="1630869"/>
                </a:cubicBezTo>
                <a:cubicBezTo>
                  <a:pt x="6400800" y="1604199"/>
                  <a:pt x="6376035" y="1668334"/>
                  <a:pt x="6417310" y="1670238"/>
                </a:cubicBezTo>
                <a:close/>
                <a:moveTo>
                  <a:pt x="6467475" y="1445449"/>
                </a:moveTo>
                <a:cubicBezTo>
                  <a:pt x="6481445" y="1426399"/>
                  <a:pt x="6451600" y="1404174"/>
                  <a:pt x="6437630" y="1423859"/>
                </a:cubicBezTo>
                <a:cubicBezTo>
                  <a:pt x="6423025" y="1442909"/>
                  <a:pt x="6453505" y="1464499"/>
                  <a:pt x="6467475" y="1445449"/>
                </a:cubicBezTo>
                <a:close/>
                <a:moveTo>
                  <a:pt x="6564631" y="1649919"/>
                </a:moveTo>
                <a:cubicBezTo>
                  <a:pt x="6543675" y="1631504"/>
                  <a:pt x="6515735" y="1664524"/>
                  <a:pt x="6537325" y="1682304"/>
                </a:cubicBezTo>
                <a:cubicBezTo>
                  <a:pt x="6557645" y="1700084"/>
                  <a:pt x="6585585" y="1667063"/>
                  <a:pt x="6564631" y="1649919"/>
                </a:cubicBezTo>
                <a:close/>
                <a:moveTo>
                  <a:pt x="6492875" y="1616263"/>
                </a:moveTo>
                <a:cubicBezTo>
                  <a:pt x="6511290" y="1595944"/>
                  <a:pt x="6478270" y="1567369"/>
                  <a:pt x="6460490" y="1588959"/>
                </a:cubicBezTo>
                <a:cubicBezTo>
                  <a:pt x="6442710" y="1609279"/>
                  <a:pt x="6475095" y="1637219"/>
                  <a:pt x="6492875" y="1616263"/>
                </a:cubicBezTo>
                <a:close/>
                <a:moveTo>
                  <a:pt x="6480175" y="1404809"/>
                </a:moveTo>
                <a:cubicBezTo>
                  <a:pt x="6468110" y="1423224"/>
                  <a:pt x="6496685" y="1441638"/>
                  <a:pt x="6508750" y="1423224"/>
                </a:cubicBezTo>
                <a:cubicBezTo>
                  <a:pt x="6520815" y="1404809"/>
                  <a:pt x="6491605" y="1386394"/>
                  <a:pt x="6480175" y="1404809"/>
                </a:cubicBezTo>
                <a:close/>
                <a:moveTo>
                  <a:pt x="6167120" y="1333054"/>
                </a:moveTo>
                <a:cubicBezTo>
                  <a:pt x="6148705" y="1353374"/>
                  <a:pt x="6181090" y="1381949"/>
                  <a:pt x="6198870" y="1360994"/>
                </a:cubicBezTo>
                <a:cubicBezTo>
                  <a:pt x="6217920" y="1340674"/>
                  <a:pt x="6184900" y="1312099"/>
                  <a:pt x="6167120" y="1333054"/>
                </a:cubicBezTo>
                <a:close/>
                <a:moveTo>
                  <a:pt x="6521450" y="1413699"/>
                </a:moveTo>
                <a:cubicBezTo>
                  <a:pt x="6530340" y="1419413"/>
                  <a:pt x="6543675" y="1413063"/>
                  <a:pt x="6544945" y="1402269"/>
                </a:cubicBezTo>
                <a:cubicBezTo>
                  <a:pt x="6565900" y="1399729"/>
                  <a:pt x="6557010" y="1367344"/>
                  <a:pt x="6537960" y="1375599"/>
                </a:cubicBezTo>
                <a:cubicBezTo>
                  <a:pt x="6528435" y="1360359"/>
                  <a:pt x="6505575" y="1377504"/>
                  <a:pt x="6517640" y="1390838"/>
                </a:cubicBezTo>
                <a:cubicBezTo>
                  <a:pt x="6511290" y="1397824"/>
                  <a:pt x="6513195" y="1409254"/>
                  <a:pt x="6521450" y="1413699"/>
                </a:cubicBezTo>
                <a:close/>
                <a:moveTo>
                  <a:pt x="5005705" y="532954"/>
                </a:moveTo>
                <a:cubicBezTo>
                  <a:pt x="5010785" y="535494"/>
                  <a:pt x="5015865" y="536763"/>
                  <a:pt x="5020945" y="536129"/>
                </a:cubicBezTo>
                <a:cubicBezTo>
                  <a:pt x="5027295" y="541209"/>
                  <a:pt x="5034915" y="542479"/>
                  <a:pt x="5042535" y="541209"/>
                </a:cubicBezTo>
                <a:cubicBezTo>
                  <a:pt x="5029835" y="550734"/>
                  <a:pt x="5031740" y="572324"/>
                  <a:pt x="5046345" y="579309"/>
                </a:cubicBezTo>
                <a:cubicBezTo>
                  <a:pt x="4991100" y="625663"/>
                  <a:pt x="5114290" y="632649"/>
                  <a:pt x="5064125" y="580579"/>
                </a:cubicBezTo>
                <a:cubicBezTo>
                  <a:pt x="5090160" y="571688"/>
                  <a:pt x="5078095" y="531049"/>
                  <a:pt x="5051425" y="537399"/>
                </a:cubicBezTo>
                <a:cubicBezTo>
                  <a:pt x="5074285" y="522158"/>
                  <a:pt x="5055870" y="484694"/>
                  <a:pt x="5029835" y="492313"/>
                </a:cubicBezTo>
                <a:cubicBezTo>
                  <a:pt x="5003165" y="475169"/>
                  <a:pt x="4978400" y="517713"/>
                  <a:pt x="5005705" y="532954"/>
                </a:cubicBezTo>
                <a:close/>
                <a:moveTo>
                  <a:pt x="4829810" y="618044"/>
                </a:moveTo>
                <a:cubicBezTo>
                  <a:pt x="4853305" y="618679"/>
                  <a:pt x="4856480" y="582484"/>
                  <a:pt x="4833620" y="578674"/>
                </a:cubicBezTo>
                <a:cubicBezTo>
                  <a:pt x="4808220" y="573594"/>
                  <a:pt x="4801235" y="613599"/>
                  <a:pt x="4826635" y="617409"/>
                </a:cubicBezTo>
                <a:lnTo>
                  <a:pt x="4826635" y="617409"/>
                </a:lnTo>
                <a:cubicBezTo>
                  <a:pt x="4827270" y="618044"/>
                  <a:pt x="4828540" y="618044"/>
                  <a:pt x="4829810" y="618044"/>
                </a:cubicBezTo>
                <a:close/>
                <a:moveTo>
                  <a:pt x="4923790" y="597724"/>
                </a:moveTo>
                <a:cubicBezTo>
                  <a:pt x="4899025" y="591374"/>
                  <a:pt x="4890135" y="630744"/>
                  <a:pt x="4914900" y="636459"/>
                </a:cubicBezTo>
                <a:cubicBezTo>
                  <a:pt x="4939665" y="642174"/>
                  <a:pt x="4949190" y="603438"/>
                  <a:pt x="4923790" y="597724"/>
                </a:cubicBezTo>
                <a:close/>
                <a:moveTo>
                  <a:pt x="4648200" y="411669"/>
                </a:moveTo>
                <a:cubicBezTo>
                  <a:pt x="4640580" y="440244"/>
                  <a:pt x="4685665" y="451038"/>
                  <a:pt x="4692015" y="422463"/>
                </a:cubicBezTo>
                <a:cubicBezTo>
                  <a:pt x="4699000" y="393888"/>
                  <a:pt x="4654550" y="383094"/>
                  <a:pt x="4648200" y="411669"/>
                </a:cubicBezTo>
                <a:close/>
                <a:moveTo>
                  <a:pt x="4831715" y="694879"/>
                </a:moveTo>
                <a:cubicBezTo>
                  <a:pt x="4855210" y="698688"/>
                  <a:pt x="4860290" y="661224"/>
                  <a:pt x="4836795" y="658684"/>
                </a:cubicBezTo>
                <a:cubicBezTo>
                  <a:pt x="4813300" y="654874"/>
                  <a:pt x="4808220" y="692338"/>
                  <a:pt x="4831715" y="694879"/>
                </a:cubicBezTo>
                <a:close/>
                <a:moveTo>
                  <a:pt x="4911090" y="481519"/>
                </a:moveTo>
                <a:cubicBezTo>
                  <a:pt x="4919980" y="486599"/>
                  <a:pt x="4932045" y="484694"/>
                  <a:pt x="4939030" y="477074"/>
                </a:cubicBezTo>
                <a:cubicBezTo>
                  <a:pt x="4991735" y="478344"/>
                  <a:pt x="4957445" y="397699"/>
                  <a:pt x="4921885" y="436433"/>
                </a:cubicBezTo>
                <a:cubicBezTo>
                  <a:pt x="4897755" y="435799"/>
                  <a:pt x="4888865" y="470724"/>
                  <a:pt x="4911090" y="481519"/>
                </a:cubicBezTo>
                <a:close/>
                <a:moveTo>
                  <a:pt x="5000625" y="723454"/>
                </a:moveTo>
                <a:cubicBezTo>
                  <a:pt x="5023485" y="728534"/>
                  <a:pt x="5031740" y="691704"/>
                  <a:pt x="5008245" y="687259"/>
                </a:cubicBezTo>
                <a:cubicBezTo>
                  <a:pt x="4984750" y="682813"/>
                  <a:pt x="4977130" y="719009"/>
                  <a:pt x="5000625" y="723454"/>
                </a:cubicBezTo>
                <a:close/>
                <a:moveTo>
                  <a:pt x="4941570" y="506919"/>
                </a:moveTo>
                <a:cubicBezTo>
                  <a:pt x="4929505" y="533588"/>
                  <a:pt x="4971415" y="552004"/>
                  <a:pt x="4982845" y="524699"/>
                </a:cubicBezTo>
                <a:cubicBezTo>
                  <a:pt x="4994910" y="498029"/>
                  <a:pt x="4952365" y="479613"/>
                  <a:pt x="4941570" y="506919"/>
                </a:cubicBezTo>
                <a:close/>
                <a:moveTo>
                  <a:pt x="5003165" y="658684"/>
                </a:moveTo>
                <a:cubicBezTo>
                  <a:pt x="5027295" y="665669"/>
                  <a:pt x="5038725" y="626934"/>
                  <a:pt x="5013325" y="620584"/>
                </a:cubicBezTo>
                <a:cubicBezTo>
                  <a:pt x="4989195" y="613599"/>
                  <a:pt x="4978400" y="652334"/>
                  <a:pt x="5003165" y="658684"/>
                </a:cubicBezTo>
                <a:close/>
                <a:moveTo>
                  <a:pt x="6147435" y="1255584"/>
                </a:moveTo>
                <a:cubicBezTo>
                  <a:pt x="6154420" y="1246694"/>
                  <a:pt x="6152515" y="1234629"/>
                  <a:pt x="6144260" y="1227644"/>
                </a:cubicBezTo>
                <a:cubicBezTo>
                  <a:pt x="6144260" y="1227644"/>
                  <a:pt x="6144260" y="1227644"/>
                  <a:pt x="6144260" y="1227644"/>
                </a:cubicBezTo>
                <a:cubicBezTo>
                  <a:pt x="6137275" y="1221929"/>
                  <a:pt x="6127115" y="1221929"/>
                  <a:pt x="6120765" y="1227644"/>
                </a:cubicBezTo>
                <a:cubicBezTo>
                  <a:pt x="6104890" y="1199069"/>
                  <a:pt x="6080125" y="1248599"/>
                  <a:pt x="6112510" y="1244154"/>
                </a:cubicBezTo>
                <a:cubicBezTo>
                  <a:pt x="6111875" y="1261299"/>
                  <a:pt x="6136640" y="1270188"/>
                  <a:pt x="6147435" y="1255584"/>
                </a:cubicBezTo>
                <a:close/>
                <a:moveTo>
                  <a:pt x="4863465" y="557084"/>
                </a:moveTo>
                <a:cubicBezTo>
                  <a:pt x="4889500" y="564704"/>
                  <a:pt x="4901565" y="523429"/>
                  <a:pt x="4874895" y="516444"/>
                </a:cubicBezTo>
                <a:cubicBezTo>
                  <a:pt x="4848225" y="508824"/>
                  <a:pt x="4836795" y="550099"/>
                  <a:pt x="4863465" y="557084"/>
                </a:cubicBezTo>
                <a:close/>
                <a:moveTo>
                  <a:pt x="4658360" y="491044"/>
                </a:moveTo>
                <a:cubicBezTo>
                  <a:pt x="4653280" y="517713"/>
                  <a:pt x="4695825" y="525334"/>
                  <a:pt x="4700270" y="498029"/>
                </a:cubicBezTo>
                <a:cubicBezTo>
                  <a:pt x="4704715" y="470724"/>
                  <a:pt x="4662170" y="463738"/>
                  <a:pt x="4658360" y="491044"/>
                </a:cubicBezTo>
                <a:close/>
                <a:moveTo>
                  <a:pt x="4715510" y="393254"/>
                </a:moveTo>
                <a:cubicBezTo>
                  <a:pt x="4733925" y="401508"/>
                  <a:pt x="4754880" y="379919"/>
                  <a:pt x="4745990" y="361504"/>
                </a:cubicBezTo>
                <a:cubicBezTo>
                  <a:pt x="4819015" y="337374"/>
                  <a:pt x="4705985" y="271333"/>
                  <a:pt x="4721225" y="346899"/>
                </a:cubicBezTo>
                <a:cubicBezTo>
                  <a:pt x="4697730" y="348804"/>
                  <a:pt x="4692015" y="385633"/>
                  <a:pt x="4715510" y="393254"/>
                </a:cubicBezTo>
                <a:close/>
                <a:moveTo>
                  <a:pt x="4845685" y="469454"/>
                </a:moveTo>
                <a:cubicBezTo>
                  <a:pt x="4834890" y="496758"/>
                  <a:pt x="4878070" y="512633"/>
                  <a:pt x="4888230" y="485329"/>
                </a:cubicBezTo>
                <a:cubicBezTo>
                  <a:pt x="4898390" y="458024"/>
                  <a:pt x="4855210" y="442149"/>
                  <a:pt x="4845685" y="469454"/>
                </a:cubicBezTo>
                <a:close/>
                <a:moveTo>
                  <a:pt x="4747260" y="437704"/>
                </a:moveTo>
                <a:cubicBezTo>
                  <a:pt x="4738370" y="465644"/>
                  <a:pt x="4782185" y="478979"/>
                  <a:pt x="4790440" y="451038"/>
                </a:cubicBezTo>
                <a:cubicBezTo>
                  <a:pt x="4799965" y="423099"/>
                  <a:pt x="4755515" y="409129"/>
                  <a:pt x="4747260" y="437704"/>
                </a:cubicBezTo>
                <a:close/>
                <a:moveTo>
                  <a:pt x="4649470" y="553909"/>
                </a:moveTo>
                <a:cubicBezTo>
                  <a:pt x="4624070" y="551369"/>
                  <a:pt x="4620260" y="591374"/>
                  <a:pt x="4645660" y="593279"/>
                </a:cubicBezTo>
                <a:cubicBezTo>
                  <a:pt x="4671695" y="595819"/>
                  <a:pt x="4675505" y="555813"/>
                  <a:pt x="4649470" y="553909"/>
                </a:cubicBezTo>
                <a:close/>
                <a:moveTo>
                  <a:pt x="4814570" y="434529"/>
                </a:moveTo>
                <a:cubicBezTo>
                  <a:pt x="4827905" y="440879"/>
                  <a:pt x="4845685" y="431988"/>
                  <a:pt x="4848225" y="416749"/>
                </a:cubicBezTo>
                <a:cubicBezTo>
                  <a:pt x="4907280" y="400874"/>
                  <a:pt x="4832985" y="329754"/>
                  <a:pt x="4819650" y="389444"/>
                </a:cubicBezTo>
                <a:cubicBezTo>
                  <a:pt x="4797425" y="393254"/>
                  <a:pt x="4793615" y="426274"/>
                  <a:pt x="4814570" y="434529"/>
                </a:cubicBezTo>
                <a:close/>
                <a:moveTo>
                  <a:pt x="4779010" y="492313"/>
                </a:moveTo>
                <a:cubicBezTo>
                  <a:pt x="4749165" y="485963"/>
                  <a:pt x="4744085" y="534224"/>
                  <a:pt x="4774565" y="534224"/>
                </a:cubicBezTo>
                <a:cubicBezTo>
                  <a:pt x="4798695" y="534859"/>
                  <a:pt x="4803775" y="497394"/>
                  <a:pt x="4779010" y="492313"/>
                </a:cubicBezTo>
                <a:close/>
                <a:moveTo>
                  <a:pt x="4747260" y="685354"/>
                </a:moveTo>
                <a:cubicBezTo>
                  <a:pt x="4770755" y="687894"/>
                  <a:pt x="4774565" y="651063"/>
                  <a:pt x="4750435" y="648524"/>
                </a:cubicBezTo>
                <a:cubicBezTo>
                  <a:pt x="4726940" y="645984"/>
                  <a:pt x="4723765" y="683449"/>
                  <a:pt x="4747260" y="685354"/>
                </a:cubicBezTo>
                <a:close/>
                <a:moveTo>
                  <a:pt x="4968875" y="545019"/>
                </a:moveTo>
                <a:cubicBezTo>
                  <a:pt x="4942840" y="536129"/>
                  <a:pt x="4929505" y="576769"/>
                  <a:pt x="4955540" y="585024"/>
                </a:cubicBezTo>
                <a:cubicBezTo>
                  <a:pt x="4980940" y="594549"/>
                  <a:pt x="4994910" y="553274"/>
                  <a:pt x="4968875" y="545019"/>
                </a:cubicBezTo>
                <a:close/>
                <a:moveTo>
                  <a:pt x="5702300" y="1018094"/>
                </a:moveTo>
                <a:cubicBezTo>
                  <a:pt x="5678170" y="1018729"/>
                  <a:pt x="5671185" y="1054288"/>
                  <a:pt x="5693410" y="1063813"/>
                </a:cubicBezTo>
                <a:cubicBezTo>
                  <a:pt x="5691505" y="1087309"/>
                  <a:pt x="5729605" y="1080959"/>
                  <a:pt x="5720080" y="1059369"/>
                </a:cubicBezTo>
                <a:cubicBezTo>
                  <a:pt x="5726430" y="1053654"/>
                  <a:pt x="5728335" y="1045399"/>
                  <a:pt x="5727065" y="1037779"/>
                </a:cubicBezTo>
                <a:cubicBezTo>
                  <a:pt x="5749925" y="1050479"/>
                  <a:pt x="5772150" y="1016824"/>
                  <a:pt x="5751830" y="1000313"/>
                </a:cubicBezTo>
                <a:cubicBezTo>
                  <a:pt x="5748655" y="997774"/>
                  <a:pt x="5745480" y="996504"/>
                  <a:pt x="5741670" y="995869"/>
                </a:cubicBezTo>
                <a:cubicBezTo>
                  <a:pt x="5742305" y="995234"/>
                  <a:pt x="5742940" y="995234"/>
                  <a:pt x="5743575" y="994599"/>
                </a:cubicBezTo>
                <a:cubicBezTo>
                  <a:pt x="5780405" y="1020634"/>
                  <a:pt x="5788660" y="945704"/>
                  <a:pt x="5747385" y="962849"/>
                </a:cubicBezTo>
                <a:cubicBezTo>
                  <a:pt x="5738495" y="939988"/>
                  <a:pt x="5709285" y="952054"/>
                  <a:pt x="5710555" y="973644"/>
                </a:cubicBezTo>
                <a:cubicBezTo>
                  <a:pt x="5701030" y="981263"/>
                  <a:pt x="5702935" y="997774"/>
                  <a:pt x="5715000" y="1002219"/>
                </a:cubicBezTo>
                <a:lnTo>
                  <a:pt x="5715000" y="1002219"/>
                </a:lnTo>
                <a:cubicBezTo>
                  <a:pt x="5716905" y="1002854"/>
                  <a:pt x="5718810" y="1003488"/>
                  <a:pt x="5720715" y="1003488"/>
                </a:cubicBezTo>
                <a:cubicBezTo>
                  <a:pt x="5720080" y="1004124"/>
                  <a:pt x="5719445" y="1005394"/>
                  <a:pt x="5718810" y="1006029"/>
                </a:cubicBezTo>
                <a:cubicBezTo>
                  <a:pt x="5711190" y="1004759"/>
                  <a:pt x="5703570" y="1010474"/>
                  <a:pt x="5702300" y="1018094"/>
                </a:cubicBezTo>
                <a:close/>
                <a:moveTo>
                  <a:pt x="5913755" y="1172399"/>
                </a:moveTo>
                <a:cubicBezTo>
                  <a:pt x="5908675" y="1188274"/>
                  <a:pt x="5934075" y="1195259"/>
                  <a:pt x="5937885" y="1179384"/>
                </a:cubicBezTo>
                <a:cubicBezTo>
                  <a:pt x="5942965" y="1163509"/>
                  <a:pt x="5918200" y="1156524"/>
                  <a:pt x="5913755" y="1172399"/>
                </a:cubicBezTo>
                <a:close/>
                <a:moveTo>
                  <a:pt x="5773420" y="1040319"/>
                </a:moveTo>
                <a:cubicBezTo>
                  <a:pt x="5767070" y="1056829"/>
                  <a:pt x="5791200" y="1069529"/>
                  <a:pt x="5800725" y="1054288"/>
                </a:cubicBezTo>
                <a:cubicBezTo>
                  <a:pt x="5809615" y="1058099"/>
                  <a:pt x="5821045" y="1055559"/>
                  <a:pt x="5826760" y="1046669"/>
                </a:cubicBezTo>
                <a:cubicBezTo>
                  <a:pt x="5864225" y="1058734"/>
                  <a:pt x="5859145" y="993329"/>
                  <a:pt x="5824220" y="1011744"/>
                </a:cubicBezTo>
                <a:cubicBezTo>
                  <a:pt x="5829935" y="990154"/>
                  <a:pt x="5795645" y="979994"/>
                  <a:pt x="5789295" y="1001584"/>
                </a:cubicBezTo>
                <a:cubicBezTo>
                  <a:pt x="5777230" y="1005394"/>
                  <a:pt x="5774690" y="1023174"/>
                  <a:pt x="5784850" y="1030794"/>
                </a:cubicBezTo>
                <a:cubicBezTo>
                  <a:pt x="5779770" y="1032063"/>
                  <a:pt x="5775325" y="1035238"/>
                  <a:pt x="5773420" y="1040319"/>
                </a:cubicBezTo>
                <a:close/>
                <a:moveTo>
                  <a:pt x="5259070" y="753299"/>
                </a:moveTo>
                <a:cubicBezTo>
                  <a:pt x="5236210" y="745679"/>
                  <a:pt x="5225415" y="781874"/>
                  <a:pt x="5248275" y="788224"/>
                </a:cubicBezTo>
                <a:cubicBezTo>
                  <a:pt x="5270500" y="795844"/>
                  <a:pt x="5281930" y="759649"/>
                  <a:pt x="5259070" y="753299"/>
                </a:cubicBezTo>
                <a:close/>
                <a:moveTo>
                  <a:pt x="5250180" y="720279"/>
                </a:moveTo>
                <a:cubicBezTo>
                  <a:pt x="5241925" y="739329"/>
                  <a:pt x="5268595" y="757109"/>
                  <a:pt x="5282565" y="741234"/>
                </a:cubicBezTo>
                <a:cubicBezTo>
                  <a:pt x="5292090" y="759649"/>
                  <a:pt x="5321300" y="757744"/>
                  <a:pt x="5328285" y="738059"/>
                </a:cubicBezTo>
                <a:cubicBezTo>
                  <a:pt x="5358130" y="724724"/>
                  <a:pt x="5347970" y="674559"/>
                  <a:pt x="5313045" y="690434"/>
                </a:cubicBezTo>
                <a:cubicBezTo>
                  <a:pt x="5309870" y="645984"/>
                  <a:pt x="5242560" y="675194"/>
                  <a:pt x="5272405" y="708213"/>
                </a:cubicBezTo>
                <a:cubicBezTo>
                  <a:pt x="5263515" y="706309"/>
                  <a:pt x="5253990" y="710754"/>
                  <a:pt x="5250180" y="720279"/>
                </a:cubicBezTo>
                <a:close/>
                <a:moveTo>
                  <a:pt x="5283835" y="714563"/>
                </a:moveTo>
                <a:cubicBezTo>
                  <a:pt x="5283835" y="714563"/>
                  <a:pt x="5283835" y="714563"/>
                  <a:pt x="5283835" y="714563"/>
                </a:cubicBezTo>
                <a:cubicBezTo>
                  <a:pt x="5283835" y="714563"/>
                  <a:pt x="5283835" y="714563"/>
                  <a:pt x="5283835" y="714563"/>
                </a:cubicBezTo>
                <a:cubicBezTo>
                  <a:pt x="5283835" y="714563"/>
                  <a:pt x="5283835" y="714563"/>
                  <a:pt x="5283835" y="714563"/>
                </a:cubicBezTo>
                <a:close/>
                <a:moveTo>
                  <a:pt x="6687185" y="1559749"/>
                </a:moveTo>
                <a:cubicBezTo>
                  <a:pt x="6705600" y="1571813"/>
                  <a:pt x="6724015" y="1542604"/>
                  <a:pt x="6705600" y="1531174"/>
                </a:cubicBezTo>
                <a:cubicBezTo>
                  <a:pt x="6687185" y="1519109"/>
                  <a:pt x="6668770" y="1548319"/>
                  <a:pt x="6687185" y="1559749"/>
                </a:cubicBezTo>
                <a:close/>
                <a:moveTo>
                  <a:pt x="6094095" y="1268919"/>
                </a:moveTo>
                <a:cubicBezTo>
                  <a:pt x="6075680" y="1289238"/>
                  <a:pt x="6108065" y="1317813"/>
                  <a:pt x="6125845" y="1296859"/>
                </a:cubicBezTo>
                <a:cubicBezTo>
                  <a:pt x="6144260" y="1276538"/>
                  <a:pt x="6111875" y="1247963"/>
                  <a:pt x="6094095" y="1268919"/>
                </a:cubicBezTo>
                <a:close/>
                <a:moveTo>
                  <a:pt x="5969000" y="1120963"/>
                </a:moveTo>
                <a:cubicBezTo>
                  <a:pt x="5965825" y="1125409"/>
                  <a:pt x="5965190" y="1129854"/>
                  <a:pt x="5965190" y="1134934"/>
                </a:cubicBezTo>
                <a:cubicBezTo>
                  <a:pt x="5965190" y="1134934"/>
                  <a:pt x="5964555" y="1134934"/>
                  <a:pt x="5964555" y="1134934"/>
                </a:cubicBezTo>
                <a:cubicBezTo>
                  <a:pt x="5904230" y="1138744"/>
                  <a:pt x="5973445" y="1214309"/>
                  <a:pt x="5982335" y="1154619"/>
                </a:cubicBezTo>
                <a:cubicBezTo>
                  <a:pt x="5982970" y="1153984"/>
                  <a:pt x="5983605" y="1153349"/>
                  <a:pt x="5983605" y="1152079"/>
                </a:cubicBezTo>
                <a:cubicBezTo>
                  <a:pt x="5990590" y="1152713"/>
                  <a:pt x="5998210" y="1148904"/>
                  <a:pt x="6001385" y="1142554"/>
                </a:cubicBezTo>
                <a:cubicBezTo>
                  <a:pt x="6003925" y="1141919"/>
                  <a:pt x="6005830" y="1140649"/>
                  <a:pt x="6007100" y="1138744"/>
                </a:cubicBezTo>
                <a:cubicBezTo>
                  <a:pt x="6008370" y="1138744"/>
                  <a:pt x="6009005" y="1139379"/>
                  <a:pt x="6009640" y="1139379"/>
                </a:cubicBezTo>
                <a:cubicBezTo>
                  <a:pt x="6019800" y="1185099"/>
                  <a:pt x="6074410" y="1127313"/>
                  <a:pt x="6028055" y="1119694"/>
                </a:cubicBezTo>
                <a:cubicBezTo>
                  <a:pt x="6026150" y="1105088"/>
                  <a:pt x="6005195" y="1100644"/>
                  <a:pt x="5997575" y="1112709"/>
                </a:cubicBezTo>
                <a:cubicBezTo>
                  <a:pt x="5995035" y="1112709"/>
                  <a:pt x="5992495" y="1112709"/>
                  <a:pt x="5990590" y="1113344"/>
                </a:cubicBezTo>
                <a:cubicBezTo>
                  <a:pt x="5983605" y="1111438"/>
                  <a:pt x="5974715" y="1113979"/>
                  <a:pt x="5969000" y="1120963"/>
                </a:cubicBezTo>
                <a:close/>
                <a:moveTo>
                  <a:pt x="5852795" y="1057463"/>
                </a:moveTo>
                <a:cubicBezTo>
                  <a:pt x="5839460" y="1061909"/>
                  <a:pt x="5839460" y="1081594"/>
                  <a:pt x="5852795" y="1086674"/>
                </a:cubicBezTo>
                <a:lnTo>
                  <a:pt x="5852795" y="1086674"/>
                </a:lnTo>
                <a:cubicBezTo>
                  <a:pt x="5858510" y="1088579"/>
                  <a:pt x="5864860" y="1087309"/>
                  <a:pt x="5869305" y="1083499"/>
                </a:cubicBezTo>
                <a:cubicBezTo>
                  <a:pt x="5851525" y="1110804"/>
                  <a:pt x="5900420" y="1131759"/>
                  <a:pt x="5907405" y="1099374"/>
                </a:cubicBezTo>
                <a:cubicBezTo>
                  <a:pt x="5909310" y="1099374"/>
                  <a:pt x="5910580" y="1100009"/>
                  <a:pt x="5912485" y="1099374"/>
                </a:cubicBezTo>
                <a:cubicBezTo>
                  <a:pt x="5911215" y="1115884"/>
                  <a:pt x="5937250" y="1121599"/>
                  <a:pt x="5942330" y="1105088"/>
                </a:cubicBezTo>
                <a:cubicBezTo>
                  <a:pt x="5969000" y="1131759"/>
                  <a:pt x="5991225" y="1072704"/>
                  <a:pt x="5953760" y="1075244"/>
                </a:cubicBezTo>
                <a:cubicBezTo>
                  <a:pt x="5948045" y="1068259"/>
                  <a:pt x="5935980" y="1067624"/>
                  <a:pt x="5929630" y="1073974"/>
                </a:cubicBezTo>
                <a:cubicBezTo>
                  <a:pt x="5924550" y="1055559"/>
                  <a:pt x="5896610" y="1056194"/>
                  <a:pt x="5892165" y="1074609"/>
                </a:cubicBezTo>
                <a:cubicBezTo>
                  <a:pt x="5885180" y="1072704"/>
                  <a:pt x="5876925" y="1075244"/>
                  <a:pt x="5871845" y="1080324"/>
                </a:cubicBezTo>
                <a:cubicBezTo>
                  <a:pt x="5874385" y="1076513"/>
                  <a:pt x="5875020" y="1071434"/>
                  <a:pt x="5873750" y="1067624"/>
                </a:cubicBezTo>
                <a:cubicBezTo>
                  <a:pt x="5874385" y="1067624"/>
                  <a:pt x="5875020" y="1066988"/>
                  <a:pt x="5876290" y="1066354"/>
                </a:cubicBezTo>
                <a:cubicBezTo>
                  <a:pt x="5911850" y="1077784"/>
                  <a:pt x="5904865" y="1015554"/>
                  <a:pt x="5872480" y="1034604"/>
                </a:cubicBezTo>
                <a:cubicBezTo>
                  <a:pt x="5859145" y="1031429"/>
                  <a:pt x="5847080" y="1046034"/>
                  <a:pt x="5852795" y="1057463"/>
                </a:cubicBezTo>
                <a:close/>
                <a:moveTo>
                  <a:pt x="5097780" y="588834"/>
                </a:moveTo>
                <a:cubicBezTo>
                  <a:pt x="5099685" y="590104"/>
                  <a:pt x="5102225" y="590738"/>
                  <a:pt x="5104130" y="591374"/>
                </a:cubicBezTo>
                <a:cubicBezTo>
                  <a:pt x="5106670" y="600899"/>
                  <a:pt x="5116195" y="608519"/>
                  <a:pt x="5125720" y="609154"/>
                </a:cubicBezTo>
                <a:cubicBezTo>
                  <a:pt x="5126355" y="612963"/>
                  <a:pt x="5127625" y="616138"/>
                  <a:pt x="5130165" y="619313"/>
                </a:cubicBezTo>
                <a:cubicBezTo>
                  <a:pt x="5097145" y="659954"/>
                  <a:pt x="5184140" y="670749"/>
                  <a:pt x="5161915" y="623124"/>
                </a:cubicBezTo>
                <a:cubicBezTo>
                  <a:pt x="5176520" y="612329"/>
                  <a:pt x="5171440" y="587563"/>
                  <a:pt x="5153660" y="583754"/>
                </a:cubicBezTo>
                <a:cubicBezTo>
                  <a:pt x="5153660" y="572324"/>
                  <a:pt x="5144770" y="560894"/>
                  <a:pt x="5132705" y="558988"/>
                </a:cubicBezTo>
                <a:cubicBezTo>
                  <a:pt x="5114925" y="521524"/>
                  <a:pt x="5063490" y="565338"/>
                  <a:pt x="5097780" y="588834"/>
                </a:cubicBezTo>
                <a:close/>
                <a:moveTo>
                  <a:pt x="5106035" y="728534"/>
                </a:moveTo>
                <a:cubicBezTo>
                  <a:pt x="5111750" y="705674"/>
                  <a:pt x="5075555" y="696784"/>
                  <a:pt x="5070475" y="719644"/>
                </a:cubicBezTo>
                <a:cubicBezTo>
                  <a:pt x="5064125" y="743138"/>
                  <a:pt x="5100320" y="752029"/>
                  <a:pt x="5106035" y="728534"/>
                </a:cubicBezTo>
                <a:close/>
                <a:moveTo>
                  <a:pt x="5111115" y="779969"/>
                </a:moveTo>
                <a:cubicBezTo>
                  <a:pt x="5102225" y="778063"/>
                  <a:pt x="5092700" y="783779"/>
                  <a:pt x="5091430" y="793304"/>
                </a:cubicBezTo>
                <a:cubicBezTo>
                  <a:pt x="5090160" y="837754"/>
                  <a:pt x="5152390" y="795844"/>
                  <a:pt x="5111115" y="779969"/>
                </a:cubicBezTo>
                <a:close/>
                <a:moveTo>
                  <a:pt x="5090160" y="684084"/>
                </a:moveTo>
                <a:lnTo>
                  <a:pt x="5090160" y="684084"/>
                </a:lnTo>
                <a:cubicBezTo>
                  <a:pt x="5114290" y="692338"/>
                  <a:pt x="5126990" y="653604"/>
                  <a:pt x="5102225" y="646619"/>
                </a:cubicBezTo>
                <a:cubicBezTo>
                  <a:pt x="5078095" y="638363"/>
                  <a:pt x="5065395" y="677099"/>
                  <a:pt x="5090160" y="684084"/>
                </a:cubicBezTo>
                <a:close/>
                <a:moveTo>
                  <a:pt x="5182870" y="714563"/>
                </a:moveTo>
                <a:cubicBezTo>
                  <a:pt x="5204460" y="715199"/>
                  <a:pt x="5210175" y="682813"/>
                  <a:pt x="5189220" y="676463"/>
                </a:cubicBezTo>
                <a:cubicBezTo>
                  <a:pt x="5161280" y="666304"/>
                  <a:pt x="5153025" y="714563"/>
                  <a:pt x="5182870" y="714563"/>
                </a:cubicBezTo>
                <a:close/>
                <a:moveTo>
                  <a:pt x="5153660" y="741234"/>
                </a:moveTo>
                <a:cubicBezTo>
                  <a:pt x="5146675" y="764094"/>
                  <a:pt x="5182870" y="774254"/>
                  <a:pt x="5189220" y="750759"/>
                </a:cubicBezTo>
                <a:cubicBezTo>
                  <a:pt x="5195570" y="728534"/>
                  <a:pt x="5159375" y="718374"/>
                  <a:pt x="5153660" y="741234"/>
                </a:cubicBezTo>
                <a:close/>
                <a:moveTo>
                  <a:pt x="5187315" y="647888"/>
                </a:moveTo>
                <a:cubicBezTo>
                  <a:pt x="5189220" y="649159"/>
                  <a:pt x="5190490" y="649794"/>
                  <a:pt x="5192395" y="650429"/>
                </a:cubicBezTo>
                <a:cubicBezTo>
                  <a:pt x="5189855" y="663129"/>
                  <a:pt x="5198745" y="677099"/>
                  <a:pt x="5211445" y="679638"/>
                </a:cubicBezTo>
                <a:cubicBezTo>
                  <a:pt x="5216525" y="705674"/>
                  <a:pt x="5257800" y="698054"/>
                  <a:pt x="5252720" y="672019"/>
                </a:cubicBezTo>
                <a:cubicBezTo>
                  <a:pt x="5268595" y="656779"/>
                  <a:pt x="5252085" y="628204"/>
                  <a:pt x="5231130" y="634554"/>
                </a:cubicBezTo>
                <a:cubicBezTo>
                  <a:pt x="5229225" y="633284"/>
                  <a:pt x="5226685" y="632013"/>
                  <a:pt x="5224145" y="631379"/>
                </a:cubicBezTo>
                <a:cubicBezTo>
                  <a:pt x="5225415" y="579944"/>
                  <a:pt x="5147945" y="615504"/>
                  <a:pt x="5187315" y="647888"/>
                </a:cubicBezTo>
                <a:close/>
                <a:moveTo>
                  <a:pt x="5182870" y="829499"/>
                </a:moveTo>
                <a:cubicBezTo>
                  <a:pt x="5203825" y="834579"/>
                  <a:pt x="5212080" y="800924"/>
                  <a:pt x="5190490" y="796479"/>
                </a:cubicBezTo>
                <a:cubicBezTo>
                  <a:pt x="5168900" y="791399"/>
                  <a:pt x="5161280" y="825054"/>
                  <a:pt x="5182870" y="829499"/>
                </a:cubicBezTo>
                <a:close/>
                <a:moveTo>
                  <a:pt x="4922520" y="671384"/>
                </a:moveTo>
                <a:cubicBezTo>
                  <a:pt x="4899025" y="666938"/>
                  <a:pt x="4892675" y="703769"/>
                  <a:pt x="4916170" y="707579"/>
                </a:cubicBezTo>
                <a:cubicBezTo>
                  <a:pt x="4939665" y="712024"/>
                  <a:pt x="4946015" y="675194"/>
                  <a:pt x="4922520" y="671384"/>
                </a:cubicBezTo>
                <a:close/>
                <a:moveTo>
                  <a:pt x="7166610" y="1664524"/>
                </a:moveTo>
                <a:cubicBezTo>
                  <a:pt x="7181850" y="1670874"/>
                  <a:pt x="7191375" y="1646744"/>
                  <a:pt x="7175500" y="1641029"/>
                </a:cubicBezTo>
                <a:cubicBezTo>
                  <a:pt x="7160260" y="1634679"/>
                  <a:pt x="7150735" y="1658809"/>
                  <a:pt x="7166610" y="1664524"/>
                </a:cubicBezTo>
                <a:close/>
                <a:moveTo>
                  <a:pt x="7169150" y="1755963"/>
                </a:moveTo>
                <a:cubicBezTo>
                  <a:pt x="7159625" y="1773744"/>
                  <a:pt x="7188200" y="1788349"/>
                  <a:pt x="7197090" y="1769934"/>
                </a:cubicBezTo>
                <a:cubicBezTo>
                  <a:pt x="7206615" y="1752154"/>
                  <a:pt x="7178040" y="1737549"/>
                  <a:pt x="7169150" y="1755963"/>
                </a:cubicBezTo>
                <a:close/>
                <a:moveTo>
                  <a:pt x="7186295" y="1822638"/>
                </a:moveTo>
                <a:cubicBezTo>
                  <a:pt x="7167245" y="1811844"/>
                  <a:pt x="7150100" y="1841688"/>
                  <a:pt x="7169785" y="1851849"/>
                </a:cubicBezTo>
                <a:cubicBezTo>
                  <a:pt x="7188835" y="1862644"/>
                  <a:pt x="7205981" y="1832799"/>
                  <a:pt x="7186295" y="1822638"/>
                </a:cubicBezTo>
                <a:close/>
                <a:moveTo>
                  <a:pt x="7157720" y="1705799"/>
                </a:moveTo>
                <a:cubicBezTo>
                  <a:pt x="7174231" y="1713419"/>
                  <a:pt x="7186295" y="1687384"/>
                  <a:pt x="7169150" y="1679763"/>
                </a:cubicBezTo>
                <a:cubicBezTo>
                  <a:pt x="7152640" y="1672779"/>
                  <a:pt x="7140575" y="1698813"/>
                  <a:pt x="7157720" y="1705799"/>
                </a:cubicBezTo>
                <a:close/>
                <a:moveTo>
                  <a:pt x="7122795" y="1806129"/>
                </a:moveTo>
                <a:cubicBezTo>
                  <a:pt x="7134225" y="1787079"/>
                  <a:pt x="7104381" y="1769934"/>
                  <a:pt x="7093585" y="1788984"/>
                </a:cubicBezTo>
                <a:cubicBezTo>
                  <a:pt x="7082156" y="1808034"/>
                  <a:pt x="7112000" y="1825179"/>
                  <a:pt x="7122795" y="1806129"/>
                </a:cubicBezTo>
                <a:close/>
                <a:moveTo>
                  <a:pt x="7221220" y="2085529"/>
                </a:moveTo>
                <a:cubicBezTo>
                  <a:pt x="7242810" y="2099499"/>
                  <a:pt x="7264400" y="2065209"/>
                  <a:pt x="7242175" y="2051874"/>
                </a:cubicBezTo>
                <a:cubicBezTo>
                  <a:pt x="7221220" y="2038538"/>
                  <a:pt x="7199631" y="2072194"/>
                  <a:pt x="7221220" y="2085529"/>
                </a:cubicBezTo>
                <a:close/>
                <a:moveTo>
                  <a:pt x="7115175" y="2261424"/>
                </a:moveTo>
                <a:cubicBezTo>
                  <a:pt x="7138670" y="2278569"/>
                  <a:pt x="7165340" y="2241104"/>
                  <a:pt x="7141210" y="2224594"/>
                </a:cubicBezTo>
                <a:cubicBezTo>
                  <a:pt x="7117715" y="2207449"/>
                  <a:pt x="7091045" y="2244914"/>
                  <a:pt x="7115175" y="2261424"/>
                </a:cubicBezTo>
                <a:close/>
                <a:moveTo>
                  <a:pt x="7193915" y="2288729"/>
                </a:moveTo>
                <a:cubicBezTo>
                  <a:pt x="7169785" y="2342704"/>
                  <a:pt x="7268210" y="2323654"/>
                  <a:pt x="7225031" y="2282379"/>
                </a:cubicBezTo>
                <a:cubicBezTo>
                  <a:pt x="7225031" y="2282379"/>
                  <a:pt x="7225031" y="2282379"/>
                  <a:pt x="7225031" y="2282379"/>
                </a:cubicBezTo>
                <a:cubicBezTo>
                  <a:pt x="7214870" y="2276029"/>
                  <a:pt x="7200900" y="2278569"/>
                  <a:pt x="7193915" y="2288729"/>
                </a:cubicBezTo>
                <a:close/>
                <a:moveTo>
                  <a:pt x="7154545" y="1935669"/>
                </a:moveTo>
                <a:cubicBezTo>
                  <a:pt x="7174231" y="1948369"/>
                  <a:pt x="7193915" y="1916619"/>
                  <a:pt x="7173595" y="1904554"/>
                </a:cubicBezTo>
                <a:cubicBezTo>
                  <a:pt x="7153275" y="1891854"/>
                  <a:pt x="7133590" y="1923604"/>
                  <a:pt x="7154545" y="1935669"/>
                </a:cubicBezTo>
                <a:close/>
                <a:moveTo>
                  <a:pt x="7154545" y="2161094"/>
                </a:moveTo>
                <a:cubicBezTo>
                  <a:pt x="7176770" y="2176969"/>
                  <a:pt x="7201535" y="2141409"/>
                  <a:pt x="7178040" y="2126169"/>
                </a:cubicBezTo>
                <a:cubicBezTo>
                  <a:pt x="7155815" y="2110294"/>
                  <a:pt x="7131050" y="2146489"/>
                  <a:pt x="7154545" y="2161094"/>
                </a:cubicBezTo>
                <a:close/>
                <a:moveTo>
                  <a:pt x="6860540" y="1573719"/>
                </a:moveTo>
                <a:cubicBezTo>
                  <a:pt x="6852920" y="1569274"/>
                  <a:pt x="6843395" y="1572449"/>
                  <a:pt x="6839585" y="1579434"/>
                </a:cubicBezTo>
                <a:cubicBezTo>
                  <a:pt x="6826250" y="1618169"/>
                  <a:pt x="6892290" y="1599119"/>
                  <a:pt x="6860540" y="1573719"/>
                </a:cubicBezTo>
                <a:close/>
                <a:moveTo>
                  <a:pt x="6859270" y="1722944"/>
                </a:moveTo>
                <a:cubicBezTo>
                  <a:pt x="6845935" y="1742629"/>
                  <a:pt x="6876415" y="1763584"/>
                  <a:pt x="6889750" y="1743263"/>
                </a:cubicBezTo>
                <a:cubicBezTo>
                  <a:pt x="6903720" y="1724213"/>
                  <a:pt x="6872606" y="1703259"/>
                  <a:pt x="6859270" y="1722944"/>
                </a:cubicBezTo>
                <a:close/>
                <a:moveTo>
                  <a:pt x="6837681" y="1797874"/>
                </a:moveTo>
                <a:cubicBezTo>
                  <a:pt x="6814820" y="1844229"/>
                  <a:pt x="6901181" y="1830894"/>
                  <a:pt x="6865620" y="1793429"/>
                </a:cubicBezTo>
                <a:cubicBezTo>
                  <a:pt x="6865620" y="1793429"/>
                  <a:pt x="6865620" y="1793429"/>
                  <a:pt x="6865620" y="1793429"/>
                </a:cubicBezTo>
                <a:cubicBezTo>
                  <a:pt x="6856731" y="1787079"/>
                  <a:pt x="6844031" y="1788984"/>
                  <a:pt x="6837681" y="1797874"/>
                </a:cubicBezTo>
                <a:close/>
                <a:moveTo>
                  <a:pt x="6838950" y="1929954"/>
                </a:moveTo>
                <a:lnTo>
                  <a:pt x="6838950" y="1929954"/>
                </a:lnTo>
                <a:cubicBezTo>
                  <a:pt x="6860540" y="1947099"/>
                  <a:pt x="6887210" y="1913444"/>
                  <a:pt x="6864985" y="1896299"/>
                </a:cubicBezTo>
                <a:cubicBezTo>
                  <a:pt x="6844031" y="1879154"/>
                  <a:pt x="6817360" y="1913444"/>
                  <a:pt x="6838950" y="1929954"/>
                </a:cubicBezTo>
                <a:close/>
                <a:moveTo>
                  <a:pt x="7094856" y="1677224"/>
                </a:moveTo>
                <a:cubicBezTo>
                  <a:pt x="7111365" y="1684844"/>
                  <a:pt x="7123431" y="1658809"/>
                  <a:pt x="7106920" y="1651824"/>
                </a:cubicBezTo>
                <a:cubicBezTo>
                  <a:pt x="7089775" y="1643569"/>
                  <a:pt x="7077710" y="1669604"/>
                  <a:pt x="7094856" y="1677224"/>
                </a:cubicBezTo>
                <a:close/>
                <a:moveTo>
                  <a:pt x="7106920" y="1641029"/>
                </a:moveTo>
                <a:cubicBezTo>
                  <a:pt x="7122160" y="1647379"/>
                  <a:pt x="7131685" y="1623249"/>
                  <a:pt x="7116445" y="1617534"/>
                </a:cubicBezTo>
                <a:cubicBezTo>
                  <a:pt x="7101206" y="1611184"/>
                  <a:pt x="7091681" y="1635313"/>
                  <a:pt x="7106920" y="1641029"/>
                </a:cubicBezTo>
                <a:close/>
                <a:moveTo>
                  <a:pt x="7080885" y="1890584"/>
                </a:moveTo>
                <a:cubicBezTo>
                  <a:pt x="7100570" y="1903919"/>
                  <a:pt x="7120890" y="1872169"/>
                  <a:pt x="7100570" y="1859469"/>
                </a:cubicBezTo>
                <a:cubicBezTo>
                  <a:pt x="7080885" y="1846134"/>
                  <a:pt x="7060565" y="1877884"/>
                  <a:pt x="7080885" y="1890584"/>
                </a:cubicBezTo>
                <a:close/>
                <a:moveTo>
                  <a:pt x="7102475" y="1721674"/>
                </a:moveTo>
                <a:cubicBezTo>
                  <a:pt x="7092950" y="1739454"/>
                  <a:pt x="7120890" y="1754059"/>
                  <a:pt x="7129781" y="1735644"/>
                </a:cubicBezTo>
                <a:cubicBezTo>
                  <a:pt x="7139940" y="1718499"/>
                  <a:pt x="7112000" y="1703894"/>
                  <a:pt x="7102475" y="1721674"/>
                </a:cubicBezTo>
                <a:close/>
                <a:moveTo>
                  <a:pt x="7143750" y="2035999"/>
                </a:moveTo>
                <a:cubicBezTo>
                  <a:pt x="7164706" y="2050604"/>
                  <a:pt x="7186931" y="2016949"/>
                  <a:pt x="7165340" y="2002979"/>
                </a:cubicBezTo>
                <a:cubicBezTo>
                  <a:pt x="7144385" y="1988374"/>
                  <a:pt x="7122160" y="2022663"/>
                  <a:pt x="7143750" y="2035999"/>
                </a:cubicBezTo>
                <a:close/>
                <a:moveTo>
                  <a:pt x="7221856" y="1955354"/>
                </a:moveTo>
                <a:cubicBezTo>
                  <a:pt x="7209790" y="1975674"/>
                  <a:pt x="7241540" y="1994724"/>
                  <a:pt x="7253606" y="1973769"/>
                </a:cubicBezTo>
                <a:cubicBezTo>
                  <a:pt x="7265670" y="1953449"/>
                  <a:pt x="7233920" y="1934399"/>
                  <a:pt x="7221856" y="1955354"/>
                </a:cubicBezTo>
                <a:close/>
                <a:moveTo>
                  <a:pt x="7320915" y="1991549"/>
                </a:moveTo>
                <a:cubicBezTo>
                  <a:pt x="7300595" y="1979484"/>
                  <a:pt x="7282181" y="2011869"/>
                  <a:pt x="7303135" y="2023299"/>
                </a:cubicBezTo>
                <a:cubicBezTo>
                  <a:pt x="7323456" y="2035999"/>
                  <a:pt x="7341870" y="2003613"/>
                  <a:pt x="7320915" y="1991549"/>
                </a:cubicBezTo>
                <a:close/>
                <a:moveTo>
                  <a:pt x="7345045" y="1731199"/>
                </a:moveTo>
                <a:cubicBezTo>
                  <a:pt x="7360285" y="1736913"/>
                  <a:pt x="7369175" y="1712784"/>
                  <a:pt x="7353300" y="1707069"/>
                </a:cubicBezTo>
                <a:cubicBezTo>
                  <a:pt x="7338060" y="1701354"/>
                  <a:pt x="7329806" y="1726119"/>
                  <a:pt x="7345045" y="1731199"/>
                </a:cubicBezTo>
                <a:close/>
                <a:moveTo>
                  <a:pt x="7378700" y="2065844"/>
                </a:moveTo>
                <a:cubicBezTo>
                  <a:pt x="7399020" y="2077274"/>
                  <a:pt x="7417435" y="2044888"/>
                  <a:pt x="7396481" y="2033459"/>
                </a:cubicBezTo>
                <a:cubicBezTo>
                  <a:pt x="7375525" y="2022029"/>
                  <a:pt x="7357745" y="2054413"/>
                  <a:pt x="7378700" y="2065844"/>
                </a:cubicBezTo>
                <a:close/>
                <a:moveTo>
                  <a:pt x="7299960" y="2133789"/>
                </a:moveTo>
                <a:lnTo>
                  <a:pt x="7299960" y="2133789"/>
                </a:lnTo>
                <a:cubicBezTo>
                  <a:pt x="7309485" y="2139504"/>
                  <a:pt x="7321550" y="2136329"/>
                  <a:pt x="7327265" y="2126804"/>
                </a:cubicBezTo>
                <a:cubicBezTo>
                  <a:pt x="7345681" y="2078544"/>
                  <a:pt x="7260590" y="2100134"/>
                  <a:pt x="7299960" y="2133789"/>
                </a:cubicBezTo>
                <a:close/>
                <a:moveTo>
                  <a:pt x="7383781" y="1965513"/>
                </a:moveTo>
                <a:cubicBezTo>
                  <a:pt x="7402831" y="1975674"/>
                  <a:pt x="7418706" y="1945194"/>
                  <a:pt x="7399020" y="1935034"/>
                </a:cubicBezTo>
                <a:cubicBezTo>
                  <a:pt x="7379335" y="1925509"/>
                  <a:pt x="7364095" y="1955988"/>
                  <a:pt x="7383781" y="1965513"/>
                </a:cubicBezTo>
                <a:close/>
                <a:moveTo>
                  <a:pt x="7334885" y="1921699"/>
                </a:moveTo>
                <a:cubicBezTo>
                  <a:pt x="7345045" y="1902649"/>
                  <a:pt x="7314565" y="1886138"/>
                  <a:pt x="7305040" y="1905824"/>
                </a:cubicBezTo>
                <a:cubicBezTo>
                  <a:pt x="7294245" y="1925509"/>
                  <a:pt x="7324725" y="1941384"/>
                  <a:pt x="7334885" y="1921699"/>
                </a:cubicBezTo>
                <a:close/>
                <a:moveTo>
                  <a:pt x="7367270" y="2400489"/>
                </a:moveTo>
                <a:cubicBezTo>
                  <a:pt x="7352031" y="2425254"/>
                  <a:pt x="7391400" y="2448749"/>
                  <a:pt x="7406006" y="2423349"/>
                </a:cubicBezTo>
                <a:cubicBezTo>
                  <a:pt x="7421245" y="2398584"/>
                  <a:pt x="7381875" y="2375089"/>
                  <a:pt x="7367270" y="2400489"/>
                </a:cubicBezTo>
                <a:close/>
                <a:moveTo>
                  <a:pt x="7378700" y="1874709"/>
                </a:moveTo>
                <a:cubicBezTo>
                  <a:pt x="7396481" y="1883599"/>
                  <a:pt x="7410450" y="1854388"/>
                  <a:pt x="7391400" y="1846134"/>
                </a:cubicBezTo>
                <a:cubicBezTo>
                  <a:pt x="7373620" y="1837879"/>
                  <a:pt x="7360285" y="1866454"/>
                  <a:pt x="7378700" y="1874709"/>
                </a:cubicBezTo>
                <a:close/>
                <a:moveTo>
                  <a:pt x="7404735" y="1752788"/>
                </a:moveTo>
                <a:cubicBezTo>
                  <a:pt x="7419975" y="1758504"/>
                  <a:pt x="7428865" y="1734374"/>
                  <a:pt x="7412990" y="1728659"/>
                </a:cubicBezTo>
                <a:cubicBezTo>
                  <a:pt x="7397750" y="1722944"/>
                  <a:pt x="7389495" y="1747074"/>
                  <a:pt x="7404735" y="1752788"/>
                </a:cubicBezTo>
                <a:close/>
                <a:moveTo>
                  <a:pt x="1226820" y="2274124"/>
                </a:moveTo>
                <a:cubicBezTo>
                  <a:pt x="1200785" y="2284284"/>
                  <a:pt x="1217295" y="2324289"/>
                  <a:pt x="1242695" y="2313494"/>
                </a:cubicBezTo>
                <a:cubicBezTo>
                  <a:pt x="1268095" y="2303969"/>
                  <a:pt x="1252220" y="2263964"/>
                  <a:pt x="1226820" y="2274124"/>
                </a:cubicBezTo>
                <a:close/>
                <a:moveTo>
                  <a:pt x="7263765" y="1884234"/>
                </a:moveTo>
                <a:cubicBezTo>
                  <a:pt x="7274560" y="1865184"/>
                  <a:pt x="7244081" y="1848674"/>
                  <a:pt x="7233920" y="1868359"/>
                </a:cubicBezTo>
                <a:cubicBezTo>
                  <a:pt x="7223125" y="1886774"/>
                  <a:pt x="7253606" y="1903284"/>
                  <a:pt x="7263765" y="1884234"/>
                </a:cubicBezTo>
                <a:close/>
                <a:moveTo>
                  <a:pt x="7236460" y="1789619"/>
                </a:moveTo>
                <a:cubicBezTo>
                  <a:pt x="7227570" y="1807399"/>
                  <a:pt x="7255510" y="1821369"/>
                  <a:pt x="7264400" y="1803588"/>
                </a:cubicBezTo>
                <a:cubicBezTo>
                  <a:pt x="7273290" y="1785174"/>
                  <a:pt x="7244715" y="1771204"/>
                  <a:pt x="7236460" y="1789619"/>
                </a:cubicBezTo>
                <a:close/>
                <a:moveTo>
                  <a:pt x="7220585" y="1734374"/>
                </a:moveTo>
                <a:cubicBezTo>
                  <a:pt x="7284085" y="1724213"/>
                  <a:pt x="7185025" y="1681034"/>
                  <a:pt x="7220585" y="1734374"/>
                </a:cubicBezTo>
                <a:lnTo>
                  <a:pt x="7220585" y="1734374"/>
                </a:lnTo>
                <a:close/>
                <a:moveTo>
                  <a:pt x="7225665" y="1687384"/>
                </a:moveTo>
                <a:cubicBezTo>
                  <a:pt x="7240906" y="1693734"/>
                  <a:pt x="7250431" y="1668969"/>
                  <a:pt x="7234556" y="1663254"/>
                </a:cubicBezTo>
                <a:cubicBezTo>
                  <a:pt x="7219315" y="1657538"/>
                  <a:pt x="7210425" y="1681669"/>
                  <a:pt x="7225665" y="1687384"/>
                </a:cubicBezTo>
                <a:close/>
                <a:moveTo>
                  <a:pt x="7285356" y="1709609"/>
                </a:moveTo>
                <a:cubicBezTo>
                  <a:pt x="7300595" y="1715324"/>
                  <a:pt x="7309485" y="1691194"/>
                  <a:pt x="7294245" y="1685479"/>
                </a:cubicBezTo>
                <a:cubicBezTo>
                  <a:pt x="7279006" y="1679763"/>
                  <a:pt x="7270115" y="1703894"/>
                  <a:pt x="7285356" y="1709609"/>
                </a:cubicBezTo>
                <a:close/>
                <a:moveTo>
                  <a:pt x="7317740" y="2370009"/>
                </a:moveTo>
                <a:cubicBezTo>
                  <a:pt x="7333615" y="2345244"/>
                  <a:pt x="7294881" y="2321114"/>
                  <a:pt x="7279640" y="2345879"/>
                </a:cubicBezTo>
                <a:cubicBezTo>
                  <a:pt x="7263765" y="2370644"/>
                  <a:pt x="7302500" y="2395409"/>
                  <a:pt x="7317740" y="2370009"/>
                </a:cubicBezTo>
                <a:close/>
                <a:moveTo>
                  <a:pt x="7310756" y="1842959"/>
                </a:moveTo>
                <a:cubicBezTo>
                  <a:pt x="7328535" y="1851849"/>
                  <a:pt x="7342506" y="1823274"/>
                  <a:pt x="7324090" y="1815019"/>
                </a:cubicBezTo>
                <a:cubicBezTo>
                  <a:pt x="7306310" y="1806129"/>
                  <a:pt x="7292340" y="1834069"/>
                  <a:pt x="7310756" y="1842959"/>
                </a:cubicBezTo>
                <a:close/>
                <a:moveTo>
                  <a:pt x="7284720" y="1761679"/>
                </a:moveTo>
                <a:cubicBezTo>
                  <a:pt x="7301231" y="1769299"/>
                  <a:pt x="7312660" y="1742629"/>
                  <a:pt x="7295515" y="1735644"/>
                </a:cubicBezTo>
                <a:cubicBezTo>
                  <a:pt x="7279006" y="1728024"/>
                  <a:pt x="7267575" y="1754694"/>
                  <a:pt x="7284720" y="1761679"/>
                </a:cubicBezTo>
                <a:close/>
                <a:moveTo>
                  <a:pt x="6793231" y="1699449"/>
                </a:moveTo>
                <a:lnTo>
                  <a:pt x="6793231" y="1699449"/>
                </a:lnTo>
                <a:cubicBezTo>
                  <a:pt x="6837045" y="1719769"/>
                  <a:pt x="6822440" y="1639759"/>
                  <a:pt x="6788785" y="1674049"/>
                </a:cubicBezTo>
                <a:cubicBezTo>
                  <a:pt x="6782435" y="1682304"/>
                  <a:pt x="6784975" y="1693734"/>
                  <a:pt x="6793231" y="1699449"/>
                </a:cubicBezTo>
                <a:close/>
                <a:moveTo>
                  <a:pt x="6767831" y="1769934"/>
                </a:moveTo>
                <a:cubicBezTo>
                  <a:pt x="6788150" y="1785809"/>
                  <a:pt x="6812281" y="1753424"/>
                  <a:pt x="6791325" y="1738184"/>
                </a:cubicBezTo>
                <a:cubicBezTo>
                  <a:pt x="6771640" y="1722944"/>
                  <a:pt x="6747510" y="1755329"/>
                  <a:pt x="6767831" y="1769934"/>
                </a:cubicBezTo>
                <a:close/>
                <a:moveTo>
                  <a:pt x="6802756" y="2012504"/>
                </a:moveTo>
                <a:cubicBezTo>
                  <a:pt x="6823075" y="2013138"/>
                  <a:pt x="6833870" y="1985199"/>
                  <a:pt x="6817360" y="1972499"/>
                </a:cubicBezTo>
                <a:cubicBezTo>
                  <a:pt x="6784340" y="1947734"/>
                  <a:pt x="6762115" y="2010599"/>
                  <a:pt x="6802756" y="2012504"/>
                </a:cubicBezTo>
                <a:close/>
                <a:moveTo>
                  <a:pt x="6814185" y="1518474"/>
                </a:moveTo>
                <a:cubicBezTo>
                  <a:pt x="6829425" y="1525459"/>
                  <a:pt x="6839585" y="1501329"/>
                  <a:pt x="6824345" y="1494979"/>
                </a:cubicBezTo>
                <a:cubicBezTo>
                  <a:pt x="6809106" y="1487994"/>
                  <a:pt x="6798945" y="1512124"/>
                  <a:pt x="6814185" y="1518474"/>
                </a:cubicBezTo>
                <a:close/>
                <a:moveTo>
                  <a:pt x="6762750" y="1868994"/>
                </a:moveTo>
                <a:cubicBezTo>
                  <a:pt x="6783706" y="1886774"/>
                  <a:pt x="6811010" y="1853119"/>
                  <a:pt x="6789420" y="1835974"/>
                </a:cubicBezTo>
                <a:cubicBezTo>
                  <a:pt x="6767831" y="1818194"/>
                  <a:pt x="6740525" y="1852484"/>
                  <a:pt x="6762750" y="1868994"/>
                </a:cubicBezTo>
                <a:close/>
                <a:moveTo>
                  <a:pt x="6871970" y="1543874"/>
                </a:moveTo>
                <a:cubicBezTo>
                  <a:pt x="6886575" y="1550859"/>
                  <a:pt x="6897370" y="1526729"/>
                  <a:pt x="6882131" y="1520379"/>
                </a:cubicBezTo>
                <a:cubicBezTo>
                  <a:pt x="6867525" y="1513394"/>
                  <a:pt x="6856731" y="1537524"/>
                  <a:pt x="6871970" y="1543874"/>
                </a:cubicBezTo>
                <a:close/>
                <a:moveTo>
                  <a:pt x="6906895" y="1588324"/>
                </a:moveTo>
                <a:cubicBezTo>
                  <a:pt x="6922770" y="1596579"/>
                  <a:pt x="6936106" y="1570544"/>
                  <a:pt x="6918960" y="1562924"/>
                </a:cubicBezTo>
                <a:cubicBezTo>
                  <a:pt x="6903085" y="1554669"/>
                  <a:pt x="6890385" y="1580704"/>
                  <a:pt x="6906895" y="1588324"/>
                </a:cubicBezTo>
                <a:close/>
                <a:moveTo>
                  <a:pt x="6697981" y="1467038"/>
                </a:moveTo>
                <a:cubicBezTo>
                  <a:pt x="6712585" y="1474024"/>
                  <a:pt x="6723381" y="1449894"/>
                  <a:pt x="6708140" y="1443544"/>
                </a:cubicBezTo>
                <a:cubicBezTo>
                  <a:pt x="6692900" y="1437194"/>
                  <a:pt x="6682740" y="1460688"/>
                  <a:pt x="6697981" y="1467038"/>
                </a:cubicBezTo>
                <a:close/>
                <a:moveTo>
                  <a:pt x="6817995" y="1622613"/>
                </a:moveTo>
                <a:cubicBezTo>
                  <a:pt x="6805931" y="1641029"/>
                  <a:pt x="6835140" y="1659444"/>
                  <a:pt x="6846570" y="1640394"/>
                </a:cubicBezTo>
                <a:cubicBezTo>
                  <a:pt x="6858635" y="1621979"/>
                  <a:pt x="6829425" y="1604199"/>
                  <a:pt x="6817995" y="1622613"/>
                </a:cubicBezTo>
                <a:close/>
                <a:moveTo>
                  <a:pt x="6844665" y="1557844"/>
                </a:moveTo>
                <a:cubicBezTo>
                  <a:pt x="6860540" y="1566099"/>
                  <a:pt x="6873875" y="1540699"/>
                  <a:pt x="6857365" y="1532444"/>
                </a:cubicBezTo>
                <a:cubicBezTo>
                  <a:pt x="6840856" y="1524188"/>
                  <a:pt x="6828156" y="1549588"/>
                  <a:pt x="6844665" y="1557844"/>
                </a:cubicBezTo>
                <a:close/>
                <a:moveTo>
                  <a:pt x="6724015" y="1945829"/>
                </a:moveTo>
                <a:cubicBezTo>
                  <a:pt x="6744335" y="1946463"/>
                  <a:pt x="6754495" y="1919159"/>
                  <a:pt x="6738620" y="1905824"/>
                </a:cubicBezTo>
                <a:cubicBezTo>
                  <a:pt x="6706235" y="1880424"/>
                  <a:pt x="6682740" y="1943924"/>
                  <a:pt x="6724015" y="1945829"/>
                </a:cubicBezTo>
                <a:close/>
                <a:moveTo>
                  <a:pt x="6931025" y="1568638"/>
                </a:moveTo>
                <a:cubicBezTo>
                  <a:pt x="6946265" y="1574988"/>
                  <a:pt x="6956425" y="1551494"/>
                  <a:pt x="6941185" y="1545144"/>
                </a:cubicBezTo>
                <a:cubicBezTo>
                  <a:pt x="6925310" y="1538794"/>
                  <a:pt x="6915150" y="1562288"/>
                  <a:pt x="6931025" y="1568638"/>
                </a:cubicBezTo>
                <a:close/>
                <a:moveTo>
                  <a:pt x="6690995" y="1686749"/>
                </a:moveTo>
                <a:cubicBezTo>
                  <a:pt x="6666865" y="1732469"/>
                  <a:pt x="6753860" y="1721038"/>
                  <a:pt x="6718935" y="1682938"/>
                </a:cubicBezTo>
                <a:cubicBezTo>
                  <a:pt x="6718935" y="1682938"/>
                  <a:pt x="6718935" y="1682938"/>
                  <a:pt x="6718935" y="1682938"/>
                </a:cubicBezTo>
                <a:cubicBezTo>
                  <a:pt x="6710045" y="1676588"/>
                  <a:pt x="6697981" y="1678494"/>
                  <a:pt x="6690995" y="1686749"/>
                </a:cubicBezTo>
                <a:close/>
                <a:moveTo>
                  <a:pt x="6795770" y="1536888"/>
                </a:moveTo>
                <a:cubicBezTo>
                  <a:pt x="6778625" y="1526729"/>
                  <a:pt x="6762750" y="1554034"/>
                  <a:pt x="6780531" y="1564194"/>
                </a:cubicBezTo>
                <a:cubicBezTo>
                  <a:pt x="6797675" y="1574354"/>
                  <a:pt x="6813550" y="1546413"/>
                  <a:pt x="6795770" y="1536888"/>
                </a:cubicBezTo>
                <a:close/>
                <a:moveTo>
                  <a:pt x="6720840" y="1495613"/>
                </a:moveTo>
                <a:cubicBezTo>
                  <a:pt x="6736715" y="1503869"/>
                  <a:pt x="6750050" y="1478469"/>
                  <a:pt x="6733540" y="1470213"/>
                </a:cubicBezTo>
                <a:cubicBezTo>
                  <a:pt x="6717665" y="1461959"/>
                  <a:pt x="6704965" y="1487359"/>
                  <a:pt x="6720840" y="1495613"/>
                </a:cubicBezTo>
                <a:close/>
                <a:moveTo>
                  <a:pt x="6736715" y="1521013"/>
                </a:moveTo>
                <a:cubicBezTo>
                  <a:pt x="6746875" y="1503869"/>
                  <a:pt x="6719570" y="1487994"/>
                  <a:pt x="6710045" y="1505774"/>
                </a:cubicBezTo>
                <a:cubicBezTo>
                  <a:pt x="6699250" y="1522919"/>
                  <a:pt x="6726556" y="1538794"/>
                  <a:pt x="6736715" y="1521013"/>
                </a:cubicBezTo>
                <a:close/>
                <a:moveTo>
                  <a:pt x="6755765" y="1492438"/>
                </a:moveTo>
                <a:cubicBezTo>
                  <a:pt x="6770370" y="1499424"/>
                  <a:pt x="6781165" y="1475929"/>
                  <a:pt x="6765925" y="1468944"/>
                </a:cubicBezTo>
                <a:cubicBezTo>
                  <a:pt x="6751320" y="1462594"/>
                  <a:pt x="6740525" y="1486088"/>
                  <a:pt x="6755765" y="1492438"/>
                </a:cubicBezTo>
                <a:close/>
                <a:moveTo>
                  <a:pt x="6717665" y="1624519"/>
                </a:moveTo>
                <a:cubicBezTo>
                  <a:pt x="6703695" y="1643569"/>
                  <a:pt x="6734175" y="1665159"/>
                  <a:pt x="6747510" y="1645474"/>
                </a:cubicBezTo>
                <a:cubicBezTo>
                  <a:pt x="6761481" y="1626424"/>
                  <a:pt x="6731000" y="1604834"/>
                  <a:pt x="6717665" y="1624519"/>
                </a:cubicBezTo>
                <a:close/>
                <a:moveTo>
                  <a:pt x="6783070" y="1526729"/>
                </a:moveTo>
                <a:cubicBezTo>
                  <a:pt x="6798945" y="1534984"/>
                  <a:pt x="6812281" y="1509584"/>
                  <a:pt x="6795770" y="1501329"/>
                </a:cubicBezTo>
                <a:cubicBezTo>
                  <a:pt x="6779260" y="1493074"/>
                  <a:pt x="6766560" y="1519109"/>
                  <a:pt x="6783070" y="1526729"/>
                </a:cubicBezTo>
                <a:close/>
                <a:moveTo>
                  <a:pt x="6755131" y="1602929"/>
                </a:moveTo>
                <a:cubicBezTo>
                  <a:pt x="6773545" y="1614994"/>
                  <a:pt x="6791960" y="1585784"/>
                  <a:pt x="6773545" y="1574354"/>
                </a:cubicBezTo>
                <a:cubicBezTo>
                  <a:pt x="6755131" y="1562924"/>
                  <a:pt x="6736715" y="1591499"/>
                  <a:pt x="6755131" y="1602929"/>
                </a:cubicBezTo>
                <a:close/>
                <a:moveTo>
                  <a:pt x="6994525" y="2048063"/>
                </a:moveTo>
                <a:cubicBezTo>
                  <a:pt x="7016115" y="2064574"/>
                  <a:pt x="7042150" y="2029649"/>
                  <a:pt x="7019290" y="2013774"/>
                </a:cubicBezTo>
                <a:cubicBezTo>
                  <a:pt x="7019290" y="2013774"/>
                  <a:pt x="7019290" y="2013774"/>
                  <a:pt x="7019290" y="2013774"/>
                </a:cubicBezTo>
                <a:cubicBezTo>
                  <a:pt x="6997700" y="1997899"/>
                  <a:pt x="6972300" y="2032188"/>
                  <a:pt x="6994525" y="2048063"/>
                </a:cubicBezTo>
                <a:close/>
                <a:moveTo>
                  <a:pt x="6948806" y="2137599"/>
                </a:moveTo>
                <a:cubicBezTo>
                  <a:pt x="6971665" y="2156014"/>
                  <a:pt x="7000240" y="2119819"/>
                  <a:pt x="6976745" y="2102039"/>
                </a:cubicBezTo>
                <a:cubicBezTo>
                  <a:pt x="6953885" y="2083624"/>
                  <a:pt x="6925945" y="2119819"/>
                  <a:pt x="6948806" y="2137599"/>
                </a:cubicBezTo>
                <a:close/>
                <a:moveTo>
                  <a:pt x="6991350" y="1645474"/>
                </a:moveTo>
                <a:cubicBezTo>
                  <a:pt x="6983731" y="1641029"/>
                  <a:pt x="6974206" y="1644204"/>
                  <a:pt x="6970395" y="1651824"/>
                </a:cubicBezTo>
                <a:cubicBezTo>
                  <a:pt x="6957695" y="1690559"/>
                  <a:pt x="7023735" y="1670874"/>
                  <a:pt x="6991350" y="1645474"/>
                </a:cubicBezTo>
                <a:close/>
                <a:moveTo>
                  <a:pt x="6991350" y="1932494"/>
                </a:moveTo>
                <a:cubicBezTo>
                  <a:pt x="7012306" y="1947734"/>
                  <a:pt x="7035165" y="1914713"/>
                  <a:pt x="7014210" y="1900109"/>
                </a:cubicBezTo>
                <a:cubicBezTo>
                  <a:pt x="7014210" y="1900109"/>
                  <a:pt x="7014210" y="1900109"/>
                  <a:pt x="7014210" y="1900109"/>
                </a:cubicBezTo>
                <a:cubicBezTo>
                  <a:pt x="6993256" y="1885504"/>
                  <a:pt x="6970395" y="1918524"/>
                  <a:pt x="6991350" y="1932494"/>
                </a:cubicBezTo>
                <a:close/>
                <a:moveTo>
                  <a:pt x="6915150" y="1682938"/>
                </a:moveTo>
                <a:cubicBezTo>
                  <a:pt x="6927215" y="1664524"/>
                  <a:pt x="6897370" y="1646109"/>
                  <a:pt x="6886575" y="1665159"/>
                </a:cubicBezTo>
                <a:cubicBezTo>
                  <a:pt x="6874510" y="1683574"/>
                  <a:pt x="6904356" y="1701988"/>
                  <a:pt x="6915150" y="1682938"/>
                </a:cubicBezTo>
                <a:close/>
                <a:moveTo>
                  <a:pt x="7031356" y="2200464"/>
                </a:moveTo>
                <a:cubicBezTo>
                  <a:pt x="7054215" y="2218244"/>
                  <a:pt x="7082156" y="2181414"/>
                  <a:pt x="7058660" y="2164269"/>
                </a:cubicBezTo>
                <a:cubicBezTo>
                  <a:pt x="7035165" y="2146489"/>
                  <a:pt x="7007860" y="2183319"/>
                  <a:pt x="7031356" y="2200464"/>
                </a:cubicBezTo>
                <a:close/>
                <a:moveTo>
                  <a:pt x="6961506" y="1791524"/>
                </a:moveTo>
                <a:cubicBezTo>
                  <a:pt x="6974840" y="1771838"/>
                  <a:pt x="6943725" y="1751519"/>
                  <a:pt x="6931025" y="1771204"/>
                </a:cubicBezTo>
                <a:cubicBezTo>
                  <a:pt x="6917690" y="1790888"/>
                  <a:pt x="6948806" y="1811209"/>
                  <a:pt x="6961506" y="1791524"/>
                </a:cubicBezTo>
                <a:close/>
                <a:moveTo>
                  <a:pt x="6939281" y="1847404"/>
                </a:moveTo>
                <a:cubicBezTo>
                  <a:pt x="6918325" y="1832163"/>
                  <a:pt x="6895465" y="1864549"/>
                  <a:pt x="6916420" y="1879154"/>
                </a:cubicBezTo>
                <a:cubicBezTo>
                  <a:pt x="6936740" y="1895029"/>
                  <a:pt x="6960870" y="1862009"/>
                  <a:pt x="6939281" y="1847404"/>
                </a:cubicBezTo>
                <a:close/>
                <a:moveTo>
                  <a:pt x="6925945" y="1609913"/>
                </a:moveTo>
                <a:cubicBezTo>
                  <a:pt x="6908165" y="1599754"/>
                  <a:pt x="6892925" y="1627694"/>
                  <a:pt x="6910706" y="1637219"/>
                </a:cubicBezTo>
                <a:cubicBezTo>
                  <a:pt x="6928485" y="1646744"/>
                  <a:pt x="6943725" y="1619438"/>
                  <a:pt x="6925945" y="1609913"/>
                </a:cubicBezTo>
                <a:close/>
                <a:moveTo>
                  <a:pt x="6916420" y="1989644"/>
                </a:moveTo>
                <a:cubicBezTo>
                  <a:pt x="6938010" y="2006788"/>
                  <a:pt x="6964045" y="1972499"/>
                  <a:pt x="6941820" y="1955988"/>
                </a:cubicBezTo>
                <a:cubicBezTo>
                  <a:pt x="6920231" y="1939479"/>
                  <a:pt x="6894195" y="1973769"/>
                  <a:pt x="6916420" y="1989644"/>
                </a:cubicBezTo>
                <a:close/>
                <a:moveTo>
                  <a:pt x="7002781" y="1818194"/>
                </a:moveTo>
                <a:cubicBezTo>
                  <a:pt x="6989445" y="1837879"/>
                  <a:pt x="7020560" y="1858199"/>
                  <a:pt x="7033260" y="1837879"/>
                </a:cubicBezTo>
                <a:cubicBezTo>
                  <a:pt x="7046595" y="1818829"/>
                  <a:pt x="7015481" y="1798509"/>
                  <a:pt x="7002781" y="1818194"/>
                </a:cubicBezTo>
                <a:close/>
                <a:moveTo>
                  <a:pt x="6960870" y="1730563"/>
                </a:moveTo>
                <a:cubicBezTo>
                  <a:pt x="6979285" y="1741994"/>
                  <a:pt x="6997700" y="1712784"/>
                  <a:pt x="6978015" y="1701354"/>
                </a:cubicBezTo>
                <a:cubicBezTo>
                  <a:pt x="6959600" y="1689924"/>
                  <a:pt x="6941820" y="1719134"/>
                  <a:pt x="6960870" y="1730563"/>
                </a:cubicBezTo>
                <a:close/>
                <a:moveTo>
                  <a:pt x="6989445" y="1593404"/>
                </a:moveTo>
                <a:cubicBezTo>
                  <a:pt x="7004685" y="1600388"/>
                  <a:pt x="7014845" y="1576259"/>
                  <a:pt x="6998970" y="1569909"/>
                </a:cubicBezTo>
                <a:cubicBezTo>
                  <a:pt x="6983731" y="1562924"/>
                  <a:pt x="6974206" y="1587054"/>
                  <a:pt x="6989445" y="1593404"/>
                </a:cubicBezTo>
                <a:close/>
                <a:moveTo>
                  <a:pt x="7030085" y="1771204"/>
                </a:moveTo>
                <a:cubicBezTo>
                  <a:pt x="7048500" y="1782634"/>
                  <a:pt x="7066281" y="1752788"/>
                  <a:pt x="7047231" y="1741994"/>
                </a:cubicBezTo>
                <a:cubicBezTo>
                  <a:pt x="7028815" y="1731199"/>
                  <a:pt x="7011035" y="1760409"/>
                  <a:pt x="7030085" y="1771204"/>
                </a:cubicBezTo>
                <a:close/>
                <a:moveTo>
                  <a:pt x="7067550" y="1985199"/>
                </a:moveTo>
                <a:cubicBezTo>
                  <a:pt x="7088506" y="1999804"/>
                  <a:pt x="7111365" y="1966784"/>
                  <a:pt x="7089775" y="1952179"/>
                </a:cubicBezTo>
                <a:cubicBezTo>
                  <a:pt x="7068185" y="1937574"/>
                  <a:pt x="7045960" y="1971229"/>
                  <a:pt x="7067550" y="1985199"/>
                </a:cubicBezTo>
                <a:lnTo>
                  <a:pt x="7067550" y="1985199"/>
                </a:lnTo>
                <a:close/>
                <a:moveTo>
                  <a:pt x="6969125" y="1618169"/>
                </a:moveTo>
                <a:cubicBezTo>
                  <a:pt x="6985635" y="1626424"/>
                  <a:pt x="6997700" y="1600388"/>
                  <a:pt x="6981190" y="1592769"/>
                </a:cubicBezTo>
                <a:cubicBezTo>
                  <a:pt x="6965315" y="1584513"/>
                  <a:pt x="6952615" y="1610549"/>
                  <a:pt x="6969125" y="1618169"/>
                </a:cubicBezTo>
                <a:close/>
                <a:moveTo>
                  <a:pt x="7057390" y="1680399"/>
                </a:moveTo>
                <a:cubicBezTo>
                  <a:pt x="7039610" y="1670874"/>
                  <a:pt x="7025006" y="1698813"/>
                  <a:pt x="7042785" y="1707704"/>
                </a:cubicBezTo>
                <a:cubicBezTo>
                  <a:pt x="7060565" y="1717863"/>
                  <a:pt x="7075806" y="1689924"/>
                  <a:pt x="7057390" y="1680399"/>
                </a:cubicBezTo>
                <a:close/>
                <a:moveTo>
                  <a:pt x="7048500" y="1617534"/>
                </a:moveTo>
                <a:cubicBezTo>
                  <a:pt x="7063740" y="1623884"/>
                  <a:pt x="7073265" y="1599754"/>
                  <a:pt x="7058025" y="1594038"/>
                </a:cubicBezTo>
                <a:cubicBezTo>
                  <a:pt x="7042785" y="1587688"/>
                  <a:pt x="7032625" y="1611184"/>
                  <a:pt x="7048500" y="1617534"/>
                </a:cubicBezTo>
                <a:close/>
                <a:moveTo>
                  <a:pt x="7031990" y="1648013"/>
                </a:moveTo>
                <a:cubicBezTo>
                  <a:pt x="7048500" y="1656269"/>
                  <a:pt x="7060565" y="1630234"/>
                  <a:pt x="7044056" y="1622613"/>
                </a:cubicBezTo>
                <a:cubicBezTo>
                  <a:pt x="7027545" y="1614359"/>
                  <a:pt x="7014845" y="1640394"/>
                  <a:pt x="7031990" y="1648013"/>
                </a:cubicBezTo>
                <a:close/>
                <a:moveTo>
                  <a:pt x="1636395" y="2007424"/>
                </a:moveTo>
                <a:cubicBezTo>
                  <a:pt x="1638300" y="2007424"/>
                  <a:pt x="1640840" y="2006788"/>
                  <a:pt x="1642745" y="2006154"/>
                </a:cubicBezTo>
                <a:lnTo>
                  <a:pt x="1642745" y="2006154"/>
                </a:lnTo>
                <a:cubicBezTo>
                  <a:pt x="1688465" y="1954719"/>
                  <a:pt x="1574800" y="1977579"/>
                  <a:pt x="1636395" y="2007424"/>
                </a:cubicBezTo>
                <a:close/>
                <a:moveTo>
                  <a:pt x="2730500" y="1218754"/>
                </a:moveTo>
                <a:cubicBezTo>
                  <a:pt x="2708910" y="1235899"/>
                  <a:pt x="2735580" y="1269554"/>
                  <a:pt x="2757170" y="1251774"/>
                </a:cubicBezTo>
                <a:cubicBezTo>
                  <a:pt x="2778760" y="1235263"/>
                  <a:pt x="2752090" y="1201609"/>
                  <a:pt x="2730500" y="1218754"/>
                </a:cubicBezTo>
                <a:close/>
                <a:moveTo>
                  <a:pt x="2712085" y="1137474"/>
                </a:moveTo>
                <a:cubicBezTo>
                  <a:pt x="2714625" y="1137474"/>
                  <a:pt x="2717165" y="1136838"/>
                  <a:pt x="2719705" y="1136204"/>
                </a:cubicBezTo>
                <a:cubicBezTo>
                  <a:pt x="2712720" y="1150174"/>
                  <a:pt x="2724150" y="1169224"/>
                  <a:pt x="2740025" y="1169859"/>
                </a:cubicBezTo>
                <a:cubicBezTo>
                  <a:pt x="2693670" y="1237169"/>
                  <a:pt x="2828925" y="1201609"/>
                  <a:pt x="2755265" y="1166049"/>
                </a:cubicBezTo>
                <a:cubicBezTo>
                  <a:pt x="2777490" y="1151444"/>
                  <a:pt x="2759710" y="1115249"/>
                  <a:pt x="2734945" y="1123504"/>
                </a:cubicBezTo>
                <a:cubicBezTo>
                  <a:pt x="2748915" y="1045399"/>
                  <a:pt x="2635250" y="1117788"/>
                  <a:pt x="2712085" y="1137474"/>
                </a:cubicBezTo>
                <a:close/>
                <a:moveTo>
                  <a:pt x="2249805" y="1568638"/>
                </a:moveTo>
                <a:cubicBezTo>
                  <a:pt x="2249805" y="1579434"/>
                  <a:pt x="2263140" y="1586419"/>
                  <a:pt x="2271395" y="1580069"/>
                </a:cubicBezTo>
                <a:lnTo>
                  <a:pt x="2271395" y="1580069"/>
                </a:lnTo>
                <a:cubicBezTo>
                  <a:pt x="2281555" y="1573719"/>
                  <a:pt x="2278380" y="1557844"/>
                  <a:pt x="2267585" y="1554669"/>
                </a:cubicBezTo>
                <a:cubicBezTo>
                  <a:pt x="2261870" y="1529904"/>
                  <a:pt x="2227580" y="1555938"/>
                  <a:pt x="2249805" y="1568638"/>
                </a:cubicBezTo>
                <a:close/>
                <a:moveTo>
                  <a:pt x="2787650" y="1051749"/>
                </a:moveTo>
                <a:cubicBezTo>
                  <a:pt x="2809875" y="1052384"/>
                  <a:pt x="2821940" y="1021904"/>
                  <a:pt x="2804160" y="1007299"/>
                </a:cubicBezTo>
                <a:cubicBezTo>
                  <a:pt x="2767965" y="978088"/>
                  <a:pt x="2741295" y="1049844"/>
                  <a:pt x="2787650" y="1051749"/>
                </a:cubicBezTo>
                <a:close/>
                <a:moveTo>
                  <a:pt x="2878455" y="1009204"/>
                </a:moveTo>
                <a:cubicBezTo>
                  <a:pt x="2900045" y="1031429"/>
                  <a:pt x="2934970" y="997774"/>
                  <a:pt x="2912745" y="975549"/>
                </a:cubicBezTo>
                <a:cubicBezTo>
                  <a:pt x="2891155" y="953324"/>
                  <a:pt x="2856230" y="987613"/>
                  <a:pt x="2878455" y="1009204"/>
                </a:cubicBezTo>
                <a:close/>
                <a:moveTo>
                  <a:pt x="2892425" y="1034604"/>
                </a:moveTo>
                <a:cubicBezTo>
                  <a:pt x="2870200" y="1053654"/>
                  <a:pt x="2900045" y="1088579"/>
                  <a:pt x="2921635" y="1068894"/>
                </a:cubicBezTo>
                <a:cubicBezTo>
                  <a:pt x="2944495" y="1049844"/>
                  <a:pt x="2914650" y="1014919"/>
                  <a:pt x="2892425" y="1034604"/>
                </a:cubicBezTo>
                <a:close/>
                <a:moveTo>
                  <a:pt x="2214880" y="1595944"/>
                </a:moveTo>
                <a:cubicBezTo>
                  <a:pt x="2219325" y="1569909"/>
                  <a:pt x="2176780" y="1581338"/>
                  <a:pt x="2193290" y="1601659"/>
                </a:cubicBezTo>
                <a:cubicBezTo>
                  <a:pt x="2184400" y="1634044"/>
                  <a:pt x="2239010" y="1619438"/>
                  <a:pt x="2214880" y="1595944"/>
                </a:cubicBezTo>
                <a:close/>
                <a:moveTo>
                  <a:pt x="2863850" y="966659"/>
                </a:moveTo>
                <a:cubicBezTo>
                  <a:pt x="2886075" y="967294"/>
                  <a:pt x="2898140" y="936813"/>
                  <a:pt x="2880995" y="922209"/>
                </a:cubicBezTo>
                <a:cubicBezTo>
                  <a:pt x="2844165" y="892999"/>
                  <a:pt x="2816860" y="964119"/>
                  <a:pt x="2863850" y="966659"/>
                </a:cubicBezTo>
                <a:close/>
                <a:moveTo>
                  <a:pt x="2814955" y="1102549"/>
                </a:moveTo>
                <a:cubicBezTo>
                  <a:pt x="2792730" y="1121599"/>
                  <a:pt x="2823210" y="1155888"/>
                  <a:pt x="2844800" y="1136204"/>
                </a:cubicBezTo>
                <a:cubicBezTo>
                  <a:pt x="2867025" y="1117154"/>
                  <a:pt x="2836545" y="1082863"/>
                  <a:pt x="2814955" y="1102549"/>
                </a:cubicBezTo>
                <a:close/>
                <a:moveTo>
                  <a:pt x="2800985" y="1086038"/>
                </a:moveTo>
                <a:cubicBezTo>
                  <a:pt x="2822575" y="1108263"/>
                  <a:pt x="2857500" y="1073974"/>
                  <a:pt x="2835275" y="1052384"/>
                </a:cubicBezTo>
                <a:cubicBezTo>
                  <a:pt x="2813685" y="1029524"/>
                  <a:pt x="2778760" y="1064449"/>
                  <a:pt x="2800985" y="1086038"/>
                </a:cubicBezTo>
                <a:close/>
                <a:moveTo>
                  <a:pt x="1876425" y="1800413"/>
                </a:moveTo>
                <a:cubicBezTo>
                  <a:pt x="1896110" y="1800413"/>
                  <a:pt x="1889760" y="1768663"/>
                  <a:pt x="1871345" y="1776284"/>
                </a:cubicBezTo>
                <a:cubicBezTo>
                  <a:pt x="1858645" y="1780729"/>
                  <a:pt x="1863090" y="1801049"/>
                  <a:pt x="1876425" y="1800413"/>
                </a:cubicBezTo>
                <a:close/>
                <a:moveTo>
                  <a:pt x="1817370" y="1823909"/>
                </a:moveTo>
                <a:cubicBezTo>
                  <a:pt x="1837055" y="1823909"/>
                  <a:pt x="1831340" y="1792794"/>
                  <a:pt x="1812925" y="1799144"/>
                </a:cubicBezTo>
                <a:cubicBezTo>
                  <a:pt x="1799590" y="1803588"/>
                  <a:pt x="1803400" y="1824544"/>
                  <a:pt x="1817370" y="1823909"/>
                </a:cubicBezTo>
                <a:close/>
                <a:moveTo>
                  <a:pt x="1853565" y="1841688"/>
                </a:moveTo>
                <a:cubicBezTo>
                  <a:pt x="1838325" y="1889313"/>
                  <a:pt x="1914525" y="1851849"/>
                  <a:pt x="1867535" y="1834704"/>
                </a:cubicBezTo>
                <a:cubicBezTo>
                  <a:pt x="1879600" y="1792794"/>
                  <a:pt x="1813560" y="1825813"/>
                  <a:pt x="1853565" y="1841688"/>
                </a:cubicBezTo>
                <a:close/>
                <a:moveTo>
                  <a:pt x="1757045" y="1843594"/>
                </a:moveTo>
                <a:cubicBezTo>
                  <a:pt x="1776095" y="1843594"/>
                  <a:pt x="1771650" y="1813113"/>
                  <a:pt x="1753235" y="1818829"/>
                </a:cubicBezTo>
                <a:cubicBezTo>
                  <a:pt x="1739265" y="1822638"/>
                  <a:pt x="1743075" y="1844229"/>
                  <a:pt x="1757045" y="1843594"/>
                </a:cubicBezTo>
                <a:close/>
                <a:moveTo>
                  <a:pt x="1931670" y="1828988"/>
                </a:moveTo>
                <a:cubicBezTo>
                  <a:pt x="1951990" y="1828988"/>
                  <a:pt x="1951355" y="1797238"/>
                  <a:pt x="1931035" y="1797874"/>
                </a:cubicBezTo>
                <a:cubicBezTo>
                  <a:pt x="1927225" y="1761044"/>
                  <a:pt x="1880235" y="1802319"/>
                  <a:pt x="1915795" y="1811209"/>
                </a:cubicBezTo>
                <a:cubicBezTo>
                  <a:pt x="1915160" y="1816288"/>
                  <a:pt x="1917065" y="1822004"/>
                  <a:pt x="1920875" y="1825179"/>
                </a:cubicBezTo>
                <a:cubicBezTo>
                  <a:pt x="1862455" y="1846134"/>
                  <a:pt x="1962785" y="1882963"/>
                  <a:pt x="1931670" y="1828988"/>
                </a:cubicBezTo>
                <a:close/>
                <a:moveTo>
                  <a:pt x="1978025" y="1777554"/>
                </a:moveTo>
                <a:cubicBezTo>
                  <a:pt x="1978660" y="1777554"/>
                  <a:pt x="1979295" y="1777554"/>
                  <a:pt x="1979930" y="1777554"/>
                </a:cubicBezTo>
                <a:cubicBezTo>
                  <a:pt x="1980565" y="1778824"/>
                  <a:pt x="1980565" y="1780729"/>
                  <a:pt x="1981835" y="1781999"/>
                </a:cubicBezTo>
                <a:cubicBezTo>
                  <a:pt x="1941195" y="1809938"/>
                  <a:pt x="2021205" y="1832799"/>
                  <a:pt x="2002155" y="1787713"/>
                </a:cubicBezTo>
                <a:cubicBezTo>
                  <a:pt x="2019300" y="1780729"/>
                  <a:pt x="2008505" y="1753424"/>
                  <a:pt x="1991360" y="1759138"/>
                </a:cubicBezTo>
                <a:cubicBezTo>
                  <a:pt x="1977390" y="1729294"/>
                  <a:pt x="1945640" y="1773744"/>
                  <a:pt x="1978025" y="1777554"/>
                </a:cubicBezTo>
                <a:close/>
                <a:moveTo>
                  <a:pt x="2045335" y="1713419"/>
                </a:moveTo>
                <a:cubicBezTo>
                  <a:pt x="2066925" y="1712784"/>
                  <a:pt x="2057400" y="1679129"/>
                  <a:pt x="2038350" y="1689924"/>
                </a:cubicBezTo>
                <a:cubicBezTo>
                  <a:pt x="2028190" y="1696274"/>
                  <a:pt x="2033270" y="1714054"/>
                  <a:pt x="2045335" y="1713419"/>
                </a:cubicBezTo>
                <a:close/>
                <a:moveTo>
                  <a:pt x="1990725" y="1745169"/>
                </a:moveTo>
                <a:cubicBezTo>
                  <a:pt x="2011680" y="1744534"/>
                  <a:pt x="2003425" y="1711513"/>
                  <a:pt x="1984375" y="1721674"/>
                </a:cubicBezTo>
                <a:cubicBezTo>
                  <a:pt x="1972945" y="1727388"/>
                  <a:pt x="1978025" y="1745804"/>
                  <a:pt x="1990725" y="1745169"/>
                </a:cubicBezTo>
                <a:close/>
                <a:moveTo>
                  <a:pt x="1934210" y="1774379"/>
                </a:moveTo>
                <a:cubicBezTo>
                  <a:pt x="1954530" y="1773744"/>
                  <a:pt x="1947545" y="1741994"/>
                  <a:pt x="1928495" y="1750249"/>
                </a:cubicBezTo>
                <a:cubicBezTo>
                  <a:pt x="1916430" y="1755329"/>
                  <a:pt x="1921510" y="1775013"/>
                  <a:pt x="1934210" y="1774379"/>
                </a:cubicBezTo>
                <a:close/>
                <a:moveTo>
                  <a:pt x="1791970" y="1868994"/>
                </a:moveTo>
                <a:cubicBezTo>
                  <a:pt x="1793240" y="1868994"/>
                  <a:pt x="1794510" y="1868994"/>
                  <a:pt x="1795145" y="1868359"/>
                </a:cubicBezTo>
                <a:cubicBezTo>
                  <a:pt x="1794510" y="1868359"/>
                  <a:pt x="1793875" y="1868994"/>
                  <a:pt x="1792605" y="1868994"/>
                </a:cubicBezTo>
                <a:cubicBezTo>
                  <a:pt x="1774190" y="1877249"/>
                  <a:pt x="1788160" y="1905824"/>
                  <a:pt x="1805940" y="1896934"/>
                </a:cubicBezTo>
                <a:cubicBezTo>
                  <a:pt x="1823085" y="1889313"/>
                  <a:pt x="1812290" y="1863913"/>
                  <a:pt x="1796415" y="1867724"/>
                </a:cubicBezTo>
                <a:cubicBezTo>
                  <a:pt x="1812290" y="1862644"/>
                  <a:pt x="1805305" y="1834069"/>
                  <a:pt x="1786255" y="1841054"/>
                </a:cubicBezTo>
                <a:cubicBezTo>
                  <a:pt x="1772920" y="1847404"/>
                  <a:pt x="1777365" y="1869629"/>
                  <a:pt x="1791970" y="1868994"/>
                </a:cubicBezTo>
                <a:close/>
                <a:moveTo>
                  <a:pt x="3213100" y="908874"/>
                </a:moveTo>
                <a:cubicBezTo>
                  <a:pt x="3249295" y="907604"/>
                  <a:pt x="3232150" y="851088"/>
                  <a:pt x="3201670" y="870138"/>
                </a:cubicBezTo>
                <a:cubicBezTo>
                  <a:pt x="3183890" y="880934"/>
                  <a:pt x="3192780" y="909509"/>
                  <a:pt x="3213100" y="908874"/>
                </a:cubicBezTo>
                <a:close/>
                <a:moveTo>
                  <a:pt x="3178175" y="1046034"/>
                </a:moveTo>
                <a:cubicBezTo>
                  <a:pt x="3208020" y="1045399"/>
                  <a:pt x="3196590" y="998409"/>
                  <a:pt x="3169285" y="1011744"/>
                </a:cubicBezTo>
                <a:cubicBezTo>
                  <a:pt x="3152775" y="1019363"/>
                  <a:pt x="3159125" y="1046669"/>
                  <a:pt x="3178175" y="1046034"/>
                </a:cubicBezTo>
                <a:close/>
                <a:moveTo>
                  <a:pt x="3250565" y="953324"/>
                </a:moveTo>
                <a:cubicBezTo>
                  <a:pt x="3283585" y="952688"/>
                  <a:pt x="3269615" y="900619"/>
                  <a:pt x="3240405" y="916494"/>
                </a:cubicBezTo>
                <a:cubicBezTo>
                  <a:pt x="3222625" y="926019"/>
                  <a:pt x="3230880" y="954594"/>
                  <a:pt x="3250565" y="953324"/>
                </a:cubicBezTo>
                <a:close/>
                <a:moveTo>
                  <a:pt x="3171190" y="999679"/>
                </a:moveTo>
                <a:cubicBezTo>
                  <a:pt x="3204210" y="999044"/>
                  <a:pt x="3189605" y="946974"/>
                  <a:pt x="3161030" y="962849"/>
                </a:cubicBezTo>
                <a:cubicBezTo>
                  <a:pt x="3143885" y="973009"/>
                  <a:pt x="3152140" y="1000949"/>
                  <a:pt x="3171190" y="999679"/>
                </a:cubicBezTo>
                <a:close/>
                <a:moveTo>
                  <a:pt x="3131820" y="837754"/>
                </a:moveTo>
                <a:cubicBezTo>
                  <a:pt x="3114675" y="849819"/>
                  <a:pt x="3124835" y="879029"/>
                  <a:pt x="3145790" y="878394"/>
                </a:cubicBezTo>
                <a:cubicBezTo>
                  <a:pt x="3185795" y="876488"/>
                  <a:pt x="3164840" y="814259"/>
                  <a:pt x="3131820" y="837754"/>
                </a:cubicBezTo>
                <a:close/>
                <a:moveTo>
                  <a:pt x="3215005" y="774888"/>
                </a:moveTo>
                <a:cubicBezTo>
                  <a:pt x="3190875" y="792034"/>
                  <a:pt x="3218815" y="828863"/>
                  <a:pt x="3241675" y="811084"/>
                </a:cubicBezTo>
                <a:lnTo>
                  <a:pt x="3241675" y="811084"/>
                </a:lnTo>
                <a:cubicBezTo>
                  <a:pt x="3265170" y="794574"/>
                  <a:pt x="3237865" y="757109"/>
                  <a:pt x="3215005" y="774888"/>
                </a:cubicBezTo>
                <a:close/>
                <a:moveTo>
                  <a:pt x="3101975" y="1086674"/>
                </a:moveTo>
                <a:cubicBezTo>
                  <a:pt x="3132455" y="1086038"/>
                  <a:pt x="3119755" y="1038413"/>
                  <a:pt x="3093085" y="1052384"/>
                </a:cubicBezTo>
                <a:cubicBezTo>
                  <a:pt x="3076575" y="1060638"/>
                  <a:pt x="3083560" y="1087309"/>
                  <a:pt x="3101975" y="1086674"/>
                </a:cubicBezTo>
                <a:close/>
                <a:moveTo>
                  <a:pt x="3093085" y="1047938"/>
                </a:moveTo>
                <a:cubicBezTo>
                  <a:pt x="3126105" y="1047304"/>
                  <a:pt x="3111500" y="994599"/>
                  <a:pt x="3082290" y="1011744"/>
                </a:cubicBezTo>
                <a:cubicBezTo>
                  <a:pt x="3065780" y="1021269"/>
                  <a:pt x="3074035" y="1048574"/>
                  <a:pt x="3093085" y="1047938"/>
                </a:cubicBezTo>
                <a:close/>
                <a:moveTo>
                  <a:pt x="3144520" y="959674"/>
                </a:moveTo>
                <a:cubicBezTo>
                  <a:pt x="3167380" y="944434"/>
                  <a:pt x="3142615" y="908874"/>
                  <a:pt x="3120390" y="924749"/>
                </a:cubicBezTo>
                <a:cubicBezTo>
                  <a:pt x="3097530" y="939988"/>
                  <a:pt x="3122295" y="975549"/>
                  <a:pt x="3144520" y="959674"/>
                </a:cubicBezTo>
                <a:close/>
                <a:moveTo>
                  <a:pt x="3202305" y="682179"/>
                </a:moveTo>
                <a:cubicBezTo>
                  <a:pt x="3178175" y="701863"/>
                  <a:pt x="3209290" y="739329"/>
                  <a:pt x="3232785" y="719009"/>
                </a:cubicBezTo>
                <a:cubicBezTo>
                  <a:pt x="3257550" y="699959"/>
                  <a:pt x="3226435" y="661859"/>
                  <a:pt x="3202305" y="682179"/>
                </a:cubicBezTo>
                <a:cubicBezTo>
                  <a:pt x="3202305" y="682179"/>
                  <a:pt x="3202305" y="682179"/>
                  <a:pt x="3202305" y="682179"/>
                </a:cubicBezTo>
                <a:close/>
                <a:moveTo>
                  <a:pt x="2968625" y="999679"/>
                </a:moveTo>
                <a:cubicBezTo>
                  <a:pt x="2987040" y="1022538"/>
                  <a:pt x="3022600" y="992694"/>
                  <a:pt x="3002915" y="970469"/>
                </a:cubicBezTo>
                <a:cubicBezTo>
                  <a:pt x="2984500" y="947609"/>
                  <a:pt x="2948940" y="977454"/>
                  <a:pt x="2968625" y="999679"/>
                </a:cubicBezTo>
                <a:close/>
                <a:moveTo>
                  <a:pt x="3019425" y="799019"/>
                </a:moveTo>
                <a:cubicBezTo>
                  <a:pt x="3041015" y="799654"/>
                  <a:pt x="3053715" y="770444"/>
                  <a:pt x="3037205" y="755204"/>
                </a:cubicBezTo>
                <a:cubicBezTo>
                  <a:pt x="3001645" y="724724"/>
                  <a:pt x="2972435" y="797113"/>
                  <a:pt x="3019425" y="799019"/>
                </a:cubicBezTo>
                <a:close/>
                <a:moveTo>
                  <a:pt x="2957195" y="899984"/>
                </a:moveTo>
                <a:cubicBezTo>
                  <a:pt x="2934335" y="920938"/>
                  <a:pt x="2967990" y="956499"/>
                  <a:pt x="2990215" y="934909"/>
                </a:cubicBezTo>
                <a:cubicBezTo>
                  <a:pt x="3013075" y="913319"/>
                  <a:pt x="2979420" y="877759"/>
                  <a:pt x="2957195" y="899984"/>
                </a:cubicBezTo>
                <a:cubicBezTo>
                  <a:pt x="2957195" y="899984"/>
                  <a:pt x="2957195" y="899984"/>
                  <a:pt x="2957195" y="899984"/>
                </a:cubicBezTo>
                <a:close/>
                <a:moveTo>
                  <a:pt x="2940685" y="882204"/>
                </a:moveTo>
                <a:cubicBezTo>
                  <a:pt x="2962910" y="882838"/>
                  <a:pt x="2974975" y="852994"/>
                  <a:pt x="2957830" y="838388"/>
                </a:cubicBezTo>
                <a:cubicBezTo>
                  <a:pt x="2922270" y="807909"/>
                  <a:pt x="2894330" y="880299"/>
                  <a:pt x="2940685" y="882204"/>
                </a:cubicBezTo>
                <a:close/>
                <a:moveTo>
                  <a:pt x="3035935" y="859344"/>
                </a:moveTo>
                <a:cubicBezTo>
                  <a:pt x="3056255" y="882838"/>
                  <a:pt x="3092450" y="849819"/>
                  <a:pt x="3071495" y="826959"/>
                </a:cubicBezTo>
                <a:cubicBezTo>
                  <a:pt x="3050540" y="803463"/>
                  <a:pt x="3014345" y="836484"/>
                  <a:pt x="3035935" y="859344"/>
                </a:cubicBezTo>
                <a:close/>
                <a:moveTo>
                  <a:pt x="3183255" y="639634"/>
                </a:moveTo>
                <a:cubicBezTo>
                  <a:pt x="3229610" y="637729"/>
                  <a:pt x="3202305" y="565338"/>
                  <a:pt x="3166110" y="595819"/>
                </a:cubicBezTo>
                <a:cubicBezTo>
                  <a:pt x="3148965" y="610424"/>
                  <a:pt x="3161030" y="640269"/>
                  <a:pt x="3183255" y="639634"/>
                </a:cubicBezTo>
                <a:close/>
                <a:moveTo>
                  <a:pt x="3116580" y="786319"/>
                </a:moveTo>
                <a:cubicBezTo>
                  <a:pt x="3136900" y="810449"/>
                  <a:pt x="3173730" y="778063"/>
                  <a:pt x="3152775" y="754569"/>
                </a:cubicBezTo>
                <a:cubicBezTo>
                  <a:pt x="3132455" y="731074"/>
                  <a:pt x="3095625" y="763459"/>
                  <a:pt x="3116580" y="786319"/>
                </a:cubicBezTo>
                <a:close/>
                <a:moveTo>
                  <a:pt x="3100070" y="718374"/>
                </a:moveTo>
                <a:cubicBezTo>
                  <a:pt x="3121660" y="719009"/>
                  <a:pt x="3134360" y="690434"/>
                  <a:pt x="3118485" y="675194"/>
                </a:cubicBezTo>
                <a:cubicBezTo>
                  <a:pt x="3082925" y="642809"/>
                  <a:pt x="3052445" y="715834"/>
                  <a:pt x="3100070" y="718374"/>
                </a:cubicBezTo>
                <a:close/>
                <a:moveTo>
                  <a:pt x="1534160" y="1982659"/>
                </a:moveTo>
                <a:cubicBezTo>
                  <a:pt x="1529080" y="1962974"/>
                  <a:pt x="1498600" y="1971229"/>
                  <a:pt x="1504315" y="1990279"/>
                </a:cubicBezTo>
                <a:cubicBezTo>
                  <a:pt x="1509395" y="2009963"/>
                  <a:pt x="1539875" y="2001709"/>
                  <a:pt x="1534160" y="1982659"/>
                </a:cubicBezTo>
                <a:close/>
                <a:moveTo>
                  <a:pt x="1376680" y="1955354"/>
                </a:moveTo>
                <a:cubicBezTo>
                  <a:pt x="1378585" y="1973769"/>
                  <a:pt x="1407160" y="1970594"/>
                  <a:pt x="1404620" y="1952813"/>
                </a:cubicBezTo>
                <a:cubicBezTo>
                  <a:pt x="1403350" y="1934399"/>
                  <a:pt x="1374775" y="1936938"/>
                  <a:pt x="1376680" y="1955354"/>
                </a:cubicBezTo>
                <a:close/>
                <a:moveTo>
                  <a:pt x="1408430" y="2121089"/>
                </a:moveTo>
                <a:cubicBezTo>
                  <a:pt x="1416050" y="2143949"/>
                  <a:pt x="1450975" y="2131249"/>
                  <a:pt x="1443355" y="2109024"/>
                </a:cubicBezTo>
                <a:cubicBezTo>
                  <a:pt x="1435735" y="2086163"/>
                  <a:pt x="1400175" y="2098864"/>
                  <a:pt x="1408430" y="2121089"/>
                </a:cubicBezTo>
                <a:close/>
                <a:moveTo>
                  <a:pt x="1391920" y="2072194"/>
                </a:moveTo>
                <a:cubicBezTo>
                  <a:pt x="1397000" y="2093784"/>
                  <a:pt x="1430655" y="2084259"/>
                  <a:pt x="1424305" y="2063304"/>
                </a:cubicBezTo>
                <a:cubicBezTo>
                  <a:pt x="1419225" y="2042349"/>
                  <a:pt x="1385570" y="2051238"/>
                  <a:pt x="1391920" y="2072194"/>
                </a:cubicBezTo>
                <a:close/>
                <a:moveTo>
                  <a:pt x="1381760" y="1902013"/>
                </a:moveTo>
                <a:cubicBezTo>
                  <a:pt x="1398270" y="1902013"/>
                  <a:pt x="1398270" y="1875979"/>
                  <a:pt x="1381760" y="1876613"/>
                </a:cubicBezTo>
                <a:cubicBezTo>
                  <a:pt x="1365250" y="1876613"/>
                  <a:pt x="1365250" y="1902013"/>
                  <a:pt x="1381760" y="1902013"/>
                </a:cubicBezTo>
                <a:close/>
                <a:moveTo>
                  <a:pt x="1445260" y="1899474"/>
                </a:moveTo>
                <a:cubicBezTo>
                  <a:pt x="1462405" y="1900109"/>
                  <a:pt x="1461770" y="1872804"/>
                  <a:pt x="1444625" y="1874074"/>
                </a:cubicBezTo>
                <a:cubicBezTo>
                  <a:pt x="1428750" y="1874709"/>
                  <a:pt x="1429385" y="1900109"/>
                  <a:pt x="1445260" y="1899474"/>
                </a:cubicBezTo>
                <a:close/>
                <a:moveTo>
                  <a:pt x="1372870" y="2033459"/>
                </a:moveTo>
                <a:cubicBezTo>
                  <a:pt x="1394460" y="2033459"/>
                  <a:pt x="1391920" y="1999169"/>
                  <a:pt x="1370330" y="2002344"/>
                </a:cubicBezTo>
                <a:cubicBezTo>
                  <a:pt x="1351915" y="2005519"/>
                  <a:pt x="1354455" y="2034094"/>
                  <a:pt x="1372870" y="2033459"/>
                </a:cubicBezTo>
                <a:close/>
                <a:moveTo>
                  <a:pt x="1446530" y="2019488"/>
                </a:moveTo>
                <a:cubicBezTo>
                  <a:pt x="1468755" y="2019488"/>
                  <a:pt x="1464945" y="1983929"/>
                  <a:pt x="1443355" y="1989009"/>
                </a:cubicBezTo>
                <a:cubicBezTo>
                  <a:pt x="1425575" y="1992184"/>
                  <a:pt x="1428750" y="2020124"/>
                  <a:pt x="1446530" y="2019488"/>
                </a:cubicBezTo>
                <a:close/>
                <a:moveTo>
                  <a:pt x="1445260" y="2154744"/>
                </a:moveTo>
                <a:cubicBezTo>
                  <a:pt x="1435735" y="2131249"/>
                  <a:pt x="1398270" y="2147124"/>
                  <a:pt x="1409065" y="2169984"/>
                </a:cubicBezTo>
                <a:cubicBezTo>
                  <a:pt x="1418590" y="2194114"/>
                  <a:pt x="1455420" y="2178239"/>
                  <a:pt x="1445260" y="2154744"/>
                </a:cubicBezTo>
                <a:close/>
                <a:moveTo>
                  <a:pt x="1402715" y="2195384"/>
                </a:moveTo>
                <a:cubicBezTo>
                  <a:pt x="1377950" y="2207449"/>
                  <a:pt x="1397635" y="2246184"/>
                  <a:pt x="1421765" y="2233484"/>
                </a:cubicBezTo>
                <a:cubicBezTo>
                  <a:pt x="1446530" y="2221419"/>
                  <a:pt x="1427480" y="2182684"/>
                  <a:pt x="1402715" y="2195384"/>
                </a:cubicBezTo>
                <a:close/>
                <a:moveTo>
                  <a:pt x="1725930" y="1900109"/>
                </a:moveTo>
                <a:cubicBezTo>
                  <a:pt x="1706880" y="1907729"/>
                  <a:pt x="1719580" y="1936938"/>
                  <a:pt x="1737995" y="1928684"/>
                </a:cubicBezTo>
                <a:cubicBezTo>
                  <a:pt x="1756410" y="1921063"/>
                  <a:pt x="1744345" y="1891854"/>
                  <a:pt x="1725930" y="1900109"/>
                </a:cubicBezTo>
                <a:close/>
                <a:moveTo>
                  <a:pt x="1318260" y="1902013"/>
                </a:moveTo>
                <a:cubicBezTo>
                  <a:pt x="1334770" y="1902649"/>
                  <a:pt x="1335405" y="1876613"/>
                  <a:pt x="1318895" y="1876613"/>
                </a:cubicBezTo>
                <a:cubicBezTo>
                  <a:pt x="1302385" y="1875979"/>
                  <a:pt x="1301750" y="1902013"/>
                  <a:pt x="1318260" y="1902013"/>
                </a:cubicBezTo>
                <a:close/>
                <a:moveTo>
                  <a:pt x="1256665" y="2147124"/>
                </a:moveTo>
                <a:cubicBezTo>
                  <a:pt x="1233170" y="2152839"/>
                  <a:pt x="1242695" y="2189034"/>
                  <a:pt x="1265555" y="2182684"/>
                </a:cubicBezTo>
                <a:cubicBezTo>
                  <a:pt x="1288415" y="2176969"/>
                  <a:pt x="1279525" y="2140774"/>
                  <a:pt x="1256665" y="2147124"/>
                </a:cubicBezTo>
                <a:close/>
                <a:moveTo>
                  <a:pt x="1299210" y="2044254"/>
                </a:moveTo>
                <a:cubicBezTo>
                  <a:pt x="1320800" y="2044254"/>
                  <a:pt x="1318895" y="2010599"/>
                  <a:pt x="1297305" y="2013138"/>
                </a:cubicBezTo>
                <a:cubicBezTo>
                  <a:pt x="1278255" y="2015044"/>
                  <a:pt x="1280160" y="2044254"/>
                  <a:pt x="1299210" y="2044254"/>
                </a:cubicBezTo>
                <a:close/>
                <a:moveTo>
                  <a:pt x="1326515" y="2147124"/>
                </a:moveTo>
                <a:cubicBezTo>
                  <a:pt x="1333500" y="2169984"/>
                  <a:pt x="1369060" y="2159189"/>
                  <a:pt x="1361440" y="2136329"/>
                </a:cubicBezTo>
                <a:cubicBezTo>
                  <a:pt x="1355090" y="2113469"/>
                  <a:pt x="1318895" y="2124264"/>
                  <a:pt x="1326515" y="2147124"/>
                </a:cubicBezTo>
                <a:close/>
                <a:moveTo>
                  <a:pt x="1274445" y="2221419"/>
                </a:moveTo>
                <a:cubicBezTo>
                  <a:pt x="1266825" y="2197289"/>
                  <a:pt x="1228725" y="2209989"/>
                  <a:pt x="1236980" y="2234119"/>
                </a:cubicBezTo>
                <a:cubicBezTo>
                  <a:pt x="1244600" y="2258249"/>
                  <a:pt x="1282700" y="2245549"/>
                  <a:pt x="1274445" y="2221419"/>
                </a:cubicBezTo>
                <a:close/>
                <a:moveTo>
                  <a:pt x="1315720" y="2236659"/>
                </a:moveTo>
                <a:cubicBezTo>
                  <a:pt x="1290320" y="2247454"/>
                  <a:pt x="1308100" y="2286824"/>
                  <a:pt x="1332865" y="2275394"/>
                </a:cubicBezTo>
                <a:cubicBezTo>
                  <a:pt x="1358265" y="2263964"/>
                  <a:pt x="1340485" y="2224594"/>
                  <a:pt x="1315720" y="2236659"/>
                </a:cubicBezTo>
                <a:close/>
                <a:moveTo>
                  <a:pt x="1445260" y="1947099"/>
                </a:moveTo>
                <a:cubicBezTo>
                  <a:pt x="1446530" y="1954719"/>
                  <a:pt x="1453515" y="1960434"/>
                  <a:pt x="1461135" y="1959163"/>
                </a:cubicBezTo>
                <a:lnTo>
                  <a:pt x="1461135" y="1959163"/>
                </a:lnTo>
                <a:cubicBezTo>
                  <a:pt x="1496695" y="1947734"/>
                  <a:pt x="1446530" y="1910269"/>
                  <a:pt x="1445260" y="1947099"/>
                </a:cubicBezTo>
                <a:close/>
                <a:moveTo>
                  <a:pt x="1307465" y="1959799"/>
                </a:moveTo>
                <a:cubicBezTo>
                  <a:pt x="1308100" y="1978213"/>
                  <a:pt x="1336675" y="1976309"/>
                  <a:pt x="1335405" y="1957894"/>
                </a:cubicBezTo>
                <a:cubicBezTo>
                  <a:pt x="1334770" y="1940113"/>
                  <a:pt x="1306195" y="1941384"/>
                  <a:pt x="1307465" y="1959799"/>
                </a:cubicBezTo>
                <a:close/>
                <a:moveTo>
                  <a:pt x="1325880" y="2070288"/>
                </a:moveTo>
                <a:cubicBezTo>
                  <a:pt x="1304290" y="2074734"/>
                  <a:pt x="1311910" y="2108389"/>
                  <a:pt x="1332865" y="2103309"/>
                </a:cubicBezTo>
                <a:cubicBezTo>
                  <a:pt x="1355090" y="2099499"/>
                  <a:pt x="1347470" y="2065209"/>
                  <a:pt x="1325880" y="2070288"/>
                </a:cubicBezTo>
                <a:close/>
                <a:moveTo>
                  <a:pt x="1360170" y="2189669"/>
                </a:moveTo>
                <a:cubicBezTo>
                  <a:pt x="1351280" y="2165539"/>
                  <a:pt x="1313815" y="2180144"/>
                  <a:pt x="1323340" y="2203639"/>
                </a:cubicBezTo>
                <a:cubicBezTo>
                  <a:pt x="1332230" y="2227769"/>
                  <a:pt x="1369695" y="2213799"/>
                  <a:pt x="1360170" y="2189669"/>
                </a:cubicBezTo>
                <a:close/>
                <a:moveTo>
                  <a:pt x="1633855" y="1875344"/>
                </a:moveTo>
                <a:cubicBezTo>
                  <a:pt x="1652270" y="1875344"/>
                  <a:pt x="1649095" y="1846769"/>
                  <a:pt x="1631315" y="1849944"/>
                </a:cubicBezTo>
                <a:cubicBezTo>
                  <a:pt x="1616710" y="1852484"/>
                  <a:pt x="1619250" y="1875344"/>
                  <a:pt x="1633855" y="1875344"/>
                </a:cubicBezTo>
                <a:close/>
                <a:moveTo>
                  <a:pt x="1571625" y="1886138"/>
                </a:moveTo>
                <a:cubicBezTo>
                  <a:pt x="1589405" y="1886138"/>
                  <a:pt x="1587500" y="1858199"/>
                  <a:pt x="1569720" y="1860738"/>
                </a:cubicBezTo>
                <a:cubicBezTo>
                  <a:pt x="1554480" y="1862644"/>
                  <a:pt x="1556385" y="1886774"/>
                  <a:pt x="1571625" y="1886138"/>
                </a:cubicBezTo>
                <a:close/>
                <a:moveTo>
                  <a:pt x="7406640" y="2173159"/>
                </a:moveTo>
                <a:cubicBezTo>
                  <a:pt x="7419340" y="2150934"/>
                  <a:pt x="7384415" y="2131249"/>
                  <a:pt x="7372350" y="2153474"/>
                </a:cubicBezTo>
                <a:cubicBezTo>
                  <a:pt x="7359650" y="2175699"/>
                  <a:pt x="7393940" y="2195384"/>
                  <a:pt x="7406640" y="2173159"/>
                </a:cubicBezTo>
                <a:close/>
                <a:moveTo>
                  <a:pt x="1586865" y="1950909"/>
                </a:moveTo>
                <a:cubicBezTo>
                  <a:pt x="1567180" y="1956624"/>
                  <a:pt x="1577340" y="1987104"/>
                  <a:pt x="1596390" y="1980754"/>
                </a:cubicBezTo>
                <a:cubicBezTo>
                  <a:pt x="1615440" y="1975038"/>
                  <a:pt x="1605915" y="1944559"/>
                  <a:pt x="1586865" y="1950909"/>
                </a:cubicBezTo>
                <a:close/>
                <a:moveTo>
                  <a:pt x="1581150" y="1922334"/>
                </a:moveTo>
                <a:cubicBezTo>
                  <a:pt x="1585595" y="1940113"/>
                  <a:pt x="1612900" y="1933129"/>
                  <a:pt x="1608455" y="1915349"/>
                </a:cubicBezTo>
                <a:cubicBezTo>
                  <a:pt x="1604645" y="1897569"/>
                  <a:pt x="1576705" y="1904554"/>
                  <a:pt x="1581150" y="1922334"/>
                </a:cubicBezTo>
                <a:close/>
                <a:moveTo>
                  <a:pt x="1696085" y="1860738"/>
                </a:moveTo>
                <a:cubicBezTo>
                  <a:pt x="1714500" y="1860738"/>
                  <a:pt x="1710690" y="1830894"/>
                  <a:pt x="1692910" y="1835974"/>
                </a:cubicBezTo>
                <a:cubicBezTo>
                  <a:pt x="1678305" y="1839149"/>
                  <a:pt x="1681480" y="1861374"/>
                  <a:pt x="1696085" y="1860738"/>
                </a:cubicBezTo>
                <a:close/>
                <a:moveTo>
                  <a:pt x="1483360" y="2240469"/>
                </a:moveTo>
                <a:cubicBezTo>
                  <a:pt x="1508760" y="2225864"/>
                  <a:pt x="1485265" y="2186494"/>
                  <a:pt x="1460500" y="2201734"/>
                </a:cubicBezTo>
                <a:cubicBezTo>
                  <a:pt x="1435100" y="2216339"/>
                  <a:pt x="1458595" y="2255709"/>
                  <a:pt x="1483360" y="2240469"/>
                </a:cubicBezTo>
                <a:close/>
                <a:moveTo>
                  <a:pt x="1667510" y="1955988"/>
                </a:moveTo>
                <a:cubicBezTo>
                  <a:pt x="1686560" y="1949638"/>
                  <a:pt x="1675765" y="1919794"/>
                  <a:pt x="1656715" y="1926779"/>
                </a:cubicBezTo>
                <a:cubicBezTo>
                  <a:pt x="1637665" y="1933763"/>
                  <a:pt x="1649095" y="1963609"/>
                  <a:pt x="1667510" y="1955988"/>
                </a:cubicBezTo>
                <a:close/>
                <a:moveTo>
                  <a:pt x="1661795" y="1914713"/>
                </a:moveTo>
                <a:cubicBezTo>
                  <a:pt x="1682750" y="1914713"/>
                  <a:pt x="1677670" y="1881059"/>
                  <a:pt x="1657985" y="1887409"/>
                </a:cubicBezTo>
                <a:cubicBezTo>
                  <a:pt x="1642110" y="1891219"/>
                  <a:pt x="1645920" y="1915349"/>
                  <a:pt x="1661795" y="1914713"/>
                </a:cubicBezTo>
                <a:close/>
                <a:moveTo>
                  <a:pt x="1727200" y="1893759"/>
                </a:moveTo>
                <a:cubicBezTo>
                  <a:pt x="1748790" y="1893759"/>
                  <a:pt x="1743075" y="1859469"/>
                  <a:pt x="1722755" y="1866454"/>
                </a:cubicBezTo>
                <a:cubicBezTo>
                  <a:pt x="1708150" y="1870899"/>
                  <a:pt x="1711960" y="1894394"/>
                  <a:pt x="1727200" y="1893759"/>
                </a:cubicBezTo>
                <a:close/>
                <a:moveTo>
                  <a:pt x="3079115" y="936813"/>
                </a:moveTo>
                <a:cubicBezTo>
                  <a:pt x="3101975" y="919034"/>
                  <a:pt x="3073400" y="882838"/>
                  <a:pt x="3050540" y="901888"/>
                </a:cubicBezTo>
                <a:cubicBezTo>
                  <a:pt x="3027680" y="919669"/>
                  <a:pt x="3056890" y="955863"/>
                  <a:pt x="3079115" y="936813"/>
                </a:cubicBezTo>
                <a:close/>
                <a:moveTo>
                  <a:pt x="1508760" y="1894394"/>
                </a:moveTo>
                <a:cubicBezTo>
                  <a:pt x="1525905" y="1894394"/>
                  <a:pt x="1524635" y="1867088"/>
                  <a:pt x="1507490" y="1868994"/>
                </a:cubicBezTo>
                <a:cubicBezTo>
                  <a:pt x="1491615" y="1870263"/>
                  <a:pt x="1492885" y="1894394"/>
                  <a:pt x="1508760" y="1894394"/>
                </a:cubicBezTo>
                <a:close/>
                <a:moveTo>
                  <a:pt x="1499235" y="2067113"/>
                </a:moveTo>
                <a:cubicBezTo>
                  <a:pt x="1480820" y="2074099"/>
                  <a:pt x="1486535" y="2103309"/>
                  <a:pt x="1506220" y="2102674"/>
                </a:cubicBezTo>
                <a:cubicBezTo>
                  <a:pt x="1534795" y="2102674"/>
                  <a:pt x="1525905" y="2056954"/>
                  <a:pt x="1499235" y="2067113"/>
                </a:cubicBezTo>
                <a:close/>
                <a:moveTo>
                  <a:pt x="1468755" y="2050604"/>
                </a:moveTo>
                <a:cubicBezTo>
                  <a:pt x="1475105" y="2071559"/>
                  <a:pt x="1508125" y="2061399"/>
                  <a:pt x="1501140" y="2040444"/>
                </a:cubicBezTo>
                <a:cubicBezTo>
                  <a:pt x="1495425" y="2019488"/>
                  <a:pt x="1462405" y="2030284"/>
                  <a:pt x="1468755" y="2050604"/>
                </a:cubicBezTo>
                <a:close/>
                <a:moveTo>
                  <a:pt x="1540510" y="2178874"/>
                </a:moveTo>
                <a:cubicBezTo>
                  <a:pt x="1555750" y="2203639"/>
                  <a:pt x="1594485" y="2178874"/>
                  <a:pt x="1578610" y="2154744"/>
                </a:cubicBezTo>
                <a:cubicBezTo>
                  <a:pt x="1563370" y="2129979"/>
                  <a:pt x="1524635" y="2154744"/>
                  <a:pt x="1540510" y="2178874"/>
                </a:cubicBezTo>
                <a:close/>
                <a:moveTo>
                  <a:pt x="1561465" y="2036634"/>
                </a:moveTo>
                <a:cubicBezTo>
                  <a:pt x="1587500" y="2036634"/>
                  <a:pt x="1579880" y="1994724"/>
                  <a:pt x="1555750" y="2003613"/>
                </a:cubicBezTo>
                <a:cubicBezTo>
                  <a:pt x="1537970" y="2009963"/>
                  <a:pt x="1543050" y="2037269"/>
                  <a:pt x="1561465" y="2036634"/>
                </a:cubicBezTo>
                <a:close/>
                <a:moveTo>
                  <a:pt x="1513840" y="1936304"/>
                </a:moveTo>
                <a:cubicBezTo>
                  <a:pt x="1517015" y="1954719"/>
                  <a:pt x="1545590" y="1949004"/>
                  <a:pt x="1541780" y="1931224"/>
                </a:cubicBezTo>
                <a:cubicBezTo>
                  <a:pt x="1537970" y="1912809"/>
                  <a:pt x="1510030" y="1918524"/>
                  <a:pt x="1513840" y="1936304"/>
                </a:cubicBezTo>
                <a:close/>
                <a:moveTo>
                  <a:pt x="1528445" y="2116009"/>
                </a:moveTo>
                <a:cubicBezTo>
                  <a:pt x="1517650" y="2092513"/>
                  <a:pt x="1481455" y="2110294"/>
                  <a:pt x="1492885" y="2133154"/>
                </a:cubicBezTo>
                <a:cubicBezTo>
                  <a:pt x="1503680" y="2156649"/>
                  <a:pt x="1539875" y="2138869"/>
                  <a:pt x="1528445" y="2116009"/>
                </a:cubicBezTo>
                <a:close/>
                <a:moveTo>
                  <a:pt x="4215765" y="677099"/>
                </a:moveTo>
                <a:cubicBezTo>
                  <a:pt x="4218305" y="700594"/>
                  <a:pt x="4255135" y="696149"/>
                  <a:pt x="4251960" y="672654"/>
                </a:cubicBezTo>
                <a:cubicBezTo>
                  <a:pt x="4249420" y="648524"/>
                  <a:pt x="4212590" y="653604"/>
                  <a:pt x="4215765" y="677099"/>
                </a:cubicBezTo>
                <a:close/>
                <a:moveTo>
                  <a:pt x="4094480" y="478344"/>
                </a:moveTo>
                <a:cubicBezTo>
                  <a:pt x="4067175" y="482788"/>
                  <a:pt x="4075430" y="525334"/>
                  <a:pt x="4102100" y="519619"/>
                </a:cubicBezTo>
                <a:cubicBezTo>
                  <a:pt x="4129405" y="515174"/>
                  <a:pt x="4121150" y="472629"/>
                  <a:pt x="4094480" y="478344"/>
                </a:cubicBezTo>
                <a:close/>
                <a:moveTo>
                  <a:pt x="4086860" y="198308"/>
                </a:moveTo>
                <a:cubicBezTo>
                  <a:pt x="4120515" y="198944"/>
                  <a:pt x="4119245" y="145604"/>
                  <a:pt x="4085590" y="147508"/>
                </a:cubicBezTo>
                <a:cubicBezTo>
                  <a:pt x="4053205" y="148144"/>
                  <a:pt x="4054475" y="198944"/>
                  <a:pt x="4086860" y="198308"/>
                </a:cubicBezTo>
                <a:close/>
                <a:moveTo>
                  <a:pt x="4131310" y="773619"/>
                </a:moveTo>
                <a:cubicBezTo>
                  <a:pt x="4133850" y="795209"/>
                  <a:pt x="4168140" y="790763"/>
                  <a:pt x="4164965" y="768538"/>
                </a:cubicBezTo>
                <a:cubicBezTo>
                  <a:pt x="4162425" y="746949"/>
                  <a:pt x="4128135" y="752029"/>
                  <a:pt x="4131310" y="773619"/>
                </a:cubicBezTo>
                <a:close/>
                <a:moveTo>
                  <a:pt x="4084955" y="305624"/>
                </a:moveTo>
                <a:cubicBezTo>
                  <a:pt x="4117975" y="305624"/>
                  <a:pt x="4114800" y="253554"/>
                  <a:pt x="4082415" y="257999"/>
                </a:cubicBezTo>
                <a:cubicBezTo>
                  <a:pt x="4053205" y="260538"/>
                  <a:pt x="4056380" y="306258"/>
                  <a:pt x="4084955" y="305624"/>
                </a:cubicBezTo>
                <a:close/>
                <a:moveTo>
                  <a:pt x="4193540" y="298004"/>
                </a:moveTo>
                <a:cubicBezTo>
                  <a:pt x="4225290" y="298004"/>
                  <a:pt x="4224655" y="248474"/>
                  <a:pt x="4192905" y="249744"/>
                </a:cubicBezTo>
                <a:cubicBezTo>
                  <a:pt x="4161790" y="250379"/>
                  <a:pt x="4163060" y="298638"/>
                  <a:pt x="4193540" y="298004"/>
                </a:cubicBezTo>
                <a:close/>
                <a:moveTo>
                  <a:pt x="4057015" y="420558"/>
                </a:moveTo>
                <a:cubicBezTo>
                  <a:pt x="4088765" y="420558"/>
                  <a:pt x="4084320" y="369758"/>
                  <a:pt x="4052570" y="376108"/>
                </a:cubicBezTo>
                <a:cubicBezTo>
                  <a:pt x="4026535" y="379919"/>
                  <a:pt x="4030980" y="421194"/>
                  <a:pt x="4057015" y="420558"/>
                </a:cubicBezTo>
                <a:close/>
                <a:moveTo>
                  <a:pt x="4149090" y="705038"/>
                </a:moveTo>
                <a:cubicBezTo>
                  <a:pt x="4175125" y="705038"/>
                  <a:pt x="4171315" y="664399"/>
                  <a:pt x="4146550" y="668844"/>
                </a:cubicBezTo>
                <a:cubicBezTo>
                  <a:pt x="4124325" y="671384"/>
                  <a:pt x="4126865" y="705674"/>
                  <a:pt x="4149090" y="705038"/>
                </a:cubicBezTo>
                <a:close/>
                <a:moveTo>
                  <a:pt x="4199255" y="199579"/>
                </a:moveTo>
                <a:cubicBezTo>
                  <a:pt x="4232275" y="202119"/>
                  <a:pt x="4235450" y="150683"/>
                  <a:pt x="4202430" y="148779"/>
                </a:cubicBezTo>
                <a:cubicBezTo>
                  <a:pt x="4170045" y="146238"/>
                  <a:pt x="4166235" y="197674"/>
                  <a:pt x="4199255" y="199579"/>
                </a:cubicBezTo>
                <a:close/>
                <a:moveTo>
                  <a:pt x="4159250" y="404683"/>
                </a:moveTo>
                <a:cubicBezTo>
                  <a:pt x="4190365" y="405319"/>
                  <a:pt x="4187190" y="355788"/>
                  <a:pt x="4156710" y="359599"/>
                </a:cubicBezTo>
                <a:cubicBezTo>
                  <a:pt x="4128770" y="362774"/>
                  <a:pt x="4131310" y="405954"/>
                  <a:pt x="4159250" y="404683"/>
                </a:cubicBezTo>
                <a:close/>
                <a:moveTo>
                  <a:pt x="3891915" y="722819"/>
                </a:moveTo>
                <a:cubicBezTo>
                  <a:pt x="3868420" y="728534"/>
                  <a:pt x="3878580" y="764729"/>
                  <a:pt x="3901440" y="758379"/>
                </a:cubicBezTo>
                <a:cubicBezTo>
                  <a:pt x="3924300" y="752663"/>
                  <a:pt x="3914775" y="716469"/>
                  <a:pt x="3891915" y="722819"/>
                </a:cubicBezTo>
                <a:close/>
                <a:moveTo>
                  <a:pt x="3973195" y="209104"/>
                </a:moveTo>
                <a:cubicBezTo>
                  <a:pt x="4008755" y="209104"/>
                  <a:pt x="4004310" y="153224"/>
                  <a:pt x="3969385" y="158938"/>
                </a:cubicBezTo>
                <a:cubicBezTo>
                  <a:pt x="3938905" y="162113"/>
                  <a:pt x="3942715" y="209738"/>
                  <a:pt x="3973195" y="209104"/>
                </a:cubicBezTo>
                <a:close/>
                <a:moveTo>
                  <a:pt x="3927475" y="661859"/>
                </a:moveTo>
                <a:cubicBezTo>
                  <a:pt x="3952240" y="655509"/>
                  <a:pt x="3941445" y="616774"/>
                  <a:pt x="3916680" y="623759"/>
                </a:cubicBezTo>
                <a:cubicBezTo>
                  <a:pt x="3891915" y="630744"/>
                  <a:pt x="3903345" y="669479"/>
                  <a:pt x="3927475" y="661859"/>
                </a:cubicBezTo>
                <a:close/>
                <a:moveTo>
                  <a:pt x="3889375" y="550734"/>
                </a:moveTo>
                <a:cubicBezTo>
                  <a:pt x="3914140" y="600263"/>
                  <a:pt x="3958590" y="517713"/>
                  <a:pt x="3903345" y="524699"/>
                </a:cubicBezTo>
                <a:cubicBezTo>
                  <a:pt x="3891915" y="527874"/>
                  <a:pt x="3885565" y="539938"/>
                  <a:pt x="3889375" y="550734"/>
                </a:cubicBezTo>
                <a:close/>
                <a:moveTo>
                  <a:pt x="4060825" y="684084"/>
                </a:moveTo>
                <a:cubicBezTo>
                  <a:pt x="4037330" y="688529"/>
                  <a:pt x="4044950" y="724724"/>
                  <a:pt x="4067810" y="720279"/>
                </a:cubicBezTo>
                <a:cubicBezTo>
                  <a:pt x="4091305" y="715834"/>
                  <a:pt x="4083685" y="679004"/>
                  <a:pt x="4060825" y="684084"/>
                </a:cubicBezTo>
                <a:close/>
                <a:moveTo>
                  <a:pt x="4191635" y="463104"/>
                </a:moveTo>
                <a:cubicBezTo>
                  <a:pt x="4164330" y="466279"/>
                  <a:pt x="4170045" y="508824"/>
                  <a:pt x="4196715" y="505013"/>
                </a:cubicBezTo>
                <a:cubicBezTo>
                  <a:pt x="4224020" y="501838"/>
                  <a:pt x="4218940" y="459294"/>
                  <a:pt x="4191635" y="463104"/>
                </a:cubicBezTo>
                <a:close/>
                <a:moveTo>
                  <a:pt x="3986530" y="781238"/>
                </a:moveTo>
                <a:cubicBezTo>
                  <a:pt x="3964940" y="785049"/>
                  <a:pt x="3971925" y="819338"/>
                  <a:pt x="3992880" y="814259"/>
                </a:cubicBezTo>
                <a:cubicBezTo>
                  <a:pt x="4015105" y="811084"/>
                  <a:pt x="4008120" y="776794"/>
                  <a:pt x="3986530" y="781238"/>
                </a:cubicBezTo>
                <a:close/>
                <a:moveTo>
                  <a:pt x="4006850" y="600899"/>
                </a:moveTo>
                <a:cubicBezTo>
                  <a:pt x="3981450" y="606613"/>
                  <a:pt x="3990975" y="645349"/>
                  <a:pt x="4015740" y="639634"/>
                </a:cubicBezTo>
                <a:cubicBezTo>
                  <a:pt x="4040505" y="633919"/>
                  <a:pt x="4031615" y="594549"/>
                  <a:pt x="4006850" y="600899"/>
                </a:cubicBezTo>
                <a:close/>
                <a:moveTo>
                  <a:pt x="3982720" y="524063"/>
                </a:moveTo>
                <a:cubicBezTo>
                  <a:pt x="3989070" y="550734"/>
                  <a:pt x="4030980" y="540574"/>
                  <a:pt x="4023995" y="513904"/>
                </a:cubicBezTo>
                <a:cubicBezTo>
                  <a:pt x="4017645" y="487869"/>
                  <a:pt x="3975735" y="498029"/>
                  <a:pt x="3982720" y="524063"/>
                </a:cubicBezTo>
                <a:close/>
                <a:moveTo>
                  <a:pt x="3973195" y="275779"/>
                </a:moveTo>
                <a:cubicBezTo>
                  <a:pt x="3942715" y="281494"/>
                  <a:pt x="3952875" y="329754"/>
                  <a:pt x="3983355" y="322769"/>
                </a:cubicBezTo>
                <a:cubicBezTo>
                  <a:pt x="4013835" y="317054"/>
                  <a:pt x="4003675" y="268794"/>
                  <a:pt x="3973195" y="275779"/>
                </a:cubicBezTo>
                <a:close/>
                <a:moveTo>
                  <a:pt x="3957320" y="442783"/>
                </a:moveTo>
                <a:cubicBezTo>
                  <a:pt x="3990340" y="442783"/>
                  <a:pt x="3983990" y="390079"/>
                  <a:pt x="3951605" y="398333"/>
                </a:cubicBezTo>
                <a:cubicBezTo>
                  <a:pt x="3926205" y="404683"/>
                  <a:pt x="3931285" y="443419"/>
                  <a:pt x="3957320" y="442783"/>
                </a:cubicBezTo>
                <a:close/>
                <a:moveTo>
                  <a:pt x="4353560" y="569149"/>
                </a:moveTo>
                <a:cubicBezTo>
                  <a:pt x="4354830" y="594549"/>
                  <a:pt x="4394835" y="592644"/>
                  <a:pt x="4392930" y="567244"/>
                </a:cubicBezTo>
                <a:cubicBezTo>
                  <a:pt x="4392295" y="541209"/>
                  <a:pt x="4351655" y="543749"/>
                  <a:pt x="4353560" y="569149"/>
                </a:cubicBezTo>
                <a:close/>
                <a:moveTo>
                  <a:pt x="4406265" y="310704"/>
                </a:moveTo>
                <a:cubicBezTo>
                  <a:pt x="4436745" y="315783"/>
                  <a:pt x="4444365" y="267524"/>
                  <a:pt x="4413250" y="263079"/>
                </a:cubicBezTo>
                <a:cubicBezTo>
                  <a:pt x="4382770" y="258633"/>
                  <a:pt x="4375785" y="306894"/>
                  <a:pt x="4406265" y="310704"/>
                </a:cubicBezTo>
                <a:close/>
                <a:moveTo>
                  <a:pt x="4388485" y="492313"/>
                </a:moveTo>
                <a:cubicBezTo>
                  <a:pt x="4415790" y="492949"/>
                  <a:pt x="4415790" y="449133"/>
                  <a:pt x="4388485" y="449769"/>
                </a:cubicBezTo>
                <a:cubicBezTo>
                  <a:pt x="4360545" y="449769"/>
                  <a:pt x="4361180" y="492949"/>
                  <a:pt x="4388485" y="492313"/>
                </a:cubicBezTo>
                <a:close/>
                <a:moveTo>
                  <a:pt x="4404995" y="677734"/>
                </a:moveTo>
                <a:cubicBezTo>
                  <a:pt x="4429760" y="677734"/>
                  <a:pt x="4428490" y="639634"/>
                  <a:pt x="4404360" y="640904"/>
                </a:cubicBezTo>
                <a:cubicBezTo>
                  <a:pt x="4380865" y="642174"/>
                  <a:pt x="4381500" y="678369"/>
                  <a:pt x="4404995" y="677734"/>
                </a:cubicBezTo>
                <a:close/>
                <a:moveTo>
                  <a:pt x="4363720" y="397063"/>
                </a:moveTo>
                <a:cubicBezTo>
                  <a:pt x="4392930" y="398333"/>
                  <a:pt x="4394200" y="352613"/>
                  <a:pt x="4364990" y="351979"/>
                </a:cubicBezTo>
                <a:cubicBezTo>
                  <a:pt x="4335780" y="350074"/>
                  <a:pt x="4334510" y="396429"/>
                  <a:pt x="4363720" y="397063"/>
                </a:cubicBezTo>
                <a:close/>
                <a:moveTo>
                  <a:pt x="4614545" y="358329"/>
                </a:moveTo>
                <a:cubicBezTo>
                  <a:pt x="4643755" y="367854"/>
                  <a:pt x="4658995" y="321499"/>
                  <a:pt x="4628515" y="312608"/>
                </a:cubicBezTo>
                <a:cubicBezTo>
                  <a:pt x="4598670" y="303083"/>
                  <a:pt x="4584700" y="350074"/>
                  <a:pt x="4614545" y="358329"/>
                </a:cubicBezTo>
                <a:close/>
                <a:moveTo>
                  <a:pt x="4546600" y="391983"/>
                </a:moveTo>
                <a:cubicBezTo>
                  <a:pt x="4540885" y="420558"/>
                  <a:pt x="4586605" y="428813"/>
                  <a:pt x="4591050" y="399604"/>
                </a:cubicBezTo>
                <a:cubicBezTo>
                  <a:pt x="4596765" y="371029"/>
                  <a:pt x="4551680" y="362774"/>
                  <a:pt x="4546600" y="391983"/>
                </a:cubicBezTo>
                <a:close/>
                <a:moveTo>
                  <a:pt x="4526915" y="269429"/>
                </a:moveTo>
                <a:cubicBezTo>
                  <a:pt x="4557395" y="280858"/>
                  <a:pt x="4575175" y="231963"/>
                  <a:pt x="4544060" y="221804"/>
                </a:cubicBezTo>
                <a:cubicBezTo>
                  <a:pt x="4512310" y="210374"/>
                  <a:pt x="4495165" y="259269"/>
                  <a:pt x="4526915" y="269429"/>
                </a:cubicBezTo>
                <a:close/>
                <a:moveTo>
                  <a:pt x="4537075" y="566609"/>
                </a:moveTo>
                <a:cubicBezTo>
                  <a:pt x="4535805" y="592009"/>
                  <a:pt x="4575810" y="593913"/>
                  <a:pt x="4576445" y="568513"/>
                </a:cubicBezTo>
                <a:cubicBezTo>
                  <a:pt x="4577715" y="542479"/>
                  <a:pt x="4537710" y="541209"/>
                  <a:pt x="4537075" y="566609"/>
                </a:cubicBezTo>
                <a:close/>
                <a:moveTo>
                  <a:pt x="4337685" y="663763"/>
                </a:moveTo>
                <a:cubicBezTo>
                  <a:pt x="4335780" y="640269"/>
                  <a:pt x="4298950" y="643444"/>
                  <a:pt x="4300855" y="666938"/>
                </a:cubicBezTo>
                <a:cubicBezTo>
                  <a:pt x="4302760" y="691069"/>
                  <a:pt x="4340225" y="687259"/>
                  <a:pt x="4337685" y="663763"/>
                </a:cubicBezTo>
                <a:close/>
                <a:moveTo>
                  <a:pt x="4300220" y="299908"/>
                </a:moveTo>
                <a:cubicBezTo>
                  <a:pt x="4331335" y="302449"/>
                  <a:pt x="4334510" y="253554"/>
                  <a:pt x="4303395" y="252283"/>
                </a:cubicBezTo>
                <a:cubicBezTo>
                  <a:pt x="4272280" y="249744"/>
                  <a:pt x="4269740" y="298638"/>
                  <a:pt x="4300220" y="299908"/>
                </a:cubicBezTo>
                <a:close/>
                <a:moveTo>
                  <a:pt x="4227830" y="778063"/>
                </a:moveTo>
                <a:cubicBezTo>
                  <a:pt x="4251325" y="778063"/>
                  <a:pt x="4248785" y="741234"/>
                  <a:pt x="4225925" y="744409"/>
                </a:cubicBezTo>
                <a:cubicBezTo>
                  <a:pt x="4205605" y="746313"/>
                  <a:pt x="4207510" y="778063"/>
                  <a:pt x="4227830" y="778063"/>
                </a:cubicBezTo>
                <a:close/>
                <a:moveTo>
                  <a:pt x="4261485" y="397063"/>
                </a:moveTo>
                <a:cubicBezTo>
                  <a:pt x="4291330" y="397699"/>
                  <a:pt x="4290695" y="350074"/>
                  <a:pt x="4260850" y="351979"/>
                </a:cubicBezTo>
                <a:cubicBezTo>
                  <a:pt x="4231640" y="352613"/>
                  <a:pt x="4232910" y="397699"/>
                  <a:pt x="4261485" y="397063"/>
                </a:cubicBezTo>
                <a:close/>
                <a:moveTo>
                  <a:pt x="4631055" y="310704"/>
                </a:moveTo>
                <a:cubicBezTo>
                  <a:pt x="4660900" y="324674"/>
                  <a:pt x="4681855" y="277049"/>
                  <a:pt x="4651375" y="264349"/>
                </a:cubicBezTo>
                <a:cubicBezTo>
                  <a:pt x="4621530" y="250379"/>
                  <a:pt x="4600575" y="298004"/>
                  <a:pt x="4631055" y="310704"/>
                </a:cubicBezTo>
                <a:close/>
                <a:moveTo>
                  <a:pt x="4310380" y="212279"/>
                </a:moveTo>
                <a:cubicBezTo>
                  <a:pt x="4342765" y="218629"/>
                  <a:pt x="4351655" y="167194"/>
                  <a:pt x="4318635" y="162113"/>
                </a:cubicBezTo>
                <a:cubicBezTo>
                  <a:pt x="4286250" y="156399"/>
                  <a:pt x="4277360" y="207833"/>
                  <a:pt x="4310380" y="212279"/>
                </a:cubicBezTo>
                <a:close/>
                <a:moveTo>
                  <a:pt x="3065780" y="1015554"/>
                </a:moveTo>
                <a:cubicBezTo>
                  <a:pt x="3088005" y="999679"/>
                  <a:pt x="3063240" y="964754"/>
                  <a:pt x="3041015" y="981263"/>
                </a:cubicBezTo>
                <a:cubicBezTo>
                  <a:pt x="3018155" y="997138"/>
                  <a:pt x="3043555" y="1032063"/>
                  <a:pt x="3065780" y="1015554"/>
                </a:cubicBezTo>
                <a:close/>
                <a:moveTo>
                  <a:pt x="4307840" y="769809"/>
                </a:moveTo>
                <a:cubicBezTo>
                  <a:pt x="4330700" y="769809"/>
                  <a:pt x="4329430" y="733613"/>
                  <a:pt x="4306570" y="736154"/>
                </a:cubicBezTo>
                <a:cubicBezTo>
                  <a:pt x="4285615" y="737424"/>
                  <a:pt x="4286885" y="770444"/>
                  <a:pt x="4307840" y="769809"/>
                </a:cubicBezTo>
                <a:close/>
                <a:moveTo>
                  <a:pt x="4289425" y="453579"/>
                </a:moveTo>
                <a:cubicBezTo>
                  <a:pt x="4262120" y="454849"/>
                  <a:pt x="4264660" y="498029"/>
                  <a:pt x="4292600" y="496124"/>
                </a:cubicBezTo>
                <a:cubicBezTo>
                  <a:pt x="4319905" y="494219"/>
                  <a:pt x="4317365" y="451038"/>
                  <a:pt x="4289425" y="453579"/>
                </a:cubicBezTo>
                <a:close/>
                <a:moveTo>
                  <a:pt x="4262120" y="576769"/>
                </a:moveTo>
                <a:cubicBezTo>
                  <a:pt x="4264025" y="602169"/>
                  <a:pt x="4304030" y="598359"/>
                  <a:pt x="4301490" y="572959"/>
                </a:cubicBezTo>
                <a:cubicBezTo>
                  <a:pt x="4299585" y="547559"/>
                  <a:pt x="4258945" y="551369"/>
                  <a:pt x="4262120" y="576769"/>
                </a:cubicBezTo>
                <a:close/>
                <a:moveTo>
                  <a:pt x="3395980" y="773619"/>
                </a:moveTo>
                <a:cubicBezTo>
                  <a:pt x="3382645" y="750124"/>
                  <a:pt x="3345180" y="771713"/>
                  <a:pt x="3359785" y="795209"/>
                </a:cubicBezTo>
                <a:cubicBezTo>
                  <a:pt x="3373755" y="818704"/>
                  <a:pt x="3410585" y="797113"/>
                  <a:pt x="3395980" y="773619"/>
                </a:cubicBezTo>
                <a:close/>
                <a:moveTo>
                  <a:pt x="3402965" y="897444"/>
                </a:moveTo>
                <a:cubicBezTo>
                  <a:pt x="3380740" y="906969"/>
                  <a:pt x="3396615" y="941259"/>
                  <a:pt x="3418205" y="931099"/>
                </a:cubicBezTo>
                <a:cubicBezTo>
                  <a:pt x="3439795" y="921574"/>
                  <a:pt x="3424555" y="887284"/>
                  <a:pt x="3402965" y="897444"/>
                </a:cubicBezTo>
                <a:close/>
                <a:moveTo>
                  <a:pt x="3402330" y="828863"/>
                </a:moveTo>
                <a:cubicBezTo>
                  <a:pt x="3379470" y="840294"/>
                  <a:pt x="3397885" y="875854"/>
                  <a:pt x="3420110" y="863788"/>
                </a:cubicBezTo>
                <a:cubicBezTo>
                  <a:pt x="3443605" y="852994"/>
                  <a:pt x="3425190" y="816799"/>
                  <a:pt x="3402330" y="828863"/>
                </a:cubicBezTo>
                <a:close/>
                <a:moveTo>
                  <a:pt x="3385185" y="657413"/>
                </a:moveTo>
                <a:cubicBezTo>
                  <a:pt x="3360420" y="672654"/>
                  <a:pt x="3385185" y="711388"/>
                  <a:pt x="3409315" y="695513"/>
                </a:cubicBezTo>
                <a:cubicBezTo>
                  <a:pt x="3434715" y="679638"/>
                  <a:pt x="3409950" y="640904"/>
                  <a:pt x="3385185" y="657413"/>
                </a:cubicBezTo>
                <a:close/>
                <a:moveTo>
                  <a:pt x="3367405" y="966659"/>
                </a:moveTo>
                <a:cubicBezTo>
                  <a:pt x="3347085" y="974279"/>
                  <a:pt x="3359785" y="1006663"/>
                  <a:pt x="3380105" y="998409"/>
                </a:cubicBezTo>
                <a:cubicBezTo>
                  <a:pt x="3400425" y="990154"/>
                  <a:pt x="3387725" y="958404"/>
                  <a:pt x="3367405" y="966659"/>
                </a:cubicBezTo>
                <a:close/>
                <a:moveTo>
                  <a:pt x="3547110" y="364679"/>
                </a:moveTo>
                <a:cubicBezTo>
                  <a:pt x="3589655" y="363408"/>
                  <a:pt x="3571240" y="296733"/>
                  <a:pt x="3534410" y="317054"/>
                </a:cubicBezTo>
                <a:cubicBezTo>
                  <a:pt x="3512185" y="329119"/>
                  <a:pt x="3522345" y="365949"/>
                  <a:pt x="3547110" y="364679"/>
                </a:cubicBezTo>
                <a:close/>
                <a:moveTo>
                  <a:pt x="3485515" y="788224"/>
                </a:moveTo>
                <a:cubicBezTo>
                  <a:pt x="3462020" y="799019"/>
                  <a:pt x="3479800" y="835213"/>
                  <a:pt x="3502660" y="823784"/>
                </a:cubicBezTo>
                <a:cubicBezTo>
                  <a:pt x="3525520" y="812988"/>
                  <a:pt x="3508375" y="776794"/>
                  <a:pt x="3485515" y="788224"/>
                </a:cubicBezTo>
                <a:close/>
                <a:moveTo>
                  <a:pt x="3474085" y="602804"/>
                </a:moveTo>
                <a:cubicBezTo>
                  <a:pt x="3448685" y="617409"/>
                  <a:pt x="3472180" y="656779"/>
                  <a:pt x="3496945" y="641538"/>
                </a:cubicBezTo>
                <a:cubicBezTo>
                  <a:pt x="3522345" y="627569"/>
                  <a:pt x="3498850" y="587563"/>
                  <a:pt x="3474085" y="602804"/>
                </a:cubicBezTo>
                <a:close/>
                <a:moveTo>
                  <a:pt x="3460750" y="522158"/>
                </a:moveTo>
                <a:cubicBezTo>
                  <a:pt x="3477260" y="548829"/>
                  <a:pt x="3518535" y="522794"/>
                  <a:pt x="3501390" y="496758"/>
                </a:cubicBezTo>
                <a:cubicBezTo>
                  <a:pt x="3484880" y="470088"/>
                  <a:pt x="3443605" y="496124"/>
                  <a:pt x="3460750" y="522158"/>
                </a:cubicBezTo>
                <a:close/>
                <a:moveTo>
                  <a:pt x="3450590" y="425638"/>
                </a:moveTo>
                <a:cubicBezTo>
                  <a:pt x="3494405" y="424369"/>
                  <a:pt x="3473450" y="355788"/>
                  <a:pt x="3435985" y="379283"/>
                </a:cubicBezTo>
                <a:cubicBezTo>
                  <a:pt x="3415665" y="391983"/>
                  <a:pt x="3426460" y="426274"/>
                  <a:pt x="3450590" y="425638"/>
                </a:cubicBezTo>
                <a:close/>
                <a:moveTo>
                  <a:pt x="3298825" y="714563"/>
                </a:moveTo>
                <a:cubicBezTo>
                  <a:pt x="3274695" y="731074"/>
                  <a:pt x="3300730" y="768538"/>
                  <a:pt x="3324225" y="752029"/>
                </a:cubicBezTo>
                <a:lnTo>
                  <a:pt x="3324225" y="752029"/>
                </a:lnTo>
                <a:cubicBezTo>
                  <a:pt x="3348990" y="735519"/>
                  <a:pt x="3322955" y="698054"/>
                  <a:pt x="3298825" y="714563"/>
                </a:cubicBezTo>
                <a:close/>
                <a:moveTo>
                  <a:pt x="3283585" y="647888"/>
                </a:moveTo>
                <a:cubicBezTo>
                  <a:pt x="3302000" y="672654"/>
                  <a:pt x="3340735" y="643444"/>
                  <a:pt x="3321685" y="618679"/>
                </a:cubicBezTo>
                <a:cubicBezTo>
                  <a:pt x="3303270" y="593913"/>
                  <a:pt x="3264535" y="623759"/>
                  <a:pt x="3283585" y="647888"/>
                </a:cubicBezTo>
                <a:close/>
                <a:moveTo>
                  <a:pt x="3348355" y="942529"/>
                </a:moveTo>
                <a:cubicBezTo>
                  <a:pt x="3338195" y="920938"/>
                  <a:pt x="3304540" y="936813"/>
                  <a:pt x="3315335" y="958404"/>
                </a:cubicBezTo>
                <a:cubicBezTo>
                  <a:pt x="3325495" y="979994"/>
                  <a:pt x="3359150" y="964119"/>
                  <a:pt x="3348355" y="942529"/>
                </a:cubicBezTo>
                <a:close/>
                <a:moveTo>
                  <a:pt x="3268980" y="564069"/>
                </a:moveTo>
                <a:cubicBezTo>
                  <a:pt x="3314700" y="562163"/>
                  <a:pt x="3289300" y="491044"/>
                  <a:pt x="3252470" y="518983"/>
                </a:cubicBezTo>
                <a:cubicBezTo>
                  <a:pt x="3252470" y="518983"/>
                  <a:pt x="3252470" y="518983"/>
                  <a:pt x="3252470" y="518983"/>
                </a:cubicBezTo>
                <a:cubicBezTo>
                  <a:pt x="3234690" y="533588"/>
                  <a:pt x="3246120" y="564704"/>
                  <a:pt x="3268980" y="564069"/>
                </a:cubicBezTo>
                <a:close/>
                <a:moveTo>
                  <a:pt x="3292475" y="997138"/>
                </a:moveTo>
                <a:cubicBezTo>
                  <a:pt x="3272155" y="1005394"/>
                  <a:pt x="3285490" y="1037144"/>
                  <a:pt x="3305810" y="1028254"/>
                </a:cubicBezTo>
                <a:cubicBezTo>
                  <a:pt x="3326130" y="1019999"/>
                  <a:pt x="3312795" y="988249"/>
                  <a:pt x="3292475" y="997138"/>
                </a:cubicBezTo>
                <a:close/>
                <a:moveTo>
                  <a:pt x="3357880" y="492313"/>
                </a:moveTo>
                <a:cubicBezTo>
                  <a:pt x="3402965" y="490408"/>
                  <a:pt x="3379470" y="420558"/>
                  <a:pt x="3342640" y="446594"/>
                </a:cubicBezTo>
                <a:cubicBezTo>
                  <a:pt x="3322955" y="460563"/>
                  <a:pt x="3335020" y="493583"/>
                  <a:pt x="3357880" y="492313"/>
                </a:cubicBezTo>
                <a:close/>
                <a:moveTo>
                  <a:pt x="3371215" y="583119"/>
                </a:moveTo>
                <a:cubicBezTo>
                  <a:pt x="3388995" y="609154"/>
                  <a:pt x="3429000" y="580579"/>
                  <a:pt x="3410585" y="555813"/>
                </a:cubicBezTo>
                <a:cubicBezTo>
                  <a:pt x="3392805" y="529779"/>
                  <a:pt x="3352800" y="557719"/>
                  <a:pt x="3371215" y="583119"/>
                </a:cubicBezTo>
                <a:close/>
                <a:moveTo>
                  <a:pt x="3330575" y="908874"/>
                </a:moveTo>
                <a:cubicBezTo>
                  <a:pt x="3362960" y="908238"/>
                  <a:pt x="3350260" y="856804"/>
                  <a:pt x="3321050" y="872044"/>
                </a:cubicBezTo>
                <a:cubicBezTo>
                  <a:pt x="3302635" y="880934"/>
                  <a:pt x="3310890" y="909509"/>
                  <a:pt x="3330575" y="908874"/>
                </a:cubicBezTo>
                <a:close/>
                <a:moveTo>
                  <a:pt x="3576955" y="787588"/>
                </a:moveTo>
                <a:cubicBezTo>
                  <a:pt x="3608070" y="786954"/>
                  <a:pt x="3597910" y="737424"/>
                  <a:pt x="3568700" y="749488"/>
                </a:cubicBezTo>
                <a:cubicBezTo>
                  <a:pt x="3549650" y="757744"/>
                  <a:pt x="3556635" y="788224"/>
                  <a:pt x="3576955" y="787588"/>
                </a:cubicBezTo>
                <a:close/>
                <a:moveTo>
                  <a:pt x="3762375" y="338644"/>
                </a:moveTo>
                <a:cubicBezTo>
                  <a:pt x="3733165" y="349438"/>
                  <a:pt x="3750945" y="395158"/>
                  <a:pt x="3779520" y="383729"/>
                </a:cubicBezTo>
                <a:cubicBezTo>
                  <a:pt x="3808730" y="372933"/>
                  <a:pt x="3790950" y="327213"/>
                  <a:pt x="3762375" y="338644"/>
                </a:cubicBezTo>
                <a:close/>
                <a:moveTo>
                  <a:pt x="3752850" y="266254"/>
                </a:moveTo>
                <a:cubicBezTo>
                  <a:pt x="3792220" y="265619"/>
                  <a:pt x="3780790" y="204024"/>
                  <a:pt x="3743960" y="216724"/>
                </a:cubicBezTo>
                <a:cubicBezTo>
                  <a:pt x="3717925" y="226249"/>
                  <a:pt x="3725545" y="267524"/>
                  <a:pt x="3752850" y="266254"/>
                </a:cubicBezTo>
                <a:close/>
                <a:moveTo>
                  <a:pt x="3648075" y="311338"/>
                </a:moveTo>
                <a:cubicBezTo>
                  <a:pt x="3688715" y="310704"/>
                  <a:pt x="3674110" y="245933"/>
                  <a:pt x="3637280" y="263079"/>
                </a:cubicBezTo>
                <a:cubicBezTo>
                  <a:pt x="3613150" y="273874"/>
                  <a:pt x="3622040" y="311974"/>
                  <a:pt x="3648075" y="311338"/>
                </a:cubicBezTo>
                <a:close/>
                <a:moveTo>
                  <a:pt x="3813810" y="781874"/>
                </a:moveTo>
                <a:cubicBezTo>
                  <a:pt x="3841115" y="781874"/>
                  <a:pt x="3834765" y="738059"/>
                  <a:pt x="3808730" y="745679"/>
                </a:cubicBezTo>
                <a:cubicBezTo>
                  <a:pt x="3788410" y="751394"/>
                  <a:pt x="3793490" y="782509"/>
                  <a:pt x="3813810" y="781874"/>
                </a:cubicBezTo>
                <a:close/>
                <a:moveTo>
                  <a:pt x="3828415" y="650429"/>
                </a:moveTo>
                <a:cubicBezTo>
                  <a:pt x="3803650" y="658049"/>
                  <a:pt x="3816350" y="696149"/>
                  <a:pt x="3840480" y="687894"/>
                </a:cubicBezTo>
                <a:cubicBezTo>
                  <a:pt x="3865245" y="680909"/>
                  <a:pt x="3852545" y="642174"/>
                  <a:pt x="3828415" y="650429"/>
                </a:cubicBezTo>
                <a:close/>
                <a:moveTo>
                  <a:pt x="3861435" y="231963"/>
                </a:moveTo>
                <a:cubicBezTo>
                  <a:pt x="3898900" y="231963"/>
                  <a:pt x="3891280" y="172908"/>
                  <a:pt x="3855085" y="181799"/>
                </a:cubicBezTo>
                <a:cubicBezTo>
                  <a:pt x="3827145" y="188783"/>
                  <a:pt x="3832860" y="232599"/>
                  <a:pt x="3861435" y="231963"/>
                </a:cubicBezTo>
                <a:close/>
                <a:moveTo>
                  <a:pt x="3816985" y="596454"/>
                </a:moveTo>
                <a:cubicBezTo>
                  <a:pt x="3849370" y="596454"/>
                  <a:pt x="3840480" y="545019"/>
                  <a:pt x="3810000" y="555179"/>
                </a:cubicBezTo>
                <a:cubicBezTo>
                  <a:pt x="3787775" y="562163"/>
                  <a:pt x="3794125" y="597088"/>
                  <a:pt x="3816985" y="596454"/>
                </a:cubicBezTo>
                <a:close/>
                <a:moveTo>
                  <a:pt x="3858260" y="471994"/>
                </a:moveTo>
                <a:cubicBezTo>
                  <a:pt x="3892550" y="471994"/>
                  <a:pt x="3883660" y="417383"/>
                  <a:pt x="3851275" y="428179"/>
                </a:cubicBezTo>
                <a:cubicBezTo>
                  <a:pt x="3827145" y="435163"/>
                  <a:pt x="3833495" y="473263"/>
                  <a:pt x="3858260" y="471994"/>
                </a:cubicBezTo>
                <a:close/>
                <a:moveTo>
                  <a:pt x="3595370" y="561529"/>
                </a:moveTo>
                <a:cubicBezTo>
                  <a:pt x="3582035" y="535494"/>
                  <a:pt x="3541395" y="557084"/>
                  <a:pt x="3555365" y="582484"/>
                </a:cubicBezTo>
                <a:cubicBezTo>
                  <a:pt x="3568700" y="608519"/>
                  <a:pt x="3609340" y="586929"/>
                  <a:pt x="3595370" y="561529"/>
                </a:cubicBezTo>
                <a:close/>
                <a:moveTo>
                  <a:pt x="3688080" y="516444"/>
                </a:moveTo>
                <a:cubicBezTo>
                  <a:pt x="3676015" y="489774"/>
                  <a:pt x="3634740" y="509458"/>
                  <a:pt x="3647440" y="535494"/>
                </a:cubicBezTo>
                <a:cubicBezTo>
                  <a:pt x="3658870" y="562163"/>
                  <a:pt x="3700780" y="543113"/>
                  <a:pt x="3688080" y="516444"/>
                </a:cubicBezTo>
                <a:close/>
                <a:moveTo>
                  <a:pt x="3472180" y="887284"/>
                </a:moveTo>
                <a:cubicBezTo>
                  <a:pt x="3481070" y="909509"/>
                  <a:pt x="3515360" y="894904"/>
                  <a:pt x="3505835" y="873313"/>
                </a:cubicBezTo>
                <a:cubicBezTo>
                  <a:pt x="3497580" y="851088"/>
                  <a:pt x="3462655" y="865694"/>
                  <a:pt x="3472180" y="887284"/>
                </a:cubicBezTo>
                <a:close/>
                <a:moveTo>
                  <a:pt x="3540760" y="920304"/>
                </a:moveTo>
                <a:cubicBezTo>
                  <a:pt x="3533775" y="899349"/>
                  <a:pt x="3501390" y="910779"/>
                  <a:pt x="3509010" y="931734"/>
                </a:cubicBezTo>
                <a:cubicBezTo>
                  <a:pt x="3515995" y="952054"/>
                  <a:pt x="3548380" y="940624"/>
                  <a:pt x="3540760" y="920304"/>
                </a:cubicBezTo>
                <a:close/>
                <a:moveTo>
                  <a:pt x="3567430" y="680909"/>
                </a:moveTo>
                <a:cubicBezTo>
                  <a:pt x="3555365" y="656144"/>
                  <a:pt x="3516630" y="675829"/>
                  <a:pt x="3529965" y="699959"/>
                </a:cubicBezTo>
                <a:cubicBezTo>
                  <a:pt x="3542030" y="724724"/>
                  <a:pt x="3580130" y="705038"/>
                  <a:pt x="3567430" y="680909"/>
                </a:cubicBezTo>
                <a:close/>
                <a:moveTo>
                  <a:pt x="3866515" y="303083"/>
                </a:moveTo>
                <a:cubicBezTo>
                  <a:pt x="3836670" y="311338"/>
                  <a:pt x="3850640" y="358329"/>
                  <a:pt x="3880485" y="348804"/>
                </a:cubicBezTo>
                <a:cubicBezTo>
                  <a:pt x="3910330" y="340549"/>
                  <a:pt x="3896360" y="293558"/>
                  <a:pt x="3866515" y="303083"/>
                </a:cubicBezTo>
                <a:close/>
                <a:moveTo>
                  <a:pt x="3481070" y="725994"/>
                </a:moveTo>
                <a:cubicBezTo>
                  <a:pt x="3468370" y="701863"/>
                  <a:pt x="3430270" y="722184"/>
                  <a:pt x="3444240" y="746313"/>
                </a:cubicBezTo>
                <a:cubicBezTo>
                  <a:pt x="3456940" y="770444"/>
                  <a:pt x="3494405" y="749488"/>
                  <a:pt x="3481070" y="725994"/>
                </a:cubicBezTo>
                <a:close/>
                <a:moveTo>
                  <a:pt x="3442970" y="937449"/>
                </a:moveTo>
                <a:cubicBezTo>
                  <a:pt x="3422015" y="945069"/>
                  <a:pt x="3434715" y="977454"/>
                  <a:pt x="3455035" y="969199"/>
                </a:cubicBezTo>
                <a:cubicBezTo>
                  <a:pt x="3475355" y="961579"/>
                  <a:pt x="3463290" y="929194"/>
                  <a:pt x="3442970" y="937449"/>
                </a:cubicBezTo>
                <a:close/>
                <a:moveTo>
                  <a:pt x="3553460" y="465644"/>
                </a:moveTo>
                <a:cubicBezTo>
                  <a:pt x="3568065" y="492949"/>
                  <a:pt x="3610610" y="469454"/>
                  <a:pt x="3595370" y="442149"/>
                </a:cubicBezTo>
                <a:cubicBezTo>
                  <a:pt x="3580765" y="414844"/>
                  <a:pt x="3538220" y="438338"/>
                  <a:pt x="3553460" y="465644"/>
                </a:cubicBezTo>
                <a:close/>
                <a:moveTo>
                  <a:pt x="3654425" y="713929"/>
                </a:moveTo>
                <a:cubicBezTo>
                  <a:pt x="3630295" y="723454"/>
                  <a:pt x="3645535" y="760284"/>
                  <a:pt x="3669030" y="750759"/>
                </a:cubicBezTo>
                <a:cubicBezTo>
                  <a:pt x="3693160" y="741234"/>
                  <a:pt x="3677920" y="703769"/>
                  <a:pt x="3654425" y="713929"/>
                </a:cubicBezTo>
                <a:close/>
                <a:moveTo>
                  <a:pt x="6868160" y="2072829"/>
                </a:moveTo>
                <a:cubicBezTo>
                  <a:pt x="6890385" y="2091879"/>
                  <a:pt x="6919595" y="2055684"/>
                  <a:pt x="6896735" y="2037904"/>
                </a:cubicBezTo>
                <a:cubicBezTo>
                  <a:pt x="6873875" y="2019488"/>
                  <a:pt x="6845300" y="2055049"/>
                  <a:pt x="6868160" y="2072829"/>
                </a:cubicBezTo>
                <a:close/>
                <a:moveTo>
                  <a:pt x="9773920" y="1907094"/>
                </a:moveTo>
                <a:cubicBezTo>
                  <a:pt x="9783445" y="1919794"/>
                  <a:pt x="9804400" y="1913444"/>
                  <a:pt x="9806305" y="1898204"/>
                </a:cubicBezTo>
                <a:cubicBezTo>
                  <a:pt x="9853930" y="1966784"/>
                  <a:pt x="9854565" y="1825179"/>
                  <a:pt x="9806305" y="1893124"/>
                </a:cubicBezTo>
                <a:cubicBezTo>
                  <a:pt x="9801860" y="1862644"/>
                  <a:pt x="9754870" y="1882329"/>
                  <a:pt x="9773920" y="1907094"/>
                </a:cubicBezTo>
                <a:close/>
                <a:moveTo>
                  <a:pt x="9812020" y="1806129"/>
                </a:moveTo>
                <a:cubicBezTo>
                  <a:pt x="9835515" y="1805494"/>
                  <a:pt x="9825355" y="1768663"/>
                  <a:pt x="9805035" y="1779459"/>
                </a:cubicBezTo>
                <a:cubicBezTo>
                  <a:pt x="9792335" y="1786444"/>
                  <a:pt x="9798050" y="1806763"/>
                  <a:pt x="9812020" y="1806129"/>
                </a:cubicBezTo>
                <a:close/>
                <a:moveTo>
                  <a:pt x="9760585" y="1803588"/>
                </a:moveTo>
                <a:cubicBezTo>
                  <a:pt x="9780905" y="1803588"/>
                  <a:pt x="9773920" y="1771204"/>
                  <a:pt x="9755505" y="1779459"/>
                </a:cubicBezTo>
                <a:cubicBezTo>
                  <a:pt x="9742805" y="1784538"/>
                  <a:pt x="9747250" y="1804224"/>
                  <a:pt x="9760585" y="1803588"/>
                </a:cubicBezTo>
                <a:close/>
                <a:moveTo>
                  <a:pt x="9786620" y="1938209"/>
                </a:moveTo>
                <a:cubicBezTo>
                  <a:pt x="9766300" y="1956624"/>
                  <a:pt x="9796145" y="1988374"/>
                  <a:pt x="9815830" y="1968688"/>
                </a:cubicBezTo>
                <a:cubicBezTo>
                  <a:pt x="9836150" y="1950274"/>
                  <a:pt x="9806305" y="1919159"/>
                  <a:pt x="9786620" y="1938209"/>
                </a:cubicBezTo>
                <a:close/>
                <a:moveTo>
                  <a:pt x="9795510" y="1838513"/>
                </a:moveTo>
                <a:cubicBezTo>
                  <a:pt x="9773920" y="1882963"/>
                  <a:pt x="9855200" y="1862644"/>
                  <a:pt x="9815195" y="1833434"/>
                </a:cubicBezTo>
                <a:cubicBezTo>
                  <a:pt x="9832340" y="1794063"/>
                  <a:pt x="9761855" y="1811844"/>
                  <a:pt x="9795510" y="1838513"/>
                </a:cubicBezTo>
                <a:close/>
                <a:moveTo>
                  <a:pt x="9856470" y="1795969"/>
                </a:moveTo>
                <a:cubicBezTo>
                  <a:pt x="9851390" y="1837244"/>
                  <a:pt x="9914890" y="1808034"/>
                  <a:pt x="9879965" y="1785174"/>
                </a:cubicBezTo>
                <a:cubicBezTo>
                  <a:pt x="9880600" y="1780094"/>
                  <a:pt x="9878695" y="1773744"/>
                  <a:pt x="9873615" y="1770569"/>
                </a:cubicBezTo>
                <a:cubicBezTo>
                  <a:pt x="9885045" y="1769299"/>
                  <a:pt x="9889490" y="1754059"/>
                  <a:pt x="9881235" y="1746438"/>
                </a:cubicBezTo>
                <a:cubicBezTo>
                  <a:pt x="9906635" y="1721674"/>
                  <a:pt x="9847580" y="1713419"/>
                  <a:pt x="9864725" y="1743899"/>
                </a:cubicBezTo>
                <a:cubicBezTo>
                  <a:pt x="9855835" y="1748344"/>
                  <a:pt x="9854565" y="1761679"/>
                  <a:pt x="9862185" y="1767394"/>
                </a:cubicBezTo>
                <a:cubicBezTo>
                  <a:pt x="9848215" y="1768663"/>
                  <a:pt x="9843770" y="1788984"/>
                  <a:pt x="9856470" y="1795969"/>
                </a:cubicBezTo>
                <a:close/>
                <a:moveTo>
                  <a:pt x="10309860" y="1387663"/>
                </a:moveTo>
                <a:cubicBezTo>
                  <a:pt x="10313670" y="1402904"/>
                  <a:pt x="10333990" y="1407984"/>
                  <a:pt x="10344785" y="1396554"/>
                </a:cubicBezTo>
                <a:cubicBezTo>
                  <a:pt x="10346690" y="1396554"/>
                  <a:pt x="10349230" y="1395919"/>
                  <a:pt x="10351135" y="1395284"/>
                </a:cubicBezTo>
                <a:cubicBezTo>
                  <a:pt x="10362565" y="1415604"/>
                  <a:pt x="10393680" y="1395284"/>
                  <a:pt x="10379710" y="1376869"/>
                </a:cubicBezTo>
                <a:cubicBezTo>
                  <a:pt x="10380980" y="1369249"/>
                  <a:pt x="10376535" y="1360359"/>
                  <a:pt x="10368915" y="1357819"/>
                </a:cubicBezTo>
                <a:cubicBezTo>
                  <a:pt x="10391775" y="1329244"/>
                  <a:pt x="10340340" y="1300669"/>
                  <a:pt x="10327640" y="1334324"/>
                </a:cubicBezTo>
                <a:cubicBezTo>
                  <a:pt x="10314305" y="1336863"/>
                  <a:pt x="10304780" y="1352104"/>
                  <a:pt x="10308590" y="1365438"/>
                </a:cubicBezTo>
                <a:cubicBezTo>
                  <a:pt x="10305415" y="1372424"/>
                  <a:pt x="10306050" y="1380679"/>
                  <a:pt x="10309860" y="1387663"/>
                </a:cubicBezTo>
                <a:close/>
                <a:moveTo>
                  <a:pt x="9817735" y="1776919"/>
                </a:moveTo>
                <a:cubicBezTo>
                  <a:pt x="9838055" y="1776284"/>
                  <a:pt x="9831070" y="1743899"/>
                  <a:pt x="9812020" y="1752788"/>
                </a:cubicBezTo>
                <a:cubicBezTo>
                  <a:pt x="9799955" y="1757869"/>
                  <a:pt x="9805035" y="1777554"/>
                  <a:pt x="9817735" y="1776919"/>
                </a:cubicBezTo>
                <a:close/>
                <a:moveTo>
                  <a:pt x="9854565" y="1859469"/>
                </a:moveTo>
                <a:cubicBezTo>
                  <a:pt x="9887585" y="1858199"/>
                  <a:pt x="9869170" y="1806763"/>
                  <a:pt x="9842500" y="1827084"/>
                </a:cubicBezTo>
                <a:cubicBezTo>
                  <a:pt x="9829800" y="1837244"/>
                  <a:pt x="9838055" y="1860104"/>
                  <a:pt x="9854565" y="1859469"/>
                </a:cubicBezTo>
                <a:close/>
                <a:moveTo>
                  <a:pt x="9690735" y="1872169"/>
                </a:moveTo>
                <a:cubicBezTo>
                  <a:pt x="9713595" y="1871534"/>
                  <a:pt x="9704705" y="1835338"/>
                  <a:pt x="9684385" y="1845499"/>
                </a:cubicBezTo>
                <a:cubicBezTo>
                  <a:pt x="9671050" y="1851213"/>
                  <a:pt x="9676130" y="1872804"/>
                  <a:pt x="9690735" y="1872169"/>
                </a:cubicBezTo>
                <a:close/>
                <a:moveTo>
                  <a:pt x="9676765" y="1957894"/>
                </a:moveTo>
                <a:cubicBezTo>
                  <a:pt x="9705340" y="1957259"/>
                  <a:pt x="9692005" y="1911538"/>
                  <a:pt x="9667240" y="1926779"/>
                </a:cubicBezTo>
                <a:cubicBezTo>
                  <a:pt x="9653270" y="1935669"/>
                  <a:pt x="9660255" y="1958529"/>
                  <a:pt x="9676765" y="1957894"/>
                </a:cubicBezTo>
                <a:close/>
                <a:moveTo>
                  <a:pt x="10376535" y="1307654"/>
                </a:moveTo>
                <a:cubicBezTo>
                  <a:pt x="10373360" y="1322259"/>
                  <a:pt x="10389235" y="1336229"/>
                  <a:pt x="10403205" y="1331149"/>
                </a:cubicBezTo>
                <a:cubicBezTo>
                  <a:pt x="10406380" y="1332419"/>
                  <a:pt x="10410190" y="1333054"/>
                  <a:pt x="10413365" y="1332419"/>
                </a:cubicBezTo>
                <a:cubicBezTo>
                  <a:pt x="10406380" y="1366074"/>
                  <a:pt x="10462260" y="1354644"/>
                  <a:pt x="10442575" y="1326069"/>
                </a:cubicBezTo>
                <a:cubicBezTo>
                  <a:pt x="10450195" y="1314004"/>
                  <a:pt x="10439400" y="1297494"/>
                  <a:pt x="10425430" y="1298763"/>
                </a:cubicBezTo>
                <a:cubicBezTo>
                  <a:pt x="10423525" y="1296859"/>
                  <a:pt x="10421620" y="1295588"/>
                  <a:pt x="10419080" y="1294319"/>
                </a:cubicBezTo>
                <a:cubicBezTo>
                  <a:pt x="10419080" y="1291779"/>
                  <a:pt x="10418445" y="1289238"/>
                  <a:pt x="10417175" y="1286699"/>
                </a:cubicBezTo>
                <a:cubicBezTo>
                  <a:pt x="10419080" y="1284794"/>
                  <a:pt x="10421620" y="1283524"/>
                  <a:pt x="10422890" y="1280984"/>
                </a:cubicBezTo>
                <a:cubicBezTo>
                  <a:pt x="10464800" y="1272729"/>
                  <a:pt x="10431145" y="1211134"/>
                  <a:pt x="10401300" y="1240979"/>
                </a:cubicBezTo>
                <a:cubicBezTo>
                  <a:pt x="10382250" y="1240344"/>
                  <a:pt x="10369550" y="1265109"/>
                  <a:pt x="10380980" y="1280349"/>
                </a:cubicBezTo>
                <a:cubicBezTo>
                  <a:pt x="10373995" y="1287969"/>
                  <a:pt x="10372090" y="1299399"/>
                  <a:pt x="10376535" y="1307654"/>
                </a:cubicBezTo>
                <a:close/>
                <a:moveTo>
                  <a:pt x="9675495" y="1919159"/>
                </a:moveTo>
                <a:cubicBezTo>
                  <a:pt x="9701530" y="1918524"/>
                  <a:pt x="9690735" y="1877884"/>
                  <a:pt x="9667875" y="1889949"/>
                </a:cubicBezTo>
                <a:cubicBezTo>
                  <a:pt x="9653905" y="1897569"/>
                  <a:pt x="9660255" y="1919794"/>
                  <a:pt x="9675495" y="1919159"/>
                </a:cubicBezTo>
                <a:close/>
                <a:moveTo>
                  <a:pt x="9665970" y="1989009"/>
                </a:moveTo>
                <a:cubicBezTo>
                  <a:pt x="9652635" y="1969324"/>
                  <a:pt x="9622155" y="1990913"/>
                  <a:pt x="9636125" y="2010599"/>
                </a:cubicBezTo>
                <a:cubicBezTo>
                  <a:pt x="9649460" y="2029649"/>
                  <a:pt x="9679940" y="2008059"/>
                  <a:pt x="9665970" y="1989009"/>
                </a:cubicBezTo>
                <a:close/>
                <a:moveTo>
                  <a:pt x="9751695" y="1839784"/>
                </a:moveTo>
                <a:cubicBezTo>
                  <a:pt x="9775190" y="1839149"/>
                  <a:pt x="9765665" y="1802319"/>
                  <a:pt x="9744710" y="1813113"/>
                </a:cubicBezTo>
                <a:cubicBezTo>
                  <a:pt x="9732010" y="1820099"/>
                  <a:pt x="9737725" y="1840419"/>
                  <a:pt x="9751695" y="1839784"/>
                </a:cubicBezTo>
                <a:close/>
                <a:moveTo>
                  <a:pt x="9702165" y="1828988"/>
                </a:moveTo>
                <a:cubicBezTo>
                  <a:pt x="9721850" y="1828354"/>
                  <a:pt x="9715500" y="1797238"/>
                  <a:pt x="9697085" y="1804859"/>
                </a:cubicBezTo>
                <a:cubicBezTo>
                  <a:pt x="9684385" y="1809938"/>
                  <a:pt x="9688830" y="1829624"/>
                  <a:pt x="9702165" y="1828988"/>
                </a:cubicBezTo>
                <a:close/>
                <a:moveTo>
                  <a:pt x="9670415" y="2100134"/>
                </a:moveTo>
                <a:cubicBezTo>
                  <a:pt x="9691370" y="2082988"/>
                  <a:pt x="9663430" y="2049969"/>
                  <a:pt x="9643110" y="2067749"/>
                </a:cubicBezTo>
                <a:cubicBezTo>
                  <a:pt x="9621520" y="2085529"/>
                  <a:pt x="9650095" y="2118549"/>
                  <a:pt x="9670415" y="2100134"/>
                </a:cubicBezTo>
                <a:close/>
                <a:moveTo>
                  <a:pt x="9705975" y="1959799"/>
                </a:moveTo>
                <a:cubicBezTo>
                  <a:pt x="9714230" y="1971229"/>
                  <a:pt x="9732645" y="1968688"/>
                  <a:pt x="9737725" y="1955988"/>
                </a:cubicBezTo>
                <a:cubicBezTo>
                  <a:pt x="9770745" y="2030919"/>
                  <a:pt x="9799320" y="1895029"/>
                  <a:pt x="9738995" y="1949638"/>
                </a:cubicBezTo>
                <a:cubicBezTo>
                  <a:pt x="9738995" y="1916619"/>
                  <a:pt x="9686925" y="1932494"/>
                  <a:pt x="9705975" y="1959799"/>
                </a:cubicBezTo>
                <a:close/>
                <a:moveTo>
                  <a:pt x="9745345" y="2005519"/>
                </a:moveTo>
                <a:cubicBezTo>
                  <a:pt x="9701530" y="1971229"/>
                  <a:pt x="9697085" y="2065209"/>
                  <a:pt x="9744075" y="2035363"/>
                </a:cubicBezTo>
                <a:lnTo>
                  <a:pt x="9744075" y="2035363"/>
                </a:lnTo>
                <a:cubicBezTo>
                  <a:pt x="9752965" y="2027744"/>
                  <a:pt x="9753600" y="2014409"/>
                  <a:pt x="9745345" y="2005519"/>
                </a:cubicBezTo>
                <a:close/>
                <a:moveTo>
                  <a:pt x="9737090" y="1880424"/>
                </a:moveTo>
                <a:cubicBezTo>
                  <a:pt x="9688830" y="1926779"/>
                  <a:pt x="9803130" y="1912809"/>
                  <a:pt x="9744710" y="1879788"/>
                </a:cubicBezTo>
                <a:cubicBezTo>
                  <a:pt x="9788525" y="1837244"/>
                  <a:pt x="9685020" y="1849309"/>
                  <a:pt x="9737090" y="1880424"/>
                </a:cubicBezTo>
                <a:close/>
                <a:moveTo>
                  <a:pt x="10817225" y="939354"/>
                </a:moveTo>
                <a:cubicBezTo>
                  <a:pt x="10796270" y="954594"/>
                  <a:pt x="10821035" y="986344"/>
                  <a:pt x="10840720" y="971104"/>
                </a:cubicBezTo>
                <a:cubicBezTo>
                  <a:pt x="10861675" y="955863"/>
                  <a:pt x="10837545" y="924113"/>
                  <a:pt x="10817225" y="939354"/>
                </a:cubicBezTo>
                <a:close/>
                <a:moveTo>
                  <a:pt x="10849610" y="990788"/>
                </a:moveTo>
                <a:cubicBezTo>
                  <a:pt x="10836275" y="971104"/>
                  <a:pt x="10805795" y="992059"/>
                  <a:pt x="10819130" y="1011744"/>
                </a:cubicBezTo>
                <a:cubicBezTo>
                  <a:pt x="10832465" y="1031429"/>
                  <a:pt x="10863580" y="1010474"/>
                  <a:pt x="10849610" y="990788"/>
                </a:cubicBezTo>
                <a:close/>
                <a:moveTo>
                  <a:pt x="10823575" y="1075879"/>
                </a:moveTo>
                <a:cubicBezTo>
                  <a:pt x="10852150" y="1075244"/>
                  <a:pt x="10839450" y="1030159"/>
                  <a:pt x="10814685" y="1044763"/>
                </a:cubicBezTo>
                <a:cubicBezTo>
                  <a:pt x="10800080" y="1053019"/>
                  <a:pt x="10807065" y="1076513"/>
                  <a:pt x="10823575" y="1075879"/>
                </a:cubicBezTo>
                <a:close/>
                <a:moveTo>
                  <a:pt x="10760075" y="852359"/>
                </a:moveTo>
                <a:cubicBezTo>
                  <a:pt x="10759440" y="893634"/>
                  <a:pt x="10803255" y="879663"/>
                  <a:pt x="10808335" y="858074"/>
                </a:cubicBezTo>
                <a:cubicBezTo>
                  <a:pt x="10808970" y="869504"/>
                  <a:pt x="10817860" y="880299"/>
                  <a:pt x="10830560" y="879663"/>
                </a:cubicBezTo>
                <a:cubicBezTo>
                  <a:pt x="10871835" y="877759"/>
                  <a:pt x="10847705" y="814259"/>
                  <a:pt x="10815320" y="840294"/>
                </a:cubicBezTo>
                <a:cubicBezTo>
                  <a:pt x="10811510" y="843469"/>
                  <a:pt x="10808970" y="847913"/>
                  <a:pt x="10808335" y="852359"/>
                </a:cubicBezTo>
                <a:cubicBezTo>
                  <a:pt x="10807700" y="846009"/>
                  <a:pt x="10803255" y="839024"/>
                  <a:pt x="10793095" y="833309"/>
                </a:cubicBezTo>
                <a:cubicBezTo>
                  <a:pt x="10796905" y="770444"/>
                  <a:pt x="10704195" y="823149"/>
                  <a:pt x="10760075" y="852359"/>
                </a:cubicBezTo>
                <a:close/>
                <a:moveTo>
                  <a:pt x="10810240" y="894904"/>
                </a:moveTo>
                <a:cubicBezTo>
                  <a:pt x="10788650" y="912049"/>
                  <a:pt x="10815955" y="945069"/>
                  <a:pt x="10836910" y="927288"/>
                </a:cubicBezTo>
                <a:cubicBezTo>
                  <a:pt x="10858500" y="910779"/>
                  <a:pt x="10831195" y="877124"/>
                  <a:pt x="10810240" y="894904"/>
                </a:cubicBezTo>
                <a:close/>
                <a:moveTo>
                  <a:pt x="10877550" y="1025713"/>
                </a:moveTo>
                <a:cubicBezTo>
                  <a:pt x="10888345" y="1044763"/>
                  <a:pt x="10918190" y="1026984"/>
                  <a:pt x="10906760" y="1008569"/>
                </a:cubicBezTo>
                <a:cubicBezTo>
                  <a:pt x="10895965" y="989519"/>
                  <a:pt x="10866120" y="1007299"/>
                  <a:pt x="10877550" y="1025713"/>
                </a:cubicBezTo>
                <a:close/>
                <a:moveTo>
                  <a:pt x="10779125" y="1039684"/>
                </a:moveTo>
                <a:cubicBezTo>
                  <a:pt x="10765790" y="1019999"/>
                  <a:pt x="10735310" y="1041588"/>
                  <a:pt x="10749280" y="1061274"/>
                </a:cubicBezTo>
                <a:cubicBezTo>
                  <a:pt x="10762615" y="1080959"/>
                  <a:pt x="10793095" y="1058734"/>
                  <a:pt x="10779125" y="1039684"/>
                </a:cubicBezTo>
                <a:close/>
                <a:moveTo>
                  <a:pt x="10921365" y="943163"/>
                </a:moveTo>
                <a:cubicBezTo>
                  <a:pt x="10908665" y="922844"/>
                  <a:pt x="10877550" y="943163"/>
                  <a:pt x="10890885" y="962849"/>
                </a:cubicBezTo>
                <a:cubicBezTo>
                  <a:pt x="10903585" y="983804"/>
                  <a:pt x="10934700" y="963484"/>
                  <a:pt x="10921365" y="943163"/>
                </a:cubicBezTo>
                <a:close/>
                <a:moveTo>
                  <a:pt x="10445750" y="1232088"/>
                </a:moveTo>
                <a:cubicBezTo>
                  <a:pt x="10439400" y="1244154"/>
                  <a:pt x="10448290" y="1260029"/>
                  <a:pt x="10461625" y="1261934"/>
                </a:cubicBezTo>
                <a:cubicBezTo>
                  <a:pt x="10464800" y="1266379"/>
                  <a:pt x="10469880" y="1269554"/>
                  <a:pt x="10475595" y="1270188"/>
                </a:cubicBezTo>
                <a:cubicBezTo>
                  <a:pt x="10476865" y="1272729"/>
                  <a:pt x="10478770" y="1275269"/>
                  <a:pt x="10480675" y="1276538"/>
                </a:cubicBezTo>
                <a:cubicBezTo>
                  <a:pt x="10455910" y="1314004"/>
                  <a:pt x="10531475" y="1311463"/>
                  <a:pt x="10504170" y="1275904"/>
                </a:cubicBezTo>
                <a:cubicBezTo>
                  <a:pt x="10514965" y="1267013"/>
                  <a:pt x="10510520" y="1247329"/>
                  <a:pt x="10496550" y="1244788"/>
                </a:cubicBezTo>
                <a:cubicBezTo>
                  <a:pt x="10495280" y="1239074"/>
                  <a:pt x="10490200" y="1234629"/>
                  <a:pt x="10485120" y="1232724"/>
                </a:cubicBezTo>
                <a:cubicBezTo>
                  <a:pt x="10490835" y="1222563"/>
                  <a:pt x="10487660" y="1208594"/>
                  <a:pt x="10477500" y="1202244"/>
                </a:cubicBezTo>
                <a:cubicBezTo>
                  <a:pt x="10480040" y="1201609"/>
                  <a:pt x="10482580" y="1200338"/>
                  <a:pt x="10485120" y="1199069"/>
                </a:cubicBezTo>
                <a:cubicBezTo>
                  <a:pt x="10525125" y="1204784"/>
                  <a:pt x="10518140" y="1139379"/>
                  <a:pt x="10480040" y="1153349"/>
                </a:cubicBezTo>
                <a:cubicBezTo>
                  <a:pt x="10452100" y="1143188"/>
                  <a:pt x="10433050" y="1185734"/>
                  <a:pt x="10459720" y="1199704"/>
                </a:cubicBezTo>
                <a:cubicBezTo>
                  <a:pt x="10445750" y="1202244"/>
                  <a:pt x="10438765" y="1220024"/>
                  <a:pt x="10445750" y="1232088"/>
                </a:cubicBezTo>
                <a:close/>
                <a:moveTo>
                  <a:pt x="10840720" y="770444"/>
                </a:moveTo>
                <a:cubicBezTo>
                  <a:pt x="10824845" y="833944"/>
                  <a:pt x="10927080" y="790763"/>
                  <a:pt x="10870565" y="757744"/>
                </a:cubicBezTo>
                <a:cubicBezTo>
                  <a:pt x="10890250" y="688529"/>
                  <a:pt x="10777220" y="736154"/>
                  <a:pt x="10840720" y="770444"/>
                </a:cubicBezTo>
                <a:close/>
                <a:moveTo>
                  <a:pt x="10543540" y="1112709"/>
                </a:moveTo>
                <a:cubicBezTo>
                  <a:pt x="10544810" y="1112709"/>
                  <a:pt x="10545445" y="1112709"/>
                  <a:pt x="10546715" y="1112074"/>
                </a:cubicBezTo>
                <a:cubicBezTo>
                  <a:pt x="10581005" y="1134299"/>
                  <a:pt x="10601960" y="1070799"/>
                  <a:pt x="10560685" y="1068259"/>
                </a:cubicBezTo>
                <a:cubicBezTo>
                  <a:pt x="10525125" y="1038413"/>
                  <a:pt x="10496550" y="1110804"/>
                  <a:pt x="10543540" y="1112709"/>
                </a:cubicBezTo>
                <a:close/>
                <a:moveTo>
                  <a:pt x="10581005" y="1240344"/>
                </a:moveTo>
                <a:cubicBezTo>
                  <a:pt x="10563860" y="1251138"/>
                  <a:pt x="10581005" y="1277809"/>
                  <a:pt x="10598150" y="1266379"/>
                </a:cubicBezTo>
                <a:cubicBezTo>
                  <a:pt x="10614660" y="1255584"/>
                  <a:pt x="10597515" y="1228913"/>
                  <a:pt x="10581005" y="1240344"/>
                </a:cubicBezTo>
                <a:close/>
                <a:moveTo>
                  <a:pt x="10518775" y="1187004"/>
                </a:moveTo>
                <a:cubicBezTo>
                  <a:pt x="10520680" y="1188909"/>
                  <a:pt x="10523220" y="1190813"/>
                  <a:pt x="10525760" y="1192084"/>
                </a:cubicBezTo>
                <a:cubicBezTo>
                  <a:pt x="10526395" y="1199069"/>
                  <a:pt x="10532745" y="1206054"/>
                  <a:pt x="10539730" y="1207959"/>
                </a:cubicBezTo>
                <a:cubicBezTo>
                  <a:pt x="10539730" y="1214944"/>
                  <a:pt x="10544175" y="1221929"/>
                  <a:pt x="10551160" y="1224469"/>
                </a:cubicBezTo>
                <a:cubicBezTo>
                  <a:pt x="10504805" y="1262569"/>
                  <a:pt x="10607675" y="1266379"/>
                  <a:pt x="10563860" y="1225104"/>
                </a:cubicBezTo>
                <a:cubicBezTo>
                  <a:pt x="10579735" y="1220024"/>
                  <a:pt x="10580370" y="1196529"/>
                  <a:pt x="10564495" y="1190813"/>
                </a:cubicBezTo>
                <a:cubicBezTo>
                  <a:pt x="10565130" y="1183829"/>
                  <a:pt x="10561320" y="1175574"/>
                  <a:pt x="10554335" y="1171763"/>
                </a:cubicBezTo>
                <a:cubicBezTo>
                  <a:pt x="10554335" y="1167954"/>
                  <a:pt x="10553065" y="1164144"/>
                  <a:pt x="10551160" y="1160969"/>
                </a:cubicBezTo>
                <a:cubicBezTo>
                  <a:pt x="10582910" y="1115249"/>
                  <a:pt x="10489565" y="1110804"/>
                  <a:pt x="10516870" y="1159063"/>
                </a:cubicBezTo>
                <a:cubicBezTo>
                  <a:pt x="10511155" y="1167319"/>
                  <a:pt x="10511790" y="1179384"/>
                  <a:pt x="10518775" y="1187004"/>
                </a:cubicBezTo>
                <a:close/>
                <a:moveTo>
                  <a:pt x="10551795" y="1160334"/>
                </a:moveTo>
                <a:lnTo>
                  <a:pt x="10551795" y="1160334"/>
                </a:lnTo>
                <a:cubicBezTo>
                  <a:pt x="10551795" y="1160969"/>
                  <a:pt x="10551795" y="1160969"/>
                  <a:pt x="10551795" y="1160334"/>
                </a:cubicBezTo>
                <a:cubicBezTo>
                  <a:pt x="10551795" y="1160969"/>
                  <a:pt x="10551795" y="1160969"/>
                  <a:pt x="10551795" y="1160334"/>
                </a:cubicBezTo>
                <a:close/>
                <a:moveTo>
                  <a:pt x="10746740" y="1087944"/>
                </a:moveTo>
                <a:cubicBezTo>
                  <a:pt x="10746740" y="1087944"/>
                  <a:pt x="10746740" y="1087944"/>
                  <a:pt x="10746740" y="1087944"/>
                </a:cubicBezTo>
                <a:cubicBezTo>
                  <a:pt x="10728325" y="1100009"/>
                  <a:pt x="10747375" y="1128584"/>
                  <a:pt x="10765155" y="1116519"/>
                </a:cubicBezTo>
                <a:cubicBezTo>
                  <a:pt x="10783570" y="1105088"/>
                  <a:pt x="10764520" y="1075879"/>
                  <a:pt x="10746740" y="1087944"/>
                </a:cubicBezTo>
                <a:close/>
                <a:moveTo>
                  <a:pt x="10595610" y="1123504"/>
                </a:moveTo>
                <a:cubicBezTo>
                  <a:pt x="10593070" y="1133029"/>
                  <a:pt x="10599420" y="1143824"/>
                  <a:pt x="10608945" y="1146363"/>
                </a:cubicBezTo>
                <a:cubicBezTo>
                  <a:pt x="10598785" y="1193988"/>
                  <a:pt x="10674350" y="1160969"/>
                  <a:pt x="10632440" y="1136204"/>
                </a:cubicBezTo>
                <a:cubicBezTo>
                  <a:pt x="10636885" y="1127313"/>
                  <a:pt x="10633710" y="1115249"/>
                  <a:pt x="10624185" y="1110804"/>
                </a:cubicBezTo>
                <a:cubicBezTo>
                  <a:pt x="10626725" y="1103819"/>
                  <a:pt x="10624820" y="1094929"/>
                  <a:pt x="10619105" y="1089213"/>
                </a:cubicBezTo>
                <a:cubicBezTo>
                  <a:pt x="10664825" y="1041588"/>
                  <a:pt x="10553065" y="1033969"/>
                  <a:pt x="10591800" y="1087309"/>
                </a:cubicBezTo>
                <a:cubicBezTo>
                  <a:pt x="10579100" y="1096199"/>
                  <a:pt x="10581005" y="1117788"/>
                  <a:pt x="10595610" y="1123504"/>
                </a:cubicBezTo>
                <a:close/>
                <a:moveTo>
                  <a:pt x="10754360" y="949513"/>
                </a:moveTo>
                <a:cubicBezTo>
                  <a:pt x="10796270" y="947609"/>
                  <a:pt x="10770870" y="883474"/>
                  <a:pt x="10739120" y="910144"/>
                </a:cubicBezTo>
                <a:cubicBezTo>
                  <a:pt x="10723880" y="923479"/>
                  <a:pt x="10734675" y="950149"/>
                  <a:pt x="10754360" y="949513"/>
                </a:cubicBezTo>
                <a:close/>
                <a:moveTo>
                  <a:pt x="10683875" y="937449"/>
                </a:moveTo>
                <a:cubicBezTo>
                  <a:pt x="10696575" y="985074"/>
                  <a:pt x="10760710" y="933638"/>
                  <a:pt x="10716895" y="911413"/>
                </a:cubicBezTo>
                <a:cubicBezTo>
                  <a:pt x="10706100" y="855534"/>
                  <a:pt x="10632440" y="914588"/>
                  <a:pt x="10683875" y="937449"/>
                </a:cubicBezTo>
                <a:close/>
                <a:moveTo>
                  <a:pt x="10612755" y="1024444"/>
                </a:moveTo>
                <a:cubicBezTo>
                  <a:pt x="10636885" y="1061274"/>
                  <a:pt x="10681335" y="1003488"/>
                  <a:pt x="10640060" y="988884"/>
                </a:cubicBezTo>
                <a:cubicBezTo>
                  <a:pt x="10614660" y="943163"/>
                  <a:pt x="10561955" y="1012379"/>
                  <a:pt x="10612755" y="1024444"/>
                </a:cubicBezTo>
                <a:close/>
                <a:moveTo>
                  <a:pt x="9133840" y="2333179"/>
                </a:moveTo>
                <a:cubicBezTo>
                  <a:pt x="9123680" y="2336989"/>
                  <a:pt x="9119235" y="2349054"/>
                  <a:pt x="9123680" y="2359214"/>
                </a:cubicBezTo>
                <a:cubicBezTo>
                  <a:pt x="9152255" y="2402394"/>
                  <a:pt x="9184005" y="2321114"/>
                  <a:pt x="9133840" y="2333179"/>
                </a:cubicBezTo>
                <a:close/>
                <a:moveTo>
                  <a:pt x="9323705" y="2261424"/>
                </a:moveTo>
                <a:cubicBezTo>
                  <a:pt x="9311640" y="2238564"/>
                  <a:pt x="9276715" y="2258249"/>
                  <a:pt x="9288780" y="2280474"/>
                </a:cubicBezTo>
                <a:cubicBezTo>
                  <a:pt x="9301480" y="2302699"/>
                  <a:pt x="9336405" y="2283649"/>
                  <a:pt x="9323705" y="2261424"/>
                </a:cubicBezTo>
                <a:close/>
                <a:moveTo>
                  <a:pt x="9302750" y="2412554"/>
                </a:moveTo>
                <a:cubicBezTo>
                  <a:pt x="9318625" y="2437319"/>
                  <a:pt x="9356725" y="2411284"/>
                  <a:pt x="9340215" y="2387154"/>
                </a:cubicBezTo>
                <a:cubicBezTo>
                  <a:pt x="9324340" y="2363024"/>
                  <a:pt x="9286240" y="2388424"/>
                  <a:pt x="9302750" y="2412554"/>
                </a:cubicBezTo>
                <a:close/>
                <a:moveTo>
                  <a:pt x="9387840" y="2354134"/>
                </a:moveTo>
                <a:cubicBezTo>
                  <a:pt x="9404985" y="2378264"/>
                  <a:pt x="9441815" y="2350959"/>
                  <a:pt x="9424035" y="2327464"/>
                </a:cubicBezTo>
                <a:cubicBezTo>
                  <a:pt x="9406890" y="2303334"/>
                  <a:pt x="9370060" y="2330639"/>
                  <a:pt x="9387840" y="2354134"/>
                </a:cubicBezTo>
                <a:close/>
                <a:moveTo>
                  <a:pt x="10891520" y="884744"/>
                </a:moveTo>
                <a:cubicBezTo>
                  <a:pt x="10870565" y="899349"/>
                  <a:pt x="10894060" y="931734"/>
                  <a:pt x="10914380" y="917129"/>
                </a:cubicBezTo>
                <a:cubicBezTo>
                  <a:pt x="10935970" y="902524"/>
                  <a:pt x="10912475" y="870138"/>
                  <a:pt x="10891520" y="884744"/>
                </a:cubicBezTo>
                <a:close/>
                <a:moveTo>
                  <a:pt x="9436735" y="1981388"/>
                </a:moveTo>
                <a:cubicBezTo>
                  <a:pt x="9458325" y="1981388"/>
                  <a:pt x="9452610" y="1947099"/>
                  <a:pt x="9431655" y="1954084"/>
                </a:cubicBezTo>
                <a:cubicBezTo>
                  <a:pt x="9417685" y="1959163"/>
                  <a:pt x="9421495" y="1982024"/>
                  <a:pt x="9436735" y="1981388"/>
                </a:cubicBezTo>
                <a:close/>
                <a:moveTo>
                  <a:pt x="9403080" y="2215069"/>
                </a:moveTo>
                <a:cubicBezTo>
                  <a:pt x="9397365" y="2205544"/>
                  <a:pt x="9385300" y="2202369"/>
                  <a:pt x="9375775" y="2208084"/>
                </a:cubicBezTo>
                <a:cubicBezTo>
                  <a:pt x="9375775" y="2208084"/>
                  <a:pt x="9375775" y="2208084"/>
                  <a:pt x="9375775" y="2208084"/>
                </a:cubicBezTo>
                <a:cubicBezTo>
                  <a:pt x="9337040" y="2242374"/>
                  <a:pt x="9421495" y="2263329"/>
                  <a:pt x="9403080" y="2215069"/>
                </a:cubicBezTo>
                <a:close/>
                <a:moveTo>
                  <a:pt x="9460865" y="2048063"/>
                </a:moveTo>
                <a:cubicBezTo>
                  <a:pt x="9441180" y="2058224"/>
                  <a:pt x="9457055" y="2088704"/>
                  <a:pt x="9476740" y="2077909"/>
                </a:cubicBezTo>
                <a:cubicBezTo>
                  <a:pt x="9496425" y="2068384"/>
                  <a:pt x="9480550" y="2037904"/>
                  <a:pt x="9460865" y="2048063"/>
                </a:cubicBezTo>
                <a:close/>
                <a:moveTo>
                  <a:pt x="9463405" y="1915349"/>
                </a:moveTo>
                <a:cubicBezTo>
                  <a:pt x="9482455" y="1915349"/>
                  <a:pt x="9478010" y="1884869"/>
                  <a:pt x="9459595" y="1890584"/>
                </a:cubicBezTo>
                <a:cubicBezTo>
                  <a:pt x="9445625" y="1893759"/>
                  <a:pt x="9449435" y="1915349"/>
                  <a:pt x="9463405" y="1915349"/>
                </a:cubicBezTo>
                <a:close/>
                <a:moveTo>
                  <a:pt x="9401810" y="2022029"/>
                </a:moveTo>
                <a:cubicBezTo>
                  <a:pt x="9383395" y="2029649"/>
                  <a:pt x="9395460" y="2058859"/>
                  <a:pt x="9413875" y="2050604"/>
                </a:cubicBezTo>
                <a:cubicBezTo>
                  <a:pt x="9432290" y="2042984"/>
                  <a:pt x="9420225" y="2013774"/>
                  <a:pt x="9401810" y="2022029"/>
                </a:cubicBezTo>
                <a:close/>
                <a:moveTo>
                  <a:pt x="9145905" y="2530029"/>
                </a:moveTo>
                <a:cubicBezTo>
                  <a:pt x="9182735" y="2529394"/>
                  <a:pt x="9168130" y="2470339"/>
                  <a:pt x="9135110" y="2487484"/>
                </a:cubicBezTo>
                <a:cubicBezTo>
                  <a:pt x="9114790" y="2497644"/>
                  <a:pt x="9123680" y="2530664"/>
                  <a:pt x="9145905" y="2530029"/>
                </a:cubicBezTo>
                <a:close/>
                <a:moveTo>
                  <a:pt x="9255125" y="2178239"/>
                </a:moveTo>
                <a:cubicBezTo>
                  <a:pt x="9276080" y="2170619"/>
                  <a:pt x="9263380" y="2138234"/>
                  <a:pt x="9243060" y="2146489"/>
                </a:cubicBezTo>
                <a:cubicBezTo>
                  <a:pt x="9222105" y="2154109"/>
                  <a:pt x="9234805" y="2186494"/>
                  <a:pt x="9255125" y="2178239"/>
                </a:cubicBezTo>
                <a:close/>
                <a:moveTo>
                  <a:pt x="9242425" y="2303969"/>
                </a:moveTo>
                <a:cubicBezTo>
                  <a:pt x="9231630" y="2281109"/>
                  <a:pt x="9195435" y="2298254"/>
                  <a:pt x="9206865" y="2321114"/>
                </a:cubicBezTo>
                <a:cubicBezTo>
                  <a:pt x="9218295" y="2344609"/>
                  <a:pt x="9254490" y="2326829"/>
                  <a:pt x="9242425" y="2303969"/>
                </a:cubicBezTo>
                <a:close/>
                <a:moveTo>
                  <a:pt x="9208135" y="2268409"/>
                </a:moveTo>
                <a:cubicBezTo>
                  <a:pt x="9230360" y="2259519"/>
                  <a:pt x="9215755" y="2225229"/>
                  <a:pt x="9194165" y="2234754"/>
                </a:cubicBezTo>
                <a:cubicBezTo>
                  <a:pt x="9171940" y="2243009"/>
                  <a:pt x="9186545" y="2277934"/>
                  <a:pt x="9208135" y="2268409"/>
                </a:cubicBezTo>
                <a:close/>
                <a:moveTo>
                  <a:pt x="9096375" y="2473514"/>
                </a:moveTo>
                <a:cubicBezTo>
                  <a:pt x="9121775" y="2462719"/>
                  <a:pt x="9103995" y="2423349"/>
                  <a:pt x="9079230" y="2434779"/>
                </a:cubicBezTo>
                <a:cubicBezTo>
                  <a:pt x="9053195" y="2446209"/>
                  <a:pt x="9071610" y="2485579"/>
                  <a:pt x="9096375" y="2473514"/>
                </a:cubicBezTo>
                <a:close/>
                <a:moveTo>
                  <a:pt x="9254490" y="2443669"/>
                </a:moveTo>
                <a:cubicBezTo>
                  <a:pt x="9239250" y="2418269"/>
                  <a:pt x="9200515" y="2442399"/>
                  <a:pt x="9215755" y="2467164"/>
                </a:cubicBezTo>
                <a:cubicBezTo>
                  <a:pt x="9230995" y="2492564"/>
                  <a:pt x="9269730" y="2468434"/>
                  <a:pt x="9254490" y="2443669"/>
                </a:cubicBezTo>
                <a:close/>
                <a:moveTo>
                  <a:pt x="9091930" y="2197289"/>
                </a:moveTo>
                <a:cubicBezTo>
                  <a:pt x="9073515" y="2202369"/>
                  <a:pt x="9077960" y="2230944"/>
                  <a:pt x="9096375" y="2230309"/>
                </a:cubicBezTo>
                <a:cubicBezTo>
                  <a:pt x="9121775" y="2230944"/>
                  <a:pt x="9116060" y="2190304"/>
                  <a:pt x="9091930" y="2197289"/>
                </a:cubicBezTo>
                <a:close/>
                <a:moveTo>
                  <a:pt x="9598025" y="2133154"/>
                </a:moveTo>
                <a:cubicBezTo>
                  <a:pt x="9580880" y="2111564"/>
                  <a:pt x="9547860" y="2138234"/>
                  <a:pt x="9565005" y="2159824"/>
                </a:cubicBezTo>
                <a:cubicBezTo>
                  <a:pt x="9582150" y="2181414"/>
                  <a:pt x="9615805" y="2154109"/>
                  <a:pt x="9598025" y="2133154"/>
                </a:cubicBezTo>
                <a:close/>
                <a:moveTo>
                  <a:pt x="9044305" y="2533839"/>
                </a:moveTo>
                <a:cubicBezTo>
                  <a:pt x="9033510" y="2538919"/>
                  <a:pt x="9028430" y="2552889"/>
                  <a:pt x="9033510" y="2563684"/>
                </a:cubicBezTo>
                <a:cubicBezTo>
                  <a:pt x="9068435" y="2611944"/>
                  <a:pt x="9101455" y="2517329"/>
                  <a:pt x="9044305" y="2533839"/>
                </a:cubicBezTo>
                <a:close/>
                <a:moveTo>
                  <a:pt x="9127490" y="2300159"/>
                </a:moveTo>
                <a:cubicBezTo>
                  <a:pt x="9149715" y="2292539"/>
                  <a:pt x="9137015" y="2256979"/>
                  <a:pt x="9114790" y="2265869"/>
                </a:cubicBezTo>
                <a:cubicBezTo>
                  <a:pt x="9092565" y="2273489"/>
                  <a:pt x="9105265" y="2308414"/>
                  <a:pt x="9127490" y="2300159"/>
                </a:cubicBezTo>
                <a:close/>
                <a:moveTo>
                  <a:pt x="9173210" y="2206814"/>
                </a:moveTo>
                <a:cubicBezTo>
                  <a:pt x="9198610" y="2206814"/>
                  <a:pt x="9192260" y="2165539"/>
                  <a:pt x="9168130" y="2173794"/>
                </a:cubicBezTo>
                <a:cubicBezTo>
                  <a:pt x="9149715" y="2178874"/>
                  <a:pt x="9154795" y="2207449"/>
                  <a:pt x="9173210" y="2206814"/>
                </a:cubicBezTo>
                <a:close/>
                <a:moveTo>
                  <a:pt x="9643110" y="1853119"/>
                </a:moveTo>
                <a:cubicBezTo>
                  <a:pt x="9662795" y="1853119"/>
                  <a:pt x="9657080" y="1821369"/>
                  <a:pt x="9638665" y="1828354"/>
                </a:cubicBezTo>
                <a:cubicBezTo>
                  <a:pt x="9625965" y="1833434"/>
                  <a:pt x="9629775" y="1853754"/>
                  <a:pt x="9643110" y="1853119"/>
                </a:cubicBezTo>
                <a:close/>
                <a:moveTo>
                  <a:pt x="9596120" y="1947099"/>
                </a:moveTo>
                <a:cubicBezTo>
                  <a:pt x="9605645" y="1964879"/>
                  <a:pt x="9632950" y="1950274"/>
                  <a:pt x="9623425" y="1932494"/>
                </a:cubicBezTo>
                <a:cubicBezTo>
                  <a:pt x="9614535" y="1914713"/>
                  <a:pt x="9586595" y="1929319"/>
                  <a:pt x="9596120" y="1947099"/>
                </a:cubicBezTo>
                <a:close/>
                <a:moveTo>
                  <a:pt x="9628505" y="1902013"/>
                </a:moveTo>
                <a:cubicBezTo>
                  <a:pt x="9651365" y="1901379"/>
                  <a:pt x="9643110" y="1865819"/>
                  <a:pt x="9622155" y="1875344"/>
                </a:cubicBezTo>
                <a:cubicBezTo>
                  <a:pt x="9608820" y="1881059"/>
                  <a:pt x="9613900" y="1902649"/>
                  <a:pt x="9628505" y="1902013"/>
                </a:cubicBezTo>
                <a:close/>
                <a:moveTo>
                  <a:pt x="9584055" y="1875344"/>
                </a:moveTo>
                <a:cubicBezTo>
                  <a:pt x="9603740" y="1875344"/>
                  <a:pt x="9598025" y="1844229"/>
                  <a:pt x="9579610" y="1850579"/>
                </a:cubicBezTo>
                <a:cubicBezTo>
                  <a:pt x="9566275" y="1855024"/>
                  <a:pt x="9570085" y="1875979"/>
                  <a:pt x="9584055" y="1875344"/>
                </a:cubicBezTo>
                <a:close/>
                <a:moveTo>
                  <a:pt x="9552305" y="2195384"/>
                </a:moveTo>
                <a:cubicBezTo>
                  <a:pt x="9530080" y="2214434"/>
                  <a:pt x="9559925" y="2248724"/>
                  <a:pt x="9581515" y="2229674"/>
                </a:cubicBezTo>
                <a:cubicBezTo>
                  <a:pt x="9604375" y="2211259"/>
                  <a:pt x="9574530" y="2176334"/>
                  <a:pt x="9552305" y="2195384"/>
                </a:cubicBezTo>
                <a:close/>
                <a:moveTo>
                  <a:pt x="9569450" y="2032824"/>
                </a:moveTo>
                <a:cubicBezTo>
                  <a:pt x="9549130" y="2045524"/>
                  <a:pt x="9570085" y="2076638"/>
                  <a:pt x="9589770" y="2063304"/>
                </a:cubicBezTo>
                <a:cubicBezTo>
                  <a:pt x="9610090" y="2050604"/>
                  <a:pt x="9589135" y="2019488"/>
                  <a:pt x="9569450" y="2032824"/>
                </a:cubicBezTo>
                <a:close/>
                <a:moveTo>
                  <a:pt x="9565640" y="1930588"/>
                </a:moveTo>
                <a:cubicBezTo>
                  <a:pt x="9587865" y="1930588"/>
                  <a:pt x="9580880" y="1895029"/>
                  <a:pt x="9559925" y="1903284"/>
                </a:cubicBezTo>
                <a:cubicBezTo>
                  <a:pt x="9545955" y="1908999"/>
                  <a:pt x="9550400" y="1931224"/>
                  <a:pt x="9565640" y="1930588"/>
                </a:cubicBezTo>
                <a:close/>
                <a:moveTo>
                  <a:pt x="9608820" y="2001074"/>
                </a:moveTo>
                <a:cubicBezTo>
                  <a:pt x="9637395" y="2000438"/>
                  <a:pt x="9624695" y="1955354"/>
                  <a:pt x="9599930" y="1969959"/>
                </a:cubicBezTo>
                <a:cubicBezTo>
                  <a:pt x="9585325" y="1978213"/>
                  <a:pt x="9592310" y="2001709"/>
                  <a:pt x="9608820" y="2001074"/>
                </a:cubicBezTo>
                <a:close/>
                <a:moveTo>
                  <a:pt x="9625965" y="2087434"/>
                </a:moveTo>
                <a:cubicBezTo>
                  <a:pt x="9646920" y="2072194"/>
                  <a:pt x="9622790" y="2040444"/>
                  <a:pt x="9602470" y="2055684"/>
                </a:cubicBezTo>
                <a:cubicBezTo>
                  <a:pt x="9581515" y="2070924"/>
                  <a:pt x="9605645" y="2102674"/>
                  <a:pt x="9625965" y="2087434"/>
                </a:cubicBezTo>
                <a:close/>
                <a:moveTo>
                  <a:pt x="9469755" y="2292539"/>
                </a:moveTo>
                <a:cubicBezTo>
                  <a:pt x="9487535" y="2316034"/>
                  <a:pt x="9523730" y="2286824"/>
                  <a:pt x="9505315" y="2264599"/>
                </a:cubicBezTo>
                <a:cubicBezTo>
                  <a:pt x="9487535" y="2241104"/>
                  <a:pt x="9451340" y="2269679"/>
                  <a:pt x="9469755" y="2292539"/>
                </a:cubicBezTo>
                <a:close/>
                <a:moveTo>
                  <a:pt x="9482455" y="2020759"/>
                </a:moveTo>
                <a:cubicBezTo>
                  <a:pt x="9500870" y="2012504"/>
                  <a:pt x="9487535" y="1983929"/>
                  <a:pt x="9469755" y="1992819"/>
                </a:cubicBezTo>
                <a:cubicBezTo>
                  <a:pt x="9451340" y="2000438"/>
                  <a:pt x="9464675" y="2029013"/>
                  <a:pt x="9482455" y="2020759"/>
                </a:cubicBezTo>
                <a:close/>
                <a:moveTo>
                  <a:pt x="9501505" y="1957259"/>
                </a:moveTo>
                <a:cubicBezTo>
                  <a:pt x="9523730" y="1957259"/>
                  <a:pt x="9516745" y="1922334"/>
                  <a:pt x="9496425" y="1929954"/>
                </a:cubicBezTo>
                <a:cubicBezTo>
                  <a:pt x="9481820" y="1935034"/>
                  <a:pt x="9486900" y="1957894"/>
                  <a:pt x="9501505" y="1957259"/>
                </a:cubicBezTo>
                <a:close/>
                <a:moveTo>
                  <a:pt x="9453245" y="2160459"/>
                </a:moveTo>
                <a:cubicBezTo>
                  <a:pt x="9436735" y="2170619"/>
                  <a:pt x="9444990" y="2197289"/>
                  <a:pt x="9464040" y="2196654"/>
                </a:cubicBezTo>
                <a:cubicBezTo>
                  <a:pt x="9497695" y="2195384"/>
                  <a:pt x="9481820" y="2142679"/>
                  <a:pt x="9453245" y="2160459"/>
                </a:cubicBezTo>
                <a:close/>
                <a:moveTo>
                  <a:pt x="9424035" y="2122359"/>
                </a:moveTo>
                <a:cubicBezTo>
                  <a:pt x="9403080" y="2133789"/>
                  <a:pt x="9421495" y="2166174"/>
                  <a:pt x="9441815" y="2154109"/>
                </a:cubicBezTo>
                <a:cubicBezTo>
                  <a:pt x="9463405" y="2142679"/>
                  <a:pt x="9444990" y="2110294"/>
                  <a:pt x="9424035" y="2122359"/>
                </a:cubicBezTo>
                <a:close/>
                <a:moveTo>
                  <a:pt x="9539605" y="2041713"/>
                </a:moveTo>
                <a:cubicBezTo>
                  <a:pt x="9567545" y="2041079"/>
                  <a:pt x="9556115" y="1996629"/>
                  <a:pt x="9531350" y="2009963"/>
                </a:cubicBezTo>
                <a:cubicBezTo>
                  <a:pt x="9516110" y="2018219"/>
                  <a:pt x="9522460" y="2042349"/>
                  <a:pt x="9539605" y="2041713"/>
                </a:cubicBezTo>
                <a:close/>
                <a:moveTo>
                  <a:pt x="9529445" y="1981388"/>
                </a:moveTo>
                <a:cubicBezTo>
                  <a:pt x="9538335" y="1999804"/>
                  <a:pt x="9566275" y="1985199"/>
                  <a:pt x="9557385" y="1967419"/>
                </a:cubicBezTo>
                <a:cubicBezTo>
                  <a:pt x="9548495" y="1949004"/>
                  <a:pt x="9520555" y="1962974"/>
                  <a:pt x="9529445" y="1981388"/>
                </a:cubicBezTo>
                <a:close/>
                <a:moveTo>
                  <a:pt x="9497695" y="2078544"/>
                </a:moveTo>
                <a:cubicBezTo>
                  <a:pt x="9477375" y="2090609"/>
                  <a:pt x="9497060" y="2122359"/>
                  <a:pt x="9516745" y="2109659"/>
                </a:cubicBezTo>
                <a:cubicBezTo>
                  <a:pt x="9537700" y="2098229"/>
                  <a:pt x="9518015" y="2065844"/>
                  <a:pt x="9497695" y="2078544"/>
                </a:cubicBezTo>
                <a:close/>
                <a:moveTo>
                  <a:pt x="9523730" y="1896299"/>
                </a:moveTo>
                <a:cubicBezTo>
                  <a:pt x="9542780" y="1896299"/>
                  <a:pt x="9537700" y="1865819"/>
                  <a:pt x="9519920" y="1871534"/>
                </a:cubicBezTo>
                <a:cubicBezTo>
                  <a:pt x="9506585" y="1875344"/>
                  <a:pt x="9509760" y="1896299"/>
                  <a:pt x="9523730" y="1896299"/>
                </a:cubicBezTo>
                <a:close/>
                <a:moveTo>
                  <a:pt x="11238230" y="618679"/>
                </a:moveTo>
                <a:cubicBezTo>
                  <a:pt x="11224260" y="595184"/>
                  <a:pt x="11187430" y="617409"/>
                  <a:pt x="11202035" y="640269"/>
                </a:cubicBezTo>
                <a:cubicBezTo>
                  <a:pt x="11215370" y="664399"/>
                  <a:pt x="11252200" y="642174"/>
                  <a:pt x="11238230" y="618679"/>
                </a:cubicBezTo>
                <a:close/>
                <a:moveTo>
                  <a:pt x="11771630" y="224344"/>
                </a:moveTo>
                <a:cubicBezTo>
                  <a:pt x="11807825" y="224344"/>
                  <a:pt x="11798300" y="166558"/>
                  <a:pt x="11764010" y="177354"/>
                </a:cubicBezTo>
                <a:cubicBezTo>
                  <a:pt x="11738610" y="184974"/>
                  <a:pt x="11745595" y="224979"/>
                  <a:pt x="11771630" y="224344"/>
                </a:cubicBezTo>
                <a:close/>
                <a:moveTo>
                  <a:pt x="11750675" y="413574"/>
                </a:moveTo>
                <a:cubicBezTo>
                  <a:pt x="11782425" y="413574"/>
                  <a:pt x="11774805" y="363408"/>
                  <a:pt x="11744960" y="372299"/>
                </a:cubicBezTo>
                <a:cubicBezTo>
                  <a:pt x="11722100" y="378649"/>
                  <a:pt x="11727180" y="414844"/>
                  <a:pt x="11750675" y="413574"/>
                </a:cubicBezTo>
                <a:close/>
                <a:moveTo>
                  <a:pt x="11783060" y="128458"/>
                </a:moveTo>
                <a:cubicBezTo>
                  <a:pt x="11821795" y="128458"/>
                  <a:pt x="11811000" y="66229"/>
                  <a:pt x="11774805" y="78929"/>
                </a:cubicBezTo>
                <a:cubicBezTo>
                  <a:pt x="11748135" y="87819"/>
                  <a:pt x="11755755" y="129729"/>
                  <a:pt x="11783060" y="128458"/>
                </a:cubicBezTo>
                <a:close/>
                <a:moveTo>
                  <a:pt x="11567795" y="477074"/>
                </a:moveTo>
                <a:cubicBezTo>
                  <a:pt x="11600815" y="476438"/>
                  <a:pt x="11590655" y="424369"/>
                  <a:pt x="11560175" y="436433"/>
                </a:cubicBezTo>
                <a:cubicBezTo>
                  <a:pt x="11537950" y="444054"/>
                  <a:pt x="11544935" y="478344"/>
                  <a:pt x="11567795" y="477074"/>
                </a:cubicBezTo>
                <a:close/>
                <a:moveTo>
                  <a:pt x="11791315" y="263713"/>
                </a:moveTo>
                <a:cubicBezTo>
                  <a:pt x="11762740" y="271333"/>
                  <a:pt x="11776075" y="315783"/>
                  <a:pt x="11804015" y="306894"/>
                </a:cubicBezTo>
                <a:cubicBezTo>
                  <a:pt x="11832590" y="299274"/>
                  <a:pt x="11819255" y="255458"/>
                  <a:pt x="11791315" y="263713"/>
                </a:cubicBezTo>
                <a:close/>
                <a:moveTo>
                  <a:pt x="11845290" y="388808"/>
                </a:moveTo>
                <a:cubicBezTo>
                  <a:pt x="11875770" y="388808"/>
                  <a:pt x="11870055" y="339913"/>
                  <a:pt x="11840210" y="346899"/>
                </a:cubicBezTo>
                <a:cubicBezTo>
                  <a:pt x="11816080" y="351979"/>
                  <a:pt x="11821160" y="389444"/>
                  <a:pt x="11845290" y="388808"/>
                </a:cubicBezTo>
                <a:close/>
                <a:moveTo>
                  <a:pt x="11764010" y="556449"/>
                </a:moveTo>
                <a:cubicBezTo>
                  <a:pt x="11740515" y="561529"/>
                  <a:pt x="11749405" y="597724"/>
                  <a:pt x="11772265" y="592009"/>
                </a:cubicBezTo>
                <a:cubicBezTo>
                  <a:pt x="11795760" y="586929"/>
                  <a:pt x="11787505" y="550734"/>
                  <a:pt x="11764010" y="556449"/>
                </a:cubicBezTo>
                <a:close/>
                <a:moveTo>
                  <a:pt x="11804015" y="451674"/>
                </a:moveTo>
                <a:cubicBezTo>
                  <a:pt x="11778615" y="457388"/>
                  <a:pt x="11788140" y="496124"/>
                  <a:pt x="11812905" y="490408"/>
                </a:cubicBezTo>
                <a:cubicBezTo>
                  <a:pt x="11838305" y="484694"/>
                  <a:pt x="11828780" y="445324"/>
                  <a:pt x="11804015" y="451674"/>
                </a:cubicBezTo>
                <a:close/>
                <a:moveTo>
                  <a:pt x="11680190" y="577404"/>
                </a:moveTo>
                <a:cubicBezTo>
                  <a:pt x="11657330" y="583119"/>
                  <a:pt x="11666855" y="619313"/>
                  <a:pt x="11689715" y="612963"/>
                </a:cubicBezTo>
                <a:cubicBezTo>
                  <a:pt x="11712575" y="606613"/>
                  <a:pt x="11703050" y="570419"/>
                  <a:pt x="11680190" y="577404"/>
                </a:cubicBezTo>
                <a:close/>
                <a:moveTo>
                  <a:pt x="11834495" y="559624"/>
                </a:moveTo>
                <a:cubicBezTo>
                  <a:pt x="11851640" y="604709"/>
                  <a:pt x="11897360" y="537399"/>
                  <a:pt x="11849100" y="538034"/>
                </a:cubicBezTo>
                <a:cubicBezTo>
                  <a:pt x="11839575" y="539938"/>
                  <a:pt x="11832590" y="549463"/>
                  <a:pt x="11834495" y="559624"/>
                </a:cubicBezTo>
                <a:close/>
                <a:moveTo>
                  <a:pt x="11707495" y="338644"/>
                </a:moveTo>
                <a:cubicBezTo>
                  <a:pt x="11735435" y="329119"/>
                  <a:pt x="11720195" y="285938"/>
                  <a:pt x="11692255" y="296099"/>
                </a:cubicBezTo>
                <a:cubicBezTo>
                  <a:pt x="11664315" y="304988"/>
                  <a:pt x="11680190" y="348804"/>
                  <a:pt x="11707495" y="338644"/>
                </a:cubicBezTo>
                <a:close/>
                <a:moveTo>
                  <a:pt x="11597005" y="601534"/>
                </a:moveTo>
                <a:cubicBezTo>
                  <a:pt x="11574145" y="608519"/>
                  <a:pt x="11585575" y="644079"/>
                  <a:pt x="11607800" y="636459"/>
                </a:cubicBezTo>
                <a:cubicBezTo>
                  <a:pt x="11630660" y="630109"/>
                  <a:pt x="11619230" y="593913"/>
                  <a:pt x="11597005" y="601534"/>
                </a:cubicBezTo>
                <a:close/>
                <a:moveTo>
                  <a:pt x="11583035" y="362774"/>
                </a:moveTo>
                <a:cubicBezTo>
                  <a:pt x="11593830" y="390079"/>
                  <a:pt x="11636375" y="372299"/>
                  <a:pt x="11624945" y="345629"/>
                </a:cubicBezTo>
                <a:cubicBezTo>
                  <a:pt x="11614150" y="318324"/>
                  <a:pt x="11571605" y="335469"/>
                  <a:pt x="11583035" y="362774"/>
                </a:cubicBezTo>
                <a:close/>
                <a:moveTo>
                  <a:pt x="11570335" y="305624"/>
                </a:moveTo>
                <a:cubicBezTo>
                  <a:pt x="11608435" y="304988"/>
                  <a:pt x="11595100" y="244029"/>
                  <a:pt x="11560175" y="259904"/>
                </a:cubicBezTo>
                <a:cubicBezTo>
                  <a:pt x="11537315" y="269429"/>
                  <a:pt x="11545570" y="306258"/>
                  <a:pt x="11570335" y="305624"/>
                </a:cubicBezTo>
                <a:close/>
                <a:moveTo>
                  <a:pt x="11572875" y="218629"/>
                </a:moveTo>
                <a:cubicBezTo>
                  <a:pt x="11614150" y="217994"/>
                  <a:pt x="11598275" y="152588"/>
                  <a:pt x="11561445" y="170369"/>
                </a:cubicBezTo>
                <a:cubicBezTo>
                  <a:pt x="11537950" y="181799"/>
                  <a:pt x="11547475" y="219899"/>
                  <a:pt x="11572875" y="218629"/>
                </a:cubicBezTo>
                <a:close/>
                <a:moveTo>
                  <a:pt x="11670030" y="261808"/>
                </a:moveTo>
                <a:cubicBezTo>
                  <a:pt x="11707495" y="261174"/>
                  <a:pt x="11696065" y="202119"/>
                  <a:pt x="11661140" y="215454"/>
                </a:cubicBezTo>
                <a:cubicBezTo>
                  <a:pt x="11637010" y="224344"/>
                  <a:pt x="11644630" y="263079"/>
                  <a:pt x="11670030" y="261808"/>
                </a:cubicBezTo>
                <a:close/>
                <a:moveTo>
                  <a:pt x="11613515" y="526604"/>
                </a:moveTo>
                <a:cubicBezTo>
                  <a:pt x="11621135" y="551369"/>
                  <a:pt x="11659235" y="538034"/>
                  <a:pt x="11650980" y="513904"/>
                </a:cubicBezTo>
                <a:cubicBezTo>
                  <a:pt x="11643360" y="489774"/>
                  <a:pt x="11605260" y="502474"/>
                  <a:pt x="11613515" y="526604"/>
                </a:cubicBezTo>
                <a:close/>
                <a:moveTo>
                  <a:pt x="11676380" y="170369"/>
                </a:moveTo>
                <a:cubicBezTo>
                  <a:pt x="11716385" y="169733"/>
                  <a:pt x="11703685" y="106233"/>
                  <a:pt x="11666220" y="121474"/>
                </a:cubicBezTo>
                <a:cubicBezTo>
                  <a:pt x="11641455" y="131633"/>
                  <a:pt x="11649710" y="171004"/>
                  <a:pt x="11676380" y="170369"/>
                </a:cubicBezTo>
                <a:close/>
                <a:moveTo>
                  <a:pt x="11658600" y="443419"/>
                </a:moveTo>
                <a:cubicBezTo>
                  <a:pt x="11690985" y="442783"/>
                  <a:pt x="11682095" y="391983"/>
                  <a:pt x="11651615" y="402144"/>
                </a:cubicBezTo>
                <a:cubicBezTo>
                  <a:pt x="11629390" y="409129"/>
                  <a:pt x="11635740" y="444054"/>
                  <a:pt x="11658600" y="443419"/>
                </a:cubicBezTo>
                <a:close/>
                <a:moveTo>
                  <a:pt x="11738610" y="488504"/>
                </a:moveTo>
                <a:cubicBezTo>
                  <a:pt x="11716385" y="441513"/>
                  <a:pt x="11673205" y="518349"/>
                  <a:pt x="11725275" y="512633"/>
                </a:cubicBezTo>
                <a:lnTo>
                  <a:pt x="11725275" y="512633"/>
                </a:lnTo>
                <a:cubicBezTo>
                  <a:pt x="11736070" y="510094"/>
                  <a:pt x="11741785" y="498663"/>
                  <a:pt x="11738610" y="488504"/>
                </a:cubicBezTo>
                <a:close/>
                <a:moveTo>
                  <a:pt x="12115800" y="50988"/>
                </a:moveTo>
                <a:cubicBezTo>
                  <a:pt x="12150725" y="51624"/>
                  <a:pt x="12147550" y="-3621"/>
                  <a:pt x="12113260" y="188"/>
                </a:cubicBezTo>
                <a:cubicBezTo>
                  <a:pt x="12082145" y="3363"/>
                  <a:pt x="12084685" y="52258"/>
                  <a:pt x="12115800" y="50988"/>
                </a:cubicBezTo>
                <a:close/>
                <a:moveTo>
                  <a:pt x="12099290" y="424369"/>
                </a:moveTo>
                <a:cubicBezTo>
                  <a:pt x="12097385" y="398969"/>
                  <a:pt x="12057380" y="402779"/>
                  <a:pt x="12059920" y="428179"/>
                </a:cubicBezTo>
                <a:cubicBezTo>
                  <a:pt x="12062460" y="453579"/>
                  <a:pt x="12102465" y="449769"/>
                  <a:pt x="12099290" y="424369"/>
                </a:cubicBezTo>
                <a:close/>
                <a:moveTo>
                  <a:pt x="12088495" y="151954"/>
                </a:moveTo>
                <a:cubicBezTo>
                  <a:pt x="12089765" y="151954"/>
                  <a:pt x="12090400" y="151954"/>
                  <a:pt x="12091670" y="151954"/>
                </a:cubicBezTo>
                <a:lnTo>
                  <a:pt x="12091670" y="151954"/>
                </a:lnTo>
                <a:cubicBezTo>
                  <a:pt x="12122785" y="148779"/>
                  <a:pt x="12117070" y="99883"/>
                  <a:pt x="12085955" y="104329"/>
                </a:cubicBezTo>
                <a:cubicBezTo>
                  <a:pt x="12056745" y="107504"/>
                  <a:pt x="12059285" y="153224"/>
                  <a:pt x="12088495" y="151954"/>
                </a:cubicBezTo>
                <a:close/>
                <a:moveTo>
                  <a:pt x="12015470" y="334833"/>
                </a:moveTo>
                <a:cubicBezTo>
                  <a:pt x="12018645" y="362138"/>
                  <a:pt x="12061190" y="356424"/>
                  <a:pt x="12057380" y="329119"/>
                </a:cubicBezTo>
                <a:cubicBezTo>
                  <a:pt x="12054205" y="302449"/>
                  <a:pt x="12011660" y="308163"/>
                  <a:pt x="12015470" y="334833"/>
                </a:cubicBezTo>
                <a:close/>
                <a:moveTo>
                  <a:pt x="12090400" y="524699"/>
                </a:moveTo>
                <a:cubicBezTo>
                  <a:pt x="12091670" y="548829"/>
                  <a:pt x="12129135" y="545654"/>
                  <a:pt x="12127230" y="522158"/>
                </a:cubicBezTo>
                <a:cubicBezTo>
                  <a:pt x="12125325" y="498029"/>
                  <a:pt x="12087860" y="500569"/>
                  <a:pt x="12090400" y="524699"/>
                </a:cubicBezTo>
                <a:close/>
                <a:moveTo>
                  <a:pt x="12111990" y="324038"/>
                </a:moveTo>
                <a:cubicBezTo>
                  <a:pt x="12113895" y="351344"/>
                  <a:pt x="12156440" y="348169"/>
                  <a:pt x="12154535" y="320863"/>
                </a:cubicBezTo>
                <a:cubicBezTo>
                  <a:pt x="12152630" y="293558"/>
                  <a:pt x="12109450" y="296733"/>
                  <a:pt x="12111990" y="324038"/>
                </a:cubicBezTo>
                <a:close/>
                <a:moveTo>
                  <a:pt x="12122785" y="223708"/>
                </a:moveTo>
                <a:cubicBezTo>
                  <a:pt x="12120245" y="194499"/>
                  <a:pt x="12074525" y="198944"/>
                  <a:pt x="12077700" y="228154"/>
                </a:cubicBezTo>
                <a:cubicBezTo>
                  <a:pt x="12080240" y="257999"/>
                  <a:pt x="12125960" y="252919"/>
                  <a:pt x="12122785" y="223708"/>
                </a:cubicBezTo>
                <a:close/>
                <a:moveTo>
                  <a:pt x="12109450" y="722184"/>
                </a:moveTo>
                <a:cubicBezTo>
                  <a:pt x="12110085" y="742504"/>
                  <a:pt x="12141835" y="741234"/>
                  <a:pt x="12140565" y="720913"/>
                </a:cubicBezTo>
                <a:cubicBezTo>
                  <a:pt x="12139295" y="700594"/>
                  <a:pt x="12108180" y="701863"/>
                  <a:pt x="12109450" y="722184"/>
                </a:cubicBezTo>
                <a:close/>
                <a:moveTo>
                  <a:pt x="11969115" y="439608"/>
                </a:moveTo>
                <a:cubicBezTo>
                  <a:pt x="11972290" y="465008"/>
                  <a:pt x="12012295" y="459294"/>
                  <a:pt x="12008485" y="433894"/>
                </a:cubicBezTo>
                <a:cubicBezTo>
                  <a:pt x="12005310" y="409129"/>
                  <a:pt x="11965305" y="414208"/>
                  <a:pt x="11969115" y="439608"/>
                </a:cubicBezTo>
                <a:close/>
                <a:moveTo>
                  <a:pt x="11892280" y="94169"/>
                </a:moveTo>
                <a:cubicBezTo>
                  <a:pt x="11929745" y="94169"/>
                  <a:pt x="11922125" y="34479"/>
                  <a:pt x="11885295" y="44004"/>
                </a:cubicBezTo>
                <a:cubicBezTo>
                  <a:pt x="11857355" y="51624"/>
                  <a:pt x="11863705" y="95438"/>
                  <a:pt x="11892280" y="94169"/>
                </a:cubicBezTo>
                <a:close/>
                <a:moveTo>
                  <a:pt x="11892280" y="237679"/>
                </a:moveTo>
                <a:cubicBezTo>
                  <a:pt x="11863705" y="244029"/>
                  <a:pt x="11873865" y="288479"/>
                  <a:pt x="11902440" y="281494"/>
                </a:cubicBezTo>
                <a:cubicBezTo>
                  <a:pt x="11931015" y="275779"/>
                  <a:pt x="11920855" y="230694"/>
                  <a:pt x="11892280" y="237679"/>
                </a:cubicBezTo>
                <a:close/>
                <a:moveTo>
                  <a:pt x="11994515" y="217358"/>
                </a:moveTo>
                <a:cubicBezTo>
                  <a:pt x="11967845" y="221169"/>
                  <a:pt x="11971020" y="263079"/>
                  <a:pt x="11998325" y="262444"/>
                </a:cubicBezTo>
                <a:cubicBezTo>
                  <a:pt x="12030075" y="262444"/>
                  <a:pt x="12025630" y="212279"/>
                  <a:pt x="11994515" y="217358"/>
                </a:cubicBezTo>
                <a:close/>
                <a:moveTo>
                  <a:pt x="11934825" y="523429"/>
                </a:moveTo>
                <a:cubicBezTo>
                  <a:pt x="11911330" y="526604"/>
                  <a:pt x="11917045" y="563434"/>
                  <a:pt x="11940540" y="559624"/>
                </a:cubicBezTo>
                <a:cubicBezTo>
                  <a:pt x="11963400" y="557084"/>
                  <a:pt x="11958320" y="519619"/>
                  <a:pt x="11934825" y="523429"/>
                </a:cubicBezTo>
                <a:close/>
                <a:moveTo>
                  <a:pt x="11875770" y="193229"/>
                </a:moveTo>
                <a:cubicBezTo>
                  <a:pt x="11910695" y="193229"/>
                  <a:pt x="11903710" y="136713"/>
                  <a:pt x="11869420" y="146238"/>
                </a:cubicBezTo>
                <a:cubicBezTo>
                  <a:pt x="11842750" y="152588"/>
                  <a:pt x="11848465" y="193863"/>
                  <a:pt x="11875770" y="193229"/>
                </a:cubicBezTo>
                <a:close/>
                <a:moveTo>
                  <a:pt x="11919585" y="351344"/>
                </a:moveTo>
                <a:cubicBezTo>
                  <a:pt x="11924030" y="378649"/>
                  <a:pt x="11966575" y="370394"/>
                  <a:pt x="11961495" y="343724"/>
                </a:cubicBezTo>
                <a:cubicBezTo>
                  <a:pt x="11956415" y="316419"/>
                  <a:pt x="11913870" y="324674"/>
                  <a:pt x="11919585" y="351344"/>
                </a:cubicBezTo>
                <a:close/>
                <a:moveTo>
                  <a:pt x="11981180" y="169099"/>
                </a:moveTo>
                <a:cubicBezTo>
                  <a:pt x="12015470" y="169099"/>
                  <a:pt x="12010390" y="115124"/>
                  <a:pt x="11976735" y="121474"/>
                </a:cubicBezTo>
                <a:cubicBezTo>
                  <a:pt x="11948795" y="125919"/>
                  <a:pt x="11953240" y="169733"/>
                  <a:pt x="11981180" y="169099"/>
                </a:cubicBezTo>
                <a:close/>
                <a:moveTo>
                  <a:pt x="12022455" y="549463"/>
                </a:moveTo>
                <a:cubicBezTo>
                  <a:pt x="12047855" y="549463"/>
                  <a:pt x="12045315" y="510094"/>
                  <a:pt x="12020550" y="512633"/>
                </a:cubicBezTo>
                <a:cubicBezTo>
                  <a:pt x="11998325" y="514538"/>
                  <a:pt x="12000230" y="549463"/>
                  <a:pt x="12022455" y="549463"/>
                </a:cubicBezTo>
                <a:close/>
                <a:moveTo>
                  <a:pt x="12002770" y="68133"/>
                </a:moveTo>
                <a:cubicBezTo>
                  <a:pt x="12038965" y="68133"/>
                  <a:pt x="12033250" y="10983"/>
                  <a:pt x="11997690" y="17969"/>
                </a:cubicBezTo>
                <a:cubicBezTo>
                  <a:pt x="11968480" y="23049"/>
                  <a:pt x="11973560" y="69404"/>
                  <a:pt x="12002770" y="68133"/>
                </a:cubicBezTo>
                <a:close/>
                <a:moveTo>
                  <a:pt x="11460480" y="604709"/>
                </a:moveTo>
                <a:cubicBezTo>
                  <a:pt x="11491595" y="604074"/>
                  <a:pt x="11481435" y="555179"/>
                  <a:pt x="11452860" y="566609"/>
                </a:cubicBezTo>
                <a:cubicBezTo>
                  <a:pt x="11433175" y="574229"/>
                  <a:pt x="11439525" y="605344"/>
                  <a:pt x="11460480" y="604709"/>
                </a:cubicBezTo>
                <a:close/>
                <a:moveTo>
                  <a:pt x="11099165" y="538034"/>
                </a:moveTo>
                <a:cubicBezTo>
                  <a:pt x="11144885" y="536129"/>
                  <a:pt x="11119485" y="465008"/>
                  <a:pt x="11082655" y="492949"/>
                </a:cubicBezTo>
                <a:cubicBezTo>
                  <a:pt x="11064240" y="507554"/>
                  <a:pt x="11076305" y="538669"/>
                  <a:pt x="11099165" y="538034"/>
                </a:cubicBezTo>
                <a:close/>
                <a:moveTo>
                  <a:pt x="11135360" y="615504"/>
                </a:moveTo>
                <a:cubicBezTo>
                  <a:pt x="11151870" y="639634"/>
                  <a:pt x="11189335" y="613599"/>
                  <a:pt x="11172825" y="590104"/>
                </a:cubicBezTo>
                <a:cubicBezTo>
                  <a:pt x="11156315" y="565338"/>
                  <a:pt x="11118215" y="591374"/>
                  <a:pt x="11135360" y="615504"/>
                </a:cubicBezTo>
                <a:close/>
                <a:moveTo>
                  <a:pt x="11095355" y="549463"/>
                </a:moveTo>
                <a:cubicBezTo>
                  <a:pt x="11070590" y="567879"/>
                  <a:pt x="11100435" y="606613"/>
                  <a:pt x="11124565" y="587563"/>
                </a:cubicBezTo>
                <a:cubicBezTo>
                  <a:pt x="11149330" y="568513"/>
                  <a:pt x="11119485" y="529779"/>
                  <a:pt x="11095355" y="549463"/>
                </a:cubicBezTo>
                <a:close/>
                <a:moveTo>
                  <a:pt x="11038840" y="809179"/>
                </a:moveTo>
                <a:cubicBezTo>
                  <a:pt x="11073765" y="847913"/>
                  <a:pt x="11092815" y="762188"/>
                  <a:pt x="11045190" y="781874"/>
                </a:cubicBezTo>
                <a:cubicBezTo>
                  <a:pt x="11045190" y="781874"/>
                  <a:pt x="11045190" y="781874"/>
                  <a:pt x="11045190" y="781874"/>
                </a:cubicBezTo>
                <a:cubicBezTo>
                  <a:pt x="11035665" y="787588"/>
                  <a:pt x="11032490" y="799654"/>
                  <a:pt x="11038840" y="809179"/>
                </a:cubicBezTo>
                <a:close/>
                <a:moveTo>
                  <a:pt x="11009630" y="618044"/>
                </a:moveTo>
                <a:cubicBezTo>
                  <a:pt x="11009630" y="618044"/>
                  <a:pt x="11009630" y="618044"/>
                  <a:pt x="11009630" y="618044"/>
                </a:cubicBezTo>
                <a:cubicBezTo>
                  <a:pt x="10985500" y="637729"/>
                  <a:pt x="11016615" y="675194"/>
                  <a:pt x="11040110" y="654874"/>
                </a:cubicBezTo>
                <a:cubicBezTo>
                  <a:pt x="11064875" y="635188"/>
                  <a:pt x="11033760" y="597724"/>
                  <a:pt x="11009630" y="618044"/>
                </a:cubicBezTo>
                <a:close/>
                <a:moveTo>
                  <a:pt x="11220450" y="557719"/>
                </a:moveTo>
                <a:cubicBezTo>
                  <a:pt x="11260455" y="601534"/>
                  <a:pt x="11282045" y="503744"/>
                  <a:pt x="11227435" y="526604"/>
                </a:cubicBezTo>
                <a:cubicBezTo>
                  <a:pt x="11227435" y="526604"/>
                  <a:pt x="11227435" y="526604"/>
                  <a:pt x="11227435" y="526604"/>
                </a:cubicBezTo>
                <a:cubicBezTo>
                  <a:pt x="11217275" y="532954"/>
                  <a:pt x="11214100" y="546924"/>
                  <a:pt x="11220450" y="557719"/>
                </a:cubicBezTo>
                <a:close/>
                <a:moveTo>
                  <a:pt x="11188065" y="465644"/>
                </a:moveTo>
                <a:cubicBezTo>
                  <a:pt x="11233150" y="463738"/>
                  <a:pt x="11209020" y="393888"/>
                  <a:pt x="11172190" y="419924"/>
                </a:cubicBezTo>
                <a:cubicBezTo>
                  <a:pt x="11153140" y="434529"/>
                  <a:pt x="11164570" y="466913"/>
                  <a:pt x="11188065" y="465644"/>
                </a:cubicBezTo>
                <a:close/>
                <a:moveTo>
                  <a:pt x="11279505" y="397699"/>
                </a:moveTo>
                <a:cubicBezTo>
                  <a:pt x="11323320" y="395794"/>
                  <a:pt x="11301730" y="327213"/>
                  <a:pt x="11264900" y="351344"/>
                </a:cubicBezTo>
                <a:cubicBezTo>
                  <a:pt x="11244580" y="364679"/>
                  <a:pt x="11256010" y="398333"/>
                  <a:pt x="11279505" y="397699"/>
                </a:cubicBezTo>
                <a:close/>
                <a:moveTo>
                  <a:pt x="11182985" y="484058"/>
                </a:moveTo>
                <a:cubicBezTo>
                  <a:pt x="11157585" y="501838"/>
                  <a:pt x="11186160" y="541209"/>
                  <a:pt x="11210925" y="522794"/>
                </a:cubicBezTo>
                <a:cubicBezTo>
                  <a:pt x="11236325" y="505013"/>
                  <a:pt x="11207750" y="465008"/>
                  <a:pt x="11182985" y="484058"/>
                </a:cubicBezTo>
                <a:close/>
                <a:moveTo>
                  <a:pt x="11527155" y="557719"/>
                </a:moveTo>
                <a:cubicBezTo>
                  <a:pt x="11536045" y="581849"/>
                  <a:pt x="11573510" y="567879"/>
                  <a:pt x="11563985" y="543749"/>
                </a:cubicBezTo>
                <a:cubicBezTo>
                  <a:pt x="11555730" y="520254"/>
                  <a:pt x="11517630" y="534224"/>
                  <a:pt x="11527155" y="557719"/>
                </a:cubicBezTo>
                <a:close/>
                <a:moveTo>
                  <a:pt x="11036935" y="872679"/>
                </a:moveTo>
                <a:cubicBezTo>
                  <a:pt x="11049000" y="893634"/>
                  <a:pt x="11080750" y="874584"/>
                  <a:pt x="11068685" y="854263"/>
                </a:cubicBezTo>
                <a:cubicBezTo>
                  <a:pt x="11057255" y="833309"/>
                  <a:pt x="11024870" y="852359"/>
                  <a:pt x="11036935" y="872679"/>
                </a:cubicBezTo>
                <a:close/>
                <a:moveTo>
                  <a:pt x="10925810" y="690434"/>
                </a:moveTo>
                <a:cubicBezTo>
                  <a:pt x="10889615" y="760919"/>
                  <a:pt x="11017885" y="719009"/>
                  <a:pt x="10947400" y="683449"/>
                </a:cubicBezTo>
                <a:cubicBezTo>
                  <a:pt x="10986770" y="607884"/>
                  <a:pt x="10848340" y="653604"/>
                  <a:pt x="10925810" y="690434"/>
                </a:cubicBezTo>
                <a:close/>
                <a:moveTo>
                  <a:pt x="10969625" y="891729"/>
                </a:moveTo>
                <a:cubicBezTo>
                  <a:pt x="10949305" y="903794"/>
                  <a:pt x="10968990" y="935544"/>
                  <a:pt x="10988675" y="922844"/>
                </a:cubicBezTo>
                <a:cubicBezTo>
                  <a:pt x="11008995" y="910779"/>
                  <a:pt x="10989310" y="879029"/>
                  <a:pt x="10969625" y="891729"/>
                </a:cubicBezTo>
                <a:close/>
                <a:moveTo>
                  <a:pt x="9279255" y="2355404"/>
                </a:moveTo>
                <a:cubicBezTo>
                  <a:pt x="9265920" y="2331274"/>
                  <a:pt x="9228455" y="2352864"/>
                  <a:pt x="9242425" y="2376359"/>
                </a:cubicBezTo>
                <a:cubicBezTo>
                  <a:pt x="9255760" y="2400489"/>
                  <a:pt x="9293225" y="2378899"/>
                  <a:pt x="9279255" y="2355404"/>
                </a:cubicBezTo>
                <a:close/>
                <a:moveTo>
                  <a:pt x="10994390" y="779334"/>
                </a:moveTo>
                <a:cubicBezTo>
                  <a:pt x="10978515" y="757109"/>
                  <a:pt x="10943590" y="782509"/>
                  <a:pt x="10960100" y="804099"/>
                </a:cubicBezTo>
                <a:cubicBezTo>
                  <a:pt x="10976610" y="826324"/>
                  <a:pt x="11010900" y="800924"/>
                  <a:pt x="10994390" y="779334"/>
                </a:cubicBezTo>
                <a:close/>
                <a:moveTo>
                  <a:pt x="10995025" y="837754"/>
                </a:moveTo>
                <a:cubicBezTo>
                  <a:pt x="10981055" y="816163"/>
                  <a:pt x="10947400" y="839024"/>
                  <a:pt x="10962005" y="859979"/>
                </a:cubicBezTo>
                <a:cubicBezTo>
                  <a:pt x="10975975" y="881569"/>
                  <a:pt x="11009630" y="858709"/>
                  <a:pt x="10995025" y="837754"/>
                </a:cubicBezTo>
                <a:close/>
                <a:moveTo>
                  <a:pt x="11012805" y="612963"/>
                </a:moveTo>
                <a:cubicBezTo>
                  <a:pt x="11059160" y="611059"/>
                  <a:pt x="11031855" y="539304"/>
                  <a:pt x="10995660" y="568513"/>
                </a:cubicBezTo>
                <a:cubicBezTo>
                  <a:pt x="10978515" y="583754"/>
                  <a:pt x="10990580" y="613599"/>
                  <a:pt x="11012805" y="612963"/>
                </a:cubicBezTo>
                <a:close/>
                <a:moveTo>
                  <a:pt x="10970895" y="738694"/>
                </a:moveTo>
                <a:cubicBezTo>
                  <a:pt x="10988675" y="762188"/>
                  <a:pt x="11024870" y="733613"/>
                  <a:pt x="11006455" y="710754"/>
                </a:cubicBezTo>
                <a:cubicBezTo>
                  <a:pt x="10988675" y="687894"/>
                  <a:pt x="10952480" y="716469"/>
                  <a:pt x="10970895" y="738694"/>
                </a:cubicBezTo>
                <a:close/>
                <a:moveTo>
                  <a:pt x="10891520" y="804734"/>
                </a:moveTo>
                <a:cubicBezTo>
                  <a:pt x="10909935" y="827594"/>
                  <a:pt x="10945495" y="797749"/>
                  <a:pt x="10925810" y="775524"/>
                </a:cubicBezTo>
                <a:cubicBezTo>
                  <a:pt x="10907395" y="752663"/>
                  <a:pt x="10872470" y="782509"/>
                  <a:pt x="10891520" y="804734"/>
                </a:cubicBezTo>
                <a:close/>
                <a:moveTo>
                  <a:pt x="11448415" y="839659"/>
                </a:moveTo>
                <a:cubicBezTo>
                  <a:pt x="11454130" y="859344"/>
                  <a:pt x="11483975" y="849819"/>
                  <a:pt x="11478260" y="830769"/>
                </a:cubicBezTo>
                <a:cubicBezTo>
                  <a:pt x="11472545" y="811084"/>
                  <a:pt x="11442065" y="819974"/>
                  <a:pt x="11448415" y="839659"/>
                </a:cubicBezTo>
                <a:close/>
                <a:moveTo>
                  <a:pt x="11397615" y="452308"/>
                </a:moveTo>
                <a:cubicBezTo>
                  <a:pt x="11410950" y="478344"/>
                  <a:pt x="11451590" y="456754"/>
                  <a:pt x="11437620" y="431354"/>
                </a:cubicBezTo>
                <a:cubicBezTo>
                  <a:pt x="11424285" y="405319"/>
                  <a:pt x="11383645" y="426274"/>
                  <a:pt x="11397615" y="452308"/>
                </a:cubicBezTo>
                <a:close/>
                <a:moveTo>
                  <a:pt x="11384915" y="639634"/>
                </a:moveTo>
                <a:cubicBezTo>
                  <a:pt x="11408410" y="629474"/>
                  <a:pt x="11391265" y="592644"/>
                  <a:pt x="11368405" y="604074"/>
                </a:cubicBezTo>
                <a:cubicBezTo>
                  <a:pt x="11344910" y="614869"/>
                  <a:pt x="11362055" y="651063"/>
                  <a:pt x="11384915" y="639634"/>
                </a:cubicBezTo>
                <a:close/>
                <a:moveTo>
                  <a:pt x="11399520" y="555179"/>
                </a:moveTo>
                <a:lnTo>
                  <a:pt x="11399520" y="555179"/>
                </a:lnTo>
                <a:cubicBezTo>
                  <a:pt x="11424285" y="543113"/>
                  <a:pt x="11404600" y="504379"/>
                  <a:pt x="11380470" y="517079"/>
                </a:cubicBezTo>
                <a:cubicBezTo>
                  <a:pt x="11355705" y="529144"/>
                  <a:pt x="11375390" y="567244"/>
                  <a:pt x="11399520" y="555179"/>
                </a:cubicBezTo>
                <a:close/>
                <a:moveTo>
                  <a:pt x="11490960" y="741234"/>
                </a:moveTo>
                <a:cubicBezTo>
                  <a:pt x="11483975" y="720279"/>
                  <a:pt x="11451590" y="731074"/>
                  <a:pt x="11458575" y="752029"/>
                </a:cubicBezTo>
                <a:cubicBezTo>
                  <a:pt x="11465560" y="772984"/>
                  <a:pt x="11497945" y="762188"/>
                  <a:pt x="11490960" y="741234"/>
                </a:cubicBezTo>
                <a:close/>
                <a:moveTo>
                  <a:pt x="11452225" y="341183"/>
                </a:moveTo>
                <a:cubicBezTo>
                  <a:pt x="11466830" y="369124"/>
                  <a:pt x="11509375" y="345629"/>
                  <a:pt x="11494770" y="318324"/>
                </a:cubicBezTo>
                <a:cubicBezTo>
                  <a:pt x="11480165" y="291019"/>
                  <a:pt x="11436985" y="314513"/>
                  <a:pt x="11452225" y="341183"/>
                </a:cubicBezTo>
                <a:close/>
                <a:moveTo>
                  <a:pt x="11489055" y="405319"/>
                </a:moveTo>
                <a:cubicBezTo>
                  <a:pt x="11501120" y="431988"/>
                  <a:pt x="11543030" y="412304"/>
                  <a:pt x="11529695" y="386269"/>
                </a:cubicBezTo>
                <a:cubicBezTo>
                  <a:pt x="11518265" y="359599"/>
                  <a:pt x="11476355" y="378649"/>
                  <a:pt x="11489055" y="405319"/>
                </a:cubicBezTo>
                <a:close/>
                <a:moveTo>
                  <a:pt x="10886440" y="833944"/>
                </a:moveTo>
                <a:cubicBezTo>
                  <a:pt x="10864215" y="850454"/>
                  <a:pt x="10890885" y="884744"/>
                  <a:pt x="10912475" y="867599"/>
                </a:cubicBezTo>
                <a:cubicBezTo>
                  <a:pt x="10934700" y="850454"/>
                  <a:pt x="10908030" y="816799"/>
                  <a:pt x="10886440" y="833944"/>
                </a:cubicBezTo>
                <a:close/>
                <a:moveTo>
                  <a:pt x="11471910" y="273238"/>
                </a:moveTo>
                <a:cubicBezTo>
                  <a:pt x="11513820" y="271969"/>
                  <a:pt x="11496675" y="205294"/>
                  <a:pt x="11459210" y="225613"/>
                </a:cubicBezTo>
                <a:cubicBezTo>
                  <a:pt x="11436985" y="237679"/>
                  <a:pt x="11447145" y="274508"/>
                  <a:pt x="11471910" y="273238"/>
                </a:cubicBezTo>
                <a:close/>
                <a:moveTo>
                  <a:pt x="11366500" y="363408"/>
                </a:moveTo>
                <a:cubicBezTo>
                  <a:pt x="11339195" y="379283"/>
                  <a:pt x="11364595" y="421194"/>
                  <a:pt x="11391265" y="404683"/>
                </a:cubicBezTo>
                <a:cubicBezTo>
                  <a:pt x="11417935" y="388808"/>
                  <a:pt x="11392535" y="346899"/>
                  <a:pt x="11366500" y="363408"/>
                </a:cubicBezTo>
                <a:close/>
                <a:moveTo>
                  <a:pt x="11285220" y="644713"/>
                </a:moveTo>
                <a:cubicBezTo>
                  <a:pt x="11262360" y="656144"/>
                  <a:pt x="11280775" y="691704"/>
                  <a:pt x="11303000" y="679638"/>
                </a:cubicBezTo>
                <a:cubicBezTo>
                  <a:pt x="11325860" y="668209"/>
                  <a:pt x="11308080" y="632649"/>
                  <a:pt x="11285220" y="644713"/>
                </a:cubicBezTo>
                <a:close/>
                <a:moveTo>
                  <a:pt x="11273155" y="421829"/>
                </a:moveTo>
                <a:cubicBezTo>
                  <a:pt x="11247120" y="438974"/>
                  <a:pt x="11273790" y="479613"/>
                  <a:pt x="11299825" y="461833"/>
                </a:cubicBezTo>
                <a:cubicBezTo>
                  <a:pt x="11325860" y="444688"/>
                  <a:pt x="11299190" y="404049"/>
                  <a:pt x="11273155" y="421829"/>
                </a:cubicBezTo>
                <a:close/>
                <a:moveTo>
                  <a:pt x="11414760" y="767269"/>
                </a:moveTo>
                <a:cubicBezTo>
                  <a:pt x="11407140" y="746313"/>
                  <a:pt x="11374755" y="758379"/>
                  <a:pt x="11383010" y="779334"/>
                </a:cubicBezTo>
                <a:cubicBezTo>
                  <a:pt x="11390630" y="800288"/>
                  <a:pt x="11423015" y="788224"/>
                  <a:pt x="11414760" y="767269"/>
                </a:cubicBezTo>
                <a:close/>
                <a:moveTo>
                  <a:pt x="11242675" y="818069"/>
                </a:moveTo>
                <a:cubicBezTo>
                  <a:pt x="11222355" y="826324"/>
                  <a:pt x="11236325" y="858074"/>
                  <a:pt x="11256010" y="849184"/>
                </a:cubicBezTo>
                <a:cubicBezTo>
                  <a:pt x="11276965" y="840294"/>
                  <a:pt x="11262995" y="808544"/>
                  <a:pt x="11242675" y="818069"/>
                </a:cubicBezTo>
                <a:close/>
                <a:moveTo>
                  <a:pt x="11322685" y="571054"/>
                </a:moveTo>
                <a:cubicBezTo>
                  <a:pt x="11309985" y="546924"/>
                  <a:pt x="11271885" y="567879"/>
                  <a:pt x="11285855" y="591374"/>
                </a:cubicBezTo>
                <a:cubicBezTo>
                  <a:pt x="11298555" y="615504"/>
                  <a:pt x="11336020" y="594549"/>
                  <a:pt x="11322685" y="571054"/>
                </a:cubicBezTo>
                <a:close/>
                <a:moveTo>
                  <a:pt x="11245850" y="893634"/>
                </a:moveTo>
                <a:cubicBezTo>
                  <a:pt x="11226800" y="900619"/>
                  <a:pt x="11238865" y="930463"/>
                  <a:pt x="11257280" y="922209"/>
                </a:cubicBezTo>
                <a:cubicBezTo>
                  <a:pt x="11275695" y="915859"/>
                  <a:pt x="11264265" y="886013"/>
                  <a:pt x="11245850" y="893634"/>
                </a:cubicBezTo>
                <a:close/>
                <a:moveTo>
                  <a:pt x="11374755" y="332929"/>
                </a:moveTo>
                <a:cubicBezTo>
                  <a:pt x="11417935" y="331658"/>
                  <a:pt x="11398250" y="263713"/>
                  <a:pt x="11360785" y="285938"/>
                </a:cubicBezTo>
                <a:cubicBezTo>
                  <a:pt x="11339195" y="299274"/>
                  <a:pt x="11349990" y="334199"/>
                  <a:pt x="11374755" y="332929"/>
                </a:cubicBezTo>
                <a:close/>
                <a:moveTo>
                  <a:pt x="11308080" y="503108"/>
                </a:moveTo>
                <a:cubicBezTo>
                  <a:pt x="11322685" y="528509"/>
                  <a:pt x="11362055" y="505649"/>
                  <a:pt x="11346815" y="480249"/>
                </a:cubicBezTo>
                <a:cubicBezTo>
                  <a:pt x="11332845" y="454849"/>
                  <a:pt x="11292840" y="478344"/>
                  <a:pt x="11308080" y="503108"/>
                </a:cubicBezTo>
                <a:close/>
                <a:moveTo>
                  <a:pt x="8964930" y="2007424"/>
                </a:moveTo>
                <a:cubicBezTo>
                  <a:pt x="8982075" y="2007424"/>
                  <a:pt x="8980805" y="1980754"/>
                  <a:pt x="8963660" y="1982024"/>
                </a:cubicBezTo>
                <a:cubicBezTo>
                  <a:pt x="8947785" y="1983294"/>
                  <a:pt x="8949055" y="2008059"/>
                  <a:pt x="8964930" y="2007424"/>
                </a:cubicBezTo>
                <a:close/>
                <a:moveTo>
                  <a:pt x="8071485" y="2028379"/>
                </a:moveTo>
                <a:cubicBezTo>
                  <a:pt x="8089265" y="2032824"/>
                  <a:pt x="8095615" y="2004884"/>
                  <a:pt x="8077835" y="2001074"/>
                </a:cubicBezTo>
                <a:cubicBezTo>
                  <a:pt x="8060056" y="1996629"/>
                  <a:pt x="8053706" y="2024569"/>
                  <a:pt x="8071485" y="2028379"/>
                </a:cubicBezTo>
                <a:close/>
                <a:moveTo>
                  <a:pt x="8078470" y="1942019"/>
                </a:moveTo>
                <a:cubicBezTo>
                  <a:pt x="8094345" y="1945829"/>
                  <a:pt x="8100060" y="1920429"/>
                  <a:pt x="8083550" y="1917254"/>
                </a:cubicBezTo>
                <a:cubicBezTo>
                  <a:pt x="8067675" y="1914079"/>
                  <a:pt x="8062595" y="1938844"/>
                  <a:pt x="8078470" y="1942019"/>
                </a:cubicBezTo>
                <a:close/>
                <a:moveTo>
                  <a:pt x="8059420" y="2230309"/>
                </a:moveTo>
                <a:cubicBezTo>
                  <a:pt x="8080375" y="2236024"/>
                  <a:pt x="8089265" y="2203004"/>
                  <a:pt x="8067675" y="2197289"/>
                </a:cubicBezTo>
                <a:cubicBezTo>
                  <a:pt x="8047356" y="2191574"/>
                  <a:pt x="8038465" y="2225229"/>
                  <a:pt x="8059420" y="2230309"/>
                </a:cubicBezTo>
                <a:close/>
                <a:moveTo>
                  <a:pt x="8003540" y="2309684"/>
                </a:moveTo>
                <a:cubicBezTo>
                  <a:pt x="7997190" y="2332544"/>
                  <a:pt x="8032750" y="2342704"/>
                  <a:pt x="8039100" y="2319209"/>
                </a:cubicBezTo>
                <a:cubicBezTo>
                  <a:pt x="8046085" y="2296349"/>
                  <a:pt x="8009890" y="2286189"/>
                  <a:pt x="8003540" y="2309684"/>
                </a:cubicBezTo>
                <a:close/>
                <a:moveTo>
                  <a:pt x="8138160" y="2249359"/>
                </a:moveTo>
                <a:cubicBezTo>
                  <a:pt x="8159115" y="2254439"/>
                  <a:pt x="8167370" y="2220784"/>
                  <a:pt x="8145781" y="2216339"/>
                </a:cubicBezTo>
                <a:cubicBezTo>
                  <a:pt x="8124190" y="2211259"/>
                  <a:pt x="8117206" y="2244914"/>
                  <a:pt x="8138160" y="2249359"/>
                </a:cubicBezTo>
                <a:close/>
                <a:moveTo>
                  <a:pt x="8139431" y="2043619"/>
                </a:moveTo>
                <a:cubicBezTo>
                  <a:pt x="8157210" y="2048063"/>
                  <a:pt x="8163560" y="2019488"/>
                  <a:pt x="8145145" y="2016313"/>
                </a:cubicBezTo>
                <a:cubicBezTo>
                  <a:pt x="8127365" y="2011869"/>
                  <a:pt x="8121650" y="2039809"/>
                  <a:pt x="8139431" y="2043619"/>
                </a:cubicBezTo>
                <a:close/>
                <a:moveTo>
                  <a:pt x="8140700" y="2556064"/>
                </a:moveTo>
                <a:cubicBezTo>
                  <a:pt x="8113395" y="2550984"/>
                  <a:pt x="8106410" y="2593529"/>
                  <a:pt x="8133081" y="2597974"/>
                </a:cubicBezTo>
                <a:cubicBezTo>
                  <a:pt x="8160385" y="2603054"/>
                  <a:pt x="8168006" y="2560509"/>
                  <a:pt x="8140700" y="2556064"/>
                </a:cubicBezTo>
                <a:close/>
                <a:moveTo>
                  <a:pt x="8140700" y="1954719"/>
                </a:moveTo>
                <a:cubicBezTo>
                  <a:pt x="8140700" y="1954719"/>
                  <a:pt x="8140700" y="1954719"/>
                  <a:pt x="8140700" y="1954719"/>
                </a:cubicBezTo>
                <a:cubicBezTo>
                  <a:pt x="8140700" y="1954719"/>
                  <a:pt x="8140700" y="1954719"/>
                  <a:pt x="8140700" y="1954719"/>
                </a:cubicBezTo>
                <a:lnTo>
                  <a:pt x="8140700" y="1954719"/>
                </a:lnTo>
                <a:close/>
                <a:moveTo>
                  <a:pt x="8140700" y="1954719"/>
                </a:moveTo>
                <a:cubicBezTo>
                  <a:pt x="8194675" y="1933129"/>
                  <a:pt x="8098790" y="1915349"/>
                  <a:pt x="8140700" y="1954719"/>
                </a:cubicBezTo>
                <a:lnTo>
                  <a:pt x="8140700" y="1954719"/>
                </a:lnTo>
                <a:close/>
                <a:moveTo>
                  <a:pt x="8016240" y="1928684"/>
                </a:moveTo>
                <a:cubicBezTo>
                  <a:pt x="8032115" y="1932494"/>
                  <a:pt x="8037831" y="1907094"/>
                  <a:pt x="8021956" y="1903919"/>
                </a:cubicBezTo>
                <a:cubicBezTo>
                  <a:pt x="8005445" y="1900109"/>
                  <a:pt x="7999731" y="1925509"/>
                  <a:pt x="8016240" y="1928684"/>
                </a:cubicBezTo>
                <a:close/>
                <a:moveTo>
                  <a:pt x="7954010" y="1914713"/>
                </a:moveTo>
                <a:cubicBezTo>
                  <a:pt x="7969885" y="1919159"/>
                  <a:pt x="7976235" y="1893759"/>
                  <a:pt x="7959725" y="1889949"/>
                </a:cubicBezTo>
                <a:cubicBezTo>
                  <a:pt x="7943850" y="1886138"/>
                  <a:pt x="7938135" y="1910904"/>
                  <a:pt x="7954010" y="1914713"/>
                </a:cubicBezTo>
                <a:close/>
                <a:moveTo>
                  <a:pt x="7944485" y="2272219"/>
                </a:moveTo>
                <a:cubicBezTo>
                  <a:pt x="7921625" y="2264599"/>
                  <a:pt x="7910831" y="2300159"/>
                  <a:pt x="7933690" y="2307144"/>
                </a:cubicBezTo>
                <a:cubicBezTo>
                  <a:pt x="7955915" y="2314764"/>
                  <a:pt x="7967345" y="2279204"/>
                  <a:pt x="7944485" y="2272219"/>
                </a:cubicBezTo>
                <a:close/>
                <a:moveTo>
                  <a:pt x="7927340" y="2526219"/>
                </a:moveTo>
                <a:cubicBezTo>
                  <a:pt x="7919085" y="2552254"/>
                  <a:pt x="7960360" y="2564319"/>
                  <a:pt x="7967981" y="2538284"/>
                </a:cubicBezTo>
                <a:cubicBezTo>
                  <a:pt x="7976235" y="2511614"/>
                  <a:pt x="7934960" y="2499549"/>
                  <a:pt x="7927340" y="2526219"/>
                </a:cubicBezTo>
                <a:close/>
                <a:moveTo>
                  <a:pt x="7947660" y="2060763"/>
                </a:moveTo>
                <a:cubicBezTo>
                  <a:pt x="7928610" y="2054413"/>
                  <a:pt x="7919720" y="2084894"/>
                  <a:pt x="7938770" y="2090609"/>
                </a:cubicBezTo>
                <a:cubicBezTo>
                  <a:pt x="7957820" y="2096324"/>
                  <a:pt x="7966710" y="2065844"/>
                  <a:pt x="7947660" y="2060763"/>
                </a:cubicBezTo>
                <a:close/>
                <a:moveTo>
                  <a:pt x="8004175" y="2011869"/>
                </a:moveTo>
                <a:cubicBezTo>
                  <a:pt x="8021956" y="2016949"/>
                  <a:pt x="8028940" y="1989009"/>
                  <a:pt x="8011160" y="1984563"/>
                </a:cubicBezTo>
                <a:cubicBezTo>
                  <a:pt x="7993381" y="1980119"/>
                  <a:pt x="7986395" y="2008059"/>
                  <a:pt x="8004175" y="2011869"/>
                </a:cubicBezTo>
                <a:close/>
                <a:moveTo>
                  <a:pt x="7981950" y="2208719"/>
                </a:moveTo>
                <a:cubicBezTo>
                  <a:pt x="8002906" y="2215069"/>
                  <a:pt x="8013065" y="2182049"/>
                  <a:pt x="7991475" y="2176334"/>
                </a:cubicBezTo>
                <a:cubicBezTo>
                  <a:pt x="7970520" y="2169984"/>
                  <a:pt x="7960360" y="2203004"/>
                  <a:pt x="7981950" y="2208719"/>
                </a:cubicBezTo>
                <a:close/>
                <a:moveTo>
                  <a:pt x="8018781" y="2081084"/>
                </a:moveTo>
                <a:cubicBezTo>
                  <a:pt x="7996556" y="2075369"/>
                  <a:pt x="7991475" y="2111564"/>
                  <a:pt x="8014335" y="2111564"/>
                </a:cubicBezTo>
                <a:cubicBezTo>
                  <a:pt x="8032115" y="2112199"/>
                  <a:pt x="8036560" y="2084894"/>
                  <a:pt x="8018781" y="2081084"/>
                </a:cubicBezTo>
                <a:close/>
                <a:moveTo>
                  <a:pt x="8174356" y="2465259"/>
                </a:moveTo>
                <a:cubicBezTo>
                  <a:pt x="8179435" y="2440494"/>
                  <a:pt x="8140065" y="2432874"/>
                  <a:pt x="8135620" y="2457639"/>
                </a:cubicBezTo>
                <a:cubicBezTo>
                  <a:pt x="8130540" y="2483039"/>
                  <a:pt x="8169910" y="2490659"/>
                  <a:pt x="8174356" y="2465259"/>
                </a:cubicBezTo>
                <a:close/>
                <a:moveTo>
                  <a:pt x="8021320" y="2552254"/>
                </a:moveTo>
                <a:cubicBezTo>
                  <a:pt x="8014970" y="2578924"/>
                  <a:pt x="8056245" y="2589084"/>
                  <a:pt x="8062595" y="2561779"/>
                </a:cubicBezTo>
                <a:cubicBezTo>
                  <a:pt x="8069581" y="2535109"/>
                  <a:pt x="8027035" y="2525584"/>
                  <a:pt x="8021320" y="2552254"/>
                </a:cubicBezTo>
                <a:close/>
                <a:moveTo>
                  <a:pt x="8308975" y="2598609"/>
                </a:moveTo>
                <a:cubicBezTo>
                  <a:pt x="8307070" y="2625914"/>
                  <a:pt x="8350250" y="2628454"/>
                  <a:pt x="8351520" y="2601149"/>
                </a:cubicBezTo>
                <a:cubicBezTo>
                  <a:pt x="8353425" y="2573844"/>
                  <a:pt x="8310245" y="2570669"/>
                  <a:pt x="8308975" y="2598609"/>
                </a:cubicBezTo>
                <a:close/>
                <a:moveTo>
                  <a:pt x="8332470" y="2063938"/>
                </a:moveTo>
                <a:cubicBezTo>
                  <a:pt x="8333740" y="2100769"/>
                  <a:pt x="8383906" y="2063304"/>
                  <a:pt x="8348345" y="2051874"/>
                </a:cubicBezTo>
                <a:cubicBezTo>
                  <a:pt x="8340725" y="2051238"/>
                  <a:pt x="8333740" y="2056319"/>
                  <a:pt x="8332470" y="2063938"/>
                </a:cubicBezTo>
                <a:close/>
                <a:moveTo>
                  <a:pt x="8361045" y="2360484"/>
                </a:moveTo>
                <a:cubicBezTo>
                  <a:pt x="8337550" y="2357944"/>
                  <a:pt x="8333740" y="2394774"/>
                  <a:pt x="8357235" y="2397314"/>
                </a:cubicBezTo>
                <a:cubicBezTo>
                  <a:pt x="8381365" y="2399219"/>
                  <a:pt x="8385175" y="2362389"/>
                  <a:pt x="8361045" y="2360484"/>
                </a:cubicBezTo>
                <a:close/>
                <a:moveTo>
                  <a:pt x="8145145" y="2128074"/>
                </a:moveTo>
                <a:cubicBezTo>
                  <a:pt x="8140700" y="2147759"/>
                  <a:pt x="8171181" y="2154744"/>
                  <a:pt x="8175625" y="2134424"/>
                </a:cubicBezTo>
                <a:cubicBezTo>
                  <a:pt x="8180070" y="2115374"/>
                  <a:pt x="8148956" y="2108389"/>
                  <a:pt x="8145145" y="2128074"/>
                </a:cubicBezTo>
                <a:close/>
                <a:moveTo>
                  <a:pt x="8357870" y="2737674"/>
                </a:moveTo>
                <a:cubicBezTo>
                  <a:pt x="8387081" y="2738309"/>
                  <a:pt x="8387715" y="2692589"/>
                  <a:pt x="8358506" y="2692589"/>
                </a:cubicBezTo>
                <a:cubicBezTo>
                  <a:pt x="8329295" y="2691954"/>
                  <a:pt x="8328660" y="2738309"/>
                  <a:pt x="8357870" y="2737674"/>
                </a:cubicBezTo>
                <a:close/>
                <a:moveTo>
                  <a:pt x="8338185" y="2467164"/>
                </a:moveTo>
                <a:cubicBezTo>
                  <a:pt x="8311515" y="2464624"/>
                  <a:pt x="8309610" y="2507169"/>
                  <a:pt x="8336915" y="2506534"/>
                </a:cubicBezTo>
                <a:cubicBezTo>
                  <a:pt x="8361045" y="2507169"/>
                  <a:pt x="8362950" y="2469069"/>
                  <a:pt x="8338185" y="2467164"/>
                </a:cubicBezTo>
                <a:close/>
                <a:moveTo>
                  <a:pt x="8304531" y="2174429"/>
                </a:moveTo>
                <a:cubicBezTo>
                  <a:pt x="8324215" y="2178239"/>
                  <a:pt x="8329295" y="2146489"/>
                  <a:pt x="8309610" y="2143949"/>
                </a:cubicBezTo>
                <a:cubicBezTo>
                  <a:pt x="8289925" y="2140139"/>
                  <a:pt x="8284845" y="2171889"/>
                  <a:pt x="8304531" y="2174429"/>
                </a:cubicBezTo>
                <a:close/>
                <a:moveTo>
                  <a:pt x="8379460" y="2185224"/>
                </a:moveTo>
                <a:cubicBezTo>
                  <a:pt x="8399145" y="2188399"/>
                  <a:pt x="8403590" y="2156649"/>
                  <a:pt x="8383270" y="2154109"/>
                </a:cubicBezTo>
                <a:cubicBezTo>
                  <a:pt x="8363585" y="2151569"/>
                  <a:pt x="8359140" y="2182684"/>
                  <a:pt x="8379460" y="2185224"/>
                </a:cubicBezTo>
                <a:close/>
                <a:moveTo>
                  <a:pt x="8392795" y="1993454"/>
                </a:moveTo>
                <a:cubicBezTo>
                  <a:pt x="8409305" y="1995359"/>
                  <a:pt x="8412480" y="1969959"/>
                  <a:pt x="8395970" y="1968054"/>
                </a:cubicBezTo>
                <a:cubicBezTo>
                  <a:pt x="8379460" y="1966149"/>
                  <a:pt x="8376285" y="1991549"/>
                  <a:pt x="8392795" y="1993454"/>
                </a:cubicBezTo>
                <a:close/>
                <a:moveTo>
                  <a:pt x="7936865" y="1994088"/>
                </a:moveTo>
                <a:lnTo>
                  <a:pt x="7936865" y="1994088"/>
                </a:lnTo>
                <a:cubicBezTo>
                  <a:pt x="7954010" y="1999169"/>
                  <a:pt x="7962265" y="1971229"/>
                  <a:pt x="7944485" y="1966784"/>
                </a:cubicBezTo>
                <a:cubicBezTo>
                  <a:pt x="7926706" y="1961704"/>
                  <a:pt x="7919085" y="1989644"/>
                  <a:pt x="7936865" y="1994088"/>
                </a:cubicBezTo>
                <a:close/>
                <a:moveTo>
                  <a:pt x="8329295" y="1985199"/>
                </a:moveTo>
                <a:cubicBezTo>
                  <a:pt x="8345806" y="1987738"/>
                  <a:pt x="8348981" y="1961704"/>
                  <a:pt x="8332470" y="1959799"/>
                </a:cubicBezTo>
                <a:cubicBezTo>
                  <a:pt x="8316595" y="1957894"/>
                  <a:pt x="8313420" y="1983294"/>
                  <a:pt x="8329295" y="1985199"/>
                </a:cubicBezTo>
                <a:close/>
                <a:moveTo>
                  <a:pt x="8195945" y="2041079"/>
                </a:moveTo>
                <a:cubicBezTo>
                  <a:pt x="8192135" y="2058859"/>
                  <a:pt x="8220710" y="2064574"/>
                  <a:pt x="8223885" y="2046159"/>
                </a:cubicBezTo>
                <a:cubicBezTo>
                  <a:pt x="8227695" y="2028379"/>
                  <a:pt x="8199120" y="2022663"/>
                  <a:pt x="8195945" y="2041079"/>
                </a:cubicBezTo>
                <a:close/>
                <a:moveTo>
                  <a:pt x="8264525" y="2053144"/>
                </a:moveTo>
                <a:cubicBezTo>
                  <a:pt x="8261350" y="2070924"/>
                  <a:pt x="8289290" y="2076004"/>
                  <a:pt x="8292465" y="2057588"/>
                </a:cubicBezTo>
                <a:cubicBezTo>
                  <a:pt x="8295006" y="2039809"/>
                  <a:pt x="8267065" y="2035363"/>
                  <a:pt x="8264525" y="2053144"/>
                </a:cubicBezTo>
                <a:close/>
                <a:moveTo>
                  <a:pt x="8265160" y="2479229"/>
                </a:moveTo>
                <a:cubicBezTo>
                  <a:pt x="8266431" y="2468434"/>
                  <a:pt x="8258810" y="2458274"/>
                  <a:pt x="8248015" y="2457004"/>
                </a:cubicBezTo>
                <a:cubicBezTo>
                  <a:pt x="8196581" y="2458909"/>
                  <a:pt x="8249285" y="2528759"/>
                  <a:pt x="8265160" y="2479229"/>
                </a:cubicBezTo>
                <a:close/>
                <a:moveTo>
                  <a:pt x="8203565" y="1965513"/>
                </a:moveTo>
                <a:cubicBezTo>
                  <a:pt x="8219440" y="1968688"/>
                  <a:pt x="8224520" y="1943288"/>
                  <a:pt x="8208010" y="1940749"/>
                </a:cubicBezTo>
                <a:cubicBezTo>
                  <a:pt x="8191500" y="1937574"/>
                  <a:pt x="8187056" y="1962974"/>
                  <a:pt x="8203565" y="1965513"/>
                </a:cubicBezTo>
                <a:close/>
                <a:moveTo>
                  <a:pt x="8218170" y="2143314"/>
                </a:moveTo>
                <a:cubicBezTo>
                  <a:pt x="8214360" y="2162999"/>
                  <a:pt x="8244840" y="2168714"/>
                  <a:pt x="8248650" y="2149029"/>
                </a:cubicBezTo>
                <a:cubicBezTo>
                  <a:pt x="8252460" y="2129344"/>
                  <a:pt x="8221345" y="2123629"/>
                  <a:pt x="8218170" y="2143314"/>
                </a:cubicBezTo>
                <a:close/>
                <a:moveTo>
                  <a:pt x="8223885" y="2232849"/>
                </a:moveTo>
                <a:cubicBezTo>
                  <a:pt x="8200390" y="2228404"/>
                  <a:pt x="8196581" y="2266504"/>
                  <a:pt x="8220710" y="2266504"/>
                </a:cubicBezTo>
                <a:cubicBezTo>
                  <a:pt x="8241031" y="2266504"/>
                  <a:pt x="8244206" y="2236024"/>
                  <a:pt x="8223885" y="2232849"/>
                </a:cubicBezTo>
                <a:close/>
                <a:moveTo>
                  <a:pt x="8266431" y="1976309"/>
                </a:moveTo>
                <a:cubicBezTo>
                  <a:pt x="8282306" y="1978849"/>
                  <a:pt x="8286750" y="1953449"/>
                  <a:pt x="8270240" y="1950909"/>
                </a:cubicBezTo>
                <a:cubicBezTo>
                  <a:pt x="8254365" y="1948369"/>
                  <a:pt x="8249920" y="1973769"/>
                  <a:pt x="8266431" y="1976309"/>
                </a:cubicBezTo>
                <a:close/>
                <a:moveTo>
                  <a:pt x="8230870" y="2611944"/>
                </a:moveTo>
                <a:cubicBezTo>
                  <a:pt x="8258175" y="2615754"/>
                  <a:pt x="8263256" y="2572574"/>
                  <a:pt x="8235950" y="2570034"/>
                </a:cubicBezTo>
                <a:cubicBezTo>
                  <a:pt x="8208645" y="2566224"/>
                  <a:pt x="8203565" y="2609404"/>
                  <a:pt x="8230870" y="2611944"/>
                </a:cubicBezTo>
                <a:close/>
                <a:moveTo>
                  <a:pt x="7707631" y="1849944"/>
                </a:moveTo>
                <a:cubicBezTo>
                  <a:pt x="7723506" y="1855024"/>
                  <a:pt x="7730490" y="1830259"/>
                  <a:pt x="7714615" y="1825813"/>
                </a:cubicBezTo>
                <a:cubicBezTo>
                  <a:pt x="7699375" y="1820734"/>
                  <a:pt x="7691756" y="1845499"/>
                  <a:pt x="7707631" y="1849944"/>
                </a:cubicBezTo>
                <a:close/>
                <a:moveTo>
                  <a:pt x="7616190" y="2037904"/>
                </a:moveTo>
                <a:cubicBezTo>
                  <a:pt x="7596506" y="2029013"/>
                  <a:pt x="7582535" y="2060763"/>
                  <a:pt x="7602856" y="2069019"/>
                </a:cubicBezTo>
                <a:cubicBezTo>
                  <a:pt x="7622540" y="2078544"/>
                  <a:pt x="7636510" y="2046794"/>
                  <a:pt x="7616190" y="2037904"/>
                </a:cubicBezTo>
                <a:close/>
                <a:moveTo>
                  <a:pt x="7598410" y="1870899"/>
                </a:moveTo>
                <a:cubicBezTo>
                  <a:pt x="7592060" y="1888044"/>
                  <a:pt x="7618731" y="1897569"/>
                  <a:pt x="7625081" y="1880424"/>
                </a:cubicBezTo>
                <a:cubicBezTo>
                  <a:pt x="7631431" y="1863279"/>
                  <a:pt x="7604125" y="1853754"/>
                  <a:pt x="7598410" y="1870899"/>
                </a:cubicBezTo>
                <a:close/>
                <a:moveTo>
                  <a:pt x="7601585" y="2157284"/>
                </a:moveTo>
                <a:cubicBezTo>
                  <a:pt x="7591425" y="2178874"/>
                  <a:pt x="7625081" y="2194114"/>
                  <a:pt x="7635240" y="2172524"/>
                </a:cubicBezTo>
                <a:cubicBezTo>
                  <a:pt x="7645400" y="2151569"/>
                  <a:pt x="7611110" y="2135694"/>
                  <a:pt x="7601585" y="2157284"/>
                </a:cubicBezTo>
                <a:close/>
                <a:moveTo>
                  <a:pt x="7586345" y="1812479"/>
                </a:moveTo>
                <a:cubicBezTo>
                  <a:pt x="7601585" y="1817559"/>
                  <a:pt x="7609840" y="1792794"/>
                  <a:pt x="7593965" y="1788349"/>
                </a:cubicBezTo>
                <a:cubicBezTo>
                  <a:pt x="7578090" y="1783269"/>
                  <a:pt x="7570470" y="1808034"/>
                  <a:pt x="7586345" y="1812479"/>
                </a:cubicBezTo>
                <a:close/>
                <a:moveTo>
                  <a:pt x="7585075" y="1964244"/>
                </a:moveTo>
                <a:cubicBezTo>
                  <a:pt x="7603490" y="1972499"/>
                  <a:pt x="7615556" y="1942654"/>
                  <a:pt x="7596506" y="1935669"/>
                </a:cubicBezTo>
                <a:cubicBezTo>
                  <a:pt x="7578090" y="1928049"/>
                  <a:pt x="7566025" y="1957259"/>
                  <a:pt x="7585075" y="1964244"/>
                </a:cubicBezTo>
                <a:close/>
                <a:moveTo>
                  <a:pt x="8428355" y="2472244"/>
                </a:moveTo>
                <a:cubicBezTo>
                  <a:pt x="8402955" y="2470974"/>
                  <a:pt x="8401685" y="2511614"/>
                  <a:pt x="8427085" y="2511614"/>
                </a:cubicBezTo>
                <a:cubicBezTo>
                  <a:pt x="8453120" y="2512884"/>
                  <a:pt x="8454390" y="2472879"/>
                  <a:pt x="8428355" y="2472244"/>
                </a:cubicBezTo>
                <a:close/>
                <a:moveTo>
                  <a:pt x="7667625" y="2078544"/>
                </a:moveTo>
                <a:cubicBezTo>
                  <a:pt x="7658735" y="2098864"/>
                  <a:pt x="7690485" y="2112199"/>
                  <a:pt x="7698740" y="2091244"/>
                </a:cubicBezTo>
                <a:cubicBezTo>
                  <a:pt x="7707631" y="2071559"/>
                  <a:pt x="7675881" y="2058224"/>
                  <a:pt x="7667625" y="2078544"/>
                </a:cubicBezTo>
                <a:close/>
                <a:moveTo>
                  <a:pt x="7646670" y="1831529"/>
                </a:moveTo>
                <a:cubicBezTo>
                  <a:pt x="7662545" y="1836609"/>
                  <a:pt x="7670165" y="1811844"/>
                  <a:pt x="7654290" y="1807399"/>
                </a:cubicBezTo>
                <a:cubicBezTo>
                  <a:pt x="7639050" y="1802319"/>
                  <a:pt x="7630795" y="1827084"/>
                  <a:pt x="7646670" y="1831529"/>
                </a:cubicBezTo>
                <a:close/>
                <a:moveTo>
                  <a:pt x="7672070" y="1912174"/>
                </a:moveTo>
                <a:cubicBezTo>
                  <a:pt x="7689215" y="1918524"/>
                  <a:pt x="7698740" y="1891219"/>
                  <a:pt x="7680960" y="1885504"/>
                </a:cubicBezTo>
                <a:cubicBezTo>
                  <a:pt x="7663815" y="1879154"/>
                  <a:pt x="7654925" y="1906459"/>
                  <a:pt x="7672070" y="1912174"/>
                </a:cubicBezTo>
                <a:close/>
                <a:moveTo>
                  <a:pt x="7533640" y="1846769"/>
                </a:moveTo>
                <a:cubicBezTo>
                  <a:pt x="7527290" y="1863913"/>
                  <a:pt x="7553960" y="1874074"/>
                  <a:pt x="7560310" y="1856929"/>
                </a:cubicBezTo>
                <a:cubicBezTo>
                  <a:pt x="7566660" y="1839784"/>
                  <a:pt x="7539356" y="1829624"/>
                  <a:pt x="7533640" y="1846769"/>
                </a:cubicBezTo>
                <a:close/>
                <a:moveTo>
                  <a:pt x="7456170" y="2001709"/>
                </a:moveTo>
                <a:cubicBezTo>
                  <a:pt x="7475856" y="2011869"/>
                  <a:pt x="7491095" y="1980754"/>
                  <a:pt x="7470775" y="1971229"/>
                </a:cubicBezTo>
                <a:cubicBezTo>
                  <a:pt x="7451090" y="1961069"/>
                  <a:pt x="7435850" y="1992184"/>
                  <a:pt x="7456170" y="2001709"/>
                </a:cubicBezTo>
                <a:close/>
                <a:moveTo>
                  <a:pt x="7468870" y="1822004"/>
                </a:moveTo>
                <a:cubicBezTo>
                  <a:pt x="7461885" y="1839149"/>
                  <a:pt x="7488556" y="1849309"/>
                  <a:pt x="7494906" y="1832163"/>
                </a:cubicBezTo>
                <a:cubicBezTo>
                  <a:pt x="7501890" y="1815654"/>
                  <a:pt x="7475220" y="1804859"/>
                  <a:pt x="7468870" y="1822004"/>
                </a:cubicBezTo>
                <a:close/>
                <a:moveTo>
                  <a:pt x="7465060" y="1773109"/>
                </a:moveTo>
                <a:cubicBezTo>
                  <a:pt x="7480300" y="1778824"/>
                  <a:pt x="7489190" y="1754059"/>
                  <a:pt x="7473315" y="1748979"/>
                </a:cubicBezTo>
                <a:cubicBezTo>
                  <a:pt x="7458075" y="1743263"/>
                  <a:pt x="7449185" y="1768029"/>
                  <a:pt x="7465060" y="1773109"/>
                </a:cubicBezTo>
                <a:close/>
                <a:moveTo>
                  <a:pt x="7480300" y="2335719"/>
                </a:moveTo>
                <a:cubicBezTo>
                  <a:pt x="7466965" y="2359849"/>
                  <a:pt x="7505065" y="2380169"/>
                  <a:pt x="7517765" y="2355404"/>
                </a:cubicBezTo>
                <a:cubicBezTo>
                  <a:pt x="7531100" y="2331909"/>
                  <a:pt x="7493000" y="2311589"/>
                  <a:pt x="7480300" y="2335719"/>
                </a:cubicBezTo>
                <a:close/>
                <a:moveTo>
                  <a:pt x="7576185" y="2409379"/>
                </a:moveTo>
                <a:cubicBezTo>
                  <a:pt x="7600315" y="2421444"/>
                  <a:pt x="7620000" y="2383344"/>
                  <a:pt x="7594600" y="2371279"/>
                </a:cubicBezTo>
                <a:cubicBezTo>
                  <a:pt x="7570470" y="2358579"/>
                  <a:pt x="7551420" y="2397314"/>
                  <a:pt x="7576185" y="2409379"/>
                </a:cubicBezTo>
                <a:close/>
                <a:moveTo>
                  <a:pt x="7738110" y="1934399"/>
                </a:moveTo>
                <a:cubicBezTo>
                  <a:pt x="7755256" y="1940113"/>
                  <a:pt x="7764781" y="1912809"/>
                  <a:pt x="7747000" y="1907729"/>
                </a:cubicBezTo>
                <a:cubicBezTo>
                  <a:pt x="7729220" y="1901379"/>
                  <a:pt x="7720331" y="1928684"/>
                  <a:pt x="7738110" y="1934399"/>
                </a:cubicBezTo>
                <a:close/>
                <a:moveTo>
                  <a:pt x="7515860" y="1935669"/>
                </a:moveTo>
                <a:cubicBezTo>
                  <a:pt x="7534275" y="1943924"/>
                  <a:pt x="7546975" y="1914713"/>
                  <a:pt x="7527925" y="1907094"/>
                </a:cubicBezTo>
                <a:cubicBezTo>
                  <a:pt x="7509510" y="1898838"/>
                  <a:pt x="7496810" y="1928049"/>
                  <a:pt x="7515860" y="1935669"/>
                </a:cubicBezTo>
                <a:close/>
                <a:moveTo>
                  <a:pt x="7520306" y="2013774"/>
                </a:moveTo>
                <a:cubicBezTo>
                  <a:pt x="7510781" y="2033459"/>
                  <a:pt x="7541895" y="2048063"/>
                  <a:pt x="7550785" y="2027744"/>
                </a:cubicBezTo>
                <a:cubicBezTo>
                  <a:pt x="7560945" y="2008059"/>
                  <a:pt x="7529831" y="1993454"/>
                  <a:pt x="7520306" y="2013774"/>
                </a:cubicBezTo>
                <a:close/>
                <a:moveTo>
                  <a:pt x="7525385" y="1793429"/>
                </a:moveTo>
                <a:cubicBezTo>
                  <a:pt x="7540625" y="1798509"/>
                  <a:pt x="7548881" y="1774379"/>
                  <a:pt x="7533006" y="1769299"/>
                </a:cubicBezTo>
                <a:cubicBezTo>
                  <a:pt x="7517765" y="1763584"/>
                  <a:pt x="7509510" y="1788349"/>
                  <a:pt x="7525385" y="1793429"/>
                </a:cubicBezTo>
                <a:close/>
                <a:moveTo>
                  <a:pt x="7804150" y="1955354"/>
                </a:moveTo>
                <a:cubicBezTo>
                  <a:pt x="7821295" y="1961069"/>
                  <a:pt x="7830185" y="1933763"/>
                  <a:pt x="7812406" y="1928684"/>
                </a:cubicBezTo>
                <a:cubicBezTo>
                  <a:pt x="7794625" y="1922334"/>
                  <a:pt x="7786370" y="1950274"/>
                  <a:pt x="7804150" y="1955354"/>
                </a:cubicBezTo>
                <a:close/>
                <a:moveTo>
                  <a:pt x="7830820" y="1883599"/>
                </a:moveTo>
                <a:cubicBezTo>
                  <a:pt x="7846695" y="1888044"/>
                  <a:pt x="7853681" y="1863279"/>
                  <a:pt x="7837170" y="1858834"/>
                </a:cubicBezTo>
                <a:cubicBezTo>
                  <a:pt x="7821295" y="1855024"/>
                  <a:pt x="7814310" y="1879788"/>
                  <a:pt x="7830820" y="1883599"/>
                </a:cubicBezTo>
                <a:close/>
                <a:moveTo>
                  <a:pt x="7817485" y="2136964"/>
                </a:moveTo>
                <a:cubicBezTo>
                  <a:pt x="7809865" y="2157284"/>
                  <a:pt x="7842250" y="2169349"/>
                  <a:pt x="7849235" y="2148394"/>
                </a:cubicBezTo>
                <a:cubicBezTo>
                  <a:pt x="7857490" y="2128074"/>
                  <a:pt x="7824470" y="2116009"/>
                  <a:pt x="7817485" y="2136964"/>
                </a:cubicBezTo>
                <a:close/>
                <a:moveTo>
                  <a:pt x="7795895" y="2044254"/>
                </a:moveTo>
                <a:cubicBezTo>
                  <a:pt x="7814945" y="2051238"/>
                  <a:pt x="7825106" y="2021394"/>
                  <a:pt x="7806056" y="2015044"/>
                </a:cubicBezTo>
                <a:cubicBezTo>
                  <a:pt x="7787006" y="2008059"/>
                  <a:pt x="7776845" y="2037904"/>
                  <a:pt x="7795895" y="2044254"/>
                </a:cubicBezTo>
                <a:close/>
                <a:moveTo>
                  <a:pt x="7851140" y="2279839"/>
                </a:moveTo>
                <a:cubicBezTo>
                  <a:pt x="7873365" y="2288094"/>
                  <a:pt x="7886065" y="2252534"/>
                  <a:pt x="7863206" y="2245549"/>
                </a:cubicBezTo>
                <a:cubicBezTo>
                  <a:pt x="7840981" y="2236659"/>
                  <a:pt x="7828915" y="2272219"/>
                  <a:pt x="7851140" y="2279839"/>
                </a:cubicBezTo>
                <a:close/>
                <a:moveTo>
                  <a:pt x="7893685" y="2163634"/>
                </a:moveTo>
                <a:cubicBezTo>
                  <a:pt x="7886700" y="2184589"/>
                  <a:pt x="7919085" y="2195384"/>
                  <a:pt x="7926070" y="2173794"/>
                </a:cubicBezTo>
                <a:cubicBezTo>
                  <a:pt x="7933056" y="2153474"/>
                  <a:pt x="7900035" y="2142679"/>
                  <a:pt x="7893685" y="2163634"/>
                </a:cubicBezTo>
                <a:close/>
                <a:moveTo>
                  <a:pt x="7882890" y="2410014"/>
                </a:moveTo>
                <a:cubicBezTo>
                  <a:pt x="7907020" y="2418904"/>
                  <a:pt x="7919720" y="2380169"/>
                  <a:pt x="7895590" y="2372549"/>
                </a:cubicBezTo>
                <a:cubicBezTo>
                  <a:pt x="7871460" y="2364294"/>
                  <a:pt x="7858760" y="2402394"/>
                  <a:pt x="7882890" y="2410014"/>
                </a:cubicBezTo>
                <a:close/>
                <a:moveTo>
                  <a:pt x="7724775" y="2018854"/>
                </a:moveTo>
                <a:cubicBezTo>
                  <a:pt x="7743190" y="2025838"/>
                  <a:pt x="7754620" y="1996629"/>
                  <a:pt x="7735570" y="1989644"/>
                </a:cubicBezTo>
                <a:cubicBezTo>
                  <a:pt x="7717156" y="1982659"/>
                  <a:pt x="7705725" y="2012504"/>
                  <a:pt x="7724775" y="2018854"/>
                </a:cubicBezTo>
                <a:close/>
                <a:moveTo>
                  <a:pt x="7892415" y="1899474"/>
                </a:moveTo>
                <a:cubicBezTo>
                  <a:pt x="7908290" y="1903919"/>
                  <a:pt x="7914640" y="1878519"/>
                  <a:pt x="7898765" y="1874709"/>
                </a:cubicBezTo>
                <a:cubicBezTo>
                  <a:pt x="7882256" y="1870899"/>
                  <a:pt x="7876540" y="1895663"/>
                  <a:pt x="7892415" y="1899474"/>
                </a:cubicBezTo>
                <a:close/>
                <a:moveTo>
                  <a:pt x="7870190" y="1975038"/>
                </a:moveTo>
                <a:cubicBezTo>
                  <a:pt x="7887335" y="1980754"/>
                  <a:pt x="7895590" y="1952813"/>
                  <a:pt x="7877810" y="1947734"/>
                </a:cubicBezTo>
                <a:cubicBezTo>
                  <a:pt x="7860665" y="1942654"/>
                  <a:pt x="7852410" y="1970594"/>
                  <a:pt x="7870190" y="1975038"/>
                </a:cubicBezTo>
                <a:close/>
                <a:moveTo>
                  <a:pt x="7867015" y="2067749"/>
                </a:moveTo>
                <a:cubicBezTo>
                  <a:pt x="7886065" y="2074099"/>
                  <a:pt x="7896225" y="2044254"/>
                  <a:pt x="7876540" y="2037904"/>
                </a:cubicBezTo>
                <a:cubicBezTo>
                  <a:pt x="7857490" y="2031554"/>
                  <a:pt x="7847331" y="2062034"/>
                  <a:pt x="7867015" y="2067749"/>
                </a:cubicBezTo>
                <a:close/>
                <a:moveTo>
                  <a:pt x="7742556" y="2109024"/>
                </a:moveTo>
                <a:cubicBezTo>
                  <a:pt x="7734300" y="2129344"/>
                  <a:pt x="7766685" y="2142044"/>
                  <a:pt x="7774306" y="2121089"/>
                </a:cubicBezTo>
                <a:cubicBezTo>
                  <a:pt x="7781925" y="2100769"/>
                  <a:pt x="7750175" y="2088069"/>
                  <a:pt x="7742556" y="2109024"/>
                </a:cubicBezTo>
                <a:close/>
                <a:moveTo>
                  <a:pt x="7665085" y="2450654"/>
                </a:moveTo>
                <a:cubicBezTo>
                  <a:pt x="7689850" y="2462084"/>
                  <a:pt x="7707631" y="2422714"/>
                  <a:pt x="7682231" y="2411919"/>
                </a:cubicBezTo>
                <a:cubicBezTo>
                  <a:pt x="7657465" y="2400489"/>
                  <a:pt x="7639685" y="2439859"/>
                  <a:pt x="7665085" y="2450654"/>
                </a:cubicBezTo>
                <a:close/>
                <a:moveTo>
                  <a:pt x="7674610" y="1983294"/>
                </a:moveTo>
                <a:cubicBezTo>
                  <a:pt x="7682231" y="1964244"/>
                  <a:pt x="7652385" y="1953449"/>
                  <a:pt x="7645400" y="1971863"/>
                </a:cubicBezTo>
                <a:cubicBezTo>
                  <a:pt x="7638415" y="1990913"/>
                  <a:pt x="7667625" y="2002344"/>
                  <a:pt x="7674610" y="1983294"/>
                </a:cubicBezTo>
                <a:close/>
                <a:moveTo>
                  <a:pt x="7771765" y="2449384"/>
                </a:moveTo>
                <a:cubicBezTo>
                  <a:pt x="7746365" y="2438589"/>
                  <a:pt x="7730490" y="2479229"/>
                  <a:pt x="7756525" y="2488754"/>
                </a:cubicBezTo>
                <a:cubicBezTo>
                  <a:pt x="7781290" y="2498914"/>
                  <a:pt x="7797165" y="2458909"/>
                  <a:pt x="7771765" y="2449384"/>
                </a:cubicBezTo>
                <a:close/>
                <a:moveTo>
                  <a:pt x="7713981" y="2206814"/>
                </a:moveTo>
                <a:cubicBezTo>
                  <a:pt x="7723506" y="2185224"/>
                  <a:pt x="7689215" y="2170619"/>
                  <a:pt x="7680325" y="2192209"/>
                </a:cubicBezTo>
                <a:cubicBezTo>
                  <a:pt x="7670800" y="2214434"/>
                  <a:pt x="7704456" y="2229039"/>
                  <a:pt x="7713981" y="2206814"/>
                </a:cubicBezTo>
                <a:close/>
                <a:moveTo>
                  <a:pt x="7769225" y="1867088"/>
                </a:moveTo>
                <a:cubicBezTo>
                  <a:pt x="7785100" y="1871534"/>
                  <a:pt x="7792085" y="1846769"/>
                  <a:pt x="7776210" y="1842324"/>
                </a:cubicBezTo>
                <a:cubicBezTo>
                  <a:pt x="7760335" y="1837879"/>
                  <a:pt x="7753350" y="1862644"/>
                  <a:pt x="7769225" y="1867088"/>
                </a:cubicBezTo>
                <a:close/>
                <a:moveTo>
                  <a:pt x="7820025" y="2745929"/>
                </a:moveTo>
                <a:cubicBezTo>
                  <a:pt x="7830820" y="2716719"/>
                  <a:pt x="7784465" y="2700844"/>
                  <a:pt x="7774940" y="2730054"/>
                </a:cubicBezTo>
                <a:cubicBezTo>
                  <a:pt x="7764145" y="2759899"/>
                  <a:pt x="7809865" y="2775774"/>
                  <a:pt x="7820025" y="2745929"/>
                </a:cubicBezTo>
                <a:close/>
                <a:moveTo>
                  <a:pt x="7793990" y="2239199"/>
                </a:moveTo>
                <a:cubicBezTo>
                  <a:pt x="7802881" y="2216974"/>
                  <a:pt x="7767956" y="2203639"/>
                  <a:pt x="7759700" y="2225864"/>
                </a:cubicBezTo>
                <a:cubicBezTo>
                  <a:pt x="7750810" y="2248089"/>
                  <a:pt x="7785100" y="2261424"/>
                  <a:pt x="7793990" y="2239199"/>
                </a:cubicBezTo>
                <a:close/>
                <a:moveTo>
                  <a:pt x="9373870" y="2170619"/>
                </a:moveTo>
                <a:cubicBezTo>
                  <a:pt x="9363075" y="2149664"/>
                  <a:pt x="9330055" y="2166174"/>
                  <a:pt x="9341485" y="2187764"/>
                </a:cubicBezTo>
                <a:cubicBezTo>
                  <a:pt x="9351645" y="2208719"/>
                  <a:pt x="9385300" y="2191574"/>
                  <a:pt x="9373870" y="2170619"/>
                </a:cubicBezTo>
                <a:close/>
                <a:moveTo>
                  <a:pt x="9018905" y="2251264"/>
                </a:moveTo>
                <a:cubicBezTo>
                  <a:pt x="9043670" y="2251264"/>
                  <a:pt x="9038590" y="2211894"/>
                  <a:pt x="9015095" y="2217609"/>
                </a:cubicBezTo>
                <a:cubicBezTo>
                  <a:pt x="8996045" y="2222054"/>
                  <a:pt x="8999220" y="2251899"/>
                  <a:pt x="9018905" y="2251264"/>
                </a:cubicBezTo>
                <a:close/>
                <a:moveTo>
                  <a:pt x="8977630" y="2499549"/>
                </a:moveTo>
                <a:cubicBezTo>
                  <a:pt x="8987155" y="2525584"/>
                  <a:pt x="9027160" y="2509709"/>
                  <a:pt x="9017000" y="2484309"/>
                </a:cubicBezTo>
                <a:cubicBezTo>
                  <a:pt x="9008110" y="2458274"/>
                  <a:pt x="8967470" y="2474149"/>
                  <a:pt x="8977630" y="2499549"/>
                </a:cubicBezTo>
                <a:close/>
                <a:moveTo>
                  <a:pt x="8989060" y="2409379"/>
                </a:moveTo>
                <a:cubicBezTo>
                  <a:pt x="8964930" y="2363659"/>
                  <a:pt x="8924925" y="2441129"/>
                  <a:pt x="8976360" y="2434144"/>
                </a:cubicBezTo>
                <a:lnTo>
                  <a:pt x="8976360" y="2434144"/>
                </a:lnTo>
                <a:cubicBezTo>
                  <a:pt x="8986520" y="2430969"/>
                  <a:pt x="8992235" y="2419539"/>
                  <a:pt x="8989060" y="2409379"/>
                </a:cubicBezTo>
                <a:close/>
                <a:moveTo>
                  <a:pt x="8939530" y="2604324"/>
                </a:moveTo>
                <a:cubicBezTo>
                  <a:pt x="8950325" y="2631629"/>
                  <a:pt x="8992870" y="2613849"/>
                  <a:pt x="8981440" y="2587179"/>
                </a:cubicBezTo>
                <a:cubicBezTo>
                  <a:pt x="8970010" y="2559874"/>
                  <a:pt x="8927465" y="2577654"/>
                  <a:pt x="8939530" y="2604324"/>
                </a:cubicBezTo>
                <a:close/>
                <a:moveTo>
                  <a:pt x="8952230" y="2315399"/>
                </a:moveTo>
                <a:cubicBezTo>
                  <a:pt x="8929370" y="2321114"/>
                  <a:pt x="8938895" y="2357309"/>
                  <a:pt x="8961120" y="2350959"/>
                </a:cubicBezTo>
                <a:cubicBezTo>
                  <a:pt x="8984615" y="2345879"/>
                  <a:pt x="8975090" y="2309684"/>
                  <a:pt x="8952230" y="2315399"/>
                </a:cubicBezTo>
                <a:close/>
                <a:moveTo>
                  <a:pt x="9044940" y="2327464"/>
                </a:moveTo>
                <a:cubicBezTo>
                  <a:pt x="9067800" y="2320479"/>
                  <a:pt x="9057005" y="2284919"/>
                  <a:pt x="9034145" y="2292539"/>
                </a:cubicBezTo>
                <a:cubicBezTo>
                  <a:pt x="9011285" y="2298889"/>
                  <a:pt x="9022715" y="2335084"/>
                  <a:pt x="9044940" y="2327464"/>
                </a:cubicBezTo>
                <a:close/>
                <a:moveTo>
                  <a:pt x="9027795" y="2001709"/>
                </a:moveTo>
                <a:cubicBezTo>
                  <a:pt x="9044940" y="2001709"/>
                  <a:pt x="9043670" y="1974404"/>
                  <a:pt x="9026525" y="1976309"/>
                </a:cubicBezTo>
                <a:cubicBezTo>
                  <a:pt x="9011285" y="1977579"/>
                  <a:pt x="9012555" y="2001709"/>
                  <a:pt x="9027795" y="2001709"/>
                </a:cubicBezTo>
                <a:close/>
                <a:moveTo>
                  <a:pt x="9035415" y="2149664"/>
                </a:moveTo>
                <a:cubicBezTo>
                  <a:pt x="9039225" y="2169349"/>
                  <a:pt x="9070340" y="2162999"/>
                  <a:pt x="9065895" y="2143314"/>
                </a:cubicBezTo>
                <a:cubicBezTo>
                  <a:pt x="9062085" y="2123629"/>
                  <a:pt x="9031605" y="2129979"/>
                  <a:pt x="9035415" y="2149664"/>
                </a:cubicBezTo>
                <a:close/>
                <a:moveTo>
                  <a:pt x="9033510" y="2055049"/>
                </a:moveTo>
                <a:cubicBezTo>
                  <a:pt x="9015095" y="2057588"/>
                  <a:pt x="9019540" y="2086163"/>
                  <a:pt x="9037955" y="2082988"/>
                </a:cubicBezTo>
                <a:cubicBezTo>
                  <a:pt x="9055735" y="2080449"/>
                  <a:pt x="9051290" y="2051874"/>
                  <a:pt x="9033510" y="2055049"/>
                </a:cubicBezTo>
                <a:close/>
                <a:moveTo>
                  <a:pt x="8965565" y="2063938"/>
                </a:moveTo>
                <a:cubicBezTo>
                  <a:pt x="8947150" y="2065844"/>
                  <a:pt x="8950960" y="2094419"/>
                  <a:pt x="8968740" y="2091879"/>
                </a:cubicBezTo>
                <a:cubicBezTo>
                  <a:pt x="8986520" y="2089974"/>
                  <a:pt x="8983345" y="2061399"/>
                  <a:pt x="8965565" y="2063938"/>
                </a:cubicBezTo>
                <a:close/>
                <a:moveTo>
                  <a:pt x="8876665" y="2421444"/>
                </a:moveTo>
                <a:cubicBezTo>
                  <a:pt x="8851900" y="2427794"/>
                  <a:pt x="8862060" y="2466529"/>
                  <a:pt x="8886825" y="2459544"/>
                </a:cubicBezTo>
                <a:cubicBezTo>
                  <a:pt x="8911590" y="2453829"/>
                  <a:pt x="8901430" y="2415094"/>
                  <a:pt x="8876665" y="2421444"/>
                </a:cubicBezTo>
                <a:close/>
                <a:moveTo>
                  <a:pt x="8869680" y="2335084"/>
                </a:moveTo>
                <a:cubicBezTo>
                  <a:pt x="8846185" y="2339529"/>
                  <a:pt x="8853805" y="2376359"/>
                  <a:pt x="8877300" y="2371279"/>
                </a:cubicBezTo>
                <a:cubicBezTo>
                  <a:pt x="8900160" y="2366199"/>
                  <a:pt x="8892540" y="2329369"/>
                  <a:pt x="8869680" y="2335084"/>
                </a:cubicBezTo>
                <a:close/>
                <a:moveTo>
                  <a:pt x="8842375" y="2639249"/>
                </a:moveTo>
                <a:cubicBezTo>
                  <a:pt x="8851900" y="2667189"/>
                  <a:pt x="8895080" y="2651949"/>
                  <a:pt x="8884920" y="2624644"/>
                </a:cubicBezTo>
                <a:cubicBezTo>
                  <a:pt x="8876030" y="2596704"/>
                  <a:pt x="8832850" y="2611944"/>
                  <a:pt x="8842375" y="2639249"/>
                </a:cubicBezTo>
                <a:close/>
                <a:moveTo>
                  <a:pt x="8901430" y="2156014"/>
                </a:moveTo>
                <a:cubicBezTo>
                  <a:pt x="8881110" y="2157919"/>
                  <a:pt x="8885555" y="2189669"/>
                  <a:pt x="8905240" y="2187129"/>
                </a:cubicBezTo>
                <a:cubicBezTo>
                  <a:pt x="8925560" y="2184589"/>
                  <a:pt x="8921750" y="2152839"/>
                  <a:pt x="8901430" y="2156014"/>
                </a:cubicBezTo>
                <a:close/>
                <a:moveTo>
                  <a:pt x="8899525" y="2504629"/>
                </a:moveTo>
                <a:cubicBezTo>
                  <a:pt x="8872855" y="2512884"/>
                  <a:pt x="8886825" y="2553524"/>
                  <a:pt x="8912860" y="2544634"/>
                </a:cubicBezTo>
                <a:cubicBezTo>
                  <a:pt x="8938895" y="2536379"/>
                  <a:pt x="8925560" y="2495739"/>
                  <a:pt x="8899525" y="2504629"/>
                </a:cubicBezTo>
                <a:close/>
                <a:moveTo>
                  <a:pt x="8975090" y="2145219"/>
                </a:moveTo>
                <a:cubicBezTo>
                  <a:pt x="8955405" y="2148394"/>
                  <a:pt x="8960485" y="2179509"/>
                  <a:pt x="8980170" y="2175699"/>
                </a:cubicBezTo>
                <a:lnTo>
                  <a:pt x="8980170" y="2175699"/>
                </a:lnTo>
                <a:cubicBezTo>
                  <a:pt x="8999855" y="2172524"/>
                  <a:pt x="8994775" y="2141409"/>
                  <a:pt x="8975090" y="2145219"/>
                </a:cubicBezTo>
                <a:close/>
                <a:moveTo>
                  <a:pt x="7404735" y="1796604"/>
                </a:moveTo>
                <a:cubicBezTo>
                  <a:pt x="7397750" y="1813113"/>
                  <a:pt x="7424420" y="1824544"/>
                  <a:pt x="7430770" y="1807399"/>
                </a:cubicBezTo>
                <a:cubicBezTo>
                  <a:pt x="7437756" y="1790254"/>
                  <a:pt x="7411085" y="1779459"/>
                  <a:pt x="7404735" y="1796604"/>
                </a:cubicBezTo>
                <a:close/>
                <a:moveTo>
                  <a:pt x="9049385" y="2366834"/>
                </a:moveTo>
                <a:cubicBezTo>
                  <a:pt x="9025255" y="2375089"/>
                  <a:pt x="9039225" y="2413189"/>
                  <a:pt x="9063355" y="2403664"/>
                </a:cubicBezTo>
                <a:cubicBezTo>
                  <a:pt x="9087485" y="2395409"/>
                  <a:pt x="9073515" y="2357309"/>
                  <a:pt x="9049385" y="2366834"/>
                </a:cubicBezTo>
                <a:close/>
                <a:moveTo>
                  <a:pt x="8940165" y="2268409"/>
                </a:moveTo>
                <a:cubicBezTo>
                  <a:pt x="8964295" y="2268409"/>
                  <a:pt x="8960485" y="2230309"/>
                  <a:pt x="8936990" y="2234754"/>
                </a:cubicBezTo>
                <a:cubicBezTo>
                  <a:pt x="8917305" y="2238564"/>
                  <a:pt x="8920480" y="2269044"/>
                  <a:pt x="8940165" y="2268409"/>
                </a:cubicBezTo>
                <a:close/>
                <a:moveTo>
                  <a:pt x="9091295" y="1994088"/>
                </a:moveTo>
                <a:cubicBezTo>
                  <a:pt x="9091930" y="1994088"/>
                  <a:pt x="9092565" y="1994088"/>
                  <a:pt x="9093200" y="1994088"/>
                </a:cubicBezTo>
                <a:lnTo>
                  <a:pt x="9093200" y="1994088"/>
                </a:lnTo>
                <a:cubicBezTo>
                  <a:pt x="9137650" y="1960434"/>
                  <a:pt x="9042400" y="1966149"/>
                  <a:pt x="9091295" y="1994088"/>
                </a:cubicBezTo>
                <a:close/>
                <a:moveTo>
                  <a:pt x="9340850" y="1948369"/>
                </a:moveTo>
                <a:cubicBezTo>
                  <a:pt x="9359265" y="1948369"/>
                  <a:pt x="9356090" y="1919159"/>
                  <a:pt x="9337675" y="1923604"/>
                </a:cubicBezTo>
                <a:cubicBezTo>
                  <a:pt x="9323705" y="1926144"/>
                  <a:pt x="9326245" y="1948369"/>
                  <a:pt x="9340850" y="1948369"/>
                </a:cubicBezTo>
                <a:close/>
                <a:moveTo>
                  <a:pt x="9337675" y="2079179"/>
                </a:moveTo>
                <a:cubicBezTo>
                  <a:pt x="9339580" y="2079179"/>
                  <a:pt x="9341485" y="2078544"/>
                  <a:pt x="9343390" y="2077909"/>
                </a:cubicBezTo>
                <a:lnTo>
                  <a:pt x="9343390" y="2077909"/>
                </a:lnTo>
                <a:cubicBezTo>
                  <a:pt x="9386570" y="2031554"/>
                  <a:pt x="9281160" y="2050604"/>
                  <a:pt x="9337675" y="2079179"/>
                </a:cubicBezTo>
                <a:close/>
                <a:moveTo>
                  <a:pt x="9319260" y="2006154"/>
                </a:moveTo>
                <a:cubicBezTo>
                  <a:pt x="9314180" y="1988374"/>
                  <a:pt x="9286875" y="1996629"/>
                  <a:pt x="9291955" y="2013774"/>
                </a:cubicBezTo>
                <a:cubicBezTo>
                  <a:pt x="9297035" y="2031554"/>
                  <a:pt x="9324340" y="2023934"/>
                  <a:pt x="9319260" y="2006154"/>
                </a:cubicBezTo>
                <a:close/>
                <a:moveTo>
                  <a:pt x="9371330" y="2004249"/>
                </a:moveTo>
                <a:cubicBezTo>
                  <a:pt x="9392920" y="2004249"/>
                  <a:pt x="9387205" y="1970594"/>
                  <a:pt x="9366885" y="1976944"/>
                </a:cubicBezTo>
                <a:cubicBezTo>
                  <a:pt x="9352280" y="1980754"/>
                  <a:pt x="9356090" y="2004249"/>
                  <a:pt x="9371330" y="2004249"/>
                </a:cubicBezTo>
                <a:close/>
                <a:moveTo>
                  <a:pt x="8901430" y="2011869"/>
                </a:moveTo>
                <a:cubicBezTo>
                  <a:pt x="8918575" y="2011869"/>
                  <a:pt x="8917305" y="1985199"/>
                  <a:pt x="8900795" y="1986469"/>
                </a:cubicBezTo>
                <a:cubicBezTo>
                  <a:pt x="8884920" y="1987104"/>
                  <a:pt x="8885555" y="2011869"/>
                  <a:pt x="8901430" y="2011869"/>
                </a:cubicBezTo>
                <a:close/>
                <a:moveTo>
                  <a:pt x="9278620" y="1962338"/>
                </a:moveTo>
                <a:cubicBezTo>
                  <a:pt x="9297035" y="1962338"/>
                  <a:pt x="9293860" y="1933129"/>
                  <a:pt x="9276080" y="1936938"/>
                </a:cubicBezTo>
                <a:cubicBezTo>
                  <a:pt x="9261475" y="1940113"/>
                  <a:pt x="9264015" y="1962338"/>
                  <a:pt x="9278620" y="1962338"/>
                </a:cubicBezTo>
                <a:close/>
                <a:moveTo>
                  <a:pt x="9402445" y="1932494"/>
                </a:moveTo>
                <a:cubicBezTo>
                  <a:pt x="9420860" y="1932494"/>
                  <a:pt x="9417050" y="1902649"/>
                  <a:pt x="9399270" y="1907729"/>
                </a:cubicBezTo>
                <a:cubicBezTo>
                  <a:pt x="9384665" y="1910904"/>
                  <a:pt x="9387840" y="1933129"/>
                  <a:pt x="9402445" y="1932494"/>
                </a:cubicBezTo>
                <a:close/>
                <a:moveTo>
                  <a:pt x="9338945" y="2125534"/>
                </a:moveTo>
                <a:cubicBezTo>
                  <a:pt x="9330690" y="2105214"/>
                  <a:pt x="9298940" y="2118549"/>
                  <a:pt x="9307830" y="2138869"/>
                </a:cubicBezTo>
                <a:cubicBezTo>
                  <a:pt x="9316720" y="2159189"/>
                  <a:pt x="9347835" y="2145854"/>
                  <a:pt x="9338945" y="2125534"/>
                </a:cubicBezTo>
                <a:close/>
                <a:moveTo>
                  <a:pt x="9411970" y="2091879"/>
                </a:moveTo>
                <a:cubicBezTo>
                  <a:pt x="9403080" y="2072194"/>
                  <a:pt x="9371965" y="2086799"/>
                  <a:pt x="9381490" y="2106484"/>
                </a:cubicBezTo>
                <a:cubicBezTo>
                  <a:pt x="9391015" y="2126804"/>
                  <a:pt x="9421495" y="2111564"/>
                  <a:pt x="9411970" y="2091879"/>
                </a:cubicBezTo>
                <a:close/>
                <a:moveTo>
                  <a:pt x="9272270" y="2200464"/>
                </a:moveTo>
                <a:cubicBezTo>
                  <a:pt x="9254490" y="2208084"/>
                  <a:pt x="9261475" y="2236024"/>
                  <a:pt x="9279890" y="2235389"/>
                </a:cubicBezTo>
                <a:cubicBezTo>
                  <a:pt x="9309735" y="2234754"/>
                  <a:pt x="9299575" y="2188399"/>
                  <a:pt x="9272270" y="2200464"/>
                </a:cubicBezTo>
                <a:close/>
                <a:moveTo>
                  <a:pt x="9252585" y="2093149"/>
                </a:moveTo>
                <a:cubicBezTo>
                  <a:pt x="9258935" y="2112199"/>
                  <a:pt x="9288780" y="2102039"/>
                  <a:pt x="9281795" y="2083624"/>
                </a:cubicBezTo>
                <a:cubicBezTo>
                  <a:pt x="9276080" y="2063938"/>
                  <a:pt x="9246235" y="2074099"/>
                  <a:pt x="9252585" y="2093149"/>
                </a:cubicBezTo>
                <a:close/>
                <a:moveTo>
                  <a:pt x="9154160" y="1985199"/>
                </a:moveTo>
                <a:cubicBezTo>
                  <a:pt x="9171940" y="1985199"/>
                  <a:pt x="9170035" y="1957259"/>
                  <a:pt x="9152255" y="1959799"/>
                </a:cubicBezTo>
                <a:cubicBezTo>
                  <a:pt x="9137015" y="1961704"/>
                  <a:pt x="9138920" y="1985834"/>
                  <a:pt x="9154160" y="1985199"/>
                </a:cubicBezTo>
                <a:close/>
                <a:moveTo>
                  <a:pt x="9090025" y="2060129"/>
                </a:moveTo>
                <a:cubicBezTo>
                  <a:pt x="9093200" y="2078544"/>
                  <a:pt x="9121140" y="2072829"/>
                  <a:pt x="9117965" y="2055049"/>
                </a:cubicBezTo>
                <a:cubicBezTo>
                  <a:pt x="9114790" y="2036634"/>
                  <a:pt x="9086215" y="2042349"/>
                  <a:pt x="9090025" y="2060129"/>
                </a:cubicBezTo>
                <a:close/>
                <a:moveTo>
                  <a:pt x="9157335" y="2046794"/>
                </a:moveTo>
                <a:cubicBezTo>
                  <a:pt x="9161145" y="2064574"/>
                  <a:pt x="9189085" y="2058859"/>
                  <a:pt x="9184640" y="2041079"/>
                </a:cubicBezTo>
                <a:cubicBezTo>
                  <a:pt x="9181465" y="2023299"/>
                  <a:pt x="9153525" y="2029013"/>
                  <a:pt x="9157335" y="2046794"/>
                </a:cubicBezTo>
                <a:close/>
                <a:moveTo>
                  <a:pt x="9108440" y="2133789"/>
                </a:moveTo>
                <a:cubicBezTo>
                  <a:pt x="9112885" y="2153474"/>
                  <a:pt x="9144000" y="2145854"/>
                  <a:pt x="9138920" y="2126169"/>
                </a:cubicBezTo>
                <a:cubicBezTo>
                  <a:pt x="9134475" y="2106484"/>
                  <a:pt x="9103360" y="2114104"/>
                  <a:pt x="9108440" y="2133789"/>
                </a:cubicBezTo>
                <a:close/>
                <a:moveTo>
                  <a:pt x="9225280" y="2031554"/>
                </a:moveTo>
                <a:cubicBezTo>
                  <a:pt x="9229725" y="2049334"/>
                  <a:pt x="9257665" y="2042349"/>
                  <a:pt x="9252585" y="2024569"/>
                </a:cubicBezTo>
                <a:cubicBezTo>
                  <a:pt x="9248140" y="2006788"/>
                  <a:pt x="9220200" y="2013774"/>
                  <a:pt x="9225280" y="2031554"/>
                </a:cubicBezTo>
                <a:close/>
                <a:moveTo>
                  <a:pt x="9216390" y="1974404"/>
                </a:moveTo>
                <a:cubicBezTo>
                  <a:pt x="9234170" y="1974404"/>
                  <a:pt x="9231630" y="1945829"/>
                  <a:pt x="9213850" y="1949004"/>
                </a:cubicBezTo>
                <a:cubicBezTo>
                  <a:pt x="9199245" y="1951544"/>
                  <a:pt x="9201785" y="1975038"/>
                  <a:pt x="9216390" y="1974404"/>
                </a:cubicBezTo>
                <a:close/>
                <a:moveTo>
                  <a:pt x="9180830" y="2114739"/>
                </a:moveTo>
                <a:cubicBezTo>
                  <a:pt x="9186545" y="2134424"/>
                  <a:pt x="9216390" y="2125534"/>
                  <a:pt x="9210675" y="2105849"/>
                </a:cubicBezTo>
                <a:cubicBezTo>
                  <a:pt x="9205595" y="2086799"/>
                  <a:pt x="9175115" y="2095688"/>
                  <a:pt x="9180830" y="2114739"/>
                </a:cubicBezTo>
                <a:close/>
                <a:moveTo>
                  <a:pt x="8646795" y="2013774"/>
                </a:moveTo>
                <a:cubicBezTo>
                  <a:pt x="8663305" y="2014409"/>
                  <a:pt x="8663940" y="1989009"/>
                  <a:pt x="8648065" y="1988374"/>
                </a:cubicBezTo>
                <a:cubicBezTo>
                  <a:pt x="8631555" y="1987104"/>
                  <a:pt x="8630285" y="2013138"/>
                  <a:pt x="8646795" y="2013774"/>
                </a:cubicBezTo>
                <a:close/>
                <a:moveTo>
                  <a:pt x="8583295" y="2010599"/>
                </a:moveTo>
                <a:cubicBezTo>
                  <a:pt x="8599805" y="2011869"/>
                  <a:pt x="8601075" y="1985834"/>
                  <a:pt x="8584565" y="1985199"/>
                </a:cubicBezTo>
                <a:cubicBezTo>
                  <a:pt x="8568055" y="1983929"/>
                  <a:pt x="8566785" y="2009963"/>
                  <a:pt x="8583295" y="2010599"/>
                </a:cubicBezTo>
                <a:close/>
                <a:moveTo>
                  <a:pt x="8531225" y="2168079"/>
                </a:moveTo>
                <a:cubicBezTo>
                  <a:pt x="8510270" y="2166809"/>
                  <a:pt x="8509635" y="2199194"/>
                  <a:pt x="8530590" y="2199194"/>
                </a:cubicBezTo>
                <a:cubicBezTo>
                  <a:pt x="8549640" y="2199194"/>
                  <a:pt x="8550910" y="2168714"/>
                  <a:pt x="8531225" y="2168079"/>
                </a:cubicBezTo>
                <a:close/>
                <a:moveTo>
                  <a:pt x="8444230" y="2403029"/>
                </a:moveTo>
                <a:cubicBezTo>
                  <a:pt x="8467725" y="2404934"/>
                  <a:pt x="8469630" y="2367469"/>
                  <a:pt x="8446135" y="2366199"/>
                </a:cubicBezTo>
                <a:cubicBezTo>
                  <a:pt x="8422005" y="2364929"/>
                  <a:pt x="8420100" y="2402394"/>
                  <a:pt x="8444230" y="2403029"/>
                </a:cubicBezTo>
                <a:close/>
                <a:moveTo>
                  <a:pt x="8589645" y="2185859"/>
                </a:moveTo>
                <a:cubicBezTo>
                  <a:pt x="8589010" y="2206179"/>
                  <a:pt x="8620760" y="2206814"/>
                  <a:pt x="8620760" y="2186494"/>
                </a:cubicBezTo>
                <a:cubicBezTo>
                  <a:pt x="8621395" y="2166809"/>
                  <a:pt x="8589645" y="2166174"/>
                  <a:pt x="8589645" y="2185859"/>
                </a:cubicBezTo>
                <a:close/>
                <a:moveTo>
                  <a:pt x="8620760" y="2267774"/>
                </a:moveTo>
                <a:cubicBezTo>
                  <a:pt x="8598535" y="2267774"/>
                  <a:pt x="8599170" y="2302064"/>
                  <a:pt x="8621395" y="2301429"/>
                </a:cubicBezTo>
                <a:cubicBezTo>
                  <a:pt x="8642985" y="2302064"/>
                  <a:pt x="8642350" y="2267139"/>
                  <a:pt x="8620760" y="2267774"/>
                </a:cubicBezTo>
                <a:close/>
                <a:moveTo>
                  <a:pt x="8598535" y="2385884"/>
                </a:moveTo>
                <a:cubicBezTo>
                  <a:pt x="8599170" y="2410014"/>
                  <a:pt x="8636635" y="2408109"/>
                  <a:pt x="8635365" y="2383979"/>
                </a:cubicBezTo>
                <a:cubicBezTo>
                  <a:pt x="8634730" y="2360484"/>
                  <a:pt x="8597265" y="2362389"/>
                  <a:pt x="8598535" y="2385884"/>
                </a:cubicBezTo>
                <a:close/>
                <a:moveTo>
                  <a:pt x="8621395" y="2105214"/>
                </a:moveTo>
                <a:cubicBezTo>
                  <a:pt x="8639810" y="2106484"/>
                  <a:pt x="8640445" y="2077274"/>
                  <a:pt x="8622665" y="2077274"/>
                </a:cubicBezTo>
                <a:cubicBezTo>
                  <a:pt x="8604250" y="2076004"/>
                  <a:pt x="8602980" y="2105214"/>
                  <a:pt x="8621395" y="2105214"/>
                </a:cubicBezTo>
                <a:close/>
                <a:moveTo>
                  <a:pt x="8591550" y="2488754"/>
                </a:moveTo>
                <a:cubicBezTo>
                  <a:pt x="8593455" y="2514154"/>
                  <a:pt x="8633460" y="2510979"/>
                  <a:pt x="8630920" y="2485579"/>
                </a:cubicBezTo>
                <a:cubicBezTo>
                  <a:pt x="8629015" y="2460179"/>
                  <a:pt x="8589010" y="2463354"/>
                  <a:pt x="8591550" y="2488754"/>
                </a:cubicBezTo>
                <a:close/>
                <a:moveTo>
                  <a:pt x="8531225" y="2405569"/>
                </a:moveTo>
                <a:cubicBezTo>
                  <a:pt x="8555355" y="2406204"/>
                  <a:pt x="8555355" y="2368739"/>
                  <a:pt x="8531225" y="2368739"/>
                </a:cubicBezTo>
                <a:cubicBezTo>
                  <a:pt x="8507730" y="2368104"/>
                  <a:pt x="8507095" y="2405569"/>
                  <a:pt x="8531225" y="2405569"/>
                </a:cubicBezTo>
                <a:close/>
                <a:moveTo>
                  <a:pt x="8523605" y="2283649"/>
                </a:moveTo>
                <a:cubicBezTo>
                  <a:pt x="8523605" y="2293174"/>
                  <a:pt x="8530590" y="2300794"/>
                  <a:pt x="8540115" y="2301429"/>
                </a:cubicBezTo>
                <a:lnTo>
                  <a:pt x="8540115" y="2301429"/>
                </a:lnTo>
                <a:cubicBezTo>
                  <a:pt x="8583930" y="2295079"/>
                  <a:pt x="8532495" y="2240469"/>
                  <a:pt x="8523605" y="2283649"/>
                </a:cubicBezTo>
                <a:close/>
                <a:moveTo>
                  <a:pt x="8459470" y="2690049"/>
                </a:moveTo>
                <a:cubicBezTo>
                  <a:pt x="8430260" y="2691319"/>
                  <a:pt x="8432800" y="2737674"/>
                  <a:pt x="8462010" y="2735134"/>
                </a:cubicBezTo>
                <a:cubicBezTo>
                  <a:pt x="8491855" y="2733864"/>
                  <a:pt x="8488680" y="2688144"/>
                  <a:pt x="8459470" y="2690049"/>
                </a:cubicBezTo>
                <a:cubicBezTo>
                  <a:pt x="8459470" y="2690049"/>
                  <a:pt x="8459470" y="2690049"/>
                  <a:pt x="8459470" y="2690049"/>
                </a:cubicBezTo>
                <a:close/>
                <a:moveTo>
                  <a:pt x="8898255" y="2098864"/>
                </a:moveTo>
                <a:cubicBezTo>
                  <a:pt x="8917305" y="2098864"/>
                  <a:pt x="8916035" y="2069019"/>
                  <a:pt x="8896985" y="2070924"/>
                </a:cubicBezTo>
                <a:cubicBezTo>
                  <a:pt x="8879205" y="2072194"/>
                  <a:pt x="8880475" y="2099499"/>
                  <a:pt x="8898255" y="2098864"/>
                </a:cubicBezTo>
                <a:close/>
                <a:moveTo>
                  <a:pt x="8461375" y="2263329"/>
                </a:moveTo>
                <a:cubicBezTo>
                  <a:pt x="8439150" y="2261424"/>
                  <a:pt x="8437245" y="2295714"/>
                  <a:pt x="8458835" y="2296984"/>
                </a:cubicBezTo>
                <a:cubicBezTo>
                  <a:pt x="8481060" y="2298889"/>
                  <a:pt x="8483600" y="2264599"/>
                  <a:pt x="8461375" y="2263329"/>
                </a:cubicBezTo>
                <a:close/>
                <a:moveTo>
                  <a:pt x="8454390" y="2193479"/>
                </a:moveTo>
                <a:cubicBezTo>
                  <a:pt x="8474075" y="2195384"/>
                  <a:pt x="8477250" y="2164269"/>
                  <a:pt x="8456930" y="2162364"/>
                </a:cubicBezTo>
                <a:cubicBezTo>
                  <a:pt x="8437245" y="2160459"/>
                  <a:pt x="8434070" y="2191574"/>
                  <a:pt x="8454390" y="2193479"/>
                </a:cubicBezTo>
                <a:close/>
                <a:moveTo>
                  <a:pt x="8541385" y="2705924"/>
                </a:moveTo>
                <a:cubicBezTo>
                  <a:pt x="8545195" y="2735134"/>
                  <a:pt x="8590280" y="2728784"/>
                  <a:pt x="8586470" y="2700209"/>
                </a:cubicBezTo>
                <a:cubicBezTo>
                  <a:pt x="8582660" y="2670999"/>
                  <a:pt x="8536940" y="2676714"/>
                  <a:pt x="8541385" y="2705924"/>
                </a:cubicBezTo>
                <a:close/>
                <a:moveTo>
                  <a:pt x="8551545" y="2102039"/>
                </a:moveTo>
                <a:cubicBezTo>
                  <a:pt x="8569960" y="2103309"/>
                  <a:pt x="8571865" y="2074734"/>
                  <a:pt x="8553450" y="2074099"/>
                </a:cubicBezTo>
                <a:cubicBezTo>
                  <a:pt x="8535035" y="2072194"/>
                  <a:pt x="8533765" y="2100769"/>
                  <a:pt x="8551545" y="2102039"/>
                </a:cubicBezTo>
                <a:close/>
                <a:moveTo>
                  <a:pt x="8519795" y="2006154"/>
                </a:moveTo>
                <a:cubicBezTo>
                  <a:pt x="8536305" y="2008059"/>
                  <a:pt x="8538210" y="1982024"/>
                  <a:pt x="8521700" y="1980754"/>
                </a:cubicBezTo>
                <a:cubicBezTo>
                  <a:pt x="8505190" y="1979484"/>
                  <a:pt x="8503285" y="2004884"/>
                  <a:pt x="8519795" y="2006154"/>
                </a:cubicBezTo>
                <a:close/>
                <a:moveTo>
                  <a:pt x="8482330" y="2096324"/>
                </a:moveTo>
                <a:cubicBezTo>
                  <a:pt x="8500745" y="2098229"/>
                  <a:pt x="8503285" y="2069654"/>
                  <a:pt x="8484870" y="2068384"/>
                </a:cubicBezTo>
                <a:cubicBezTo>
                  <a:pt x="8467090" y="2066479"/>
                  <a:pt x="8463915" y="2095054"/>
                  <a:pt x="8482330" y="2096324"/>
                </a:cubicBezTo>
                <a:close/>
                <a:moveTo>
                  <a:pt x="8456295" y="2000438"/>
                </a:moveTo>
                <a:cubicBezTo>
                  <a:pt x="8472805" y="2002344"/>
                  <a:pt x="8475345" y="1976309"/>
                  <a:pt x="8458835" y="1975038"/>
                </a:cubicBezTo>
                <a:cubicBezTo>
                  <a:pt x="8442325" y="1973134"/>
                  <a:pt x="8439785" y="1999169"/>
                  <a:pt x="8456295" y="2000438"/>
                </a:cubicBezTo>
                <a:close/>
                <a:moveTo>
                  <a:pt x="8785860" y="2349689"/>
                </a:moveTo>
                <a:cubicBezTo>
                  <a:pt x="8762365" y="2352864"/>
                  <a:pt x="8768080" y="2389694"/>
                  <a:pt x="8791575" y="2385884"/>
                </a:cubicBezTo>
                <a:cubicBezTo>
                  <a:pt x="8814435" y="2382709"/>
                  <a:pt x="8808720" y="2345879"/>
                  <a:pt x="8785860" y="2349689"/>
                </a:cubicBezTo>
                <a:close/>
                <a:moveTo>
                  <a:pt x="8788400" y="2441764"/>
                </a:moveTo>
                <a:cubicBezTo>
                  <a:pt x="8763000" y="2446209"/>
                  <a:pt x="8771255" y="2486214"/>
                  <a:pt x="8796020" y="2480499"/>
                </a:cubicBezTo>
                <a:cubicBezTo>
                  <a:pt x="8821420" y="2476054"/>
                  <a:pt x="8813800" y="2436684"/>
                  <a:pt x="8788400" y="2441764"/>
                </a:cubicBezTo>
                <a:close/>
                <a:moveTo>
                  <a:pt x="8759190" y="2640519"/>
                </a:moveTo>
                <a:cubicBezTo>
                  <a:pt x="8730615" y="2647504"/>
                  <a:pt x="8743315" y="2691954"/>
                  <a:pt x="8771255" y="2684334"/>
                </a:cubicBezTo>
                <a:cubicBezTo>
                  <a:pt x="8799830" y="2676714"/>
                  <a:pt x="8787765" y="2632264"/>
                  <a:pt x="8759190" y="2640519"/>
                </a:cubicBezTo>
                <a:close/>
                <a:moveTo>
                  <a:pt x="8779510" y="2258884"/>
                </a:moveTo>
                <a:cubicBezTo>
                  <a:pt x="8757285" y="2260789"/>
                  <a:pt x="8761095" y="2295079"/>
                  <a:pt x="8783320" y="2292539"/>
                </a:cubicBezTo>
                <a:cubicBezTo>
                  <a:pt x="8804910" y="2290634"/>
                  <a:pt x="8801735" y="2256344"/>
                  <a:pt x="8779510" y="2258884"/>
                </a:cubicBezTo>
                <a:close/>
                <a:moveTo>
                  <a:pt x="8837930" y="2014409"/>
                </a:moveTo>
                <a:cubicBezTo>
                  <a:pt x="8854440" y="2014409"/>
                  <a:pt x="8854440" y="1988374"/>
                  <a:pt x="8837295" y="1989009"/>
                </a:cubicBezTo>
                <a:cubicBezTo>
                  <a:pt x="8821420" y="1989009"/>
                  <a:pt x="8821420" y="2014409"/>
                  <a:pt x="8837930" y="2014409"/>
                </a:cubicBezTo>
                <a:close/>
                <a:moveTo>
                  <a:pt x="8844280" y="2267774"/>
                </a:moveTo>
                <a:cubicBezTo>
                  <a:pt x="8847455" y="2289364"/>
                  <a:pt x="8881110" y="2284284"/>
                  <a:pt x="8877935" y="2262694"/>
                </a:cubicBezTo>
                <a:cubicBezTo>
                  <a:pt x="8874760" y="2241104"/>
                  <a:pt x="8840470" y="2246184"/>
                  <a:pt x="8844280" y="2267774"/>
                </a:cubicBezTo>
                <a:close/>
                <a:moveTo>
                  <a:pt x="8774430" y="2015679"/>
                </a:moveTo>
                <a:cubicBezTo>
                  <a:pt x="8790940" y="2015679"/>
                  <a:pt x="8790940" y="1989644"/>
                  <a:pt x="8774430" y="1990279"/>
                </a:cubicBezTo>
                <a:cubicBezTo>
                  <a:pt x="8757920" y="1990279"/>
                  <a:pt x="8757920" y="2015679"/>
                  <a:pt x="8774430" y="2015679"/>
                </a:cubicBezTo>
                <a:close/>
                <a:moveTo>
                  <a:pt x="8829040" y="2103944"/>
                </a:moveTo>
                <a:cubicBezTo>
                  <a:pt x="8848090" y="2103944"/>
                  <a:pt x="8846820" y="2074734"/>
                  <a:pt x="8828405" y="2076004"/>
                </a:cubicBezTo>
                <a:cubicBezTo>
                  <a:pt x="8810625" y="2076004"/>
                  <a:pt x="8811260" y="2103944"/>
                  <a:pt x="8829040" y="2103944"/>
                </a:cubicBezTo>
                <a:close/>
                <a:moveTo>
                  <a:pt x="8829040" y="2194749"/>
                </a:moveTo>
                <a:cubicBezTo>
                  <a:pt x="8849995" y="2194749"/>
                  <a:pt x="8848725" y="2161729"/>
                  <a:pt x="8827770" y="2163634"/>
                </a:cubicBezTo>
                <a:cubicBezTo>
                  <a:pt x="8808720" y="2164904"/>
                  <a:pt x="8809990" y="2195384"/>
                  <a:pt x="8829040" y="2194749"/>
                </a:cubicBezTo>
                <a:close/>
                <a:moveTo>
                  <a:pt x="8642985" y="2690684"/>
                </a:moveTo>
                <a:cubicBezTo>
                  <a:pt x="8648700" y="2719259"/>
                  <a:pt x="8693150" y="2710369"/>
                  <a:pt x="8687435" y="2681794"/>
                </a:cubicBezTo>
                <a:cubicBezTo>
                  <a:pt x="8681720" y="2652584"/>
                  <a:pt x="8636635" y="2662109"/>
                  <a:pt x="8642985" y="2690684"/>
                </a:cubicBezTo>
                <a:close/>
                <a:moveTo>
                  <a:pt x="8702040" y="2298889"/>
                </a:moveTo>
                <a:cubicBezTo>
                  <a:pt x="8724265" y="2297619"/>
                  <a:pt x="8721725" y="2263329"/>
                  <a:pt x="8700135" y="2265234"/>
                </a:cubicBezTo>
                <a:cubicBezTo>
                  <a:pt x="8678545" y="2265869"/>
                  <a:pt x="8680450" y="2300159"/>
                  <a:pt x="8702040" y="2298889"/>
                </a:cubicBezTo>
                <a:close/>
                <a:moveTo>
                  <a:pt x="8679815" y="2202369"/>
                </a:moveTo>
                <a:cubicBezTo>
                  <a:pt x="8700135" y="2202369"/>
                  <a:pt x="8700135" y="2170619"/>
                  <a:pt x="8679815" y="2171254"/>
                </a:cubicBezTo>
                <a:cubicBezTo>
                  <a:pt x="8659495" y="2171254"/>
                  <a:pt x="8660130" y="2202369"/>
                  <a:pt x="8679815" y="2202369"/>
                </a:cubicBezTo>
                <a:close/>
                <a:moveTo>
                  <a:pt x="8684895" y="2380169"/>
                </a:moveTo>
                <a:cubicBezTo>
                  <a:pt x="8686800" y="2403664"/>
                  <a:pt x="8724265" y="2399854"/>
                  <a:pt x="8721725" y="2376359"/>
                </a:cubicBezTo>
                <a:cubicBezTo>
                  <a:pt x="8719185" y="2352864"/>
                  <a:pt x="8681720" y="2356674"/>
                  <a:pt x="8684895" y="2380169"/>
                </a:cubicBezTo>
                <a:close/>
                <a:moveTo>
                  <a:pt x="8690610" y="2107119"/>
                </a:moveTo>
                <a:cubicBezTo>
                  <a:pt x="8709025" y="2107754"/>
                  <a:pt x="8709025" y="2078544"/>
                  <a:pt x="8690610" y="2079179"/>
                </a:cubicBezTo>
                <a:cubicBezTo>
                  <a:pt x="8672830" y="2078544"/>
                  <a:pt x="8672830" y="2107119"/>
                  <a:pt x="8690610" y="2107119"/>
                </a:cubicBezTo>
                <a:close/>
                <a:moveTo>
                  <a:pt x="8710930" y="2015044"/>
                </a:moveTo>
                <a:cubicBezTo>
                  <a:pt x="8727440" y="2015679"/>
                  <a:pt x="8727440" y="1989644"/>
                  <a:pt x="8711565" y="1989644"/>
                </a:cubicBezTo>
                <a:cubicBezTo>
                  <a:pt x="8694420" y="1989009"/>
                  <a:pt x="8694420" y="2015044"/>
                  <a:pt x="8710930" y="2015044"/>
                </a:cubicBezTo>
                <a:close/>
                <a:moveTo>
                  <a:pt x="8721725" y="2474149"/>
                </a:moveTo>
                <a:cubicBezTo>
                  <a:pt x="8718550" y="2448749"/>
                  <a:pt x="8678545" y="2454464"/>
                  <a:pt x="8682355" y="2479864"/>
                </a:cubicBezTo>
                <a:cubicBezTo>
                  <a:pt x="8686165" y="2505264"/>
                  <a:pt x="8725535" y="2499549"/>
                  <a:pt x="8721725" y="2474149"/>
                </a:cubicBezTo>
                <a:close/>
                <a:moveTo>
                  <a:pt x="8754745" y="2199829"/>
                </a:moveTo>
                <a:cubicBezTo>
                  <a:pt x="8775065" y="2199829"/>
                  <a:pt x="8774430" y="2167444"/>
                  <a:pt x="8754110" y="2168714"/>
                </a:cubicBezTo>
                <a:cubicBezTo>
                  <a:pt x="8733790" y="2169349"/>
                  <a:pt x="8735060" y="2200464"/>
                  <a:pt x="8754745" y="2199829"/>
                </a:cubicBezTo>
                <a:close/>
                <a:moveTo>
                  <a:pt x="8759825" y="2106484"/>
                </a:moveTo>
                <a:cubicBezTo>
                  <a:pt x="8778240" y="2106484"/>
                  <a:pt x="8778240" y="2077274"/>
                  <a:pt x="8759190" y="2078544"/>
                </a:cubicBezTo>
                <a:cubicBezTo>
                  <a:pt x="8741410" y="2078544"/>
                  <a:pt x="8742045" y="2106484"/>
                  <a:pt x="8759825" y="2106484"/>
                </a:cubicBezTo>
                <a:close/>
                <a:moveTo>
                  <a:pt x="5309870" y="1019363"/>
                </a:moveTo>
                <a:cubicBezTo>
                  <a:pt x="5293995" y="1016188"/>
                  <a:pt x="5288915" y="1041588"/>
                  <a:pt x="5305425" y="1044129"/>
                </a:cubicBezTo>
                <a:cubicBezTo>
                  <a:pt x="5321935" y="1047938"/>
                  <a:pt x="5326380" y="1021904"/>
                  <a:pt x="5309870" y="1019363"/>
                </a:cubicBezTo>
                <a:close/>
                <a:moveTo>
                  <a:pt x="7705090" y="2677984"/>
                </a:moveTo>
                <a:cubicBezTo>
                  <a:pt x="7676515" y="2665919"/>
                  <a:pt x="7658100" y="2711004"/>
                  <a:pt x="7686675" y="2722434"/>
                </a:cubicBezTo>
                <a:cubicBezTo>
                  <a:pt x="7715250" y="2734499"/>
                  <a:pt x="7734300" y="2688779"/>
                  <a:pt x="7705090" y="2677984"/>
                </a:cubicBezTo>
                <a:close/>
                <a:moveTo>
                  <a:pt x="7699375" y="2806254"/>
                </a:moveTo>
                <a:cubicBezTo>
                  <a:pt x="7668895" y="2793554"/>
                  <a:pt x="7649845" y="2841814"/>
                  <a:pt x="7680325" y="2853244"/>
                </a:cubicBezTo>
                <a:cubicBezTo>
                  <a:pt x="7710806" y="2866579"/>
                  <a:pt x="7730490" y="2818319"/>
                  <a:pt x="7699375" y="2806254"/>
                </a:cubicBezTo>
                <a:close/>
                <a:moveTo>
                  <a:pt x="7764145" y="2572574"/>
                </a:moveTo>
                <a:cubicBezTo>
                  <a:pt x="7736840" y="2561779"/>
                  <a:pt x="7720331" y="2604324"/>
                  <a:pt x="7747635" y="2614484"/>
                </a:cubicBezTo>
                <a:lnTo>
                  <a:pt x="7747635" y="2614484"/>
                </a:lnTo>
                <a:cubicBezTo>
                  <a:pt x="7774940" y="2625279"/>
                  <a:pt x="7792085" y="2582734"/>
                  <a:pt x="7764145" y="2572574"/>
                </a:cubicBezTo>
                <a:close/>
                <a:moveTo>
                  <a:pt x="7725410" y="2308414"/>
                </a:moveTo>
                <a:cubicBezTo>
                  <a:pt x="7701915" y="2298254"/>
                  <a:pt x="7686040" y="2335084"/>
                  <a:pt x="7710170" y="2344609"/>
                </a:cubicBezTo>
                <a:cubicBezTo>
                  <a:pt x="7733031" y="2355404"/>
                  <a:pt x="7749540" y="2317939"/>
                  <a:pt x="7725410" y="2308414"/>
                </a:cubicBezTo>
                <a:close/>
                <a:moveTo>
                  <a:pt x="7569200" y="2258249"/>
                </a:moveTo>
                <a:cubicBezTo>
                  <a:pt x="7581265" y="2235389"/>
                  <a:pt x="7545070" y="2217609"/>
                  <a:pt x="7533640" y="2240469"/>
                </a:cubicBezTo>
                <a:cubicBezTo>
                  <a:pt x="7521575" y="2263329"/>
                  <a:pt x="7557770" y="2281744"/>
                  <a:pt x="7569200" y="2258249"/>
                </a:cubicBezTo>
                <a:close/>
                <a:moveTo>
                  <a:pt x="7588250" y="2519869"/>
                </a:moveTo>
                <a:cubicBezTo>
                  <a:pt x="7601585" y="2493834"/>
                  <a:pt x="7560310" y="2473514"/>
                  <a:pt x="7547610" y="2500184"/>
                </a:cubicBezTo>
                <a:cubicBezTo>
                  <a:pt x="7534275" y="2526219"/>
                  <a:pt x="7575550" y="2546539"/>
                  <a:pt x="7588250" y="2519869"/>
                </a:cubicBezTo>
                <a:close/>
                <a:moveTo>
                  <a:pt x="7595870" y="2761804"/>
                </a:moveTo>
                <a:cubicBezTo>
                  <a:pt x="7566025" y="2747199"/>
                  <a:pt x="7544435" y="2794189"/>
                  <a:pt x="7574281" y="2808159"/>
                </a:cubicBezTo>
                <a:cubicBezTo>
                  <a:pt x="7603490" y="2822129"/>
                  <a:pt x="7625715" y="2775139"/>
                  <a:pt x="7595870" y="2761804"/>
                </a:cubicBezTo>
                <a:close/>
                <a:moveTo>
                  <a:pt x="7651750" y="2297619"/>
                </a:moveTo>
                <a:cubicBezTo>
                  <a:pt x="7662545" y="2274759"/>
                  <a:pt x="7626350" y="2257614"/>
                  <a:pt x="7615556" y="2281109"/>
                </a:cubicBezTo>
                <a:cubicBezTo>
                  <a:pt x="7604760" y="2303969"/>
                  <a:pt x="7641590" y="2321114"/>
                  <a:pt x="7651750" y="2297619"/>
                </a:cubicBezTo>
                <a:close/>
                <a:moveTo>
                  <a:pt x="7606665" y="2634169"/>
                </a:moveTo>
                <a:cubicBezTo>
                  <a:pt x="7578725" y="2620199"/>
                  <a:pt x="7557770" y="2664649"/>
                  <a:pt x="7586345" y="2677349"/>
                </a:cubicBezTo>
                <a:cubicBezTo>
                  <a:pt x="7614285" y="2691319"/>
                  <a:pt x="7635240" y="2647504"/>
                  <a:pt x="7606665" y="2634169"/>
                </a:cubicBezTo>
                <a:close/>
                <a:moveTo>
                  <a:pt x="7681595" y="2563049"/>
                </a:moveTo>
                <a:cubicBezTo>
                  <a:pt x="7693660" y="2536379"/>
                  <a:pt x="7651750" y="2517964"/>
                  <a:pt x="7640320" y="2544634"/>
                </a:cubicBezTo>
                <a:cubicBezTo>
                  <a:pt x="7628256" y="2571304"/>
                  <a:pt x="7670165" y="2590354"/>
                  <a:pt x="7681595" y="2563049"/>
                </a:cubicBezTo>
                <a:close/>
                <a:moveTo>
                  <a:pt x="7805420" y="2844989"/>
                </a:moveTo>
                <a:cubicBezTo>
                  <a:pt x="7774306" y="2834194"/>
                  <a:pt x="7757795" y="2883089"/>
                  <a:pt x="7789545" y="2893248"/>
                </a:cubicBezTo>
                <a:cubicBezTo>
                  <a:pt x="7820025" y="2904679"/>
                  <a:pt x="7836535" y="2855148"/>
                  <a:pt x="7805420" y="2844989"/>
                </a:cubicBezTo>
                <a:close/>
                <a:moveTo>
                  <a:pt x="7957820" y="2636074"/>
                </a:moveTo>
                <a:cubicBezTo>
                  <a:pt x="7929881" y="2627819"/>
                  <a:pt x="7917815" y="2672269"/>
                  <a:pt x="7945756" y="2679889"/>
                </a:cubicBezTo>
                <a:cubicBezTo>
                  <a:pt x="7973695" y="2688144"/>
                  <a:pt x="7986395" y="2643059"/>
                  <a:pt x="7957820" y="2636074"/>
                </a:cubicBezTo>
                <a:close/>
                <a:moveTo>
                  <a:pt x="7995285" y="2424619"/>
                </a:moveTo>
                <a:cubicBezTo>
                  <a:pt x="8002906" y="2399854"/>
                  <a:pt x="7964170" y="2389059"/>
                  <a:pt x="7957185" y="2413824"/>
                </a:cubicBezTo>
                <a:cubicBezTo>
                  <a:pt x="7950200" y="2437954"/>
                  <a:pt x="7988935" y="2449384"/>
                  <a:pt x="7995285" y="2424619"/>
                </a:cubicBezTo>
                <a:close/>
                <a:moveTo>
                  <a:pt x="8011795" y="2773869"/>
                </a:moveTo>
                <a:cubicBezTo>
                  <a:pt x="7978140" y="2766249"/>
                  <a:pt x="7972425" y="2821494"/>
                  <a:pt x="8006715" y="2821494"/>
                </a:cubicBezTo>
                <a:cubicBezTo>
                  <a:pt x="8034020" y="2822129"/>
                  <a:pt x="8039100" y="2778949"/>
                  <a:pt x="8011795" y="2773869"/>
                </a:cubicBezTo>
                <a:close/>
                <a:moveTo>
                  <a:pt x="7913370" y="2877373"/>
                </a:moveTo>
                <a:cubicBezTo>
                  <a:pt x="7881620" y="2868484"/>
                  <a:pt x="7868285" y="2918648"/>
                  <a:pt x="7900670" y="2926269"/>
                </a:cubicBezTo>
                <a:cubicBezTo>
                  <a:pt x="7931785" y="2935159"/>
                  <a:pt x="7945120" y="2884994"/>
                  <a:pt x="7913370" y="2877373"/>
                </a:cubicBezTo>
                <a:close/>
                <a:moveTo>
                  <a:pt x="7809865" y="2342069"/>
                </a:moveTo>
                <a:cubicBezTo>
                  <a:pt x="7786370" y="2332544"/>
                  <a:pt x="7771765" y="2370009"/>
                  <a:pt x="7795895" y="2378899"/>
                </a:cubicBezTo>
                <a:cubicBezTo>
                  <a:pt x="7819390" y="2388424"/>
                  <a:pt x="7833995" y="2350959"/>
                  <a:pt x="7809865" y="2342069"/>
                </a:cubicBezTo>
                <a:close/>
                <a:moveTo>
                  <a:pt x="7860031" y="2606864"/>
                </a:moveTo>
                <a:cubicBezTo>
                  <a:pt x="7832090" y="2597339"/>
                  <a:pt x="7818120" y="2641154"/>
                  <a:pt x="7846060" y="2650044"/>
                </a:cubicBezTo>
                <a:cubicBezTo>
                  <a:pt x="7873365" y="2659569"/>
                  <a:pt x="7887970" y="2615754"/>
                  <a:pt x="7860031" y="2606864"/>
                </a:cubicBezTo>
                <a:close/>
                <a:moveTo>
                  <a:pt x="7861935" y="2482404"/>
                </a:moveTo>
                <a:cubicBezTo>
                  <a:pt x="7835900" y="2472879"/>
                  <a:pt x="7821931" y="2514154"/>
                  <a:pt x="7847965" y="2522409"/>
                </a:cubicBezTo>
                <a:cubicBezTo>
                  <a:pt x="7874000" y="2531934"/>
                  <a:pt x="7887970" y="2491294"/>
                  <a:pt x="7861935" y="2482404"/>
                </a:cubicBezTo>
                <a:close/>
                <a:moveTo>
                  <a:pt x="7894320" y="2794189"/>
                </a:moveTo>
                <a:cubicBezTo>
                  <a:pt x="7923531" y="2803079"/>
                  <a:pt x="7937500" y="2756089"/>
                  <a:pt x="7907656" y="2747834"/>
                </a:cubicBezTo>
                <a:cubicBezTo>
                  <a:pt x="7877810" y="2738944"/>
                  <a:pt x="7864475" y="2785934"/>
                  <a:pt x="7894320" y="2794189"/>
                </a:cubicBezTo>
                <a:close/>
                <a:moveTo>
                  <a:pt x="7460615" y="2224594"/>
                </a:moveTo>
                <a:cubicBezTo>
                  <a:pt x="7482840" y="2237294"/>
                  <a:pt x="7501890" y="2201734"/>
                  <a:pt x="7479031" y="2189669"/>
                </a:cubicBezTo>
                <a:cubicBezTo>
                  <a:pt x="7456806" y="2177604"/>
                  <a:pt x="7437756" y="2213164"/>
                  <a:pt x="7460615" y="2224594"/>
                </a:cubicBezTo>
                <a:close/>
                <a:moveTo>
                  <a:pt x="7395845" y="2656394"/>
                </a:moveTo>
                <a:cubicBezTo>
                  <a:pt x="7367906" y="2639249"/>
                  <a:pt x="7341235" y="2684334"/>
                  <a:pt x="7370445" y="2700209"/>
                </a:cubicBezTo>
                <a:cubicBezTo>
                  <a:pt x="7397750" y="2717354"/>
                  <a:pt x="7424420" y="2672904"/>
                  <a:pt x="7395845" y="2656394"/>
                </a:cubicBezTo>
                <a:close/>
                <a:moveTo>
                  <a:pt x="7324090" y="2478594"/>
                </a:moveTo>
                <a:cubicBezTo>
                  <a:pt x="7298056" y="2461449"/>
                  <a:pt x="7272020" y="2502724"/>
                  <a:pt x="7298690" y="2519234"/>
                </a:cubicBezTo>
                <a:cubicBezTo>
                  <a:pt x="7324090" y="2536379"/>
                  <a:pt x="7350760" y="2495104"/>
                  <a:pt x="7324090" y="2478594"/>
                </a:cubicBezTo>
                <a:close/>
                <a:moveTo>
                  <a:pt x="7298690" y="2597339"/>
                </a:moveTo>
                <a:cubicBezTo>
                  <a:pt x="7271385" y="2578924"/>
                  <a:pt x="7243445" y="2622739"/>
                  <a:pt x="7271385" y="2640519"/>
                </a:cubicBezTo>
                <a:cubicBezTo>
                  <a:pt x="7298690" y="2658299"/>
                  <a:pt x="7327265" y="2615119"/>
                  <a:pt x="7298690" y="2597339"/>
                </a:cubicBezTo>
                <a:close/>
                <a:moveTo>
                  <a:pt x="7366635" y="1780729"/>
                </a:moveTo>
                <a:cubicBezTo>
                  <a:pt x="7373620" y="1764219"/>
                  <a:pt x="7347585" y="1752788"/>
                  <a:pt x="7340600" y="1769934"/>
                </a:cubicBezTo>
                <a:cubicBezTo>
                  <a:pt x="7333615" y="1787079"/>
                  <a:pt x="7359650" y="1797874"/>
                  <a:pt x="7366635" y="1780729"/>
                </a:cubicBezTo>
                <a:close/>
                <a:moveTo>
                  <a:pt x="7340600" y="2231579"/>
                </a:moveTo>
                <a:cubicBezTo>
                  <a:pt x="7317106" y="2216974"/>
                  <a:pt x="7294881" y="2253804"/>
                  <a:pt x="7318375" y="2267774"/>
                </a:cubicBezTo>
                <a:cubicBezTo>
                  <a:pt x="7341870" y="2282379"/>
                  <a:pt x="7364731" y="2245549"/>
                  <a:pt x="7340600" y="2231579"/>
                </a:cubicBezTo>
                <a:close/>
                <a:moveTo>
                  <a:pt x="7204710" y="2534474"/>
                </a:moveTo>
                <a:cubicBezTo>
                  <a:pt x="7178040" y="2515424"/>
                  <a:pt x="7148195" y="2557969"/>
                  <a:pt x="7176135" y="2576384"/>
                </a:cubicBezTo>
                <a:cubicBezTo>
                  <a:pt x="7202170" y="2595434"/>
                  <a:pt x="7232015" y="2552889"/>
                  <a:pt x="7204710" y="2534474"/>
                </a:cubicBezTo>
                <a:close/>
                <a:moveTo>
                  <a:pt x="7145020" y="2357944"/>
                </a:moveTo>
                <a:cubicBezTo>
                  <a:pt x="7120256" y="2339529"/>
                  <a:pt x="7091681" y="2378899"/>
                  <a:pt x="7117081" y="2396679"/>
                </a:cubicBezTo>
                <a:cubicBezTo>
                  <a:pt x="7141845" y="2415094"/>
                  <a:pt x="7171056" y="2375724"/>
                  <a:pt x="7145020" y="2357944"/>
                </a:cubicBezTo>
                <a:close/>
                <a:moveTo>
                  <a:pt x="7233920" y="2419539"/>
                </a:moveTo>
                <a:cubicBezTo>
                  <a:pt x="7208520" y="2401759"/>
                  <a:pt x="7181215" y="2442399"/>
                  <a:pt x="7207250" y="2459544"/>
                </a:cubicBezTo>
                <a:cubicBezTo>
                  <a:pt x="7232015" y="2477324"/>
                  <a:pt x="7259956" y="2436684"/>
                  <a:pt x="7233920" y="2419539"/>
                </a:cubicBezTo>
                <a:close/>
                <a:moveTo>
                  <a:pt x="7265035" y="2209354"/>
                </a:moveTo>
                <a:cubicBezTo>
                  <a:pt x="7280275" y="2186494"/>
                  <a:pt x="7244081" y="2162999"/>
                  <a:pt x="7229475" y="2186494"/>
                </a:cubicBezTo>
                <a:cubicBezTo>
                  <a:pt x="7214235" y="2208719"/>
                  <a:pt x="7250431" y="2232214"/>
                  <a:pt x="7265035" y="2209354"/>
                </a:cubicBezTo>
                <a:close/>
                <a:moveTo>
                  <a:pt x="7510781" y="2586544"/>
                </a:moveTo>
                <a:cubicBezTo>
                  <a:pt x="7483475" y="2571939"/>
                  <a:pt x="7460615" y="2615119"/>
                  <a:pt x="7488556" y="2629089"/>
                </a:cubicBezTo>
                <a:cubicBezTo>
                  <a:pt x="7515225" y="2643694"/>
                  <a:pt x="7538085" y="2600514"/>
                  <a:pt x="7510781" y="2586544"/>
                </a:cubicBezTo>
                <a:close/>
                <a:moveTo>
                  <a:pt x="7494270" y="2711639"/>
                </a:moveTo>
                <a:cubicBezTo>
                  <a:pt x="7465060" y="2695764"/>
                  <a:pt x="7440931" y="2741484"/>
                  <a:pt x="7470775" y="2756724"/>
                </a:cubicBezTo>
                <a:cubicBezTo>
                  <a:pt x="7499350" y="2772599"/>
                  <a:pt x="7524115" y="2726879"/>
                  <a:pt x="7494270" y="2711639"/>
                </a:cubicBezTo>
                <a:close/>
                <a:moveTo>
                  <a:pt x="7465695" y="2482404"/>
                </a:moveTo>
                <a:cubicBezTo>
                  <a:pt x="7491095" y="2497009"/>
                  <a:pt x="7513320" y="2456369"/>
                  <a:pt x="7487285" y="2443034"/>
                </a:cubicBezTo>
                <a:cubicBezTo>
                  <a:pt x="7461885" y="2428429"/>
                  <a:pt x="7439660" y="2469069"/>
                  <a:pt x="7465695" y="2482404"/>
                </a:cubicBezTo>
                <a:close/>
                <a:moveTo>
                  <a:pt x="8023225" y="2901504"/>
                </a:moveTo>
                <a:cubicBezTo>
                  <a:pt x="7990840" y="2895154"/>
                  <a:pt x="7981315" y="2945954"/>
                  <a:pt x="8013700" y="2951669"/>
                </a:cubicBezTo>
                <a:cubicBezTo>
                  <a:pt x="8045450" y="2958019"/>
                  <a:pt x="8055610" y="2907219"/>
                  <a:pt x="8023225" y="2901504"/>
                </a:cubicBezTo>
                <a:close/>
                <a:moveTo>
                  <a:pt x="7532370" y="2145219"/>
                </a:moveTo>
                <a:cubicBezTo>
                  <a:pt x="7553325" y="2156014"/>
                  <a:pt x="7569835" y="2122359"/>
                  <a:pt x="7548245" y="2112199"/>
                </a:cubicBezTo>
                <a:cubicBezTo>
                  <a:pt x="7527290" y="2101404"/>
                  <a:pt x="7510781" y="2135059"/>
                  <a:pt x="7532370" y="2145219"/>
                </a:cubicBezTo>
                <a:lnTo>
                  <a:pt x="7532370" y="2145219"/>
                </a:lnTo>
                <a:close/>
                <a:moveTo>
                  <a:pt x="7424420" y="2280474"/>
                </a:moveTo>
                <a:cubicBezTo>
                  <a:pt x="7400925" y="2266504"/>
                  <a:pt x="7379335" y="2303969"/>
                  <a:pt x="7403465" y="2317304"/>
                </a:cubicBezTo>
                <a:lnTo>
                  <a:pt x="7403465" y="2317304"/>
                </a:lnTo>
                <a:cubicBezTo>
                  <a:pt x="7426960" y="2331274"/>
                  <a:pt x="7448550" y="2293809"/>
                  <a:pt x="7424420" y="2280474"/>
                </a:cubicBezTo>
                <a:close/>
                <a:moveTo>
                  <a:pt x="7416165" y="2534474"/>
                </a:moveTo>
                <a:cubicBezTo>
                  <a:pt x="7389495" y="2518599"/>
                  <a:pt x="7364731" y="2560509"/>
                  <a:pt x="7392035" y="2575749"/>
                </a:cubicBezTo>
                <a:cubicBezTo>
                  <a:pt x="7418706" y="2592259"/>
                  <a:pt x="7443470" y="2549714"/>
                  <a:pt x="7416165" y="2534474"/>
                </a:cubicBezTo>
                <a:close/>
                <a:moveTo>
                  <a:pt x="7454900" y="2105849"/>
                </a:moveTo>
                <a:cubicBezTo>
                  <a:pt x="7475856" y="2117279"/>
                  <a:pt x="7493000" y="2083624"/>
                  <a:pt x="7472045" y="2073463"/>
                </a:cubicBezTo>
                <a:cubicBezTo>
                  <a:pt x="7451090" y="2062034"/>
                  <a:pt x="7433945" y="2095688"/>
                  <a:pt x="7454900" y="2105849"/>
                </a:cubicBezTo>
                <a:lnTo>
                  <a:pt x="7454900" y="2105849"/>
                </a:lnTo>
                <a:close/>
                <a:moveTo>
                  <a:pt x="7459345" y="1877249"/>
                </a:moveTo>
                <a:cubicBezTo>
                  <a:pt x="7436485" y="1867724"/>
                  <a:pt x="7428231" y="1906459"/>
                  <a:pt x="7452995" y="1907094"/>
                </a:cubicBezTo>
                <a:cubicBezTo>
                  <a:pt x="7469506" y="1907729"/>
                  <a:pt x="7474585" y="1883599"/>
                  <a:pt x="7459345" y="1877249"/>
                </a:cubicBezTo>
                <a:close/>
                <a:moveTo>
                  <a:pt x="8580120" y="2894519"/>
                </a:moveTo>
                <a:cubicBezTo>
                  <a:pt x="8547735" y="2900869"/>
                  <a:pt x="8559165" y="2951669"/>
                  <a:pt x="8590915" y="2944048"/>
                </a:cubicBezTo>
                <a:cubicBezTo>
                  <a:pt x="8623300" y="2937698"/>
                  <a:pt x="8611870" y="2886898"/>
                  <a:pt x="8580120" y="2894519"/>
                </a:cubicBezTo>
                <a:close/>
                <a:moveTo>
                  <a:pt x="9139555" y="2566224"/>
                </a:moveTo>
                <a:cubicBezTo>
                  <a:pt x="9139555" y="2566224"/>
                  <a:pt x="9139555" y="2566224"/>
                  <a:pt x="9139555" y="2566224"/>
                </a:cubicBezTo>
                <a:cubicBezTo>
                  <a:pt x="9112885" y="2582099"/>
                  <a:pt x="9138285" y="2624009"/>
                  <a:pt x="9164320" y="2607499"/>
                </a:cubicBezTo>
                <a:cubicBezTo>
                  <a:pt x="9190990" y="2592259"/>
                  <a:pt x="9166225" y="2550349"/>
                  <a:pt x="9139555" y="2566224"/>
                </a:cubicBezTo>
                <a:close/>
                <a:moveTo>
                  <a:pt x="8676005" y="2789109"/>
                </a:moveTo>
                <a:cubicBezTo>
                  <a:pt x="8651240" y="2730689"/>
                  <a:pt x="8595360" y="2821494"/>
                  <a:pt x="8658225" y="2817684"/>
                </a:cubicBezTo>
                <a:lnTo>
                  <a:pt x="8658225" y="2817684"/>
                </a:lnTo>
                <a:cubicBezTo>
                  <a:pt x="8670925" y="2814509"/>
                  <a:pt x="8679180" y="2801809"/>
                  <a:pt x="8676005" y="2789109"/>
                </a:cubicBezTo>
                <a:close/>
                <a:moveTo>
                  <a:pt x="8642350" y="2586544"/>
                </a:moveTo>
                <a:cubicBezTo>
                  <a:pt x="8639175" y="2559239"/>
                  <a:pt x="8596630" y="2564954"/>
                  <a:pt x="8600440" y="2592259"/>
                </a:cubicBezTo>
                <a:cubicBezTo>
                  <a:pt x="8603615" y="2619564"/>
                  <a:pt x="8646795" y="2613849"/>
                  <a:pt x="8642350" y="2586544"/>
                </a:cubicBezTo>
                <a:close/>
                <a:moveTo>
                  <a:pt x="8738235" y="2569399"/>
                </a:moveTo>
                <a:cubicBezTo>
                  <a:pt x="8733155" y="2542094"/>
                  <a:pt x="8691245" y="2550349"/>
                  <a:pt x="8696960" y="2577654"/>
                </a:cubicBezTo>
                <a:cubicBezTo>
                  <a:pt x="8702040" y="2604959"/>
                  <a:pt x="8743950" y="2596069"/>
                  <a:pt x="8738235" y="2569399"/>
                </a:cubicBezTo>
                <a:close/>
                <a:moveTo>
                  <a:pt x="8688705" y="2866579"/>
                </a:moveTo>
                <a:cubicBezTo>
                  <a:pt x="8656955" y="2875469"/>
                  <a:pt x="8672195" y="2924998"/>
                  <a:pt x="8703310" y="2915473"/>
                </a:cubicBezTo>
                <a:cubicBezTo>
                  <a:pt x="8735060" y="2905948"/>
                  <a:pt x="8719820" y="2856419"/>
                  <a:pt x="8688705" y="2866579"/>
                </a:cubicBezTo>
                <a:close/>
                <a:moveTo>
                  <a:pt x="8522970" y="2577654"/>
                </a:moveTo>
                <a:cubicBezTo>
                  <a:pt x="8495665" y="2578924"/>
                  <a:pt x="8498205" y="2622104"/>
                  <a:pt x="8526145" y="2619564"/>
                </a:cubicBezTo>
                <a:cubicBezTo>
                  <a:pt x="8553450" y="2618294"/>
                  <a:pt x="8550910" y="2575114"/>
                  <a:pt x="8522970" y="2577654"/>
                </a:cubicBezTo>
                <a:close/>
                <a:moveTo>
                  <a:pt x="8569325" y="2811334"/>
                </a:moveTo>
                <a:cubicBezTo>
                  <a:pt x="8549005" y="2751644"/>
                  <a:pt x="8486140" y="2838004"/>
                  <a:pt x="8549005" y="2838639"/>
                </a:cubicBezTo>
                <a:cubicBezTo>
                  <a:pt x="8562340" y="2836734"/>
                  <a:pt x="8571865" y="2824669"/>
                  <a:pt x="8569325" y="2811334"/>
                </a:cubicBezTo>
                <a:close/>
                <a:moveTo>
                  <a:pt x="8469630" y="2913569"/>
                </a:moveTo>
                <a:cubicBezTo>
                  <a:pt x="8436610" y="2917379"/>
                  <a:pt x="8444230" y="2968814"/>
                  <a:pt x="8476615" y="2963734"/>
                </a:cubicBezTo>
                <a:cubicBezTo>
                  <a:pt x="8509000" y="2960559"/>
                  <a:pt x="8502015" y="2909123"/>
                  <a:pt x="8469630" y="2913569"/>
                </a:cubicBezTo>
                <a:close/>
                <a:moveTo>
                  <a:pt x="8549640" y="2838639"/>
                </a:moveTo>
                <a:lnTo>
                  <a:pt x="8549640" y="2838639"/>
                </a:lnTo>
                <a:cubicBezTo>
                  <a:pt x="8549640" y="2838639"/>
                  <a:pt x="8549640" y="2838639"/>
                  <a:pt x="8549640" y="2838639"/>
                </a:cubicBezTo>
                <a:cubicBezTo>
                  <a:pt x="8549640" y="2838639"/>
                  <a:pt x="8549640" y="2838639"/>
                  <a:pt x="8549640" y="2838639"/>
                </a:cubicBezTo>
                <a:close/>
                <a:moveTo>
                  <a:pt x="8519795" y="2512249"/>
                </a:moveTo>
                <a:cubicBezTo>
                  <a:pt x="8545830" y="2512249"/>
                  <a:pt x="8545195" y="2471609"/>
                  <a:pt x="8519160" y="2472879"/>
                </a:cubicBezTo>
                <a:cubicBezTo>
                  <a:pt x="8493760" y="2472879"/>
                  <a:pt x="8494395" y="2512249"/>
                  <a:pt x="8519795" y="2512249"/>
                </a:cubicBezTo>
                <a:close/>
                <a:moveTo>
                  <a:pt x="8950325" y="2666554"/>
                </a:moveTo>
                <a:cubicBezTo>
                  <a:pt x="8921750" y="2679254"/>
                  <a:pt x="8942705" y="2723704"/>
                  <a:pt x="8970010" y="2710369"/>
                </a:cubicBezTo>
                <a:cubicBezTo>
                  <a:pt x="8998585" y="2697669"/>
                  <a:pt x="8978265" y="2653219"/>
                  <a:pt x="8950325" y="2666554"/>
                </a:cubicBezTo>
                <a:close/>
                <a:moveTo>
                  <a:pt x="8999220" y="2735769"/>
                </a:moveTo>
                <a:cubicBezTo>
                  <a:pt x="8970010" y="2751009"/>
                  <a:pt x="8994775" y="2796729"/>
                  <a:pt x="9023350" y="2780219"/>
                </a:cubicBezTo>
                <a:lnTo>
                  <a:pt x="9023350" y="2780219"/>
                </a:lnTo>
                <a:cubicBezTo>
                  <a:pt x="9052560" y="2765614"/>
                  <a:pt x="9027795" y="2719894"/>
                  <a:pt x="8999220" y="2735769"/>
                </a:cubicBezTo>
                <a:close/>
                <a:moveTo>
                  <a:pt x="9046210" y="2619564"/>
                </a:moveTo>
                <a:cubicBezTo>
                  <a:pt x="9018270" y="2633534"/>
                  <a:pt x="9041765" y="2676714"/>
                  <a:pt x="9068435" y="2662109"/>
                </a:cubicBezTo>
                <a:cubicBezTo>
                  <a:pt x="9096375" y="2647504"/>
                  <a:pt x="9073515" y="2604324"/>
                  <a:pt x="9046210" y="2619564"/>
                </a:cubicBezTo>
                <a:close/>
                <a:moveTo>
                  <a:pt x="9097010" y="2679254"/>
                </a:moveTo>
                <a:cubicBezTo>
                  <a:pt x="9068435" y="2696399"/>
                  <a:pt x="9096375" y="2740214"/>
                  <a:pt x="9123680" y="2722434"/>
                </a:cubicBezTo>
                <a:cubicBezTo>
                  <a:pt x="9151620" y="2705289"/>
                  <a:pt x="9124315" y="2661474"/>
                  <a:pt x="9097010" y="2679254"/>
                </a:cubicBezTo>
                <a:close/>
                <a:moveTo>
                  <a:pt x="8794750" y="2830384"/>
                </a:moveTo>
                <a:cubicBezTo>
                  <a:pt x="8763635" y="2841814"/>
                  <a:pt x="8782685" y="2890073"/>
                  <a:pt x="8813165" y="2878009"/>
                </a:cubicBezTo>
                <a:cubicBezTo>
                  <a:pt x="8844280" y="2866579"/>
                  <a:pt x="8825865" y="2817684"/>
                  <a:pt x="8794750" y="2830384"/>
                </a:cubicBezTo>
                <a:close/>
                <a:moveTo>
                  <a:pt x="8056881" y="2659569"/>
                </a:moveTo>
                <a:cubicBezTo>
                  <a:pt x="8028306" y="2653219"/>
                  <a:pt x="8018781" y="2698304"/>
                  <a:pt x="8047990" y="2704019"/>
                </a:cubicBezTo>
                <a:cubicBezTo>
                  <a:pt x="8075931" y="2710369"/>
                  <a:pt x="8085456" y="2665284"/>
                  <a:pt x="8056881" y="2659569"/>
                </a:cubicBezTo>
                <a:close/>
                <a:moveTo>
                  <a:pt x="8780145" y="2759264"/>
                </a:moveTo>
                <a:cubicBezTo>
                  <a:pt x="8771255" y="2729419"/>
                  <a:pt x="8724900" y="2744024"/>
                  <a:pt x="8734425" y="2773234"/>
                </a:cubicBezTo>
                <a:cubicBezTo>
                  <a:pt x="8743315" y="2803079"/>
                  <a:pt x="8789670" y="2788474"/>
                  <a:pt x="8780145" y="2759264"/>
                </a:cubicBezTo>
                <a:close/>
                <a:moveTo>
                  <a:pt x="8807450" y="2531299"/>
                </a:moveTo>
                <a:cubicBezTo>
                  <a:pt x="8780780" y="2537649"/>
                  <a:pt x="8791575" y="2579559"/>
                  <a:pt x="8818245" y="2572574"/>
                </a:cubicBezTo>
                <a:cubicBezTo>
                  <a:pt x="8844280" y="2566224"/>
                  <a:pt x="8833485" y="2524314"/>
                  <a:pt x="8807450" y="2531299"/>
                </a:cubicBezTo>
                <a:close/>
                <a:moveTo>
                  <a:pt x="8837295" y="2739579"/>
                </a:moveTo>
                <a:cubicBezTo>
                  <a:pt x="8848090" y="2768789"/>
                  <a:pt x="8893810" y="2751009"/>
                  <a:pt x="8882380" y="2722434"/>
                </a:cubicBezTo>
                <a:cubicBezTo>
                  <a:pt x="8871585" y="2693224"/>
                  <a:pt x="8825865" y="2710369"/>
                  <a:pt x="8837295" y="2739579"/>
                </a:cubicBezTo>
                <a:close/>
                <a:moveTo>
                  <a:pt x="8898890" y="2786569"/>
                </a:moveTo>
                <a:cubicBezTo>
                  <a:pt x="8868410" y="2799904"/>
                  <a:pt x="8890635" y="2846894"/>
                  <a:pt x="8920480" y="2832924"/>
                </a:cubicBezTo>
                <a:cubicBezTo>
                  <a:pt x="8950325" y="2818954"/>
                  <a:pt x="8928100" y="2771964"/>
                  <a:pt x="8898890" y="2786569"/>
                </a:cubicBezTo>
                <a:close/>
                <a:moveTo>
                  <a:pt x="8133715" y="2918014"/>
                </a:moveTo>
                <a:cubicBezTo>
                  <a:pt x="8101331" y="2914204"/>
                  <a:pt x="8095615" y="2965639"/>
                  <a:pt x="8128000" y="2968814"/>
                </a:cubicBezTo>
                <a:cubicBezTo>
                  <a:pt x="8161020" y="2972623"/>
                  <a:pt x="8166735" y="2921189"/>
                  <a:pt x="8133715" y="2918014"/>
                </a:cubicBezTo>
                <a:close/>
                <a:moveTo>
                  <a:pt x="8156575" y="2677349"/>
                </a:moveTo>
                <a:cubicBezTo>
                  <a:pt x="8128000" y="2672904"/>
                  <a:pt x="8121015" y="2718624"/>
                  <a:pt x="8150225" y="2721799"/>
                </a:cubicBezTo>
                <a:cubicBezTo>
                  <a:pt x="8178800" y="2726879"/>
                  <a:pt x="8185785" y="2681159"/>
                  <a:pt x="8156575" y="2677349"/>
                </a:cubicBezTo>
                <a:close/>
                <a:moveTo>
                  <a:pt x="8207375" y="2357309"/>
                </a:moveTo>
                <a:cubicBezTo>
                  <a:pt x="8212456" y="2333814"/>
                  <a:pt x="8175625" y="2326829"/>
                  <a:pt x="8171181" y="2350324"/>
                </a:cubicBezTo>
                <a:cubicBezTo>
                  <a:pt x="8166100" y="2373184"/>
                  <a:pt x="8202931" y="2380804"/>
                  <a:pt x="8207375" y="2357309"/>
                </a:cubicBezTo>
                <a:close/>
                <a:moveTo>
                  <a:pt x="8244840" y="2829749"/>
                </a:moveTo>
                <a:cubicBezTo>
                  <a:pt x="8247381" y="2798634"/>
                  <a:pt x="8198485" y="2795459"/>
                  <a:pt x="8197215" y="2826574"/>
                </a:cubicBezTo>
                <a:cubicBezTo>
                  <a:pt x="8194675" y="2857689"/>
                  <a:pt x="8242935" y="2860864"/>
                  <a:pt x="8244840" y="2829749"/>
                </a:cubicBezTo>
                <a:close/>
                <a:moveTo>
                  <a:pt x="8102600" y="2118549"/>
                </a:moveTo>
                <a:cubicBezTo>
                  <a:pt x="8107681" y="2098864"/>
                  <a:pt x="8077200" y="2091244"/>
                  <a:pt x="8072120" y="2110929"/>
                </a:cubicBezTo>
                <a:cubicBezTo>
                  <a:pt x="8067040" y="2130614"/>
                  <a:pt x="8097520" y="2138234"/>
                  <a:pt x="8102600" y="2118549"/>
                </a:cubicBezTo>
                <a:close/>
                <a:moveTo>
                  <a:pt x="8070215" y="2423349"/>
                </a:moveTo>
                <a:cubicBezTo>
                  <a:pt x="8045450" y="2416999"/>
                  <a:pt x="8035925" y="2456369"/>
                  <a:pt x="8060690" y="2461449"/>
                </a:cubicBezTo>
                <a:cubicBezTo>
                  <a:pt x="8085456" y="2468434"/>
                  <a:pt x="8094981" y="2429064"/>
                  <a:pt x="8070215" y="2423349"/>
                </a:cubicBezTo>
                <a:close/>
                <a:moveTo>
                  <a:pt x="8245475" y="2925634"/>
                </a:moveTo>
                <a:cubicBezTo>
                  <a:pt x="8211820" y="2924364"/>
                  <a:pt x="8211185" y="2977069"/>
                  <a:pt x="8244840" y="2976434"/>
                </a:cubicBezTo>
                <a:cubicBezTo>
                  <a:pt x="8277225" y="2977069"/>
                  <a:pt x="8277860" y="2926269"/>
                  <a:pt x="8245475" y="2925634"/>
                </a:cubicBezTo>
                <a:close/>
                <a:moveTo>
                  <a:pt x="8100695" y="2353499"/>
                </a:moveTo>
                <a:cubicBezTo>
                  <a:pt x="8123556" y="2359214"/>
                  <a:pt x="8132445" y="2323019"/>
                  <a:pt x="8108950" y="2317939"/>
                </a:cubicBezTo>
                <a:cubicBezTo>
                  <a:pt x="8086090" y="2312224"/>
                  <a:pt x="8077200" y="2348419"/>
                  <a:pt x="8100695" y="2353499"/>
                </a:cubicBezTo>
                <a:close/>
                <a:moveTo>
                  <a:pt x="8116570" y="2792919"/>
                </a:moveTo>
                <a:cubicBezTo>
                  <a:pt x="8083550" y="2787839"/>
                  <a:pt x="8079740" y="2841179"/>
                  <a:pt x="8113395" y="2840544"/>
                </a:cubicBezTo>
                <a:cubicBezTo>
                  <a:pt x="8141970" y="2841179"/>
                  <a:pt x="8145781" y="2796094"/>
                  <a:pt x="8116570" y="2792919"/>
                </a:cubicBezTo>
                <a:close/>
                <a:moveTo>
                  <a:pt x="8416290" y="2061399"/>
                </a:moveTo>
                <a:cubicBezTo>
                  <a:pt x="8397240" y="2058859"/>
                  <a:pt x="8395335" y="2089974"/>
                  <a:pt x="8414385" y="2089338"/>
                </a:cubicBezTo>
                <a:cubicBezTo>
                  <a:pt x="8432165" y="2089974"/>
                  <a:pt x="8434070" y="2062669"/>
                  <a:pt x="8416290" y="2061399"/>
                </a:cubicBezTo>
                <a:close/>
                <a:moveTo>
                  <a:pt x="8382000" y="2256344"/>
                </a:moveTo>
                <a:cubicBezTo>
                  <a:pt x="8360410" y="2253804"/>
                  <a:pt x="8356600" y="2288094"/>
                  <a:pt x="8378190" y="2289999"/>
                </a:cubicBezTo>
                <a:cubicBezTo>
                  <a:pt x="8399780" y="2292539"/>
                  <a:pt x="8403590" y="2258249"/>
                  <a:pt x="8382000" y="2256344"/>
                </a:cubicBezTo>
                <a:close/>
                <a:moveTo>
                  <a:pt x="8462010" y="2825304"/>
                </a:moveTo>
                <a:cubicBezTo>
                  <a:pt x="8460105" y="2794189"/>
                  <a:pt x="8411210" y="2797999"/>
                  <a:pt x="8414385" y="2829114"/>
                </a:cubicBezTo>
                <a:cubicBezTo>
                  <a:pt x="8416290" y="2860229"/>
                  <a:pt x="8464550" y="2856419"/>
                  <a:pt x="8462010" y="2825304"/>
                </a:cubicBezTo>
                <a:close/>
                <a:moveTo>
                  <a:pt x="8357870" y="2924364"/>
                </a:moveTo>
                <a:cubicBezTo>
                  <a:pt x="8324850" y="2925634"/>
                  <a:pt x="8327390" y="2977069"/>
                  <a:pt x="8360410" y="2975164"/>
                </a:cubicBezTo>
                <a:cubicBezTo>
                  <a:pt x="8393430" y="2973894"/>
                  <a:pt x="8390890" y="2921823"/>
                  <a:pt x="8357870" y="2924364"/>
                </a:cubicBezTo>
                <a:close/>
                <a:moveTo>
                  <a:pt x="8448675" y="2602419"/>
                </a:moveTo>
                <a:cubicBezTo>
                  <a:pt x="8449310" y="2575114"/>
                  <a:pt x="8406130" y="2575114"/>
                  <a:pt x="8406130" y="2602419"/>
                </a:cubicBezTo>
                <a:cubicBezTo>
                  <a:pt x="8406130" y="2629724"/>
                  <a:pt x="8449310" y="2629724"/>
                  <a:pt x="8448675" y="2602419"/>
                </a:cubicBezTo>
                <a:close/>
                <a:moveTo>
                  <a:pt x="8256906" y="2688144"/>
                </a:moveTo>
                <a:cubicBezTo>
                  <a:pt x="8227695" y="2685604"/>
                  <a:pt x="8224520" y="2731324"/>
                  <a:pt x="8253731" y="2733229"/>
                </a:cubicBezTo>
                <a:cubicBezTo>
                  <a:pt x="8282940" y="2736404"/>
                  <a:pt x="8286115" y="2690049"/>
                  <a:pt x="8256906" y="2688144"/>
                </a:cubicBezTo>
                <a:close/>
                <a:moveTo>
                  <a:pt x="8353425" y="2831654"/>
                </a:moveTo>
                <a:cubicBezTo>
                  <a:pt x="8342631" y="2769424"/>
                  <a:pt x="8267700" y="2844989"/>
                  <a:pt x="8329295" y="2855784"/>
                </a:cubicBezTo>
                <a:cubicBezTo>
                  <a:pt x="8342631" y="2855784"/>
                  <a:pt x="8353425" y="2844989"/>
                  <a:pt x="8353425" y="2831654"/>
                </a:cubicBezTo>
                <a:close/>
                <a:moveTo>
                  <a:pt x="8276590" y="2349689"/>
                </a:moveTo>
                <a:cubicBezTo>
                  <a:pt x="8253095" y="2345879"/>
                  <a:pt x="8247381" y="2382709"/>
                  <a:pt x="8271510" y="2385884"/>
                </a:cubicBezTo>
                <a:cubicBezTo>
                  <a:pt x="8295006" y="2389694"/>
                  <a:pt x="8300085" y="2352864"/>
                  <a:pt x="8276590" y="2349689"/>
                </a:cubicBezTo>
                <a:close/>
                <a:moveTo>
                  <a:pt x="8317231" y="2265234"/>
                </a:moveTo>
                <a:cubicBezTo>
                  <a:pt x="8321040" y="2243644"/>
                  <a:pt x="8286750" y="2238564"/>
                  <a:pt x="8283575" y="2260154"/>
                </a:cubicBezTo>
                <a:cubicBezTo>
                  <a:pt x="8279765" y="2281744"/>
                  <a:pt x="8314056" y="2286824"/>
                  <a:pt x="8317231" y="2265234"/>
                </a:cubicBezTo>
                <a:close/>
                <a:moveTo>
                  <a:pt x="7112000" y="2468434"/>
                </a:moveTo>
                <a:cubicBezTo>
                  <a:pt x="7085965" y="2448749"/>
                  <a:pt x="7054850" y="2490024"/>
                  <a:pt x="7081520" y="2509074"/>
                </a:cubicBezTo>
                <a:cubicBezTo>
                  <a:pt x="7108190" y="2529394"/>
                  <a:pt x="7139306" y="2488119"/>
                  <a:pt x="7112000" y="2468434"/>
                </a:cubicBezTo>
                <a:close/>
                <a:moveTo>
                  <a:pt x="5510530" y="998409"/>
                </a:moveTo>
                <a:cubicBezTo>
                  <a:pt x="5492750" y="993963"/>
                  <a:pt x="5486400" y="1021904"/>
                  <a:pt x="5504180" y="1025713"/>
                </a:cubicBezTo>
                <a:cubicBezTo>
                  <a:pt x="5521960" y="1030794"/>
                  <a:pt x="5528945" y="1002219"/>
                  <a:pt x="5510530" y="998409"/>
                </a:cubicBezTo>
                <a:close/>
                <a:moveTo>
                  <a:pt x="5577840" y="1014919"/>
                </a:moveTo>
                <a:cubicBezTo>
                  <a:pt x="5560060" y="1010474"/>
                  <a:pt x="5553075" y="1037779"/>
                  <a:pt x="5570855" y="1042224"/>
                </a:cubicBezTo>
                <a:cubicBezTo>
                  <a:pt x="5588635" y="1047304"/>
                  <a:pt x="5596255" y="1019363"/>
                  <a:pt x="5577840" y="1014919"/>
                </a:cubicBezTo>
                <a:close/>
                <a:moveTo>
                  <a:pt x="5559425" y="1069529"/>
                </a:moveTo>
                <a:cubicBezTo>
                  <a:pt x="5543550" y="1065719"/>
                  <a:pt x="5537835" y="1091119"/>
                  <a:pt x="5553710" y="1094294"/>
                </a:cubicBezTo>
                <a:cubicBezTo>
                  <a:pt x="5570220" y="1098104"/>
                  <a:pt x="5575935" y="1072704"/>
                  <a:pt x="5559425" y="1069529"/>
                </a:cubicBezTo>
                <a:close/>
                <a:moveTo>
                  <a:pt x="5616575" y="895538"/>
                </a:moveTo>
                <a:cubicBezTo>
                  <a:pt x="5626100" y="879663"/>
                  <a:pt x="5608320" y="860613"/>
                  <a:pt x="5591810" y="867599"/>
                </a:cubicBezTo>
                <a:cubicBezTo>
                  <a:pt x="5593080" y="835213"/>
                  <a:pt x="5541010" y="842199"/>
                  <a:pt x="5550535" y="872679"/>
                </a:cubicBezTo>
                <a:cubicBezTo>
                  <a:pt x="5493385" y="861884"/>
                  <a:pt x="5528310" y="953324"/>
                  <a:pt x="5563870" y="907604"/>
                </a:cubicBezTo>
                <a:cubicBezTo>
                  <a:pt x="5565140" y="908874"/>
                  <a:pt x="5567045" y="910144"/>
                  <a:pt x="5569585" y="910144"/>
                </a:cubicBezTo>
                <a:cubicBezTo>
                  <a:pt x="5556885" y="911413"/>
                  <a:pt x="5549900" y="928559"/>
                  <a:pt x="5558790" y="937449"/>
                </a:cubicBezTo>
                <a:cubicBezTo>
                  <a:pt x="5516880" y="932369"/>
                  <a:pt x="5525135" y="1001584"/>
                  <a:pt x="5565140" y="985709"/>
                </a:cubicBezTo>
                <a:cubicBezTo>
                  <a:pt x="5583555" y="1002219"/>
                  <a:pt x="5603875" y="967929"/>
                  <a:pt x="5580380" y="959674"/>
                </a:cubicBezTo>
                <a:cubicBezTo>
                  <a:pt x="5579745" y="953959"/>
                  <a:pt x="5577205" y="947609"/>
                  <a:pt x="5572125" y="943163"/>
                </a:cubicBezTo>
                <a:cubicBezTo>
                  <a:pt x="5589905" y="943163"/>
                  <a:pt x="5594985" y="916494"/>
                  <a:pt x="5577840" y="910144"/>
                </a:cubicBezTo>
                <a:cubicBezTo>
                  <a:pt x="5583555" y="908874"/>
                  <a:pt x="5588635" y="906969"/>
                  <a:pt x="5593080" y="903159"/>
                </a:cubicBezTo>
                <a:cubicBezTo>
                  <a:pt x="5601335" y="907604"/>
                  <a:pt x="5612130" y="903794"/>
                  <a:pt x="5616575" y="895538"/>
                </a:cubicBezTo>
                <a:close/>
                <a:moveTo>
                  <a:pt x="5490210" y="916494"/>
                </a:moveTo>
                <a:cubicBezTo>
                  <a:pt x="5512435" y="924113"/>
                  <a:pt x="5521960" y="887919"/>
                  <a:pt x="5498465" y="884109"/>
                </a:cubicBezTo>
                <a:cubicBezTo>
                  <a:pt x="5498465" y="881569"/>
                  <a:pt x="5498465" y="879663"/>
                  <a:pt x="5497830" y="877124"/>
                </a:cubicBezTo>
                <a:cubicBezTo>
                  <a:pt x="5505450" y="876488"/>
                  <a:pt x="5513070" y="870138"/>
                  <a:pt x="5513705" y="861884"/>
                </a:cubicBezTo>
                <a:cubicBezTo>
                  <a:pt x="5535295" y="867599"/>
                  <a:pt x="5547360" y="834579"/>
                  <a:pt x="5527040" y="825054"/>
                </a:cubicBezTo>
                <a:cubicBezTo>
                  <a:pt x="5523865" y="823149"/>
                  <a:pt x="5520055" y="822513"/>
                  <a:pt x="5516880" y="823149"/>
                </a:cubicBezTo>
                <a:cubicBezTo>
                  <a:pt x="5516245" y="817434"/>
                  <a:pt x="5513070" y="812354"/>
                  <a:pt x="5507990" y="808544"/>
                </a:cubicBezTo>
                <a:cubicBezTo>
                  <a:pt x="5503545" y="792034"/>
                  <a:pt x="5478780" y="788859"/>
                  <a:pt x="5469890" y="804099"/>
                </a:cubicBezTo>
                <a:cubicBezTo>
                  <a:pt x="5465445" y="802194"/>
                  <a:pt x="5460365" y="801559"/>
                  <a:pt x="5455285" y="802194"/>
                </a:cubicBezTo>
                <a:cubicBezTo>
                  <a:pt x="5455285" y="771079"/>
                  <a:pt x="5405755" y="780604"/>
                  <a:pt x="5417185" y="809179"/>
                </a:cubicBezTo>
                <a:cubicBezTo>
                  <a:pt x="5415915" y="809179"/>
                  <a:pt x="5415280" y="809179"/>
                  <a:pt x="5414010" y="809179"/>
                </a:cubicBezTo>
                <a:cubicBezTo>
                  <a:pt x="5415280" y="802194"/>
                  <a:pt x="5413375" y="795209"/>
                  <a:pt x="5408930" y="789494"/>
                </a:cubicBezTo>
                <a:cubicBezTo>
                  <a:pt x="5448300" y="787588"/>
                  <a:pt x="5431155" y="730438"/>
                  <a:pt x="5396230" y="746313"/>
                </a:cubicBezTo>
                <a:cubicBezTo>
                  <a:pt x="5388610" y="730438"/>
                  <a:pt x="5364480" y="729169"/>
                  <a:pt x="5355590" y="744409"/>
                </a:cubicBezTo>
                <a:cubicBezTo>
                  <a:pt x="5318125" y="740599"/>
                  <a:pt x="5334000" y="800924"/>
                  <a:pt x="5365115" y="779334"/>
                </a:cubicBezTo>
                <a:cubicBezTo>
                  <a:pt x="5372100" y="783144"/>
                  <a:pt x="5380355" y="782509"/>
                  <a:pt x="5387340" y="778699"/>
                </a:cubicBezTo>
                <a:cubicBezTo>
                  <a:pt x="5387975" y="779334"/>
                  <a:pt x="5387975" y="779969"/>
                  <a:pt x="5388610" y="780604"/>
                </a:cubicBezTo>
                <a:cubicBezTo>
                  <a:pt x="5351145" y="781874"/>
                  <a:pt x="5361940" y="842199"/>
                  <a:pt x="5397500" y="830134"/>
                </a:cubicBezTo>
                <a:cubicBezTo>
                  <a:pt x="5400040" y="856804"/>
                  <a:pt x="5441950" y="847913"/>
                  <a:pt x="5433060" y="821879"/>
                </a:cubicBezTo>
                <a:cubicBezTo>
                  <a:pt x="5434330" y="821879"/>
                  <a:pt x="5435600" y="822513"/>
                  <a:pt x="5436870" y="821879"/>
                </a:cubicBezTo>
                <a:cubicBezTo>
                  <a:pt x="5431790" y="844104"/>
                  <a:pt x="5462905" y="859979"/>
                  <a:pt x="5478145" y="842199"/>
                </a:cubicBezTo>
                <a:cubicBezTo>
                  <a:pt x="5479415" y="844104"/>
                  <a:pt x="5481320" y="845374"/>
                  <a:pt x="5483860" y="846644"/>
                </a:cubicBezTo>
                <a:cubicBezTo>
                  <a:pt x="5480685" y="849819"/>
                  <a:pt x="5478145" y="854263"/>
                  <a:pt x="5478145" y="859344"/>
                </a:cubicBezTo>
                <a:cubicBezTo>
                  <a:pt x="5454650" y="854263"/>
                  <a:pt x="5437505" y="886013"/>
                  <a:pt x="5455920" y="902524"/>
                </a:cubicBezTo>
                <a:lnTo>
                  <a:pt x="5455920" y="902524"/>
                </a:lnTo>
                <a:cubicBezTo>
                  <a:pt x="5462905" y="908874"/>
                  <a:pt x="5471795" y="911413"/>
                  <a:pt x="5480685" y="908874"/>
                </a:cubicBezTo>
                <a:cubicBezTo>
                  <a:pt x="5481955" y="911413"/>
                  <a:pt x="5485765" y="915224"/>
                  <a:pt x="5490210" y="916494"/>
                </a:cubicBezTo>
                <a:close/>
                <a:moveTo>
                  <a:pt x="5497195" y="1055559"/>
                </a:moveTo>
                <a:cubicBezTo>
                  <a:pt x="5481320" y="1051749"/>
                  <a:pt x="5475605" y="1077149"/>
                  <a:pt x="5492115" y="1080324"/>
                </a:cubicBezTo>
                <a:cubicBezTo>
                  <a:pt x="5507990" y="1084769"/>
                  <a:pt x="5513705" y="1059369"/>
                  <a:pt x="5497195" y="1055559"/>
                </a:cubicBezTo>
                <a:close/>
                <a:moveTo>
                  <a:pt x="5621655" y="1083499"/>
                </a:moveTo>
                <a:cubicBezTo>
                  <a:pt x="5605780" y="1079688"/>
                  <a:pt x="5600065" y="1104454"/>
                  <a:pt x="5615940" y="1108263"/>
                </a:cubicBezTo>
                <a:lnTo>
                  <a:pt x="5615940" y="1108263"/>
                </a:lnTo>
                <a:cubicBezTo>
                  <a:pt x="5631815" y="1112074"/>
                  <a:pt x="5637530" y="1086674"/>
                  <a:pt x="5621655" y="1083499"/>
                </a:cubicBezTo>
                <a:close/>
                <a:moveTo>
                  <a:pt x="5434965" y="1042859"/>
                </a:moveTo>
                <a:cubicBezTo>
                  <a:pt x="5419090" y="1039684"/>
                  <a:pt x="5414010" y="1064449"/>
                  <a:pt x="5429885" y="1067624"/>
                </a:cubicBezTo>
                <a:cubicBezTo>
                  <a:pt x="5445760" y="1071434"/>
                  <a:pt x="5451475" y="1046034"/>
                  <a:pt x="5434965" y="1042859"/>
                </a:cubicBezTo>
                <a:close/>
                <a:moveTo>
                  <a:pt x="5507990" y="939354"/>
                </a:moveTo>
                <a:cubicBezTo>
                  <a:pt x="5488940" y="933638"/>
                  <a:pt x="5480050" y="964119"/>
                  <a:pt x="5499735" y="969199"/>
                </a:cubicBezTo>
                <a:cubicBezTo>
                  <a:pt x="5518785" y="974913"/>
                  <a:pt x="5527040" y="944434"/>
                  <a:pt x="5507990" y="939354"/>
                </a:cubicBezTo>
                <a:close/>
                <a:moveTo>
                  <a:pt x="5443220" y="982534"/>
                </a:moveTo>
                <a:cubicBezTo>
                  <a:pt x="5425440" y="978088"/>
                  <a:pt x="5419090" y="1006029"/>
                  <a:pt x="5436870" y="1009838"/>
                </a:cubicBezTo>
                <a:cubicBezTo>
                  <a:pt x="5454650" y="1014919"/>
                  <a:pt x="5461635" y="986344"/>
                  <a:pt x="5443220" y="982534"/>
                </a:cubicBezTo>
                <a:close/>
                <a:moveTo>
                  <a:pt x="5952490" y="1288604"/>
                </a:moveTo>
                <a:cubicBezTo>
                  <a:pt x="5974715" y="1267013"/>
                  <a:pt x="5940425" y="1232088"/>
                  <a:pt x="5918835" y="1254313"/>
                </a:cubicBezTo>
                <a:cubicBezTo>
                  <a:pt x="5895975" y="1275904"/>
                  <a:pt x="5930265" y="1310829"/>
                  <a:pt x="5952490" y="1288604"/>
                </a:cubicBezTo>
                <a:close/>
                <a:moveTo>
                  <a:pt x="5852160" y="1276538"/>
                </a:moveTo>
                <a:cubicBezTo>
                  <a:pt x="5827395" y="1298129"/>
                  <a:pt x="5862320" y="1336863"/>
                  <a:pt x="5886450" y="1314004"/>
                </a:cubicBezTo>
                <a:cubicBezTo>
                  <a:pt x="5911215" y="1292413"/>
                  <a:pt x="5875655" y="1254313"/>
                  <a:pt x="5852160" y="1276538"/>
                </a:cubicBezTo>
                <a:close/>
                <a:moveTo>
                  <a:pt x="5909945" y="1139379"/>
                </a:moveTo>
                <a:cubicBezTo>
                  <a:pt x="5942965" y="1121599"/>
                  <a:pt x="5885815" y="1093659"/>
                  <a:pt x="5892165" y="1130488"/>
                </a:cubicBezTo>
                <a:cubicBezTo>
                  <a:pt x="5882640" y="1129854"/>
                  <a:pt x="5872480" y="1137474"/>
                  <a:pt x="5870575" y="1146999"/>
                </a:cubicBezTo>
                <a:cubicBezTo>
                  <a:pt x="5855970" y="1139379"/>
                  <a:pt x="5844540" y="1162874"/>
                  <a:pt x="5859145" y="1169859"/>
                </a:cubicBezTo>
                <a:cubicBezTo>
                  <a:pt x="5770245" y="1215579"/>
                  <a:pt x="5937250" y="1240979"/>
                  <a:pt x="5865495" y="1171129"/>
                </a:cubicBezTo>
                <a:cubicBezTo>
                  <a:pt x="5868670" y="1171129"/>
                  <a:pt x="5871845" y="1169224"/>
                  <a:pt x="5873750" y="1166684"/>
                </a:cubicBezTo>
                <a:cubicBezTo>
                  <a:pt x="5892165" y="1190813"/>
                  <a:pt x="5928360" y="1162238"/>
                  <a:pt x="5909945" y="1139379"/>
                </a:cubicBezTo>
                <a:close/>
                <a:moveTo>
                  <a:pt x="5928995" y="1360994"/>
                </a:moveTo>
                <a:cubicBezTo>
                  <a:pt x="5904230" y="1382584"/>
                  <a:pt x="5939155" y="1421319"/>
                  <a:pt x="5963285" y="1398459"/>
                </a:cubicBezTo>
                <a:cubicBezTo>
                  <a:pt x="5988050" y="1376869"/>
                  <a:pt x="5953125" y="1338134"/>
                  <a:pt x="5928995" y="1360994"/>
                </a:cubicBezTo>
                <a:close/>
                <a:moveTo>
                  <a:pt x="5617845" y="1026349"/>
                </a:moveTo>
                <a:cubicBezTo>
                  <a:pt x="5593715" y="1048574"/>
                  <a:pt x="5629910" y="1086038"/>
                  <a:pt x="5653405" y="1063179"/>
                </a:cubicBezTo>
                <a:cubicBezTo>
                  <a:pt x="5676900" y="1040319"/>
                  <a:pt x="5640705" y="1002854"/>
                  <a:pt x="5617845" y="1026349"/>
                </a:cubicBezTo>
                <a:close/>
                <a:moveTo>
                  <a:pt x="5651500" y="982534"/>
                </a:moveTo>
                <a:cubicBezTo>
                  <a:pt x="5648960" y="981899"/>
                  <a:pt x="5646420" y="981899"/>
                  <a:pt x="5643245" y="981899"/>
                </a:cubicBezTo>
                <a:cubicBezTo>
                  <a:pt x="5645150" y="978724"/>
                  <a:pt x="5647055" y="975549"/>
                  <a:pt x="5647690" y="972374"/>
                </a:cubicBezTo>
                <a:cubicBezTo>
                  <a:pt x="5648325" y="972374"/>
                  <a:pt x="5648960" y="972374"/>
                  <a:pt x="5649595" y="972374"/>
                </a:cubicBezTo>
                <a:cubicBezTo>
                  <a:pt x="5663565" y="979359"/>
                  <a:pt x="5681980" y="966659"/>
                  <a:pt x="5680710" y="950784"/>
                </a:cubicBezTo>
                <a:cubicBezTo>
                  <a:pt x="5709920" y="948244"/>
                  <a:pt x="5699125" y="901888"/>
                  <a:pt x="5671820" y="913319"/>
                </a:cubicBezTo>
                <a:cubicBezTo>
                  <a:pt x="5655310" y="880299"/>
                  <a:pt x="5614035" y="915224"/>
                  <a:pt x="5638800" y="940624"/>
                </a:cubicBezTo>
                <a:cubicBezTo>
                  <a:pt x="5638800" y="940624"/>
                  <a:pt x="5638165" y="941259"/>
                  <a:pt x="5638165" y="941259"/>
                </a:cubicBezTo>
                <a:cubicBezTo>
                  <a:pt x="5636260" y="942529"/>
                  <a:pt x="5634355" y="943799"/>
                  <a:pt x="5633085" y="945704"/>
                </a:cubicBezTo>
                <a:cubicBezTo>
                  <a:pt x="5591175" y="931099"/>
                  <a:pt x="5590540" y="1004124"/>
                  <a:pt x="5633085" y="990154"/>
                </a:cubicBezTo>
                <a:cubicBezTo>
                  <a:pt x="5621020" y="1032063"/>
                  <a:pt x="5689600" y="1004124"/>
                  <a:pt x="5651500" y="982534"/>
                </a:cubicBezTo>
                <a:close/>
                <a:moveTo>
                  <a:pt x="5745480" y="1113979"/>
                </a:moveTo>
                <a:cubicBezTo>
                  <a:pt x="5742305" y="1113344"/>
                  <a:pt x="5739130" y="1113979"/>
                  <a:pt x="5735955" y="1115249"/>
                </a:cubicBezTo>
                <a:cubicBezTo>
                  <a:pt x="5727700" y="1098738"/>
                  <a:pt x="5702935" y="1098104"/>
                  <a:pt x="5692775" y="1113344"/>
                </a:cubicBezTo>
                <a:cubicBezTo>
                  <a:pt x="5682615" y="1065084"/>
                  <a:pt x="5645150" y="1140649"/>
                  <a:pt x="5689600" y="1119059"/>
                </a:cubicBezTo>
                <a:cubicBezTo>
                  <a:pt x="5678805" y="1148269"/>
                  <a:pt x="5724525" y="1167319"/>
                  <a:pt x="5736590" y="1137474"/>
                </a:cubicBezTo>
                <a:cubicBezTo>
                  <a:pt x="5753100" y="1145094"/>
                  <a:pt x="5762625" y="1117788"/>
                  <a:pt x="5745480" y="1113979"/>
                </a:cubicBezTo>
                <a:close/>
                <a:moveTo>
                  <a:pt x="5982970" y="1206688"/>
                </a:moveTo>
                <a:cubicBezTo>
                  <a:pt x="5982335" y="1206054"/>
                  <a:pt x="5981700" y="1206054"/>
                  <a:pt x="5981065" y="1205419"/>
                </a:cubicBezTo>
                <a:cubicBezTo>
                  <a:pt x="6033770" y="1203513"/>
                  <a:pt x="5959475" y="1153984"/>
                  <a:pt x="5977890" y="1203513"/>
                </a:cubicBezTo>
                <a:cubicBezTo>
                  <a:pt x="5883275" y="1202879"/>
                  <a:pt x="6014720" y="1296859"/>
                  <a:pt x="5982970" y="1206688"/>
                </a:cubicBezTo>
                <a:close/>
                <a:moveTo>
                  <a:pt x="5774690" y="1192719"/>
                </a:moveTo>
                <a:cubicBezTo>
                  <a:pt x="5749925" y="1214944"/>
                  <a:pt x="5785485" y="1252409"/>
                  <a:pt x="5808980" y="1230184"/>
                </a:cubicBezTo>
                <a:cubicBezTo>
                  <a:pt x="5833110" y="1207959"/>
                  <a:pt x="5798185" y="1169859"/>
                  <a:pt x="5774690" y="1192719"/>
                </a:cubicBezTo>
                <a:close/>
                <a:moveTo>
                  <a:pt x="5837555" y="1090484"/>
                </a:moveTo>
                <a:cubicBezTo>
                  <a:pt x="5835015" y="1030159"/>
                  <a:pt x="5784215" y="1075879"/>
                  <a:pt x="5795010" y="1096834"/>
                </a:cubicBezTo>
                <a:cubicBezTo>
                  <a:pt x="5791835" y="1094929"/>
                  <a:pt x="5788660" y="1093659"/>
                  <a:pt x="5784850" y="1093659"/>
                </a:cubicBezTo>
                <a:cubicBezTo>
                  <a:pt x="5805170" y="1056194"/>
                  <a:pt x="5734050" y="1072704"/>
                  <a:pt x="5769610" y="1097469"/>
                </a:cubicBezTo>
                <a:cubicBezTo>
                  <a:pt x="5745480" y="1112709"/>
                  <a:pt x="5765800" y="1150809"/>
                  <a:pt x="5791835" y="1140013"/>
                </a:cubicBezTo>
                <a:cubicBezTo>
                  <a:pt x="5792470" y="1177479"/>
                  <a:pt x="5840095" y="1135569"/>
                  <a:pt x="5803265" y="1129854"/>
                </a:cubicBezTo>
                <a:cubicBezTo>
                  <a:pt x="5808980" y="1121599"/>
                  <a:pt x="5807075" y="1110804"/>
                  <a:pt x="5801360" y="1103184"/>
                </a:cubicBezTo>
                <a:cubicBezTo>
                  <a:pt x="5806440" y="1105724"/>
                  <a:pt x="5814695" y="1106359"/>
                  <a:pt x="5826125" y="1105088"/>
                </a:cubicBezTo>
                <a:cubicBezTo>
                  <a:pt x="5826125" y="1112709"/>
                  <a:pt x="5832475" y="1119694"/>
                  <a:pt x="5840095" y="1119059"/>
                </a:cubicBezTo>
                <a:cubicBezTo>
                  <a:pt x="5859780" y="1119059"/>
                  <a:pt x="5857240" y="1086674"/>
                  <a:pt x="5837555" y="1090484"/>
                </a:cubicBezTo>
                <a:close/>
                <a:moveTo>
                  <a:pt x="5197475" y="882204"/>
                </a:moveTo>
                <a:cubicBezTo>
                  <a:pt x="5193030" y="901888"/>
                  <a:pt x="5224145" y="908238"/>
                  <a:pt x="5227955" y="887919"/>
                </a:cubicBezTo>
                <a:cubicBezTo>
                  <a:pt x="5231765" y="868234"/>
                  <a:pt x="5200650" y="862519"/>
                  <a:pt x="5197475" y="882204"/>
                </a:cubicBezTo>
                <a:close/>
                <a:moveTo>
                  <a:pt x="5239385" y="941894"/>
                </a:moveTo>
                <a:cubicBezTo>
                  <a:pt x="5219700" y="938084"/>
                  <a:pt x="5217160" y="969834"/>
                  <a:pt x="5236845" y="969834"/>
                </a:cubicBezTo>
                <a:cubicBezTo>
                  <a:pt x="5253990" y="970469"/>
                  <a:pt x="5256530" y="945069"/>
                  <a:pt x="5239385" y="941894"/>
                </a:cubicBezTo>
                <a:close/>
                <a:moveTo>
                  <a:pt x="5247005" y="1008569"/>
                </a:moveTo>
                <a:cubicBezTo>
                  <a:pt x="5230495" y="1005394"/>
                  <a:pt x="5226685" y="1031429"/>
                  <a:pt x="5242560" y="1033334"/>
                </a:cubicBezTo>
                <a:cubicBezTo>
                  <a:pt x="5259070" y="1036509"/>
                  <a:pt x="5263515" y="1011109"/>
                  <a:pt x="5247005" y="1008569"/>
                </a:cubicBezTo>
                <a:close/>
                <a:moveTo>
                  <a:pt x="5184775" y="998409"/>
                </a:moveTo>
                <a:cubicBezTo>
                  <a:pt x="5168265" y="995869"/>
                  <a:pt x="5164455" y="1021269"/>
                  <a:pt x="5180965" y="1023809"/>
                </a:cubicBezTo>
                <a:cubicBezTo>
                  <a:pt x="5196840" y="1026349"/>
                  <a:pt x="5200650" y="1000949"/>
                  <a:pt x="5184775" y="998409"/>
                </a:cubicBezTo>
                <a:close/>
                <a:moveTo>
                  <a:pt x="5182870" y="946974"/>
                </a:moveTo>
                <a:cubicBezTo>
                  <a:pt x="5186045" y="929194"/>
                  <a:pt x="5157470" y="924113"/>
                  <a:pt x="5154930" y="942529"/>
                </a:cubicBezTo>
                <a:cubicBezTo>
                  <a:pt x="5151755" y="960309"/>
                  <a:pt x="5180330" y="965388"/>
                  <a:pt x="5182870" y="946974"/>
                </a:cubicBezTo>
                <a:close/>
                <a:moveTo>
                  <a:pt x="5114925" y="936179"/>
                </a:moveTo>
                <a:cubicBezTo>
                  <a:pt x="5117465" y="918399"/>
                  <a:pt x="5089525" y="913954"/>
                  <a:pt x="5086985" y="932369"/>
                </a:cubicBezTo>
                <a:cubicBezTo>
                  <a:pt x="5083810" y="950149"/>
                  <a:pt x="5112385" y="954594"/>
                  <a:pt x="5114925" y="936179"/>
                </a:cubicBezTo>
                <a:close/>
                <a:moveTo>
                  <a:pt x="5121275" y="989519"/>
                </a:moveTo>
                <a:cubicBezTo>
                  <a:pt x="5104765" y="986979"/>
                  <a:pt x="5101590" y="1012379"/>
                  <a:pt x="5117465" y="1014919"/>
                </a:cubicBezTo>
                <a:cubicBezTo>
                  <a:pt x="5133975" y="1016824"/>
                  <a:pt x="5137785" y="991424"/>
                  <a:pt x="5121275" y="989519"/>
                </a:cubicBezTo>
                <a:close/>
                <a:moveTo>
                  <a:pt x="5141595" y="856169"/>
                </a:moveTo>
                <a:cubicBezTo>
                  <a:pt x="5121910" y="852359"/>
                  <a:pt x="5116195" y="883474"/>
                  <a:pt x="5136515" y="886649"/>
                </a:cubicBezTo>
                <a:cubicBezTo>
                  <a:pt x="5156200" y="890459"/>
                  <a:pt x="5161915" y="859344"/>
                  <a:pt x="5141595" y="856169"/>
                </a:cubicBezTo>
                <a:close/>
                <a:moveTo>
                  <a:pt x="5280660" y="836484"/>
                </a:moveTo>
                <a:cubicBezTo>
                  <a:pt x="5286375" y="815529"/>
                  <a:pt x="5252720" y="806638"/>
                  <a:pt x="5247640" y="828229"/>
                </a:cubicBezTo>
                <a:cubicBezTo>
                  <a:pt x="5242560" y="849184"/>
                  <a:pt x="5275580" y="857438"/>
                  <a:pt x="5280660" y="836484"/>
                </a:cubicBezTo>
                <a:close/>
                <a:moveTo>
                  <a:pt x="5358765" y="857438"/>
                </a:moveTo>
                <a:cubicBezTo>
                  <a:pt x="5365115" y="836484"/>
                  <a:pt x="5332095" y="826959"/>
                  <a:pt x="5326380" y="848549"/>
                </a:cubicBezTo>
                <a:cubicBezTo>
                  <a:pt x="5319395" y="869504"/>
                  <a:pt x="5353050" y="878394"/>
                  <a:pt x="5358765" y="857438"/>
                </a:cubicBezTo>
                <a:close/>
                <a:moveTo>
                  <a:pt x="5374005" y="920304"/>
                </a:moveTo>
                <a:cubicBezTo>
                  <a:pt x="5379085" y="900619"/>
                  <a:pt x="5347970" y="893634"/>
                  <a:pt x="5343525" y="913319"/>
                </a:cubicBezTo>
                <a:cubicBezTo>
                  <a:pt x="5338445" y="932369"/>
                  <a:pt x="5369560" y="939988"/>
                  <a:pt x="5374005" y="920304"/>
                </a:cubicBezTo>
                <a:close/>
                <a:moveTo>
                  <a:pt x="5372735" y="1030794"/>
                </a:moveTo>
                <a:cubicBezTo>
                  <a:pt x="5356860" y="1027619"/>
                  <a:pt x="5351780" y="1053019"/>
                  <a:pt x="5368290" y="1055559"/>
                </a:cubicBezTo>
                <a:cubicBezTo>
                  <a:pt x="5384165" y="1059369"/>
                  <a:pt x="5388610" y="1033969"/>
                  <a:pt x="5372735" y="1030794"/>
                </a:cubicBezTo>
                <a:close/>
                <a:moveTo>
                  <a:pt x="5375910" y="967929"/>
                </a:moveTo>
                <a:cubicBezTo>
                  <a:pt x="5358130" y="964119"/>
                  <a:pt x="5352415" y="992059"/>
                  <a:pt x="5370195" y="995869"/>
                </a:cubicBezTo>
                <a:cubicBezTo>
                  <a:pt x="5387975" y="999679"/>
                  <a:pt x="5393690" y="971738"/>
                  <a:pt x="5375910" y="967929"/>
                </a:cubicBezTo>
                <a:close/>
                <a:moveTo>
                  <a:pt x="5435600" y="880934"/>
                </a:moveTo>
                <a:cubicBezTo>
                  <a:pt x="5438140" y="872044"/>
                  <a:pt x="5433695" y="862519"/>
                  <a:pt x="5424170" y="859979"/>
                </a:cubicBezTo>
                <a:cubicBezTo>
                  <a:pt x="5380355" y="853629"/>
                  <a:pt x="5415280" y="920304"/>
                  <a:pt x="5435600" y="880934"/>
                </a:cubicBezTo>
                <a:close/>
                <a:moveTo>
                  <a:pt x="5431155" y="950149"/>
                </a:moveTo>
                <a:cubicBezTo>
                  <a:pt x="5448935" y="950784"/>
                  <a:pt x="5452110" y="923479"/>
                  <a:pt x="5434965" y="919669"/>
                </a:cubicBezTo>
                <a:cubicBezTo>
                  <a:pt x="5413375" y="913954"/>
                  <a:pt x="5408295" y="950149"/>
                  <a:pt x="5431155" y="950149"/>
                </a:cubicBezTo>
                <a:close/>
                <a:moveTo>
                  <a:pt x="5300980" y="903159"/>
                </a:moveTo>
                <a:cubicBezTo>
                  <a:pt x="5305425" y="883474"/>
                  <a:pt x="5274310" y="877124"/>
                  <a:pt x="5270500" y="896809"/>
                </a:cubicBezTo>
                <a:cubicBezTo>
                  <a:pt x="5266055" y="916494"/>
                  <a:pt x="5297170" y="923479"/>
                  <a:pt x="5300980" y="903159"/>
                </a:cubicBezTo>
                <a:close/>
                <a:moveTo>
                  <a:pt x="5305425" y="982534"/>
                </a:moveTo>
                <a:cubicBezTo>
                  <a:pt x="5321935" y="983169"/>
                  <a:pt x="5324475" y="957134"/>
                  <a:pt x="5307965" y="954594"/>
                </a:cubicBezTo>
                <a:cubicBezTo>
                  <a:pt x="5288280" y="950784"/>
                  <a:pt x="5285105" y="982534"/>
                  <a:pt x="5305425" y="982534"/>
                </a:cubicBezTo>
                <a:close/>
                <a:moveTo>
                  <a:pt x="5341620" y="779969"/>
                </a:moveTo>
                <a:cubicBezTo>
                  <a:pt x="5315585" y="771079"/>
                  <a:pt x="5307330" y="815529"/>
                  <a:pt x="5335270" y="815529"/>
                </a:cubicBezTo>
                <a:cubicBezTo>
                  <a:pt x="5355590" y="816799"/>
                  <a:pt x="5360670" y="786319"/>
                  <a:pt x="5341620" y="779969"/>
                </a:cubicBezTo>
                <a:close/>
                <a:moveTo>
                  <a:pt x="6725285" y="2016313"/>
                </a:moveTo>
                <a:cubicBezTo>
                  <a:pt x="6702425" y="1995359"/>
                  <a:pt x="6670040" y="2031554"/>
                  <a:pt x="6693535" y="2051874"/>
                </a:cubicBezTo>
                <a:cubicBezTo>
                  <a:pt x="6716395" y="2073463"/>
                  <a:pt x="6748781" y="2036634"/>
                  <a:pt x="6725285" y="2016313"/>
                </a:cubicBezTo>
                <a:close/>
                <a:moveTo>
                  <a:pt x="6645275" y="1943288"/>
                </a:moveTo>
                <a:cubicBezTo>
                  <a:pt x="6622415" y="1921699"/>
                  <a:pt x="6589395" y="1957894"/>
                  <a:pt x="6612890" y="1978849"/>
                </a:cubicBezTo>
                <a:cubicBezTo>
                  <a:pt x="6635115" y="1999804"/>
                  <a:pt x="6668770" y="1964244"/>
                  <a:pt x="6645275" y="1943288"/>
                </a:cubicBezTo>
                <a:close/>
                <a:moveTo>
                  <a:pt x="6624956" y="1749613"/>
                </a:moveTo>
                <a:cubicBezTo>
                  <a:pt x="6644006" y="1750249"/>
                  <a:pt x="6653531" y="1724213"/>
                  <a:pt x="6638290" y="1712149"/>
                </a:cubicBezTo>
                <a:cubicBezTo>
                  <a:pt x="6608445" y="1689288"/>
                  <a:pt x="6586856" y="1748344"/>
                  <a:pt x="6624956" y="1749613"/>
                </a:cubicBezTo>
                <a:close/>
                <a:moveTo>
                  <a:pt x="6641465" y="2103309"/>
                </a:moveTo>
                <a:cubicBezTo>
                  <a:pt x="6631940" y="2113469"/>
                  <a:pt x="6632575" y="2129344"/>
                  <a:pt x="6642735" y="2139504"/>
                </a:cubicBezTo>
                <a:lnTo>
                  <a:pt x="6642735" y="2139504"/>
                </a:lnTo>
                <a:cubicBezTo>
                  <a:pt x="6698615" y="2175699"/>
                  <a:pt x="6694806" y="2063304"/>
                  <a:pt x="6641465" y="2103309"/>
                </a:cubicBezTo>
                <a:close/>
                <a:moveTo>
                  <a:pt x="6713856" y="1774379"/>
                </a:moveTo>
                <a:cubicBezTo>
                  <a:pt x="6713220" y="1774379"/>
                  <a:pt x="6713220" y="1774379"/>
                  <a:pt x="6713856" y="1774379"/>
                </a:cubicBezTo>
                <a:cubicBezTo>
                  <a:pt x="6683375" y="1751519"/>
                  <a:pt x="6662420" y="1810574"/>
                  <a:pt x="6700520" y="1811844"/>
                </a:cubicBezTo>
                <a:cubicBezTo>
                  <a:pt x="6718935" y="1813113"/>
                  <a:pt x="6729095" y="1786444"/>
                  <a:pt x="6713856" y="1774379"/>
                </a:cubicBezTo>
                <a:close/>
                <a:moveTo>
                  <a:pt x="6565900" y="1868994"/>
                </a:moveTo>
                <a:cubicBezTo>
                  <a:pt x="6543675" y="1847404"/>
                  <a:pt x="6510020" y="1882963"/>
                  <a:pt x="6532881" y="1903919"/>
                </a:cubicBezTo>
                <a:cubicBezTo>
                  <a:pt x="6555106" y="1925509"/>
                  <a:pt x="6588760" y="1889949"/>
                  <a:pt x="6565900" y="1868994"/>
                </a:cubicBezTo>
                <a:close/>
                <a:moveTo>
                  <a:pt x="6536690" y="1495613"/>
                </a:moveTo>
                <a:cubicBezTo>
                  <a:pt x="6551295" y="1476563"/>
                  <a:pt x="6520815" y="1454338"/>
                  <a:pt x="6506845" y="1474024"/>
                </a:cubicBezTo>
                <a:cubicBezTo>
                  <a:pt x="6492875" y="1493074"/>
                  <a:pt x="6523356" y="1515299"/>
                  <a:pt x="6536690" y="1495613"/>
                </a:cubicBezTo>
                <a:close/>
                <a:moveTo>
                  <a:pt x="7098665" y="2070924"/>
                </a:moveTo>
                <a:cubicBezTo>
                  <a:pt x="7067550" y="2050604"/>
                  <a:pt x="7049770" y="2107754"/>
                  <a:pt x="7086600" y="2109024"/>
                </a:cubicBezTo>
                <a:cubicBezTo>
                  <a:pt x="7106285" y="2110294"/>
                  <a:pt x="7115175" y="2082354"/>
                  <a:pt x="7098665" y="2070924"/>
                </a:cubicBezTo>
                <a:close/>
                <a:moveTo>
                  <a:pt x="6558915" y="2023934"/>
                </a:moveTo>
                <a:cubicBezTo>
                  <a:pt x="6535420" y="2047429"/>
                  <a:pt x="6572885" y="2082988"/>
                  <a:pt x="6595745" y="2059494"/>
                </a:cubicBezTo>
                <a:cubicBezTo>
                  <a:pt x="6618606" y="2035999"/>
                  <a:pt x="6581775" y="1999804"/>
                  <a:pt x="6558915" y="2023934"/>
                </a:cubicBezTo>
                <a:close/>
                <a:moveTo>
                  <a:pt x="6602731" y="1520379"/>
                </a:moveTo>
                <a:cubicBezTo>
                  <a:pt x="6583681" y="1506409"/>
                  <a:pt x="6562090" y="1536888"/>
                  <a:pt x="6581140" y="1550224"/>
                </a:cubicBezTo>
                <a:cubicBezTo>
                  <a:pt x="6600190" y="1564829"/>
                  <a:pt x="6622415" y="1534349"/>
                  <a:pt x="6602731" y="1520379"/>
                </a:cubicBezTo>
                <a:close/>
                <a:moveTo>
                  <a:pt x="6513831" y="1943288"/>
                </a:moveTo>
                <a:cubicBezTo>
                  <a:pt x="6490970" y="1919794"/>
                  <a:pt x="6454140" y="1956624"/>
                  <a:pt x="6478270" y="1979484"/>
                </a:cubicBezTo>
                <a:lnTo>
                  <a:pt x="6478270" y="1979484"/>
                </a:lnTo>
                <a:cubicBezTo>
                  <a:pt x="6500495" y="2002979"/>
                  <a:pt x="6537325" y="1966149"/>
                  <a:pt x="6513831" y="1943288"/>
                </a:cubicBezTo>
                <a:cubicBezTo>
                  <a:pt x="6513831" y="1943288"/>
                  <a:pt x="6513831" y="1943288"/>
                  <a:pt x="6513831" y="1943288"/>
                </a:cubicBezTo>
                <a:close/>
                <a:moveTo>
                  <a:pt x="7021831" y="2399854"/>
                </a:moveTo>
                <a:cubicBezTo>
                  <a:pt x="6996431" y="2378899"/>
                  <a:pt x="6964045" y="2419539"/>
                  <a:pt x="6990715" y="2439859"/>
                </a:cubicBezTo>
                <a:cubicBezTo>
                  <a:pt x="7016115" y="2460814"/>
                  <a:pt x="7047865" y="2419539"/>
                  <a:pt x="7021831" y="2399854"/>
                </a:cubicBezTo>
                <a:close/>
                <a:moveTo>
                  <a:pt x="6972935" y="2227134"/>
                </a:moveTo>
                <a:cubicBezTo>
                  <a:pt x="6948806" y="2207449"/>
                  <a:pt x="6918325" y="2245549"/>
                  <a:pt x="6943090" y="2264599"/>
                </a:cubicBezTo>
                <a:cubicBezTo>
                  <a:pt x="6967220" y="2284284"/>
                  <a:pt x="6997700" y="2246184"/>
                  <a:pt x="6972935" y="2227134"/>
                </a:cubicBezTo>
                <a:close/>
                <a:moveTo>
                  <a:pt x="7058025" y="2293174"/>
                </a:moveTo>
                <a:cubicBezTo>
                  <a:pt x="7033260" y="2274124"/>
                  <a:pt x="7004050" y="2312859"/>
                  <a:pt x="7028815" y="2331274"/>
                </a:cubicBezTo>
                <a:cubicBezTo>
                  <a:pt x="7053581" y="2350959"/>
                  <a:pt x="7083425" y="2312224"/>
                  <a:pt x="7058025" y="2293174"/>
                </a:cubicBezTo>
                <a:close/>
                <a:moveTo>
                  <a:pt x="6897370" y="2331909"/>
                </a:moveTo>
                <a:cubicBezTo>
                  <a:pt x="6875781" y="2356674"/>
                  <a:pt x="6915785" y="2389694"/>
                  <a:pt x="6936740" y="2364294"/>
                </a:cubicBezTo>
                <a:cubicBezTo>
                  <a:pt x="6958331" y="2338894"/>
                  <a:pt x="6918325" y="2305874"/>
                  <a:pt x="6897370" y="2331909"/>
                </a:cubicBezTo>
                <a:close/>
                <a:moveTo>
                  <a:pt x="6811010" y="2257614"/>
                </a:moveTo>
                <a:cubicBezTo>
                  <a:pt x="6802120" y="2268409"/>
                  <a:pt x="6802756" y="2284284"/>
                  <a:pt x="6813550" y="2293174"/>
                </a:cubicBezTo>
                <a:lnTo>
                  <a:pt x="6813550" y="2293174"/>
                </a:lnTo>
                <a:cubicBezTo>
                  <a:pt x="6870700" y="2327464"/>
                  <a:pt x="6862445" y="2215069"/>
                  <a:pt x="6811010" y="2257614"/>
                </a:cubicBezTo>
                <a:close/>
                <a:moveTo>
                  <a:pt x="6806565" y="2088069"/>
                </a:moveTo>
                <a:cubicBezTo>
                  <a:pt x="6783070" y="2067113"/>
                  <a:pt x="6751320" y="2103944"/>
                  <a:pt x="6775450" y="2124264"/>
                </a:cubicBezTo>
                <a:cubicBezTo>
                  <a:pt x="6798310" y="2145219"/>
                  <a:pt x="6830695" y="2108389"/>
                  <a:pt x="6806565" y="2088069"/>
                </a:cubicBezTo>
                <a:close/>
                <a:moveTo>
                  <a:pt x="6725285" y="2181414"/>
                </a:moveTo>
                <a:cubicBezTo>
                  <a:pt x="6703060" y="2205544"/>
                  <a:pt x="6741160" y="2240469"/>
                  <a:pt x="6762750" y="2215704"/>
                </a:cubicBezTo>
                <a:cubicBezTo>
                  <a:pt x="6785610" y="2190939"/>
                  <a:pt x="6747510" y="2156649"/>
                  <a:pt x="6725285" y="2181414"/>
                </a:cubicBezTo>
                <a:close/>
                <a:moveTo>
                  <a:pt x="6889115" y="2158554"/>
                </a:moveTo>
                <a:cubicBezTo>
                  <a:pt x="6865620" y="2138234"/>
                  <a:pt x="6834506" y="2175699"/>
                  <a:pt x="6858635" y="2195384"/>
                </a:cubicBezTo>
                <a:cubicBezTo>
                  <a:pt x="6882131" y="2215704"/>
                  <a:pt x="6913881" y="2178239"/>
                  <a:pt x="6889115" y="2158554"/>
                </a:cubicBezTo>
                <a:close/>
                <a:moveTo>
                  <a:pt x="6410325" y="1752154"/>
                </a:moveTo>
                <a:cubicBezTo>
                  <a:pt x="6432550" y="1730563"/>
                  <a:pt x="6397625" y="1695638"/>
                  <a:pt x="6376035" y="1718499"/>
                </a:cubicBezTo>
                <a:cubicBezTo>
                  <a:pt x="6354445" y="1740724"/>
                  <a:pt x="6389370" y="1775013"/>
                  <a:pt x="6410325" y="1752154"/>
                </a:cubicBezTo>
                <a:close/>
                <a:moveTo>
                  <a:pt x="6161405" y="1613724"/>
                </a:moveTo>
                <a:cubicBezTo>
                  <a:pt x="6137275" y="1635949"/>
                  <a:pt x="6172200" y="1673413"/>
                  <a:pt x="6196330" y="1650554"/>
                </a:cubicBezTo>
                <a:cubicBezTo>
                  <a:pt x="6220460" y="1628963"/>
                  <a:pt x="6184900" y="1590863"/>
                  <a:pt x="6161405" y="1613724"/>
                </a:cubicBezTo>
                <a:close/>
                <a:moveTo>
                  <a:pt x="6133465" y="1348294"/>
                </a:moveTo>
                <a:cubicBezTo>
                  <a:pt x="6112510" y="1327974"/>
                  <a:pt x="6080760" y="1360994"/>
                  <a:pt x="6102350" y="1381313"/>
                </a:cubicBezTo>
                <a:cubicBezTo>
                  <a:pt x="6122670" y="1401634"/>
                  <a:pt x="6155055" y="1367979"/>
                  <a:pt x="6133465" y="1348294"/>
                </a:cubicBezTo>
                <a:close/>
                <a:moveTo>
                  <a:pt x="6180455" y="1521649"/>
                </a:moveTo>
                <a:cubicBezTo>
                  <a:pt x="6202680" y="1500059"/>
                  <a:pt x="6169025" y="1465134"/>
                  <a:pt x="6146800" y="1487359"/>
                </a:cubicBezTo>
                <a:cubicBezTo>
                  <a:pt x="6124575" y="1508949"/>
                  <a:pt x="6158230" y="1543874"/>
                  <a:pt x="6180455" y="1521649"/>
                </a:cubicBezTo>
                <a:close/>
                <a:moveTo>
                  <a:pt x="6176010" y="1420049"/>
                </a:moveTo>
                <a:cubicBezTo>
                  <a:pt x="6167755" y="1428938"/>
                  <a:pt x="6167755" y="1443544"/>
                  <a:pt x="6176645" y="1451799"/>
                </a:cubicBezTo>
                <a:lnTo>
                  <a:pt x="6176645" y="1451799"/>
                </a:lnTo>
                <a:cubicBezTo>
                  <a:pt x="6226175" y="1484819"/>
                  <a:pt x="6223635" y="1385124"/>
                  <a:pt x="6176010" y="1420049"/>
                </a:cubicBezTo>
                <a:close/>
                <a:moveTo>
                  <a:pt x="6058535" y="1277174"/>
                </a:moveTo>
                <a:cubicBezTo>
                  <a:pt x="6037580" y="1256854"/>
                  <a:pt x="6005830" y="1289874"/>
                  <a:pt x="6027420" y="1310194"/>
                </a:cubicBezTo>
                <a:cubicBezTo>
                  <a:pt x="6048375" y="1330513"/>
                  <a:pt x="6080125" y="1297494"/>
                  <a:pt x="6058535" y="1277174"/>
                </a:cubicBezTo>
                <a:close/>
                <a:moveTo>
                  <a:pt x="6006465" y="1445449"/>
                </a:moveTo>
                <a:cubicBezTo>
                  <a:pt x="5981700" y="1467038"/>
                  <a:pt x="6016625" y="1505774"/>
                  <a:pt x="6040755" y="1482913"/>
                </a:cubicBezTo>
                <a:cubicBezTo>
                  <a:pt x="6065520" y="1461324"/>
                  <a:pt x="6030595" y="1422588"/>
                  <a:pt x="6006465" y="1445449"/>
                </a:cubicBezTo>
                <a:close/>
                <a:moveTo>
                  <a:pt x="6256655" y="1599119"/>
                </a:moveTo>
                <a:cubicBezTo>
                  <a:pt x="6278880" y="1577529"/>
                  <a:pt x="6244590" y="1542604"/>
                  <a:pt x="6223000" y="1564829"/>
                </a:cubicBezTo>
                <a:cubicBezTo>
                  <a:pt x="6200775" y="1586419"/>
                  <a:pt x="6235065" y="1621344"/>
                  <a:pt x="6256655" y="1599119"/>
                </a:cubicBezTo>
                <a:close/>
                <a:moveTo>
                  <a:pt x="6104255" y="1444179"/>
                </a:moveTo>
                <a:cubicBezTo>
                  <a:pt x="6127115" y="1422588"/>
                  <a:pt x="6092825" y="1387663"/>
                  <a:pt x="6070600" y="1409888"/>
                </a:cubicBezTo>
                <a:cubicBezTo>
                  <a:pt x="6048375" y="1430844"/>
                  <a:pt x="6082665" y="1465769"/>
                  <a:pt x="6104255" y="1444179"/>
                </a:cubicBezTo>
                <a:close/>
                <a:moveTo>
                  <a:pt x="6083935" y="1529904"/>
                </a:moveTo>
                <a:cubicBezTo>
                  <a:pt x="6059170" y="1552129"/>
                  <a:pt x="6094730" y="1590229"/>
                  <a:pt x="6118225" y="1567369"/>
                </a:cubicBezTo>
                <a:cubicBezTo>
                  <a:pt x="6142990" y="1545144"/>
                  <a:pt x="6107430" y="1507044"/>
                  <a:pt x="6083935" y="1529904"/>
                </a:cubicBezTo>
                <a:close/>
                <a:moveTo>
                  <a:pt x="6488430" y="1828354"/>
                </a:moveTo>
                <a:cubicBezTo>
                  <a:pt x="6510656" y="1806129"/>
                  <a:pt x="6475095" y="1772474"/>
                  <a:pt x="6454140" y="1794699"/>
                </a:cubicBezTo>
                <a:cubicBezTo>
                  <a:pt x="6431915" y="1816924"/>
                  <a:pt x="6466840" y="1850579"/>
                  <a:pt x="6488430" y="1828354"/>
                </a:cubicBezTo>
                <a:close/>
                <a:moveTo>
                  <a:pt x="6028055" y="1366074"/>
                </a:moveTo>
                <a:cubicBezTo>
                  <a:pt x="6050915" y="1344484"/>
                  <a:pt x="6016625" y="1309559"/>
                  <a:pt x="5994400" y="1331784"/>
                </a:cubicBezTo>
                <a:cubicBezTo>
                  <a:pt x="5972175" y="1353374"/>
                  <a:pt x="6006465" y="1388299"/>
                  <a:pt x="6028055" y="1366074"/>
                </a:cubicBezTo>
                <a:close/>
                <a:moveTo>
                  <a:pt x="6358890" y="1399094"/>
                </a:moveTo>
                <a:cubicBezTo>
                  <a:pt x="6339205" y="1382584"/>
                  <a:pt x="6313805" y="1414334"/>
                  <a:pt x="6334125" y="1430209"/>
                </a:cubicBezTo>
                <a:cubicBezTo>
                  <a:pt x="6353810" y="1446719"/>
                  <a:pt x="6379210" y="1414969"/>
                  <a:pt x="6358890" y="1399094"/>
                </a:cubicBezTo>
                <a:close/>
                <a:moveTo>
                  <a:pt x="6325870" y="1561654"/>
                </a:moveTo>
                <a:cubicBezTo>
                  <a:pt x="6305550" y="1582609"/>
                  <a:pt x="6339205" y="1614359"/>
                  <a:pt x="6358890" y="1592769"/>
                </a:cubicBezTo>
                <a:cubicBezTo>
                  <a:pt x="6379210" y="1571813"/>
                  <a:pt x="6345555" y="1540063"/>
                  <a:pt x="6325870" y="1561654"/>
                </a:cubicBezTo>
                <a:close/>
                <a:moveTo>
                  <a:pt x="6397625" y="1862009"/>
                </a:moveTo>
                <a:cubicBezTo>
                  <a:pt x="6373495" y="1884869"/>
                  <a:pt x="6410325" y="1921699"/>
                  <a:pt x="6433185" y="1898204"/>
                </a:cubicBezTo>
                <a:cubicBezTo>
                  <a:pt x="6456680" y="1875979"/>
                  <a:pt x="6420485" y="1839149"/>
                  <a:pt x="6397625" y="1862009"/>
                </a:cubicBezTo>
                <a:close/>
                <a:moveTo>
                  <a:pt x="6250940" y="1491169"/>
                </a:moveTo>
                <a:cubicBezTo>
                  <a:pt x="6230620" y="1512124"/>
                  <a:pt x="6263640" y="1543874"/>
                  <a:pt x="6283960" y="1522284"/>
                </a:cubicBezTo>
                <a:cubicBezTo>
                  <a:pt x="6304280" y="1501329"/>
                  <a:pt x="6270625" y="1469579"/>
                  <a:pt x="6250940" y="1491169"/>
                </a:cubicBezTo>
                <a:close/>
                <a:moveTo>
                  <a:pt x="6239510" y="1697544"/>
                </a:moveTo>
                <a:cubicBezTo>
                  <a:pt x="6215380" y="1719769"/>
                  <a:pt x="6250940" y="1757234"/>
                  <a:pt x="6274435" y="1734374"/>
                </a:cubicBezTo>
                <a:cubicBezTo>
                  <a:pt x="6298565" y="1712149"/>
                  <a:pt x="6263005" y="1674049"/>
                  <a:pt x="6239510" y="1697544"/>
                </a:cubicBezTo>
                <a:close/>
                <a:moveTo>
                  <a:pt x="6333490" y="1675954"/>
                </a:moveTo>
                <a:cubicBezTo>
                  <a:pt x="6355715" y="1654363"/>
                  <a:pt x="6321425" y="1619438"/>
                  <a:pt x="6299835" y="1642299"/>
                </a:cubicBezTo>
                <a:cubicBezTo>
                  <a:pt x="6276975" y="1663888"/>
                  <a:pt x="6311900" y="1698179"/>
                  <a:pt x="6333490" y="1675954"/>
                </a:cubicBezTo>
                <a:close/>
                <a:moveTo>
                  <a:pt x="6318250" y="1780094"/>
                </a:moveTo>
                <a:cubicBezTo>
                  <a:pt x="6294120" y="1802319"/>
                  <a:pt x="6330315" y="1839784"/>
                  <a:pt x="6353175" y="1816924"/>
                </a:cubicBezTo>
                <a:cubicBezTo>
                  <a:pt x="6377305" y="1794063"/>
                  <a:pt x="6341745" y="1756599"/>
                  <a:pt x="6318250" y="1780094"/>
                </a:cubicBezTo>
                <a:close/>
                <a:moveTo>
                  <a:pt x="11677015" y="763459"/>
                </a:moveTo>
                <a:cubicBezTo>
                  <a:pt x="11657330" y="767269"/>
                  <a:pt x="11664315" y="798384"/>
                  <a:pt x="11683365" y="793938"/>
                </a:cubicBezTo>
                <a:cubicBezTo>
                  <a:pt x="11703050" y="790129"/>
                  <a:pt x="11696700" y="759013"/>
                  <a:pt x="11677015" y="763459"/>
                </a:cubicBezTo>
                <a:close/>
                <a:moveTo>
                  <a:pt x="11456670" y="669479"/>
                </a:moveTo>
                <a:cubicBezTo>
                  <a:pt x="11448415" y="647254"/>
                  <a:pt x="11413490" y="660588"/>
                  <a:pt x="11422380" y="682813"/>
                </a:cubicBezTo>
                <a:cubicBezTo>
                  <a:pt x="11431270" y="705038"/>
                  <a:pt x="11466195" y="691069"/>
                  <a:pt x="11456670" y="669479"/>
                </a:cubicBezTo>
                <a:close/>
                <a:moveTo>
                  <a:pt x="11421110" y="1004124"/>
                </a:moveTo>
                <a:cubicBezTo>
                  <a:pt x="11405235" y="1007934"/>
                  <a:pt x="11411585" y="1033334"/>
                  <a:pt x="11427460" y="1028888"/>
                </a:cubicBezTo>
                <a:cubicBezTo>
                  <a:pt x="11443335" y="1025079"/>
                  <a:pt x="11436985" y="1000313"/>
                  <a:pt x="11421110" y="1004124"/>
                </a:cubicBezTo>
                <a:close/>
                <a:moveTo>
                  <a:pt x="11315700" y="867599"/>
                </a:moveTo>
                <a:cubicBezTo>
                  <a:pt x="11296650" y="873949"/>
                  <a:pt x="11307445" y="903794"/>
                  <a:pt x="11326495" y="896809"/>
                </a:cubicBezTo>
                <a:cubicBezTo>
                  <a:pt x="11345545" y="889824"/>
                  <a:pt x="11334750" y="859979"/>
                  <a:pt x="11315700" y="867599"/>
                </a:cubicBezTo>
                <a:close/>
                <a:moveTo>
                  <a:pt x="11386820" y="842834"/>
                </a:moveTo>
                <a:cubicBezTo>
                  <a:pt x="11367770" y="848549"/>
                  <a:pt x="11377930" y="879029"/>
                  <a:pt x="11396345" y="872044"/>
                </a:cubicBezTo>
                <a:cubicBezTo>
                  <a:pt x="11416030" y="866329"/>
                  <a:pt x="11405870" y="835849"/>
                  <a:pt x="11386820" y="842834"/>
                </a:cubicBezTo>
                <a:close/>
                <a:moveTo>
                  <a:pt x="11367135" y="725359"/>
                </a:moveTo>
                <a:cubicBezTo>
                  <a:pt x="11389360" y="716469"/>
                  <a:pt x="11374755" y="682179"/>
                  <a:pt x="11352530" y="691704"/>
                </a:cubicBezTo>
                <a:cubicBezTo>
                  <a:pt x="11330940" y="700594"/>
                  <a:pt x="11346180" y="734884"/>
                  <a:pt x="11367135" y="725359"/>
                </a:cubicBezTo>
                <a:close/>
                <a:moveTo>
                  <a:pt x="1247775" y="2085529"/>
                </a:moveTo>
                <a:cubicBezTo>
                  <a:pt x="1226185" y="2088704"/>
                  <a:pt x="1231900" y="2122994"/>
                  <a:pt x="1253490" y="2118549"/>
                </a:cubicBezTo>
                <a:cubicBezTo>
                  <a:pt x="1275080" y="2115374"/>
                  <a:pt x="1269365" y="2081719"/>
                  <a:pt x="1247775" y="2085529"/>
                </a:cubicBezTo>
                <a:close/>
                <a:moveTo>
                  <a:pt x="11317605" y="786319"/>
                </a:moveTo>
                <a:cubicBezTo>
                  <a:pt x="11297285" y="793938"/>
                  <a:pt x="11309985" y="826324"/>
                  <a:pt x="11330305" y="817434"/>
                </a:cubicBezTo>
                <a:cubicBezTo>
                  <a:pt x="11350625" y="809813"/>
                  <a:pt x="11337925" y="778063"/>
                  <a:pt x="11317605" y="786319"/>
                </a:cubicBezTo>
                <a:close/>
                <a:moveTo>
                  <a:pt x="11359515" y="1020634"/>
                </a:moveTo>
                <a:cubicBezTo>
                  <a:pt x="11343640" y="1024444"/>
                  <a:pt x="11350625" y="1049844"/>
                  <a:pt x="11366500" y="1045399"/>
                </a:cubicBezTo>
                <a:cubicBezTo>
                  <a:pt x="11381740" y="1040954"/>
                  <a:pt x="11375390" y="1016188"/>
                  <a:pt x="11359515" y="1020634"/>
                </a:cubicBezTo>
                <a:close/>
                <a:moveTo>
                  <a:pt x="11383645" y="927924"/>
                </a:moveTo>
                <a:cubicBezTo>
                  <a:pt x="11365865" y="933004"/>
                  <a:pt x="11374120" y="960309"/>
                  <a:pt x="11391900" y="955229"/>
                </a:cubicBezTo>
                <a:cubicBezTo>
                  <a:pt x="11409045" y="950149"/>
                  <a:pt x="11400790" y="922844"/>
                  <a:pt x="11383645" y="927924"/>
                </a:cubicBezTo>
                <a:close/>
                <a:moveTo>
                  <a:pt x="11450320" y="908874"/>
                </a:moveTo>
                <a:cubicBezTo>
                  <a:pt x="11432540" y="913319"/>
                  <a:pt x="11440160" y="941259"/>
                  <a:pt x="11457940" y="936179"/>
                </a:cubicBezTo>
                <a:cubicBezTo>
                  <a:pt x="11475085" y="931734"/>
                  <a:pt x="11468100" y="903794"/>
                  <a:pt x="11450320" y="908874"/>
                </a:cubicBezTo>
                <a:close/>
                <a:moveTo>
                  <a:pt x="11546840" y="706309"/>
                </a:moveTo>
                <a:cubicBezTo>
                  <a:pt x="11525885" y="712659"/>
                  <a:pt x="11536045" y="745679"/>
                  <a:pt x="11556365" y="738694"/>
                </a:cubicBezTo>
                <a:cubicBezTo>
                  <a:pt x="11577320" y="732344"/>
                  <a:pt x="11567795" y="699324"/>
                  <a:pt x="11546840" y="706309"/>
                </a:cubicBezTo>
                <a:close/>
                <a:moveTo>
                  <a:pt x="11602085" y="886649"/>
                </a:moveTo>
                <a:cubicBezTo>
                  <a:pt x="11587480" y="852359"/>
                  <a:pt x="11554460" y="905699"/>
                  <a:pt x="11591290" y="903794"/>
                </a:cubicBezTo>
                <a:lnTo>
                  <a:pt x="11591290" y="903794"/>
                </a:lnTo>
                <a:cubicBezTo>
                  <a:pt x="11598910" y="901254"/>
                  <a:pt x="11603355" y="894269"/>
                  <a:pt x="11602085" y="886649"/>
                </a:cubicBezTo>
                <a:close/>
                <a:moveTo>
                  <a:pt x="11469370" y="475169"/>
                </a:moveTo>
                <a:cubicBezTo>
                  <a:pt x="11443970" y="485963"/>
                  <a:pt x="11462385" y="525334"/>
                  <a:pt x="11486515" y="513904"/>
                </a:cubicBezTo>
                <a:cubicBezTo>
                  <a:pt x="11511915" y="502474"/>
                  <a:pt x="11494135" y="463104"/>
                  <a:pt x="11469370" y="475169"/>
                </a:cubicBezTo>
                <a:close/>
                <a:moveTo>
                  <a:pt x="11603990" y="779969"/>
                </a:moveTo>
                <a:cubicBezTo>
                  <a:pt x="11584305" y="784413"/>
                  <a:pt x="11591925" y="815529"/>
                  <a:pt x="11611610" y="809813"/>
                </a:cubicBezTo>
                <a:cubicBezTo>
                  <a:pt x="11630660" y="806004"/>
                  <a:pt x="11623040" y="775524"/>
                  <a:pt x="11603990" y="779969"/>
                </a:cubicBezTo>
                <a:close/>
                <a:moveTo>
                  <a:pt x="11607800" y="963484"/>
                </a:moveTo>
                <a:cubicBezTo>
                  <a:pt x="11591290" y="966024"/>
                  <a:pt x="11596370" y="991424"/>
                  <a:pt x="11612880" y="988249"/>
                </a:cubicBezTo>
                <a:cubicBezTo>
                  <a:pt x="11628755" y="985074"/>
                  <a:pt x="11623675" y="959674"/>
                  <a:pt x="11607800" y="963484"/>
                </a:cubicBezTo>
                <a:close/>
                <a:moveTo>
                  <a:pt x="11526520" y="663129"/>
                </a:moveTo>
                <a:lnTo>
                  <a:pt x="11526520" y="663129"/>
                </a:lnTo>
                <a:cubicBezTo>
                  <a:pt x="11579225" y="608519"/>
                  <a:pt x="11452860" y="630109"/>
                  <a:pt x="11520170" y="664399"/>
                </a:cubicBezTo>
                <a:cubicBezTo>
                  <a:pt x="11522710" y="664399"/>
                  <a:pt x="11524615" y="663763"/>
                  <a:pt x="11526520" y="663129"/>
                </a:cubicBezTo>
                <a:close/>
                <a:moveTo>
                  <a:pt x="11520170" y="818069"/>
                </a:moveTo>
                <a:cubicBezTo>
                  <a:pt x="11525250" y="837754"/>
                  <a:pt x="11555730" y="828863"/>
                  <a:pt x="11550015" y="809813"/>
                </a:cubicBezTo>
                <a:cubicBezTo>
                  <a:pt x="11544935" y="790763"/>
                  <a:pt x="11514455" y="799019"/>
                  <a:pt x="11520170" y="818069"/>
                </a:cubicBezTo>
                <a:close/>
                <a:moveTo>
                  <a:pt x="11517630" y="891729"/>
                </a:moveTo>
                <a:cubicBezTo>
                  <a:pt x="11499850" y="895538"/>
                  <a:pt x="11506835" y="924113"/>
                  <a:pt x="11524615" y="919034"/>
                </a:cubicBezTo>
                <a:cubicBezTo>
                  <a:pt x="11542395" y="914588"/>
                  <a:pt x="11535410" y="886649"/>
                  <a:pt x="11517630" y="891729"/>
                </a:cubicBezTo>
                <a:close/>
                <a:moveTo>
                  <a:pt x="11544935" y="975549"/>
                </a:moveTo>
                <a:cubicBezTo>
                  <a:pt x="11528425" y="978724"/>
                  <a:pt x="11534140" y="1004124"/>
                  <a:pt x="11550015" y="1000313"/>
                </a:cubicBezTo>
                <a:cubicBezTo>
                  <a:pt x="11566525" y="997138"/>
                  <a:pt x="11561445" y="972374"/>
                  <a:pt x="11544935" y="975549"/>
                </a:cubicBezTo>
                <a:close/>
                <a:moveTo>
                  <a:pt x="11185525" y="993329"/>
                </a:moveTo>
                <a:cubicBezTo>
                  <a:pt x="11168380" y="999044"/>
                  <a:pt x="11178540" y="1026349"/>
                  <a:pt x="11195050" y="1019999"/>
                </a:cubicBezTo>
                <a:cubicBezTo>
                  <a:pt x="11212830" y="1014284"/>
                  <a:pt x="11202670" y="986979"/>
                  <a:pt x="11185525" y="993329"/>
                </a:cubicBezTo>
                <a:close/>
                <a:moveTo>
                  <a:pt x="11316970" y="948244"/>
                </a:moveTo>
                <a:cubicBezTo>
                  <a:pt x="11299190" y="953324"/>
                  <a:pt x="11308080" y="981263"/>
                  <a:pt x="11325225" y="974913"/>
                </a:cubicBezTo>
                <a:lnTo>
                  <a:pt x="11325225" y="974913"/>
                </a:lnTo>
                <a:cubicBezTo>
                  <a:pt x="11343005" y="969834"/>
                  <a:pt x="11334750" y="942529"/>
                  <a:pt x="11316970" y="948244"/>
                </a:cubicBezTo>
                <a:close/>
                <a:moveTo>
                  <a:pt x="11123295" y="733613"/>
                </a:moveTo>
                <a:cubicBezTo>
                  <a:pt x="11123295" y="733613"/>
                  <a:pt x="11123295" y="733613"/>
                  <a:pt x="11123295" y="733613"/>
                </a:cubicBezTo>
                <a:cubicBezTo>
                  <a:pt x="11101070" y="746313"/>
                  <a:pt x="11121390" y="780604"/>
                  <a:pt x="11143615" y="767269"/>
                </a:cubicBezTo>
                <a:cubicBezTo>
                  <a:pt x="11165840" y="754569"/>
                  <a:pt x="11145520" y="720279"/>
                  <a:pt x="11123295" y="733613"/>
                </a:cubicBezTo>
                <a:close/>
                <a:moveTo>
                  <a:pt x="11183620" y="881569"/>
                </a:moveTo>
                <a:cubicBezTo>
                  <a:pt x="11203940" y="872679"/>
                  <a:pt x="11188700" y="841563"/>
                  <a:pt x="11169015" y="851088"/>
                </a:cubicBezTo>
                <a:cubicBezTo>
                  <a:pt x="11149330" y="859979"/>
                  <a:pt x="11163935" y="891094"/>
                  <a:pt x="11183620" y="881569"/>
                </a:cubicBezTo>
                <a:close/>
                <a:moveTo>
                  <a:pt x="11119485" y="805369"/>
                </a:moveTo>
                <a:cubicBezTo>
                  <a:pt x="11098530" y="816163"/>
                  <a:pt x="11116310" y="849184"/>
                  <a:pt x="11137265" y="837754"/>
                </a:cubicBezTo>
                <a:cubicBezTo>
                  <a:pt x="11157585" y="826324"/>
                  <a:pt x="11139805" y="793304"/>
                  <a:pt x="11119485" y="805369"/>
                </a:cubicBezTo>
                <a:close/>
                <a:moveTo>
                  <a:pt x="11120755" y="1018094"/>
                </a:moveTo>
                <a:cubicBezTo>
                  <a:pt x="11103610" y="1024444"/>
                  <a:pt x="11114405" y="1051113"/>
                  <a:pt x="11130915" y="1044129"/>
                </a:cubicBezTo>
                <a:cubicBezTo>
                  <a:pt x="11148695" y="1038413"/>
                  <a:pt x="11137900" y="1011109"/>
                  <a:pt x="11120755" y="1018094"/>
                </a:cubicBezTo>
                <a:close/>
                <a:moveTo>
                  <a:pt x="11111865" y="916494"/>
                </a:moveTo>
                <a:cubicBezTo>
                  <a:pt x="11131550" y="906969"/>
                  <a:pt x="11116310" y="875854"/>
                  <a:pt x="11096625" y="886013"/>
                </a:cubicBezTo>
                <a:cubicBezTo>
                  <a:pt x="11076305" y="896174"/>
                  <a:pt x="11092180" y="926654"/>
                  <a:pt x="11111865" y="916494"/>
                </a:cubicBezTo>
                <a:close/>
                <a:moveTo>
                  <a:pt x="11119485" y="979994"/>
                </a:moveTo>
                <a:cubicBezTo>
                  <a:pt x="11137900" y="972374"/>
                  <a:pt x="11125200" y="943163"/>
                  <a:pt x="11106785" y="951419"/>
                </a:cubicBezTo>
                <a:cubicBezTo>
                  <a:pt x="11088370" y="959674"/>
                  <a:pt x="11101070" y="988249"/>
                  <a:pt x="11119485" y="979994"/>
                </a:cubicBezTo>
                <a:close/>
                <a:moveTo>
                  <a:pt x="11181715" y="951419"/>
                </a:moveTo>
                <a:cubicBezTo>
                  <a:pt x="11205845" y="950784"/>
                  <a:pt x="11198225" y="912684"/>
                  <a:pt x="11176000" y="921574"/>
                </a:cubicBezTo>
                <a:cubicBezTo>
                  <a:pt x="11160125" y="927924"/>
                  <a:pt x="11165840" y="952054"/>
                  <a:pt x="11181715" y="951419"/>
                </a:cubicBezTo>
                <a:close/>
                <a:moveTo>
                  <a:pt x="9165590" y="2393504"/>
                </a:moveTo>
                <a:cubicBezTo>
                  <a:pt x="9140825" y="2405569"/>
                  <a:pt x="9160510" y="2444304"/>
                  <a:pt x="9184640" y="2430969"/>
                </a:cubicBezTo>
                <a:cubicBezTo>
                  <a:pt x="9209405" y="2418904"/>
                  <a:pt x="9189720" y="2380804"/>
                  <a:pt x="9165590" y="2393504"/>
                </a:cubicBezTo>
                <a:close/>
                <a:moveTo>
                  <a:pt x="11125835" y="663129"/>
                </a:moveTo>
                <a:cubicBezTo>
                  <a:pt x="11102340" y="677734"/>
                  <a:pt x="11125835" y="713929"/>
                  <a:pt x="11148695" y="698688"/>
                </a:cubicBezTo>
                <a:cubicBezTo>
                  <a:pt x="11172190" y="684084"/>
                  <a:pt x="11148695" y="647888"/>
                  <a:pt x="11125835" y="663129"/>
                </a:cubicBezTo>
                <a:close/>
                <a:moveTo>
                  <a:pt x="11250930" y="970469"/>
                </a:moveTo>
                <a:cubicBezTo>
                  <a:pt x="11233785" y="976184"/>
                  <a:pt x="11243310" y="1003488"/>
                  <a:pt x="11260455" y="997138"/>
                </a:cubicBezTo>
                <a:cubicBezTo>
                  <a:pt x="11277600" y="991424"/>
                  <a:pt x="11268710" y="964119"/>
                  <a:pt x="11250930" y="970469"/>
                </a:cubicBezTo>
                <a:close/>
                <a:moveTo>
                  <a:pt x="11176635" y="1075244"/>
                </a:moveTo>
                <a:cubicBezTo>
                  <a:pt x="11160760" y="1080324"/>
                  <a:pt x="11169015" y="1104454"/>
                  <a:pt x="11184890" y="1099374"/>
                </a:cubicBezTo>
                <a:cubicBezTo>
                  <a:pt x="11200130" y="1094929"/>
                  <a:pt x="11191875" y="1070163"/>
                  <a:pt x="11176635" y="1075244"/>
                </a:cubicBezTo>
                <a:close/>
                <a:moveTo>
                  <a:pt x="11236960" y="1056194"/>
                </a:moveTo>
                <a:cubicBezTo>
                  <a:pt x="11221085" y="1060638"/>
                  <a:pt x="11228705" y="1085404"/>
                  <a:pt x="11244580" y="1080324"/>
                </a:cubicBezTo>
                <a:cubicBezTo>
                  <a:pt x="11260455" y="1075879"/>
                  <a:pt x="11252835" y="1051113"/>
                  <a:pt x="11236960" y="1056194"/>
                </a:cubicBezTo>
                <a:close/>
                <a:moveTo>
                  <a:pt x="11297920" y="1037779"/>
                </a:moveTo>
                <a:cubicBezTo>
                  <a:pt x="11282045" y="1042224"/>
                  <a:pt x="11289665" y="1066988"/>
                  <a:pt x="11304905" y="1061909"/>
                </a:cubicBezTo>
                <a:cubicBezTo>
                  <a:pt x="11320780" y="1057463"/>
                  <a:pt x="11313795" y="1032699"/>
                  <a:pt x="11297920" y="1037779"/>
                </a:cubicBezTo>
                <a:close/>
                <a:moveTo>
                  <a:pt x="11298555" y="736154"/>
                </a:moveTo>
                <a:cubicBezTo>
                  <a:pt x="11289030" y="714563"/>
                  <a:pt x="11254740" y="730438"/>
                  <a:pt x="11265535" y="751394"/>
                </a:cubicBezTo>
                <a:cubicBezTo>
                  <a:pt x="11275060" y="772984"/>
                  <a:pt x="11308715" y="757109"/>
                  <a:pt x="11298555" y="736154"/>
                </a:cubicBezTo>
                <a:close/>
                <a:moveTo>
                  <a:pt x="11645265" y="696149"/>
                </a:moveTo>
                <a:cubicBezTo>
                  <a:pt x="11640185" y="674559"/>
                  <a:pt x="11606530" y="683449"/>
                  <a:pt x="11612245" y="705038"/>
                </a:cubicBezTo>
                <a:cubicBezTo>
                  <a:pt x="11617960" y="725994"/>
                  <a:pt x="11650980" y="717104"/>
                  <a:pt x="11645265" y="696149"/>
                </a:cubicBezTo>
                <a:close/>
                <a:moveTo>
                  <a:pt x="11230610" y="695513"/>
                </a:moveTo>
                <a:cubicBezTo>
                  <a:pt x="11218545" y="672654"/>
                  <a:pt x="11182985" y="692338"/>
                  <a:pt x="11196320" y="714563"/>
                </a:cubicBezTo>
                <a:cubicBezTo>
                  <a:pt x="11207750" y="737424"/>
                  <a:pt x="11243310" y="717738"/>
                  <a:pt x="11230610" y="695513"/>
                </a:cubicBezTo>
                <a:close/>
                <a:moveTo>
                  <a:pt x="11195685" y="764729"/>
                </a:moveTo>
                <a:cubicBezTo>
                  <a:pt x="11174095" y="775524"/>
                  <a:pt x="11191240" y="808544"/>
                  <a:pt x="11212195" y="797749"/>
                </a:cubicBezTo>
                <a:cubicBezTo>
                  <a:pt x="11233785" y="787588"/>
                  <a:pt x="11217275" y="753934"/>
                  <a:pt x="11195685" y="764729"/>
                </a:cubicBezTo>
                <a:close/>
                <a:moveTo>
                  <a:pt x="11723370" y="677099"/>
                </a:moveTo>
                <a:cubicBezTo>
                  <a:pt x="11718925" y="655509"/>
                  <a:pt x="11685270" y="663129"/>
                  <a:pt x="11690350" y="684719"/>
                </a:cubicBezTo>
                <a:cubicBezTo>
                  <a:pt x="11695430" y="706309"/>
                  <a:pt x="11728450" y="698054"/>
                  <a:pt x="11723370" y="677099"/>
                </a:cubicBezTo>
                <a:close/>
                <a:moveTo>
                  <a:pt x="12066270" y="809179"/>
                </a:moveTo>
                <a:cubicBezTo>
                  <a:pt x="12047855" y="809813"/>
                  <a:pt x="12049760" y="839024"/>
                  <a:pt x="12067540" y="837119"/>
                </a:cubicBezTo>
                <a:lnTo>
                  <a:pt x="12067540" y="837119"/>
                </a:lnTo>
                <a:cubicBezTo>
                  <a:pt x="12085955" y="836484"/>
                  <a:pt x="12084685" y="807909"/>
                  <a:pt x="12066270" y="809179"/>
                </a:cubicBezTo>
                <a:close/>
                <a:moveTo>
                  <a:pt x="12103100" y="605979"/>
                </a:moveTo>
                <a:cubicBezTo>
                  <a:pt x="12080875" y="606613"/>
                  <a:pt x="12083415" y="641538"/>
                  <a:pt x="12105005" y="639634"/>
                </a:cubicBezTo>
                <a:cubicBezTo>
                  <a:pt x="12127230" y="638999"/>
                  <a:pt x="12125325" y="604074"/>
                  <a:pt x="12103100" y="605979"/>
                </a:cubicBezTo>
                <a:close/>
                <a:moveTo>
                  <a:pt x="12113895" y="907604"/>
                </a:moveTo>
                <a:cubicBezTo>
                  <a:pt x="12097385" y="907604"/>
                  <a:pt x="12098020" y="933638"/>
                  <a:pt x="12114530" y="933004"/>
                </a:cubicBezTo>
                <a:cubicBezTo>
                  <a:pt x="12131040" y="933004"/>
                  <a:pt x="12130405" y="906969"/>
                  <a:pt x="12113895" y="907604"/>
                </a:cubicBezTo>
                <a:close/>
                <a:moveTo>
                  <a:pt x="12050395" y="910144"/>
                </a:moveTo>
                <a:cubicBezTo>
                  <a:pt x="12033885" y="910779"/>
                  <a:pt x="12035155" y="936813"/>
                  <a:pt x="12051665" y="935544"/>
                </a:cubicBezTo>
                <a:cubicBezTo>
                  <a:pt x="12068175" y="934909"/>
                  <a:pt x="12066905" y="909509"/>
                  <a:pt x="12050395" y="910144"/>
                </a:cubicBezTo>
                <a:close/>
                <a:moveTo>
                  <a:pt x="12049760" y="741234"/>
                </a:moveTo>
                <a:cubicBezTo>
                  <a:pt x="12070715" y="741234"/>
                  <a:pt x="12069445" y="708213"/>
                  <a:pt x="12048490" y="710119"/>
                </a:cubicBezTo>
                <a:cubicBezTo>
                  <a:pt x="12029440" y="710754"/>
                  <a:pt x="12030710" y="741234"/>
                  <a:pt x="12049760" y="741234"/>
                </a:cubicBezTo>
                <a:close/>
                <a:moveTo>
                  <a:pt x="12135485" y="806004"/>
                </a:moveTo>
                <a:cubicBezTo>
                  <a:pt x="12117070" y="806638"/>
                  <a:pt x="12118340" y="835213"/>
                  <a:pt x="12136120" y="833944"/>
                </a:cubicBezTo>
                <a:cubicBezTo>
                  <a:pt x="12154535" y="833944"/>
                  <a:pt x="12153900" y="805369"/>
                  <a:pt x="12135485" y="806004"/>
                </a:cubicBezTo>
                <a:close/>
                <a:moveTo>
                  <a:pt x="11997055" y="813624"/>
                </a:moveTo>
                <a:cubicBezTo>
                  <a:pt x="11978640" y="814894"/>
                  <a:pt x="11981180" y="843469"/>
                  <a:pt x="11999595" y="841563"/>
                </a:cubicBezTo>
                <a:cubicBezTo>
                  <a:pt x="12017375" y="840929"/>
                  <a:pt x="12014835" y="812354"/>
                  <a:pt x="11997055" y="813624"/>
                </a:cubicBezTo>
                <a:close/>
                <a:moveTo>
                  <a:pt x="11669395" y="872679"/>
                </a:moveTo>
                <a:cubicBezTo>
                  <a:pt x="11666220" y="854899"/>
                  <a:pt x="11637645" y="859979"/>
                  <a:pt x="11641455" y="878394"/>
                </a:cubicBezTo>
                <a:cubicBezTo>
                  <a:pt x="11645265" y="896174"/>
                  <a:pt x="11673205" y="890459"/>
                  <a:pt x="11669395" y="872679"/>
                </a:cubicBezTo>
                <a:close/>
                <a:moveTo>
                  <a:pt x="12040870" y="627569"/>
                </a:moveTo>
                <a:cubicBezTo>
                  <a:pt x="12038965" y="605979"/>
                  <a:pt x="12004675" y="609154"/>
                  <a:pt x="12007215" y="630744"/>
                </a:cubicBezTo>
                <a:cubicBezTo>
                  <a:pt x="12009120" y="652969"/>
                  <a:pt x="12043410" y="649159"/>
                  <a:pt x="12040870" y="627569"/>
                </a:cubicBezTo>
                <a:close/>
                <a:moveTo>
                  <a:pt x="12192000" y="238949"/>
                </a:moveTo>
                <a:lnTo>
                  <a:pt x="12192000" y="198944"/>
                </a:lnTo>
                <a:cubicBezTo>
                  <a:pt x="12176760" y="207199"/>
                  <a:pt x="12177395" y="231329"/>
                  <a:pt x="12192000" y="238949"/>
                </a:cubicBezTo>
                <a:close/>
                <a:moveTo>
                  <a:pt x="12167235" y="619949"/>
                </a:moveTo>
                <a:cubicBezTo>
                  <a:pt x="12167235" y="633919"/>
                  <a:pt x="12181840" y="638999"/>
                  <a:pt x="12192000" y="634554"/>
                </a:cubicBezTo>
                <a:lnTo>
                  <a:pt x="12192000" y="604709"/>
                </a:lnTo>
                <a:cubicBezTo>
                  <a:pt x="12181840" y="600263"/>
                  <a:pt x="12167235" y="605344"/>
                  <a:pt x="12167235" y="619949"/>
                </a:cubicBezTo>
                <a:close/>
                <a:moveTo>
                  <a:pt x="11974195" y="716469"/>
                </a:moveTo>
                <a:cubicBezTo>
                  <a:pt x="11953875" y="718374"/>
                  <a:pt x="11957050" y="749488"/>
                  <a:pt x="11977370" y="747584"/>
                </a:cubicBezTo>
                <a:cubicBezTo>
                  <a:pt x="11997055" y="745679"/>
                  <a:pt x="11993880" y="713929"/>
                  <a:pt x="11974195" y="716469"/>
                </a:cubicBezTo>
                <a:close/>
                <a:moveTo>
                  <a:pt x="12192000" y="537399"/>
                </a:moveTo>
                <a:lnTo>
                  <a:pt x="12192000" y="501204"/>
                </a:lnTo>
                <a:cubicBezTo>
                  <a:pt x="12171045" y="503108"/>
                  <a:pt x="12171680" y="535494"/>
                  <a:pt x="12192000" y="537399"/>
                </a:cubicBezTo>
                <a:close/>
                <a:moveTo>
                  <a:pt x="12192000" y="143063"/>
                </a:moveTo>
                <a:lnTo>
                  <a:pt x="12192000" y="96074"/>
                </a:lnTo>
                <a:cubicBezTo>
                  <a:pt x="12167235" y="99883"/>
                  <a:pt x="12167870" y="138619"/>
                  <a:pt x="12192000" y="143063"/>
                </a:cubicBezTo>
                <a:close/>
                <a:moveTo>
                  <a:pt x="12192000" y="823149"/>
                </a:moveTo>
                <a:lnTo>
                  <a:pt x="12192000" y="814894"/>
                </a:lnTo>
                <a:cubicBezTo>
                  <a:pt x="12191365" y="817434"/>
                  <a:pt x="12191365" y="820609"/>
                  <a:pt x="12192000" y="823149"/>
                </a:cubicBezTo>
                <a:close/>
                <a:moveTo>
                  <a:pt x="12178030" y="906334"/>
                </a:moveTo>
                <a:cubicBezTo>
                  <a:pt x="12161520" y="906334"/>
                  <a:pt x="12161520" y="932369"/>
                  <a:pt x="12178665" y="931734"/>
                </a:cubicBezTo>
                <a:cubicBezTo>
                  <a:pt x="12194540" y="931734"/>
                  <a:pt x="12194540" y="905699"/>
                  <a:pt x="12178030" y="906334"/>
                </a:cubicBezTo>
                <a:close/>
                <a:moveTo>
                  <a:pt x="12170410" y="400238"/>
                </a:moveTo>
                <a:cubicBezTo>
                  <a:pt x="12145010" y="400874"/>
                  <a:pt x="12146915" y="441513"/>
                  <a:pt x="12172315" y="439608"/>
                </a:cubicBezTo>
                <a:cubicBezTo>
                  <a:pt x="12197715" y="438974"/>
                  <a:pt x="12195810" y="398969"/>
                  <a:pt x="12170410" y="400238"/>
                </a:cubicBezTo>
                <a:close/>
                <a:moveTo>
                  <a:pt x="12192000" y="732979"/>
                </a:moveTo>
                <a:lnTo>
                  <a:pt x="12192000" y="705038"/>
                </a:lnTo>
                <a:cubicBezTo>
                  <a:pt x="12181840" y="710754"/>
                  <a:pt x="12181840" y="727263"/>
                  <a:pt x="12192000" y="732979"/>
                </a:cubicBezTo>
                <a:close/>
                <a:moveTo>
                  <a:pt x="11986895" y="914588"/>
                </a:moveTo>
                <a:cubicBezTo>
                  <a:pt x="11970385" y="915224"/>
                  <a:pt x="11972290" y="941259"/>
                  <a:pt x="11988800" y="939988"/>
                </a:cubicBezTo>
                <a:cubicBezTo>
                  <a:pt x="12004675" y="938719"/>
                  <a:pt x="12003405" y="912684"/>
                  <a:pt x="11986895" y="914588"/>
                </a:cubicBezTo>
                <a:close/>
                <a:moveTo>
                  <a:pt x="11750675" y="748854"/>
                </a:moveTo>
                <a:cubicBezTo>
                  <a:pt x="11730990" y="752029"/>
                  <a:pt x="11736705" y="783144"/>
                  <a:pt x="11756390" y="779334"/>
                </a:cubicBezTo>
                <a:cubicBezTo>
                  <a:pt x="11776075" y="775524"/>
                  <a:pt x="11770360" y="744409"/>
                  <a:pt x="11750675" y="748854"/>
                </a:cubicBezTo>
                <a:close/>
                <a:moveTo>
                  <a:pt x="11788775" y="680274"/>
                </a:moveTo>
                <a:cubicBezTo>
                  <a:pt x="11810365" y="676463"/>
                  <a:pt x="11804015" y="642809"/>
                  <a:pt x="11782425" y="647254"/>
                </a:cubicBezTo>
                <a:cubicBezTo>
                  <a:pt x="11760200" y="651063"/>
                  <a:pt x="11767185" y="685354"/>
                  <a:pt x="11788775" y="680274"/>
                </a:cubicBezTo>
                <a:close/>
                <a:moveTo>
                  <a:pt x="11733530" y="941894"/>
                </a:moveTo>
                <a:cubicBezTo>
                  <a:pt x="11717020" y="943799"/>
                  <a:pt x="11721465" y="969834"/>
                  <a:pt x="11737340" y="967294"/>
                </a:cubicBezTo>
                <a:cubicBezTo>
                  <a:pt x="11753215" y="964754"/>
                  <a:pt x="11749405" y="939354"/>
                  <a:pt x="11733530" y="941894"/>
                </a:cubicBezTo>
                <a:close/>
                <a:moveTo>
                  <a:pt x="11793855" y="865694"/>
                </a:moveTo>
                <a:cubicBezTo>
                  <a:pt x="11812270" y="863154"/>
                  <a:pt x="11807825" y="834579"/>
                  <a:pt x="11789410" y="837754"/>
                </a:cubicBezTo>
                <a:cubicBezTo>
                  <a:pt x="11771630" y="840294"/>
                  <a:pt x="11776075" y="868869"/>
                  <a:pt x="11793855" y="865694"/>
                </a:cubicBezTo>
                <a:close/>
                <a:moveTo>
                  <a:pt x="11725910" y="876488"/>
                </a:moveTo>
                <a:cubicBezTo>
                  <a:pt x="11743690" y="873313"/>
                  <a:pt x="11739245" y="845374"/>
                  <a:pt x="11720830" y="848549"/>
                </a:cubicBezTo>
                <a:cubicBezTo>
                  <a:pt x="11703050" y="851724"/>
                  <a:pt x="11708130" y="879663"/>
                  <a:pt x="11725910" y="876488"/>
                </a:cubicBezTo>
                <a:close/>
                <a:moveTo>
                  <a:pt x="11670665" y="952054"/>
                </a:moveTo>
                <a:cubicBezTo>
                  <a:pt x="11654155" y="954594"/>
                  <a:pt x="11658600" y="979994"/>
                  <a:pt x="11675110" y="976819"/>
                </a:cubicBezTo>
                <a:cubicBezTo>
                  <a:pt x="11690985" y="974913"/>
                  <a:pt x="11686540" y="948879"/>
                  <a:pt x="11670665" y="952054"/>
                </a:cubicBezTo>
                <a:close/>
                <a:moveTo>
                  <a:pt x="11796395" y="933004"/>
                </a:moveTo>
                <a:cubicBezTo>
                  <a:pt x="11779885" y="934909"/>
                  <a:pt x="11783695" y="960309"/>
                  <a:pt x="11799570" y="958404"/>
                </a:cubicBezTo>
                <a:lnTo>
                  <a:pt x="11799570" y="958404"/>
                </a:lnTo>
                <a:cubicBezTo>
                  <a:pt x="11816080" y="956499"/>
                  <a:pt x="11812905" y="931099"/>
                  <a:pt x="11796395" y="933004"/>
                </a:cubicBezTo>
                <a:close/>
                <a:moveTo>
                  <a:pt x="5067300" y="844738"/>
                </a:moveTo>
                <a:cubicBezTo>
                  <a:pt x="5047615" y="841563"/>
                  <a:pt x="5042535" y="872679"/>
                  <a:pt x="5062855" y="875219"/>
                </a:cubicBezTo>
                <a:cubicBezTo>
                  <a:pt x="5082540" y="878394"/>
                  <a:pt x="5087620" y="847279"/>
                  <a:pt x="5067300" y="844738"/>
                </a:cubicBezTo>
                <a:close/>
                <a:moveTo>
                  <a:pt x="11088370" y="649159"/>
                </a:moveTo>
                <a:cubicBezTo>
                  <a:pt x="11045190" y="608519"/>
                  <a:pt x="11030585" y="707579"/>
                  <a:pt x="11083925" y="680909"/>
                </a:cubicBezTo>
                <a:lnTo>
                  <a:pt x="11083925" y="680909"/>
                </a:lnTo>
                <a:cubicBezTo>
                  <a:pt x="11093450" y="673288"/>
                  <a:pt x="11095990" y="658684"/>
                  <a:pt x="11088370" y="649159"/>
                </a:cubicBezTo>
                <a:close/>
                <a:moveTo>
                  <a:pt x="11960860" y="635824"/>
                </a:moveTo>
                <a:cubicBezTo>
                  <a:pt x="11958320" y="614234"/>
                  <a:pt x="11924030" y="618044"/>
                  <a:pt x="11927205" y="640269"/>
                </a:cubicBezTo>
                <a:cubicBezTo>
                  <a:pt x="11929745" y="661859"/>
                  <a:pt x="11964035" y="657413"/>
                  <a:pt x="11960860" y="635824"/>
                </a:cubicBezTo>
                <a:close/>
                <a:moveTo>
                  <a:pt x="11916410" y="738694"/>
                </a:moveTo>
                <a:cubicBezTo>
                  <a:pt x="11904345" y="699959"/>
                  <a:pt x="11862435" y="754569"/>
                  <a:pt x="11903075" y="755838"/>
                </a:cubicBezTo>
                <a:lnTo>
                  <a:pt x="11903075" y="755838"/>
                </a:lnTo>
                <a:cubicBezTo>
                  <a:pt x="11911965" y="754569"/>
                  <a:pt x="11917680" y="746949"/>
                  <a:pt x="11916410" y="738694"/>
                </a:cubicBezTo>
                <a:close/>
                <a:moveTo>
                  <a:pt x="11923395" y="919669"/>
                </a:moveTo>
                <a:cubicBezTo>
                  <a:pt x="11906885" y="920938"/>
                  <a:pt x="11909425" y="946974"/>
                  <a:pt x="11925935" y="945069"/>
                </a:cubicBezTo>
                <a:cubicBezTo>
                  <a:pt x="11941810" y="943163"/>
                  <a:pt x="11939905" y="917763"/>
                  <a:pt x="11923395" y="919669"/>
                </a:cubicBezTo>
                <a:close/>
                <a:moveTo>
                  <a:pt x="11927840" y="819974"/>
                </a:moveTo>
                <a:cubicBezTo>
                  <a:pt x="11909425" y="821244"/>
                  <a:pt x="11912600" y="850454"/>
                  <a:pt x="11931015" y="847913"/>
                </a:cubicBezTo>
                <a:cubicBezTo>
                  <a:pt x="11948795" y="846644"/>
                  <a:pt x="11945620" y="818069"/>
                  <a:pt x="11927840" y="819974"/>
                </a:cubicBezTo>
                <a:close/>
                <a:moveTo>
                  <a:pt x="11901805" y="471358"/>
                </a:moveTo>
                <a:lnTo>
                  <a:pt x="11901805" y="471358"/>
                </a:lnTo>
                <a:cubicBezTo>
                  <a:pt x="11927205" y="466913"/>
                  <a:pt x="11919585" y="427544"/>
                  <a:pt x="11894185" y="432624"/>
                </a:cubicBezTo>
                <a:cubicBezTo>
                  <a:pt x="11869420" y="437069"/>
                  <a:pt x="11877040" y="476438"/>
                  <a:pt x="11901805" y="471358"/>
                </a:cubicBezTo>
                <a:close/>
                <a:moveTo>
                  <a:pt x="11861800" y="633284"/>
                </a:moveTo>
                <a:cubicBezTo>
                  <a:pt x="11840210" y="636459"/>
                  <a:pt x="11845925" y="670749"/>
                  <a:pt x="11867515" y="666938"/>
                </a:cubicBezTo>
                <a:cubicBezTo>
                  <a:pt x="11889105" y="663129"/>
                  <a:pt x="11883390" y="628838"/>
                  <a:pt x="11861800" y="633284"/>
                </a:cubicBezTo>
                <a:close/>
                <a:moveTo>
                  <a:pt x="11824970" y="735519"/>
                </a:moveTo>
                <a:cubicBezTo>
                  <a:pt x="11804650" y="738059"/>
                  <a:pt x="11809730" y="769809"/>
                  <a:pt x="11830050" y="765999"/>
                </a:cubicBezTo>
                <a:cubicBezTo>
                  <a:pt x="11849735" y="763459"/>
                  <a:pt x="11844655" y="732344"/>
                  <a:pt x="11824970" y="735519"/>
                </a:cubicBezTo>
                <a:close/>
                <a:moveTo>
                  <a:pt x="11859895" y="925384"/>
                </a:moveTo>
                <a:cubicBezTo>
                  <a:pt x="11843385" y="926654"/>
                  <a:pt x="11846560" y="952688"/>
                  <a:pt x="11862435" y="950784"/>
                </a:cubicBezTo>
                <a:cubicBezTo>
                  <a:pt x="11878945" y="949513"/>
                  <a:pt x="11876405" y="923479"/>
                  <a:pt x="11859895" y="925384"/>
                </a:cubicBezTo>
                <a:close/>
                <a:moveTo>
                  <a:pt x="11858625" y="828229"/>
                </a:moveTo>
                <a:cubicBezTo>
                  <a:pt x="11840210" y="830134"/>
                  <a:pt x="11844020" y="858709"/>
                  <a:pt x="11862435" y="856169"/>
                </a:cubicBezTo>
                <a:cubicBezTo>
                  <a:pt x="11880215" y="854263"/>
                  <a:pt x="11877040" y="825688"/>
                  <a:pt x="11858625" y="828229"/>
                </a:cubicBezTo>
                <a:close/>
                <a:moveTo>
                  <a:pt x="11116310" y="1096199"/>
                </a:moveTo>
                <a:cubicBezTo>
                  <a:pt x="11100435" y="1101279"/>
                  <a:pt x="11109325" y="1126044"/>
                  <a:pt x="11124565" y="1120329"/>
                </a:cubicBezTo>
                <a:cubicBezTo>
                  <a:pt x="11140440" y="1114613"/>
                  <a:pt x="11131550" y="1090484"/>
                  <a:pt x="11116310" y="1096199"/>
                </a:cubicBezTo>
                <a:close/>
                <a:moveTo>
                  <a:pt x="9740900" y="2080449"/>
                </a:moveTo>
                <a:cubicBezTo>
                  <a:pt x="9748520" y="2020124"/>
                  <a:pt x="9658985" y="2070288"/>
                  <a:pt x="9714230" y="2095688"/>
                </a:cubicBezTo>
                <a:cubicBezTo>
                  <a:pt x="9703435" y="2162364"/>
                  <a:pt x="9803130" y="2106484"/>
                  <a:pt x="9740900" y="2080449"/>
                </a:cubicBezTo>
                <a:close/>
                <a:moveTo>
                  <a:pt x="9907270" y="1820734"/>
                </a:moveTo>
                <a:cubicBezTo>
                  <a:pt x="9890125" y="1801684"/>
                  <a:pt x="9860915" y="1829624"/>
                  <a:pt x="9878695" y="1848038"/>
                </a:cubicBezTo>
                <a:cubicBezTo>
                  <a:pt x="9896475" y="1866454"/>
                  <a:pt x="9925685" y="1839149"/>
                  <a:pt x="9907270" y="1820734"/>
                </a:cubicBezTo>
                <a:close/>
                <a:moveTo>
                  <a:pt x="9948545" y="1896299"/>
                </a:moveTo>
                <a:cubicBezTo>
                  <a:pt x="9922510" y="1875979"/>
                  <a:pt x="9891395" y="1916619"/>
                  <a:pt x="9917430" y="1936304"/>
                </a:cubicBezTo>
                <a:cubicBezTo>
                  <a:pt x="9942830" y="1957259"/>
                  <a:pt x="9974580" y="1916619"/>
                  <a:pt x="9948545" y="1896299"/>
                </a:cubicBezTo>
                <a:close/>
                <a:moveTo>
                  <a:pt x="10033635" y="1755329"/>
                </a:moveTo>
                <a:cubicBezTo>
                  <a:pt x="10031095" y="1753424"/>
                  <a:pt x="10027920" y="1751519"/>
                  <a:pt x="10024745" y="1750884"/>
                </a:cubicBezTo>
                <a:cubicBezTo>
                  <a:pt x="10030460" y="1736913"/>
                  <a:pt x="10016490" y="1720404"/>
                  <a:pt x="10001250" y="1723579"/>
                </a:cubicBezTo>
                <a:cubicBezTo>
                  <a:pt x="10000615" y="1720404"/>
                  <a:pt x="9999345" y="1717863"/>
                  <a:pt x="9997440" y="1715324"/>
                </a:cubicBezTo>
                <a:cubicBezTo>
                  <a:pt x="9999980" y="1715324"/>
                  <a:pt x="10003155" y="1714688"/>
                  <a:pt x="10005695" y="1712784"/>
                </a:cubicBezTo>
                <a:cubicBezTo>
                  <a:pt x="10039985" y="1759774"/>
                  <a:pt x="10063480" y="1664524"/>
                  <a:pt x="10011410" y="1689924"/>
                </a:cubicBezTo>
                <a:cubicBezTo>
                  <a:pt x="10009505" y="1686113"/>
                  <a:pt x="10005695" y="1683574"/>
                  <a:pt x="10001885" y="1682304"/>
                </a:cubicBezTo>
                <a:cubicBezTo>
                  <a:pt x="10001885" y="1657538"/>
                  <a:pt x="9968230" y="1657538"/>
                  <a:pt x="9973945" y="1683574"/>
                </a:cubicBezTo>
                <a:cubicBezTo>
                  <a:pt x="9966325" y="1691194"/>
                  <a:pt x="9969500" y="1705799"/>
                  <a:pt x="9979660" y="1708974"/>
                </a:cubicBezTo>
                <a:cubicBezTo>
                  <a:pt x="9958070" y="1712784"/>
                  <a:pt x="9961880" y="1746438"/>
                  <a:pt x="9983470" y="1745169"/>
                </a:cubicBezTo>
                <a:cubicBezTo>
                  <a:pt x="9983470" y="1748344"/>
                  <a:pt x="9984740" y="1752154"/>
                  <a:pt x="9986010" y="1754694"/>
                </a:cubicBezTo>
                <a:cubicBezTo>
                  <a:pt x="9982200" y="1757234"/>
                  <a:pt x="9979025" y="1761679"/>
                  <a:pt x="9977755" y="1766124"/>
                </a:cubicBezTo>
                <a:cubicBezTo>
                  <a:pt x="9975850" y="1754694"/>
                  <a:pt x="9961880" y="1747074"/>
                  <a:pt x="9951085" y="1751519"/>
                </a:cubicBezTo>
                <a:cubicBezTo>
                  <a:pt x="9952355" y="1743899"/>
                  <a:pt x="9946640" y="1735009"/>
                  <a:pt x="9938385" y="1733104"/>
                </a:cubicBezTo>
                <a:cubicBezTo>
                  <a:pt x="9937750" y="1731834"/>
                  <a:pt x="9937750" y="1731199"/>
                  <a:pt x="9937115" y="1730563"/>
                </a:cubicBezTo>
                <a:cubicBezTo>
                  <a:pt x="9942830" y="1726119"/>
                  <a:pt x="9944735" y="1717863"/>
                  <a:pt x="9940925" y="1711513"/>
                </a:cubicBezTo>
                <a:cubicBezTo>
                  <a:pt x="9947275" y="1701354"/>
                  <a:pt x="9934575" y="1688019"/>
                  <a:pt x="9923780" y="1694369"/>
                </a:cubicBezTo>
                <a:cubicBezTo>
                  <a:pt x="9918065" y="1696909"/>
                  <a:pt x="9915525" y="1704529"/>
                  <a:pt x="9918065" y="1710244"/>
                </a:cubicBezTo>
                <a:cubicBezTo>
                  <a:pt x="9914890" y="1714688"/>
                  <a:pt x="9914255" y="1720404"/>
                  <a:pt x="9916795" y="1725484"/>
                </a:cubicBezTo>
                <a:cubicBezTo>
                  <a:pt x="9906000" y="1731199"/>
                  <a:pt x="9907270" y="1748344"/>
                  <a:pt x="9918065" y="1752788"/>
                </a:cubicBezTo>
                <a:cubicBezTo>
                  <a:pt x="9919335" y="1762313"/>
                  <a:pt x="9930130" y="1768663"/>
                  <a:pt x="9939020" y="1765488"/>
                </a:cubicBezTo>
                <a:cubicBezTo>
                  <a:pt x="9933305" y="1788984"/>
                  <a:pt x="9970135" y="1799144"/>
                  <a:pt x="9977120" y="1775649"/>
                </a:cubicBezTo>
                <a:cubicBezTo>
                  <a:pt x="9978390" y="1788349"/>
                  <a:pt x="9992995" y="1797874"/>
                  <a:pt x="10005060" y="1794063"/>
                </a:cubicBezTo>
                <a:cubicBezTo>
                  <a:pt x="10030460" y="1811209"/>
                  <a:pt x="10057765" y="1773744"/>
                  <a:pt x="10033635" y="1755329"/>
                </a:cubicBezTo>
                <a:close/>
                <a:moveTo>
                  <a:pt x="10016490" y="1804859"/>
                </a:moveTo>
                <a:cubicBezTo>
                  <a:pt x="9990455" y="1785174"/>
                  <a:pt x="9959340" y="1826449"/>
                  <a:pt x="9986645" y="1845499"/>
                </a:cubicBezTo>
                <a:cubicBezTo>
                  <a:pt x="10012680" y="1865819"/>
                  <a:pt x="10043795" y="1823909"/>
                  <a:pt x="10016490" y="1804859"/>
                </a:cubicBezTo>
                <a:close/>
                <a:moveTo>
                  <a:pt x="9884410" y="1919159"/>
                </a:moveTo>
                <a:cubicBezTo>
                  <a:pt x="9882505" y="1914079"/>
                  <a:pt x="9878060" y="1908999"/>
                  <a:pt x="9872980" y="1907094"/>
                </a:cubicBezTo>
                <a:cubicBezTo>
                  <a:pt x="9944100" y="1868359"/>
                  <a:pt x="9807575" y="1844229"/>
                  <a:pt x="9860915" y="1905188"/>
                </a:cubicBezTo>
                <a:cubicBezTo>
                  <a:pt x="9836150" y="1907094"/>
                  <a:pt x="9833610" y="1945194"/>
                  <a:pt x="9858375" y="1949638"/>
                </a:cubicBezTo>
                <a:cubicBezTo>
                  <a:pt x="9877425" y="1999169"/>
                  <a:pt x="9937115" y="1931224"/>
                  <a:pt x="9884410" y="1919159"/>
                </a:cubicBezTo>
                <a:close/>
                <a:moveTo>
                  <a:pt x="9769475" y="2077909"/>
                </a:moveTo>
                <a:cubicBezTo>
                  <a:pt x="9747885" y="2102674"/>
                  <a:pt x="9787255" y="2136329"/>
                  <a:pt x="9808210" y="2110929"/>
                </a:cubicBezTo>
                <a:cubicBezTo>
                  <a:pt x="9829800" y="2086163"/>
                  <a:pt x="9790430" y="2052509"/>
                  <a:pt x="9769475" y="2077909"/>
                </a:cubicBezTo>
                <a:close/>
                <a:moveTo>
                  <a:pt x="9814560" y="2001074"/>
                </a:moveTo>
                <a:cubicBezTo>
                  <a:pt x="9807575" y="1949004"/>
                  <a:pt x="9737090" y="2002979"/>
                  <a:pt x="9785985" y="2023299"/>
                </a:cubicBezTo>
                <a:cubicBezTo>
                  <a:pt x="9791065" y="2082354"/>
                  <a:pt x="9870440" y="2021394"/>
                  <a:pt x="9814560" y="2001074"/>
                </a:cubicBezTo>
                <a:close/>
                <a:moveTo>
                  <a:pt x="9878060" y="1986469"/>
                </a:moveTo>
                <a:cubicBezTo>
                  <a:pt x="9852660" y="1965513"/>
                  <a:pt x="9820275" y="2005519"/>
                  <a:pt x="9846310" y="2025838"/>
                </a:cubicBezTo>
                <a:cubicBezTo>
                  <a:pt x="9871075" y="2047429"/>
                  <a:pt x="9904095" y="2006788"/>
                  <a:pt x="9878060" y="1986469"/>
                </a:cubicBezTo>
                <a:close/>
                <a:moveTo>
                  <a:pt x="9949180" y="1835338"/>
                </a:moveTo>
                <a:cubicBezTo>
                  <a:pt x="9949180" y="1834704"/>
                  <a:pt x="9948545" y="1834704"/>
                  <a:pt x="9948545" y="1834069"/>
                </a:cubicBezTo>
                <a:cubicBezTo>
                  <a:pt x="9950450" y="1832799"/>
                  <a:pt x="9952355" y="1831529"/>
                  <a:pt x="9954260" y="1830259"/>
                </a:cubicBezTo>
                <a:lnTo>
                  <a:pt x="9954260" y="1830259"/>
                </a:lnTo>
                <a:cubicBezTo>
                  <a:pt x="9968230" y="1816288"/>
                  <a:pt x="9954260" y="1790254"/>
                  <a:pt x="9935210" y="1794699"/>
                </a:cubicBezTo>
                <a:cubicBezTo>
                  <a:pt x="9952990" y="1733104"/>
                  <a:pt x="9859645" y="1790254"/>
                  <a:pt x="9922510" y="1802319"/>
                </a:cubicBezTo>
                <a:cubicBezTo>
                  <a:pt x="9916160" y="1810574"/>
                  <a:pt x="9916795" y="1822004"/>
                  <a:pt x="9923780" y="1829624"/>
                </a:cubicBezTo>
                <a:cubicBezTo>
                  <a:pt x="9902825" y="1838513"/>
                  <a:pt x="9909175" y="1872169"/>
                  <a:pt x="9932670" y="1872804"/>
                </a:cubicBezTo>
                <a:cubicBezTo>
                  <a:pt x="9963785" y="1912174"/>
                  <a:pt x="9999980" y="1835338"/>
                  <a:pt x="9949180" y="1835338"/>
                </a:cubicBezTo>
                <a:close/>
                <a:moveTo>
                  <a:pt x="10366375" y="1444179"/>
                </a:moveTo>
                <a:cubicBezTo>
                  <a:pt x="10351770" y="1451799"/>
                  <a:pt x="10364470" y="1474659"/>
                  <a:pt x="10379075" y="1466404"/>
                </a:cubicBezTo>
                <a:cubicBezTo>
                  <a:pt x="10393045" y="1458784"/>
                  <a:pt x="10380345" y="1435924"/>
                  <a:pt x="10366375" y="1444179"/>
                </a:cubicBezTo>
                <a:close/>
                <a:moveTo>
                  <a:pt x="10383520" y="1402269"/>
                </a:moveTo>
                <a:cubicBezTo>
                  <a:pt x="10367645" y="1411794"/>
                  <a:pt x="10383520" y="1435924"/>
                  <a:pt x="10398760" y="1425763"/>
                </a:cubicBezTo>
                <a:cubicBezTo>
                  <a:pt x="10414635" y="1416238"/>
                  <a:pt x="10398760" y="1392109"/>
                  <a:pt x="10383520" y="1402269"/>
                </a:cubicBezTo>
                <a:close/>
                <a:moveTo>
                  <a:pt x="10422255" y="1413699"/>
                </a:moveTo>
                <a:cubicBezTo>
                  <a:pt x="10407650" y="1421319"/>
                  <a:pt x="10420350" y="1444179"/>
                  <a:pt x="10434320" y="1435924"/>
                </a:cubicBezTo>
                <a:cubicBezTo>
                  <a:pt x="10448925" y="1428304"/>
                  <a:pt x="10436225" y="1405444"/>
                  <a:pt x="10422255" y="1413699"/>
                </a:cubicBezTo>
                <a:close/>
                <a:moveTo>
                  <a:pt x="10333990" y="1410524"/>
                </a:moveTo>
                <a:cubicBezTo>
                  <a:pt x="10317480" y="1421954"/>
                  <a:pt x="10336530" y="1447988"/>
                  <a:pt x="10352405" y="1435288"/>
                </a:cubicBezTo>
                <a:cubicBezTo>
                  <a:pt x="10368280" y="1424494"/>
                  <a:pt x="10349865" y="1398459"/>
                  <a:pt x="10333990" y="1410524"/>
                </a:cubicBezTo>
                <a:close/>
                <a:moveTo>
                  <a:pt x="10293350" y="1455609"/>
                </a:moveTo>
                <a:lnTo>
                  <a:pt x="10293350" y="1455609"/>
                </a:lnTo>
                <a:cubicBezTo>
                  <a:pt x="10293985" y="1454974"/>
                  <a:pt x="10295255" y="1453704"/>
                  <a:pt x="10295890" y="1453069"/>
                </a:cubicBezTo>
                <a:cubicBezTo>
                  <a:pt x="10325100" y="1464499"/>
                  <a:pt x="10327005" y="1421319"/>
                  <a:pt x="10302240" y="1414969"/>
                </a:cubicBezTo>
                <a:cubicBezTo>
                  <a:pt x="10290175" y="1395919"/>
                  <a:pt x="10258425" y="1405444"/>
                  <a:pt x="10259060" y="1427669"/>
                </a:cubicBezTo>
                <a:cubicBezTo>
                  <a:pt x="10230485" y="1435288"/>
                  <a:pt x="10236200" y="1482913"/>
                  <a:pt x="10268585" y="1477199"/>
                </a:cubicBezTo>
                <a:cubicBezTo>
                  <a:pt x="10240010" y="1500059"/>
                  <a:pt x="10299700" y="1517838"/>
                  <a:pt x="10287635" y="1482913"/>
                </a:cubicBezTo>
                <a:cubicBezTo>
                  <a:pt x="10299065" y="1479738"/>
                  <a:pt x="10302240" y="1463863"/>
                  <a:pt x="10293350" y="1456244"/>
                </a:cubicBezTo>
                <a:cubicBezTo>
                  <a:pt x="10293350" y="1455609"/>
                  <a:pt x="10293350" y="1455609"/>
                  <a:pt x="10293350" y="1455609"/>
                </a:cubicBezTo>
                <a:close/>
                <a:moveTo>
                  <a:pt x="10252710" y="1501963"/>
                </a:moveTo>
                <a:cubicBezTo>
                  <a:pt x="10278110" y="1476563"/>
                  <a:pt x="10221595" y="1456244"/>
                  <a:pt x="10215880" y="1486724"/>
                </a:cubicBezTo>
                <a:cubicBezTo>
                  <a:pt x="10205085" y="1485454"/>
                  <a:pt x="10197465" y="1494979"/>
                  <a:pt x="10194290" y="1504504"/>
                </a:cubicBezTo>
                <a:cubicBezTo>
                  <a:pt x="10184130" y="1506409"/>
                  <a:pt x="10179685" y="1515934"/>
                  <a:pt x="10175875" y="1524188"/>
                </a:cubicBezTo>
                <a:cubicBezTo>
                  <a:pt x="10172065" y="1524824"/>
                  <a:pt x="10168255" y="1527363"/>
                  <a:pt x="10166350" y="1531174"/>
                </a:cubicBezTo>
                <a:cubicBezTo>
                  <a:pt x="10160000" y="1532444"/>
                  <a:pt x="10154285" y="1538794"/>
                  <a:pt x="10153015" y="1545144"/>
                </a:cubicBezTo>
                <a:cubicBezTo>
                  <a:pt x="10150475" y="1547049"/>
                  <a:pt x="10149205" y="1549588"/>
                  <a:pt x="10147935" y="1552763"/>
                </a:cubicBezTo>
                <a:cubicBezTo>
                  <a:pt x="10136505" y="1554034"/>
                  <a:pt x="10128250" y="1566734"/>
                  <a:pt x="10132060" y="1577529"/>
                </a:cubicBezTo>
                <a:cubicBezTo>
                  <a:pt x="10130790" y="1577529"/>
                  <a:pt x="10128885" y="1578163"/>
                  <a:pt x="10127615" y="1578799"/>
                </a:cubicBezTo>
                <a:cubicBezTo>
                  <a:pt x="10121265" y="1575624"/>
                  <a:pt x="10113645" y="1575624"/>
                  <a:pt x="10107930" y="1580704"/>
                </a:cubicBezTo>
                <a:cubicBezTo>
                  <a:pt x="10107930" y="1580704"/>
                  <a:pt x="10107930" y="1580704"/>
                  <a:pt x="10107930" y="1580704"/>
                </a:cubicBezTo>
                <a:cubicBezTo>
                  <a:pt x="10105390" y="1582609"/>
                  <a:pt x="10104120" y="1585149"/>
                  <a:pt x="10102850" y="1587688"/>
                </a:cubicBezTo>
                <a:cubicBezTo>
                  <a:pt x="10094595" y="1587688"/>
                  <a:pt x="10087610" y="1595309"/>
                  <a:pt x="10088245" y="1602929"/>
                </a:cubicBezTo>
                <a:cubicBezTo>
                  <a:pt x="10083800" y="1606738"/>
                  <a:pt x="10082530" y="1613724"/>
                  <a:pt x="10085705" y="1618804"/>
                </a:cubicBezTo>
                <a:cubicBezTo>
                  <a:pt x="10081260" y="1619438"/>
                  <a:pt x="10076815" y="1621344"/>
                  <a:pt x="10073005" y="1624519"/>
                </a:cubicBezTo>
                <a:cubicBezTo>
                  <a:pt x="10073005" y="1624519"/>
                  <a:pt x="10073005" y="1624519"/>
                  <a:pt x="10073005" y="1624519"/>
                </a:cubicBezTo>
                <a:cubicBezTo>
                  <a:pt x="10071100" y="1627059"/>
                  <a:pt x="10069195" y="1629599"/>
                  <a:pt x="10068560" y="1632138"/>
                </a:cubicBezTo>
                <a:cubicBezTo>
                  <a:pt x="10063480" y="1628329"/>
                  <a:pt x="10057130" y="1627059"/>
                  <a:pt x="10051415" y="1629599"/>
                </a:cubicBezTo>
                <a:cubicBezTo>
                  <a:pt x="10036175" y="1622613"/>
                  <a:pt x="10022840" y="1642934"/>
                  <a:pt x="10031095" y="1656269"/>
                </a:cubicBezTo>
                <a:cubicBezTo>
                  <a:pt x="10022205" y="1667063"/>
                  <a:pt x="10031095" y="1684844"/>
                  <a:pt x="10044430" y="1685479"/>
                </a:cubicBezTo>
                <a:cubicBezTo>
                  <a:pt x="10041255" y="1695004"/>
                  <a:pt x="10044430" y="1706434"/>
                  <a:pt x="10053320" y="1711513"/>
                </a:cubicBezTo>
                <a:cubicBezTo>
                  <a:pt x="10003790" y="1769299"/>
                  <a:pt x="10133330" y="1768029"/>
                  <a:pt x="10082530" y="1710879"/>
                </a:cubicBezTo>
                <a:cubicBezTo>
                  <a:pt x="10111740" y="1714688"/>
                  <a:pt x="10118725" y="1668334"/>
                  <a:pt x="10088880" y="1663888"/>
                </a:cubicBezTo>
                <a:cubicBezTo>
                  <a:pt x="10088245" y="1661984"/>
                  <a:pt x="10086975" y="1659444"/>
                  <a:pt x="10085705" y="1657538"/>
                </a:cubicBezTo>
                <a:cubicBezTo>
                  <a:pt x="10102850" y="1659444"/>
                  <a:pt x="10113645" y="1636584"/>
                  <a:pt x="10100945" y="1624519"/>
                </a:cubicBezTo>
                <a:cubicBezTo>
                  <a:pt x="10104120" y="1625788"/>
                  <a:pt x="10107930" y="1626424"/>
                  <a:pt x="10111740" y="1625788"/>
                </a:cubicBezTo>
                <a:cubicBezTo>
                  <a:pt x="10089515" y="1675954"/>
                  <a:pt x="10180955" y="1672144"/>
                  <a:pt x="10154920" y="1623884"/>
                </a:cubicBezTo>
                <a:cubicBezTo>
                  <a:pt x="10160635" y="1622613"/>
                  <a:pt x="10165715" y="1620074"/>
                  <a:pt x="10169525" y="1614994"/>
                </a:cubicBezTo>
                <a:lnTo>
                  <a:pt x="10169525" y="1614994"/>
                </a:lnTo>
                <a:cubicBezTo>
                  <a:pt x="10177145" y="1605469"/>
                  <a:pt x="10175240" y="1591499"/>
                  <a:pt x="10166985" y="1583244"/>
                </a:cubicBezTo>
                <a:cubicBezTo>
                  <a:pt x="10168890" y="1580704"/>
                  <a:pt x="10170160" y="1576894"/>
                  <a:pt x="10170160" y="1573719"/>
                </a:cubicBezTo>
                <a:cubicBezTo>
                  <a:pt x="10171430" y="1571813"/>
                  <a:pt x="10172700" y="1570544"/>
                  <a:pt x="10172700" y="1568004"/>
                </a:cubicBezTo>
                <a:cubicBezTo>
                  <a:pt x="10173335" y="1567369"/>
                  <a:pt x="10173970" y="1566734"/>
                  <a:pt x="10174605" y="1565463"/>
                </a:cubicBezTo>
                <a:cubicBezTo>
                  <a:pt x="10177145" y="1564829"/>
                  <a:pt x="10179685" y="1563559"/>
                  <a:pt x="10181590" y="1562288"/>
                </a:cubicBezTo>
                <a:cubicBezTo>
                  <a:pt x="10198735" y="1580069"/>
                  <a:pt x="10229850" y="1561654"/>
                  <a:pt x="10223500" y="1538159"/>
                </a:cubicBezTo>
                <a:cubicBezTo>
                  <a:pt x="10233025" y="1531174"/>
                  <a:pt x="10242550" y="1519744"/>
                  <a:pt x="10238740" y="1506409"/>
                </a:cubicBezTo>
                <a:cubicBezTo>
                  <a:pt x="10243820" y="1505774"/>
                  <a:pt x="10248900" y="1505774"/>
                  <a:pt x="10252710" y="1501963"/>
                </a:cubicBezTo>
                <a:close/>
                <a:moveTo>
                  <a:pt x="10255885" y="1507044"/>
                </a:moveTo>
                <a:cubicBezTo>
                  <a:pt x="10241280" y="1514663"/>
                  <a:pt x="10254615" y="1537524"/>
                  <a:pt x="10268585" y="1529269"/>
                </a:cubicBezTo>
                <a:cubicBezTo>
                  <a:pt x="10282555" y="1521013"/>
                  <a:pt x="10269855" y="1498788"/>
                  <a:pt x="10255885" y="1507044"/>
                </a:cubicBezTo>
                <a:close/>
                <a:moveTo>
                  <a:pt x="10311130" y="1475294"/>
                </a:moveTo>
                <a:cubicBezTo>
                  <a:pt x="10296525" y="1483549"/>
                  <a:pt x="10309225" y="1505774"/>
                  <a:pt x="10323830" y="1497519"/>
                </a:cubicBezTo>
                <a:cubicBezTo>
                  <a:pt x="10337800" y="1489899"/>
                  <a:pt x="10325100" y="1467038"/>
                  <a:pt x="10311130" y="1475294"/>
                </a:cubicBezTo>
                <a:close/>
                <a:moveTo>
                  <a:pt x="10325100" y="1439734"/>
                </a:moveTo>
                <a:cubicBezTo>
                  <a:pt x="10325100" y="1439734"/>
                  <a:pt x="10325100" y="1439734"/>
                  <a:pt x="10325100" y="1439734"/>
                </a:cubicBezTo>
                <a:cubicBezTo>
                  <a:pt x="10298430" y="1497519"/>
                  <a:pt x="10389235" y="1439099"/>
                  <a:pt x="10325100" y="1439734"/>
                </a:cubicBezTo>
                <a:close/>
                <a:moveTo>
                  <a:pt x="10416540" y="1370519"/>
                </a:moveTo>
                <a:cubicBezTo>
                  <a:pt x="10405110" y="1354009"/>
                  <a:pt x="10379075" y="1372424"/>
                  <a:pt x="10391140" y="1388299"/>
                </a:cubicBezTo>
                <a:cubicBezTo>
                  <a:pt x="10402570" y="1405444"/>
                  <a:pt x="10427970" y="1387029"/>
                  <a:pt x="10416540" y="1370519"/>
                </a:cubicBezTo>
                <a:close/>
                <a:moveTo>
                  <a:pt x="9370695" y="2479864"/>
                </a:moveTo>
                <a:cubicBezTo>
                  <a:pt x="9345295" y="2500819"/>
                  <a:pt x="9378315" y="2540189"/>
                  <a:pt x="9403080" y="2518599"/>
                </a:cubicBezTo>
                <a:cubicBezTo>
                  <a:pt x="9428480" y="2497644"/>
                  <a:pt x="9395460" y="2458274"/>
                  <a:pt x="9370695" y="2479864"/>
                </a:cubicBezTo>
                <a:close/>
                <a:moveTo>
                  <a:pt x="9403080" y="2380804"/>
                </a:moveTo>
                <a:cubicBezTo>
                  <a:pt x="9378315" y="2399854"/>
                  <a:pt x="9409430" y="2437954"/>
                  <a:pt x="9432925" y="2418269"/>
                </a:cubicBezTo>
                <a:cubicBezTo>
                  <a:pt x="9457690" y="2399219"/>
                  <a:pt x="9427210" y="2361119"/>
                  <a:pt x="9403080" y="2380804"/>
                </a:cubicBezTo>
                <a:close/>
                <a:moveTo>
                  <a:pt x="9413240" y="2244914"/>
                </a:moveTo>
                <a:cubicBezTo>
                  <a:pt x="9390380" y="2260154"/>
                  <a:pt x="9415145" y="2295714"/>
                  <a:pt x="9437370" y="2279839"/>
                </a:cubicBezTo>
                <a:cubicBezTo>
                  <a:pt x="9460230" y="2264599"/>
                  <a:pt x="9436100" y="2229039"/>
                  <a:pt x="9413240" y="2244914"/>
                </a:cubicBezTo>
                <a:close/>
                <a:moveTo>
                  <a:pt x="9361805" y="2304604"/>
                </a:moveTo>
                <a:cubicBezTo>
                  <a:pt x="9347200" y="2281109"/>
                  <a:pt x="9311005" y="2303969"/>
                  <a:pt x="9325610" y="2327464"/>
                </a:cubicBezTo>
                <a:cubicBezTo>
                  <a:pt x="9340850" y="2350959"/>
                  <a:pt x="9377045" y="2327464"/>
                  <a:pt x="9361805" y="2304604"/>
                </a:cubicBezTo>
                <a:close/>
                <a:moveTo>
                  <a:pt x="9317990" y="2446844"/>
                </a:moveTo>
                <a:cubicBezTo>
                  <a:pt x="9292590" y="2465259"/>
                  <a:pt x="9321800" y="2504629"/>
                  <a:pt x="9346565" y="2485579"/>
                </a:cubicBezTo>
                <a:cubicBezTo>
                  <a:pt x="9371965" y="2467164"/>
                  <a:pt x="9342755" y="2427794"/>
                  <a:pt x="9317990" y="2446844"/>
                </a:cubicBezTo>
                <a:close/>
                <a:moveTo>
                  <a:pt x="9230360" y="2509074"/>
                </a:moveTo>
                <a:cubicBezTo>
                  <a:pt x="9204325" y="2526219"/>
                  <a:pt x="9231630" y="2566859"/>
                  <a:pt x="9257030" y="2549079"/>
                </a:cubicBezTo>
                <a:cubicBezTo>
                  <a:pt x="9283065" y="2531934"/>
                  <a:pt x="9255760" y="2491294"/>
                  <a:pt x="9230360" y="2509074"/>
                </a:cubicBezTo>
                <a:close/>
                <a:moveTo>
                  <a:pt x="9455785" y="2404934"/>
                </a:moveTo>
                <a:cubicBezTo>
                  <a:pt x="9431020" y="2426524"/>
                  <a:pt x="9465945" y="2465259"/>
                  <a:pt x="9490075" y="2442399"/>
                </a:cubicBezTo>
                <a:cubicBezTo>
                  <a:pt x="9514205" y="2420809"/>
                  <a:pt x="9479280" y="2382709"/>
                  <a:pt x="9455785" y="2404934"/>
                </a:cubicBezTo>
                <a:close/>
                <a:moveTo>
                  <a:pt x="9190990" y="2617024"/>
                </a:moveTo>
                <a:cubicBezTo>
                  <a:pt x="9163685" y="2635439"/>
                  <a:pt x="9193530" y="2677984"/>
                  <a:pt x="9220200" y="2658934"/>
                </a:cubicBezTo>
                <a:lnTo>
                  <a:pt x="9220200" y="2658934"/>
                </a:lnTo>
                <a:cubicBezTo>
                  <a:pt x="9247505" y="2640519"/>
                  <a:pt x="9217660" y="2597974"/>
                  <a:pt x="9190990" y="2617024"/>
                </a:cubicBezTo>
                <a:close/>
                <a:moveTo>
                  <a:pt x="9282430" y="2550349"/>
                </a:moveTo>
                <a:cubicBezTo>
                  <a:pt x="9255760" y="2570034"/>
                  <a:pt x="9287510" y="2611309"/>
                  <a:pt x="9313545" y="2590354"/>
                </a:cubicBezTo>
                <a:cubicBezTo>
                  <a:pt x="9339580" y="2571304"/>
                  <a:pt x="9307830" y="2530029"/>
                  <a:pt x="9282430" y="2550349"/>
                </a:cubicBezTo>
                <a:close/>
                <a:moveTo>
                  <a:pt x="9617710" y="2246184"/>
                </a:moveTo>
                <a:cubicBezTo>
                  <a:pt x="9594850" y="2269679"/>
                  <a:pt x="9632315" y="2305239"/>
                  <a:pt x="9654540" y="2281109"/>
                </a:cubicBezTo>
                <a:cubicBezTo>
                  <a:pt x="9677400" y="2258249"/>
                  <a:pt x="9639935" y="2222054"/>
                  <a:pt x="9617710" y="2246184"/>
                </a:cubicBezTo>
                <a:close/>
                <a:moveTo>
                  <a:pt x="9662160" y="2157919"/>
                </a:moveTo>
                <a:cubicBezTo>
                  <a:pt x="9688830" y="2089338"/>
                  <a:pt x="9573895" y="2139504"/>
                  <a:pt x="9641840" y="2166809"/>
                </a:cubicBezTo>
                <a:cubicBezTo>
                  <a:pt x="9611995" y="2241104"/>
                  <a:pt x="9736455" y="2186494"/>
                  <a:pt x="9662160" y="2157919"/>
                </a:cubicBezTo>
                <a:close/>
                <a:moveTo>
                  <a:pt x="9485630" y="2312224"/>
                </a:moveTo>
                <a:cubicBezTo>
                  <a:pt x="9461500" y="2332544"/>
                  <a:pt x="9493885" y="2369374"/>
                  <a:pt x="9517380" y="2348419"/>
                </a:cubicBezTo>
                <a:cubicBezTo>
                  <a:pt x="9540875" y="2328099"/>
                  <a:pt x="9509125" y="2291269"/>
                  <a:pt x="9485630" y="2312224"/>
                </a:cubicBezTo>
                <a:close/>
                <a:moveTo>
                  <a:pt x="9695180" y="2162999"/>
                </a:moveTo>
                <a:cubicBezTo>
                  <a:pt x="9672955" y="2187129"/>
                  <a:pt x="9711055" y="2222054"/>
                  <a:pt x="9732645" y="2196654"/>
                </a:cubicBezTo>
                <a:cubicBezTo>
                  <a:pt x="9754870" y="2173159"/>
                  <a:pt x="9716770" y="2138234"/>
                  <a:pt x="9695180" y="2162999"/>
                </a:cubicBezTo>
                <a:close/>
                <a:moveTo>
                  <a:pt x="9701530" y="2002979"/>
                </a:moveTo>
                <a:cubicBezTo>
                  <a:pt x="9694545" y="1994724"/>
                  <a:pt x="9682480" y="1992819"/>
                  <a:pt x="9673590" y="1999804"/>
                </a:cubicBezTo>
                <a:cubicBezTo>
                  <a:pt x="9673590" y="1999804"/>
                  <a:pt x="9673590" y="1999804"/>
                  <a:pt x="9673590" y="1999804"/>
                </a:cubicBezTo>
                <a:cubicBezTo>
                  <a:pt x="9639300" y="2038538"/>
                  <a:pt x="9726930" y="2048063"/>
                  <a:pt x="9701530" y="2002979"/>
                </a:cubicBezTo>
                <a:close/>
                <a:moveTo>
                  <a:pt x="9565640" y="2239834"/>
                </a:moveTo>
                <a:cubicBezTo>
                  <a:pt x="9542780" y="2260789"/>
                  <a:pt x="9575800" y="2296349"/>
                  <a:pt x="9598660" y="2274759"/>
                </a:cubicBezTo>
                <a:cubicBezTo>
                  <a:pt x="9621520" y="2253804"/>
                  <a:pt x="9588500" y="2218244"/>
                  <a:pt x="9565640" y="2239834"/>
                </a:cubicBezTo>
                <a:close/>
                <a:moveTo>
                  <a:pt x="9491980" y="2189034"/>
                </a:moveTo>
                <a:cubicBezTo>
                  <a:pt x="9469755" y="2204909"/>
                  <a:pt x="9495790" y="2239834"/>
                  <a:pt x="9517380" y="2222689"/>
                </a:cubicBezTo>
                <a:cubicBezTo>
                  <a:pt x="9539605" y="2206814"/>
                  <a:pt x="9513570" y="2171889"/>
                  <a:pt x="9491980" y="2189034"/>
                </a:cubicBezTo>
                <a:close/>
                <a:moveTo>
                  <a:pt x="9537700" y="2327464"/>
                </a:moveTo>
                <a:cubicBezTo>
                  <a:pt x="9513570" y="2350324"/>
                  <a:pt x="9550400" y="2387154"/>
                  <a:pt x="9573260" y="2363659"/>
                </a:cubicBezTo>
                <a:cubicBezTo>
                  <a:pt x="9597390" y="2340799"/>
                  <a:pt x="9561195" y="2303969"/>
                  <a:pt x="9537700" y="2327464"/>
                </a:cubicBezTo>
                <a:close/>
                <a:moveTo>
                  <a:pt x="9551035" y="2141409"/>
                </a:moveTo>
                <a:cubicBezTo>
                  <a:pt x="9571990" y="2126804"/>
                  <a:pt x="9549130" y="2093784"/>
                  <a:pt x="9528175" y="2109024"/>
                </a:cubicBezTo>
                <a:cubicBezTo>
                  <a:pt x="9507220" y="2123629"/>
                  <a:pt x="9530715" y="2156649"/>
                  <a:pt x="9551035" y="2141409"/>
                </a:cubicBezTo>
                <a:close/>
                <a:moveTo>
                  <a:pt x="10976610" y="968563"/>
                </a:moveTo>
                <a:cubicBezTo>
                  <a:pt x="10965815" y="949513"/>
                  <a:pt x="10935970" y="966024"/>
                  <a:pt x="10946765" y="985074"/>
                </a:cubicBezTo>
                <a:cubicBezTo>
                  <a:pt x="10957560" y="1004759"/>
                  <a:pt x="10987405" y="987613"/>
                  <a:pt x="10976610" y="968563"/>
                </a:cubicBezTo>
                <a:close/>
                <a:moveTo>
                  <a:pt x="10937240" y="1164144"/>
                </a:moveTo>
                <a:cubicBezTo>
                  <a:pt x="10922000" y="1170494"/>
                  <a:pt x="10931525" y="1193988"/>
                  <a:pt x="10946765" y="1187638"/>
                </a:cubicBezTo>
                <a:cubicBezTo>
                  <a:pt x="10962640" y="1181924"/>
                  <a:pt x="10952480" y="1157794"/>
                  <a:pt x="10937240" y="1164144"/>
                </a:cubicBezTo>
                <a:close/>
                <a:moveTo>
                  <a:pt x="10878820" y="1188909"/>
                </a:moveTo>
                <a:cubicBezTo>
                  <a:pt x="10863580" y="1195259"/>
                  <a:pt x="10873740" y="1218754"/>
                  <a:pt x="10888980" y="1212404"/>
                </a:cubicBezTo>
                <a:cubicBezTo>
                  <a:pt x="10904220" y="1206054"/>
                  <a:pt x="10894060" y="1181924"/>
                  <a:pt x="10878820" y="1188909"/>
                </a:cubicBezTo>
                <a:close/>
                <a:moveTo>
                  <a:pt x="10941050" y="1125409"/>
                </a:moveTo>
                <a:cubicBezTo>
                  <a:pt x="10957560" y="1117788"/>
                  <a:pt x="10945495" y="1091754"/>
                  <a:pt x="10928985" y="1100009"/>
                </a:cubicBezTo>
                <a:cubicBezTo>
                  <a:pt x="10912475" y="1106994"/>
                  <a:pt x="10924540" y="1133663"/>
                  <a:pt x="10941050" y="1125409"/>
                </a:cubicBezTo>
                <a:close/>
                <a:moveTo>
                  <a:pt x="10878820" y="1155254"/>
                </a:moveTo>
                <a:cubicBezTo>
                  <a:pt x="10895330" y="1147634"/>
                  <a:pt x="10882630" y="1121599"/>
                  <a:pt x="10866755" y="1129854"/>
                </a:cubicBezTo>
                <a:cubicBezTo>
                  <a:pt x="10850245" y="1137474"/>
                  <a:pt x="10862945" y="1163509"/>
                  <a:pt x="10878820" y="1155254"/>
                </a:cubicBezTo>
                <a:close/>
                <a:moveTo>
                  <a:pt x="10925175" y="1056194"/>
                </a:moveTo>
                <a:cubicBezTo>
                  <a:pt x="10915650" y="1038413"/>
                  <a:pt x="10888345" y="1053019"/>
                  <a:pt x="10897870" y="1070799"/>
                </a:cubicBezTo>
                <a:cubicBezTo>
                  <a:pt x="10906760" y="1088579"/>
                  <a:pt x="10934700" y="1073974"/>
                  <a:pt x="10925175" y="1056194"/>
                </a:cubicBezTo>
                <a:close/>
                <a:moveTo>
                  <a:pt x="10823575" y="1166684"/>
                </a:moveTo>
                <a:cubicBezTo>
                  <a:pt x="10815320" y="1150174"/>
                  <a:pt x="10789920" y="1162874"/>
                  <a:pt x="10798175" y="1179384"/>
                </a:cubicBezTo>
                <a:cubicBezTo>
                  <a:pt x="10806430" y="1195894"/>
                  <a:pt x="10831830" y="1183194"/>
                  <a:pt x="10823575" y="1166684"/>
                </a:cubicBezTo>
                <a:close/>
                <a:moveTo>
                  <a:pt x="10772775" y="1122234"/>
                </a:moveTo>
                <a:cubicBezTo>
                  <a:pt x="10754995" y="1131759"/>
                  <a:pt x="10770870" y="1159699"/>
                  <a:pt x="10788650" y="1148904"/>
                </a:cubicBezTo>
                <a:cubicBezTo>
                  <a:pt x="10805795" y="1139379"/>
                  <a:pt x="10789920" y="1112074"/>
                  <a:pt x="10772775" y="1122234"/>
                </a:cubicBezTo>
                <a:close/>
                <a:moveTo>
                  <a:pt x="10820400" y="1214309"/>
                </a:moveTo>
                <a:cubicBezTo>
                  <a:pt x="10805160" y="1220659"/>
                  <a:pt x="10815955" y="1244788"/>
                  <a:pt x="10830560" y="1237169"/>
                </a:cubicBezTo>
                <a:cubicBezTo>
                  <a:pt x="10845800" y="1230819"/>
                  <a:pt x="10835005" y="1207324"/>
                  <a:pt x="10820400" y="1214309"/>
                </a:cubicBezTo>
                <a:close/>
                <a:moveTo>
                  <a:pt x="10859135" y="1091754"/>
                </a:moveTo>
                <a:cubicBezTo>
                  <a:pt x="10849610" y="1073974"/>
                  <a:pt x="10821670" y="1089213"/>
                  <a:pt x="10831830" y="1106994"/>
                </a:cubicBezTo>
                <a:cubicBezTo>
                  <a:pt x="10841355" y="1124774"/>
                  <a:pt x="10869295" y="1108899"/>
                  <a:pt x="10859135" y="1091754"/>
                </a:cubicBezTo>
                <a:close/>
                <a:moveTo>
                  <a:pt x="11056620" y="1044129"/>
                </a:moveTo>
                <a:cubicBezTo>
                  <a:pt x="11039475" y="1051113"/>
                  <a:pt x="11050905" y="1077784"/>
                  <a:pt x="11067415" y="1070163"/>
                </a:cubicBezTo>
                <a:cubicBezTo>
                  <a:pt x="11084560" y="1063179"/>
                  <a:pt x="11073130" y="1037144"/>
                  <a:pt x="11056620" y="1044129"/>
                </a:cubicBezTo>
                <a:close/>
                <a:moveTo>
                  <a:pt x="11052175" y="1011109"/>
                </a:moveTo>
                <a:cubicBezTo>
                  <a:pt x="11070590" y="1002854"/>
                  <a:pt x="11057255" y="974279"/>
                  <a:pt x="11038840" y="983169"/>
                </a:cubicBezTo>
                <a:cubicBezTo>
                  <a:pt x="11020425" y="991424"/>
                  <a:pt x="11033760" y="1019999"/>
                  <a:pt x="11052175" y="1011109"/>
                </a:cubicBezTo>
                <a:lnTo>
                  <a:pt x="11052175" y="1011109"/>
                </a:lnTo>
                <a:close/>
                <a:moveTo>
                  <a:pt x="11055985" y="1117788"/>
                </a:moveTo>
                <a:cubicBezTo>
                  <a:pt x="11040745" y="1123504"/>
                  <a:pt x="11049635" y="1147634"/>
                  <a:pt x="11064875" y="1141284"/>
                </a:cubicBezTo>
                <a:cubicBezTo>
                  <a:pt x="11080750" y="1136204"/>
                  <a:pt x="11071225" y="1112074"/>
                  <a:pt x="11055985" y="1117788"/>
                </a:cubicBezTo>
                <a:close/>
                <a:moveTo>
                  <a:pt x="10762615" y="1240344"/>
                </a:moveTo>
                <a:cubicBezTo>
                  <a:pt x="10747375" y="1247329"/>
                  <a:pt x="10758805" y="1270824"/>
                  <a:pt x="10773410" y="1263204"/>
                </a:cubicBezTo>
                <a:cubicBezTo>
                  <a:pt x="10788015" y="1256854"/>
                  <a:pt x="10777220" y="1233359"/>
                  <a:pt x="10762615" y="1240344"/>
                </a:cubicBezTo>
                <a:close/>
                <a:moveTo>
                  <a:pt x="11044555" y="717738"/>
                </a:moveTo>
                <a:cubicBezTo>
                  <a:pt x="11021695" y="732979"/>
                  <a:pt x="11046460" y="768538"/>
                  <a:pt x="11068685" y="752663"/>
                </a:cubicBezTo>
                <a:cubicBezTo>
                  <a:pt x="11091545" y="736788"/>
                  <a:pt x="11066780" y="701863"/>
                  <a:pt x="11044555" y="717738"/>
                </a:cubicBezTo>
                <a:close/>
                <a:moveTo>
                  <a:pt x="11040745" y="953324"/>
                </a:moveTo>
                <a:cubicBezTo>
                  <a:pt x="11060430" y="943163"/>
                  <a:pt x="11043920" y="912684"/>
                  <a:pt x="11024870" y="923479"/>
                </a:cubicBezTo>
                <a:cubicBezTo>
                  <a:pt x="11005185" y="933638"/>
                  <a:pt x="11021060" y="964119"/>
                  <a:pt x="11040745" y="953324"/>
                </a:cubicBezTo>
                <a:close/>
                <a:moveTo>
                  <a:pt x="10996930" y="1140649"/>
                </a:moveTo>
                <a:cubicBezTo>
                  <a:pt x="10981690" y="1146363"/>
                  <a:pt x="10991215" y="1170494"/>
                  <a:pt x="11006455" y="1164144"/>
                </a:cubicBezTo>
                <a:cubicBezTo>
                  <a:pt x="11021060" y="1158429"/>
                  <a:pt x="11012170" y="1134299"/>
                  <a:pt x="10996930" y="1140649"/>
                </a:cubicBezTo>
                <a:close/>
                <a:moveTo>
                  <a:pt x="10991850" y="1022538"/>
                </a:moveTo>
                <a:cubicBezTo>
                  <a:pt x="10982960" y="1004124"/>
                  <a:pt x="10955020" y="1018729"/>
                  <a:pt x="10963910" y="1036509"/>
                </a:cubicBezTo>
                <a:cubicBezTo>
                  <a:pt x="10972800" y="1054924"/>
                  <a:pt x="11001375" y="1040319"/>
                  <a:pt x="10991850" y="1022538"/>
                </a:cubicBezTo>
                <a:close/>
                <a:moveTo>
                  <a:pt x="11003915" y="1097469"/>
                </a:moveTo>
                <a:cubicBezTo>
                  <a:pt x="11020425" y="1090484"/>
                  <a:pt x="11008995" y="1063813"/>
                  <a:pt x="10992485" y="1071434"/>
                </a:cubicBezTo>
                <a:cubicBezTo>
                  <a:pt x="10975975" y="1078419"/>
                  <a:pt x="10987405" y="1105088"/>
                  <a:pt x="11003915" y="1097469"/>
                </a:cubicBezTo>
                <a:close/>
                <a:moveTo>
                  <a:pt x="10534015" y="1353374"/>
                </a:moveTo>
                <a:cubicBezTo>
                  <a:pt x="10519410" y="1360994"/>
                  <a:pt x="10531475" y="1383854"/>
                  <a:pt x="10545445" y="1375599"/>
                </a:cubicBezTo>
                <a:cubicBezTo>
                  <a:pt x="10560685" y="1368613"/>
                  <a:pt x="10548620" y="1345754"/>
                  <a:pt x="10534015" y="1353374"/>
                </a:cubicBezTo>
                <a:close/>
                <a:moveTo>
                  <a:pt x="10442575" y="1365438"/>
                </a:moveTo>
                <a:cubicBezTo>
                  <a:pt x="10426700" y="1374963"/>
                  <a:pt x="10441940" y="1399094"/>
                  <a:pt x="10457180" y="1389569"/>
                </a:cubicBezTo>
                <a:cubicBezTo>
                  <a:pt x="10473055" y="1380044"/>
                  <a:pt x="10457815" y="1355279"/>
                  <a:pt x="10442575" y="1365438"/>
                </a:cubicBezTo>
                <a:close/>
                <a:moveTo>
                  <a:pt x="10590530" y="1324163"/>
                </a:moveTo>
                <a:cubicBezTo>
                  <a:pt x="10575925" y="1331784"/>
                  <a:pt x="10587355" y="1354644"/>
                  <a:pt x="10601960" y="1347024"/>
                </a:cubicBezTo>
                <a:cubicBezTo>
                  <a:pt x="10617200" y="1339404"/>
                  <a:pt x="10605135" y="1316544"/>
                  <a:pt x="10590530" y="1324163"/>
                </a:cubicBezTo>
                <a:close/>
                <a:moveTo>
                  <a:pt x="10561320" y="1293684"/>
                </a:moveTo>
                <a:cubicBezTo>
                  <a:pt x="10545445" y="1302574"/>
                  <a:pt x="10560050" y="1327338"/>
                  <a:pt x="10575290" y="1317813"/>
                </a:cubicBezTo>
                <a:lnTo>
                  <a:pt x="10575290" y="1317813"/>
                </a:lnTo>
                <a:cubicBezTo>
                  <a:pt x="10591165" y="1308924"/>
                  <a:pt x="10576560" y="1284159"/>
                  <a:pt x="10561320" y="1293684"/>
                </a:cubicBezTo>
                <a:close/>
                <a:moveTo>
                  <a:pt x="10632440" y="1206688"/>
                </a:moveTo>
                <a:cubicBezTo>
                  <a:pt x="10650855" y="1193988"/>
                  <a:pt x="10630535" y="1166049"/>
                  <a:pt x="10612755" y="1178749"/>
                </a:cubicBezTo>
                <a:cubicBezTo>
                  <a:pt x="10612755" y="1178749"/>
                  <a:pt x="10612755" y="1178749"/>
                  <a:pt x="10612755" y="1178749"/>
                </a:cubicBezTo>
                <a:cubicBezTo>
                  <a:pt x="10594975" y="1191449"/>
                  <a:pt x="10614660" y="1219388"/>
                  <a:pt x="10632440" y="1206688"/>
                </a:cubicBezTo>
                <a:close/>
                <a:moveTo>
                  <a:pt x="10473690" y="1349563"/>
                </a:moveTo>
                <a:cubicBezTo>
                  <a:pt x="10490200" y="1338134"/>
                  <a:pt x="10472420" y="1312099"/>
                  <a:pt x="10455910" y="1324163"/>
                </a:cubicBezTo>
                <a:cubicBezTo>
                  <a:pt x="10455910" y="1324163"/>
                  <a:pt x="10455910" y="1324163"/>
                  <a:pt x="10455910" y="1324163"/>
                </a:cubicBezTo>
                <a:cubicBezTo>
                  <a:pt x="10439400" y="1334959"/>
                  <a:pt x="10457815" y="1360994"/>
                  <a:pt x="10473690" y="1349563"/>
                </a:cubicBezTo>
                <a:lnTo>
                  <a:pt x="10473690" y="1349563"/>
                </a:lnTo>
                <a:close/>
                <a:moveTo>
                  <a:pt x="10539730" y="1286063"/>
                </a:moveTo>
                <a:cubicBezTo>
                  <a:pt x="10528935" y="1268919"/>
                  <a:pt x="10502265" y="1286699"/>
                  <a:pt x="10513695" y="1303209"/>
                </a:cubicBezTo>
                <a:cubicBezTo>
                  <a:pt x="10525125" y="1320354"/>
                  <a:pt x="10551160" y="1302574"/>
                  <a:pt x="10539730" y="1286063"/>
                </a:cubicBezTo>
                <a:close/>
                <a:moveTo>
                  <a:pt x="10640060" y="1264474"/>
                </a:moveTo>
                <a:cubicBezTo>
                  <a:pt x="10631170" y="1248599"/>
                  <a:pt x="10606405" y="1262569"/>
                  <a:pt x="10615295" y="1278444"/>
                </a:cubicBezTo>
                <a:cubicBezTo>
                  <a:pt x="10624820" y="1294319"/>
                  <a:pt x="10649585" y="1280349"/>
                  <a:pt x="10640060" y="1264474"/>
                </a:cubicBezTo>
                <a:close/>
                <a:moveTo>
                  <a:pt x="10761980" y="1198434"/>
                </a:moveTo>
                <a:cubicBezTo>
                  <a:pt x="10753725" y="1181924"/>
                  <a:pt x="10728325" y="1195259"/>
                  <a:pt x="10737215" y="1211769"/>
                </a:cubicBezTo>
                <a:cubicBezTo>
                  <a:pt x="10745470" y="1227644"/>
                  <a:pt x="10770870" y="1214309"/>
                  <a:pt x="10761980" y="1198434"/>
                </a:cubicBezTo>
                <a:close/>
                <a:moveTo>
                  <a:pt x="10501630" y="1329244"/>
                </a:moveTo>
                <a:cubicBezTo>
                  <a:pt x="10485755" y="1338769"/>
                  <a:pt x="10500995" y="1362899"/>
                  <a:pt x="10516235" y="1353374"/>
                </a:cubicBezTo>
                <a:cubicBezTo>
                  <a:pt x="10532110" y="1343849"/>
                  <a:pt x="10516870" y="1319719"/>
                  <a:pt x="10501630" y="1329244"/>
                </a:cubicBezTo>
                <a:close/>
                <a:moveTo>
                  <a:pt x="10478135" y="1383219"/>
                </a:moveTo>
                <a:cubicBezTo>
                  <a:pt x="10463530" y="1390838"/>
                  <a:pt x="10476230" y="1413699"/>
                  <a:pt x="10490200" y="1405444"/>
                </a:cubicBezTo>
                <a:cubicBezTo>
                  <a:pt x="10504805" y="1397824"/>
                  <a:pt x="10492105" y="1375599"/>
                  <a:pt x="10478135" y="1383219"/>
                </a:cubicBezTo>
                <a:close/>
                <a:moveTo>
                  <a:pt x="10704830" y="1267649"/>
                </a:moveTo>
                <a:cubicBezTo>
                  <a:pt x="10689590" y="1274634"/>
                  <a:pt x="10701020" y="1298129"/>
                  <a:pt x="10715625" y="1290509"/>
                </a:cubicBezTo>
                <a:cubicBezTo>
                  <a:pt x="10730865" y="1283524"/>
                  <a:pt x="10719435" y="1260663"/>
                  <a:pt x="10704830" y="1267649"/>
                </a:cubicBezTo>
                <a:close/>
                <a:moveTo>
                  <a:pt x="10647680" y="1295588"/>
                </a:moveTo>
                <a:cubicBezTo>
                  <a:pt x="10633075" y="1302574"/>
                  <a:pt x="10644505" y="1326069"/>
                  <a:pt x="10659110" y="1318449"/>
                </a:cubicBezTo>
                <a:cubicBezTo>
                  <a:pt x="10673715" y="1311463"/>
                  <a:pt x="10662285" y="1287969"/>
                  <a:pt x="10647680" y="1295588"/>
                </a:cubicBezTo>
                <a:close/>
                <a:moveTo>
                  <a:pt x="10701020" y="1230819"/>
                </a:moveTo>
                <a:cubicBezTo>
                  <a:pt x="10692765" y="1214309"/>
                  <a:pt x="10667365" y="1228279"/>
                  <a:pt x="10676255" y="1244154"/>
                </a:cubicBezTo>
                <a:cubicBezTo>
                  <a:pt x="10684510" y="1260663"/>
                  <a:pt x="10709910" y="1246694"/>
                  <a:pt x="10701020" y="1230819"/>
                </a:cubicBezTo>
                <a:close/>
                <a:moveTo>
                  <a:pt x="10744200" y="995869"/>
                </a:moveTo>
                <a:cubicBezTo>
                  <a:pt x="10706735" y="1052384"/>
                  <a:pt x="10819765" y="1025713"/>
                  <a:pt x="10760075" y="992059"/>
                </a:cubicBezTo>
                <a:cubicBezTo>
                  <a:pt x="10807700" y="931734"/>
                  <a:pt x="10678795" y="956499"/>
                  <a:pt x="10745470" y="994599"/>
                </a:cubicBezTo>
                <a:cubicBezTo>
                  <a:pt x="10744835" y="995234"/>
                  <a:pt x="10744835" y="995234"/>
                  <a:pt x="10744200" y="995869"/>
                </a:cubicBezTo>
                <a:close/>
                <a:moveTo>
                  <a:pt x="10708005" y="1160969"/>
                </a:moveTo>
                <a:cubicBezTo>
                  <a:pt x="10690860" y="1171129"/>
                  <a:pt x="10706735" y="1198434"/>
                  <a:pt x="10723880" y="1187638"/>
                </a:cubicBezTo>
                <a:cubicBezTo>
                  <a:pt x="10741660" y="1177479"/>
                  <a:pt x="10725150" y="1150174"/>
                  <a:pt x="10708005" y="1160969"/>
                </a:cubicBezTo>
                <a:close/>
                <a:moveTo>
                  <a:pt x="10643870" y="1199704"/>
                </a:moveTo>
                <a:cubicBezTo>
                  <a:pt x="10626725" y="1209863"/>
                  <a:pt x="10643870" y="1237169"/>
                  <a:pt x="10660380" y="1225738"/>
                </a:cubicBezTo>
                <a:cubicBezTo>
                  <a:pt x="10677525" y="1215579"/>
                  <a:pt x="10661015" y="1188909"/>
                  <a:pt x="10643870" y="1199704"/>
                </a:cubicBezTo>
                <a:close/>
                <a:moveTo>
                  <a:pt x="10688955" y="1164144"/>
                </a:moveTo>
                <a:cubicBezTo>
                  <a:pt x="10718165" y="1163509"/>
                  <a:pt x="10704195" y="1117788"/>
                  <a:pt x="10679430" y="1133029"/>
                </a:cubicBezTo>
                <a:cubicBezTo>
                  <a:pt x="10665460" y="1141919"/>
                  <a:pt x="10673080" y="1164779"/>
                  <a:pt x="10688955" y="1164144"/>
                </a:cubicBezTo>
                <a:close/>
                <a:moveTo>
                  <a:pt x="10679430" y="1112074"/>
                </a:moveTo>
                <a:cubicBezTo>
                  <a:pt x="10701020" y="1138109"/>
                  <a:pt x="10730230" y="1091119"/>
                  <a:pt x="10697845" y="1083499"/>
                </a:cubicBezTo>
                <a:cubicBezTo>
                  <a:pt x="10708005" y="1074609"/>
                  <a:pt x="10705465" y="1056829"/>
                  <a:pt x="10692765" y="1051113"/>
                </a:cubicBezTo>
                <a:cubicBezTo>
                  <a:pt x="10700385" y="1040954"/>
                  <a:pt x="10696575" y="1025079"/>
                  <a:pt x="10685145" y="1019999"/>
                </a:cubicBezTo>
                <a:cubicBezTo>
                  <a:pt x="10753090" y="972374"/>
                  <a:pt x="10612120" y="959674"/>
                  <a:pt x="10669905" y="1018729"/>
                </a:cubicBezTo>
                <a:cubicBezTo>
                  <a:pt x="10650855" y="1023174"/>
                  <a:pt x="10649585" y="1052384"/>
                  <a:pt x="10668000" y="1058734"/>
                </a:cubicBezTo>
                <a:cubicBezTo>
                  <a:pt x="10660380" y="1069529"/>
                  <a:pt x="10667365" y="1087309"/>
                  <a:pt x="10681335" y="1088579"/>
                </a:cubicBezTo>
                <a:cubicBezTo>
                  <a:pt x="10674985" y="1094929"/>
                  <a:pt x="10674350" y="1105088"/>
                  <a:pt x="10679430" y="1112074"/>
                </a:cubicBezTo>
                <a:close/>
                <a:moveTo>
                  <a:pt x="11482705" y="989519"/>
                </a:moveTo>
                <a:cubicBezTo>
                  <a:pt x="11466830" y="992694"/>
                  <a:pt x="11472545" y="1018094"/>
                  <a:pt x="11488420" y="1014284"/>
                </a:cubicBezTo>
                <a:cubicBezTo>
                  <a:pt x="11504930" y="1010474"/>
                  <a:pt x="11499215" y="985709"/>
                  <a:pt x="11482705" y="989519"/>
                </a:cubicBezTo>
                <a:close/>
                <a:moveTo>
                  <a:pt x="635" y="1256854"/>
                </a:moveTo>
                <a:cubicBezTo>
                  <a:pt x="0" y="1256854"/>
                  <a:pt x="0" y="1256854"/>
                  <a:pt x="635" y="1256854"/>
                </a:cubicBezTo>
                <a:lnTo>
                  <a:pt x="0" y="1293049"/>
                </a:lnTo>
                <a:cubicBezTo>
                  <a:pt x="18415" y="1289874"/>
                  <a:pt x="20955" y="1260029"/>
                  <a:pt x="635" y="1256854"/>
                </a:cubicBezTo>
                <a:close/>
                <a:moveTo>
                  <a:pt x="635" y="1186369"/>
                </a:moveTo>
                <a:cubicBezTo>
                  <a:pt x="0" y="1186369"/>
                  <a:pt x="0" y="1186369"/>
                  <a:pt x="635" y="1186369"/>
                </a:cubicBezTo>
                <a:lnTo>
                  <a:pt x="0" y="1223199"/>
                </a:lnTo>
                <a:cubicBezTo>
                  <a:pt x="18415" y="1220024"/>
                  <a:pt x="20320" y="1190179"/>
                  <a:pt x="635" y="1186369"/>
                </a:cubicBezTo>
                <a:close/>
                <a:moveTo>
                  <a:pt x="15240" y="1344484"/>
                </a:moveTo>
                <a:cubicBezTo>
                  <a:pt x="15240" y="1333054"/>
                  <a:pt x="8255" y="1327974"/>
                  <a:pt x="0" y="1326704"/>
                </a:cubicBezTo>
                <a:lnTo>
                  <a:pt x="0" y="1362263"/>
                </a:lnTo>
                <a:cubicBezTo>
                  <a:pt x="8255" y="1360994"/>
                  <a:pt x="15240" y="1354644"/>
                  <a:pt x="15240" y="1344484"/>
                </a:cubicBezTo>
                <a:close/>
                <a:moveTo>
                  <a:pt x="163830" y="1565463"/>
                </a:moveTo>
                <a:cubicBezTo>
                  <a:pt x="178435" y="1573084"/>
                  <a:pt x="189865" y="1549588"/>
                  <a:pt x="175260" y="1542604"/>
                </a:cubicBezTo>
                <a:cubicBezTo>
                  <a:pt x="160020" y="1534984"/>
                  <a:pt x="148590" y="1558479"/>
                  <a:pt x="163830" y="1565463"/>
                </a:cubicBezTo>
                <a:close/>
                <a:moveTo>
                  <a:pt x="132080" y="1957894"/>
                </a:moveTo>
                <a:cubicBezTo>
                  <a:pt x="123825" y="1978213"/>
                  <a:pt x="155575" y="1990913"/>
                  <a:pt x="163830" y="1970594"/>
                </a:cubicBezTo>
                <a:cubicBezTo>
                  <a:pt x="172085" y="1950274"/>
                  <a:pt x="139700" y="1937574"/>
                  <a:pt x="132080" y="1957894"/>
                </a:cubicBezTo>
                <a:close/>
                <a:moveTo>
                  <a:pt x="15240" y="1414334"/>
                </a:moveTo>
                <a:cubicBezTo>
                  <a:pt x="15240" y="1402904"/>
                  <a:pt x="8255" y="1397824"/>
                  <a:pt x="0" y="1396554"/>
                </a:cubicBezTo>
                <a:lnTo>
                  <a:pt x="0" y="1432113"/>
                </a:lnTo>
                <a:cubicBezTo>
                  <a:pt x="8255" y="1430844"/>
                  <a:pt x="15240" y="1424494"/>
                  <a:pt x="15240" y="1414334"/>
                </a:cubicBezTo>
                <a:close/>
                <a:moveTo>
                  <a:pt x="121285" y="1812479"/>
                </a:moveTo>
                <a:cubicBezTo>
                  <a:pt x="113030" y="1830894"/>
                  <a:pt x="141605" y="1843594"/>
                  <a:pt x="149860" y="1825179"/>
                </a:cubicBezTo>
                <a:cubicBezTo>
                  <a:pt x="158115" y="1806763"/>
                  <a:pt x="129540" y="1794063"/>
                  <a:pt x="121285" y="1812479"/>
                </a:cubicBezTo>
                <a:close/>
                <a:moveTo>
                  <a:pt x="111125" y="1666429"/>
                </a:moveTo>
                <a:cubicBezTo>
                  <a:pt x="107950" y="1673413"/>
                  <a:pt x="110490" y="1681669"/>
                  <a:pt x="117475" y="1685479"/>
                </a:cubicBezTo>
                <a:lnTo>
                  <a:pt x="117475" y="1685479"/>
                </a:lnTo>
                <a:cubicBezTo>
                  <a:pt x="153670" y="1695004"/>
                  <a:pt x="132715" y="1636584"/>
                  <a:pt x="111125" y="1666429"/>
                </a:cubicBezTo>
                <a:close/>
                <a:moveTo>
                  <a:pt x="106680" y="1536888"/>
                </a:moveTo>
                <a:cubicBezTo>
                  <a:pt x="121285" y="1544509"/>
                  <a:pt x="133350" y="1521649"/>
                  <a:pt x="118110" y="1514029"/>
                </a:cubicBezTo>
                <a:cubicBezTo>
                  <a:pt x="103505" y="1506409"/>
                  <a:pt x="92075" y="1529269"/>
                  <a:pt x="106680" y="1536888"/>
                </a:cubicBezTo>
                <a:close/>
                <a:moveTo>
                  <a:pt x="635" y="1116519"/>
                </a:moveTo>
                <a:cubicBezTo>
                  <a:pt x="0" y="1116519"/>
                  <a:pt x="0" y="1116519"/>
                  <a:pt x="635" y="1116519"/>
                </a:cubicBezTo>
                <a:lnTo>
                  <a:pt x="0" y="1152713"/>
                </a:lnTo>
                <a:cubicBezTo>
                  <a:pt x="18415" y="1150174"/>
                  <a:pt x="20955" y="1120329"/>
                  <a:pt x="635" y="1116519"/>
                </a:cubicBezTo>
                <a:close/>
                <a:moveTo>
                  <a:pt x="7620" y="2171254"/>
                </a:moveTo>
                <a:cubicBezTo>
                  <a:pt x="5080" y="2169984"/>
                  <a:pt x="2540" y="2169984"/>
                  <a:pt x="0" y="2169349"/>
                </a:cubicBezTo>
                <a:lnTo>
                  <a:pt x="0" y="2209354"/>
                </a:lnTo>
                <a:cubicBezTo>
                  <a:pt x="19050" y="2209989"/>
                  <a:pt x="28575" y="2179509"/>
                  <a:pt x="7620" y="2171254"/>
                </a:cubicBezTo>
                <a:close/>
                <a:moveTo>
                  <a:pt x="10795" y="1472754"/>
                </a:moveTo>
                <a:cubicBezTo>
                  <a:pt x="16510" y="1461959"/>
                  <a:pt x="8255" y="1454974"/>
                  <a:pt x="0" y="1454338"/>
                </a:cubicBezTo>
                <a:lnTo>
                  <a:pt x="0" y="1502599"/>
                </a:lnTo>
                <a:cubicBezTo>
                  <a:pt x="13335" y="1500694"/>
                  <a:pt x="20320" y="1482913"/>
                  <a:pt x="10795" y="1472754"/>
                </a:cubicBezTo>
                <a:close/>
                <a:moveTo>
                  <a:pt x="437515" y="1820734"/>
                </a:moveTo>
                <a:cubicBezTo>
                  <a:pt x="454660" y="1827084"/>
                  <a:pt x="464820" y="1800413"/>
                  <a:pt x="447040" y="1794063"/>
                </a:cubicBezTo>
                <a:cubicBezTo>
                  <a:pt x="429895" y="1787079"/>
                  <a:pt x="419735" y="1814384"/>
                  <a:pt x="437515" y="1820734"/>
                </a:cubicBezTo>
                <a:close/>
                <a:moveTo>
                  <a:pt x="7620" y="2457639"/>
                </a:moveTo>
                <a:cubicBezTo>
                  <a:pt x="5080" y="2457004"/>
                  <a:pt x="2540" y="2456369"/>
                  <a:pt x="0" y="2456369"/>
                </a:cubicBezTo>
                <a:lnTo>
                  <a:pt x="0" y="2501454"/>
                </a:lnTo>
                <a:cubicBezTo>
                  <a:pt x="22225" y="2502089"/>
                  <a:pt x="32385" y="2465894"/>
                  <a:pt x="7620" y="2457639"/>
                </a:cubicBezTo>
                <a:close/>
                <a:moveTo>
                  <a:pt x="7620" y="2028379"/>
                </a:moveTo>
                <a:cubicBezTo>
                  <a:pt x="5080" y="2027109"/>
                  <a:pt x="2540" y="2026474"/>
                  <a:pt x="0" y="2026474"/>
                </a:cubicBezTo>
                <a:lnTo>
                  <a:pt x="0" y="2063304"/>
                </a:lnTo>
                <a:cubicBezTo>
                  <a:pt x="17145" y="2063938"/>
                  <a:pt x="26670" y="2036634"/>
                  <a:pt x="7620" y="2028379"/>
                </a:cubicBezTo>
                <a:close/>
                <a:moveTo>
                  <a:pt x="13335" y="1616263"/>
                </a:moveTo>
                <a:cubicBezTo>
                  <a:pt x="17780" y="1605469"/>
                  <a:pt x="8890" y="1597849"/>
                  <a:pt x="0" y="1597849"/>
                </a:cubicBezTo>
                <a:lnTo>
                  <a:pt x="0" y="1642299"/>
                </a:lnTo>
                <a:cubicBezTo>
                  <a:pt x="10795" y="1639759"/>
                  <a:pt x="19685" y="1628963"/>
                  <a:pt x="13335" y="1616263"/>
                </a:cubicBezTo>
                <a:close/>
                <a:moveTo>
                  <a:pt x="635" y="1536254"/>
                </a:moveTo>
                <a:cubicBezTo>
                  <a:pt x="0" y="1536254"/>
                  <a:pt x="0" y="1536254"/>
                  <a:pt x="635" y="1536254"/>
                </a:cubicBezTo>
                <a:lnTo>
                  <a:pt x="0" y="1572449"/>
                </a:lnTo>
                <a:cubicBezTo>
                  <a:pt x="18415" y="1569909"/>
                  <a:pt x="20955" y="1540063"/>
                  <a:pt x="635" y="1536254"/>
                </a:cubicBezTo>
                <a:close/>
                <a:moveTo>
                  <a:pt x="6985" y="1741994"/>
                </a:moveTo>
                <a:cubicBezTo>
                  <a:pt x="4445" y="1740724"/>
                  <a:pt x="2540" y="1740088"/>
                  <a:pt x="0" y="1740088"/>
                </a:cubicBezTo>
                <a:lnTo>
                  <a:pt x="0" y="1771204"/>
                </a:lnTo>
                <a:cubicBezTo>
                  <a:pt x="13970" y="1771204"/>
                  <a:pt x="22860" y="1748979"/>
                  <a:pt x="6985" y="1741994"/>
                </a:cubicBezTo>
                <a:close/>
                <a:moveTo>
                  <a:pt x="635" y="1675954"/>
                </a:moveTo>
                <a:cubicBezTo>
                  <a:pt x="0" y="1675954"/>
                  <a:pt x="0" y="1675954"/>
                  <a:pt x="635" y="1675954"/>
                </a:cubicBezTo>
                <a:lnTo>
                  <a:pt x="0" y="1712149"/>
                </a:lnTo>
                <a:cubicBezTo>
                  <a:pt x="19050" y="1709609"/>
                  <a:pt x="20320" y="1679763"/>
                  <a:pt x="635" y="1675954"/>
                </a:cubicBezTo>
                <a:close/>
                <a:moveTo>
                  <a:pt x="6985" y="1884869"/>
                </a:moveTo>
                <a:cubicBezTo>
                  <a:pt x="4445" y="1883599"/>
                  <a:pt x="1905" y="1882963"/>
                  <a:pt x="0" y="1882963"/>
                </a:cubicBezTo>
                <a:lnTo>
                  <a:pt x="0" y="1917254"/>
                </a:lnTo>
                <a:cubicBezTo>
                  <a:pt x="15875" y="1917888"/>
                  <a:pt x="24765" y="1893124"/>
                  <a:pt x="6985" y="1884869"/>
                </a:cubicBezTo>
                <a:close/>
                <a:moveTo>
                  <a:pt x="307975" y="1769934"/>
                </a:moveTo>
                <a:cubicBezTo>
                  <a:pt x="324485" y="1777554"/>
                  <a:pt x="335915" y="1750884"/>
                  <a:pt x="318770" y="1743899"/>
                </a:cubicBezTo>
                <a:cubicBezTo>
                  <a:pt x="301625" y="1736913"/>
                  <a:pt x="290830" y="1762949"/>
                  <a:pt x="307975" y="1769934"/>
                </a:cubicBezTo>
                <a:close/>
                <a:moveTo>
                  <a:pt x="347345" y="2314129"/>
                </a:moveTo>
                <a:cubicBezTo>
                  <a:pt x="372110" y="2319209"/>
                  <a:pt x="380365" y="2279839"/>
                  <a:pt x="354965" y="2275394"/>
                </a:cubicBezTo>
                <a:cubicBezTo>
                  <a:pt x="329565" y="2270314"/>
                  <a:pt x="321945" y="2309684"/>
                  <a:pt x="347345" y="2314129"/>
                </a:cubicBezTo>
                <a:close/>
                <a:moveTo>
                  <a:pt x="173355" y="1695638"/>
                </a:moveTo>
                <a:cubicBezTo>
                  <a:pt x="165735" y="1712149"/>
                  <a:pt x="191770" y="1724213"/>
                  <a:pt x="198755" y="1707069"/>
                </a:cubicBezTo>
                <a:cubicBezTo>
                  <a:pt x="207010" y="1691194"/>
                  <a:pt x="180975" y="1679129"/>
                  <a:pt x="173355" y="1695638"/>
                </a:cubicBezTo>
                <a:close/>
                <a:moveTo>
                  <a:pt x="338455" y="1916619"/>
                </a:moveTo>
                <a:cubicBezTo>
                  <a:pt x="357505" y="1923604"/>
                  <a:pt x="368300" y="1893759"/>
                  <a:pt x="348615" y="1887409"/>
                </a:cubicBezTo>
                <a:cubicBezTo>
                  <a:pt x="330200" y="1879788"/>
                  <a:pt x="320040" y="1909634"/>
                  <a:pt x="338455" y="1916619"/>
                </a:cubicBezTo>
                <a:close/>
                <a:moveTo>
                  <a:pt x="336550" y="1646744"/>
                </a:moveTo>
                <a:cubicBezTo>
                  <a:pt x="351155" y="1653729"/>
                  <a:pt x="361950" y="1630234"/>
                  <a:pt x="346710" y="1623884"/>
                </a:cubicBezTo>
                <a:cubicBezTo>
                  <a:pt x="331470" y="1616899"/>
                  <a:pt x="321310" y="1640394"/>
                  <a:pt x="336550" y="1646744"/>
                </a:cubicBezTo>
                <a:close/>
                <a:moveTo>
                  <a:pt x="400050" y="1921063"/>
                </a:moveTo>
                <a:cubicBezTo>
                  <a:pt x="393700" y="1940113"/>
                  <a:pt x="423545" y="1950274"/>
                  <a:pt x="429260" y="1930588"/>
                </a:cubicBezTo>
                <a:cubicBezTo>
                  <a:pt x="436245" y="1911538"/>
                  <a:pt x="405765" y="1902013"/>
                  <a:pt x="400050" y="1921063"/>
                </a:cubicBezTo>
                <a:close/>
                <a:moveTo>
                  <a:pt x="375920" y="2059494"/>
                </a:moveTo>
                <a:cubicBezTo>
                  <a:pt x="394970" y="2060129"/>
                  <a:pt x="399415" y="2030919"/>
                  <a:pt x="380365" y="2026474"/>
                </a:cubicBezTo>
                <a:cubicBezTo>
                  <a:pt x="356235" y="2019488"/>
                  <a:pt x="350520" y="2059494"/>
                  <a:pt x="375920" y="2059494"/>
                </a:cubicBezTo>
                <a:close/>
                <a:moveTo>
                  <a:pt x="394335" y="1672144"/>
                </a:moveTo>
                <a:cubicBezTo>
                  <a:pt x="408940" y="1679129"/>
                  <a:pt x="419735" y="1654999"/>
                  <a:pt x="404495" y="1648649"/>
                </a:cubicBezTo>
                <a:cubicBezTo>
                  <a:pt x="389890" y="1642299"/>
                  <a:pt x="379095" y="1665794"/>
                  <a:pt x="394335" y="1672144"/>
                </a:cubicBezTo>
                <a:close/>
                <a:moveTo>
                  <a:pt x="372110" y="1795969"/>
                </a:moveTo>
                <a:cubicBezTo>
                  <a:pt x="388620" y="1802954"/>
                  <a:pt x="399415" y="1776284"/>
                  <a:pt x="382270" y="1769934"/>
                </a:cubicBezTo>
                <a:cubicBezTo>
                  <a:pt x="365760" y="1762949"/>
                  <a:pt x="354965" y="1789619"/>
                  <a:pt x="372110" y="1795969"/>
                </a:cubicBezTo>
                <a:close/>
                <a:moveTo>
                  <a:pt x="342265" y="2163634"/>
                </a:moveTo>
                <a:cubicBezTo>
                  <a:pt x="348615" y="2140774"/>
                  <a:pt x="312420" y="2131249"/>
                  <a:pt x="306705" y="2154109"/>
                </a:cubicBezTo>
                <a:cubicBezTo>
                  <a:pt x="300355" y="2176969"/>
                  <a:pt x="336550" y="2186494"/>
                  <a:pt x="342265" y="2163634"/>
                </a:cubicBezTo>
                <a:close/>
                <a:moveTo>
                  <a:pt x="278130" y="1620074"/>
                </a:moveTo>
                <a:cubicBezTo>
                  <a:pt x="292735" y="1627059"/>
                  <a:pt x="304165" y="1603563"/>
                  <a:pt x="288925" y="1597213"/>
                </a:cubicBezTo>
                <a:cubicBezTo>
                  <a:pt x="274320" y="1590229"/>
                  <a:pt x="263525" y="1613724"/>
                  <a:pt x="278130" y="1620074"/>
                </a:cubicBezTo>
                <a:close/>
                <a:moveTo>
                  <a:pt x="243840" y="1742629"/>
                </a:moveTo>
                <a:cubicBezTo>
                  <a:pt x="260350" y="1750249"/>
                  <a:pt x="271780" y="1723579"/>
                  <a:pt x="255270" y="1716594"/>
                </a:cubicBezTo>
                <a:cubicBezTo>
                  <a:pt x="238760" y="1709609"/>
                  <a:pt x="227330" y="1735644"/>
                  <a:pt x="243840" y="1742629"/>
                </a:cubicBezTo>
                <a:close/>
                <a:moveTo>
                  <a:pt x="220980" y="1593404"/>
                </a:moveTo>
                <a:cubicBezTo>
                  <a:pt x="235585" y="1601024"/>
                  <a:pt x="247015" y="1577529"/>
                  <a:pt x="231775" y="1570544"/>
                </a:cubicBezTo>
                <a:cubicBezTo>
                  <a:pt x="217170" y="1562924"/>
                  <a:pt x="205740" y="1586419"/>
                  <a:pt x="220980" y="1593404"/>
                </a:cubicBezTo>
                <a:close/>
                <a:moveTo>
                  <a:pt x="189865" y="1842324"/>
                </a:moveTo>
                <a:cubicBezTo>
                  <a:pt x="181610" y="1860738"/>
                  <a:pt x="210820" y="1872804"/>
                  <a:pt x="218440" y="1854388"/>
                </a:cubicBezTo>
                <a:cubicBezTo>
                  <a:pt x="226695" y="1835338"/>
                  <a:pt x="197485" y="1823274"/>
                  <a:pt x="189865" y="1842324"/>
                </a:cubicBezTo>
                <a:close/>
                <a:moveTo>
                  <a:pt x="282575" y="2013774"/>
                </a:moveTo>
                <a:cubicBezTo>
                  <a:pt x="275590" y="2034729"/>
                  <a:pt x="307975" y="2045524"/>
                  <a:pt x="314960" y="2024569"/>
                </a:cubicBezTo>
                <a:cubicBezTo>
                  <a:pt x="321945" y="2003613"/>
                  <a:pt x="289560" y="1992819"/>
                  <a:pt x="282575" y="2013774"/>
                </a:cubicBezTo>
                <a:close/>
                <a:moveTo>
                  <a:pt x="236220" y="2152839"/>
                </a:moveTo>
                <a:cubicBezTo>
                  <a:pt x="258445" y="2160459"/>
                  <a:pt x="269875" y="2124264"/>
                  <a:pt x="247015" y="2117914"/>
                </a:cubicBezTo>
                <a:cubicBezTo>
                  <a:pt x="224790" y="2110294"/>
                  <a:pt x="213360" y="2145854"/>
                  <a:pt x="236220" y="2152839"/>
                </a:cubicBezTo>
                <a:close/>
                <a:moveTo>
                  <a:pt x="267970" y="1890584"/>
                </a:moveTo>
                <a:cubicBezTo>
                  <a:pt x="286385" y="1898204"/>
                  <a:pt x="298450" y="1868359"/>
                  <a:pt x="278765" y="1861374"/>
                </a:cubicBezTo>
                <a:cubicBezTo>
                  <a:pt x="260985" y="1853754"/>
                  <a:pt x="249555" y="1883599"/>
                  <a:pt x="267970" y="1890584"/>
                </a:cubicBezTo>
                <a:close/>
                <a:moveTo>
                  <a:pt x="238760" y="1998534"/>
                </a:moveTo>
                <a:cubicBezTo>
                  <a:pt x="246380" y="1978213"/>
                  <a:pt x="213995" y="1966149"/>
                  <a:pt x="207010" y="1987104"/>
                </a:cubicBezTo>
                <a:cubicBezTo>
                  <a:pt x="199390" y="2007424"/>
                  <a:pt x="231140" y="2019488"/>
                  <a:pt x="238760" y="1998534"/>
                </a:cubicBezTo>
                <a:close/>
                <a:moveTo>
                  <a:pt x="7620" y="2314129"/>
                </a:moveTo>
                <a:cubicBezTo>
                  <a:pt x="5080" y="2312859"/>
                  <a:pt x="2540" y="2312859"/>
                  <a:pt x="0" y="2312859"/>
                </a:cubicBezTo>
                <a:lnTo>
                  <a:pt x="0" y="2355404"/>
                </a:lnTo>
                <a:cubicBezTo>
                  <a:pt x="20320" y="2356039"/>
                  <a:pt x="30480" y="2323019"/>
                  <a:pt x="7620" y="2314129"/>
                </a:cubicBezTo>
                <a:close/>
                <a:moveTo>
                  <a:pt x="302260" y="2415729"/>
                </a:moveTo>
                <a:cubicBezTo>
                  <a:pt x="307340" y="2389059"/>
                  <a:pt x="264795" y="2381439"/>
                  <a:pt x="260350" y="2408109"/>
                </a:cubicBezTo>
                <a:cubicBezTo>
                  <a:pt x="255270" y="2435414"/>
                  <a:pt x="297815" y="2443034"/>
                  <a:pt x="302260" y="2415729"/>
                </a:cubicBezTo>
                <a:close/>
                <a:moveTo>
                  <a:pt x="426720" y="2552254"/>
                </a:moveTo>
                <a:cubicBezTo>
                  <a:pt x="427990" y="2523044"/>
                  <a:pt x="381635" y="2521774"/>
                  <a:pt x="381635" y="2550984"/>
                </a:cubicBezTo>
                <a:cubicBezTo>
                  <a:pt x="380365" y="2580829"/>
                  <a:pt x="426085" y="2582099"/>
                  <a:pt x="426720" y="2552254"/>
                </a:cubicBezTo>
                <a:close/>
                <a:moveTo>
                  <a:pt x="448945" y="2761169"/>
                </a:moveTo>
                <a:cubicBezTo>
                  <a:pt x="415925" y="2766249"/>
                  <a:pt x="424815" y="2817049"/>
                  <a:pt x="457200" y="2811334"/>
                </a:cubicBezTo>
                <a:cubicBezTo>
                  <a:pt x="489585" y="2806889"/>
                  <a:pt x="481330" y="2755454"/>
                  <a:pt x="448945" y="2761169"/>
                </a:cubicBezTo>
                <a:close/>
                <a:moveTo>
                  <a:pt x="529590" y="2549714"/>
                </a:moveTo>
                <a:cubicBezTo>
                  <a:pt x="528320" y="2520504"/>
                  <a:pt x="482600" y="2522409"/>
                  <a:pt x="484505" y="2551619"/>
                </a:cubicBezTo>
                <a:cubicBezTo>
                  <a:pt x="485140" y="2581464"/>
                  <a:pt x="531495" y="2578924"/>
                  <a:pt x="529590" y="2549714"/>
                </a:cubicBezTo>
                <a:close/>
                <a:moveTo>
                  <a:pt x="561340" y="2657029"/>
                </a:moveTo>
                <a:cubicBezTo>
                  <a:pt x="556895" y="2625914"/>
                  <a:pt x="508635" y="2633534"/>
                  <a:pt x="513715" y="2664014"/>
                </a:cubicBezTo>
                <a:cubicBezTo>
                  <a:pt x="518160" y="2695129"/>
                  <a:pt x="566420" y="2687509"/>
                  <a:pt x="561340" y="2657029"/>
                </a:cubicBezTo>
                <a:close/>
                <a:moveTo>
                  <a:pt x="398780" y="2428429"/>
                </a:moveTo>
                <a:cubicBezTo>
                  <a:pt x="402590" y="2401124"/>
                  <a:pt x="359410" y="2396679"/>
                  <a:pt x="356870" y="2423984"/>
                </a:cubicBezTo>
                <a:cubicBezTo>
                  <a:pt x="353060" y="2450654"/>
                  <a:pt x="395605" y="2455734"/>
                  <a:pt x="398780" y="2428429"/>
                </a:cubicBezTo>
                <a:close/>
                <a:moveTo>
                  <a:pt x="321310" y="2650679"/>
                </a:moveTo>
                <a:cubicBezTo>
                  <a:pt x="290195" y="2649409"/>
                  <a:pt x="289560" y="2698939"/>
                  <a:pt x="320675" y="2698939"/>
                </a:cubicBezTo>
                <a:cubicBezTo>
                  <a:pt x="351790" y="2699574"/>
                  <a:pt x="352425" y="2650679"/>
                  <a:pt x="321310" y="2650679"/>
                </a:cubicBezTo>
                <a:close/>
                <a:moveTo>
                  <a:pt x="303530" y="2523044"/>
                </a:moveTo>
                <a:cubicBezTo>
                  <a:pt x="273050" y="2519869"/>
                  <a:pt x="270510" y="2568129"/>
                  <a:pt x="300990" y="2568129"/>
                </a:cubicBezTo>
                <a:cubicBezTo>
                  <a:pt x="328930" y="2568764"/>
                  <a:pt x="331470" y="2524949"/>
                  <a:pt x="303530" y="2523044"/>
                </a:cubicBezTo>
                <a:close/>
                <a:moveTo>
                  <a:pt x="337820" y="2774504"/>
                </a:moveTo>
                <a:cubicBezTo>
                  <a:pt x="304800" y="2776409"/>
                  <a:pt x="308610" y="2827844"/>
                  <a:pt x="341630" y="2825304"/>
                </a:cubicBezTo>
                <a:cubicBezTo>
                  <a:pt x="374650" y="2823399"/>
                  <a:pt x="370840" y="2771964"/>
                  <a:pt x="337820" y="2774504"/>
                </a:cubicBezTo>
                <a:close/>
                <a:moveTo>
                  <a:pt x="427990" y="2648139"/>
                </a:moveTo>
                <a:cubicBezTo>
                  <a:pt x="396875" y="2650044"/>
                  <a:pt x="400050" y="2698304"/>
                  <a:pt x="431165" y="2695764"/>
                </a:cubicBezTo>
                <a:cubicBezTo>
                  <a:pt x="462280" y="2694494"/>
                  <a:pt x="459105" y="2645599"/>
                  <a:pt x="427990" y="2648139"/>
                </a:cubicBezTo>
                <a:close/>
                <a:moveTo>
                  <a:pt x="833755" y="2500184"/>
                </a:moveTo>
                <a:cubicBezTo>
                  <a:pt x="827405" y="2471609"/>
                  <a:pt x="782320" y="2482404"/>
                  <a:pt x="789940" y="2510979"/>
                </a:cubicBezTo>
                <a:cubicBezTo>
                  <a:pt x="796925" y="2539554"/>
                  <a:pt x="841375" y="2528124"/>
                  <a:pt x="833755" y="2500184"/>
                </a:cubicBezTo>
                <a:close/>
                <a:moveTo>
                  <a:pt x="772160" y="2667824"/>
                </a:moveTo>
                <a:cubicBezTo>
                  <a:pt x="741045" y="2679889"/>
                  <a:pt x="760730" y="2727514"/>
                  <a:pt x="791210" y="2714814"/>
                </a:cubicBezTo>
                <a:cubicBezTo>
                  <a:pt x="822325" y="2702749"/>
                  <a:pt x="802640" y="2655124"/>
                  <a:pt x="772160" y="2667824"/>
                </a:cubicBezTo>
                <a:close/>
                <a:moveTo>
                  <a:pt x="875030" y="2571939"/>
                </a:moveTo>
                <a:cubicBezTo>
                  <a:pt x="864870" y="2542729"/>
                  <a:pt x="819150" y="2559239"/>
                  <a:pt x="829945" y="2588449"/>
                </a:cubicBezTo>
                <a:cubicBezTo>
                  <a:pt x="840105" y="2617659"/>
                  <a:pt x="885825" y="2600514"/>
                  <a:pt x="875030" y="2571939"/>
                </a:cubicBezTo>
                <a:close/>
                <a:moveTo>
                  <a:pt x="558800" y="2738309"/>
                </a:moveTo>
                <a:cubicBezTo>
                  <a:pt x="526415" y="2745929"/>
                  <a:pt x="539750" y="2796094"/>
                  <a:pt x="571500" y="2787839"/>
                </a:cubicBezTo>
                <a:cubicBezTo>
                  <a:pt x="603250" y="2780219"/>
                  <a:pt x="590550" y="2730054"/>
                  <a:pt x="558800" y="2738309"/>
                </a:cubicBezTo>
                <a:close/>
                <a:moveTo>
                  <a:pt x="772160" y="2606864"/>
                </a:moveTo>
                <a:cubicBezTo>
                  <a:pt x="763905" y="2577019"/>
                  <a:pt x="716915" y="2590354"/>
                  <a:pt x="725805" y="2620199"/>
                </a:cubicBezTo>
                <a:cubicBezTo>
                  <a:pt x="734695" y="2650044"/>
                  <a:pt x="781685" y="2636074"/>
                  <a:pt x="772160" y="2606864"/>
                </a:cubicBezTo>
                <a:close/>
                <a:moveTo>
                  <a:pt x="6985" y="2600514"/>
                </a:moveTo>
                <a:cubicBezTo>
                  <a:pt x="4445" y="2599879"/>
                  <a:pt x="1905" y="2599244"/>
                  <a:pt x="0" y="2599244"/>
                </a:cubicBezTo>
                <a:lnTo>
                  <a:pt x="0" y="2647504"/>
                </a:lnTo>
                <a:cubicBezTo>
                  <a:pt x="24130" y="2648139"/>
                  <a:pt x="34290" y="2608769"/>
                  <a:pt x="6985" y="2600514"/>
                </a:cubicBezTo>
                <a:close/>
                <a:moveTo>
                  <a:pt x="733425" y="2523044"/>
                </a:moveTo>
                <a:cubicBezTo>
                  <a:pt x="728345" y="2493834"/>
                  <a:pt x="683260" y="2502724"/>
                  <a:pt x="688975" y="2531299"/>
                </a:cubicBezTo>
                <a:cubicBezTo>
                  <a:pt x="694055" y="2559874"/>
                  <a:pt x="739140" y="2551619"/>
                  <a:pt x="733425" y="2523044"/>
                </a:cubicBezTo>
                <a:close/>
                <a:moveTo>
                  <a:pt x="631825" y="2539554"/>
                </a:moveTo>
                <a:cubicBezTo>
                  <a:pt x="628650" y="2510344"/>
                  <a:pt x="582930" y="2515424"/>
                  <a:pt x="586740" y="2544634"/>
                </a:cubicBezTo>
                <a:cubicBezTo>
                  <a:pt x="589915" y="2574479"/>
                  <a:pt x="635635" y="2568764"/>
                  <a:pt x="631825" y="2539554"/>
                </a:cubicBezTo>
                <a:close/>
                <a:moveTo>
                  <a:pt x="666750" y="2706559"/>
                </a:moveTo>
                <a:cubicBezTo>
                  <a:pt x="635000" y="2716719"/>
                  <a:pt x="652145" y="2765614"/>
                  <a:pt x="682625" y="2754819"/>
                </a:cubicBezTo>
                <a:cubicBezTo>
                  <a:pt x="713740" y="2745294"/>
                  <a:pt x="697865" y="2695764"/>
                  <a:pt x="666750" y="2706559"/>
                </a:cubicBezTo>
                <a:close/>
                <a:moveTo>
                  <a:pt x="667385" y="2635439"/>
                </a:moveTo>
                <a:cubicBezTo>
                  <a:pt x="661035" y="2604959"/>
                  <a:pt x="613410" y="2615754"/>
                  <a:pt x="620395" y="2646234"/>
                </a:cubicBezTo>
                <a:cubicBezTo>
                  <a:pt x="627380" y="2676714"/>
                  <a:pt x="675005" y="2665919"/>
                  <a:pt x="667385" y="2635439"/>
                </a:cubicBezTo>
                <a:close/>
                <a:moveTo>
                  <a:pt x="86360" y="2060763"/>
                </a:moveTo>
                <a:cubicBezTo>
                  <a:pt x="64135" y="2051874"/>
                  <a:pt x="50800" y="2086163"/>
                  <a:pt x="73025" y="2095054"/>
                </a:cubicBezTo>
                <a:cubicBezTo>
                  <a:pt x="94615" y="2104579"/>
                  <a:pt x="108585" y="2069654"/>
                  <a:pt x="86360" y="2060763"/>
                </a:cubicBezTo>
                <a:close/>
                <a:moveTo>
                  <a:pt x="92710" y="2530664"/>
                </a:moveTo>
                <a:cubicBezTo>
                  <a:pt x="120650" y="2538919"/>
                  <a:pt x="132715" y="2493834"/>
                  <a:pt x="104140" y="2486849"/>
                </a:cubicBezTo>
                <a:cubicBezTo>
                  <a:pt x="76200" y="2479229"/>
                  <a:pt x="64135" y="2523679"/>
                  <a:pt x="92710" y="2530664"/>
                </a:cubicBezTo>
                <a:close/>
                <a:moveTo>
                  <a:pt x="80010" y="1917888"/>
                </a:moveTo>
                <a:cubicBezTo>
                  <a:pt x="59690" y="1908999"/>
                  <a:pt x="46355" y="1940749"/>
                  <a:pt x="66675" y="1949004"/>
                </a:cubicBezTo>
                <a:cubicBezTo>
                  <a:pt x="86360" y="1957894"/>
                  <a:pt x="100330" y="1926144"/>
                  <a:pt x="80010" y="1917888"/>
                </a:cubicBezTo>
                <a:close/>
                <a:moveTo>
                  <a:pt x="85725" y="2385884"/>
                </a:moveTo>
                <a:cubicBezTo>
                  <a:pt x="111760" y="2394774"/>
                  <a:pt x="124460" y="2353499"/>
                  <a:pt x="98425" y="2345244"/>
                </a:cubicBezTo>
                <a:cubicBezTo>
                  <a:pt x="72390" y="2336989"/>
                  <a:pt x="59690" y="2378264"/>
                  <a:pt x="85725" y="2385884"/>
                </a:cubicBezTo>
                <a:close/>
                <a:moveTo>
                  <a:pt x="79375" y="2241104"/>
                </a:moveTo>
                <a:cubicBezTo>
                  <a:pt x="102870" y="2249994"/>
                  <a:pt x="116840" y="2211894"/>
                  <a:pt x="92710" y="2203639"/>
                </a:cubicBezTo>
                <a:cubicBezTo>
                  <a:pt x="67945" y="2194749"/>
                  <a:pt x="54610" y="2232849"/>
                  <a:pt x="79375" y="2241104"/>
                </a:cubicBezTo>
                <a:close/>
                <a:moveTo>
                  <a:pt x="260985" y="2295079"/>
                </a:moveTo>
                <a:cubicBezTo>
                  <a:pt x="334010" y="2255074"/>
                  <a:pt x="194945" y="2237929"/>
                  <a:pt x="255905" y="2294444"/>
                </a:cubicBezTo>
                <a:lnTo>
                  <a:pt x="255905" y="2294444"/>
                </a:lnTo>
                <a:cubicBezTo>
                  <a:pt x="257810" y="2294444"/>
                  <a:pt x="259715" y="2295079"/>
                  <a:pt x="260985" y="2295079"/>
                </a:cubicBezTo>
                <a:close/>
                <a:moveTo>
                  <a:pt x="6350" y="2743389"/>
                </a:moveTo>
                <a:cubicBezTo>
                  <a:pt x="3810" y="2742754"/>
                  <a:pt x="1905" y="2742754"/>
                  <a:pt x="0" y="2742119"/>
                </a:cubicBezTo>
                <a:lnTo>
                  <a:pt x="0" y="2792919"/>
                </a:lnTo>
                <a:cubicBezTo>
                  <a:pt x="26670" y="2794824"/>
                  <a:pt x="36195" y="2751009"/>
                  <a:pt x="6350" y="2743389"/>
                </a:cubicBezTo>
                <a:close/>
                <a:moveTo>
                  <a:pt x="62230" y="1484819"/>
                </a:moveTo>
                <a:cubicBezTo>
                  <a:pt x="43815" y="1475294"/>
                  <a:pt x="35560" y="1508313"/>
                  <a:pt x="56515" y="1508949"/>
                </a:cubicBezTo>
                <a:cubicBezTo>
                  <a:pt x="68580" y="1509584"/>
                  <a:pt x="73660" y="1490534"/>
                  <a:pt x="62230" y="1484819"/>
                </a:cubicBezTo>
                <a:close/>
                <a:moveTo>
                  <a:pt x="67945" y="1629599"/>
                </a:moveTo>
                <a:cubicBezTo>
                  <a:pt x="46990" y="1620074"/>
                  <a:pt x="38735" y="1655634"/>
                  <a:pt x="61595" y="1656269"/>
                </a:cubicBezTo>
                <a:cubicBezTo>
                  <a:pt x="76200" y="1656904"/>
                  <a:pt x="81280" y="1635949"/>
                  <a:pt x="67945" y="1629599"/>
                </a:cubicBezTo>
                <a:close/>
                <a:moveTo>
                  <a:pt x="67310" y="1803588"/>
                </a:moveTo>
                <a:cubicBezTo>
                  <a:pt x="83185" y="1804224"/>
                  <a:pt x="88900" y="1780094"/>
                  <a:pt x="73660" y="1773744"/>
                </a:cubicBezTo>
                <a:cubicBezTo>
                  <a:pt x="51435" y="1763584"/>
                  <a:pt x="42545" y="1802954"/>
                  <a:pt x="67310" y="1803588"/>
                </a:cubicBezTo>
                <a:close/>
                <a:moveTo>
                  <a:pt x="203200" y="2508439"/>
                </a:moveTo>
                <a:cubicBezTo>
                  <a:pt x="172085" y="2502724"/>
                  <a:pt x="167005" y="2553524"/>
                  <a:pt x="199390" y="2553524"/>
                </a:cubicBezTo>
                <a:cubicBezTo>
                  <a:pt x="225425" y="2554159"/>
                  <a:pt x="229870" y="2512884"/>
                  <a:pt x="203200" y="2508439"/>
                </a:cubicBezTo>
                <a:close/>
                <a:moveTo>
                  <a:pt x="209550" y="2691319"/>
                </a:moveTo>
                <a:cubicBezTo>
                  <a:pt x="240030" y="2695129"/>
                  <a:pt x="245745" y="2646869"/>
                  <a:pt x="214630" y="2643694"/>
                </a:cubicBezTo>
                <a:cubicBezTo>
                  <a:pt x="184150" y="2639884"/>
                  <a:pt x="179070" y="2688779"/>
                  <a:pt x="209550" y="2691319"/>
                </a:cubicBezTo>
                <a:lnTo>
                  <a:pt x="209550" y="2691319"/>
                </a:lnTo>
                <a:close/>
                <a:moveTo>
                  <a:pt x="100330" y="2674174"/>
                </a:moveTo>
                <a:cubicBezTo>
                  <a:pt x="130810" y="2681159"/>
                  <a:pt x="140970" y="2632899"/>
                  <a:pt x="109855" y="2627184"/>
                </a:cubicBezTo>
                <a:cubicBezTo>
                  <a:pt x="79375" y="2620199"/>
                  <a:pt x="69850" y="2668459"/>
                  <a:pt x="100330" y="2674174"/>
                </a:cubicBezTo>
                <a:close/>
                <a:moveTo>
                  <a:pt x="191135" y="2371279"/>
                </a:moveTo>
                <a:cubicBezTo>
                  <a:pt x="161290" y="2363659"/>
                  <a:pt x="154940" y="2413189"/>
                  <a:pt x="186055" y="2413189"/>
                </a:cubicBezTo>
                <a:cubicBezTo>
                  <a:pt x="210185" y="2413824"/>
                  <a:pt x="214630" y="2376359"/>
                  <a:pt x="191135" y="2371279"/>
                </a:cubicBezTo>
                <a:close/>
                <a:moveTo>
                  <a:pt x="226695" y="2776409"/>
                </a:moveTo>
                <a:cubicBezTo>
                  <a:pt x="193675" y="2774504"/>
                  <a:pt x="191770" y="2826574"/>
                  <a:pt x="224790" y="2827209"/>
                </a:cubicBezTo>
                <a:cubicBezTo>
                  <a:pt x="257175" y="2829114"/>
                  <a:pt x="259715" y="2777044"/>
                  <a:pt x="226695" y="2776409"/>
                </a:cubicBezTo>
                <a:close/>
                <a:moveTo>
                  <a:pt x="178435" y="2232214"/>
                </a:moveTo>
                <a:cubicBezTo>
                  <a:pt x="149860" y="2223959"/>
                  <a:pt x="143510" y="2270949"/>
                  <a:pt x="172720" y="2270949"/>
                </a:cubicBezTo>
                <a:cubicBezTo>
                  <a:pt x="194945" y="2271584"/>
                  <a:pt x="200025" y="2237929"/>
                  <a:pt x="178435" y="2232214"/>
                </a:cubicBezTo>
                <a:close/>
                <a:moveTo>
                  <a:pt x="115570" y="2766249"/>
                </a:moveTo>
                <a:cubicBezTo>
                  <a:pt x="83185" y="2761169"/>
                  <a:pt x="75565" y="2811969"/>
                  <a:pt x="107950" y="2816414"/>
                </a:cubicBezTo>
                <a:cubicBezTo>
                  <a:pt x="140335" y="2822129"/>
                  <a:pt x="148590" y="2770694"/>
                  <a:pt x="115570" y="2766249"/>
                </a:cubicBezTo>
                <a:close/>
                <a:moveTo>
                  <a:pt x="166370" y="2090609"/>
                </a:moveTo>
                <a:cubicBezTo>
                  <a:pt x="139700" y="2081719"/>
                  <a:pt x="132080" y="2126169"/>
                  <a:pt x="160020" y="2126169"/>
                </a:cubicBezTo>
                <a:cubicBezTo>
                  <a:pt x="179705" y="2127439"/>
                  <a:pt x="185420" y="2096959"/>
                  <a:pt x="166370" y="2090609"/>
                </a:cubicBezTo>
                <a:close/>
                <a:moveTo>
                  <a:pt x="1195070" y="2180779"/>
                </a:moveTo>
                <a:cubicBezTo>
                  <a:pt x="1190625" y="2157284"/>
                  <a:pt x="1153795" y="2164904"/>
                  <a:pt x="1158875" y="2188399"/>
                </a:cubicBezTo>
                <a:cubicBezTo>
                  <a:pt x="1163955" y="2211894"/>
                  <a:pt x="1200150" y="2203639"/>
                  <a:pt x="1195070" y="2180779"/>
                </a:cubicBezTo>
                <a:close/>
                <a:moveTo>
                  <a:pt x="936625" y="2389059"/>
                </a:moveTo>
                <a:cubicBezTo>
                  <a:pt x="942975" y="2415729"/>
                  <a:pt x="984885" y="2405569"/>
                  <a:pt x="977900" y="2378899"/>
                </a:cubicBezTo>
                <a:cubicBezTo>
                  <a:pt x="971550" y="2352229"/>
                  <a:pt x="929640" y="2363024"/>
                  <a:pt x="936625" y="2389059"/>
                </a:cubicBezTo>
                <a:close/>
                <a:moveTo>
                  <a:pt x="974725" y="1958529"/>
                </a:moveTo>
                <a:cubicBezTo>
                  <a:pt x="992505" y="1961069"/>
                  <a:pt x="996950" y="1932494"/>
                  <a:pt x="978535" y="1930588"/>
                </a:cubicBezTo>
                <a:cubicBezTo>
                  <a:pt x="960755" y="1927413"/>
                  <a:pt x="956945" y="1955988"/>
                  <a:pt x="974725" y="1958529"/>
                </a:cubicBezTo>
                <a:close/>
                <a:moveTo>
                  <a:pt x="835660" y="2240469"/>
                </a:moveTo>
                <a:cubicBezTo>
                  <a:pt x="859790" y="2240469"/>
                  <a:pt x="859155" y="2203004"/>
                  <a:pt x="835025" y="2203639"/>
                </a:cubicBezTo>
                <a:cubicBezTo>
                  <a:pt x="811530" y="2203639"/>
                  <a:pt x="812165" y="2241104"/>
                  <a:pt x="835660" y="2240469"/>
                </a:cubicBezTo>
                <a:close/>
                <a:moveTo>
                  <a:pt x="1000760" y="1866454"/>
                </a:moveTo>
                <a:cubicBezTo>
                  <a:pt x="1016635" y="1870263"/>
                  <a:pt x="1021715" y="1844229"/>
                  <a:pt x="1005840" y="1841688"/>
                </a:cubicBezTo>
                <a:cubicBezTo>
                  <a:pt x="989330" y="1837879"/>
                  <a:pt x="984250" y="1863279"/>
                  <a:pt x="1000760" y="1866454"/>
                </a:cubicBezTo>
                <a:close/>
                <a:moveTo>
                  <a:pt x="1001395" y="2023299"/>
                </a:moveTo>
                <a:cubicBezTo>
                  <a:pt x="981075" y="2022029"/>
                  <a:pt x="979805" y="2053779"/>
                  <a:pt x="1000125" y="2054413"/>
                </a:cubicBezTo>
                <a:cubicBezTo>
                  <a:pt x="1019810" y="2055049"/>
                  <a:pt x="1021080" y="2023934"/>
                  <a:pt x="1001395" y="2023299"/>
                </a:cubicBezTo>
                <a:close/>
                <a:moveTo>
                  <a:pt x="993775" y="2126804"/>
                </a:moveTo>
                <a:cubicBezTo>
                  <a:pt x="994410" y="2149029"/>
                  <a:pt x="1028700" y="2147759"/>
                  <a:pt x="1027430" y="2125534"/>
                </a:cubicBezTo>
                <a:cubicBezTo>
                  <a:pt x="1027430" y="2103944"/>
                  <a:pt x="993140" y="2105214"/>
                  <a:pt x="993775" y="2126804"/>
                </a:cubicBezTo>
                <a:close/>
                <a:moveTo>
                  <a:pt x="1025525" y="2209354"/>
                </a:moveTo>
                <a:cubicBezTo>
                  <a:pt x="1023620" y="2185859"/>
                  <a:pt x="986155" y="2189669"/>
                  <a:pt x="989330" y="2213164"/>
                </a:cubicBezTo>
                <a:cubicBezTo>
                  <a:pt x="991235" y="2237294"/>
                  <a:pt x="1028700" y="2232849"/>
                  <a:pt x="1025525" y="2209354"/>
                </a:cubicBezTo>
                <a:close/>
                <a:moveTo>
                  <a:pt x="985520" y="2276664"/>
                </a:moveTo>
                <a:cubicBezTo>
                  <a:pt x="960120" y="2281109"/>
                  <a:pt x="967740" y="2320479"/>
                  <a:pt x="992505" y="2315399"/>
                </a:cubicBezTo>
                <a:cubicBezTo>
                  <a:pt x="1017905" y="2311589"/>
                  <a:pt x="1010920" y="2271584"/>
                  <a:pt x="985520" y="2276664"/>
                </a:cubicBezTo>
                <a:close/>
                <a:moveTo>
                  <a:pt x="848995" y="2142044"/>
                </a:moveTo>
                <a:cubicBezTo>
                  <a:pt x="871220" y="2143314"/>
                  <a:pt x="872490" y="2109024"/>
                  <a:pt x="850900" y="2108389"/>
                </a:cubicBezTo>
                <a:cubicBezTo>
                  <a:pt x="829310" y="2106484"/>
                  <a:pt x="827405" y="2140774"/>
                  <a:pt x="848995" y="2142044"/>
                </a:cubicBezTo>
                <a:close/>
                <a:moveTo>
                  <a:pt x="906145" y="1947734"/>
                </a:moveTo>
                <a:cubicBezTo>
                  <a:pt x="923925" y="1950909"/>
                  <a:pt x="929005" y="1922969"/>
                  <a:pt x="910590" y="1919794"/>
                </a:cubicBezTo>
                <a:cubicBezTo>
                  <a:pt x="892810" y="1916619"/>
                  <a:pt x="888365" y="1945194"/>
                  <a:pt x="906145" y="1947734"/>
                </a:cubicBezTo>
                <a:close/>
                <a:moveTo>
                  <a:pt x="1050925" y="2379534"/>
                </a:moveTo>
                <a:cubicBezTo>
                  <a:pt x="1082675" y="2379534"/>
                  <a:pt x="1075055" y="2329369"/>
                  <a:pt x="1044575" y="2338259"/>
                </a:cubicBezTo>
                <a:cubicBezTo>
                  <a:pt x="1021715" y="2344609"/>
                  <a:pt x="1027430" y="2380169"/>
                  <a:pt x="1050925" y="2379534"/>
                </a:cubicBezTo>
                <a:close/>
                <a:moveTo>
                  <a:pt x="876300" y="1838513"/>
                </a:moveTo>
                <a:cubicBezTo>
                  <a:pt x="892175" y="1842959"/>
                  <a:pt x="898525" y="1817559"/>
                  <a:pt x="882650" y="1813749"/>
                </a:cubicBezTo>
                <a:cubicBezTo>
                  <a:pt x="866775" y="1809938"/>
                  <a:pt x="860425" y="1834704"/>
                  <a:pt x="876300" y="1838513"/>
                </a:cubicBezTo>
                <a:close/>
                <a:moveTo>
                  <a:pt x="862330" y="2426524"/>
                </a:moveTo>
                <a:cubicBezTo>
                  <a:pt x="892175" y="2426524"/>
                  <a:pt x="887730" y="2378899"/>
                  <a:pt x="858520" y="2384614"/>
                </a:cubicBezTo>
                <a:cubicBezTo>
                  <a:pt x="833120" y="2388424"/>
                  <a:pt x="837565" y="2427159"/>
                  <a:pt x="862330" y="2426524"/>
                </a:cubicBezTo>
                <a:close/>
                <a:moveTo>
                  <a:pt x="910590" y="2032188"/>
                </a:moveTo>
                <a:cubicBezTo>
                  <a:pt x="908685" y="2052509"/>
                  <a:pt x="939800" y="2055049"/>
                  <a:pt x="941705" y="2034729"/>
                </a:cubicBezTo>
                <a:cubicBezTo>
                  <a:pt x="943610" y="2015044"/>
                  <a:pt x="911860" y="2011869"/>
                  <a:pt x="910590" y="2032188"/>
                </a:cubicBezTo>
                <a:close/>
                <a:moveTo>
                  <a:pt x="836295" y="2023299"/>
                </a:moveTo>
                <a:cubicBezTo>
                  <a:pt x="833755" y="2042984"/>
                  <a:pt x="864870" y="2047429"/>
                  <a:pt x="867410" y="2027109"/>
                </a:cubicBezTo>
                <a:cubicBezTo>
                  <a:pt x="869950" y="2007424"/>
                  <a:pt x="838200" y="2003613"/>
                  <a:pt x="836295" y="2023299"/>
                </a:cubicBezTo>
                <a:close/>
                <a:moveTo>
                  <a:pt x="920115" y="2200464"/>
                </a:moveTo>
                <a:cubicBezTo>
                  <a:pt x="896620" y="2201734"/>
                  <a:pt x="898525" y="2239199"/>
                  <a:pt x="922655" y="2237294"/>
                </a:cubicBezTo>
                <a:cubicBezTo>
                  <a:pt x="946150" y="2236024"/>
                  <a:pt x="944245" y="2198559"/>
                  <a:pt x="920115" y="2200464"/>
                </a:cubicBezTo>
                <a:close/>
                <a:moveTo>
                  <a:pt x="898525" y="2330004"/>
                </a:moveTo>
                <a:cubicBezTo>
                  <a:pt x="925830" y="2330004"/>
                  <a:pt x="923290" y="2286824"/>
                  <a:pt x="895985" y="2290634"/>
                </a:cubicBezTo>
                <a:cubicBezTo>
                  <a:pt x="871855" y="2293174"/>
                  <a:pt x="875030" y="2330639"/>
                  <a:pt x="898525" y="2330004"/>
                </a:cubicBezTo>
                <a:close/>
                <a:moveTo>
                  <a:pt x="938530" y="1853119"/>
                </a:moveTo>
                <a:cubicBezTo>
                  <a:pt x="954405" y="1856929"/>
                  <a:pt x="960120" y="1831529"/>
                  <a:pt x="944245" y="1828354"/>
                </a:cubicBezTo>
                <a:cubicBezTo>
                  <a:pt x="927735" y="1824544"/>
                  <a:pt x="922020" y="1849944"/>
                  <a:pt x="938530" y="1853119"/>
                </a:cubicBezTo>
                <a:close/>
                <a:moveTo>
                  <a:pt x="930910" y="2110294"/>
                </a:moveTo>
                <a:cubicBezTo>
                  <a:pt x="908685" y="2109659"/>
                  <a:pt x="908685" y="2144584"/>
                  <a:pt x="930910" y="2143949"/>
                </a:cubicBezTo>
                <a:cubicBezTo>
                  <a:pt x="952500" y="2144584"/>
                  <a:pt x="952500" y="2110294"/>
                  <a:pt x="930910" y="2110294"/>
                </a:cubicBezTo>
                <a:close/>
                <a:moveTo>
                  <a:pt x="1134745" y="2040444"/>
                </a:moveTo>
                <a:cubicBezTo>
                  <a:pt x="1135380" y="2060763"/>
                  <a:pt x="1166495" y="2059494"/>
                  <a:pt x="1165860" y="2039174"/>
                </a:cubicBezTo>
                <a:cubicBezTo>
                  <a:pt x="1165225" y="2019488"/>
                  <a:pt x="1133475" y="2020124"/>
                  <a:pt x="1134745" y="2040444"/>
                </a:cubicBezTo>
                <a:close/>
                <a:moveTo>
                  <a:pt x="1173480" y="2273489"/>
                </a:moveTo>
                <a:cubicBezTo>
                  <a:pt x="1198245" y="2267139"/>
                  <a:pt x="1187450" y="2227769"/>
                  <a:pt x="1162685" y="2235389"/>
                </a:cubicBezTo>
                <a:cubicBezTo>
                  <a:pt x="1137285" y="2242374"/>
                  <a:pt x="1148715" y="2281109"/>
                  <a:pt x="1173480" y="2273489"/>
                </a:cubicBezTo>
                <a:close/>
                <a:moveTo>
                  <a:pt x="1136650" y="2308414"/>
                </a:moveTo>
                <a:cubicBezTo>
                  <a:pt x="1110615" y="2317304"/>
                  <a:pt x="1125220" y="2357944"/>
                  <a:pt x="1150620" y="2348419"/>
                </a:cubicBezTo>
                <a:cubicBezTo>
                  <a:pt x="1176655" y="2339529"/>
                  <a:pt x="1162050" y="2298889"/>
                  <a:pt x="1136650" y="2308414"/>
                </a:cubicBezTo>
                <a:close/>
                <a:moveTo>
                  <a:pt x="1188085" y="2112199"/>
                </a:moveTo>
                <a:cubicBezTo>
                  <a:pt x="1185545" y="2089974"/>
                  <a:pt x="1151255" y="2094419"/>
                  <a:pt x="1154430" y="2116644"/>
                </a:cubicBezTo>
                <a:cubicBezTo>
                  <a:pt x="1156970" y="2138234"/>
                  <a:pt x="1191260" y="2133789"/>
                  <a:pt x="1188085" y="2112199"/>
                </a:cubicBezTo>
                <a:close/>
                <a:moveTo>
                  <a:pt x="1183005" y="1975038"/>
                </a:moveTo>
                <a:cubicBezTo>
                  <a:pt x="1201420" y="1975674"/>
                  <a:pt x="1202055" y="1947099"/>
                  <a:pt x="1183640" y="1947099"/>
                </a:cubicBezTo>
                <a:cubicBezTo>
                  <a:pt x="1165225" y="1946463"/>
                  <a:pt x="1164590" y="1975038"/>
                  <a:pt x="1183005" y="1975038"/>
                </a:cubicBezTo>
                <a:close/>
                <a:moveTo>
                  <a:pt x="875665" y="2622739"/>
                </a:moveTo>
                <a:cubicBezTo>
                  <a:pt x="845185" y="2636074"/>
                  <a:pt x="867410" y="2683064"/>
                  <a:pt x="897255" y="2668459"/>
                </a:cubicBezTo>
                <a:cubicBezTo>
                  <a:pt x="927735" y="2655124"/>
                  <a:pt x="905510" y="2608134"/>
                  <a:pt x="875665" y="2622739"/>
                </a:cubicBezTo>
                <a:close/>
                <a:moveTo>
                  <a:pt x="1252855" y="1975674"/>
                </a:moveTo>
                <a:lnTo>
                  <a:pt x="1252855" y="1975674"/>
                </a:lnTo>
                <a:lnTo>
                  <a:pt x="1252855" y="1975674"/>
                </a:lnTo>
                <a:cubicBezTo>
                  <a:pt x="1271270" y="1975674"/>
                  <a:pt x="1270635" y="1947099"/>
                  <a:pt x="1252855" y="1947099"/>
                </a:cubicBezTo>
                <a:cubicBezTo>
                  <a:pt x="1234440" y="1947734"/>
                  <a:pt x="1234440" y="1976309"/>
                  <a:pt x="1252855" y="1975674"/>
                </a:cubicBezTo>
                <a:close/>
                <a:moveTo>
                  <a:pt x="1190625" y="1894394"/>
                </a:moveTo>
                <a:cubicBezTo>
                  <a:pt x="1207135" y="1896299"/>
                  <a:pt x="1209675" y="1870263"/>
                  <a:pt x="1193165" y="1868994"/>
                </a:cubicBezTo>
                <a:cubicBezTo>
                  <a:pt x="1176655" y="1867088"/>
                  <a:pt x="1174115" y="1893124"/>
                  <a:pt x="1190625" y="1894394"/>
                </a:cubicBezTo>
                <a:close/>
                <a:moveTo>
                  <a:pt x="1043940" y="1966784"/>
                </a:moveTo>
                <a:cubicBezTo>
                  <a:pt x="1061720" y="1968688"/>
                  <a:pt x="1064895" y="1940113"/>
                  <a:pt x="1046480" y="1938844"/>
                </a:cubicBezTo>
                <a:cubicBezTo>
                  <a:pt x="1028700" y="1936304"/>
                  <a:pt x="1025525" y="1964879"/>
                  <a:pt x="1043940" y="1966784"/>
                </a:cubicBezTo>
                <a:close/>
                <a:moveTo>
                  <a:pt x="1224915" y="2051238"/>
                </a:moveTo>
                <a:cubicBezTo>
                  <a:pt x="1245870" y="2051238"/>
                  <a:pt x="1244600" y="2018219"/>
                  <a:pt x="1223645" y="2020124"/>
                </a:cubicBezTo>
                <a:cubicBezTo>
                  <a:pt x="1203960" y="2021394"/>
                  <a:pt x="1205230" y="2051874"/>
                  <a:pt x="1224915" y="2051238"/>
                </a:cubicBezTo>
                <a:close/>
                <a:moveTo>
                  <a:pt x="1254125" y="1899474"/>
                </a:moveTo>
                <a:cubicBezTo>
                  <a:pt x="1270635" y="1900744"/>
                  <a:pt x="1271905" y="1874709"/>
                  <a:pt x="1255395" y="1874074"/>
                </a:cubicBezTo>
                <a:cubicBezTo>
                  <a:pt x="1238885" y="1872804"/>
                  <a:pt x="1237615" y="1898204"/>
                  <a:pt x="1254125" y="1899474"/>
                </a:cubicBezTo>
                <a:close/>
                <a:moveTo>
                  <a:pt x="1059815" y="2040444"/>
                </a:moveTo>
                <a:cubicBezTo>
                  <a:pt x="1059180" y="2060763"/>
                  <a:pt x="1090930" y="2060763"/>
                  <a:pt x="1090930" y="2040444"/>
                </a:cubicBezTo>
                <a:cubicBezTo>
                  <a:pt x="1091565" y="2020759"/>
                  <a:pt x="1059815" y="2020124"/>
                  <a:pt x="1059815" y="2040444"/>
                </a:cubicBezTo>
                <a:close/>
                <a:moveTo>
                  <a:pt x="5058410" y="980629"/>
                </a:moveTo>
                <a:cubicBezTo>
                  <a:pt x="5041900" y="978088"/>
                  <a:pt x="5038725" y="1004124"/>
                  <a:pt x="5055235" y="1006029"/>
                </a:cubicBezTo>
                <a:cubicBezTo>
                  <a:pt x="5071745" y="1007934"/>
                  <a:pt x="5074920" y="982534"/>
                  <a:pt x="5058410" y="980629"/>
                </a:cubicBezTo>
                <a:close/>
                <a:moveTo>
                  <a:pt x="837565" y="1935034"/>
                </a:moveTo>
                <a:cubicBezTo>
                  <a:pt x="855345" y="1938844"/>
                  <a:pt x="861060" y="1910904"/>
                  <a:pt x="843280" y="1907094"/>
                </a:cubicBezTo>
                <a:cubicBezTo>
                  <a:pt x="825500" y="1903919"/>
                  <a:pt x="819785" y="1931859"/>
                  <a:pt x="837565" y="1935034"/>
                </a:cubicBezTo>
                <a:close/>
                <a:moveTo>
                  <a:pt x="1074420" y="2258249"/>
                </a:moveTo>
                <a:cubicBezTo>
                  <a:pt x="1049020" y="2263964"/>
                  <a:pt x="1058545" y="2303334"/>
                  <a:pt x="1083310" y="2296349"/>
                </a:cubicBezTo>
                <a:cubicBezTo>
                  <a:pt x="1108710" y="2291269"/>
                  <a:pt x="1099185" y="2252534"/>
                  <a:pt x="1074420" y="2258249"/>
                </a:cubicBezTo>
                <a:close/>
                <a:moveTo>
                  <a:pt x="1063625" y="1877884"/>
                </a:moveTo>
                <a:cubicBezTo>
                  <a:pt x="1079500" y="1880424"/>
                  <a:pt x="1083945" y="1855024"/>
                  <a:pt x="1067435" y="1852484"/>
                </a:cubicBezTo>
                <a:cubicBezTo>
                  <a:pt x="1051560" y="1849944"/>
                  <a:pt x="1047115" y="1875344"/>
                  <a:pt x="1063625" y="1877884"/>
                </a:cubicBezTo>
                <a:close/>
                <a:moveTo>
                  <a:pt x="1110615" y="2196654"/>
                </a:moveTo>
                <a:cubicBezTo>
                  <a:pt x="1107440" y="2173159"/>
                  <a:pt x="1069975" y="2178874"/>
                  <a:pt x="1074420" y="2202369"/>
                </a:cubicBezTo>
                <a:cubicBezTo>
                  <a:pt x="1078230" y="2226499"/>
                  <a:pt x="1114425" y="2220149"/>
                  <a:pt x="1110615" y="2196654"/>
                </a:cubicBezTo>
                <a:close/>
                <a:moveTo>
                  <a:pt x="1127125" y="1886774"/>
                </a:moveTo>
                <a:cubicBezTo>
                  <a:pt x="1143635" y="1889313"/>
                  <a:pt x="1146810" y="1863279"/>
                  <a:pt x="1130300" y="1861374"/>
                </a:cubicBezTo>
                <a:cubicBezTo>
                  <a:pt x="1113790" y="1859469"/>
                  <a:pt x="1110615" y="1884869"/>
                  <a:pt x="1127125" y="1886774"/>
                </a:cubicBezTo>
                <a:close/>
                <a:moveTo>
                  <a:pt x="1113155" y="1971863"/>
                </a:moveTo>
                <a:cubicBezTo>
                  <a:pt x="1131570" y="1973769"/>
                  <a:pt x="1133475" y="1944559"/>
                  <a:pt x="1115060" y="1943924"/>
                </a:cubicBezTo>
                <a:cubicBezTo>
                  <a:pt x="1097280" y="1942654"/>
                  <a:pt x="1095375" y="1971229"/>
                  <a:pt x="1113155" y="1971863"/>
                </a:cubicBezTo>
                <a:close/>
                <a:moveTo>
                  <a:pt x="808990" y="2339529"/>
                </a:moveTo>
                <a:cubicBezTo>
                  <a:pt x="834390" y="2338259"/>
                  <a:pt x="831215" y="2297619"/>
                  <a:pt x="805815" y="2300159"/>
                </a:cubicBezTo>
                <a:cubicBezTo>
                  <a:pt x="780415" y="2302064"/>
                  <a:pt x="783590" y="2342069"/>
                  <a:pt x="808990" y="2339529"/>
                </a:cubicBezTo>
                <a:close/>
                <a:moveTo>
                  <a:pt x="554355" y="1983294"/>
                </a:moveTo>
                <a:cubicBezTo>
                  <a:pt x="573405" y="1989009"/>
                  <a:pt x="581660" y="1957894"/>
                  <a:pt x="561975" y="1953449"/>
                </a:cubicBezTo>
                <a:cubicBezTo>
                  <a:pt x="542925" y="1947734"/>
                  <a:pt x="534670" y="1978213"/>
                  <a:pt x="554355" y="1983294"/>
                </a:cubicBezTo>
                <a:close/>
                <a:moveTo>
                  <a:pt x="568960" y="1865184"/>
                </a:moveTo>
                <a:cubicBezTo>
                  <a:pt x="586105" y="1870899"/>
                  <a:pt x="594995" y="1843594"/>
                  <a:pt x="577215" y="1838513"/>
                </a:cubicBezTo>
                <a:cubicBezTo>
                  <a:pt x="560070" y="1832799"/>
                  <a:pt x="551180" y="1860104"/>
                  <a:pt x="568960" y="1865184"/>
                </a:cubicBezTo>
                <a:close/>
                <a:moveTo>
                  <a:pt x="514985" y="2078544"/>
                </a:moveTo>
                <a:cubicBezTo>
                  <a:pt x="509905" y="2100134"/>
                  <a:pt x="543560" y="2107119"/>
                  <a:pt x="548005" y="2085529"/>
                </a:cubicBezTo>
                <a:cubicBezTo>
                  <a:pt x="553085" y="2063938"/>
                  <a:pt x="519430" y="2056954"/>
                  <a:pt x="514985" y="2078544"/>
                </a:cubicBezTo>
                <a:close/>
                <a:moveTo>
                  <a:pt x="572135" y="1743263"/>
                </a:moveTo>
                <a:cubicBezTo>
                  <a:pt x="587375" y="1748979"/>
                  <a:pt x="596265" y="1724849"/>
                  <a:pt x="581025" y="1719134"/>
                </a:cubicBezTo>
                <a:cubicBezTo>
                  <a:pt x="565785" y="1713419"/>
                  <a:pt x="556260" y="1737549"/>
                  <a:pt x="572135" y="1743263"/>
                </a:cubicBezTo>
                <a:close/>
                <a:moveTo>
                  <a:pt x="607695" y="2114104"/>
                </a:moveTo>
                <a:cubicBezTo>
                  <a:pt x="629285" y="2118549"/>
                  <a:pt x="635000" y="2084259"/>
                  <a:pt x="613410" y="2080449"/>
                </a:cubicBezTo>
                <a:cubicBezTo>
                  <a:pt x="591820" y="2076638"/>
                  <a:pt x="586105" y="2110929"/>
                  <a:pt x="607695" y="2114104"/>
                </a:cubicBezTo>
                <a:close/>
                <a:moveTo>
                  <a:pt x="534035" y="2299524"/>
                </a:moveTo>
                <a:cubicBezTo>
                  <a:pt x="508635" y="2296984"/>
                  <a:pt x="505460" y="2336989"/>
                  <a:pt x="530860" y="2338894"/>
                </a:cubicBezTo>
                <a:cubicBezTo>
                  <a:pt x="556260" y="2341434"/>
                  <a:pt x="560070" y="2301429"/>
                  <a:pt x="534035" y="2299524"/>
                </a:cubicBezTo>
                <a:close/>
                <a:moveTo>
                  <a:pt x="512445" y="1720404"/>
                </a:moveTo>
                <a:cubicBezTo>
                  <a:pt x="568960" y="1709609"/>
                  <a:pt x="478155" y="1674684"/>
                  <a:pt x="512445" y="1720404"/>
                </a:cubicBezTo>
                <a:lnTo>
                  <a:pt x="512445" y="1720404"/>
                </a:lnTo>
                <a:close/>
                <a:moveTo>
                  <a:pt x="559435" y="2205544"/>
                </a:moveTo>
                <a:cubicBezTo>
                  <a:pt x="556260" y="2229039"/>
                  <a:pt x="593090" y="2234119"/>
                  <a:pt x="595630" y="2209989"/>
                </a:cubicBezTo>
                <a:cubicBezTo>
                  <a:pt x="599440" y="2186494"/>
                  <a:pt x="561975" y="2182049"/>
                  <a:pt x="559435" y="2205544"/>
                </a:cubicBezTo>
                <a:close/>
                <a:moveTo>
                  <a:pt x="624840" y="2304604"/>
                </a:moveTo>
                <a:cubicBezTo>
                  <a:pt x="599440" y="2303334"/>
                  <a:pt x="598170" y="2343974"/>
                  <a:pt x="623570" y="2343974"/>
                </a:cubicBezTo>
                <a:cubicBezTo>
                  <a:pt x="648970" y="2345244"/>
                  <a:pt x="650240" y="2305239"/>
                  <a:pt x="624840" y="2304604"/>
                </a:cubicBezTo>
                <a:close/>
                <a:moveTo>
                  <a:pt x="572135" y="2456369"/>
                </a:moveTo>
                <a:cubicBezTo>
                  <a:pt x="600075" y="2457004"/>
                  <a:pt x="599440" y="2413189"/>
                  <a:pt x="571500" y="2413824"/>
                </a:cubicBezTo>
                <a:cubicBezTo>
                  <a:pt x="544195" y="2413824"/>
                  <a:pt x="544830" y="2457004"/>
                  <a:pt x="572135" y="2456369"/>
                </a:cubicBezTo>
                <a:close/>
                <a:moveTo>
                  <a:pt x="448945" y="2079813"/>
                </a:moveTo>
                <a:cubicBezTo>
                  <a:pt x="469900" y="2085529"/>
                  <a:pt x="478790" y="2051874"/>
                  <a:pt x="457200" y="2046794"/>
                </a:cubicBezTo>
                <a:cubicBezTo>
                  <a:pt x="436245" y="2041713"/>
                  <a:pt x="427990" y="2075369"/>
                  <a:pt x="448945" y="2079813"/>
                </a:cubicBezTo>
                <a:close/>
                <a:moveTo>
                  <a:pt x="814705" y="1822004"/>
                </a:moveTo>
                <a:cubicBezTo>
                  <a:pt x="830580" y="1827084"/>
                  <a:pt x="837565" y="1801684"/>
                  <a:pt x="821690" y="1797238"/>
                </a:cubicBezTo>
                <a:cubicBezTo>
                  <a:pt x="805180" y="1793429"/>
                  <a:pt x="798830" y="1818194"/>
                  <a:pt x="814705" y="1822004"/>
                </a:cubicBezTo>
                <a:close/>
                <a:moveTo>
                  <a:pt x="473710" y="2454464"/>
                </a:moveTo>
                <a:cubicBezTo>
                  <a:pt x="501015" y="2456369"/>
                  <a:pt x="503555" y="2413189"/>
                  <a:pt x="475615" y="2412554"/>
                </a:cubicBezTo>
                <a:cubicBezTo>
                  <a:pt x="448310" y="2410649"/>
                  <a:pt x="446405" y="2453829"/>
                  <a:pt x="473710" y="2454464"/>
                </a:cubicBezTo>
                <a:close/>
                <a:moveTo>
                  <a:pt x="481965" y="1962974"/>
                </a:moveTo>
                <a:cubicBezTo>
                  <a:pt x="501015" y="1968688"/>
                  <a:pt x="510540" y="1938844"/>
                  <a:pt x="490855" y="1933129"/>
                </a:cubicBezTo>
                <a:cubicBezTo>
                  <a:pt x="471170" y="1927413"/>
                  <a:pt x="462280" y="1957259"/>
                  <a:pt x="481965" y="1962974"/>
                </a:cubicBezTo>
                <a:close/>
                <a:moveTo>
                  <a:pt x="412115" y="2161094"/>
                </a:moveTo>
                <a:cubicBezTo>
                  <a:pt x="389255" y="2155379"/>
                  <a:pt x="381000" y="2192209"/>
                  <a:pt x="404495" y="2196654"/>
                </a:cubicBezTo>
                <a:cubicBezTo>
                  <a:pt x="427355" y="2202369"/>
                  <a:pt x="435610" y="2165539"/>
                  <a:pt x="412115" y="2161094"/>
                </a:cubicBezTo>
                <a:close/>
                <a:moveTo>
                  <a:pt x="502920" y="1843594"/>
                </a:moveTo>
                <a:cubicBezTo>
                  <a:pt x="520065" y="1849944"/>
                  <a:pt x="529590" y="1822638"/>
                  <a:pt x="511810" y="1816924"/>
                </a:cubicBezTo>
                <a:cubicBezTo>
                  <a:pt x="494665" y="1810574"/>
                  <a:pt x="485140" y="1837879"/>
                  <a:pt x="502920" y="1843594"/>
                </a:cubicBezTo>
                <a:close/>
                <a:moveTo>
                  <a:pt x="438785" y="2328734"/>
                </a:moveTo>
                <a:cubicBezTo>
                  <a:pt x="464185" y="2332544"/>
                  <a:pt x="469900" y="2292539"/>
                  <a:pt x="443865" y="2289364"/>
                </a:cubicBezTo>
                <a:cubicBezTo>
                  <a:pt x="418465" y="2286189"/>
                  <a:pt x="413385" y="2326194"/>
                  <a:pt x="438785" y="2328734"/>
                </a:cubicBezTo>
                <a:close/>
                <a:moveTo>
                  <a:pt x="512445" y="1720404"/>
                </a:moveTo>
                <a:cubicBezTo>
                  <a:pt x="512445" y="1720404"/>
                  <a:pt x="512445" y="1720404"/>
                  <a:pt x="512445" y="1720404"/>
                </a:cubicBezTo>
                <a:cubicBezTo>
                  <a:pt x="512445" y="1720404"/>
                  <a:pt x="512445" y="1720404"/>
                  <a:pt x="512445" y="1720404"/>
                </a:cubicBezTo>
                <a:lnTo>
                  <a:pt x="512445" y="1720404"/>
                </a:lnTo>
                <a:close/>
                <a:moveTo>
                  <a:pt x="510540" y="2198559"/>
                </a:moveTo>
                <a:cubicBezTo>
                  <a:pt x="514985" y="2175064"/>
                  <a:pt x="478155" y="2168714"/>
                  <a:pt x="474345" y="2192209"/>
                </a:cubicBezTo>
                <a:cubicBezTo>
                  <a:pt x="470535" y="2215704"/>
                  <a:pt x="506730" y="2222054"/>
                  <a:pt x="510540" y="2198559"/>
                </a:cubicBezTo>
                <a:close/>
                <a:moveTo>
                  <a:pt x="753110" y="1804224"/>
                </a:moveTo>
                <a:cubicBezTo>
                  <a:pt x="768350" y="1809304"/>
                  <a:pt x="776605" y="1784538"/>
                  <a:pt x="760730" y="1780094"/>
                </a:cubicBezTo>
                <a:cubicBezTo>
                  <a:pt x="744855" y="1775013"/>
                  <a:pt x="737235" y="1799779"/>
                  <a:pt x="753110" y="1804224"/>
                </a:cubicBezTo>
                <a:close/>
                <a:moveTo>
                  <a:pt x="759460" y="1903284"/>
                </a:moveTo>
                <a:cubicBezTo>
                  <a:pt x="755015" y="1921063"/>
                  <a:pt x="782955" y="1927413"/>
                  <a:pt x="786765" y="1909634"/>
                </a:cubicBezTo>
                <a:cubicBezTo>
                  <a:pt x="791210" y="1891854"/>
                  <a:pt x="763270" y="1885504"/>
                  <a:pt x="759460" y="1903284"/>
                </a:cubicBezTo>
                <a:close/>
                <a:moveTo>
                  <a:pt x="748665" y="2239834"/>
                </a:moveTo>
                <a:cubicBezTo>
                  <a:pt x="748665" y="2239834"/>
                  <a:pt x="748665" y="2239834"/>
                  <a:pt x="748665" y="2239834"/>
                </a:cubicBezTo>
                <a:cubicBezTo>
                  <a:pt x="748665" y="2239834"/>
                  <a:pt x="748665" y="2239834"/>
                  <a:pt x="748665" y="2239834"/>
                </a:cubicBezTo>
                <a:lnTo>
                  <a:pt x="748665" y="2239834"/>
                </a:lnTo>
                <a:close/>
                <a:moveTo>
                  <a:pt x="748665" y="2239834"/>
                </a:moveTo>
                <a:cubicBezTo>
                  <a:pt x="772160" y="2241104"/>
                  <a:pt x="773430" y="2203639"/>
                  <a:pt x="749935" y="2203004"/>
                </a:cubicBezTo>
                <a:cubicBezTo>
                  <a:pt x="726440" y="2201734"/>
                  <a:pt x="725170" y="2239199"/>
                  <a:pt x="748665" y="2239834"/>
                </a:cubicBezTo>
                <a:close/>
                <a:moveTo>
                  <a:pt x="453390" y="1696909"/>
                </a:moveTo>
                <a:cubicBezTo>
                  <a:pt x="468630" y="1703259"/>
                  <a:pt x="478155" y="1679129"/>
                  <a:pt x="462915" y="1673413"/>
                </a:cubicBezTo>
                <a:cubicBezTo>
                  <a:pt x="447675" y="1667063"/>
                  <a:pt x="438150" y="1691194"/>
                  <a:pt x="453390" y="1696909"/>
                </a:cubicBezTo>
                <a:close/>
                <a:moveTo>
                  <a:pt x="695960" y="2324924"/>
                </a:moveTo>
                <a:cubicBezTo>
                  <a:pt x="695960" y="2350324"/>
                  <a:pt x="736600" y="2349689"/>
                  <a:pt x="735330" y="2323654"/>
                </a:cubicBezTo>
                <a:cubicBezTo>
                  <a:pt x="735330" y="2298889"/>
                  <a:pt x="695325" y="2299524"/>
                  <a:pt x="695960" y="2324924"/>
                </a:cubicBezTo>
                <a:close/>
                <a:moveTo>
                  <a:pt x="762000" y="2012504"/>
                </a:moveTo>
                <a:cubicBezTo>
                  <a:pt x="758190" y="2032188"/>
                  <a:pt x="789940" y="2037269"/>
                  <a:pt x="792480" y="2017584"/>
                </a:cubicBezTo>
                <a:cubicBezTo>
                  <a:pt x="796290" y="1997263"/>
                  <a:pt x="765175" y="1992184"/>
                  <a:pt x="762000" y="2012504"/>
                </a:cubicBezTo>
                <a:close/>
                <a:moveTo>
                  <a:pt x="763270" y="2399854"/>
                </a:moveTo>
                <a:cubicBezTo>
                  <a:pt x="735965" y="2403029"/>
                  <a:pt x="741680" y="2445574"/>
                  <a:pt x="768985" y="2441764"/>
                </a:cubicBezTo>
                <a:cubicBezTo>
                  <a:pt x="796290" y="2438589"/>
                  <a:pt x="790575" y="2396044"/>
                  <a:pt x="763270" y="2399854"/>
                </a:cubicBezTo>
                <a:close/>
                <a:moveTo>
                  <a:pt x="753110" y="2117279"/>
                </a:moveTo>
                <a:cubicBezTo>
                  <a:pt x="750570" y="2138869"/>
                  <a:pt x="784860" y="2142679"/>
                  <a:pt x="786765" y="2120454"/>
                </a:cubicBezTo>
                <a:cubicBezTo>
                  <a:pt x="789305" y="2098864"/>
                  <a:pt x="755015" y="2095688"/>
                  <a:pt x="753110" y="2117279"/>
                </a:cubicBezTo>
                <a:close/>
                <a:moveTo>
                  <a:pt x="706755" y="1986469"/>
                </a:moveTo>
                <a:cubicBezTo>
                  <a:pt x="687070" y="1982024"/>
                  <a:pt x="680720" y="2013138"/>
                  <a:pt x="701040" y="2016949"/>
                </a:cubicBezTo>
                <a:cubicBezTo>
                  <a:pt x="720725" y="2021394"/>
                  <a:pt x="727075" y="1990279"/>
                  <a:pt x="706755" y="1986469"/>
                </a:cubicBezTo>
                <a:close/>
                <a:moveTo>
                  <a:pt x="667385" y="2410014"/>
                </a:moveTo>
                <a:cubicBezTo>
                  <a:pt x="640080" y="2411284"/>
                  <a:pt x="643255" y="2454464"/>
                  <a:pt x="670560" y="2451924"/>
                </a:cubicBezTo>
                <a:cubicBezTo>
                  <a:pt x="698500" y="2450654"/>
                  <a:pt x="694690" y="2407474"/>
                  <a:pt x="667385" y="2410014"/>
                </a:cubicBezTo>
                <a:close/>
                <a:moveTo>
                  <a:pt x="625475" y="1867724"/>
                </a:moveTo>
                <a:cubicBezTo>
                  <a:pt x="620395" y="1884869"/>
                  <a:pt x="647700" y="1893124"/>
                  <a:pt x="652780" y="1875344"/>
                </a:cubicBezTo>
                <a:cubicBezTo>
                  <a:pt x="657860" y="1858199"/>
                  <a:pt x="630555" y="1849944"/>
                  <a:pt x="625475" y="1867724"/>
                </a:cubicBezTo>
                <a:close/>
                <a:moveTo>
                  <a:pt x="645160" y="2215069"/>
                </a:moveTo>
                <a:cubicBezTo>
                  <a:pt x="642620" y="2238564"/>
                  <a:pt x="680085" y="2241739"/>
                  <a:pt x="681990" y="2217609"/>
                </a:cubicBezTo>
                <a:cubicBezTo>
                  <a:pt x="683895" y="2194749"/>
                  <a:pt x="647065" y="2191574"/>
                  <a:pt x="645160" y="2215069"/>
                </a:cubicBezTo>
                <a:close/>
                <a:moveTo>
                  <a:pt x="631825" y="1764854"/>
                </a:moveTo>
                <a:cubicBezTo>
                  <a:pt x="647065" y="1770569"/>
                  <a:pt x="655955" y="1745804"/>
                  <a:pt x="640080" y="1740724"/>
                </a:cubicBezTo>
                <a:cubicBezTo>
                  <a:pt x="624840" y="1735009"/>
                  <a:pt x="616585" y="1759774"/>
                  <a:pt x="631825" y="1764854"/>
                </a:cubicBezTo>
                <a:close/>
                <a:moveTo>
                  <a:pt x="627380" y="2001074"/>
                </a:moveTo>
                <a:cubicBezTo>
                  <a:pt x="647065" y="2006154"/>
                  <a:pt x="654050" y="1975038"/>
                  <a:pt x="634365" y="1970594"/>
                </a:cubicBezTo>
                <a:cubicBezTo>
                  <a:pt x="614680" y="1966149"/>
                  <a:pt x="607695" y="1996629"/>
                  <a:pt x="627380" y="2001074"/>
                </a:cubicBezTo>
                <a:close/>
                <a:moveTo>
                  <a:pt x="692150" y="1886774"/>
                </a:moveTo>
                <a:cubicBezTo>
                  <a:pt x="688975" y="1923604"/>
                  <a:pt x="742950" y="1891854"/>
                  <a:pt x="709295" y="1876613"/>
                </a:cubicBezTo>
                <a:cubicBezTo>
                  <a:pt x="702310" y="1874709"/>
                  <a:pt x="694055" y="1879154"/>
                  <a:pt x="692150" y="1886774"/>
                </a:cubicBezTo>
                <a:close/>
                <a:moveTo>
                  <a:pt x="692150" y="1785174"/>
                </a:moveTo>
                <a:cubicBezTo>
                  <a:pt x="707390" y="1790254"/>
                  <a:pt x="715645" y="1766124"/>
                  <a:pt x="699770" y="1761044"/>
                </a:cubicBezTo>
                <a:cubicBezTo>
                  <a:pt x="684530" y="1755963"/>
                  <a:pt x="676910" y="1780729"/>
                  <a:pt x="692150" y="1785174"/>
                </a:cubicBezTo>
                <a:close/>
                <a:moveTo>
                  <a:pt x="687705" y="2126804"/>
                </a:moveTo>
                <a:cubicBezTo>
                  <a:pt x="709295" y="2129979"/>
                  <a:pt x="714375" y="2095688"/>
                  <a:pt x="692150" y="2093149"/>
                </a:cubicBezTo>
                <a:cubicBezTo>
                  <a:pt x="670560" y="2089974"/>
                  <a:pt x="666115" y="2124264"/>
                  <a:pt x="687705" y="2126804"/>
                </a:cubicBezTo>
                <a:close/>
                <a:moveTo>
                  <a:pt x="1092835" y="2138869"/>
                </a:moveTo>
                <a:cubicBezTo>
                  <a:pt x="1115060" y="2137599"/>
                  <a:pt x="1111885" y="2103309"/>
                  <a:pt x="1090295" y="2105214"/>
                </a:cubicBezTo>
                <a:cubicBezTo>
                  <a:pt x="1068070" y="2106484"/>
                  <a:pt x="1070610" y="2140774"/>
                  <a:pt x="1092835" y="2138869"/>
                </a:cubicBezTo>
                <a:close/>
                <a:moveTo>
                  <a:pt x="4357370" y="893634"/>
                </a:moveTo>
                <a:cubicBezTo>
                  <a:pt x="4356735" y="875219"/>
                  <a:pt x="4328160" y="876488"/>
                  <a:pt x="4328795" y="894904"/>
                </a:cubicBezTo>
                <a:cubicBezTo>
                  <a:pt x="4329430" y="912684"/>
                  <a:pt x="4358005" y="911413"/>
                  <a:pt x="4357370" y="893634"/>
                </a:cubicBezTo>
                <a:close/>
                <a:moveTo>
                  <a:pt x="4335780" y="827594"/>
                </a:moveTo>
                <a:cubicBezTo>
                  <a:pt x="4335145" y="807274"/>
                  <a:pt x="4303395" y="809813"/>
                  <a:pt x="4304665" y="829499"/>
                </a:cubicBezTo>
                <a:cubicBezTo>
                  <a:pt x="4305935" y="849819"/>
                  <a:pt x="4337685" y="847913"/>
                  <a:pt x="4335780" y="827594"/>
                </a:cubicBezTo>
                <a:close/>
                <a:moveTo>
                  <a:pt x="4297045" y="937449"/>
                </a:moveTo>
                <a:cubicBezTo>
                  <a:pt x="4280535" y="937449"/>
                  <a:pt x="4281170" y="963484"/>
                  <a:pt x="4297680" y="962849"/>
                </a:cubicBezTo>
                <a:cubicBezTo>
                  <a:pt x="4314190" y="962849"/>
                  <a:pt x="4313555" y="936813"/>
                  <a:pt x="4297045" y="937449"/>
                </a:cubicBezTo>
                <a:close/>
                <a:moveTo>
                  <a:pt x="4360545" y="936813"/>
                </a:moveTo>
                <a:cubicBezTo>
                  <a:pt x="4344035" y="936813"/>
                  <a:pt x="4344035" y="962213"/>
                  <a:pt x="4360545" y="962213"/>
                </a:cubicBezTo>
                <a:cubicBezTo>
                  <a:pt x="4377055" y="962213"/>
                  <a:pt x="4377055" y="936179"/>
                  <a:pt x="4360545" y="936813"/>
                </a:cubicBezTo>
                <a:close/>
                <a:moveTo>
                  <a:pt x="4387215" y="729804"/>
                </a:moveTo>
                <a:cubicBezTo>
                  <a:pt x="4364990" y="731074"/>
                  <a:pt x="4367530" y="765363"/>
                  <a:pt x="4389120" y="763459"/>
                </a:cubicBezTo>
                <a:cubicBezTo>
                  <a:pt x="4410710" y="762824"/>
                  <a:pt x="4408805" y="728534"/>
                  <a:pt x="4387215" y="729804"/>
                </a:cubicBezTo>
                <a:close/>
                <a:moveTo>
                  <a:pt x="4204335" y="887284"/>
                </a:moveTo>
                <a:cubicBezTo>
                  <a:pt x="4185920" y="888554"/>
                  <a:pt x="4188460" y="917129"/>
                  <a:pt x="4206240" y="915224"/>
                </a:cubicBezTo>
                <a:cubicBezTo>
                  <a:pt x="4224655" y="914588"/>
                  <a:pt x="4222115" y="886013"/>
                  <a:pt x="4204335" y="887284"/>
                </a:cubicBezTo>
                <a:close/>
                <a:moveTo>
                  <a:pt x="4233545" y="939354"/>
                </a:moveTo>
                <a:cubicBezTo>
                  <a:pt x="4217035" y="939988"/>
                  <a:pt x="4218305" y="965388"/>
                  <a:pt x="4234180" y="964754"/>
                </a:cubicBezTo>
                <a:cubicBezTo>
                  <a:pt x="4250690" y="964119"/>
                  <a:pt x="4250055" y="938719"/>
                  <a:pt x="4233545" y="939354"/>
                </a:cubicBezTo>
                <a:close/>
                <a:moveTo>
                  <a:pt x="4260215" y="898079"/>
                </a:moveTo>
                <a:cubicBezTo>
                  <a:pt x="4260850" y="916494"/>
                  <a:pt x="4289425" y="914588"/>
                  <a:pt x="4288155" y="896809"/>
                </a:cubicBezTo>
                <a:cubicBezTo>
                  <a:pt x="4287520" y="877759"/>
                  <a:pt x="4258945" y="879663"/>
                  <a:pt x="4260215" y="898079"/>
                </a:cubicBezTo>
                <a:close/>
                <a:moveTo>
                  <a:pt x="3859530" y="926654"/>
                </a:moveTo>
                <a:cubicBezTo>
                  <a:pt x="3841115" y="929194"/>
                  <a:pt x="3846195" y="957769"/>
                  <a:pt x="3863975" y="954594"/>
                </a:cubicBezTo>
                <a:cubicBezTo>
                  <a:pt x="3882390" y="952054"/>
                  <a:pt x="3877945" y="923479"/>
                  <a:pt x="3859530" y="926654"/>
                </a:cubicBezTo>
                <a:close/>
                <a:moveTo>
                  <a:pt x="4411980" y="877759"/>
                </a:moveTo>
                <a:cubicBezTo>
                  <a:pt x="4393565" y="877759"/>
                  <a:pt x="4394200" y="906969"/>
                  <a:pt x="4412615" y="906334"/>
                </a:cubicBezTo>
                <a:cubicBezTo>
                  <a:pt x="4431030" y="905699"/>
                  <a:pt x="4430395" y="877124"/>
                  <a:pt x="4411980" y="877759"/>
                </a:cubicBezTo>
                <a:close/>
                <a:moveTo>
                  <a:pt x="4464685" y="471994"/>
                </a:moveTo>
                <a:cubicBezTo>
                  <a:pt x="4462780" y="499299"/>
                  <a:pt x="4505960" y="501838"/>
                  <a:pt x="4507230" y="473899"/>
                </a:cubicBezTo>
                <a:cubicBezTo>
                  <a:pt x="4508500" y="447229"/>
                  <a:pt x="4465320" y="444688"/>
                  <a:pt x="4464685" y="471994"/>
                </a:cubicBezTo>
                <a:close/>
                <a:moveTo>
                  <a:pt x="4410710" y="823784"/>
                </a:moveTo>
                <a:cubicBezTo>
                  <a:pt x="4410075" y="803463"/>
                  <a:pt x="4378325" y="805369"/>
                  <a:pt x="4379595" y="825054"/>
                </a:cubicBezTo>
                <a:cubicBezTo>
                  <a:pt x="4380230" y="845374"/>
                  <a:pt x="4411980" y="844104"/>
                  <a:pt x="4410710" y="823784"/>
                </a:cubicBezTo>
                <a:close/>
                <a:moveTo>
                  <a:pt x="4464685" y="545654"/>
                </a:moveTo>
                <a:cubicBezTo>
                  <a:pt x="4439285" y="545654"/>
                  <a:pt x="4439285" y="585659"/>
                  <a:pt x="4464685" y="585024"/>
                </a:cubicBezTo>
                <a:cubicBezTo>
                  <a:pt x="4490720" y="585659"/>
                  <a:pt x="4490085" y="545654"/>
                  <a:pt x="4464685" y="545654"/>
                </a:cubicBezTo>
                <a:close/>
                <a:moveTo>
                  <a:pt x="4481195" y="877124"/>
                </a:moveTo>
                <a:cubicBezTo>
                  <a:pt x="4462780" y="877124"/>
                  <a:pt x="4462780" y="905699"/>
                  <a:pt x="4481195" y="905063"/>
                </a:cubicBezTo>
                <a:cubicBezTo>
                  <a:pt x="4499610" y="905063"/>
                  <a:pt x="4499610" y="876488"/>
                  <a:pt x="4481195" y="877124"/>
                </a:cubicBezTo>
                <a:close/>
                <a:moveTo>
                  <a:pt x="4467860" y="760284"/>
                </a:moveTo>
                <a:cubicBezTo>
                  <a:pt x="4490085" y="760284"/>
                  <a:pt x="4489450" y="725359"/>
                  <a:pt x="4467225" y="726629"/>
                </a:cubicBezTo>
                <a:cubicBezTo>
                  <a:pt x="4445635" y="726629"/>
                  <a:pt x="4446270" y="760919"/>
                  <a:pt x="4467860" y="760284"/>
                </a:cubicBezTo>
                <a:close/>
                <a:moveTo>
                  <a:pt x="4464685" y="404049"/>
                </a:moveTo>
                <a:cubicBezTo>
                  <a:pt x="4493895" y="407858"/>
                  <a:pt x="4498975" y="361504"/>
                  <a:pt x="4469130" y="358963"/>
                </a:cubicBezTo>
                <a:cubicBezTo>
                  <a:pt x="4440555" y="355154"/>
                  <a:pt x="4435475" y="401508"/>
                  <a:pt x="4464685" y="404049"/>
                </a:cubicBezTo>
                <a:close/>
                <a:moveTo>
                  <a:pt x="4210050" y="583119"/>
                </a:moveTo>
                <a:cubicBezTo>
                  <a:pt x="4206875" y="557719"/>
                  <a:pt x="4166870" y="563434"/>
                  <a:pt x="4170680" y="588834"/>
                </a:cubicBezTo>
                <a:cubicBezTo>
                  <a:pt x="4174490" y="614234"/>
                  <a:pt x="4214495" y="608519"/>
                  <a:pt x="4210050" y="583119"/>
                </a:cubicBezTo>
                <a:close/>
                <a:moveTo>
                  <a:pt x="4424045" y="936813"/>
                </a:moveTo>
                <a:cubicBezTo>
                  <a:pt x="4407535" y="936179"/>
                  <a:pt x="4407535" y="962213"/>
                  <a:pt x="4424045" y="962213"/>
                </a:cubicBezTo>
                <a:cubicBezTo>
                  <a:pt x="4440555" y="962213"/>
                  <a:pt x="4440555" y="936179"/>
                  <a:pt x="4424045" y="936813"/>
                </a:cubicBezTo>
                <a:close/>
                <a:moveTo>
                  <a:pt x="4432300" y="186879"/>
                </a:moveTo>
                <a:cubicBezTo>
                  <a:pt x="4400550" y="177988"/>
                  <a:pt x="4387215" y="228154"/>
                  <a:pt x="4419600" y="235774"/>
                </a:cubicBezTo>
                <a:cubicBezTo>
                  <a:pt x="4450715" y="245299"/>
                  <a:pt x="4464685" y="195133"/>
                  <a:pt x="4432300" y="186879"/>
                </a:cubicBezTo>
                <a:close/>
                <a:moveTo>
                  <a:pt x="4469130" y="806638"/>
                </a:moveTo>
                <a:cubicBezTo>
                  <a:pt x="4448810" y="806638"/>
                  <a:pt x="4449445" y="838388"/>
                  <a:pt x="4469765" y="837754"/>
                </a:cubicBezTo>
                <a:cubicBezTo>
                  <a:pt x="4490085" y="837119"/>
                  <a:pt x="4489450" y="805369"/>
                  <a:pt x="4469130" y="806638"/>
                </a:cubicBezTo>
                <a:close/>
                <a:moveTo>
                  <a:pt x="3983990" y="737424"/>
                </a:moveTo>
                <a:cubicBezTo>
                  <a:pt x="4007485" y="732344"/>
                  <a:pt x="3998595" y="696149"/>
                  <a:pt x="3975735" y="701863"/>
                </a:cubicBezTo>
                <a:cubicBezTo>
                  <a:pt x="3952875" y="706944"/>
                  <a:pt x="3961130" y="743138"/>
                  <a:pt x="3983990" y="737424"/>
                </a:cubicBezTo>
                <a:close/>
                <a:moveTo>
                  <a:pt x="3947160" y="858074"/>
                </a:moveTo>
                <a:cubicBezTo>
                  <a:pt x="3927475" y="861249"/>
                  <a:pt x="3932555" y="892363"/>
                  <a:pt x="3952240" y="888554"/>
                </a:cubicBezTo>
                <a:cubicBezTo>
                  <a:pt x="3971925" y="885379"/>
                  <a:pt x="3966845" y="854263"/>
                  <a:pt x="3947160" y="858074"/>
                </a:cubicBezTo>
                <a:close/>
                <a:moveTo>
                  <a:pt x="3979545" y="955229"/>
                </a:moveTo>
                <a:cubicBezTo>
                  <a:pt x="3963035" y="956499"/>
                  <a:pt x="3965575" y="982534"/>
                  <a:pt x="3982085" y="980629"/>
                </a:cubicBezTo>
                <a:cubicBezTo>
                  <a:pt x="3997960" y="979359"/>
                  <a:pt x="3996055" y="953324"/>
                  <a:pt x="3979545" y="955229"/>
                </a:cubicBezTo>
                <a:close/>
                <a:moveTo>
                  <a:pt x="3997325" y="907604"/>
                </a:moveTo>
                <a:cubicBezTo>
                  <a:pt x="3978910" y="909509"/>
                  <a:pt x="3982720" y="938084"/>
                  <a:pt x="4001135" y="935544"/>
                </a:cubicBezTo>
                <a:cubicBezTo>
                  <a:pt x="4018915" y="933638"/>
                  <a:pt x="4015105" y="905063"/>
                  <a:pt x="3997325" y="907604"/>
                </a:cubicBezTo>
                <a:close/>
                <a:moveTo>
                  <a:pt x="3914775" y="831404"/>
                </a:moveTo>
                <a:cubicBezTo>
                  <a:pt x="3936365" y="826959"/>
                  <a:pt x="3928745" y="793304"/>
                  <a:pt x="3907155" y="798384"/>
                </a:cubicBezTo>
                <a:cubicBezTo>
                  <a:pt x="3886200" y="802829"/>
                  <a:pt x="3893820" y="836484"/>
                  <a:pt x="3914775" y="831404"/>
                </a:cubicBezTo>
                <a:close/>
                <a:moveTo>
                  <a:pt x="3873500" y="871409"/>
                </a:moveTo>
                <a:cubicBezTo>
                  <a:pt x="3853815" y="874584"/>
                  <a:pt x="3860165" y="906334"/>
                  <a:pt x="3879215" y="901888"/>
                </a:cubicBezTo>
                <a:cubicBezTo>
                  <a:pt x="3898900" y="898713"/>
                  <a:pt x="3892550" y="867599"/>
                  <a:pt x="3873500" y="871409"/>
                </a:cubicBezTo>
                <a:close/>
                <a:moveTo>
                  <a:pt x="3928110" y="916494"/>
                </a:moveTo>
                <a:cubicBezTo>
                  <a:pt x="3909695" y="919034"/>
                  <a:pt x="3914140" y="946974"/>
                  <a:pt x="3931920" y="944434"/>
                </a:cubicBezTo>
                <a:cubicBezTo>
                  <a:pt x="3950335" y="941894"/>
                  <a:pt x="3946525" y="913954"/>
                  <a:pt x="3928110" y="916494"/>
                </a:cubicBezTo>
                <a:close/>
                <a:moveTo>
                  <a:pt x="4038600" y="858709"/>
                </a:moveTo>
                <a:cubicBezTo>
                  <a:pt x="4037330" y="850454"/>
                  <a:pt x="4029075" y="844738"/>
                  <a:pt x="4020820" y="846009"/>
                </a:cubicBezTo>
                <a:cubicBezTo>
                  <a:pt x="3982720" y="858709"/>
                  <a:pt x="4037965" y="899984"/>
                  <a:pt x="4038600" y="858709"/>
                </a:cubicBezTo>
                <a:close/>
                <a:moveTo>
                  <a:pt x="3916045" y="961579"/>
                </a:moveTo>
                <a:cubicBezTo>
                  <a:pt x="3899535" y="962849"/>
                  <a:pt x="3902710" y="988884"/>
                  <a:pt x="3918585" y="986979"/>
                </a:cubicBezTo>
                <a:cubicBezTo>
                  <a:pt x="3935095" y="985074"/>
                  <a:pt x="3932555" y="959674"/>
                  <a:pt x="3916045" y="961579"/>
                </a:cubicBezTo>
                <a:close/>
                <a:moveTo>
                  <a:pt x="4170045" y="826324"/>
                </a:moveTo>
                <a:cubicBezTo>
                  <a:pt x="4149725" y="828229"/>
                  <a:pt x="4153535" y="859979"/>
                  <a:pt x="4173220" y="857438"/>
                </a:cubicBezTo>
                <a:cubicBezTo>
                  <a:pt x="4193540" y="855534"/>
                  <a:pt x="4189730" y="823784"/>
                  <a:pt x="4170045" y="826324"/>
                </a:cubicBezTo>
                <a:close/>
                <a:moveTo>
                  <a:pt x="4097020" y="581849"/>
                </a:moveTo>
                <a:cubicBezTo>
                  <a:pt x="4071620" y="586294"/>
                  <a:pt x="4079240" y="625663"/>
                  <a:pt x="4104640" y="620584"/>
                </a:cubicBezTo>
                <a:cubicBezTo>
                  <a:pt x="4129405" y="616138"/>
                  <a:pt x="4121785" y="576769"/>
                  <a:pt x="4097020" y="581849"/>
                </a:cubicBezTo>
                <a:close/>
                <a:moveTo>
                  <a:pt x="4106545" y="945704"/>
                </a:moveTo>
                <a:cubicBezTo>
                  <a:pt x="4090035" y="946338"/>
                  <a:pt x="4091940" y="972374"/>
                  <a:pt x="4108450" y="971104"/>
                </a:cubicBezTo>
                <a:cubicBezTo>
                  <a:pt x="4124325" y="969834"/>
                  <a:pt x="4123055" y="944434"/>
                  <a:pt x="4106545" y="945704"/>
                </a:cubicBezTo>
                <a:close/>
                <a:moveTo>
                  <a:pt x="4135120" y="892999"/>
                </a:moveTo>
                <a:cubicBezTo>
                  <a:pt x="4116705" y="894269"/>
                  <a:pt x="4119245" y="922844"/>
                  <a:pt x="4137660" y="920938"/>
                </a:cubicBezTo>
                <a:cubicBezTo>
                  <a:pt x="4156075" y="919669"/>
                  <a:pt x="4153535" y="891094"/>
                  <a:pt x="4135120" y="892999"/>
                </a:cubicBezTo>
                <a:close/>
                <a:moveTo>
                  <a:pt x="4170045" y="941894"/>
                </a:moveTo>
                <a:cubicBezTo>
                  <a:pt x="4153535" y="942529"/>
                  <a:pt x="4154805" y="968563"/>
                  <a:pt x="4171315" y="967294"/>
                </a:cubicBezTo>
                <a:cubicBezTo>
                  <a:pt x="4187825" y="966659"/>
                  <a:pt x="4186555" y="940624"/>
                  <a:pt x="4170045" y="941894"/>
                </a:cubicBezTo>
                <a:close/>
                <a:moveTo>
                  <a:pt x="4065905" y="766634"/>
                </a:moveTo>
                <a:cubicBezTo>
                  <a:pt x="4044315" y="769809"/>
                  <a:pt x="4050030" y="804099"/>
                  <a:pt x="4071620" y="800288"/>
                </a:cubicBezTo>
                <a:cubicBezTo>
                  <a:pt x="4093845" y="797113"/>
                  <a:pt x="4087495" y="762824"/>
                  <a:pt x="4065905" y="766634"/>
                </a:cubicBezTo>
                <a:close/>
                <a:moveTo>
                  <a:pt x="4099560" y="866329"/>
                </a:moveTo>
                <a:cubicBezTo>
                  <a:pt x="4119245" y="863788"/>
                  <a:pt x="4115435" y="832674"/>
                  <a:pt x="4095750" y="835213"/>
                </a:cubicBezTo>
                <a:cubicBezTo>
                  <a:pt x="4075430" y="837754"/>
                  <a:pt x="4079875" y="868869"/>
                  <a:pt x="4099560" y="866329"/>
                </a:cubicBezTo>
                <a:close/>
                <a:moveTo>
                  <a:pt x="4065905" y="899349"/>
                </a:moveTo>
                <a:cubicBezTo>
                  <a:pt x="4047490" y="900619"/>
                  <a:pt x="4050665" y="929829"/>
                  <a:pt x="4069080" y="927288"/>
                </a:cubicBezTo>
                <a:cubicBezTo>
                  <a:pt x="4087495" y="926019"/>
                  <a:pt x="4084320" y="897444"/>
                  <a:pt x="4065905" y="899349"/>
                </a:cubicBezTo>
                <a:close/>
                <a:moveTo>
                  <a:pt x="4043045" y="949513"/>
                </a:moveTo>
                <a:cubicBezTo>
                  <a:pt x="4026535" y="950784"/>
                  <a:pt x="4028440" y="976184"/>
                  <a:pt x="4044950" y="974913"/>
                </a:cubicBezTo>
                <a:cubicBezTo>
                  <a:pt x="4061460" y="974279"/>
                  <a:pt x="4059555" y="948244"/>
                  <a:pt x="4043045" y="949513"/>
                </a:cubicBezTo>
                <a:close/>
                <a:moveTo>
                  <a:pt x="4244340" y="818704"/>
                </a:moveTo>
                <a:cubicBezTo>
                  <a:pt x="4224020" y="819974"/>
                  <a:pt x="4227195" y="851724"/>
                  <a:pt x="4246880" y="849819"/>
                </a:cubicBezTo>
                <a:cubicBezTo>
                  <a:pt x="4267200" y="848549"/>
                  <a:pt x="4264660" y="816799"/>
                  <a:pt x="4244340" y="818704"/>
                </a:cubicBezTo>
                <a:close/>
                <a:moveTo>
                  <a:pt x="4827270" y="889824"/>
                </a:moveTo>
                <a:cubicBezTo>
                  <a:pt x="4808855" y="887919"/>
                  <a:pt x="4806950" y="917129"/>
                  <a:pt x="4825365" y="917763"/>
                </a:cubicBezTo>
                <a:cubicBezTo>
                  <a:pt x="4843145" y="919669"/>
                  <a:pt x="4845685" y="891094"/>
                  <a:pt x="4827270" y="889824"/>
                </a:cubicBezTo>
                <a:close/>
                <a:moveTo>
                  <a:pt x="4869180" y="959038"/>
                </a:moveTo>
                <a:cubicBezTo>
                  <a:pt x="4852670" y="957134"/>
                  <a:pt x="4850130" y="983169"/>
                  <a:pt x="4866640" y="984438"/>
                </a:cubicBezTo>
                <a:cubicBezTo>
                  <a:pt x="4882515" y="986344"/>
                  <a:pt x="4885055" y="960944"/>
                  <a:pt x="4869180" y="959038"/>
                </a:cubicBezTo>
                <a:close/>
                <a:moveTo>
                  <a:pt x="4843780" y="818069"/>
                </a:moveTo>
                <a:cubicBezTo>
                  <a:pt x="4824095" y="816163"/>
                  <a:pt x="4820920" y="847279"/>
                  <a:pt x="4841240" y="849184"/>
                </a:cubicBezTo>
                <a:cubicBezTo>
                  <a:pt x="4861560" y="851088"/>
                  <a:pt x="4864100" y="819338"/>
                  <a:pt x="4843780" y="818069"/>
                </a:cubicBezTo>
                <a:close/>
                <a:moveTo>
                  <a:pt x="4871085" y="742504"/>
                </a:moveTo>
                <a:cubicBezTo>
                  <a:pt x="4849495" y="739963"/>
                  <a:pt x="4845685" y="774254"/>
                  <a:pt x="4867275" y="776159"/>
                </a:cubicBezTo>
                <a:cubicBezTo>
                  <a:pt x="4888865" y="779334"/>
                  <a:pt x="4893310" y="745044"/>
                  <a:pt x="4871085" y="742504"/>
                </a:cubicBezTo>
                <a:close/>
                <a:moveTo>
                  <a:pt x="4806315" y="753299"/>
                </a:moveTo>
                <a:cubicBezTo>
                  <a:pt x="4808220" y="731709"/>
                  <a:pt x="4773930" y="728534"/>
                  <a:pt x="4772660" y="750759"/>
                </a:cubicBezTo>
                <a:cubicBezTo>
                  <a:pt x="4770120" y="772349"/>
                  <a:pt x="4804410" y="774888"/>
                  <a:pt x="4806315" y="753299"/>
                </a:cubicBezTo>
                <a:close/>
                <a:moveTo>
                  <a:pt x="4758055" y="884744"/>
                </a:moveTo>
                <a:cubicBezTo>
                  <a:pt x="4739005" y="883474"/>
                  <a:pt x="4738370" y="913319"/>
                  <a:pt x="4757420" y="912684"/>
                </a:cubicBezTo>
                <a:cubicBezTo>
                  <a:pt x="4775200" y="913319"/>
                  <a:pt x="4775835" y="886013"/>
                  <a:pt x="4758055" y="884744"/>
                </a:cubicBezTo>
                <a:close/>
                <a:moveTo>
                  <a:pt x="4805680" y="953959"/>
                </a:moveTo>
                <a:cubicBezTo>
                  <a:pt x="4788535" y="952688"/>
                  <a:pt x="4787265" y="979359"/>
                  <a:pt x="4804410" y="979359"/>
                </a:cubicBezTo>
                <a:cubicBezTo>
                  <a:pt x="4820285" y="979359"/>
                  <a:pt x="4821555" y="954594"/>
                  <a:pt x="4805680" y="953959"/>
                </a:cubicBezTo>
                <a:close/>
                <a:moveTo>
                  <a:pt x="4769485" y="812354"/>
                </a:moveTo>
                <a:cubicBezTo>
                  <a:pt x="4749165" y="811084"/>
                  <a:pt x="4747260" y="842199"/>
                  <a:pt x="4767580" y="843469"/>
                </a:cubicBezTo>
                <a:cubicBezTo>
                  <a:pt x="4787265" y="845374"/>
                  <a:pt x="4789805" y="813624"/>
                  <a:pt x="4769485" y="812354"/>
                </a:cubicBezTo>
                <a:close/>
                <a:moveTo>
                  <a:pt x="4742180" y="948879"/>
                </a:moveTo>
                <a:cubicBezTo>
                  <a:pt x="4725035" y="947609"/>
                  <a:pt x="4724400" y="974279"/>
                  <a:pt x="4741545" y="974279"/>
                </a:cubicBezTo>
                <a:cubicBezTo>
                  <a:pt x="4757420" y="974279"/>
                  <a:pt x="4758055" y="949513"/>
                  <a:pt x="4742180" y="948879"/>
                </a:cubicBezTo>
                <a:close/>
                <a:moveTo>
                  <a:pt x="4896485" y="896174"/>
                </a:moveTo>
                <a:cubicBezTo>
                  <a:pt x="4878070" y="894269"/>
                  <a:pt x="4875530" y="922844"/>
                  <a:pt x="4893945" y="924113"/>
                </a:cubicBezTo>
                <a:cubicBezTo>
                  <a:pt x="4911725" y="926019"/>
                  <a:pt x="4914900" y="897444"/>
                  <a:pt x="4896485" y="896174"/>
                </a:cubicBezTo>
                <a:close/>
                <a:moveTo>
                  <a:pt x="4995545" y="973009"/>
                </a:moveTo>
                <a:cubicBezTo>
                  <a:pt x="4979035" y="971104"/>
                  <a:pt x="4975860" y="996504"/>
                  <a:pt x="4992370" y="998409"/>
                </a:cubicBezTo>
                <a:cubicBezTo>
                  <a:pt x="5008880" y="1000313"/>
                  <a:pt x="5012055" y="974279"/>
                  <a:pt x="4995545" y="973009"/>
                </a:cubicBezTo>
                <a:close/>
                <a:moveTo>
                  <a:pt x="5031105" y="765363"/>
                </a:moveTo>
                <a:cubicBezTo>
                  <a:pt x="5007610" y="760919"/>
                  <a:pt x="5004435" y="799019"/>
                  <a:pt x="5028565" y="799019"/>
                </a:cubicBezTo>
                <a:cubicBezTo>
                  <a:pt x="5048885" y="799654"/>
                  <a:pt x="5051425" y="768538"/>
                  <a:pt x="5031105" y="765363"/>
                </a:cubicBezTo>
                <a:close/>
                <a:moveTo>
                  <a:pt x="4993005" y="833944"/>
                </a:moveTo>
                <a:cubicBezTo>
                  <a:pt x="4973320" y="831404"/>
                  <a:pt x="4968875" y="862519"/>
                  <a:pt x="4989195" y="865059"/>
                </a:cubicBezTo>
                <a:cubicBezTo>
                  <a:pt x="5008880" y="867599"/>
                  <a:pt x="5013325" y="836484"/>
                  <a:pt x="4993005" y="833944"/>
                </a:cubicBezTo>
                <a:close/>
                <a:moveTo>
                  <a:pt x="5034280" y="911413"/>
                </a:moveTo>
                <a:cubicBezTo>
                  <a:pt x="5016500" y="908874"/>
                  <a:pt x="5012690" y="937449"/>
                  <a:pt x="5030470" y="939354"/>
                </a:cubicBezTo>
                <a:cubicBezTo>
                  <a:pt x="5048885" y="941894"/>
                  <a:pt x="5052695" y="913319"/>
                  <a:pt x="5034280" y="911413"/>
                </a:cubicBezTo>
                <a:close/>
                <a:moveTo>
                  <a:pt x="4932045" y="966024"/>
                </a:moveTo>
                <a:cubicBezTo>
                  <a:pt x="4915535" y="964119"/>
                  <a:pt x="4912995" y="989519"/>
                  <a:pt x="4929505" y="991424"/>
                </a:cubicBezTo>
                <a:cubicBezTo>
                  <a:pt x="4946015" y="992694"/>
                  <a:pt x="4948555" y="967294"/>
                  <a:pt x="4932045" y="966024"/>
                </a:cubicBezTo>
                <a:close/>
                <a:moveTo>
                  <a:pt x="4932680" y="842199"/>
                </a:moveTo>
                <a:cubicBezTo>
                  <a:pt x="4935220" y="822513"/>
                  <a:pt x="4903470" y="818704"/>
                  <a:pt x="4901565" y="839024"/>
                </a:cubicBezTo>
                <a:cubicBezTo>
                  <a:pt x="4899025" y="859344"/>
                  <a:pt x="4930775" y="862519"/>
                  <a:pt x="4932680" y="842199"/>
                </a:cubicBezTo>
                <a:close/>
                <a:moveTo>
                  <a:pt x="4965700" y="903159"/>
                </a:moveTo>
                <a:cubicBezTo>
                  <a:pt x="4947285" y="900619"/>
                  <a:pt x="4944110" y="929829"/>
                  <a:pt x="4962525" y="931099"/>
                </a:cubicBezTo>
                <a:cubicBezTo>
                  <a:pt x="4980305" y="933004"/>
                  <a:pt x="4983480" y="905063"/>
                  <a:pt x="4965700" y="903159"/>
                </a:cubicBezTo>
                <a:close/>
                <a:moveTo>
                  <a:pt x="4965700" y="772349"/>
                </a:moveTo>
                <a:cubicBezTo>
                  <a:pt x="4968875" y="750759"/>
                  <a:pt x="4934585" y="745679"/>
                  <a:pt x="4932045" y="767904"/>
                </a:cubicBezTo>
                <a:cubicBezTo>
                  <a:pt x="4928870" y="788859"/>
                  <a:pt x="4963160" y="793938"/>
                  <a:pt x="4965700" y="772349"/>
                </a:cubicBezTo>
                <a:close/>
                <a:moveTo>
                  <a:pt x="4619625" y="879029"/>
                </a:moveTo>
                <a:cubicBezTo>
                  <a:pt x="4601210" y="878394"/>
                  <a:pt x="4600575" y="906969"/>
                  <a:pt x="4618990" y="906969"/>
                </a:cubicBezTo>
                <a:cubicBezTo>
                  <a:pt x="4637405" y="907604"/>
                  <a:pt x="4638040" y="879029"/>
                  <a:pt x="4619625" y="879029"/>
                </a:cubicBezTo>
                <a:close/>
                <a:moveTo>
                  <a:pt x="4577715" y="638363"/>
                </a:moveTo>
                <a:cubicBezTo>
                  <a:pt x="4553585" y="637729"/>
                  <a:pt x="4553585" y="675194"/>
                  <a:pt x="4577080" y="675194"/>
                </a:cubicBezTo>
                <a:cubicBezTo>
                  <a:pt x="4600575" y="675829"/>
                  <a:pt x="4601210" y="638999"/>
                  <a:pt x="4577715" y="638363"/>
                </a:cubicBezTo>
                <a:close/>
                <a:moveTo>
                  <a:pt x="4615180" y="941259"/>
                </a:moveTo>
                <a:cubicBezTo>
                  <a:pt x="4598670" y="939988"/>
                  <a:pt x="4597400" y="966024"/>
                  <a:pt x="4613910" y="966659"/>
                </a:cubicBezTo>
                <a:cubicBezTo>
                  <a:pt x="4630420" y="967929"/>
                  <a:pt x="4631690" y="941894"/>
                  <a:pt x="4615180" y="941259"/>
                </a:cubicBezTo>
                <a:close/>
                <a:moveTo>
                  <a:pt x="4548505" y="725359"/>
                </a:moveTo>
                <a:cubicBezTo>
                  <a:pt x="4526280" y="725359"/>
                  <a:pt x="4526915" y="759649"/>
                  <a:pt x="4548505" y="759013"/>
                </a:cubicBezTo>
                <a:cubicBezTo>
                  <a:pt x="4570730" y="759013"/>
                  <a:pt x="4570730" y="724724"/>
                  <a:pt x="4548505" y="725359"/>
                </a:cubicBezTo>
                <a:close/>
                <a:moveTo>
                  <a:pt x="4741545" y="564704"/>
                </a:moveTo>
                <a:cubicBezTo>
                  <a:pt x="4730750" y="563434"/>
                  <a:pt x="4720590" y="570419"/>
                  <a:pt x="4719320" y="581849"/>
                </a:cubicBezTo>
                <a:cubicBezTo>
                  <a:pt x="4721225" y="633284"/>
                  <a:pt x="4791075" y="579944"/>
                  <a:pt x="4741545" y="564704"/>
                </a:cubicBezTo>
                <a:close/>
                <a:moveTo>
                  <a:pt x="4550410" y="877124"/>
                </a:moveTo>
                <a:cubicBezTo>
                  <a:pt x="4531995" y="876488"/>
                  <a:pt x="4531995" y="905699"/>
                  <a:pt x="4550410" y="905699"/>
                </a:cubicBezTo>
                <a:cubicBezTo>
                  <a:pt x="4568825" y="905699"/>
                  <a:pt x="4568825" y="877124"/>
                  <a:pt x="4550410" y="877124"/>
                </a:cubicBezTo>
                <a:close/>
                <a:moveTo>
                  <a:pt x="4540250" y="312608"/>
                </a:moveTo>
                <a:cubicBezTo>
                  <a:pt x="4547870" y="282129"/>
                  <a:pt x="4500245" y="271333"/>
                  <a:pt x="4493260" y="301813"/>
                </a:cubicBezTo>
                <a:cubicBezTo>
                  <a:pt x="4485640" y="332294"/>
                  <a:pt x="4533265" y="343088"/>
                  <a:pt x="4540250" y="312608"/>
                </a:cubicBezTo>
                <a:close/>
                <a:moveTo>
                  <a:pt x="4490720" y="638363"/>
                </a:moveTo>
                <a:cubicBezTo>
                  <a:pt x="4466590" y="638363"/>
                  <a:pt x="4467225" y="675829"/>
                  <a:pt x="4491355" y="675194"/>
                </a:cubicBezTo>
                <a:cubicBezTo>
                  <a:pt x="4514850" y="675194"/>
                  <a:pt x="4514850" y="637729"/>
                  <a:pt x="4490720" y="638363"/>
                </a:cubicBezTo>
                <a:close/>
                <a:moveTo>
                  <a:pt x="4551680" y="939354"/>
                </a:moveTo>
                <a:cubicBezTo>
                  <a:pt x="4535170" y="938719"/>
                  <a:pt x="4534535" y="964754"/>
                  <a:pt x="4551045" y="964754"/>
                </a:cubicBezTo>
                <a:cubicBezTo>
                  <a:pt x="4567555" y="964754"/>
                  <a:pt x="4567555" y="939354"/>
                  <a:pt x="4551680" y="939354"/>
                </a:cubicBezTo>
                <a:close/>
                <a:moveTo>
                  <a:pt x="4559935" y="821244"/>
                </a:moveTo>
                <a:cubicBezTo>
                  <a:pt x="4559935" y="800924"/>
                  <a:pt x="4528820" y="800924"/>
                  <a:pt x="4528820" y="821244"/>
                </a:cubicBezTo>
                <a:cubicBezTo>
                  <a:pt x="4528820" y="841563"/>
                  <a:pt x="4559935" y="840929"/>
                  <a:pt x="4559935" y="821244"/>
                </a:cubicBezTo>
                <a:close/>
                <a:moveTo>
                  <a:pt x="4584700" y="459929"/>
                </a:moveTo>
                <a:cubicBezTo>
                  <a:pt x="4557395" y="456754"/>
                  <a:pt x="4552950" y="499299"/>
                  <a:pt x="4580255" y="501838"/>
                </a:cubicBezTo>
                <a:cubicBezTo>
                  <a:pt x="4607560" y="505649"/>
                  <a:pt x="4612640" y="462469"/>
                  <a:pt x="4584700" y="459929"/>
                </a:cubicBezTo>
                <a:close/>
                <a:moveTo>
                  <a:pt x="4678680" y="945069"/>
                </a:moveTo>
                <a:cubicBezTo>
                  <a:pt x="4662170" y="943799"/>
                  <a:pt x="4660900" y="969834"/>
                  <a:pt x="4677410" y="970469"/>
                </a:cubicBezTo>
                <a:cubicBezTo>
                  <a:pt x="4693285" y="971738"/>
                  <a:pt x="4695190" y="945704"/>
                  <a:pt x="4678680" y="945069"/>
                </a:cubicBezTo>
                <a:close/>
                <a:moveTo>
                  <a:pt x="4688840" y="881569"/>
                </a:moveTo>
                <a:cubicBezTo>
                  <a:pt x="4670425" y="880299"/>
                  <a:pt x="4669155" y="909509"/>
                  <a:pt x="4687570" y="909509"/>
                </a:cubicBezTo>
                <a:cubicBezTo>
                  <a:pt x="4705985" y="910779"/>
                  <a:pt x="4707255" y="882204"/>
                  <a:pt x="4688840" y="881569"/>
                </a:cubicBezTo>
                <a:close/>
                <a:moveTo>
                  <a:pt x="4694555" y="808544"/>
                </a:moveTo>
                <a:cubicBezTo>
                  <a:pt x="4674235" y="807274"/>
                  <a:pt x="4672965" y="839659"/>
                  <a:pt x="4693920" y="839659"/>
                </a:cubicBezTo>
                <a:cubicBezTo>
                  <a:pt x="4713605" y="840294"/>
                  <a:pt x="4714240" y="809179"/>
                  <a:pt x="4694555" y="808544"/>
                </a:cubicBezTo>
                <a:close/>
                <a:moveTo>
                  <a:pt x="4709795" y="729169"/>
                </a:moveTo>
                <a:cubicBezTo>
                  <a:pt x="4687570" y="727899"/>
                  <a:pt x="4686300" y="762188"/>
                  <a:pt x="4707890" y="762824"/>
                </a:cubicBezTo>
                <a:cubicBezTo>
                  <a:pt x="4730115" y="764729"/>
                  <a:pt x="4732020" y="730438"/>
                  <a:pt x="4709795" y="729169"/>
                </a:cubicBezTo>
                <a:close/>
                <a:moveTo>
                  <a:pt x="4681220" y="661224"/>
                </a:moveTo>
                <a:cubicBezTo>
                  <a:pt x="4683125" y="637729"/>
                  <a:pt x="4645660" y="635188"/>
                  <a:pt x="4644390" y="659319"/>
                </a:cubicBezTo>
                <a:cubicBezTo>
                  <a:pt x="4643120" y="682813"/>
                  <a:pt x="4680585" y="685354"/>
                  <a:pt x="4681220" y="661224"/>
                </a:cubicBezTo>
                <a:close/>
                <a:moveTo>
                  <a:pt x="4619625" y="806004"/>
                </a:moveTo>
                <a:cubicBezTo>
                  <a:pt x="4599305" y="805369"/>
                  <a:pt x="4598670" y="837119"/>
                  <a:pt x="4618990" y="837119"/>
                </a:cubicBezTo>
                <a:cubicBezTo>
                  <a:pt x="4638675" y="837754"/>
                  <a:pt x="4639310" y="806638"/>
                  <a:pt x="4619625" y="806004"/>
                </a:cubicBezTo>
                <a:close/>
                <a:moveTo>
                  <a:pt x="4629150" y="725994"/>
                </a:moveTo>
                <a:cubicBezTo>
                  <a:pt x="4606925" y="725359"/>
                  <a:pt x="4606290" y="760284"/>
                  <a:pt x="4628515" y="759649"/>
                </a:cubicBezTo>
                <a:cubicBezTo>
                  <a:pt x="4650105" y="760284"/>
                  <a:pt x="4650740" y="726629"/>
                  <a:pt x="4629150" y="725994"/>
                </a:cubicBezTo>
                <a:close/>
                <a:moveTo>
                  <a:pt x="4488180" y="937449"/>
                </a:moveTo>
                <a:cubicBezTo>
                  <a:pt x="4471670" y="936813"/>
                  <a:pt x="4471035" y="962849"/>
                  <a:pt x="4487545" y="962849"/>
                </a:cubicBezTo>
                <a:cubicBezTo>
                  <a:pt x="4504055" y="963484"/>
                  <a:pt x="4504690" y="937449"/>
                  <a:pt x="4488180" y="937449"/>
                </a:cubicBezTo>
                <a:close/>
                <a:moveTo>
                  <a:pt x="1173480" y="2458909"/>
                </a:moveTo>
                <a:cubicBezTo>
                  <a:pt x="1172210" y="2459544"/>
                  <a:pt x="1170940" y="2460814"/>
                  <a:pt x="1169670" y="2462084"/>
                </a:cubicBezTo>
                <a:cubicBezTo>
                  <a:pt x="1189355" y="2368739"/>
                  <a:pt x="1066165" y="2473514"/>
                  <a:pt x="1162050" y="2469069"/>
                </a:cubicBezTo>
                <a:lnTo>
                  <a:pt x="1162050" y="2469069"/>
                </a:lnTo>
                <a:cubicBezTo>
                  <a:pt x="1164590" y="2467799"/>
                  <a:pt x="1166495" y="2465894"/>
                  <a:pt x="1168400" y="2463989"/>
                </a:cubicBezTo>
                <a:cubicBezTo>
                  <a:pt x="1144270" y="2566859"/>
                  <a:pt x="1278255" y="2450654"/>
                  <a:pt x="1173480" y="2458909"/>
                </a:cubicBezTo>
                <a:close/>
                <a:moveTo>
                  <a:pt x="3246120" y="971738"/>
                </a:moveTo>
                <a:cubicBezTo>
                  <a:pt x="3224530" y="981899"/>
                  <a:pt x="3241675" y="1015554"/>
                  <a:pt x="3262630" y="1004759"/>
                </a:cubicBezTo>
                <a:cubicBezTo>
                  <a:pt x="3284220" y="994599"/>
                  <a:pt x="3267710" y="960944"/>
                  <a:pt x="3246120" y="971738"/>
                </a:cubicBezTo>
                <a:close/>
                <a:moveTo>
                  <a:pt x="2949575" y="1176209"/>
                </a:moveTo>
                <a:cubicBezTo>
                  <a:pt x="2936240" y="1156524"/>
                  <a:pt x="2907030" y="1180019"/>
                  <a:pt x="2923540" y="1197163"/>
                </a:cubicBezTo>
                <a:cubicBezTo>
                  <a:pt x="2905760" y="1218754"/>
                  <a:pt x="2950845" y="1232088"/>
                  <a:pt x="2947670" y="1204149"/>
                </a:cubicBezTo>
                <a:cubicBezTo>
                  <a:pt x="2973705" y="1216849"/>
                  <a:pt x="2977515" y="1168588"/>
                  <a:pt x="2949575" y="1176209"/>
                </a:cubicBezTo>
                <a:close/>
                <a:moveTo>
                  <a:pt x="2893060" y="1209229"/>
                </a:moveTo>
                <a:cubicBezTo>
                  <a:pt x="2901315" y="1199704"/>
                  <a:pt x="2895600" y="1182559"/>
                  <a:pt x="2882900" y="1180019"/>
                </a:cubicBezTo>
                <a:cubicBezTo>
                  <a:pt x="2875915" y="1131124"/>
                  <a:pt x="2813050" y="1185099"/>
                  <a:pt x="2860675" y="1199069"/>
                </a:cubicBezTo>
                <a:cubicBezTo>
                  <a:pt x="2860675" y="1201609"/>
                  <a:pt x="2861945" y="1204784"/>
                  <a:pt x="2863215" y="1207324"/>
                </a:cubicBezTo>
                <a:cubicBezTo>
                  <a:pt x="2846705" y="1207959"/>
                  <a:pt x="2842260" y="1232088"/>
                  <a:pt x="2856865" y="1239074"/>
                </a:cubicBezTo>
                <a:cubicBezTo>
                  <a:pt x="2860675" y="1252409"/>
                  <a:pt x="2880995" y="1251138"/>
                  <a:pt x="2883535" y="1238438"/>
                </a:cubicBezTo>
                <a:cubicBezTo>
                  <a:pt x="2901315" y="1242884"/>
                  <a:pt x="2909570" y="1215579"/>
                  <a:pt x="2893060" y="1209229"/>
                </a:cubicBezTo>
                <a:close/>
                <a:moveTo>
                  <a:pt x="2957195" y="1135569"/>
                </a:moveTo>
                <a:cubicBezTo>
                  <a:pt x="2967355" y="1080324"/>
                  <a:pt x="2883535" y="1124774"/>
                  <a:pt x="2934970" y="1146999"/>
                </a:cubicBezTo>
                <a:cubicBezTo>
                  <a:pt x="2927985" y="1195894"/>
                  <a:pt x="3001645" y="1157159"/>
                  <a:pt x="2957195" y="1135569"/>
                </a:cubicBezTo>
                <a:close/>
                <a:moveTo>
                  <a:pt x="2991485" y="1043494"/>
                </a:moveTo>
                <a:cubicBezTo>
                  <a:pt x="2975610" y="1021269"/>
                  <a:pt x="2940685" y="1047304"/>
                  <a:pt x="2957830" y="1068894"/>
                </a:cubicBezTo>
                <a:cubicBezTo>
                  <a:pt x="2973705" y="1091119"/>
                  <a:pt x="3007995" y="1065084"/>
                  <a:pt x="2991485" y="1043494"/>
                </a:cubicBezTo>
                <a:close/>
                <a:moveTo>
                  <a:pt x="2806700" y="1158429"/>
                </a:moveTo>
                <a:cubicBezTo>
                  <a:pt x="2785110" y="1174938"/>
                  <a:pt x="2811780" y="1209229"/>
                  <a:pt x="2832735" y="1191449"/>
                </a:cubicBezTo>
                <a:cubicBezTo>
                  <a:pt x="2854960" y="1174938"/>
                  <a:pt x="2828290" y="1140649"/>
                  <a:pt x="2806700" y="1158429"/>
                </a:cubicBezTo>
                <a:close/>
                <a:moveTo>
                  <a:pt x="2767330" y="1275269"/>
                </a:moveTo>
                <a:cubicBezTo>
                  <a:pt x="2763520" y="1265744"/>
                  <a:pt x="2748915" y="1265109"/>
                  <a:pt x="2744470" y="1274634"/>
                </a:cubicBezTo>
                <a:cubicBezTo>
                  <a:pt x="2740025" y="1270824"/>
                  <a:pt x="2733040" y="1269554"/>
                  <a:pt x="2727325" y="1270824"/>
                </a:cubicBezTo>
                <a:cubicBezTo>
                  <a:pt x="2720340" y="1263838"/>
                  <a:pt x="2709545" y="1262569"/>
                  <a:pt x="2701925" y="1268919"/>
                </a:cubicBezTo>
                <a:cubicBezTo>
                  <a:pt x="2701925" y="1268919"/>
                  <a:pt x="2701925" y="1268919"/>
                  <a:pt x="2701925" y="1268919"/>
                </a:cubicBezTo>
                <a:cubicBezTo>
                  <a:pt x="2693670" y="1274634"/>
                  <a:pt x="2691765" y="1286063"/>
                  <a:pt x="2696210" y="1294319"/>
                </a:cubicBezTo>
                <a:cubicBezTo>
                  <a:pt x="2693670" y="1294954"/>
                  <a:pt x="2691130" y="1296224"/>
                  <a:pt x="2689225" y="1298129"/>
                </a:cubicBezTo>
                <a:cubicBezTo>
                  <a:pt x="2689860" y="1291144"/>
                  <a:pt x="2686685" y="1283524"/>
                  <a:pt x="2680335" y="1279079"/>
                </a:cubicBezTo>
                <a:cubicBezTo>
                  <a:pt x="2701925" y="1275904"/>
                  <a:pt x="2705735" y="1244788"/>
                  <a:pt x="2685415" y="1236534"/>
                </a:cubicBezTo>
                <a:cubicBezTo>
                  <a:pt x="2696845" y="1220659"/>
                  <a:pt x="2681605" y="1195894"/>
                  <a:pt x="2661920" y="1199704"/>
                </a:cubicBezTo>
                <a:cubicBezTo>
                  <a:pt x="2649855" y="1127949"/>
                  <a:pt x="2568575" y="1221294"/>
                  <a:pt x="2641600" y="1223834"/>
                </a:cubicBezTo>
                <a:cubicBezTo>
                  <a:pt x="2641600" y="1233359"/>
                  <a:pt x="2647950" y="1242884"/>
                  <a:pt x="2656840" y="1246059"/>
                </a:cubicBezTo>
                <a:cubicBezTo>
                  <a:pt x="2651125" y="1255584"/>
                  <a:pt x="2653665" y="1269554"/>
                  <a:pt x="2663825" y="1275904"/>
                </a:cubicBezTo>
                <a:cubicBezTo>
                  <a:pt x="2638425" y="1280349"/>
                  <a:pt x="2644140" y="1320354"/>
                  <a:pt x="2670175" y="1317813"/>
                </a:cubicBezTo>
                <a:cubicBezTo>
                  <a:pt x="2669540" y="1318449"/>
                  <a:pt x="2669540" y="1319719"/>
                  <a:pt x="2668905" y="1320354"/>
                </a:cubicBezTo>
                <a:cubicBezTo>
                  <a:pt x="2662555" y="1317179"/>
                  <a:pt x="2654300" y="1317813"/>
                  <a:pt x="2648585" y="1322894"/>
                </a:cubicBezTo>
                <a:cubicBezTo>
                  <a:pt x="2640330" y="1317813"/>
                  <a:pt x="2627630" y="1320354"/>
                  <a:pt x="2622550" y="1329244"/>
                </a:cubicBezTo>
                <a:cubicBezTo>
                  <a:pt x="2623185" y="1321624"/>
                  <a:pt x="2619375" y="1312734"/>
                  <a:pt x="2612390" y="1308288"/>
                </a:cubicBezTo>
                <a:cubicBezTo>
                  <a:pt x="2617470" y="1292413"/>
                  <a:pt x="2602230" y="1275269"/>
                  <a:pt x="2585720" y="1278444"/>
                </a:cubicBezTo>
                <a:cubicBezTo>
                  <a:pt x="2557145" y="1220659"/>
                  <a:pt x="2502535" y="1314004"/>
                  <a:pt x="2566670" y="1310829"/>
                </a:cubicBezTo>
                <a:cubicBezTo>
                  <a:pt x="2568575" y="1315909"/>
                  <a:pt x="2572385" y="1320354"/>
                  <a:pt x="2577465" y="1322894"/>
                </a:cubicBezTo>
                <a:cubicBezTo>
                  <a:pt x="2576195" y="1328609"/>
                  <a:pt x="2577465" y="1334959"/>
                  <a:pt x="2581275" y="1340674"/>
                </a:cubicBezTo>
                <a:cubicBezTo>
                  <a:pt x="2570480" y="1346388"/>
                  <a:pt x="2567305" y="1363534"/>
                  <a:pt x="2574290" y="1373059"/>
                </a:cubicBezTo>
                <a:cubicBezTo>
                  <a:pt x="2573020" y="1374329"/>
                  <a:pt x="2572385" y="1375599"/>
                  <a:pt x="2571750" y="1376869"/>
                </a:cubicBezTo>
                <a:cubicBezTo>
                  <a:pt x="2561590" y="1373059"/>
                  <a:pt x="2545080" y="1376234"/>
                  <a:pt x="2545080" y="1389569"/>
                </a:cubicBezTo>
                <a:cubicBezTo>
                  <a:pt x="2545080" y="1389569"/>
                  <a:pt x="2544445" y="1390204"/>
                  <a:pt x="2544445" y="1390204"/>
                </a:cubicBezTo>
                <a:cubicBezTo>
                  <a:pt x="2543175" y="1385759"/>
                  <a:pt x="2540000" y="1381313"/>
                  <a:pt x="2536190" y="1378774"/>
                </a:cubicBezTo>
                <a:cubicBezTo>
                  <a:pt x="2536190" y="1364169"/>
                  <a:pt x="2519680" y="1352104"/>
                  <a:pt x="2505710" y="1357184"/>
                </a:cubicBezTo>
                <a:cubicBezTo>
                  <a:pt x="2464435" y="1314638"/>
                  <a:pt x="2437130" y="1410524"/>
                  <a:pt x="2494280" y="1395919"/>
                </a:cubicBezTo>
                <a:cubicBezTo>
                  <a:pt x="2496185" y="1397824"/>
                  <a:pt x="2498090" y="1399729"/>
                  <a:pt x="2500630" y="1400999"/>
                </a:cubicBezTo>
                <a:cubicBezTo>
                  <a:pt x="2500630" y="1402269"/>
                  <a:pt x="2501265" y="1404174"/>
                  <a:pt x="2501900" y="1405444"/>
                </a:cubicBezTo>
                <a:cubicBezTo>
                  <a:pt x="2500630" y="1406713"/>
                  <a:pt x="2499360" y="1407984"/>
                  <a:pt x="2498725" y="1409888"/>
                </a:cubicBezTo>
                <a:cubicBezTo>
                  <a:pt x="2490470" y="1409888"/>
                  <a:pt x="2483485" y="1418144"/>
                  <a:pt x="2484755" y="1425763"/>
                </a:cubicBezTo>
                <a:cubicBezTo>
                  <a:pt x="2484755" y="1425763"/>
                  <a:pt x="2484120" y="1425763"/>
                  <a:pt x="2484120" y="1426399"/>
                </a:cubicBezTo>
                <a:cubicBezTo>
                  <a:pt x="2476500" y="1387029"/>
                  <a:pt x="2436495" y="1442274"/>
                  <a:pt x="2475865" y="1437194"/>
                </a:cubicBezTo>
                <a:cubicBezTo>
                  <a:pt x="2475865" y="1437194"/>
                  <a:pt x="2475865" y="1437194"/>
                  <a:pt x="2475865" y="1437194"/>
                </a:cubicBezTo>
                <a:cubicBezTo>
                  <a:pt x="2452370" y="1464499"/>
                  <a:pt x="2507615" y="1486724"/>
                  <a:pt x="2510155" y="1451163"/>
                </a:cubicBezTo>
                <a:cubicBezTo>
                  <a:pt x="2522220" y="1456879"/>
                  <a:pt x="2536825" y="1444813"/>
                  <a:pt x="2534920" y="1432113"/>
                </a:cubicBezTo>
                <a:cubicBezTo>
                  <a:pt x="2537460" y="1427034"/>
                  <a:pt x="2538095" y="1421319"/>
                  <a:pt x="2536825" y="1415604"/>
                </a:cubicBezTo>
                <a:cubicBezTo>
                  <a:pt x="2539365" y="1414334"/>
                  <a:pt x="2541270" y="1411794"/>
                  <a:pt x="2542540" y="1409254"/>
                </a:cubicBezTo>
                <a:cubicBezTo>
                  <a:pt x="2546985" y="1416238"/>
                  <a:pt x="2555875" y="1418779"/>
                  <a:pt x="2563495" y="1414969"/>
                </a:cubicBezTo>
                <a:cubicBezTo>
                  <a:pt x="2570480" y="1415604"/>
                  <a:pt x="2578735" y="1411159"/>
                  <a:pt x="2581910" y="1404809"/>
                </a:cubicBezTo>
                <a:cubicBezTo>
                  <a:pt x="2586355" y="1406079"/>
                  <a:pt x="2590800" y="1405444"/>
                  <a:pt x="2594610" y="1402904"/>
                </a:cubicBezTo>
                <a:lnTo>
                  <a:pt x="2594610" y="1402904"/>
                </a:lnTo>
                <a:cubicBezTo>
                  <a:pt x="2604770" y="1399094"/>
                  <a:pt x="2609850" y="1386394"/>
                  <a:pt x="2604135" y="1376869"/>
                </a:cubicBezTo>
                <a:cubicBezTo>
                  <a:pt x="2606040" y="1375599"/>
                  <a:pt x="2607310" y="1374329"/>
                  <a:pt x="2607945" y="1373059"/>
                </a:cubicBezTo>
                <a:cubicBezTo>
                  <a:pt x="2612390" y="1379409"/>
                  <a:pt x="2621280" y="1381313"/>
                  <a:pt x="2628265" y="1377504"/>
                </a:cubicBezTo>
                <a:lnTo>
                  <a:pt x="2628265" y="1377504"/>
                </a:lnTo>
                <a:cubicBezTo>
                  <a:pt x="2634615" y="1373694"/>
                  <a:pt x="2637155" y="1366709"/>
                  <a:pt x="2635885" y="1360359"/>
                </a:cubicBezTo>
                <a:cubicBezTo>
                  <a:pt x="2638425" y="1360994"/>
                  <a:pt x="2641600" y="1360359"/>
                  <a:pt x="2644140" y="1359724"/>
                </a:cubicBezTo>
                <a:cubicBezTo>
                  <a:pt x="2652395" y="1366709"/>
                  <a:pt x="2665730" y="1362899"/>
                  <a:pt x="2669540" y="1352738"/>
                </a:cubicBezTo>
                <a:cubicBezTo>
                  <a:pt x="2673985" y="1349563"/>
                  <a:pt x="2676525" y="1345119"/>
                  <a:pt x="2677795" y="1340674"/>
                </a:cubicBezTo>
                <a:cubicBezTo>
                  <a:pt x="2690495" y="1349563"/>
                  <a:pt x="2707005" y="1334324"/>
                  <a:pt x="2700020" y="1320988"/>
                </a:cubicBezTo>
                <a:cubicBezTo>
                  <a:pt x="2703830" y="1320354"/>
                  <a:pt x="2707640" y="1317179"/>
                  <a:pt x="2708910" y="1313369"/>
                </a:cubicBezTo>
                <a:cubicBezTo>
                  <a:pt x="2716530" y="1326704"/>
                  <a:pt x="2738120" y="1322259"/>
                  <a:pt x="2740025" y="1307654"/>
                </a:cubicBezTo>
                <a:cubicBezTo>
                  <a:pt x="2743200" y="1308288"/>
                  <a:pt x="2746375" y="1308288"/>
                  <a:pt x="2748915" y="1307019"/>
                </a:cubicBezTo>
                <a:cubicBezTo>
                  <a:pt x="2760345" y="1310194"/>
                  <a:pt x="2770505" y="1297494"/>
                  <a:pt x="2766695" y="1286699"/>
                </a:cubicBezTo>
                <a:cubicBezTo>
                  <a:pt x="2768600" y="1282254"/>
                  <a:pt x="2769235" y="1279079"/>
                  <a:pt x="2767330" y="1275269"/>
                </a:cubicBezTo>
                <a:close/>
                <a:moveTo>
                  <a:pt x="2615565" y="1342579"/>
                </a:moveTo>
                <a:cubicBezTo>
                  <a:pt x="2616835" y="1341309"/>
                  <a:pt x="2618105" y="1340038"/>
                  <a:pt x="2618740" y="1338134"/>
                </a:cubicBezTo>
                <a:cubicBezTo>
                  <a:pt x="2618740" y="1339404"/>
                  <a:pt x="2618740" y="1340674"/>
                  <a:pt x="2618740" y="1341309"/>
                </a:cubicBezTo>
                <a:cubicBezTo>
                  <a:pt x="2618105" y="1341944"/>
                  <a:pt x="2616835" y="1341944"/>
                  <a:pt x="2615565" y="1342579"/>
                </a:cubicBezTo>
                <a:close/>
                <a:moveTo>
                  <a:pt x="2684145" y="1310194"/>
                </a:moveTo>
                <a:cubicBezTo>
                  <a:pt x="2684780" y="1309559"/>
                  <a:pt x="2684780" y="1308924"/>
                  <a:pt x="2685415" y="1308924"/>
                </a:cubicBezTo>
                <a:cubicBezTo>
                  <a:pt x="2685415" y="1309559"/>
                  <a:pt x="2685415" y="1310194"/>
                  <a:pt x="2685415" y="1310829"/>
                </a:cubicBezTo>
                <a:cubicBezTo>
                  <a:pt x="2685415" y="1310194"/>
                  <a:pt x="2684780" y="1310194"/>
                  <a:pt x="2684145" y="1310194"/>
                </a:cubicBezTo>
                <a:close/>
                <a:moveTo>
                  <a:pt x="2458085" y="1446084"/>
                </a:moveTo>
                <a:cubicBezTo>
                  <a:pt x="2452370" y="1433384"/>
                  <a:pt x="2435860" y="1428938"/>
                  <a:pt x="2424430" y="1435924"/>
                </a:cubicBezTo>
                <a:cubicBezTo>
                  <a:pt x="2385060" y="1411794"/>
                  <a:pt x="2367280" y="1485454"/>
                  <a:pt x="2413000" y="1482279"/>
                </a:cubicBezTo>
                <a:cubicBezTo>
                  <a:pt x="2413000" y="1483549"/>
                  <a:pt x="2413635" y="1484184"/>
                  <a:pt x="2414270" y="1485454"/>
                </a:cubicBezTo>
                <a:cubicBezTo>
                  <a:pt x="2366645" y="1501329"/>
                  <a:pt x="2433320" y="1552763"/>
                  <a:pt x="2437130" y="1503234"/>
                </a:cubicBezTo>
                <a:cubicBezTo>
                  <a:pt x="2444115" y="1504504"/>
                  <a:pt x="2451735" y="1502599"/>
                  <a:pt x="2456815" y="1496884"/>
                </a:cubicBezTo>
                <a:lnTo>
                  <a:pt x="2456815" y="1496884"/>
                </a:lnTo>
                <a:cubicBezTo>
                  <a:pt x="2468880" y="1484184"/>
                  <a:pt x="2477770" y="1456244"/>
                  <a:pt x="2458085" y="1446084"/>
                </a:cubicBezTo>
                <a:close/>
                <a:moveTo>
                  <a:pt x="2823845" y="1241613"/>
                </a:moveTo>
                <a:cubicBezTo>
                  <a:pt x="2823845" y="1232724"/>
                  <a:pt x="2814955" y="1224469"/>
                  <a:pt x="2806700" y="1224469"/>
                </a:cubicBezTo>
                <a:cubicBezTo>
                  <a:pt x="2789555" y="1189544"/>
                  <a:pt x="2746375" y="1237804"/>
                  <a:pt x="2783205" y="1251138"/>
                </a:cubicBezTo>
                <a:cubicBezTo>
                  <a:pt x="2767965" y="1264474"/>
                  <a:pt x="2788285" y="1289874"/>
                  <a:pt x="2804795" y="1277174"/>
                </a:cubicBezTo>
                <a:cubicBezTo>
                  <a:pt x="2809875" y="1278444"/>
                  <a:pt x="2815590" y="1275904"/>
                  <a:pt x="2818765" y="1272094"/>
                </a:cubicBezTo>
                <a:cubicBezTo>
                  <a:pt x="2836545" y="1274634"/>
                  <a:pt x="2841625" y="1245424"/>
                  <a:pt x="2823845" y="1241613"/>
                </a:cubicBezTo>
                <a:close/>
                <a:moveTo>
                  <a:pt x="3187065" y="1094294"/>
                </a:moveTo>
                <a:cubicBezTo>
                  <a:pt x="3178810" y="1096834"/>
                  <a:pt x="3175000" y="1106994"/>
                  <a:pt x="3179445" y="1113979"/>
                </a:cubicBezTo>
                <a:cubicBezTo>
                  <a:pt x="3176905" y="1112074"/>
                  <a:pt x="3174365" y="1111438"/>
                  <a:pt x="3171190" y="1111438"/>
                </a:cubicBezTo>
                <a:cubicBezTo>
                  <a:pt x="3178810" y="1104454"/>
                  <a:pt x="3175635" y="1090484"/>
                  <a:pt x="3166110" y="1086674"/>
                </a:cubicBezTo>
                <a:cubicBezTo>
                  <a:pt x="3181985" y="1040954"/>
                  <a:pt x="3104515" y="1068894"/>
                  <a:pt x="3146425" y="1093659"/>
                </a:cubicBezTo>
                <a:cubicBezTo>
                  <a:pt x="3140075" y="1103819"/>
                  <a:pt x="3150235" y="1118424"/>
                  <a:pt x="3161665" y="1115884"/>
                </a:cubicBezTo>
                <a:cubicBezTo>
                  <a:pt x="3146425" y="1139379"/>
                  <a:pt x="3192780" y="1143824"/>
                  <a:pt x="3183255" y="1118424"/>
                </a:cubicBezTo>
                <a:cubicBezTo>
                  <a:pt x="3207385" y="1134934"/>
                  <a:pt x="3215005" y="1087309"/>
                  <a:pt x="3187065" y="1094294"/>
                </a:cubicBezTo>
                <a:close/>
                <a:moveTo>
                  <a:pt x="2390775" y="1503234"/>
                </a:moveTo>
                <a:cubicBezTo>
                  <a:pt x="2402205" y="1491804"/>
                  <a:pt x="2386330" y="1472754"/>
                  <a:pt x="2372995" y="1481644"/>
                </a:cubicBezTo>
                <a:cubicBezTo>
                  <a:pt x="2352040" y="1457513"/>
                  <a:pt x="2337435" y="1509584"/>
                  <a:pt x="2367915" y="1500059"/>
                </a:cubicBezTo>
                <a:cubicBezTo>
                  <a:pt x="2368550" y="1501329"/>
                  <a:pt x="2369185" y="1502599"/>
                  <a:pt x="2370455" y="1503869"/>
                </a:cubicBezTo>
                <a:cubicBezTo>
                  <a:pt x="2363470" y="1500694"/>
                  <a:pt x="2353945" y="1503869"/>
                  <a:pt x="2350770" y="1511488"/>
                </a:cubicBezTo>
                <a:cubicBezTo>
                  <a:pt x="2347595" y="1512759"/>
                  <a:pt x="2343785" y="1515299"/>
                  <a:pt x="2341245" y="1517838"/>
                </a:cubicBezTo>
                <a:cubicBezTo>
                  <a:pt x="2336165" y="1515934"/>
                  <a:pt x="2331085" y="1515934"/>
                  <a:pt x="2326005" y="1517838"/>
                </a:cubicBezTo>
                <a:cubicBezTo>
                  <a:pt x="2324100" y="1517204"/>
                  <a:pt x="2321560" y="1516569"/>
                  <a:pt x="2319655" y="1517204"/>
                </a:cubicBezTo>
                <a:cubicBezTo>
                  <a:pt x="2316480" y="1510219"/>
                  <a:pt x="2307590" y="1508313"/>
                  <a:pt x="2301240" y="1512124"/>
                </a:cubicBezTo>
                <a:cubicBezTo>
                  <a:pt x="2301240" y="1512124"/>
                  <a:pt x="2301240" y="1512124"/>
                  <a:pt x="2301240" y="1512124"/>
                </a:cubicBezTo>
                <a:cubicBezTo>
                  <a:pt x="2290445" y="1518474"/>
                  <a:pt x="2296160" y="1535619"/>
                  <a:pt x="2308225" y="1535619"/>
                </a:cubicBezTo>
                <a:cubicBezTo>
                  <a:pt x="2308225" y="1536254"/>
                  <a:pt x="2308225" y="1536254"/>
                  <a:pt x="2308860" y="1536888"/>
                </a:cubicBezTo>
                <a:cubicBezTo>
                  <a:pt x="2308225" y="1540063"/>
                  <a:pt x="2308225" y="1542604"/>
                  <a:pt x="2308860" y="1545779"/>
                </a:cubicBezTo>
                <a:cubicBezTo>
                  <a:pt x="2293620" y="1538159"/>
                  <a:pt x="2279015" y="1559749"/>
                  <a:pt x="2291715" y="1571179"/>
                </a:cubicBezTo>
                <a:cubicBezTo>
                  <a:pt x="2289175" y="1574354"/>
                  <a:pt x="2287905" y="1578799"/>
                  <a:pt x="2287905" y="1582609"/>
                </a:cubicBezTo>
                <a:cubicBezTo>
                  <a:pt x="2285365" y="1583244"/>
                  <a:pt x="2283460" y="1584513"/>
                  <a:pt x="2281555" y="1585784"/>
                </a:cubicBezTo>
                <a:cubicBezTo>
                  <a:pt x="2273935" y="1585784"/>
                  <a:pt x="2266315" y="1590229"/>
                  <a:pt x="2262505" y="1597213"/>
                </a:cubicBezTo>
                <a:cubicBezTo>
                  <a:pt x="2259965" y="1594674"/>
                  <a:pt x="2257425" y="1593404"/>
                  <a:pt x="2254250" y="1592769"/>
                </a:cubicBezTo>
                <a:cubicBezTo>
                  <a:pt x="2249805" y="1585149"/>
                  <a:pt x="2239645" y="1583244"/>
                  <a:pt x="2232660" y="1588324"/>
                </a:cubicBezTo>
                <a:cubicBezTo>
                  <a:pt x="2232660" y="1588324"/>
                  <a:pt x="2232660" y="1588324"/>
                  <a:pt x="2232660" y="1588324"/>
                </a:cubicBezTo>
                <a:cubicBezTo>
                  <a:pt x="2223135" y="1594674"/>
                  <a:pt x="2223770" y="1609279"/>
                  <a:pt x="2233930" y="1614359"/>
                </a:cubicBezTo>
                <a:cubicBezTo>
                  <a:pt x="2206625" y="1620074"/>
                  <a:pt x="2223135" y="1662619"/>
                  <a:pt x="2247265" y="1648013"/>
                </a:cubicBezTo>
                <a:cubicBezTo>
                  <a:pt x="2259965" y="1654363"/>
                  <a:pt x="2277110" y="1647379"/>
                  <a:pt x="2281555" y="1634044"/>
                </a:cubicBezTo>
                <a:cubicBezTo>
                  <a:pt x="2282190" y="1634044"/>
                  <a:pt x="2282825" y="1633409"/>
                  <a:pt x="2283460" y="1633409"/>
                </a:cubicBezTo>
                <a:cubicBezTo>
                  <a:pt x="2290445" y="1634044"/>
                  <a:pt x="2297430" y="1630869"/>
                  <a:pt x="2301875" y="1625788"/>
                </a:cubicBezTo>
                <a:cubicBezTo>
                  <a:pt x="2313940" y="1623249"/>
                  <a:pt x="2321560" y="1609279"/>
                  <a:pt x="2317750" y="1597849"/>
                </a:cubicBezTo>
                <a:cubicBezTo>
                  <a:pt x="2324100" y="1594038"/>
                  <a:pt x="2327275" y="1586419"/>
                  <a:pt x="2326005" y="1579434"/>
                </a:cubicBezTo>
                <a:cubicBezTo>
                  <a:pt x="2328545" y="1578163"/>
                  <a:pt x="2330450" y="1576259"/>
                  <a:pt x="2332355" y="1573719"/>
                </a:cubicBezTo>
                <a:cubicBezTo>
                  <a:pt x="2341880" y="1585784"/>
                  <a:pt x="2362835" y="1580704"/>
                  <a:pt x="2366010" y="1565463"/>
                </a:cubicBezTo>
                <a:cubicBezTo>
                  <a:pt x="2383790" y="1568004"/>
                  <a:pt x="2395855" y="1546413"/>
                  <a:pt x="2396490" y="1531174"/>
                </a:cubicBezTo>
                <a:cubicBezTo>
                  <a:pt x="2402840" y="1523554"/>
                  <a:pt x="2400935" y="1508313"/>
                  <a:pt x="2390775" y="1503234"/>
                </a:cubicBezTo>
                <a:close/>
                <a:moveTo>
                  <a:pt x="3235325" y="1088579"/>
                </a:moveTo>
                <a:cubicBezTo>
                  <a:pt x="3248660" y="1084134"/>
                  <a:pt x="3248025" y="1063179"/>
                  <a:pt x="3234055" y="1059369"/>
                </a:cubicBezTo>
                <a:cubicBezTo>
                  <a:pt x="3270885" y="1013013"/>
                  <a:pt x="3171190" y="1028888"/>
                  <a:pt x="3220720" y="1061274"/>
                </a:cubicBezTo>
                <a:cubicBezTo>
                  <a:pt x="3206115" y="1070799"/>
                  <a:pt x="3219450" y="1094929"/>
                  <a:pt x="3235325" y="1088579"/>
                </a:cubicBezTo>
                <a:close/>
                <a:moveTo>
                  <a:pt x="3228975" y="1094294"/>
                </a:moveTo>
                <a:cubicBezTo>
                  <a:pt x="3213100" y="1098738"/>
                  <a:pt x="3220085" y="1123504"/>
                  <a:pt x="3235960" y="1118424"/>
                </a:cubicBezTo>
                <a:cubicBezTo>
                  <a:pt x="3252470" y="1114613"/>
                  <a:pt x="3244850" y="1089213"/>
                  <a:pt x="3228975" y="1094294"/>
                </a:cubicBezTo>
                <a:close/>
                <a:moveTo>
                  <a:pt x="3253105" y="1072704"/>
                </a:moveTo>
                <a:cubicBezTo>
                  <a:pt x="3235325" y="1077784"/>
                  <a:pt x="3244850" y="1105724"/>
                  <a:pt x="3261995" y="1099374"/>
                </a:cubicBezTo>
                <a:cubicBezTo>
                  <a:pt x="3279140" y="1093659"/>
                  <a:pt x="3270250" y="1066354"/>
                  <a:pt x="3253105" y="1072704"/>
                </a:cubicBezTo>
                <a:close/>
                <a:moveTo>
                  <a:pt x="2992120" y="1167319"/>
                </a:moveTo>
                <a:cubicBezTo>
                  <a:pt x="2988945" y="1168588"/>
                  <a:pt x="2986405" y="1171129"/>
                  <a:pt x="2985135" y="1174304"/>
                </a:cubicBezTo>
                <a:cubicBezTo>
                  <a:pt x="2969260" y="1183829"/>
                  <a:pt x="2987040" y="1207324"/>
                  <a:pt x="3000375" y="1194624"/>
                </a:cubicBezTo>
                <a:cubicBezTo>
                  <a:pt x="3020060" y="1190813"/>
                  <a:pt x="3010535" y="1159699"/>
                  <a:pt x="2992120" y="1167319"/>
                </a:cubicBezTo>
                <a:close/>
                <a:moveTo>
                  <a:pt x="3023235" y="1144459"/>
                </a:moveTo>
                <a:cubicBezTo>
                  <a:pt x="3007360" y="1106359"/>
                  <a:pt x="2967355" y="1162874"/>
                  <a:pt x="3007995" y="1165413"/>
                </a:cubicBezTo>
                <a:cubicBezTo>
                  <a:pt x="3023870" y="1195894"/>
                  <a:pt x="3056890" y="1149538"/>
                  <a:pt x="3023235" y="1144459"/>
                </a:cubicBezTo>
                <a:close/>
                <a:moveTo>
                  <a:pt x="3028950" y="1091754"/>
                </a:moveTo>
                <a:cubicBezTo>
                  <a:pt x="3061970" y="1030794"/>
                  <a:pt x="2950210" y="1070163"/>
                  <a:pt x="3013710" y="1096834"/>
                </a:cubicBezTo>
                <a:cubicBezTo>
                  <a:pt x="3007995" y="1102549"/>
                  <a:pt x="3006090" y="1111438"/>
                  <a:pt x="3010535" y="1119059"/>
                </a:cubicBezTo>
                <a:cubicBezTo>
                  <a:pt x="3031490" y="1149538"/>
                  <a:pt x="3065145" y="1098738"/>
                  <a:pt x="3028950" y="1091754"/>
                </a:cubicBezTo>
                <a:close/>
                <a:moveTo>
                  <a:pt x="3056890" y="1141919"/>
                </a:moveTo>
                <a:cubicBezTo>
                  <a:pt x="3052445" y="1143824"/>
                  <a:pt x="3049270" y="1146999"/>
                  <a:pt x="3048000" y="1151444"/>
                </a:cubicBezTo>
                <a:cubicBezTo>
                  <a:pt x="3023870" y="1159063"/>
                  <a:pt x="3050540" y="1190813"/>
                  <a:pt x="3062605" y="1169224"/>
                </a:cubicBezTo>
                <a:cubicBezTo>
                  <a:pt x="3083560" y="1167954"/>
                  <a:pt x="3076575" y="1134299"/>
                  <a:pt x="3056890" y="1141919"/>
                </a:cubicBezTo>
                <a:close/>
                <a:moveTo>
                  <a:pt x="3121660" y="1117788"/>
                </a:moveTo>
                <a:cubicBezTo>
                  <a:pt x="3115945" y="1119694"/>
                  <a:pt x="3112135" y="1125409"/>
                  <a:pt x="3112135" y="1131124"/>
                </a:cubicBezTo>
                <a:cubicBezTo>
                  <a:pt x="3110230" y="1131124"/>
                  <a:pt x="3107690" y="1131124"/>
                  <a:pt x="3105785" y="1132394"/>
                </a:cubicBezTo>
                <a:cubicBezTo>
                  <a:pt x="3107055" y="1125409"/>
                  <a:pt x="3101975" y="1117788"/>
                  <a:pt x="3094990" y="1115884"/>
                </a:cubicBezTo>
                <a:cubicBezTo>
                  <a:pt x="3097530" y="1103184"/>
                  <a:pt x="3082290" y="1092388"/>
                  <a:pt x="3070860" y="1098104"/>
                </a:cubicBezTo>
                <a:cubicBezTo>
                  <a:pt x="3056890" y="1104454"/>
                  <a:pt x="3059430" y="1127313"/>
                  <a:pt x="3074670" y="1129854"/>
                </a:cubicBezTo>
                <a:cubicBezTo>
                  <a:pt x="3074035" y="1141919"/>
                  <a:pt x="3088005" y="1150174"/>
                  <a:pt x="3097530" y="1143824"/>
                </a:cubicBezTo>
                <a:cubicBezTo>
                  <a:pt x="3096895" y="1160334"/>
                  <a:pt x="3122295" y="1160969"/>
                  <a:pt x="3122930" y="1145094"/>
                </a:cubicBezTo>
                <a:cubicBezTo>
                  <a:pt x="3147060" y="1148904"/>
                  <a:pt x="3144520" y="1110169"/>
                  <a:pt x="3121660" y="1117788"/>
                </a:cubicBezTo>
                <a:close/>
                <a:moveTo>
                  <a:pt x="2884170" y="1098104"/>
                </a:moveTo>
                <a:cubicBezTo>
                  <a:pt x="2861945" y="1114613"/>
                  <a:pt x="2888615" y="1148904"/>
                  <a:pt x="2910205" y="1131759"/>
                </a:cubicBezTo>
                <a:cubicBezTo>
                  <a:pt x="2931795" y="1115249"/>
                  <a:pt x="2905760" y="1080959"/>
                  <a:pt x="2884170" y="1098104"/>
                </a:cubicBezTo>
                <a:close/>
                <a:moveTo>
                  <a:pt x="2200910" y="1651824"/>
                </a:moveTo>
                <a:cubicBezTo>
                  <a:pt x="2200910" y="1651824"/>
                  <a:pt x="2200275" y="1651824"/>
                  <a:pt x="2200275" y="1651824"/>
                </a:cubicBezTo>
                <a:cubicBezTo>
                  <a:pt x="2199640" y="1648013"/>
                  <a:pt x="2197100" y="1644204"/>
                  <a:pt x="2193290" y="1641663"/>
                </a:cubicBezTo>
                <a:cubicBezTo>
                  <a:pt x="2191385" y="1623249"/>
                  <a:pt x="2163445" y="1623884"/>
                  <a:pt x="2162810" y="1642299"/>
                </a:cubicBezTo>
                <a:cubicBezTo>
                  <a:pt x="2162175" y="1641029"/>
                  <a:pt x="2161540" y="1639124"/>
                  <a:pt x="2160270" y="1637854"/>
                </a:cubicBezTo>
                <a:cubicBezTo>
                  <a:pt x="2176780" y="1613088"/>
                  <a:pt x="2126615" y="1609913"/>
                  <a:pt x="2139950" y="1636584"/>
                </a:cubicBezTo>
                <a:cubicBezTo>
                  <a:pt x="2121535" y="1654999"/>
                  <a:pt x="2159635" y="1674049"/>
                  <a:pt x="2163445" y="1648649"/>
                </a:cubicBezTo>
                <a:cubicBezTo>
                  <a:pt x="2164080" y="1650554"/>
                  <a:pt x="2165350" y="1652459"/>
                  <a:pt x="2166620" y="1654363"/>
                </a:cubicBezTo>
                <a:cubicBezTo>
                  <a:pt x="2165985" y="1658174"/>
                  <a:pt x="2167255" y="1661984"/>
                  <a:pt x="2169795" y="1665159"/>
                </a:cubicBezTo>
                <a:cubicBezTo>
                  <a:pt x="2152650" y="1660713"/>
                  <a:pt x="2139950" y="1684209"/>
                  <a:pt x="2153285" y="1695638"/>
                </a:cubicBezTo>
                <a:cubicBezTo>
                  <a:pt x="2150745" y="1700084"/>
                  <a:pt x="2150110" y="1705163"/>
                  <a:pt x="2150745" y="1710244"/>
                </a:cubicBezTo>
                <a:cubicBezTo>
                  <a:pt x="2145665" y="1707069"/>
                  <a:pt x="2139950" y="1705799"/>
                  <a:pt x="2134235" y="1707069"/>
                </a:cubicBezTo>
                <a:cubicBezTo>
                  <a:pt x="2135505" y="1701988"/>
                  <a:pt x="2134870" y="1696274"/>
                  <a:pt x="2131695" y="1691829"/>
                </a:cubicBezTo>
                <a:cubicBezTo>
                  <a:pt x="2136775" y="1678494"/>
                  <a:pt x="2120265" y="1665159"/>
                  <a:pt x="2108835" y="1673413"/>
                </a:cubicBezTo>
                <a:cubicBezTo>
                  <a:pt x="2124075" y="1646744"/>
                  <a:pt x="2072640" y="1648013"/>
                  <a:pt x="2089150" y="1674049"/>
                </a:cubicBezTo>
                <a:cubicBezTo>
                  <a:pt x="2087880" y="1674684"/>
                  <a:pt x="2086610" y="1675319"/>
                  <a:pt x="2085340" y="1675954"/>
                </a:cubicBezTo>
                <a:cubicBezTo>
                  <a:pt x="2085340" y="1675954"/>
                  <a:pt x="2085340" y="1675954"/>
                  <a:pt x="2085340" y="1675954"/>
                </a:cubicBezTo>
                <a:cubicBezTo>
                  <a:pt x="2070100" y="1686749"/>
                  <a:pt x="2087245" y="1709609"/>
                  <a:pt x="2101850" y="1698813"/>
                </a:cubicBezTo>
                <a:cubicBezTo>
                  <a:pt x="2100580" y="1705163"/>
                  <a:pt x="2103120" y="1712149"/>
                  <a:pt x="2108835" y="1715959"/>
                </a:cubicBezTo>
                <a:cubicBezTo>
                  <a:pt x="2108200" y="1716594"/>
                  <a:pt x="2107565" y="1717863"/>
                  <a:pt x="2107565" y="1719134"/>
                </a:cubicBezTo>
                <a:cubicBezTo>
                  <a:pt x="2078355" y="1700084"/>
                  <a:pt x="2065655" y="1755963"/>
                  <a:pt x="2099945" y="1752154"/>
                </a:cubicBezTo>
                <a:cubicBezTo>
                  <a:pt x="2099310" y="1755329"/>
                  <a:pt x="2099310" y="1758504"/>
                  <a:pt x="2099945" y="1761679"/>
                </a:cubicBezTo>
                <a:cubicBezTo>
                  <a:pt x="2091055" y="1759774"/>
                  <a:pt x="2080895" y="1762949"/>
                  <a:pt x="2074545" y="1770569"/>
                </a:cubicBezTo>
                <a:cubicBezTo>
                  <a:pt x="2072005" y="1768663"/>
                  <a:pt x="2068195" y="1767394"/>
                  <a:pt x="2065020" y="1766759"/>
                </a:cubicBezTo>
                <a:cubicBezTo>
                  <a:pt x="2063750" y="1765488"/>
                  <a:pt x="2062480" y="1764854"/>
                  <a:pt x="2061210" y="1764219"/>
                </a:cubicBezTo>
                <a:cubicBezTo>
                  <a:pt x="2069465" y="1759774"/>
                  <a:pt x="2072005" y="1748979"/>
                  <a:pt x="2067560" y="1741359"/>
                </a:cubicBezTo>
                <a:cubicBezTo>
                  <a:pt x="2080260" y="1728659"/>
                  <a:pt x="2061845" y="1707069"/>
                  <a:pt x="2047240" y="1717863"/>
                </a:cubicBezTo>
                <a:cubicBezTo>
                  <a:pt x="2026285" y="1694369"/>
                  <a:pt x="2007870" y="1743899"/>
                  <a:pt x="2038985" y="1740088"/>
                </a:cubicBezTo>
                <a:cubicBezTo>
                  <a:pt x="2033270" y="1747709"/>
                  <a:pt x="2035175" y="1759138"/>
                  <a:pt x="2043430" y="1764219"/>
                </a:cubicBezTo>
                <a:cubicBezTo>
                  <a:pt x="2040890" y="1765488"/>
                  <a:pt x="2038350" y="1767394"/>
                  <a:pt x="2036445" y="1769934"/>
                </a:cubicBezTo>
                <a:cubicBezTo>
                  <a:pt x="2001520" y="1752154"/>
                  <a:pt x="2000250" y="1817559"/>
                  <a:pt x="2035810" y="1801049"/>
                </a:cubicBezTo>
                <a:cubicBezTo>
                  <a:pt x="2035810" y="1802319"/>
                  <a:pt x="2035810" y="1803588"/>
                  <a:pt x="2035810" y="1804859"/>
                </a:cubicBezTo>
                <a:cubicBezTo>
                  <a:pt x="2019935" y="1807399"/>
                  <a:pt x="2011680" y="1827719"/>
                  <a:pt x="2020570" y="1841054"/>
                </a:cubicBezTo>
                <a:cubicBezTo>
                  <a:pt x="2015490" y="1838513"/>
                  <a:pt x="2009775" y="1837879"/>
                  <a:pt x="2004695" y="1839149"/>
                </a:cubicBezTo>
                <a:cubicBezTo>
                  <a:pt x="2003425" y="1835338"/>
                  <a:pt x="2000250" y="1832163"/>
                  <a:pt x="1996440" y="1829624"/>
                </a:cubicBezTo>
                <a:cubicBezTo>
                  <a:pt x="1991995" y="1818194"/>
                  <a:pt x="1977390" y="1813749"/>
                  <a:pt x="1967230" y="1820734"/>
                </a:cubicBezTo>
                <a:cubicBezTo>
                  <a:pt x="1938020" y="1802954"/>
                  <a:pt x="1925955" y="1858199"/>
                  <a:pt x="1960245" y="1853754"/>
                </a:cubicBezTo>
                <a:cubicBezTo>
                  <a:pt x="1955800" y="1859469"/>
                  <a:pt x="1954530" y="1867088"/>
                  <a:pt x="1956435" y="1873438"/>
                </a:cubicBezTo>
                <a:cubicBezTo>
                  <a:pt x="1888490" y="1891854"/>
                  <a:pt x="1986915" y="1959799"/>
                  <a:pt x="1979930" y="1889949"/>
                </a:cubicBezTo>
                <a:cubicBezTo>
                  <a:pt x="1985010" y="1889313"/>
                  <a:pt x="1990090" y="1887409"/>
                  <a:pt x="1993900" y="1883599"/>
                </a:cubicBezTo>
                <a:cubicBezTo>
                  <a:pt x="2015490" y="1902013"/>
                  <a:pt x="2047240" y="1872804"/>
                  <a:pt x="2030730" y="1849944"/>
                </a:cubicBezTo>
                <a:cubicBezTo>
                  <a:pt x="2047240" y="1858199"/>
                  <a:pt x="2067560" y="1842959"/>
                  <a:pt x="2064385" y="1825179"/>
                </a:cubicBezTo>
                <a:cubicBezTo>
                  <a:pt x="2072005" y="1823274"/>
                  <a:pt x="2078990" y="1815654"/>
                  <a:pt x="2080260" y="1808034"/>
                </a:cubicBezTo>
                <a:cubicBezTo>
                  <a:pt x="2098675" y="1820734"/>
                  <a:pt x="2124710" y="1801049"/>
                  <a:pt x="2117725" y="1780094"/>
                </a:cubicBezTo>
                <a:cubicBezTo>
                  <a:pt x="2131060" y="1783269"/>
                  <a:pt x="2145665" y="1771838"/>
                  <a:pt x="2146300" y="1758504"/>
                </a:cubicBezTo>
                <a:cubicBezTo>
                  <a:pt x="2160270" y="1753424"/>
                  <a:pt x="2160270" y="1738819"/>
                  <a:pt x="2159635" y="1726754"/>
                </a:cubicBezTo>
                <a:cubicBezTo>
                  <a:pt x="2174875" y="1740088"/>
                  <a:pt x="2200910" y="1727388"/>
                  <a:pt x="2200275" y="1707704"/>
                </a:cubicBezTo>
                <a:cubicBezTo>
                  <a:pt x="2210435" y="1708974"/>
                  <a:pt x="2221865" y="1701988"/>
                  <a:pt x="2224405" y="1691829"/>
                </a:cubicBezTo>
                <a:cubicBezTo>
                  <a:pt x="2238375" y="1686113"/>
                  <a:pt x="2242185" y="1667063"/>
                  <a:pt x="2232025" y="1656269"/>
                </a:cubicBezTo>
                <a:cubicBezTo>
                  <a:pt x="2226945" y="1644838"/>
                  <a:pt x="2210435" y="1642934"/>
                  <a:pt x="2200910" y="1651824"/>
                </a:cubicBezTo>
                <a:close/>
                <a:moveTo>
                  <a:pt x="2104390" y="1679129"/>
                </a:moveTo>
                <a:cubicBezTo>
                  <a:pt x="2104390" y="1679129"/>
                  <a:pt x="2103755" y="1678494"/>
                  <a:pt x="2103755" y="1678494"/>
                </a:cubicBezTo>
                <a:cubicBezTo>
                  <a:pt x="2104390" y="1678494"/>
                  <a:pt x="2105025" y="1677859"/>
                  <a:pt x="2105660" y="1677859"/>
                </a:cubicBezTo>
                <a:cubicBezTo>
                  <a:pt x="2105025" y="1677859"/>
                  <a:pt x="2105025" y="1678494"/>
                  <a:pt x="2104390" y="1679129"/>
                </a:cubicBezTo>
                <a:close/>
                <a:moveTo>
                  <a:pt x="932815" y="2471609"/>
                </a:moveTo>
                <a:cubicBezTo>
                  <a:pt x="905510" y="2418904"/>
                  <a:pt x="859155" y="2507169"/>
                  <a:pt x="917575" y="2499549"/>
                </a:cubicBezTo>
                <a:lnTo>
                  <a:pt x="917575" y="2499549"/>
                </a:lnTo>
                <a:cubicBezTo>
                  <a:pt x="929640" y="2495739"/>
                  <a:pt x="936625" y="2483039"/>
                  <a:pt x="932815" y="2471609"/>
                </a:cubicBezTo>
                <a:close/>
                <a:moveTo>
                  <a:pt x="1178560" y="2376359"/>
                </a:moveTo>
                <a:cubicBezTo>
                  <a:pt x="1190625" y="2403029"/>
                  <a:pt x="1232535" y="2383344"/>
                  <a:pt x="1219200" y="2357309"/>
                </a:cubicBezTo>
                <a:cubicBezTo>
                  <a:pt x="1207770" y="2330004"/>
                  <a:pt x="1166495" y="2349689"/>
                  <a:pt x="1178560" y="2376359"/>
                </a:cubicBezTo>
                <a:close/>
                <a:moveTo>
                  <a:pt x="1076325" y="2517329"/>
                </a:moveTo>
                <a:cubicBezTo>
                  <a:pt x="1047750" y="2533204"/>
                  <a:pt x="1073785" y="2578289"/>
                  <a:pt x="1101725" y="2561144"/>
                </a:cubicBezTo>
                <a:cubicBezTo>
                  <a:pt x="1130300" y="2545269"/>
                  <a:pt x="1104900" y="2500819"/>
                  <a:pt x="1076325" y="2517329"/>
                </a:cubicBezTo>
                <a:close/>
                <a:moveTo>
                  <a:pt x="1075055" y="2486214"/>
                </a:moveTo>
                <a:cubicBezTo>
                  <a:pt x="1062355" y="2457639"/>
                  <a:pt x="1017905" y="2478594"/>
                  <a:pt x="1031875" y="2506534"/>
                </a:cubicBezTo>
                <a:cubicBezTo>
                  <a:pt x="1044575" y="2535109"/>
                  <a:pt x="1088390" y="2514154"/>
                  <a:pt x="1075055" y="2486214"/>
                </a:cubicBezTo>
                <a:close/>
                <a:moveTo>
                  <a:pt x="975995" y="2531299"/>
                </a:moveTo>
                <a:cubicBezTo>
                  <a:pt x="964565" y="2502724"/>
                  <a:pt x="919480" y="2521139"/>
                  <a:pt x="931545" y="2549714"/>
                </a:cubicBezTo>
                <a:cubicBezTo>
                  <a:pt x="943610" y="2578924"/>
                  <a:pt x="988695" y="2559874"/>
                  <a:pt x="975995" y="2531299"/>
                </a:cubicBezTo>
                <a:close/>
                <a:moveTo>
                  <a:pt x="977265" y="2572574"/>
                </a:moveTo>
                <a:cubicBezTo>
                  <a:pt x="948055" y="2587814"/>
                  <a:pt x="972185" y="2633534"/>
                  <a:pt x="1000760" y="2617659"/>
                </a:cubicBezTo>
                <a:cubicBezTo>
                  <a:pt x="1029970" y="2602419"/>
                  <a:pt x="1005840" y="2556699"/>
                  <a:pt x="977265" y="2572574"/>
                </a:cubicBezTo>
                <a:close/>
                <a:moveTo>
                  <a:pt x="1029970" y="2437954"/>
                </a:moveTo>
                <a:cubicBezTo>
                  <a:pt x="1020445" y="2410014"/>
                  <a:pt x="977265" y="2425889"/>
                  <a:pt x="987425" y="2453194"/>
                </a:cubicBezTo>
                <a:cubicBezTo>
                  <a:pt x="997585" y="2481134"/>
                  <a:pt x="1040765" y="2465259"/>
                  <a:pt x="1029970" y="2437954"/>
                </a:cubicBezTo>
                <a:close/>
                <a:moveTo>
                  <a:pt x="1269365" y="2397314"/>
                </a:moveTo>
                <a:cubicBezTo>
                  <a:pt x="1250950" y="2319844"/>
                  <a:pt x="1180465" y="2435414"/>
                  <a:pt x="1257935" y="2416364"/>
                </a:cubicBezTo>
                <a:cubicBezTo>
                  <a:pt x="1275715" y="2500184"/>
                  <a:pt x="1352550" y="2375089"/>
                  <a:pt x="1269365" y="2397314"/>
                </a:cubicBezTo>
                <a:close/>
                <a:moveTo>
                  <a:pt x="1125855" y="2399219"/>
                </a:moveTo>
                <a:cubicBezTo>
                  <a:pt x="1115060" y="2371914"/>
                  <a:pt x="1072515" y="2389694"/>
                  <a:pt x="1083945" y="2416364"/>
                </a:cubicBezTo>
                <a:cubicBezTo>
                  <a:pt x="1095375" y="2444304"/>
                  <a:pt x="1137285" y="2425889"/>
                  <a:pt x="1125855" y="2399219"/>
                </a:cubicBezTo>
                <a:close/>
                <a:moveTo>
                  <a:pt x="1488440" y="2150934"/>
                </a:moveTo>
                <a:cubicBezTo>
                  <a:pt x="1464310" y="2163634"/>
                  <a:pt x="1484630" y="2201734"/>
                  <a:pt x="1508760" y="2188399"/>
                </a:cubicBezTo>
                <a:cubicBezTo>
                  <a:pt x="1532890" y="2175064"/>
                  <a:pt x="1512570" y="2136964"/>
                  <a:pt x="1488440" y="2150934"/>
                </a:cubicBezTo>
                <a:close/>
                <a:moveTo>
                  <a:pt x="1546860" y="2199194"/>
                </a:moveTo>
                <a:cubicBezTo>
                  <a:pt x="1546860" y="2199194"/>
                  <a:pt x="1546860" y="2199194"/>
                  <a:pt x="1546860" y="2199194"/>
                </a:cubicBezTo>
                <a:cubicBezTo>
                  <a:pt x="1543685" y="2201099"/>
                  <a:pt x="1541780" y="2204274"/>
                  <a:pt x="1539875" y="2206814"/>
                </a:cubicBezTo>
                <a:cubicBezTo>
                  <a:pt x="1482725" y="2162999"/>
                  <a:pt x="1490980" y="2284919"/>
                  <a:pt x="1541780" y="2234119"/>
                </a:cubicBezTo>
                <a:cubicBezTo>
                  <a:pt x="1550035" y="2245549"/>
                  <a:pt x="1565910" y="2247454"/>
                  <a:pt x="1577340" y="2239199"/>
                </a:cubicBezTo>
                <a:lnTo>
                  <a:pt x="1577340" y="2239199"/>
                </a:lnTo>
                <a:cubicBezTo>
                  <a:pt x="1604010" y="2220149"/>
                  <a:pt x="1572895" y="2178874"/>
                  <a:pt x="1546860" y="2199194"/>
                </a:cubicBezTo>
                <a:close/>
                <a:moveTo>
                  <a:pt x="1662430" y="2126169"/>
                </a:moveTo>
                <a:cubicBezTo>
                  <a:pt x="1696720" y="2067749"/>
                  <a:pt x="1583690" y="2089338"/>
                  <a:pt x="1636395" y="2131249"/>
                </a:cubicBezTo>
                <a:cubicBezTo>
                  <a:pt x="1632585" y="2135059"/>
                  <a:pt x="1630045" y="2139504"/>
                  <a:pt x="1628775" y="2143949"/>
                </a:cubicBezTo>
                <a:cubicBezTo>
                  <a:pt x="1616710" y="2136329"/>
                  <a:pt x="1607820" y="2134424"/>
                  <a:pt x="1601470" y="2135694"/>
                </a:cubicBezTo>
                <a:cubicBezTo>
                  <a:pt x="1607820" y="2130614"/>
                  <a:pt x="1607820" y="2120454"/>
                  <a:pt x="1593850" y="2102674"/>
                </a:cubicBezTo>
                <a:cubicBezTo>
                  <a:pt x="1616075" y="2102039"/>
                  <a:pt x="1618615" y="2068384"/>
                  <a:pt x="1597660" y="2063938"/>
                </a:cubicBezTo>
                <a:cubicBezTo>
                  <a:pt x="1630045" y="2013774"/>
                  <a:pt x="1530350" y="2034729"/>
                  <a:pt x="1580515" y="2067749"/>
                </a:cubicBezTo>
                <a:cubicBezTo>
                  <a:pt x="1569720" y="2076004"/>
                  <a:pt x="1570990" y="2093784"/>
                  <a:pt x="1583055" y="2100134"/>
                </a:cubicBezTo>
                <a:cubicBezTo>
                  <a:pt x="1534795" y="2122994"/>
                  <a:pt x="1576705" y="2143949"/>
                  <a:pt x="1596390" y="2138234"/>
                </a:cubicBezTo>
                <a:cubicBezTo>
                  <a:pt x="1577975" y="2153474"/>
                  <a:pt x="1602740" y="2216339"/>
                  <a:pt x="1634490" y="2165539"/>
                </a:cubicBezTo>
                <a:cubicBezTo>
                  <a:pt x="1661795" y="2198559"/>
                  <a:pt x="1701165" y="2142044"/>
                  <a:pt x="1662430" y="2126169"/>
                </a:cubicBezTo>
                <a:close/>
                <a:moveTo>
                  <a:pt x="1281430" y="2301429"/>
                </a:moveTo>
                <a:cubicBezTo>
                  <a:pt x="1254760" y="2314764"/>
                  <a:pt x="1276350" y="2355404"/>
                  <a:pt x="1301750" y="2341434"/>
                </a:cubicBezTo>
                <a:lnTo>
                  <a:pt x="1301750" y="2341434"/>
                </a:lnTo>
                <a:cubicBezTo>
                  <a:pt x="1328420" y="2328099"/>
                  <a:pt x="1307465" y="2287459"/>
                  <a:pt x="1281430" y="2301429"/>
                </a:cubicBezTo>
                <a:close/>
                <a:moveTo>
                  <a:pt x="1927860" y="1914079"/>
                </a:moveTo>
                <a:cubicBezTo>
                  <a:pt x="1930400" y="1907094"/>
                  <a:pt x="1929765" y="1898838"/>
                  <a:pt x="1924685" y="1893124"/>
                </a:cubicBezTo>
                <a:cubicBezTo>
                  <a:pt x="1926590" y="1880424"/>
                  <a:pt x="1912620" y="1868994"/>
                  <a:pt x="1900555" y="1872169"/>
                </a:cubicBezTo>
                <a:cubicBezTo>
                  <a:pt x="1891665" y="1861374"/>
                  <a:pt x="1871980" y="1866454"/>
                  <a:pt x="1869440" y="1880424"/>
                </a:cubicBezTo>
                <a:cubicBezTo>
                  <a:pt x="1831340" y="1823909"/>
                  <a:pt x="1826260" y="1940749"/>
                  <a:pt x="1869440" y="1887409"/>
                </a:cubicBezTo>
                <a:cubicBezTo>
                  <a:pt x="1870710" y="1896299"/>
                  <a:pt x="1879600" y="1903284"/>
                  <a:pt x="1887855" y="1902649"/>
                </a:cubicBezTo>
                <a:cubicBezTo>
                  <a:pt x="1887220" y="1905188"/>
                  <a:pt x="1887220" y="1907729"/>
                  <a:pt x="1887855" y="1910269"/>
                </a:cubicBezTo>
                <a:cubicBezTo>
                  <a:pt x="1876425" y="1915984"/>
                  <a:pt x="1871980" y="1930588"/>
                  <a:pt x="1878330" y="1941384"/>
                </a:cubicBezTo>
                <a:cubicBezTo>
                  <a:pt x="1866900" y="1938209"/>
                  <a:pt x="1852930" y="1945829"/>
                  <a:pt x="1850390" y="1957894"/>
                </a:cubicBezTo>
                <a:cubicBezTo>
                  <a:pt x="1849755" y="1955354"/>
                  <a:pt x="1849120" y="1953449"/>
                  <a:pt x="1847850" y="1951544"/>
                </a:cubicBezTo>
                <a:cubicBezTo>
                  <a:pt x="1854200" y="1940113"/>
                  <a:pt x="1845310" y="1923604"/>
                  <a:pt x="1831975" y="1923604"/>
                </a:cubicBezTo>
                <a:cubicBezTo>
                  <a:pt x="1826895" y="1910269"/>
                  <a:pt x="1807210" y="1907729"/>
                  <a:pt x="1799590" y="1920429"/>
                </a:cubicBezTo>
                <a:cubicBezTo>
                  <a:pt x="1772285" y="1865184"/>
                  <a:pt x="1746250" y="1967419"/>
                  <a:pt x="1796415" y="1931859"/>
                </a:cubicBezTo>
                <a:cubicBezTo>
                  <a:pt x="1797050" y="1939479"/>
                  <a:pt x="1803400" y="1947099"/>
                  <a:pt x="1811020" y="1948369"/>
                </a:cubicBezTo>
                <a:cubicBezTo>
                  <a:pt x="1811020" y="1949638"/>
                  <a:pt x="1811655" y="1950909"/>
                  <a:pt x="1812290" y="1952179"/>
                </a:cubicBezTo>
                <a:cubicBezTo>
                  <a:pt x="1808480" y="1957894"/>
                  <a:pt x="1807845" y="1964244"/>
                  <a:pt x="1810385" y="1970594"/>
                </a:cubicBezTo>
                <a:cubicBezTo>
                  <a:pt x="1791335" y="1974404"/>
                  <a:pt x="1788795" y="1999169"/>
                  <a:pt x="1801495" y="2009963"/>
                </a:cubicBezTo>
                <a:cubicBezTo>
                  <a:pt x="1795780" y="2006788"/>
                  <a:pt x="1786255" y="2006788"/>
                  <a:pt x="1772920" y="2011869"/>
                </a:cubicBezTo>
                <a:cubicBezTo>
                  <a:pt x="1772285" y="2012504"/>
                  <a:pt x="1771650" y="2013138"/>
                  <a:pt x="1771015" y="2013774"/>
                </a:cubicBezTo>
                <a:cubicBezTo>
                  <a:pt x="1770380" y="2011234"/>
                  <a:pt x="1769745" y="2008694"/>
                  <a:pt x="1767840" y="2006154"/>
                </a:cubicBezTo>
                <a:cubicBezTo>
                  <a:pt x="1778000" y="1996629"/>
                  <a:pt x="1772920" y="1976944"/>
                  <a:pt x="1759585" y="1973769"/>
                </a:cubicBezTo>
                <a:cubicBezTo>
                  <a:pt x="1760855" y="1957894"/>
                  <a:pt x="1739900" y="1948369"/>
                  <a:pt x="1728470" y="1960434"/>
                </a:cubicBezTo>
                <a:cubicBezTo>
                  <a:pt x="1720215" y="1905188"/>
                  <a:pt x="1663700" y="1981388"/>
                  <a:pt x="1718945" y="1973134"/>
                </a:cubicBezTo>
                <a:lnTo>
                  <a:pt x="1718945" y="1973134"/>
                </a:lnTo>
                <a:cubicBezTo>
                  <a:pt x="1720850" y="1972499"/>
                  <a:pt x="1722120" y="1971229"/>
                  <a:pt x="1723390" y="1969959"/>
                </a:cubicBezTo>
                <a:cubicBezTo>
                  <a:pt x="1721485" y="1978213"/>
                  <a:pt x="1726565" y="1987104"/>
                  <a:pt x="1734185" y="1990279"/>
                </a:cubicBezTo>
                <a:cubicBezTo>
                  <a:pt x="1733550" y="1994724"/>
                  <a:pt x="1734185" y="1998534"/>
                  <a:pt x="1736725" y="2002344"/>
                </a:cubicBezTo>
                <a:cubicBezTo>
                  <a:pt x="1729105" y="2009329"/>
                  <a:pt x="1727200" y="2020759"/>
                  <a:pt x="1732915" y="2029649"/>
                </a:cubicBezTo>
                <a:cubicBezTo>
                  <a:pt x="1710690" y="2028379"/>
                  <a:pt x="1701800" y="2061399"/>
                  <a:pt x="1721485" y="2071559"/>
                </a:cubicBezTo>
                <a:cubicBezTo>
                  <a:pt x="1720215" y="2074734"/>
                  <a:pt x="1720215" y="2078544"/>
                  <a:pt x="1720215" y="2082354"/>
                </a:cubicBezTo>
                <a:cubicBezTo>
                  <a:pt x="1713865" y="2072194"/>
                  <a:pt x="1699895" y="2069019"/>
                  <a:pt x="1689100" y="2074734"/>
                </a:cubicBezTo>
                <a:cubicBezTo>
                  <a:pt x="1690370" y="2068384"/>
                  <a:pt x="1688465" y="2061399"/>
                  <a:pt x="1684020" y="2056954"/>
                </a:cubicBezTo>
                <a:cubicBezTo>
                  <a:pt x="1698625" y="2049969"/>
                  <a:pt x="1696720" y="2026474"/>
                  <a:pt x="1681480" y="2021394"/>
                </a:cubicBezTo>
                <a:cubicBezTo>
                  <a:pt x="1693545" y="1975038"/>
                  <a:pt x="1617345" y="2003613"/>
                  <a:pt x="1657350" y="2030284"/>
                </a:cubicBezTo>
                <a:cubicBezTo>
                  <a:pt x="1653540" y="2036634"/>
                  <a:pt x="1654175" y="2046159"/>
                  <a:pt x="1659890" y="2051874"/>
                </a:cubicBezTo>
                <a:cubicBezTo>
                  <a:pt x="1635125" y="2062669"/>
                  <a:pt x="1652905" y="2102039"/>
                  <a:pt x="1677670" y="2090609"/>
                </a:cubicBezTo>
                <a:cubicBezTo>
                  <a:pt x="1669415" y="2126169"/>
                  <a:pt x="1727835" y="2129979"/>
                  <a:pt x="1724660" y="2093784"/>
                </a:cubicBezTo>
                <a:cubicBezTo>
                  <a:pt x="1749425" y="2130614"/>
                  <a:pt x="1795780" y="2073463"/>
                  <a:pt x="1755140" y="2056319"/>
                </a:cubicBezTo>
                <a:cubicBezTo>
                  <a:pt x="1756410" y="2050604"/>
                  <a:pt x="1755140" y="2044254"/>
                  <a:pt x="1751330" y="2039174"/>
                </a:cubicBezTo>
                <a:cubicBezTo>
                  <a:pt x="1755775" y="2039174"/>
                  <a:pt x="1760855" y="2037269"/>
                  <a:pt x="1764030" y="2034094"/>
                </a:cubicBezTo>
                <a:cubicBezTo>
                  <a:pt x="1788160" y="2088069"/>
                  <a:pt x="1823085" y="2028379"/>
                  <a:pt x="1804670" y="2011234"/>
                </a:cubicBezTo>
                <a:cubicBezTo>
                  <a:pt x="1806575" y="2012504"/>
                  <a:pt x="1808480" y="2013138"/>
                  <a:pt x="1811020" y="2013774"/>
                </a:cubicBezTo>
                <a:cubicBezTo>
                  <a:pt x="1828800" y="2072194"/>
                  <a:pt x="1897380" y="1995994"/>
                  <a:pt x="1837690" y="1984563"/>
                </a:cubicBezTo>
                <a:cubicBezTo>
                  <a:pt x="1837690" y="1983929"/>
                  <a:pt x="1837690" y="1983929"/>
                  <a:pt x="1837055" y="1983294"/>
                </a:cubicBezTo>
                <a:cubicBezTo>
                  <a:pt x="1843405" y="1981388"/>
                  <a:pt x="1849120" y="1975674"/>
                  <a:pt x="1851025" y="1969959"/>
                </a:cubicBezTo>
                <a:cubicBezTo>
                  <a:pt x="1858645" y="2006154"/>
                  <a:pt x="1913890" y="1983929"/>
                  <a:pt x="1894840" y="1952813"/>
                </a:cubicBezTo>
                <a:cubicBezTo>
                  <a:pt x="1898015" y="1953449"/>
                  <a:pt x="1901190" y="1953449"/>
                  <a:pt x="1904365" y="1952813"/>
                </a:cubicBezTo>
                <a:cubicBezTo>
                  <a:pt x="1931035" y="1992184"/>
                  <a:pt x="1975485" y="1924874"/>
                  <a:pt x="1927860" y="1914079"/>
                </a:cubicBezTo>
                <a:close/>
                <a:moveTo>
                  <a:pt x="1362710" y="2333179"/>
                </a:moveTo>
                <a:cubicBezTo>
                  <a:pt x="1362710" y="2333179"/>
                  <a:pt x="1362075" y="2333814"/>
                  <a:pt x="1362075" y="2333814"/>
                </a:cubicBezTo>
                <a:cubicBezTo>
                  <a:pt x="1327150" y="2270949"/>
                  <a:pt x="1285875" y="2385884"/>
                  <a:pt x="1352550" y="2359849"/>
                </a:cubicBezTo>
                <a:cubicBezTo>
                  <a:pt x="1388745" y="2428429"/>
                  <a:pt x="1435100" y="2305239"/>
                  <a:pt x="1362710" y="2333179"/>
                </a:cubicBezTo>
                <a:close/>
                <a:moveTo>
                  <a:pt x="1455420" y="2267139"/>
                </a:moveTo>
                <a:cubicBezTo>
                  <a:pt x="1454150" y="2268409"/>
                  <a:pt x="1452880" y="2269044"/>
                  <a:pt x="1451610" y="2270314"/>
                </a:cubicBezTo>
                <a:cubicBezTo>
                  <a:pt x="1404620" y="2219514"/>
                  <a:pt x="1388745" y="2336354"/>
                  <a:pt x="1447800" y="2299524"/>
                </a:cubicBezTo>
                <a:cubicBezTo>
                  <a:pt x="1454785" y="2313494"/>
                  <a:pt x="1473200" y="2317304"/>
                  <a:pt x="1485265" y="2308414"/>
                </a:cubicBezTo>
                <a:lnTo>
                  <a:pt x="1485265" y="2308414"/>
                </a:lnTo>
                <a:cubicBezTo>
                  <a:pt x="1512570" y="2288729"/>
                  <a:pt x="1482090" y="2247454"/>
                  <a:pt x="1455420" y="2267139"/>
                </a:cubicBezTo>
                <a:close/>
                <a:moveTo>
                  <a:pt x="1371600" y="2253169"/>
                </a:moveTo>
                <a:cubicBezTo>
                  <a:pt x="1345565" y="2267139"/>
                  <a:pt x="1368425" y="2307144"/>
                  <a:pt x="1393825" y="2292539"/>
                </a:cubicBezTo>
                <a:cubicBezTo>
                  <a:pt x="1419860" y="2278569"/>
                  <a:pt x="1397000" y="2238564"/>
                  <a:pt x="1371600" y="2253169"/>
                </a:cubicBezTo>
                <a:close/>
                <a:moveTo>
                  <a:pt x="3589020" y="971104"/>
                </a:moveTo>
                <a:cubicBezTo>
                  <a:pt x="3608705" y="966024"/>
                  <a:pt x="3599815" y="935544"/>
                  <a:pt x="3580765" y="941259"/>
                </a:cubicBezTo>
                <a:cubicBezTo>
                  <a:pt x="3561080" y="946338"/>
                  <a:pt x="3569970" y="976819"/>
                  <a:pt x="3589020" y="971104"/>
                </a:cubicBezTo>
                <a:close/>
                <a:moveTo>
                  <a:pt x="3660775" y="382458"/>
                </a:moveTo>
                <a:cubicBezTo>
                  <a:pt x="3632200" y="395158"/>
                  <a:pt x="3653790" y="439608"/>
                  <a:pt x="3681095" y="425638"/>
                </a:cubicBezTo>
                <a:cubicBezTo>
                  <a:pt x="3709670" y="412938"/>
                  <a:pt x="3688715" y="369124"/>
                  <a:pt x="3660775" y="382458"/>
                </a:cubicBezTo>
                <a:close/>
                <a:moveTo>
                  <a:pt x="3728720" y="978724"/>
                </a:moveTo>
                <a:cubicBezTo>
                  <a:pt x="3746500" y="975549"/>
                  <a:pt x="3741420" y="946974"/>
                  <a:pt x="3723005" y="950784"/>
                </a:cubicBezTo>
                <a:cubicBezTo>
                  <a:pt x="3705225" y="953959"/>
                  <a:pt x="3710940" y="982534"/>
                  <a:pt x="3728720" y="978724"/>
                </a:cubicBezTo>
                <a:close/>
                <a:moveTo>
                  <a:pt x="3733800" y="629474"/>
                </a:moveTo>
                <a:cubicBezTo>
                  <a:pt x="3759200" y="619313"/>
                  <a:pt x="3743325" y="579309"/>
                  <a:pt x="3717925" y="590104"/>
                </a:cubicBezTo>
                <a:cubicBezTo>
                  <a:pt x="3691890" y="600263"/>
                  <a:pt x="3709035" y="640269"/>
                  <a:pt x="3733800" y="629474"/>
                </a:cubicBezTo>
                <a:close/>
                <a:moveTo>
                  <a:pt x="3725545" y="771713"/>
                </a:moveTo>
                <a:cubicBezTo>
                  <a:pt x="3702685" y="778699"/>
                  <a:pt x="3714750" y="814259"/>
                  <a:pt x="3736975" y="806638"/>
                </a:cubicBezTo>
                <a:cubicBezTo>
                  <a:pt x="3759835" y="799654"/>
                  <a:pt x="3748405" y="764094"/>
                  <a:pt x="3725545" y="771713"/>
                </a:cubicBezTo>
                <a:close/>
                <a:moveTo>
                  <a:pt x="3766185" y="692338"/>
                </a:moveTo>
                <a:cubicBezTo>
                  <a:pt x="3757930" y="668209"/>
                  <a:pt x="3719830" y="682179"/>
                  <a:pt x="3729355" y="705674"/>
                </a:cubicBezTo>
                <a:cubicBezTo>
                  <a:pt x="3737610" y="730438"/>
                  <a:pt x="3775075" y="716469"/>
                  <a:pt x="3766185" y="692338"/>
                </a:cubicBezTo>
                <a:close/>
                <a:moveTo>
                  <a:pt x="3660775" y="992059"/>
                </a:moveTo>
                <a:cubicBezTo>
                  <a:pt x="3678555" y="988249"/>
                  <a:pt x="3672840" y="960309"/>
                  <a:pt x="3655060" y="964119"/>
                </a:cubicBezTo>
                <a:cubicBezTo>
                  <a:pt x="3637280" y="968563"/>
                  <a:pt x="3642995" y="996504"/>
                  <a:pt x="3660775" y="992059"/>
                </a:cubicBezTo>
                <a:close/>
                <a:moveTo>
                  <a:pt x="3657600" y="952054"/>
                </a:moveTo>
                <a:cubicBezTo>
                  <a:pt x="3680460" y="952054"/>
                  <a:pt x="3676015" y="915859"/>
                  <a:pt x="3653790" y="921574"/>
                </a:cubicBezTo>
                <a:cubicBezTo>
                  <a:pt x="3636010" y="925384"/>
                  <a:pt x="3639820" y="952688"/>
                  <a:pt x="3657600" y="952054"/>
                </a:cubicBezTo>
                <a:close/>
                <a:moveTo>
                  <a:pt x="3663950" y="995869"/>
                </a:moveTo>
                <a:cubicBezTo>
                  <a:pt x="3647440" y="998409"/>
                  <a:pt x="3651885" y="1023809"/>
                  <a:pt x="3668395" y="1020634"/>
                </a:cubicBezTo>
                <a:cubicBezTo>
                  <a:pt x="3684270" y="1018729"/>
                  <a:pt x="3679825" y="992694"/>
                  <a:pt x="3663950" y="995869"/>
                </a:cubicBezTo>
                <a:close/>
                <a:moveTo>
                  <a:pt x="3305810" y="852994"/>
                </a:moveTo>
                <a:cubicBezTo>
                  <a:pt x="3329305" y="839024"/>
                  <a:pt x="3306445" y="802194"/>
                  <a:pt x="3283585" y="817434"/>
                </a:cubicBezTo>
                <a:cubicBezTo>
                  <a:pt x="3260090" y="831404"/>
                  <a:pt x="3282950" y="867599"/>
                  <a:pt x="3305810" y="852994"/>
                </a:cubicBezTo>
                <a:close/>
                <a:moveTo>
                  <a:pt x="3656330" y="834579"/>
                </a:moveTo>
                <a:cubicBezTo>
                  <a:pt x="3678555" y="826959"/>
                  <a:pt x="3665855" y="791399"/>
                  <a:pt x="3643630" y="800288"/>
                </a:cubicBezTo>
                <a:cubicBezTo>
                  <a:pt x="3621405" y="807909"/>
                  <a:pt x="3634105" y="842834"/>
                  <a:pt x="3656330" y="834579"/>
                </a:cubicBezTo>
                <a:close/>
                <a:moveTo>
                  <a:pt x="3791585" y="938084"/>
                </a:moveTo>
                <a:cubicBezTo>
                  <a:pt x="3773170" y="940624"/>
                  <a:pt x="3778885" y="969199"/>
                  <a:pt x="3796665" y="966024"/>
                </a:cubicBezTo>
                <a:cubicBezTo>
                  <a:pt x="3814445" y="963484"/>
                  <a:pt x="3809365" y="934909"/>
                  <a:pt x="3791585" y="938084"/>
                </a:cubicBezTo>
                <a:close/>
                <a:moveTo>
                  <a:pt x="3789680" y="976819"/>
                </a:moveTo>
                <a:cubicBezTo>
                  <a:pt x="3773170" y="978724"/>
                  <a:pt x="3776980" y="1004124"/>
                  <a:pt x="3792855" y="1002219"/>
                </a:cubicBezTo>
                <a:cubicBezTo>
                  <a:pt x="3809365" y="999679"/>
                  <a:pt x="3806190" y="974279"/>
                  <a:pt x="3789680" y="976819"/>
                </a:cubicBezTo>
                <a:close/>
                <a:moveTo>
                  <a:pt x="3799840" y="886649"/>
                </a:moveTo>
                <a:cubicBezTo>
                  <a:pt x="3780155" y="890459"/>
                  <a:pt x="3787140" y="921574"/>
                  <a:pt x="3806190" y="917129"/>
                </a:cubicBezTo>
                <a:cubicBezTo>
                  <a:pt x="3825875" y="913319"/>
                  <a:pt x="3818890" y="882204"/>
                  <a:pt x="3799840" y="886649"/>
                </a:cubicBezTo>
                <a:close/>
                <a:moveTo>
                  <a:pt x="3849370" y="828863"/>
                </a:moveTo>
                <a:cubicBezTo>
                  <a:pt x="3844290" y="807274"/>
                  <a:pt x="3810635" y="816163"/>
                  <a:pt x="3816350" y="837119"/>
                </a:cubicBezTo>
                <a:cubicBezTo>
                  <a:pt x="3821430" y="858709"/>
                  <a:pt x="3855085" y="850454"/>
                  <a:pt x="3849370" y="828863"/>
                </a:cubicBezTo>
                <a:close/>
                <a:moveTo>
                  <a:pt x="3750945" y="837119"/>
                </a:moveTo>
                <a:cubicBezTo>
                  <a:pt x="3729355" y="842834"/>
                  <a:pt x="3738880" y="875854"/>
                  <a:pt x="3759835" y="869504"/>
                </a:cubicBezTo>
                <a:cubicBezTo>
                  <a:pt x="3780790" y="864424"/>
                  <a:pt x="3771900" y="831404"/>
                  <a:pt x="3750945" y="837119"/>
                </a:cubicBezTo>
                <a:close/>
                <a:moveTo>
                  <a:pt x="3782695" y="476438"/>
                </a:moveTo>
                <a:cubicBezTo>
                  <a:pt x="3771900" y="449133"/>
                  <a:pt x="3729355" y="466279"/>
                  <a:pt x="3740785" y="493583"/>
                </a:cubicBezTo>
                <a:cubicBezTo>
                  <a:pt x="3751580" y="520888"/>
                  <a:pt x="3794125" y="503744"/>
                  <a:pt x="3782695" y="476438"/>
                </a:cubicBezTo>
                <a:close/>
                <a:moveTo>
                  <a:pt x="3726180" y="903159"/>
                </a:moveTo>
                <a:cubicBezTo>
                  <a:pt x="3706495" y="907604"/>
                  <a:pt x="3714115" y="938084"/>
                  <a:pt x="3733165" y="933638"/>
                </a:cubicBezTo>
                <a:cubicBezTo>
                  <a:pt x="3752850" y="929194"/>
                  <a:pt x="3745865" y="898713"/>
                  <a:pt x="3726180" y="903159"/>
                </a:cubicBezTo>
                <a:close/>
                <a:moveTo>
                  <a:pt x="3726815" y="985709"/>
                </a:moveTo>
                <a:cubicBezTo>
                  <a:pt x="3710305" y="987613"/>
                  <a:pt x="3714115" y="1013649"/>
                  <a:pt x="3730625" y="1011109"/>
                </a:cubicBezTo>
                <a:cubicBezTo>
                  <a:pt x="3747135" y="1008569"/>
                  <a:pt x="3742690" y="983169"/>
                  <a:pt x="3726815" y="985709"/>
                </a:cubicBezTo>
                <a:close/>
                <a:moveTo>
                  <a:pt x="3672840" y="859979"/>
                </a:moveTo>
                <a:cubicBezTo>
                  <a:pt x="3651885" y="865694"/>
                  <a:pt x="3662045" y="899349"/>
                  <a:pt x="3682365" y="892363"/>
                </a:cubicBezTo>
                <a:cubicBezTo>
                  <a:pt x="3703955" y="886013"/>
                  <a:pt x="3693795" y="852994"/>
                  <a:pt x="3672840" y="859979"/>
                </a:cubicBezTo>
                <a:close/>
                <a:moveTo>
                  <a:pt x="3414395" y="1046034"/>
                </a:moveTo>
                <a:cubicBezTo>
                  <a:pt x="3398520" y="1049844"/>
                  <a:pt x="3404235" y="1074609"/>
                  <a:pt x="3420110" y="1070799"/>
                </a:cubicBezTo>
                <a:cubicBezTo>
                  <a:pt x="3435985" y="1066988"/>
                  <a:pt x="3430270" y="1042224"/>
                  <a:pt x="3414395" y="1046034"/>
                </a:cubicBezTo>
                <a:close/>
                <a:moveTo>
                  <a:pt x="3476625" y="1032063"/>
                </a:moveTo>
                <a:cubicBezTo>
                  <a:pt x="3460115" y="1035238"/>
                  <a:pt x="3465830" y="1060638"/>
                  <a:pt x="3481705" y="1056829"/>
                </a:cubicBezTo>
                <a:cubicBezTo>
                  <a:pt x="3497580" y="1053654"/>
                  <a:pt x="3492500" y="1028254"/>
                  <a:pt x="3476625" y="1032063"/>
                </a:cubicBezTo>
                <a:close/>
                <a:moveTo>
                  <a:pt x="3645535" y="667574"/>
                </a:moveTo>
                <a:cubicBezTo>
                  <a:pt x="3670935" y="656779"/>
                  <a:pt x="3652520" y="617409"/>
                  <a:pt x="3627755" y="628838"/>
                </a:cubicBezTo>
                <a:cubicBezTo>
                  <a:pt x="3602355" y="640269"/>
                  <a:pt x="3620770" y="679638"/>
                  <a:pt x="3645535" y="667574"/>
                </a:cubicBezTo>
                <a:close/>
                <a:moveTo>
                  <a:pt x="3385820" y="1032063"/>
                </a:moveTo>
                <a:cubicBezTo>
                  <a:pt x="3368040" y="1037144"/>
                  <a:pt x="3376295" y="1064449"/>
                  <a:pt x="3393440" y="1059369"/>
                </a:cubicBezTo>
                <a:cubicBezTo>
                  <a:pt x="3411220" y="1054288"/>
                  <a:pt x="3403600" y="1026349"/>
                  <a:pt x="3385820" y="1032063"/>
                </a:cubicBezTo>
                <a:close/>
                <a:moveTo>
                  <a:pt x="3456305" y="994599"/>
                </a:moveTo>
                <a:cubicBezTo>
                  <a:pt x="3450590" y="975549"/>
                  <a:pt x="3420110" y="985074"/>
                  <a:pt x="3426460" y="1004124"/>
                </a:cubicBezTo>
                <a:cubicBezTo>
                  <a:pt x="3432810" y="1023174"/>
                  <a:pt x="3463290" y="1013649"/>
                  <a:pt x="3456305" y="994599"/>
                </a:cubicBezTo>
                <a:close/>
                <a:moveTo>
                  <a:pt x="3385185" y="1017459"/>
                </a:moveTo>
                <a:cubicBezTo>
                  <a:pt x="3378835" y="998409"/>
                  <a:pt x="3348990" y="1008569"/>
                  <a:pt x="3355975" y="1027619"/>
                </a:cubicBezTo>
                <a:cubicBezTo>
                  <a:pt x="3362325" y="1046669"/>
                  <a:pt x="3392170" y="1036509"/>
                  <a:pt x="3385185" y="1017459"/>
                </a:cubicBezTo>
                <a:close/>
                <a:moveTo>
                  <a:pt x="3319145" y="1051749"/>
                </a:moveTo>
                <a:cubicBezTo>
                  <a:pt x="3317240" y="1052384"/>
                  <a:pt x="3315335" y="1053654"/>
                  <a:pt x="3313430" y="1054924"/>
                </a:cubicBezTo>
                <a:cubicBezTo>
                  <a:pt x="3314700" y="990788"/>
                  <a:pt x="3249295" y="1077149"/>
                  <a:pt x="3310255" y="1058734"/>
                </a:cubicBezTo>
                <a:cubicBezTo>
                  <a:pt x="3304540" y="1108263"/>
                  <a:pt x="3368675" y="1053019"/>
                  <a:pt x="3319145" y="1051749"/>
                </a:cubicBezTo>
                <a:close/>
                <a:moveTo>
                  <a:pt x="3290570" y="1077149"/>
                </a:moveTo>
                <a:cubicBezTo>
                  <a:pt x="3274695" y="1080959"/>
                  <a:pt x="3281680" y="1106359"/>
                  <a:pt x="3296920" y="1101913"/>
                </a:cubicBezTo>
                <a:cubicBezTo>
                  <a:pt x="3313430" y="1097469"/>
                  <a:pt x="3306445" y="1072704"/>
                  <a:pt x="3290570" y="1077149"/>
                </a:cubicBezTo>
                <a:close/>
                <a:moveTo>
                  <a:pt x="3352165" y="1061274"/>
                </a:moveTo>
                <a:cubicBezTo>
                  <a:pt x="3336290" y="1065084"/>
                  <a:pt x="3342640" y="1090484"/>
                  <a:pt x="3358515" y="1086038"/>
                </a:cubicBezTo>
                <a:cubicBezTo>
                  <a:pt x="3374390" y="1081594"/>
                  <a:pt x="3368040" y="1056829"/>
                  <a:pt x="3352165" y="1061274"/>
                </a:cubicBezTo>
                <a:close/>
                <a:moveTo>
                  <a:pt x="3470275" y="1023174"/>
                </a:moveTo>
                <a:cubicBezTo>
                  <a:pt x="3465830" y="1005394"/>
                  <a:pt x="3437890" y="1013013"/>
                  <a:pt x="3442970" y="1030794"/>
                </a:cubicBezTo>
                <a:cubicBezTo>
                  <a:pt x="3447415" y="1048574"/>
                  <a:pt x="3474720" y="1040954"/>
                  <a:pt x="3470275" y="1023174"/>
                </a:cubicBezTo>
                <a:close/>
                <a:moveTo>
                  <a:pt x="3604260" y="990154"/>
                </a:moveTo>
                <a:cubicBezTo>
                  <a:pt x="3600450" y="972374"/>
                  <a:pt x="3572510" y="978724"/>
                  <a:pt x="3576955" y="996504"/>
                </a:cubicBezTo>
                <a:cubicBezTo>
                  <a:pt x="3580765" y="1014919"/>
                  <a:pt x="3608705" y="1007934"/>
                  <a:pt x="3604260" y="990154"/>
                </a:cubicBezTo>
                <a:close/>
                <a:moveTo>
                  <a:pt x="3601085" y="1006663"/>
                </a:moveTo>
                <a:cubicBezTo>
                  <a:pt x="3584575" y="1009204"/>
                  <a:pt x="3589655" y="1034604"/>
                  <a:pt x="3605530" y="1031429"/>
                </a:cubicBezTo>
                <a:cubicBezTo>
                  <a:pt x="3622040" y="1028888"/>
                  <a:pt x="3617595" y="1003488"/>
                  <a:pt x="3601085" y="1006663"/>
                </a:cubicBezTo>
                <a:close/>
                <a:moveTo>
                  <a:pt x="3853180" y="968563"/>
                </a:moveTo>
                <a:cubicBezTo>
                  <a:pt x="3836670" y="970469"/>
                  <a:pt x="3839845" y="995869"/>
                  <a:pt x="3856355" y="993963"/>
                </a:cubicBezTo>
                <a:cubicBezTo>
                  <a:pt x="3872230" y="992059"/>
                  <a:pt x="3869055" y="966659"/>
                  <a:pt x="3853180" y="968563"/>
                </a:cubicBezTo>
                <a:close/>
                <a:moveTo>
                  <a:pt x="3596005" y="884109"/>
                </a:moveTo>
                <a:cubicBezTo>
                  <a:pt x="3575050" y="890459"/>
                  <a:pt x="3585845" y="923479"/>
                  <a:pt x="3606800" y="916494"/>
                </a:cubicBezTo>
                <a:cubicBezTo>
                  <a:pt x="3627120" y="909509"/>
                  <a:pt x="3616325" y="876488"/>
                  <a:pt x="3596005" y="884109"/>
                </a:cubicBezTo>
                <a:close/>
                <a:moveTo>
                  <a:pt x="3536950" y="1006029"/>
                </a:moveTo>
                <a:cubicBezTo>
                  <a:pt x="3532505" y="988249"/>
                  <a:pt x="3505200" y="995234"/>
                  <a:pt x="3509645" y="1013013"/>
                </a:cubicBezTo>
                <a:cubicBezTo>
                  <a:pt x="3514090" y="1030794"/>
                  <a:pt x="3541395" y="1023809"/>
                  <a:pt x="3536950" y="1006029"/>
                </a:cubicBezTo>
                <a:close/>
                <a:moveTo>
                  <a:pt x="3586480" y="840929"/>
                </a:moveTo>
                <a:cubicBezTo>
                  <a:pt x="3578225" y="818704"/>
                  <a:pt x="3543300" y="832038"/>
                  <a:pt x="3552190" y="854263"/>
                </a:cubicBezTo>
                <a:cubicBezTo>
                  <a:pt x="3560445" y="876488"/>
                  <a:pt x="3595370" y="863154"/>
                  <a:pt x="3586480" y="840929"/>
                </a:cubicBezTo>
                <a:close/>
                <a:moveTo>
                  <a:pt x="3517900" y="991424"/>
                </a:moveTo>
                <a:cubicBezTo>
                  <a:pt x="3537585" y="985709"/>
                  <a:pt x="3528060" y="955863"/>
                  <a:pt x="3509010" y="961579"/>
                </a:cubicBezTo>
                <a:cubicBezTo>
                  <a:pt x="3489325" y="967294"/>
                  <a:pt x="3498850" y="997774"/>
                  <a:pt x="3517900" y="991424"/>
                </a:cubicBezTo>
                <a:close/>
                <a:moveTo>
                  <a:pt x="3538855" y="1018729"/>
                </a:moveTo>
                <a:cubicBezTo>
                  <a:pt x="3522345" y="1021904"/>
                  <a:pt x="3528060" y="1047304"/>
                  <a:pt x="3543935" y="1043494"/>
                </a:cubicBezTo>
                <a:cubicBezTo>
                  <a:pt x="3559810" y="1040954"/>
                  <a:pt x="3554730" y="1015554"/>
                  <a:pt x="3538855" y="1018729"/>
                </a:cubicBezTo>
                <a:close/>
              </a:path>
            </a:pathLst>
          </a:custGeom>
          <a:gradFill>
            <a:gsLst>
              <a:gs pos="0">
                <a:schemeClr val="accent1"/>
              </a:gs>
              <a:gs pos="22000">
                <a:schemeClr val="lt2"/>
              </a:gs>
              <a:gs pos="63000">
                <a:schemeClr val="lt2"/>
              </a:gs>
              <a:gs pos="85000">
                <a:schemeClr val="accent1"/>
              </a:gs>
              <a:gs pos="100000">
                <a:schemeClr val="accent2"/>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Calibri"/>
              <a:ea typeface="Calibri"/>
              <a:cs typeface="Calibri"/>
              <a:sym typeface="Calibri"/>
            </a:endParaRPr>
          </a:p>
        </p:txBody>
      </p:sp>
      <p:sp>
        <p:nvSpPr>
          <p:cNvPr id="41" name="Google Shape;41;p8"/>
          <p:cNvSpPr txBox="1">
            <a:spLocks noGrp="1"/>
          </p:cNvSpPr>
          <p:nvPr>
            <p:ph type="title"/>
          </p:nvPr>
        </p:nvSpPr>
        <p:spPr>
          <a:xfrm>
            <a:off x="1037875" y="836000"/>
            <a:ext cx="7068300" cy="396300"/>
          </a:xfrm>
          <a:prstGeom prst="rect">
            <a:avLst/>
          </a:prstGeom>
        </p:spPr>
        <p:txBody>
          <a:bodyPr spcFirstLastPara="1" wrap="square" lIns="0" tIns="0" rIns="0" bIns="0"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42" name="Google Shape;42;p8"/>
          <p:cNvSpPr txBox="1">
            <a:spLocks noGrp="1"/>
          </p:cNvSpPr>
          <p:nvPr>
            <p:ph type="sldNum" idx="12"/>
          </p:nvPr>
        </p:nvSpPr>
        <p:spPr>
          <a:xfrm>
            <a:off x="8328184" y="45974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 Light" type="blank">
  <p:cSld name="BLANK">
    <p:spTree>
      <p:nvGrpSpPr>
        <p:cNvPr id="1" name="Shape 47"/>
        <p:cNvGrpSpPr/>
        <p:nvPr/>
      </p:nvGrpSpPr>
      <p:grpSpPr>
        <a:xfrm>
          <a:off x="0" y="0"/>
          <a:ext cx="0" cy="0"/>
          <a:chOff x="0" y="0"/>
          <a:chExt cx="0" cy="0"/>
        </a:xfrm>
      </p:grpSpPr>
      <p:sp>
        <p:nvSpPr>
          <p:cNvPr id="48" name="Google Shape;48;p10"/>
          <p:cNvSpPr/>
          <p:nvPr/>
        </p:nvSpPr>
        <p:spPr>
          <a:xfrm>
            <a:off x="0" y="1455585"/>
            <a:ext cx="9144000" cy="2232329"/>
          </a:xfrm>
          <a:custGeom>
            <a:avLst/>
            <a:gdLst/>
            <a:ahLst/>
            <a:cxnLst/>
            <a:rect l="l" t="t" r="r" b="b"/>
            <a:pathLst>
              <a:path w="12192000" h="2976439" extrusionOk="0">
                <a:moveTo>
                  <a:pt x="6456680" y="1376234"/>
                </a:moveTo>
                <a:cubicBezTo>
                  <a:pt x="6463665" y="1380044"/>
                  <a:pt x="6471920" y="1378138"/>
                  <a:pt x="6476365" y="1371788"/>
                </a:cubicBezTo>
                <a:cubicBezTo>
                  <a:pt x="6503670" y="1378138"/>
                  <a:pt x="6495415" y="1331784"/>
                  <a:pt x="6471920" y="1347024"/>
                </a:cubicBezTo>
                <a:cubicBezTo>
                  <a:pt x="6454775" y="1340674"/>
                  <a:pt x="6438900" y="1365438"/>
                  <a:pt x="6456680" y="1376234"/>
                </a:cubicBezTo>
                <a:close/>
                <a:moveTo>
                  <a:pt x="6391910" y="1339404"/>
                </a:moveTo>
                <a:cubicBezTo>
                  <a:pt x="6393180" y="1340038"/>
                  <a:pt x="6395085" y="1340674"/>
                  <a:pt x="6396355" y="1341309"/>
                </a:cubicBezTo>
                <a:cubicBezTo>
                  <a:pt x="6399530" y="1350199"/>
                  <a:pt x="6413500" y="1352104"/>
                  <a:pt x="6418580" y="1343213"/>
                </a:cubicBezTo>
                <a:cubicBezTo>
                  <a:pt x="6441440" y="1342579"/>
                  <a:pt x="6431915" y="1306384"/>
                  <a:pt x="6411595" y="1316544"/>
                </a:cubicBezTo>
                <a:cubicBezTo>
                  <a:pt x="6396990" y="1296859"/>
                  <a:pt x="6370320" y="1327338"/>
                  <a:pt x="6391910" y="1339404"/>
                </a:cubicBezTo>
                <a:close/>
                <a:moveTo>
                  <a:pt x="6412865" y="1360359"/>
                </a:moveTo>
                <a:cubicBezTo>
                  <a:pt x="6400800" y="1378774"/>
                  <a:pt x="6429375" y="1397188"/>
                  <a:pt x="6440805" y="1378774"/>
                </a:cubicBezTo>
                <a:cubicBezTo>
                  <a:pt x="6453505" y="1360994"/>
                  <a:pt x="6424295" y="1341944"/>
                  <a:pt x="6412865" y="1360359"/>
                </a:cubicBezTo>
                <a:close/>
                <a:moveTo>
                  <a:pt x="6502400" y="1514029"/>
                </a:moveTo>
                <a:cubicBezTo>
                  <a:pt x="6482715" y="1497519"/>
                  <a:pt x="6457315" y="1529269"/>
                  <a:pt x="6477635" y="1545144"/>
                </a:cubicBezTo>
                <a:cubicBezTo>
                  <a:pt x="6497320" y="1561019"/>
                  <a:pt x="6522720" y="1529269"/>
                  <a:pt x="6502400" y="1514029"/>
                </a:cubicBezTo>
                <a:close/>
                <a:moveTo>
                  <a:pt x="6382385" y="1402269"/>
                </a:moveTo>
                <a:cubicBezTo>
                  <a:pt x="6399530" y="1402904"/>
                  <a:pt x="6407785" y="1378774"/>
                  <a:pt x="6393180" y="1369249"/>
                </a:cubicBezTo>
                <a:cubicBezTo>
                  <a:pt x="6367145" y="1350834"/>
                  <a:pt x="6350635" y="1400999"/>
                  <a:pt x="6382385" y="1402269"/>
                </a:cubicBezTo>
                <a:close/>
                <a:moveTo>
                  <a:pt x="6216015" y="1284794"/>
                </a:moveTo>
                <a:cubicBezTo>
                  <a:pt x="6196330" y="1268284"/>
                  <a:pt x="6170930" y="1300034"/>
                  <a:pt x="6191250" y="1315909"/>
                </a:cubicBezTo>
                <a:cubicBezTo>
                  <a:pt x="6210935" y="1331784"/>
                  <a:pt x="6236335" y="1300669"/>
                  <a:pt x="6216015" y="1284794"/>
                </a:cubicBezTo>
                <a:close/>
                <a:moveTo>
                  <a:pt x="6049645" y="1169859"/>
                </a:moveTo>
                <a:cubicBezTo>
                  <a:pt x="6049010" y="1164779"/>
                  <a:pt x="6045835" y="1159699"/>
                  <a:pt x="6040755" y="1157794"/>
                </a:cubicBezTo>
                <a:cubicBezTo>
                  <a:pt x="6017260" y="1150174"/>
                  <a:pt x="6015355" y="1190813"/>
                  <a:pt x="6039485" y="1184463"/>
                </a:cubicBezTo>
                <a:cubicBezTo>
                  <a:pt x="6038850" y="1189544"/>
                  <a:pt x="6040120" y="1194624"/>
                  <a:pt x="6043295" y="1198434"/>
                </a:cubicBezTo>
                <a:cubicBezTo>
                  <a:pt x="5981700" y="1191449"/>
                  <a:pt x="6039485" y="1279079"/>
                  <a:pt x="6057265" y="1220024"/>
                </a:cubicBezTo>
                <a:cubicBezTo>
                  <a:pt x="6060440" y="1216213"/>
                  <a:pt x="6061075" y="1210499"/>
                  <a:pt x="6059170" y="1206688"/>
                </a:cubicBezTo>
                <a:cubicBezTo>
                  <a:pt x="6075045" y="1207324"/>
                  <a:pt x="6085205" y="1186369"/>
                  <a:pt x="6074410" y="1174938"/>
                </a:cubicBezTo>
                <a:cubicBezTo>
                  <a:pt x="6077585" y="1176844"/>
                  <a:pt x="6081395" y="1178113"/>
                  <a:pt x="6084570" y="1177479"/>
                </a:cubicBezTo>
                <a:cubicBezTo>
                  <a:pt x="6082030" y="1183194"/>
                  <a:pt x="6082665" y="1190179"/>
                  <a:pt x="6085840" y="1195259"/>
                </a:cubicBezTo>
                <a:cubicBezTo>
                  <a:pt x="6085205" y="1211769"/>
                  <a:pt x="6111240" y="1214944"/>
                  <a:pt x="6113780" y="1197799"/>
                </a:cubicBezTo>
                <a:cubicBezTo>
                  <a:pt x="6115050" y="1196529"/>
                  <a:pt x="6116320" y="1194624"/>
                  <a:pt x="6117590" y="1192719"/>
                </a:cubicBezTo>
                <a:cubicBezTo>
                  <a:pt x="6118860" y="1200974"/>
                  <a:pt x="6128385" y="1207324"/>
                  <a:pt x="6137275" y="1204784"/>
                </a:cubicBezTo>
                <a:cubicBezTo>
                  <a:pt x="6139180" y="1210499"/>
                  <a:pt x="6144895" y="1216213"/>
                  <a:pt x="6151245" y="1216849"/>
                </a:cubicBezTo>
                <a:cubicBezTo>
                  <a:pt x="6149975" y="1221929"/>
                  <a:pt x="6151245" y="1227009"/>
                  <a:pt x="6155055" y="1230819"/>
                </a:cubicBezTo>
                <a:cubicBezTo>
                  <a:pt x="6154420" y="1235263"/>
                  <a:pt x="6155690" y="1240344"/>
                  <a:pt x="6158865" y="1244154"/>
                </a:cubicBezTo>
                <a:cubicBezTo>
                  <a:pt x="6145530" y="1263838"/>
                  <a:pt x="6184265" y="1273363"/>
                  <a:pt x="6181725" y="1249234"/>
                </a:cubicBezTo>
                <a:cubicBezTo>
                  <a:pt x="6187440" y="1246694"/>
                  <a:pt x="6191250" y="1240344"/>
                  <a:pt x="6191885" y="1234629"/>
                </a:cubicBezTo>
                <a:cubicBezTo>
                  <a:pt x="6196330" y="1237804"/>
                  <a:pt x="6202045" y="1238438"/>
                  <a:pt x="6207125" y="1236534"/>
                </a:cubicBezTo>
                <a:cubicBezTo>
                  <a:pt x="6203315" y="1248599"/>
                  <a:pt x="6214745" y="1256219"/>
                  <a:pt x="6224905" y="1260029"/>
                </a:cubicBezTo>
                <a:cubicBezTo>
                  <a:pt x="6213475" y="1263838"/>
                  <a:pt x="6214110" y="1280984"/>
                  <a:pt x="6225540" y="1284159"/>
                </a:cubicBezTo>
                <a:cubicBezTo>
                  <a:pt x="6239510" y="1333054"/>
                  <a:pt x="6290945" y="1263204"/>
                  <a:pt x="6239510" y="1265109"/>
                </a:cubicBezTo>
                <a:cubicBezTo>
                  <a:pt x="6238240" y="1263204"/>
                  <a:pt x="6235700" y="1261299"/>
                  <a:pt x="6233160" y="1260029"/>
                </a:cubicBezTo>
                <a:cubicBezTo>
                  <a:pt x="6254750" y="1252409"/>
                  <a:pt x="6235065" y="1214944"/>
                  <a:pt x="6216015" y="1225738"/>
                </a:cubicBezTo>
                <a:cubicBezTo>
                  <a:pt x="6220460" y="1206054"/>
                  <a:pt x="6188710" y="1199704"/>
                  <a:pt x="6185535" y="1220024"/>
                </a:cubicBezTo>
                <a:cubicBezTo>
                  <a:pt x="6183630" y="1218119"/>
                  <a:pt x="6180455" y="1216849"/>
                  <a:pt x="6177915" y="1215579"/>
                </a:cubicBezTo>
                <a:cubicBezTo>
                  <a:pt x="6176645" y="1211769"/>
                  <a:pt x="6172835" y="1208594"/>
                  <a:pt x="6169025" y="1207324"/>
                </a:cubicBezTo>
                <a:cubicBezTo>
                  <a:pt x="6176010" y="1193988"/>
                  <a:pt x="6161405" y="1178749"/>
                  <a:pt x="6147435" y="1184463"/>
                </a:cubicBezTo>
                <a:cubicBezTo>
                  <a:pt x="6142990" y="1172399"/>
                  <a:pt x="6125210" y="1171129"/>
                  <a:pt x="6119495" y="1182559"/>
                </a:cubicBezTo>
                <a:cubicBezTo>
                  <a:pt x="6118860" y="1173034"/>
                  <a:pt x="6108065" y="1165413"/>
                  <a:pt x="6098540" y="1167319"/>
                </a:cubicBezTo>
                <a:cubicBezTo>
                  <a:pt x="6104890" y="1152713"/>
                  <a:pt x="6087110" y="1138109"/>
                  <a:pt x="6073775" y="1146999"/>
                </a:cubicBezTo>
                <a:cubicBezTo>
                  <a:pt x="6059805" y="1135569"/>
                  <a:pt x="6040755" y="1155888"/>
                  <a:pt x="6052820" y="1169224"/>
                </a:cubicBezTo>
                <a:cubicBezTo>
                  <a:pt x="6052185" y="1168588"/>
                  <a:pt x="6050915" y="1169224"/>
                  <a:pt x="6049645" y="1169859"/>
                </a:cubicBezTo>
                <a:close/>
                <a:moveTo>
                  <a:pt x="6279515" y="1267649"/>
                </a:moveTo>
                <a:cubicBezTo>
                  <a:pt x="6278880" y="1268919"/>
                  <a:pt x="6278880" y="1270824"/>
                  <a:pt x="6278245" y="1272094"/>
                </a:cubicBezTo>
                <a:cubicBezTo>
                  <a:pt x="6273800" y="1277174"/>
                  <a:pt x="6273800" y="1284794"/>
                  <a:pt x="6276340" y="1289874"/>
                </a:cubicBezTo>
                <a:cubicBezTo>
                  <a:pt x="6272530" y="1305113"/>
                  <a:pt x="6296660" y="1311463"/>
                  <a:pt x="6300470" y="1296224"/>
                </a:cubicBezTo>
                <a:cubicBezTo>
                  <a:pt x="6308090" y="1291779"/>
                  <a:pt x="6309995" y="1280984"/>
                  <a:pt x="6305550" y="1273999"/>
                </a:cubicBezTo>
                <a:cubicBezTo>
                  <a:pt x="6308090" y="1258759"/>
                  <a:pt x="6285230" y="1253044"/>
                  <a:pt x="6279515" y="1267649"/>
                </a:cubicBezTo>
                <a:close/>
                <a:moveTo>
                  <a:pt x="6260465" y="1269554"/>
                </a:moveTo>
                <a:cubicBezTo>
                  <a:pt x="6278245" y="1279079"/>
                  <a:pt x="6292850" y="1250504"/>
                  <a:pt x="6274435" y="1241613"/>
                </a:cubicBezTo>
                <a:cubicBezTo>
                  <a:pt x="6256655" y="1232724"/>
                  <a:pt x="6242050" y="1260663"/>
                  <a:pt x="6260465" y="1269554"/>
                </a:cubicBezTo>
                <a:close/>
                <a:moveTo>
                  <a:pt x="6492875" y="1740088"/>
                </a:moveTo>
                <a:cubicBezTo>
                  <a:pt x="6512560" y="1740724"/>
                  <a:pt x="6523356" y="1714054"/>
                  <a:pt x="6508115" y="1700719"/>
                </a:cubicBezTo>
                <a:cubicBezTo>
                  <a:pt x="6476365" y="1674049"/>
                  <a:pt x="6451600" y="1738184"/>
                  <a:pt x="6492875" y="1740088"/>
                </a:cubicBezTo>
                <a:close/>
                <a:moveTo>
                  <a:pt x="6313805" y="1461324"/>
                </a:moveTo>
                <a:cubicBezTo>
                  <a:pt x="6285230" y="1508949"/>
                  <a:pt x="6378575" y="1502599"/>
                  <a:pt x="6343650" y="1459419"/>
                </a:cubicBezTo>
                <a:cubicBezTo>
                  <a:pt x="6343650" y="1459419"/>
                  <a:pt x="6343650" y="1459419"/>
                  <a:pt x="6343650" y="1459419"/>
                </a:cubicBezTo>
                <a:cubicBezTo>
                  <a:pt x="6334760" y="1451163"/>
                  <a:pt x="6321425" y="1452434"/>
                  <a:pt x="6313805" y="1461324"/>
                </a:cubicBezTo>
                <a:close/>
                <a:moveTo>
                  <a:pt x="6298565" y="1322259"/>
                </a:moveTo>
                <a:cubicBezTo>
                  <a:pt x="6284595" y="1341309"/>
                  <a:pt x="6314440" y="1363534"/>
                  <a:pt x="6328410" y="1343849"/>
                </a:cubicBezTo>
                <a:cubicBezTo>
                  <a:pt x="6342380" y="1324799"/>
                  <a:pt x="6311900" y="1302574"/>
                  <a:pt x="6298565" y="1322259"/>
                </a:cubicBezTo>
                <a:close/>
                <a:moveTo>
                  <a:pt x="6326505" y="1303844"/>
                </a:moveTo>
                <a:cubicBezTo>
                  <a:pt x="6331585" y="1306384"/>
                  <a:pt x="6337300" y="1306384"/>
                  <a:pt x="6341745" y="1303209"/>
                </a:cubicBezTo>
                <a:cubicBezTo>
                  <a:pt x="6334125" y="1308288"/>
                  <a:pt x="6334760" y="1320988"/>
                  <a:pt x="6343015" y="1324799"/>
                </a:cubicBezTo>
                <a:cubicBezTo>
                  <a:pt x="6346825" y="1362263"/>
                  <a:pt x="6399530" y="1327974"/>
                  <a:pt x="6366510" y="1309559"/>
                </a:cubicBezTo>
                <a:cubicBezTo>
                  <a:pt x="6376670" y="1298129"/>
                  <a:pt x="6362065" y="1280349"/>
                  <a:pt x="6349365" y="1287969"/>
                </a:cubicBezTo>
                <a:cubicBezTo>
                  <a:pt x="6343015" y="1257488"/>
                  <a:pt x="6299835" y="1287334"/>
                  <a:pt x="6326505" y="1303844"/>
                </a:cubicBezTo>
                <a:close/>
                <a:moveTo>
                  <a:pt x="6341745" y="1303844"/>
                </a:moveTo>
                <a:cubicBezTo>
                  <a:pt x="6341745" y="1303844"/>
                  <a:pt x="6341745" y="1303844"/>
                  <a:pt x="6341745" y="1303844"/>
                </a:cubicBezTo>
                <a:cubicBezTo>
                  <a:pt x="6341745" y="1303844"/>
                  <a:pt x="6341745" y="1303844"/>
                  <a:pt x="6341745" y="1303844"/>
                </a:cubicBezTo>
                <a:cubicBezTo>
                  <a:pt x="6341745" y="1303844"/>
                  <a:pt x="6341745" y="1303844"/>
                  <a:pt x="6341745" y="1303844"/>
                </a:cubicBezTo>
                <a:close/>
                <a:moveTo>
                  <a:pt x="6287135" y="1341944"/>
                </a:moveTo>
                <a:cubicBezTo>
                  <a:pt x="6267450" y="1325434"/>
                  <a:pt x="6242050" y="1357184"/>
                  <a:pt x="6262370" y="1373059"/>
                </a:cubicBezTo>
                <a:cubicBezTo>
                  <a:pt x="6282690" y="1388934"/>
                  <a:pt x="6307455" y="1357819"/>
                  <a:pt x="6287135" y="1341944"/>
                </a:cubicBezTo>
                <a:close/>
                <a:moveTo>
                  <a:pt x="6242685" y="1427034"/>
                </a:moveTo>
                <a:cubicBezTo>
                  <a:pt x="6263005" y="1445449"/>
                  <a:pt x="6291580" y="1413063"/>
                  <a:pt x="6270625" y="1395284"/>
                </a:cubicBezTo>
                <a:cubicBezTo>
                  <a:pt x="6250305" y="1376869"/>
                  <a:pt x="6221730" y="1409254"/>
                  <a:pt x="6242685" y="1427034"/>
                </a:cubicBezTo>
                <a:close/>
                <a:moveTo>
                  <a:pt x="6574156" y="1570544"/>
                </a:moveTo>
                <a:cubicBezTo>
                  <a:pt x="6554470" y="1554669"/>
                  <a:pt x="6529070" y="1585784"/>
                  <a:pt x="6550025" y="1601659"/>
                </a:cubicBezTo>
                <a:cubicBezTo>
                  <a:pt x="6569710" y="1618169"/>
                  <a:pt x="6594475" y="1586419"/>
                  <a:pt x="6574156" y="1570544"/>
                </a:cubicBezTo>
                <a:close/>
                <a:moveTo>
                  <a:pt x="6614795" y="1493074"/>
                </a:moveTo>
                <a:cubicBezTo>
                  <a:pt x="6602731" y="1511488"/>
                  <a:pt x="6631306" y="1529904"/>
                  <a:pt x="6643370" y="1511488"/>
                </a:cubicBezTo>
                <a:cubicBezTo>
                  <a:pt x="6655435" y="1493074"/>
                  <a:pt x="6626225" y="1474024"/>
                  <a:pt x="6614795" y="1493074"/>
                </a:cubicBezTo>
                <a:close/>
                <a:moveTo>
                  <a:pt x="6580506" y="1418144"/>
                </a:moveTo>
                <a:cubicBezTo>
                  <a:pt x="6583681" y="1419413"/>
                  <a:pt x="6587490" y="1419413"/>
                  <a:pt x="6590031" y="1418144"/>
                </a:cubicBezTo>
                <a:cubicBezTo>
                  <a:pt x="6590031" y="1420049"/>
                  <a:pt x="6590031" y="1421954"/>
                  <a:pt x="6590031" y="1423224"/>
                </a:cubicBezTo>
                <a:cubicBezTo>
                  <a:pt x="6549390" y="1439099"/>
                  <a:pt x="6612890" y="1476563"/>
                  <a:pt x="6607175" y="1433384"/>
                </a:cubicBezTo>
                <a:cubicBezTo>
                  <a:pt x="6626860" y="1428304"/>
                  <a:pt x="6615431" y="1397824"/>
                  <a:pt x="6597015" y="1407349"/>
                </a:cubicBezTo>
                <a:cubicBezTo>
                  <a:pt x="6597015" y="1378138"/>
                  <a:pt x="6555106" y="1403538"/>
                  <a:pt x="6580506" y="1418144"/>
                </a:cubicBezTo>
                <a:close/>
                <a:moveTo>
                  <a:pt x="6639560" y="1442274"/>
                </a:moveTo>
                <a:cubicBezTo>
                  <a:pt x="6654800" y="1449259"/>
                  <a:pt x="6664960" y="1425129"/>
                  <a:pt x="6649085" y="1418779"/>
                </a:cubicBezTo>
                <a:cubicBezTo>
                  <a:pt x="6634481" y="1412429"/>
                  <a:pt x="6624320" y="1435924"/>
                  <a:pt x="6639560" y="1442274"/>
                </a:cubicBezTo>
                <a:close/>
                <a:moveTo>
                  <a:pt x="6547485" y="1448624"/>
                </a:moveTo>
                <a:cubicBezTo>
                  <a:pt x="6535420" y="1467038"/>
                  <a:pt x="6563995" y="1485454"/>
                  <a:pt x="6576060" y="1467038"/>
                </a:cubicBezTo>
                <a:cubicBezTo>
                  <a:pt x="6588125" y="1449259"/>
                  <a:pt x="6558915" y="1430209"/>
                  <a:pt x="6547485" y="1448624"/>
                </a:cubicBezTo>
                <a:close/>
                <a:moveTo>
                  <a:pt x="6569075" y="1809304"/>
                </a:moveTo>
                <a:cubicBezTo>
                  <a:pt x="6588760" y="1809938"/>
                  <a:pt x="6599556" y="1782634"/>
                  <a:pt x="6584315" y="1769934"/>
                </a:cubicBezTo>
                <a:cubicBezTo>
                  <a:pt x="6551931" y="1743899"/>
                  <a:pt x="6527800" y="1807399"/>
                  <a:pt x="6569075" y="1809304"/>
                </a:cubicBezTo>
                <a:close/>
                <a:moveTo>
                  <a:pt x="6653531" y="1444813"/>
                </a:moveTo>
                <a:cubicBezTo>
                  <a:pt x="6650990" y="1449894"/>
                  <a:pt x="6651625" y="1456244"/>
                  <a:pt x="6655435" y="1460688"/>
                </a:cubicBezTo>
                <a:cubicBezTo>
                  <a:pt x="6609081" y="1484184"/>
                  <a:pt x="6693535" y="1510854"/>
                  <a:pt x="6668770" y="1465134"/>
                </a:cubicBezTo>
                <a:cubicBezTo>
                  <a:pt x="6695440" y="1457513"/>
                  <a:pt x="6667500" y="1421319"/>
                  <a:pt x="6653531" y="1444813"/>
                </a:cubicBezTo>
                <a:close/>
                <a:moveTo>
                  <a:pt x="6646545" y="1627059"/>
                </a:moveTo>
                <a:cubicBezTo>
                  <a:pt x="6626225" y="1611184"/>
                  <a:pt x="6602095" y="1642934"/>
                  <a:pt x="6622415" y="1658174"/>
                </a:cubicBezTo>
                <a:cubicBezTo>
                  <a:pt x="6642100" y="1674684"/>
                  <a:pt x="6666865" y="1642299"/>
                  <a:pt x="6646545" y="1627059"/>
                </a:cubicBezTo>
                <a:close/>
                <a:moveTo>
                  <a:pt x="6629400" y="1840419"/>
                </a:moveTo>
                <a:cubicBezTo>
                  <a:pt x="6609715" y="1862009"/>
                  <a:pt x="6644006" y="1892488"/>
                  <a:pt x="6663056" y="1870263"/>
                </a:cubicBezTo>
                <a:cubicBezTo>
                  <a:pt x="6682740" y="1848674"/>
                  <a:pt x="6648450" y="1818194"/>
                  <a:pt x="6629400" y="1840419"/>
                </a:cubicBezTo>
                <a:close/>
                <a:moveTo>
                  <a:pt x="6677025" y="1595944"/>
                </a:moveTo>
                <a:cubicBezTo>
                  <a:pt x="6690995" y="1576894"/>
                  <a:pt x="6660515" y="1555304"/>
                  <a:pt x="6647181" y="1574988"/>
                </a:cubicBezTo>
                <a:cubicBezTo>
                  <a:pt x="6633210" y="1594038"/>
                  <a:pt x="6663690" y="1615629"/>
                  <a:pt x="6677025" y="1595944"/>
                </a:cubicBezTo>
                <a:close/>
                <a:moveTo>
                  <a:pt x="6419215" y="1552763"/>
                </a:moveTo>
                <a:cubicBezTo>
                  <a:pt x="6437630" y="1532444"/>
                  <a:pt x="6404610" y="1503869"/>
                  <a:pt x="6387465" y="1524824"/>
                </a:cubicBezTo>
                <a:cubicBezTo>
                  <a:pt x="6369050" y="1545144"/>
                  <a:pt x="6401435" y="1573719"/>
                  <a:pt x="6419215" y="1552763"/>
                </a:cubicBezTo>
                <a:close/>
                <a:moveTo>
                  <a:pt x="6405880" y="1487359"/>
                </a:moveTo>
                <a:cubicBezTo>
                  <a:pt x="6425565" y="1503869"/>
                  <a:pt x="6450965" y="1472119"/>
                  <a:pt x="6430645" y="1456244"/>
                </a:cubicBezTo>
                <a:cubicBezTo>
                  <a:pt x="6410960" y="1440369"/>
                  <a:pt x="6385560" y="1472119"/>
                  <a:pt x="6405880" y="1487359"/>
                </a:cubicBezTo>
                <a:close/>
                <a:moveTo>
                  <a:pt x="6417310" y="1670238"/>
                </a:moveTo>
                <a:cubicBezTo>
                  <a:pt x="6436995" y="1670874"/>
                  <a:pt x="6447790" y="1644204"/>
                  <a:pt x="6432550" y="1630869"/>
                </a:cubicBezTo>
                <a:cubicBezTo>
                  <a:pt x="6400800" y="1604199"/>
                  <a:pt x="6376035" y="1668334"/>
                  <a:pt x="6417310" y="1670238"/>
                </a:cubicBezTo>
                <a:close/>
                <a:moveTo>
                  <a:pt x="6467475" y="1445449"/>
                </a:moveTo>
                <a:cubicBezTo>
                  <a:pt x="6481445" y="1426399"/>
                  <a:pt x="6451600" y="1404174"/>
                  <a:pt x="6437630" y="1423859"/>
                </a:cubicBezTo>
                <a:cubicBezTo>
                  <a:pt x="6423025" y="1442909"/>
                  <a:pt x="6453505" y="1464499"/>
                  <a:pt x="6467475" y="1445449"/>
                </a:cubicBezTo>
                <a:close/>
                <a:moveTo>
                  <a:pt x="6564631" y="1649919"/>
                </a:moveTo>
                <a:cubicBezTo>
                  <a:pt x="6543675" y="1631504"/>
                  <a:pt x="6515735" y="1664524"/>
                  <a:pt x="6537325" y="1682304"/>
                </a:cubicBezTo>
                <a:cubicBezTo>
                  <a:pt x="6557645" y="1700084"/>
                  <a:pt x="6585585" y="1667063"/>
                  <a:pt x="6564631" y="1649919"/>
                </a:cubicBezTo>
                <a:close/>
                <a:moveTo>
                  <a:pt x="6492875" y="1616263"/>
                </a:moveTo>
                <a:cubicBezTo>
                  <a:pt x="6511290" y="1595944"/>
                  <a:pt x="6478270" y="1567369"/>
                  <a:pt x="6460490" y="1588959"/>
                </a:cubicBezTo>
                <a:cubicBezTo>
                  <a:pt x="6442710" y="1609279"/>
                  <a:pt x="6475095" y="1637219"/>
                  <a:pt x="6492875" y="1616263"/>
                </a:cubicBezTo>
                <a:close/>
                <a:moveTo>
                  <a:pt x="6480175" y="1404809"/>
                </a:moveTo>
                <a:cubicBezTo>
                  <a:pt x="6468110" y="1423224"/>
                  <a:pt x="6496685" y="1441638"/>
                  <a:pt x="6508750" y="1423224"/>
                </a:cubicBezTo>
                <a:cubicBezTo>
                  <a:pt x="6520815" y="1404809"/>
                  <a:pt x="6491605" y="1386394"/>
                  <a:pt x="6480175" y="1404809"/>
                </a:cubicBezTo>
                <a:close/>
                <a:moveTo>
                  <a:pt x="6167120" y="1333054"/>
                </a:moveTo>
                <a:cubicBezTo>
                  <a:pt x="6148705" y="1353374"/>
                  <a:pt x="6181090" y="1381949"/>
                  <a:pt x="6198870" y="1360994"/>
                </a:cubicBezTo>
                <a:cubicBezTo>
                  <a:pt x="6217920" y="1340674"/>
                  <a:pt x="6184900" y="1312099"/>
                  <a:pt x="6167120" y="1333054"/>
                </a:cubicBezTo>
                <a:close/>
                <a:moveTo>
                  <a:pt x="6521450" y="1413699"/>
                </a:moveTo>
                <a:cubicBezTo>
                  <a:pt x="6530340" y="1419413"/>
                  <a:pt x="6543675" y="1413063"/>
                  <a:pt x="6544945" y="1402269"/>
                </a:cubicBezTo>
                <a:cubicBezTo>
                  <a:pt x="6565900" y="1399729"/>
                  <a:pt x="6557010" y="1367344"/>
                  <a:pt x="6537960" y="1375599"/>
                </a:cubicBezTo>
                <a:cubicBezTo>
                  <a:pt x="6528435" y="1360359"/>
                  <a:pt x="6505575" y="1377504"/>
                  <a:pt x="6517640" y="1390838"/>
                </a:cubicBezTo>
                <a:cubicBezTo>
                  <a:pt x="6511290" y="1397824"/>
                  <a:pt x="6513195" y="1409254"/>
                  <a:pt x="6521450" y="1413699"/>
                </a:cubicBezTo>
                <a:close/>
                <a:moveTo>
                  <a:pt x="5005705" y="532954"/>
                </a:moveTo>
                <a:cubicBezTo>
                  <a:pt x="5010785" y="535494"/>
                  <a:pt x="5015865" y="536763"/>
                  <a:pt x="5020945" y="536129"/>
                </a:cubicBezTo>
                <a:cubicBezTo>
                  <a:pt x="5027295" y="541209"/>
                  <a:pt x="5034915" y="542479"/>
                  <a:pt x="5042535" y="541209"/>
                </a:cubicBezTo>
                <a:cubicBezTo>
                  <a:pt x="5029835" y="550734"/>
                  <a:pt x="5031740" y="572324"/>
                  <a:pt x="5046345" y="579309"/>
                </a:cubicBezTo>
                <a:cubicBezTo>
                  <a:pt x="4991100" y="625663"/>
                  <a:pt x="5114290" y="632649"/>
                  <a:pt x="5064125" y="580579"/>
                </a:cubicBezTo>
                <a:cubicBezTo>
                  <a:pt x="5090160" y="571688"/>
                  <a:pt x="5078095" y="531049"/>
                  <a:pt x="5051425" y="537399"/>
                </a:cubicBezTo>
                <a:cubicBezTo>
                  <a:pt x="5074285" y="522158"/>
                  <a:pt x="5055870" y="484694"/>
                  <a:pt x="5029835" y="492313"/>
                </a:cubicBezTo>
                <a:cubicBezTo>
                  <a:pt x="5003165" y="475169"/>
                  <a:pt x="4978400" y="517713"/>
                  <a:pt x="5005705" y="532954"/>
                </a:cubicBezTo>
                <a:close/>
                <a:moveTo>
                  <a:pt x="4829810" y="618044"/>
                </a:moveTo>
                <a:cubicBezTo>
                  <a:pt x="4853305" y="618679"/>
                  <a:pt x="4856480" y="582484"/>
                  <a:pt x="4833620" y="578674"/>
                </a:cubicBezTo>
                <a:cubicBezTo>
                  <a:pt x="4808220" y="573594"/>
                  <a:pt x="4801235" y="613599"/>
                  <a:pt x="4826635" y="617409"/>
                </a:cubicBezTo>
                <a:lnTo>
                  <a:pt x="4826635" y="617409"/>
                </a:lnTo>
                <a:cubicBezTo>
                  <a:pt x="4827270" y="618044"/>
                  <a:pt x="4828540" y="618044"/>
                  <a:pt x="4829810" y="618044"/>
                </a:cubicBezTo>
                <a:close/>
                <a:moveTo>
                  <a:pt x="4923790" y="597724"/>
                </a:moveTo>
                <a:cubicBezTo>
                  <a:pt x="4899025" y="591374"/>
                  <a:pt x="4890135" y="630744"/>
                  <a:pt x="4914900" y="636459"/>
                </a:cubicBezTo>
                <a:cubicBezTo>
                  <a:pt x="4939665" y="642174"/>
                  <a:pt x="4949190" y="603438"/>
                  <a:pt x="4923790" y="597724"/>
                </a:cubicBezTo>
                <a:close/>
                <a:moveTo>
                  <a:pt x="4648200" y="411669"/>
                </a:moveTo>
                <a:cubicBezTo>
                  <a:pt x="4640580" y="440244"/>
                  <a:pt x="4685665" y="451038"/>
                  <a:pt x="4692015" y="422463"/>
                </a:cubicBezTo>
                <a:cubicBezTo>
                  <a:pt x="4699000" y="393888"/>
                  <a:pt x="4654550" y="383094"/>
                  <a:pt x="4648200" y="411669"/>
                </a:cubicBezTo>
                <a:close/>
                <a:moveTo>
                  <a:pt x="4831715" y="694879"/>
                </a:moveTo>
                <a:cubicBezTo>
                  <a:pt x="4855210" y="698688"/>
                  <a:pt x="4860290" y="661224"/>
                  <a:pt x="4836795" y="658684"/>
                </a:cubicBezTo>
                <a:cubicBezTo>
                  <a:pt x="4813300" y="654874"/>
                  <a:pt x="4808220" y="692338"/>
                  <a:pt x="4831715" y="694879"/>
                </a:cubicBezTo>
                <a:close/>
                <a:moveTo>
                  <a:pt x="4911090" y="481519"/>
                </a:moveTo>
                <a:cubicBezTo>
                  <a:pt x="4919980" y="486599"/>
                  <a:pt x="4932045" y="484694"/>
                  <a:pt x="4939030" y="477074"/>
                </a:cubicBezTo>
                <a:cubicBezTo>
                  <a:pt x="4991735" y="478344"/>
                  <a:pt x="4957445" y="397699"/>
                  <a:pt x="4921885" y="436433"/>
                </a:cubicBezTo>
                <a:cubicBezTo>
                  <a:pt x="4897755" y="435799"/>
                  <a:pt x="4888865" y="470724"/>
                  <a:pt x="4911090" y="481519"/>
                </a:cubicBezTo>
                <a:close/>
                <a:moveTo>
                  <a:pt x="5000625" y="723454"/>
                </a:moveTo>
                <a:cubicBezTo>
                  <a:pt x="5023485" y="728534"/>
                  <a:pt x="5031740" y="691704"/>
                  <a:pt x="5008245" y="687259"/>
                </a:cubicBezTo>
                <a:cubicBezTo>
                  <a:pt x="4984750" y="682813"/>
                  <a:pt x="4977130" y="719009"/>
                  <a:pt x="5000625" y="723454"/>
                </a:cubicBezTo>
                <a:close/>
                <a:moveTo>
                  <a:pt x="4941570" y="506919"/>
                </a:moveTo>
                <a:cubicBezTo>
                  <a:pt x="4929505" y="533588"/>
                  <a:pt x="4971415" y="552004"/>
                  <a:pt x="4982845" y="524699"/>
                </a:cubicBezTo>
                <a:cubicBezTo>
                  <a:pt x="4994910" y="498029"/>
                  <a:pt x="4952365" y="479613"/>
                  <a:pt x="4941570" y="506919"/>
                </a:cubicBezTo>
                <a:close/>
                <a:moveTo>
                  <a:pt x="5003165" y="658684"/>
                </a:moveTo>
                <a:cubicBezTo>
                  <a:pt x="5027295" y="665669"/>
                  <a:pt x="5038725" y="626934"/>
                  <a:pt x="5013325" y="620584"/>
                </a:cubicBezTo>
                <a:cubicBezTo>
                  <a:pt x="4989195" y="613599"/>
                  <a:pt x="4978400" y="652334"/>
                  <a:pt x="5003165" y="658684"/>
                </a:cubicBezTo>
                <a:close/>
                <a:moveTo>
                  <a:pt x="6147435" y="1255584"/>
                </a:moveTo>
                <a:cubicBezTo>
                  <a:pt x="6154420" y="1246694"/>
                  <a:pt x="6152515" y="1234629"/>
                  <a:pt x="6144260" y="1227644"/>
                </a:cubicBezTo>
                <a:cubicBezTo>
                  <a:pt x="6144260" y="1227644"/>
                  <a:pt x="6144260" y="1227644"/>
                  <a:pt x="6144260" y="1227644"/>
                </a:cubicBezTo>
                <a:cubicBezTo>
                  <a:pt x="6137275" y="1221929"/>
                  <a:pt x="6127115" y="1221929"/>
                  <a:pt x="6120765" y="1227644"/>
                </a:cubicBezTo>
                <a:cubicBezTo>
                  <a:pt x="6104890" y="1199069"/>
                  <a:pt x="6080125" y="1248599"/>
                  <a:pt x="6112510" y="1244154"/>
                </a:cubicBezTo>
                <a:cubicBezTo>
                  <a:pt x="6111875" y="1261299"/>
                  <a:pt x="6136640" y="1270188"/>
                  <a:pt x="6147435" y="1255584"/>
                </a:cubicBezTo>
                <a:close/>
                <a:moveTo>
                  <a:pt x="4863465" y="557084"/>
                </a:moveTo>
                <a:cubicBezTo>
                  <a:pt x="4889500" y="564704"/>
                  <a:pt x="4901565" y="523429"/>
                  <a:pt x="4874895" y="516444"/>
                </a:cubicBezTo>
                <a:cubicBezTo>
                  <a:pt x="4848225" y="508824"/>
                  <a:pt x="4836795" y="550099"/>
                  <a:pt x="4863465" y="557084"/>
                </a:cubicBezTo>
                <a:close/>
                <a:moveTo>
                  <a:pt x="4658360" y="491044"/>
                </a:moveTo>
                <a:cubicBezTo>
                  <a:pt x="4653280" y="517713"/>
                  <a:pt x="4695825" y="525334"/>
                  <a:pt x="4700270" y="498029"/>
                </a:cubicBezTo>
                <a:cubicBezTo>
                  <a:pt x="4704715" y="470724"/>
                  <a:pt x="4662170" y="463738"/>
                  <a:pt x="4658360" y="491044"/>
                </a:cubicBezTo>
                <a:close/>
                <a:moveTo>
                  <a:pt x="4715510" y="393254"/>
                </a:moveTo>
                <a:cubicBezTo>
                  <a:pt x="4733925" y="401508"/>
                  <a:pt x="4754880" y="379919"/>
                  <a:pt x="4745990" y="361504"/>
                </a:cubicBezTo>
                <a:cubicBezTo>
                  <a:pt x="4819015" y="337374"/>
                  <a:pt x="4705985" y="271333"/>
                  <a:pt x="4721225" y="346899"/>
                </a:cubicBezTo>
                <a:cubicBezTo>
                  <a:pt x="4697730" y="348804"/>
                  <a:pt x="4692015" y="385633"/>
                  <a:pt x="4715510" y="393254"/>
                </a:cubicBezTo>
                <a:close/>
                <a:moveTo>
                  <a:pt x="4845685" y="469454"/>
                </a:moveTo>
                <a:cubicBezTo>
                  <a:pt x="4834890" y="496758"/>
                  <a:pt x="4878070" y="512633"/>
                  <a:pt x="4888230" y="485329"/>
                </a:cubicBezTo>
                <a:cubicBezTo>
                  <a:pt x="4898390" y="458024"/>
                  <a:pt x="4855210" y="442149"/>
                  <a:pt x="4845685" y="469454"/>
                </a:cubicBezTo>
                <a:close/>
                <a:moveTo>
                  <a:pt x="4747260" y="437704"/>
                </a:moveTo>
                <a:cubicBezTo>
                  <a:pt x="4738370" y="465644"/>
                  <a:pt x="4782185" y="478979"/>
                  <a:pt x="4790440" y="451038"/>
                </a:cubicBezTo>
                <a:cubicBezTo>
                  <a:pt x="4799965" y="423099"/>
                  <a:pt x="4755515" y="409129"/>
                  <a:pt x="4747260" y="437704"/>
                </a:cubicBezTo>
                <a:close/>
                <a:moveTo>
                  <a:pt x="4649470" y="553909"/>
                </a:moveTo>
                <a:cubicBezTo>
                  <a:pt x="4624070" y="551369"/>
                  <a:pt x="4620260" y="591374"/>
                  <a:pt x="4645660" y="593279"/>
                </a:cubicBezTo>
                <a:cubicBezTo>
                  <a:pt x="4671695" y="595819"/>
                  <a:pt x="4675505" y="555813"/>
                  <a:pt x="4649470" y="553909"/>
                </a:cubicBezTo>
                <a:close/>
                <a:moveTo>
                  <a:pt x="4814570" y="434529"/>
                </a:moveTo>
                <a:cubicBezTo>
                  <a:pt x="4827905" y="440879"/>
                  <a:pt x="4845685" y="431988"/>
                  <a:pt x="4848225" y="416749"/>
                </a:cubicBezTo>
                <a:cubicBezTo>
                  <a:pt x="4907280" y="400874"/>
                  <a:pt x="4832985" y="329754"/>
                  <a:pt x="4819650" y="389444"/>
                </a:cubicBezTo>
                <a:cubicBezTo>
                  <a:pt x="4797425" y="393254"/>
                  <a:pt x="4793615" y="426274"/>
                  <a:pt x="4814570" y="434529"/>
                </a:cubicBezTo>
                <a:close/>
                <a:moveTo>
                  <a:pt x="4779010" y="492313"/>
                </a:moveTo>
                <a:cubicBezTo>
                  <a:pt x="4749165" y="485963"/>
                  <a:pt x="4744085" y="534224"/>
                  <a:pt x="4774565" y="534224"/>
                </a:cubicBezTo>
                <a:cubicBezTo>
                  <a:pt x="4798695" y="534859"/>
                  <a:pt x="4803775" y="497394"/>
                  <a:pt x="4779010" y="492313"/>
                </a:cubicBezTo>
                <a:close/>
                <a:moveTo>
                  <a:pt x="4747260" y="685354"/>
                </a:moveTo>
                <a:cubicBezTo>
                  <a:pt x="4770755" y="687894"/>
                  <a:pt x="4774565" y="651063"/>
                  <a:pt x="4750435" y="648524"/>
                </a:cubicBezTo>
                <a:cubicBezTo>
                  <a:pt x="4726940" y="645984"/>
                  <a:pt x="4723765" y="683449"/>
                  <a:pt x="4747260" y="685354"/>
                </a:cubicBezTo>
                <a:close/>
                <a:moveTo>
                  <a:pt x="4968875" y="545019"/>
                </a:moveTo>
                <a:cubicBezTo>
                  <a:pt x="4942840" y="536129"/>
                  <a:pt x="4929505" y="576769"/>
                  <a:pt x="4955540" y="585024"/>
                </a:cubicBezTo>
                <a:cubicBezTo>
                  <a:pt x="4980940" y="594549"/>
                  <a:pt x="4994910" y="553274"/>
                  <a:pt x="4968875" y="545019"/>
                </a:cubicBezTo>
                <a:close/>
                <a:moveTo>
                  <a:pt x="5702300" y="1018094"/>
                </a:moveTo>
                <a:cubicBezTo>
                  <a:pt x="5678170" y="1018729"/>
                  <a:pt x="5671185" y="1054288"/>
                  <a:pt x="5693410" y="1063813"/>
                </a:cubicBezTo>
                <a:cubicBezTo>
                  <a:pt x="5691505" y="1087309"/>
                  <a:pt x="5729605" y="1080959"/>
                  <a:pt x="5720080" y="1059369"/>
                </a:cubicBezTo>
                <a:cubicBezTo>
                  <a:pt x="5726430" y="1053654"/>
                  <a:pt x="5728335" y="1045399"/>
                  <a:pt x="5727065" y="1037779"/>
                </a:cubicBezTo>
                <a:cubicBezTo>
                  <a:pt x="5749925" y="1050479"/>
                  <a:pt x="5772150" y="1016824"/>
                  <a:pt x="5751830" y="1000313"/>
                </a:cubicBezTo>
                <a:cubicBezTo>
                  <a:pt x="5748655" y="997774"/>
                  <a:pt x="5745480" y="996504"/>
                  <a:pt x="5741670" y="995869"/>
                </a:cubicBezTo>
                <a:cubicBezTo>
                  <a:pt x="5742305" y="995234"/>
                  <a:pt x="5742940" y="995234"/>
                  <a:pt x="5743575" y="994599"/>
                </a:cubicBezTo>
                <a:cubicBezTo>
                  <a:pt x="5780405" y="1020634"/>
                  <a:pt x="5788660" y="945704"/>
                  <a:pt x="5747385" y="962849"/>
                </a:cubicBezTo>
                <a:cubicBezTo>
                  <a:pt x="5738495" y="939988"/>
                  <a:pt x="5709285" y="952054"/>
                  <a:pt x="5710555" y="973644"/>
                </a:cubicBezTo>
                <a:cubicBezTo>
                  <a:pt x="5701030" y="981263"/>
                  <a:pt x="5702935" y="997774"/>
                  <a:pt x="5715000" y="1002219"/>
                </a:cubicBezTo>
                <a:lnTo>
                  <a:pt x="5715000" y="1002219"/>
                </a:lnTo>
                <a:cubicBezTo>
                  <a:pt x="5716905" y="1002854"/>
                  <a:pt x="5718810" y="1003488"/>
                  <a:pt x="5720715" y="1003488"/>
                </a:cubicBezTo>
                <a:cubicBezTo>
                  <a:pt x="5720080" y="1004124"/>
                  <a:pt x="5719445" y="1005394"/>
                  <a:pt x="5718810" y="1006029"/>
                </a:cubicBezTo>
                <a:cubicBezTo>
                  <a:pt x="5711190" y="1004759"/>
                  <a:pt x="5703570" y="1010474"/>
                  <a:pt x="5702300" y="1018094"/>
                </a:cubicBezTo>
                <a:close/>
                <a:moveTo>
                  <a:pt x="5913755" y="1172399"/>
                </a:moveTo>
                <a:cubicBezTo>
                  <a:pt x="5908675" y="1188274"/>
                  <a:pt x="5934075" y="1195259"/>
                  <a:pt x="5937885" y="1179384"/>
                </a:cubicBezTo>
                <a:cubicBezTo>
                  <a:pt x="5942965" y="1163509"/>
                  <a:pt x="5918200" y="1156524"/>
                  <a:pt x="5913755" y="1172399"/>
                </a:cubicBezTo>
                <a:close/>
                <a:moveTo>
                  <a:pt x="5773420" y="1040319"/>
                </a:moveTo>
                <a:cubicBezTo>
                  <a:pt x="5767070" y="1056829"/>
                  <a:pt x="5791200" y="1069529"/>
                  <a:pt x="5800725" y="1054288"/>
                </a:cubicBezTo>
                <a:cubicBezTo>
                  <a:pt x="5809615" y="1058099"/>
                  <a:pt x="5821045" y="1055559"/>
                  <a:pt x="5826760" y="1046669"/>
                </a:cubicBezTo>
                <a:cubicBezTo>
                  <a:pt x="5864225" y="1058734"/>
                  <a:pt x="5859145" y="993329"/>
                  <a:pt x="5824220" y="1011744"/>
                </a:cubicBezTo>
                <a:cubicBezTo>
                  <a:pt x="5829935" y="990154"/>
                  <a:pt x="5795645" y="979994"/>
                  <a:pt x="5789295" y="1001584"/>
                </a:cubicBezTo>
                <a:cubicBezTo>
                  <a:pt x="5777230" y="1005394"/>
                  <a:pt x="5774690" y="1023174"/>
                  <a:pt x="5784850" y="1030794"/>
                </a:cubicBezTo>
                <a:cubicBezTo>
                  <a:pt x="5779770" y="1032063"/>
                  <a:pt x="5775325" y="1035238"/>
                  <a:pt x="5773420" y="1040319"/>
                </a:cubicBezTo>
                <a:close/>
                <a:moveTo>
                  <a:pt x="5259070" y="753299"/>
                </a:moveTo>
                <a:cubicBezTo>
                  <a:pt x="5236210" y="745679"/>
                  <a:pt x="5225415" y="781874"/>
                  <a:pt x="5248275" y="788224"/>
                </a:cubicBezTo>
                <a:cubicBezTo>
                  <a:pt x="5270500" y="795844"/>
                  <a:pt x="5281930" y="759649"/>
                  <a:pt x="5259070" y="753299"/>
                </a:cubicBezTo>
                <a:close/>
                <a:moveTo>
                  <a:pt x="5250180" y="720279"/>
                </a:moveTo>
                <a:cubicBezTo>
                  <a:pt x="5241925" y="739329"/>
                  <a:pt x="5268595" y="757109"/>
                  <a:pt x="5282565" y="741234"/>
                </a:cubicBezTo>
                <a:cubicBezTo>
                  <a:pt x="5292090" y="759649"/>
                  <a:pt x="5321300" y="757744"/>
                  <a:pt x="5328285" y="738059"/>
                </a:cubicBezTo>
                <a:cubicBezTo>
                  <a:pt x="5358130" y="724724"/>
                  <a:pt x="5347970" y="674559"/>
                  <a:pt x="5313045" y="690434"/>
                </a:cubicBezTo>
                <a:cubicBezTo>
                  <a:pt x="5309870" y="645984"/>
                  <a:pt x="5242560" y="675194"/>
                  <a:pt x="5272405" y="708213"/>
                </a:cubicBezTo>
                <a:cubicBezTo>
                  <a:pt x="5263515" y="706309"/>
                  <a:pt x="5253990" y="710754"/>
                  <a:pt x="5250180" y="720279"/>
                </a:cubicBezTo>
                <a:close/>
                <a:moveTo>
                  <a:pt x="5283835" y="714563"/>
                </a:moveTo>
                <a:cubicBezTo>
                  <a:pt x="5283835" y="714563"/>
                  <a:pt x="5283835" y="714563"/>
                  <a:pt x="5283835" y="714563"/>
                </a:cubicBezTo>
                <a:cubicBezTo>
                  <a:pt x="5283835" y="714563"/>
                  <a:pt x="5283835" y="714563"/>
                  <a:pt x="5283835" y="714563"/>
                </a:cubicBezTo>
                <a:cubicBezTo>
                  <a:pt x="5283835" y="714563"/>
                  <a:pt x="5283835" y="714563"/>
                  <a:pt x="5283835" y="714563"/>
                </a:cubicBezTo>
                <a:close/>
                <a:moveTo>
                  <a:pt x="6687185" y="1559749"/>
                </a:moveTo>
                <a:cubicBezTo>
                  <a:pt x="6705600" y="1571813"/>
                  <a:pt x="6724015" y="1542604"/>
                  <a:pt x="6705600" y="1531174"/>
                </a:cubicBezTo>
                <a:cubicBezTo>
                  <a:pt x="6687185" y="1519109"/>
                  <a:pt x="6668770" y="1548319"/>
                  <a:pt x="6687185" y="1559749"/>
                </a:cubicBezTo>
                <a:close/>
                <a:moveTo>
                  <a:pt x="6094095" y="1268919"/>
                </a:moveTo>
                <a:cubicBezTo>
                  <a:pt x="6075680" y="1289238"/>
                  <a:pt x="6108065" y="1317813"/>
                  <a:pt x="6125845" y="1296859"/>
                </a:cubicBezTo>
                <a:cubicBezTo>
                  <a:pt x="6144260" y="1276538"/>
                  <a:pt x="6111875" y="1247963"/>
                  <a:pt x="6094095" y="1268919"/>
                </a:cubicBezTo>
                <a:close/>
                <a:moveTo>
                  <a:pt x="5969000" y="1120963"/>
                </a:moveTo>
                <a:cubicBezTo>
                  <a:pt x="5965825" y="1125409"/>
                  <a:pt x="5965190" y="1129854"/>
                  <a:pt x="5965190" y="1134934"/>
                </a:cubicBezTo>
                <a:cubicBezTo>
                  <a:pt x="5965190" y="1134934"/>
                  <a:pt x="5964555" y="1134934"/>
                  <a:pt x="5964555" y="1134934"/>
                </a:cubicBezTo>
                <a:cubicBezTo>
                  <a:pt x="5904230" y="1138744"/>
                  <a:pt x="5973445" y="1214309"/>
                  <a:pt x="5982335" y="1154619"/>
                </a:cubicBezTo>
                <a:cubicBezTo>
                  <a:pt x="5982970" y="1153984"/>
                  <a:pt x="5983605" y="1153349"/>
                  <a:pt x="5983605" y="1152079"/>
                </a:cubicBezTo>
                <a:cubicBezTo>
                  <a:pt x="5990590" y="1152713"/>
                  <a:pt x="5998210" y="1148904"/>
                  <a:pt x="6001385" y="1142554"/>
                </a:cubicBezTo>
                <a:cubicBezTo>
                  <a:pt x="6003925" y="1141919"/>
                  <a:pt x="6005830" y="1140649"/>
                  <a:pt x="6007100" y="1138744"/>
                </a:cubicBezTo>
                <a:cubicBezTo>
                  <a:pt x="6008370" y="1138744"/>
                  <a:pt x="6009005" y="1139379"/>
                  <a:pt x="6009640" y="1139379"/>
                </a:cubicBezTo>
                <a:cubicBezTo>
                  <a:pt x="6019800" y="1185099"/>
                  <a:pt x="6074410" y="1127313"/>
                  <a:pt x="6028055" y="1119694"/>
                </a:cubicBezTo>
                <a:cubicBezTo>
                  <a:pt x="6026150" y="1105088"/>
                  <a:pt x="6005195" y="1100644"/>
                  <a:pt x="5997575" y="1112709"/>
                </a:cubicBezTo>
                <a:cubicBezTo>
                  <a:pt x="5995035" y="1112709"/>
                  <a:pt x="5992495" y="1112709"/>
                  <a:pt x="5990590" y="1113344"/>
                </a:cubicBezTo>
                <a:cubicBezTo>
                  <a:pt x="5983605" y="1111438"/>
                  <a:pt x="5974715" y="1113979"/>
                  <a:pt x="5969000" y="1120963"/>
                </a:cubicBezTo>
                <a:close/>
                <a:moveTo>
                  <a:pt x="5852795" y="1057463"/>
                </a:moveTo>
                <a:cubicBezTo>
                  <a:pt x="5839460" y="1061909"/>
                  <a:pt x="5839460" y="1081594"/>
                  <a:pt x="5852795" y="1086674"/>
                </a:cubicBezTo>
                <a:lnTo>
                  <a:pt x="5852795" y="1086674"/>
                </a:lnTo>
                <a:cubicBezTo>
                  <a:pt x="5858510" y="1088579"/>
                  <a:pt x="5864860" y="1087309"/>
                  <a:pt x="5869305" y="1083499"/>
                </a:cubicBezTo>
                <a:cubicBezTo>
                  <a:pt x="5851525" y="1110804"/>
                  <a:pt x="5900420" y="1131759"/>
                  <a:pt x="5907405" y="1099374"/>
                </a:cubicBezTo>
                <a:cubicBezTo>
                  <a:pt x="5909310" y="1099374"/>
                  <a:pt x="5910580" y="1100009"/>
                  <a:pt x="5912485" y="1099374"/>
                </a:cubicBezTo>
                <a:cubicBezTo>
                  <a:pt x="5911215" y="1115884"/>
                  <a:pt x="5937250" y="1121599"/>
                  <a:pt x="5942330" y="1105088"/>
                </a:cubicBezTo>
                <a:cubicBezTo>
                  <a:pt x="5969000" y="1131759"/>
                  <a:pt x="5991225" y="1072704"/>
                  <a:pt x="5953760" y="1075244"/>
                </a:cubicBezTo>
                <a:cubicBezTo>
                  <a:pt x="5948045" y="1068259"/>
                  <a:pt x="5935980" y="1067624"/>
                  <a:pt x="5929630" y="1073974"/>
                </a:cubicBezTo>
                <a:cubicBezTo>
                  <a:pt x="5924550" y="1055559"/>
                  <a:pt x="5896610" y="1056194"/>
                  <a:pt x="5892165" y="1074609"/>
                </a:cubicBezTo>
                <a:cubicBezTo>
                  <a:pt x="5885180" y="1072704"/>
                  <a:pt x="5876925" y="1075244"/>
                  <a:pt x="5871845" y="1080324"/>
                </a:cubicBezTo>
                <a:cubicBezTo>
                  <a:pt x="5874385" y="1076513"/>
                  <a:pt x="5875020" y="1071434"/>
                  <a:pt x="5873750" y="1067624"/>
                </a:cubicBezTo>
                <a:cubicBezTo>
                  <a:pt x="5874385" y="1067624"/>
                  <a:pt x="5875020" y="1066988"/>
                  <a:pt x="5876290" y="1066354"/>
                </a:cubicBezTo>
                <a:cubicBezTo>
                  <a:pt x="5911850" y="1077784"/>
                  <a:pt x="5904865" y="1015554"/>
                  <a:pt x="5872480" y="1034604"/>
                </a:cubicBezTo>
                <a:cubicBezTo>
                  <a:pt x="5859145" y="1031429"/>
                  <a:pt x="5847080" y="1046034"/>
                  <a:pt x="5852795" y="1057463"/>
                </a:cubicBezTo>
                <a:close/>
                <a:moveTo>
                  <a:pt x="5097780" y="588834"/>
                </a:moveTo>
                <a:cubicBezTo>
                  <a:pt x="5099685" y="590104"/>
                  <a:pt x="5102225" y="590738"/>
                  <a:pt x="5104130" y="591374"/>
                </a:cubicBezTo>
                <a:cubicBezTo>
                  <a:pt x="5106670" y="600899"/>
                  <a:pt x="5116195" y="608519"/>
                  <a:pt x="5125720" y="609154"/>
                </a:cubicBezTo>
                <a:cubicBezTo>
                  <a:pt x="5126355" y="612963"/>
                  <a:pt x="5127625" y="616138"/>
                  <a:pt x="5130165" y="619313"/>
                </a:cubicBezTo>
                <a:cubicBezTo>
                  <a:pt x="5097145" y="659954"/>
                  <a:pt x="5184140" y="670749"/>
                  <a:pt x="5161915" y="623124"/>
                </a:cubicBezTo>
                <a:cubicBezTo>
                  <a:pt x="5176520" y="612329"/>
                  <a:pt x="5171440" y="587563"/>
                  <a:pt x="5153660" y="583754"/>
                </a:cubicBezTo>
                <a:cubicBezTo>
                  <a:pt x="5153660" y="572324"/>
                  <a:pt x="5144770" y="560894"/>
                  <a:pt x="5132705" y="558988"/>
                </a:cubicBezTo>
                <a:cubicBezTo>
                  <a:pt x="5114925" y="521524"/>
                  <a:pt x="5063490" y="565338"/>
                  <a:pt x="5097780" y="588834"/>
                </a:cubicBezTo>
                <a:close/>
                <a:moveTo>
                  <a:pt x="5106035" y="728534"/>
                </a:moveTo>
                <a:cubicBezTo>
                  <a:pt x="5111750" y="705674"/>
                  <a:pt x="5075555" y="696784"/>
                  <a:pt x="5070475" y="719644"/>
                </a:cubicBezTo>
                <a:cubicBezTo>
                  <a:pt x="5064125" y="743138"/>
                  <a:pt x="5100320" y="752029"/>
                  <a:pt x="5106035" y="728534"/>
                </a:cubicBezTo>
                <a:close/>
                <a:moveTo>
                  <a:pt x="5111115" y="779969"/>
                </a:moveTo>
                <a:cubicBezTo>
                  <a:pt x="5102225" y="778063"/>
                  <a:pt x="5092700" y="783779"/>
                  <a:pt x="5091430" y="793304"/>
                </a:cubicBezTo>
                <a:cubicBezTo>
                  <a:pt x="5090160" y="837754"/>
                  <a:pt x="5152390" y="795844"/>
                  <a:pt x="5111115" y="779969"/>
                </a:cubicBezTo>
                <a:close/>
                <a:moveTo>
                  <a:pt x="5090160" y="684084"/>
                </a:moveTo>
                <a:lnTo>
                  <a:pt x="5090160" y="684084"/>
                </a:lnTo>
                <a:cubicBezTo>
                  <a:pt x="5114290" y="692338"/>
                  <a:pt x="5126990" y="653604"/>
                  <a:pt x="5102225" y="646619"/>
                </a:cubicBezTo>
                <a:cubicBezTo>
                  <a:pt x="5078095" y="638363"/>
                  <a:pt x="5065395" y="677099"/>
                  <a:pt x="5090160" y="684084"/>
                </a:cubicBezTo>
                <a:close/>
                <a:moveTo>
                  <a:pt x="5182870" y="714563"/>
                </a:moveTo>
                <a:cubicBezTo>
                  <a:pt x="5204460" y="715199"/>
                  <a:pt x="5210175" y="682813"/>
                  <a:pt x="5189220" y="676463"/>
                </a:cubicBezTo>
                <a:cubicBezTo>
                  <a:pt x="5161280" y="666304"/>
                  <a:pt x="5153025" y="714563"/>
                  <a:pt x="5182870" y="714563"/>
                </a:cubicBezTo>
                <a:close/>
                <a:moveTo>
                  <a:pt x="5153660" y="741234"/>
                </a:moveTo>
                <a:cubicBezTo>
                  <a:pt x="5146675" y="764094"/>
                  <a:pt x="5182870" y="774254"/>
                  <a:pt x="5189220" y="750759"/>
                </a:cubicBezTo>
                <a:cubicBezTo>
                  <a:pt x="5195570" y="728534"/>
                  <a:pt x="5159375" y="718374"/>
                  <a:pt x="5153660" y="741234"/>
                </a:cubicBezTo>
                <a:close/>
                <a:moveTo>
                  <a:pt x="5187315" y="647888"/>
                </a:moveTo>
                <a:cubicBezTo>
                  <a:pt x="5189220" y="649159"/>
                  <a:pt x="5190490" y="649794"/>
                  <a:pt x="5192395" y="650429"/>
                </a:cubicBezTo>
                <a:cubicBezTo>
                  <a:pt x="5189855" y="663129"/>
                  <a:pt x="5198745" y="677099"/>
                  <a:pt x="5211445" y="679638"/>
                </a:cubicBezTo>
                <a:cubicBezTo>
                  <a:pt x="5216525" y="705674"/>
                  <a:pt x="5257800" y="698054"/>
                  <a:pt x="5252720" y="672019"/>
                </a:cubicBezTo>
                <a:cubicBezTo>
                  <a:pt x="5268595" y="656779"/>
                  <a:pt x="5252085" y="628204"/>
                  <a:pt x="5231130" y="634554"/>
                </a:cubicBezTo>
                <a:cubicBezTo>
                  <a:pt x="5229225" y="633284"/>
                  <a:pt x="5226685" y="632013"/>
                  <a:pt x="5224145" y="631379"/>
                </a:cubicBezTo>
                <a:cubicBezTo>
                  <a:pt x="5225415" y="579944"/>
                  <a:pt x="5147945" y="615504"/>
                  <a:pt x="5187315" y="647888"/>
                </a:cubicBezTo>
                <a:close/>
                <a:moveTo>
                  <a:pt x="5182870" y="829499"/>
                </a:moveTo>
                <a:cubicBezTo>
                  <a:pt x="5203825" y="834579"/>
                  <a:pt x="5212080" y="800924"/>
                  <a:pt x="5190490" y="796479"/>
                </a:cubicBezTo>
                <a:cubicBezTo>
                  <a:pt x="5168900" y="791399"/>
                  <a:pt x="5161280" y="825054"/>
                  <a:pt x="5182870" y="829499"/>
                </a:cubicBezTo>
                <a:close/>
                <a:moveTo>
                  <a:pt x="4922520" y="671384"/>
                </a:moveTo>
                <a:cubicBezTo>
                  <a:pt x="4899025" y="666938"/>
                  <a:pt x="4892675" y="703769"/>
                  <a:pt x="4916170" y="707579"/>
                </a:cubicBezTo>
                <a:cubicBezTo>
                  <a:pt x="4939665" y="712024"/>
                  <a:pt x="4946015" y="675194"/>
                  <a:pt x="4922520" y="671384"/>
                </a:cubicBezTo>
                <a:close/>
                <a:moveTo>
                  <a:pt x="7166610" y="1664524"/>
                </a:moveTo>
                <a:cubicBezTo>
                  <a:pt x="7181850" y="1670874"/>
                  <a:pt x="7191375" y="1646744"/>
                  <a:pt x="7175500" y="1641029"/>
                </a:cubicBezTo>
                <a:cubicBezTo>
                  <a:pt x="7160260" y="1634679"/>
                  <a:pt x="7150735" y="1658809"/>
                  <a:pt x="7166610" y="1664524"/>
                </a:cubicBezTo>
                <a:close/>
                <a:moveTo>
                  <a:pt x="7169150" y="1755963"/>
                </a:moveTo>
                <a:cubicBezTo>
                  <a:pt x="7159625" y="1773744"/>
                  <a:pt x="7188200" y="1788349"/>
                  <a:pt x="7197090" y="1769934"/>
                </a:cubicBezTo>
                <a:cubicBezTo>
                  <a:pt x="7206615" y="1752154"/>
                  <a:pt x="7178040" y="1737549"/>
                  <a:pt x="7169150" y="1755963"/>
                </a:cubicBezTo>
                <a:close/>
                <a:moveTo>
                  <a:pt x="7186295" y="1822638"/>
                </a:moveTo>
                <a:cubicBezTo>
                  <a:pt x="7167245" y="1811844"/>
                  <a:pt x="7150100" y="1841688"/>
                  <a:pt x="7169785" y="1851849"/>
                </a:cubicBezTo>
                <a:cubicBezTo>
                  <a:pt x="7188835" y="1862644"/>
                  <a:pt x="7205981" y="1832799"/>
                  <a:pt x="7186295" y="1822638"/>
                </a:cubicBezTo>
                <a:close/>
                <a:moveTo>
                  <a:pt x="7157720" y="1705799"/>
                </a:moveTo>
                <a:cubicBezTo>
                  <a:pt x="7174231" y="1713419"/>
                  <a:pt x="7186295" y="1687384"/>
                  <a:pt x="7169150" y="1679763"/>
                </a:cubicBezTo>
                <a:cubicBezTo>
                  <a:pt x="7152640" y="1672779"/>
                  <a:pt x="7140575" y="1698813"/>
                  <a:pt x="7157720" y="1705799"/>
                </a:cubicBezTo>
                <a:close/>
                <a:moveTo>
                  <a:pt x="7122795" y="1806129"/>
                </a:moveTo>
                <a:cubicBezTo>
                  <a:pt x="7134225" y="1787079"/>
                  <a:pt x="7104381" y="1769934"/>
                  <a:pt x="7093585" y="1788984"/>
                </a:cubicBezTo>
                <a:cubicBezTo>
                  <a:pt x="7082156" y="1808034"/>
                  <a:pt x="7112000" y="1825179"/>
                  <a:pt x="7122795" y="1806129"/>
                </a:cubicBezTo>
                <a:close/>
                <a:moveTo>
                  <a:pt x="7221220" y="2085529"/>
                </a:moveTo>
                <a:cubicBezTo>
                  <a:pt x="7242810" y="2099499"/>
                  <a:pt x="7264400" y="2065209"/>
                  <a:pt x="7242175" y="2051874"/>
                </a:cubicBezTo>
                <a:cubicBezTo>
                  <a:pt x="7221220" y="2038538"/>
                  <a:pt x="7199631" y="2072194"/>
                  <a:pt x="7221220" y="2085529"/>
                </a:cubicBezTo>
                <a:close/>
                <a:moveTo>
                  <a:pt x="7115175" y="2261424"/>
                </a:moveTo>
                <a:cubicBezTo>
                  <a:pt x="7138670" y="2278569"/>
                  <a:pt x="7165340" y="2241104"/>
                  <a:pt x="7141210" y="2224594"/>
                </a:cubicBezTo>
                <a:cubicBezTo>
                  <a:pt x="7117715" y="2207449"/>
                  <a:pt x="7091045" y="2244914"/>
                  <a:pt x="7115175" y="2261424"/>
                </a:cubicBezTo>
                <a:close/>
                <a:moveTo>
                  <a:pt x="7193915" y="2288729"/>
                </a:moveTo>
                <a:cubicBezTo>
                  <a:pt x="7169785" y="2342704"/>
                  <a:pt x="7268210" y="2323654"/>
                  <a:pt x="7225031" y="2282379"/>
                </a:cubicBezTo>
                <a:cubicBezTo>
                  <a:pt x="7225031" y="2282379"/>
                  <a:pt x="7225031" y="2282379"/>
                  <a:pt x="7225031" y="2282379"/>
                </a:cubicBezTo>
                <a:cubicBezTo>
                  <a:pt x="7214870" y="2276029"/>
                  <a:pt x="7200900" y="2278569"/>
                  <a:pt x="7193915" y="2288729"/>
                </a:cubicBezTo>
                <a:close/>
                <a:moveTo>
                  <a:pt x="7154545" y="1935669"/>
                </a:moveTo>
                <a:cubicBezTo>
                  <a:pt x="7174231" y="1948369"/>
                  <a:pt x="7193915" y="1916619"/>
                  <a:pt x="7173595" y="1904554"/>
                </a:cubicBezTo>
                <a:cubicBezTo>
                  <a:pt x="7153275" y="1891854"/>
                  <a:pt x="7133590" y="1923604"/>
                  <a:pt x="7154545" y="1935669"/>
                </a:cubicBezTo>
                <a:close/>
                <a:moveTo>
                  <a:pt x="7154545" y="2161094"/>
                </a:moveTo>
                <a:cubicBezTo>
                  <a:pt x="7176770" y="2176969"/>
                  <a:pt x="7201535" y="2141409"/>
                  <a:pt x="7178040" y="2126169"/>
                </a:cubicBezTo>
                <a:cubicBezTo>
                  <a:pt x="7155815" y="2110294"/>
                  <a:pt x="7131050" y="2146489"/>
                  <a:pt x="7154545" y="2161094"/>
                </a:cubicBezTo>
                <a:close/>
                <a:moveTo>
                  <a:pt x="6860540" y="1573719"/>
                </a:moveTo>
                <a:cubicBezTo>
                  <a:pt x="6852920" y="1569274"/>
                  <a:pt x="6843395" y="1572449"/>
                  <a:pt x="6839585" y="1579434"/>
                </a:cubicBezTo>
                <a:cubicBezTo>
                  <a:pt x="6826250" y="1618169"/>
                  <a:pt x="6892290" y="1599119"/>
                  <a:pt x="6860540" y="1573719"/>
                </a:cubicBezTo>
                <a:close/>
                <a:moveTo>
                  <a:pt x="6859270" y="1722944"/>
                </a:moveTo>
                <a:cubicBezTo>
                  <a:pt x="6845935" y="1742629"/>
                  <a:pt x="6876415" y="1763584"/>
                  <a:pt x="6889750" y="1743263"/>
                </a:cubicBezTo>
                <a:cubicBezTo>
                  <a:pt x="6903720" y="1724213"/>
                  <a:pt x="6872606" y="1703259"/>
                  <a:pt x="6859270" y="1722944"/>
                </a:cubicBezTo>
                <a:close/>
                <a:moveTo>
                  <a:pt x="6837681" y="1797874"/>
                </a:moveTo>
                <a:cubicBezTo>
                  <a:pt x="6814820" y="1844229"/>
                  <a:pt x="6901181" y="1830894"/>
                  <a:pt x="6865620" y="1793429"/>
                </a:cubicBezTo>
                <a:cubicBezTo>
                  <a:pt x="6865620" y="1793429"/>
                  <a:pt x="6865620" y="1793429"/>
                  <a:pt x="6865620" y="1793429"/>
                </a:cubicBezTo>
                <a:cubicBezTo>
                  <a:pt x="6856731" y="1787079"/>
                  <a:pt x="6844031" y="1788984"/>
                  <a:pt x="6837681" y="1797874"/>
                </a:cubicBezTo>
                <a:close/>
                <a:moveTo>
                  <a:pt x="6838950" y="1929954"/>
                </a:moveTo>
                <a:lnTo>
                  <a:pt x="6838950" y="1929954"/>
                </a:lnTo>
                <a:cubicBezTo>
                  <a:pt x="6860540" y="1947099"/>
                  <a:pt x="6887210" y="1913444"/>
                  <a:pt x="6864985" y="1896299"/>
                </a:cubicBezTo>
                <a:cubicBezTo>
                  <a:pt x="6844031" y="1879154"/>
                  <a:pt x="6817360" y="1913444"/>
                  <a:pt x="6838950" y="1929954"/>
                </a:cubicBezTo>
                <a:close/>
                <a:moveTo>
                  <a:pt x="7094856" y="1677224"/>
                </a:moveTo>
                <a:cubicBezTo>
                  <a:pt x="7111365" y="1684844"/>
                  <a:pt x="7123431" y="1658809"/>
                  <a:pt x="7106920" y="1651824"/>
                </a:cubicBezTo>
                <a:cubicBezTo>
                  <a:pt x="7089775" y="1643569"/>
                  <a:pt x="7077710" y="1669604"/>
                  <a:pt x="7094856" y="1677224"/>
                </a:cubicBezTo>
                <a:close/>
                <a:moveTo>
                  <a:pt x="7106920" y="1641029"/>
                </a:moveTo>
                <a:cubicBezTo>
                  <a:pt x="7122160" y="1647379"/>
                  <a:pt x="7131685" y="1623249"/>
                  <a:pt x="7116445" y="1617534"/>
                </a:cubicBezTo>
                <a:cubicBezTo>
                  <a:pt x="7101206" y="1611184"/>
                  <a:pt x="7091681" y="1635313"/>
                  <a:pt x="7106920" y="1641029"/>
                </a:cubicBezTo>
                <a:close/>
                <a:moveTo>
                  <a:pt x="7080885" y="1890584"/>
                </a:moveTo>
                <a:cubicBezTo>
                  <a:pt x="7100570" y="1903919"/>
                  <a:pt x="7120890" y="1872169"/>
                  <a:pt x="7100570" y="1859469"/>
                </a:cubicBezTo>
                <a:cubicBezTo>
                  <a:pt x="7080885" y="1846134"/>
                  <a:pt x="7060565" y="1877884"/>
                  <a:pt x="7080885" y="1890584"/>
                </a:cubicBezTo>
                <a:close/>
                <a:moveTo>
                  <a:pt x="7102475" y="1721674"/>
                </a:moveTo>
                <a:cubicBezTo>
                  <a:pt x="7092950" y="1739454"/>
                  <a:pt x="7120890" y="1754059"/>
                  <a:pt x="7129781" y="1735644"/>
                </a:cubicBezTo>
                <a:cubicBezTo>
                  <a:pt x="7139940" y="1718499"/>
                  <a:pt x="7112000" y="1703894"/>
                  <a:pt x="7102475" y="1721674"/>
                </a:cubicBezTo>
                <a:close/>
                <a:moveTo>
                  <a:pt x="7143750" y="2035999"/>
                </a:moveTo>
                <a:cubicBezTo>
                  <a:pt x="7164706" y="2050604"/>
                  <a:pt x="7186931" y="2016949"/>
                  <a:pt x="7165340" y="2002979"/>
                </a:cubicBezTo>
                <a:cubicBezTo>
                  <a:pt x="7144385" y="1988374"/>
                  <a:pt x="7122160" y="2022663"/>
                  <a:pt x="7143750" y="2035999"/>
                </a:cubicBezTo>
                <a:close/>
                <a:moveTo>
                  <a:pt x="7221856" y="1955354"/>
                </a:moveTo>
                <a:cubicBezTo>
                  <a:pt x="7209790" y="1975674"/>
                  <a:pt x="7241540" y="1994724"/>
                  <a:pt x="7253606" y="1973769"/>
                </a:cubicBezTo>
                <a:cubicBezTo>
                  <a:pt x="7265670" y="1953449"/>
                  <a:pt x="7233920" y="1934399"/>
                  <a:pt x="7221856" y="1955354"/>
                </a:cubicBezTo>
                <a:close/>
                <a:moveTo>
                  <a:pt x="7320915" y="1991549"/>
                </a:moveTo>
                <a:cubicBezTo>
                  <a:pt x="7300595" y="1979484"/>
                  <a:pt x="7282181" y="2011869"/>
                  <a:pt x="7303135" y="2023299"/>
                </a:cubicBezTo>
                <a:cubicBezTo>
                  <a:pt x="7323456" y="2035999"/>
                  <a:pt x="7341870" y="2003613"/>
                  <a:pt x="7320915" y="1991549"/>
                </a:cubicBezTo>
                <a:close/>
                <a:moveTo>
                  <a:pt x="7345045" y="1731199"/>
                </a:moveTo>
                <a:cubicBezTo>
                  <a:pt x="7360285" y="1736913"/>
                  <a:pt x="7369175" y="1712784"/>
                  <a:pt x="7353300" y="1707069"/>
                </a:cubicBezTo>
                <a:cubicBezTo>
                  <a:pt x="7338060" y="1701354"/>
                  <a:pt x="7329806" y="1726119"/>
                  <a:pt x="7345045" y="1731199"/>
                </a:cubicBezTo>
                <a:close/>
                <a:moveTo>
                  <a:pt x="7378700" y="2065844"/>
                </a:moveTo>
                <a:cubicBezTo>
                  <a:pt x="7399020" y="2077274"/>
                  <a:pt x="7417435" y="2044888"/>
                  <a:pt x="7396481" y="2033459"/>
                </a:cubicBezTo>
                <a:cubicBezTo>
                  <a:pt x="7375525" y="2022029"/>
                  <a:pt x="7357745" y="2054413"/>
                  <a:pt x="7378700" y="2065844"/>
                </a:cubicBezTo>
                <a:close/>
                <a:moveTo>
                  <a:pt x="7299960" y="2133789"/>
                </a:moveTo>
                <a:lnTo>
                  <a:pt x="7299960" y="2133789"/>
                </a:lnTo>
                <a:cubicBezTo>
                  <a:pt x="7309485" y="2139504"/>
                  <a:pt x="7321550" y="2136329"/>
                  <a:pt x="7327265" y="2126804"/>
                </a:cubicBezTo>
                <a:cubicBezTo>
                  <a:pt x="7345681" y="2078544"/>
                  <a:pt x="7260590" y="2100134"/>
                  <a:pt x="7299960" y="2133789"/>
                </a:cubicBezTo>
                <a:close/>
                <a:moveTo>
                  <a:pt x="7383781" y="1965513"/>
                </a:moveTo>
                <a:cubicBezTo>
                  <a:pt x="7402831" y="1975674"/>
                  <a:pt x="7418706" y="1945194"/>
                  <a:pt x="7399020" y="1935034"/>
                </a:cubicBezTo>
                <a:cubicBezTo>
                  <a:pt x="7379335" y="1925509"/>
                  <a:pt x="7364095" y="1955988"/>
                  <a:pt x="7383781" y="1965513"/>
                </a:cubicBezTo>
                <a:close/>
                <a:moveTo>
                  <a:pt x="7334885" y="1921699"/>
                </a:moveTo>
                <a:cubicBezTo>
                  <a:pt x="7345045" y="1902649"/>
                  <a:pt x="7314565" y="1886138"/>
                  <a:pt x="7305040" y="1905824"/>
                </a:cubicBezTo>
                <a:cubicBezTo>
                  <a:pt x="7294245" y="1925509"/>
                  <a:pt x="7324725" y="1941384"/>
                  <a:pt x="7334885" y="1921699"/>
                </a:cubicBezTo>
                <a:close/>
                <a:moveTo>
                  <a:pt x="7367270" y="2400489"/>
                </a:moveTo>
                <a:cubicBezTo>
                  <a:pt x="7352031" y="2425254"/>
                  <a:pt x="7391400" y="2448749"/>
                  <a:pt x="7406006" y="2423349"/>
                </a:cubicBezTo>
                <a:cubicBezTo>
                  <a:pt x="7421245" y="2398584"/>
                  <a:pt x="7381875" y="2375089"/>
                  <a:pt x="7367270" y="2400489"/>
                </a:cubicBezTo>
                <a:close/>
                <a:moveTo>
                  <a:pt x="7378700" y="1874709"/>
                </a:moveTo>
                <a:cubicBezTo>
                  <a:pt x="7396481" y="1883599"/>
                  <a:pt x="7410450" y="1854388"/>
                  <a:pt x="7391400" y="1846134"/>
                </a:cubicBezTo>
                <a:cubicBezTo>
                  <a:pt x="7373620" y="1837879"/>
                  <a:pt x="7360285" y="1866454"/>
                  <a:pt x="7378700" y="1874709"/>
                </a:cubicBezTo>
                <a:close/>
                <a:moveTo>
                  <a:pt x="7404735" y="1752788"/>
                </a:moveTo>
                <a:cubicBezTo>
                  <a:pt x="7419975" y="1758504"/>
                  <a:pt x="7428865" y="1734374"/>
                  <a:pt x="7412990" y="1728659"/>
                </a:cubicBezTo>
                <a:cubicBezTo>
                  <a:pt x="7397750" y="1722944"/>
                  <a:pt x="7389495" y="1747074"/>
                  <a:pt x="7404735" y="1752788"/>
                </a:cubicBezTo>
                <a:close/>
                <a:moveTo>
                  <a:pt x="1226820" y="2274124"/>
                </a:moveTo>
                <a:cubicBezTo>
                  <a:pt x="1200785" y="2284284"/>
                  <a:pt x="1217295" y="2324289"/>
                  <a:pt x="1242695" y="2313494"/>
                </a:cubicBezTo>
                <a:cubicBezTo>
                  <a:pt x="1268095" y="2303969"/>
                  <a:pt x="1252220" y="2263964"/>
                  <a:pt x="1226820" y="2274124"/>
                </a:cubicBezTo>
                <a:close/>
                <a:moveTo>
                  <a:pt x="7263765" y="1884234"/>
                </a:moveTo>
                <a:cubicBezTo>
                  <a:pt x="7274560" y="1865184"/>
                  <a:pt x="7244081" y="1848674"/>
                  <a:pt x="7233920" y="1868359"/>
                </a:cubicBezTo>
                <a:cubicBezTo>
                  <a:pt x="7223125" y="1886774"/>
                  <a:pt x="7253606" y="1903284"/>
                  <a:pt x="7263765" y="1884234"/>
                </a:cubicBezTo>
                <a:close/>
                <a:moveTo>
                  <a:pt x="7236460" y="1789619"/>
                </a:moveTo>
                <a:cubicBezTo>
                  <a:pt x="7227570" y="1807399"/>
                  <a:pt x="7255510" y="1821369"/>
                  <a:pt x="7264400" y="1803588"/>
                </a:cubicBezTo>
                <a:cubicBezTo>
                  <a:pt x="7273290" y="1785174"/>
                  <a:pt x="7244715" y="1771204"/>
                  <a:pt x="7236460" y="1789619"/>
                </a:cubicBezTo>
                <a:close/>
                <a:moveTo>
                  <a:pt x="7220585" y="1734374"/>
                </a:moveTo>
                <a:cubicBezTo>
                  <a:pt x="7284085" y="1724213"/>
                  <a:pt x="7185025" y="1681034"/>
                  <a:pt x="7220585" y="1734374"/>
                </a:cubicBezTo>
                <a:lnTo>
                  <a:pt x="7220585" y="1734374"/>
                </a:lnTo>
                <a:close/>
                <a:moveTo>
                  <a:pt x="7225665" y="1687384"/>
                </a:moveTo>
                <a:cubicBezTo>
                  <a:pt x="7240906" y="1693734"/>
                  <a:pt x="7250431" y="1668969"/>
                  <a:pt x="7234556" y="1663254"/>
                </a:cubicBezTo>
                <a:cubicBezTo>
                  <a:pt x="7219315" y="1657538"/>
                  <a:pt x="7210425" y="1681669"/>
                  <a:pt x="7225665" y="1687384"/>
                </a:cubicBezTo>
                <a:close/>
                <a:moveTo>
                  <a:pt x="7285356" y="1709609"/>
                </a:moveTo>
                <a:cubicBezTo>
                  <a:pt x="7300595" y="1715324"/>
                  <a:pt x="7309485" y="1691194"/>
                  <a:pt x="7294245" y="1685479"/>
                </a:cubicBezTo>
                <a:cubicBezTo>
                  <a:pt x="7279006" y="1679763"/>
                  <a:pt x="7270115" y="1703894"/>
                  <a:pt x="7285356" y="1709609"/>
                </a:cubicBezTo>
                <a:close/>
                <a:moveTo>
                  <a:pt x="7317740" y="2370009"/>
                </a:moveTo>
                <a:cubicBezTo>
                  <a:pt x="7333615" y="2345244"/>
                  <a:pt x="7294881" y="2321114"/>
                  <a:pt x="7279640" y="2345879"/>
                </a:cubicBezTo>
                <a:cubicBezTo>
                  <a:pt x="7263765" y="2370644"/>
                  <a:pt x="7302500" y="2395409"/>
                  <a:pt x="7317740" y="2370009"/>
                </a:cubicBezTo>
                <a:close/>
                <a:moveTo>
                  <a:pt x="7310756" y="1842959"/>
                </a:moveTo>
                <a:cubicBezTo>
                  <a:pt x="7328535" y="1851849"/>
                  <a:pt x="7342506" y="1823274"/>
                  <a:pt x="7324090" y="1815019"/>
                </a:cubicBezTo>
                <a:cubicBezTo>
                  <a:pt x="7306310" y="1806129"/>
                  <a:pt x="7292340" y="1834069"/>
                  <a:pt x="7310756" y="1842959"/>
                </a:cubicBezTo>
                <a:close/>
                <a:moveTo>
                  <a:pt x="7284720" y="1761679"/>
                </a:moveTo>
                <a:cubicBezTo>
                  <a:pt x="7301231" y="1769299"/>
                  <a:pt x="7312660" y="1742629"/>
                  <a:pt x="7295515" y="1735644"/>
                </a:cubicBezTo>
                <a:cubicBezTo>
                  <a:pt x="7279006" y="1728024"/>
                  <a:pt x="7267575" y="1754694"/>
                  <a:pt x="7284720" y="1761679"/>
                </a:cubicBezTo>
                <a:close/>
                <a:moveTo>
                  <a:pt x="6793231" y="1699449"/>
                </a:moveTo>
                <a:lnTo>
                  <a:pt x="6793231" y="1699449"/>
                </a:lnTo>
                <a:cubicBezTo>
                  <a:pt x="6837045" y="1719769"/>
                  <a:pt x="6822440" y="1639759"/>
                  <a:pt x="6788785" y="1674049"/>
                </a:cubicBezTo>
                <a:cubicBezTo>
                  <a:pt x="6782435" y="1682304"/>
                  <a:pt x="6784975" y="1693734"/>
                  <a:pt x="6793231" y="1699449"/>
                </a:cubicBezTo>
                <a:close/>
                <a:moveTo>
                  <a:pt x="6767831" y="1769934"/>
                </a:moveTo>
                <a:cubicBezTo>
                  <a:pt x="6788150" y="1785809"/>
                  <a:pt x="6812281" y="1753424"/>
                  <a:pt x="6791325" y="1738184"/>
                </a:cubicBezTo>
                <a:cubicBezTo>
                  <a:pt x="6771640" y="1722944"/>
                  <a:pt x="6747510" y="1755329"/>
                  <a:pt x="6767831" y="1769934"/>
                </a:cubicBezTo>
                <a:close/>
                <a:moveTo>
                  <a:pt x="6802756" y="2012504"/>
                </a:moveTo>
                <a:cubicBezTo>
                  <a:pt x="6823075" y="2013138"/>
                  <a:pt x="6833870" y="1985199"/>
                  <a:pt x="6817360" y="1972499"/>
                </a:cubicBezTo>
                <a:cubicBezTo>
                  <a:pt x="6784340" y="1947734"/>
                  <a:pt x="6762115" y="2010599"/>
                  <a:pt x="6802756" y="2012504"/>
                </a:cubicBezTo>
                <a:close/>
                <a:moveTo>
                  <a:pt x="6814185" y="1518474"/>
                </a:moveTo>
                <a:cubicBezTo>
                  <a:pt x="6829425" y="1525459"/>
                  <a:pt x="6839585" y="1501329"/>
                  <a:pt x="6824345" y="1494979"/>
                </a:cubicBezTo>
                <a:cubicBezTo>
                  <a:pt x="6809106" y="1487994"/>
                  <a:pt x="6798945" y="1512124"/>
                  <a:pt x="6814185" y="1518474"/>
                </a:cubicBezTo>
                <a:close/>
                <a:moveTo>
                  <a:pt x="6762750" y="1868994"/>
                </a:moveTo>
                <a:cubicBezTo>
                  <a:pt x="6783706" y="1886774"/>
                  <a:pt x="6811010" y="1853119"/>
                  <a:pt x="6789420" y="1835974"/>
                </a:cubicBezTo>
                <a:cubicBezTo>
                  <a:pt x="6767831" y="1818194"/>
                  <a:pt x="6740525" y="1852484"/>
                  <a:pt x="6762750" y="1868994"/>
                </a:cubicBezTo>
                <a:close/>
                <a:moveTo>
                  <a:pt x="6871970" y="1543874"/>
                </a:moveTo>
                <a:cubicBezTo>
                  <a:pt x="6886575" y="1550859"/>
                  <a:pt x="6897370" y="1526729"/>
                  <a:pt x="6882131" y="1520379"/>
                </a:cubicBezTo>
                <a:cubicBezTo>
                  <a:pt x="6867525" y="1513394"/>
                  <a:pt x="6856731" y="1537524"/>
                  <a:pt x="6871970" y="1543874"/>
                </a:cubicBezTo>
                <a:close/>
                <a:moveTo>
                  <a:pt x="6906895" y="1588324"/>
                </a:moveTo>
                <a:cubicBezTo>
                  <a:pt x="6922770" y="1596579"/>
                  <a:pt x="6936106" y="1570544"/>
                  <a:pt x="6918960" y="1562924"/>
                </a:cubicBezTo>
                <a:cubicBezTo>
                  <a:pt x="6903085" y="1554669"/>
                  <a:pt x="6890385" y="1580704"/>
                  <a:pt x="6906895" y="1588324"/>
                </a:cubicBezTo>
                <a:close/>
                <a:moveTo>
                  <a:pt x="6697981" y="1467038"/>
                </a:moveTo>
                <a:cubicBezTo>
                  <a:pt x="6712585" y="1474024"/>
                  <a:pt x="6723381" y="1449894"/>
                  <a:pt x="6708140" y="1443544"/>
                </a:cubicBezTo>
                <a:cubicBezTo>
                  <a:pt x="6692900" y="1437194"/>
                  <a:pt x="6682740" y="1460688"/>
                  <a:pt x="6697981" y="1467038"/>
                </a:cubicBezTo>
                <a:close/>
                <a:moveTo>
                  <a:pt x="6817995" y="1622613"/>
                </a:moveTo>
                <a:cubicBezTo>
                  <a:pt x="6805931" y="1641029"/>
                  <a:pt x="6835140" y="1659444"/>
                  <a:pt x="6846570" y="1640394"/>
                </a:cubicBezTo>
                <a:cubicBezTo>
                  <a:pt x="6858635" y="1621979"/>
                  <a:pt x="6829425" y="1604199"/>
                  <a:pt x="6817995" y="1622613"/>
                </a:cubicBezTo>
                <a:close/>
                <a:moveTo>
                  <a:pt x="6844665" y="1557844"/>
                </a:moveTo>
                <a:cubicBezTo>
                  <a:pt x="6860540" y="1566099"/>
                  <a:pt x="6873875" y="1540699"/>
                  <a:pt x="6857365" y="1532444"/>
                </a:cubicBezTo>
                <a:cubicBezTo>
                  <a:pt x="6840856" y="1524188"/>
                  <a:pt x="6828156" y="1549588"/>
                  <a:pt x="6844665" y="1557844"/>
                </a:cubicBezTo>
                <a:close/>
                <a:moveTo>
                  <a:pt x="6724015" y="1945829"/>
                </a:moveTo>
                <a:cubicBezTo>
                  <a:pt x="6744335" y="1946463"/>
                  <a:pt x="6754495" y="1919159"/>
                  <a:pt x="6738620" y="1905824"/>
                </a:cubicBezTo>
                <a:cubicBezTo>
                  <a:pt x="6706235" y="1880424"/>
                  <a:pt x="6682740" y="1943924"/>
                  <a:pt x="6724015" y="1945829"/>
                </a:cubicBezTo>
                <a:close/>
                <a:moveTo>
                  <a:pt x="6931025" y="1568638"/>
                </a:moveTo>
                <a:cubicBezTo>
                  <a:pt x="6946265" y="1574988"/>
                  <a:pt x="6956425" y="1551494"/>
                  <a:pt x="6941185" y="1545144"/>
                </a:cubicBezTo>
                <a:cubicBezTo>
                  <a:pt x="6925310" y="1538794"/>
                  <a:pt x="6915150" y="1562288"/>
                  <a:pt x="6931025" y="1568638"/>
                </a:cubicBezTo>
                <a:close/>
                <a:moveTo>
                  <a:pt x="6690995" y="1686749"/>
                </a:moveTo>
                <a:cubicBezTo>
                  <a:pt x="6666865" y="1732469"/>
                  <a:pt x="6753860" y="1721038"/>
                  <a:pt x="6718935" y="1682938"/>
                </a:cubicBezTo>
                <a:cubicBezTo>
                  <a:pt x="6718935" y="1682938"/>
                  <a:pt x="6718935" y="1682938"/>
                  <a:pt x="6718935" y="1682938"/>
                </a:cubicBezTo>
                <a:cubicBezTo>
                  <a:pt x="6710045" y="1676588"/>
                  <a:pt x="6697981" y="1678494"/>
                  <a:pt x="6690995" y="1686749"/>
                </a:cubicBezTo>
                <a:close/>
                <a:moveTo>
                  <a:pt x="6795770" y="1536888"/>
                </a:moveTo>
                <a:cubicBezTo>
                  <a:pt x="6778625" y="1526729"/>
                  <a:pt x="6762750" y="1554034"/>
                  <a:pt x="6780531" y="1564194"/>
                </a:cubicBezTo>
                <a:cubicBezTo>
                  <a:pt x="6797675" y="1574354"/>
                  <a:pt x="6813550" y="1546413"/>
                  <a:pt x="6795770" y="1536888"/>
                </a:cubicBezTo>
                <a:close/>
                <a:moveTo>
                  <a:pt x="6720840" y="1495613"/>
                </a:moveTo>
                <a:cubicBezTo>
                  <a:pt x="6736715" y="1503869"/>
                  <a:pt x="6750050" y="1478469"/>
                  <a:pt x="6733540" y="1470213"/>
                </a:cubicBezTo>
                <a:cubicBezTo>
                  <a:pt x="6717665" y="1461959"/>
                  <a:pt x="6704965" y="1487359"/>
                  <a:pt x="6720840" y="1495613"/>
                </a:cubicBezTo>
                <a:close/>
                <a:moveTo>
                  <a:pt x="6736715" y="1521013"/>
                </a:moveTo>
                <a:cubicBezTo>
                  <a:pt x="6746875" y="1503869"/>
                  <a:pt x="6719570" y="1487994"/>
                  <a:pt x="6710045" y="1505774"/>
                </a:cubicBezTo>
                <a:cubicBezTo>
                  <a:pt x="6699250" y="1522919"/>
                  <a:pt x="6726556" y="1538794"/>
                  <a:pt x="6736715" y="1521013"/>
                </a:cubicBezTo>
                <a:close/>
                <a:moveTo>
                  <a:pt x="6755765" y="1492438"/>
                </a:moveTo>
                <a:cubicBezTo>
                  <a:pt x="6770370" y="1499424"/>
                  <a:pt x="6781165" y="1475929"/>
                  <a:pt x="6765925" y="1468944"/>
                </a:cubicBezTo>
                <a:cubicBezTo>
                  <a:pt x="6751320" y="1462594"/>
                  <a:pt x="6740525" y="1486088"/>
                  <a:pt x="6755765" y="1492438"/>
                </a:cubicBezTo>
                <a:close/>
                <a:moveTo>
                  <a:pt x="6717665" y="1624519"/>
                </a:moveTo>
                <a:cubicBezTo>
                  <a:pt x="6703695" y="1643569"/>
                  <a:pt x="6734175" y="1665159"/>
                  <a:pt x="6747510" y="1645474"/>
                </a:cubicBezTo>
                <a:cubicBezTo>
                  <a:pt x="6761481" y="1626424"/>
                  <a:pt x="6731000" y="1604834"/>
                  <a:pt x="6717665" y="1624519"/>
                </a:cubicBezTo>
                <a:close/>
                <a:moveTo>
                  <a:pt x="6783070" y="1526729"/>
                </a:moveTo>
                <a:cubicBezTo>
                  <a:pt x="6798945" y="1534984"/>
                  <a:pt x="6812281" y="1509584"/>
                  <a:pt x="6795770" y="1501329"/>
                </a:cubicBezTo>
                <a:cubicBezTo>
                  <a:pt x="6779260" y="1493074"/>
                  <a:pt x="6766560" y="1519109"/>
                  <a:pt x="6783070" y="1526729"/>
                </a:cubicBezTo>
                <a:close/>
                <a:moveTo>
                  <a:pt x="6755131" y="1602929"/>
                </a:moveTo>
                <a:cubicBezTo>
                  <a:pt x="6773545" y="1614994"/>
                  <a:pt x="6791960" y="1585784"/>
                  <a:pt x="6773545" y="1574354"/>
                </a:cubicBezTo>
                <a:cubicBezTo>
                  <a:pt x="6755131" y="1562924"/>
                  <a:pt x="6736715" y="1591499"/>
                  <a:pt x="6755131" y="1602929"/>
                </a:cubicBezTo>
                <a:close/>
                <a:moveTo>
                  <a:pt x="6994525" y="2048063"/>
                </a:moveTo>
                <a:cubicBezTo>
                  <a:pt x="7016115" y="2064574"/>
                  <a:pt x="7042150" y="2029649"/>
                  <a:pt x="7019290" y="2013774"/>
                </a:cubicBezTo>
                <a:cubicBezTo>
                  <a:pt x="7019290" y="2013774"/>
                  <a:pt x="7019290" y="2013774"/>
                  <a:pt x="7019290" y="2013774"/>
                </a:cubicBezTo>
                <a:cubicBezTo>
                  <a:pt x="6997700" y="1997899"/>
                  <a:pt x="6972300" y="2032188"/>
                  <a:pt x="6994525" y="2048063"/>
                </a:cubicBezTo>
                <a:close/>
                <a:moveTo>
                  <a:pt x="6948806" y="2137599"/>
                </a:moveTo>
                <a:cubicBezTo>
                  <a:pt x="6971665" y="2156014"/>
                  <a:pt x="7000240" y="2119819"/>
                  <a:pt x="6976745" y="2102039"/>
                </a:cubicBezTo>
                <a:cubicBezTo>
                  <a:pt x="6953885" y="2083624"/>
                  <a:pt x="6925945" y="2119819"/>
                  <a:pt x="6948806" y="2137599"/>
                </a:cubicBezTo>
                <a:close/>
                <a:moveTo>
                  <a:pt x="6991350" y="1645474"/>
                </a:moveTo>
                <a:cubicBezTo>
                  <a:pt x="6983731" y="1641029"/>
                  <a:pt x="6974206" y="1644204"/>
                  <a:pt x="6970395" y="1651824"/>
                </a:cubicBezTo>
                <a:cubicBezTo>
                  <a:pt x="6957695" y="1690559"/>
                  <a:pt x="7023735" y="1670874"/>
                  <a:pt x="6991350" y="1645474"/>
                </a:cubicBezTo>
                <a:close/>
                <a:moveTo>
                  <a:pt x="6991350" y="1932494"/>
                </a:moveTo>
                <a:cubicBezTo>
                  <a:pt x="7012306" y="1947734"/>
                  <a:pt x="7035165" y="1914713"/>
                  <a:pt x="7014210" y="1900109"/>
                </a:cubicBezTo>
                <a:cubicBezTo>
                  <a:pt x="7014210" y="1900109"/>
                  <a:pt x="7014210" y="1900109"/>
                  <a:pt x="7014210" y="1900109"/>
                </a:cubicBezTo>
                <a:cubicBezTo>
                  <a:pt x="6993256" y="1885504"/>
                  <a:pt x="6970395" y="1918524"/>
                  <a:pt x="6991350" y="1932494"/>
                </a:cubicBezTo>
                <a:close/>
                <a:moveTo>
                  <a:pt x="6915150" y="1682938"/>
                </a:moveTo>
                <a:cubicBezTo>
                  <a:pt x="6927215" y="1664524"/>
                  <a:pt x="6897370" y="1646109"/>
                  <a:pt x="6886575" y="1665159"/>
                </a:cubicBezTo>
                <a:cubicBezTo>
                  <a:pt x="6874510" y="1683574"/>
                  <a:pt x="6904356" y="1701988"/>
                  <a:pt x="6915150" y="1682938"/>
                </a:cubicBezTo>
                <a:close/>
                <a:moveTo>
                  <a:pt x="7031356" y="2200464"/>
                </a:moveTo>
                <a:cubicBezTo>
                  <a:pt x="7054215" y="2218244"/>
                  <a:pt x="7082156" y="2181414"/>
                  <a:pt x="7058660" y="2164269"/>
                </a:cubicBezTo>
                <a:cubicBezTo>
                  <a:pt x="7035165" y="2146489"/>
                  <a:pt x="7007860" y="2183319"/>
                  <a:pt x="7031356" y="2200464"/>
                </a:cubicBezTo>
                <a:close/>
                <a:moveTo>
                  <a:pt x="6961506" y="1791524"/>
                </a:moveTo>
                <a:cubicBezTo>
                  <a:pt x="6974840" y="1771838"/>
                  <a:pt x="6943725" y="1751519"/>
                  <a:pt x="6931025" y="1771204"/>
                </a:cubicBezTo>
                <a:cubicBezTo>
                  <a:pt x="6917690" y="1790888"/>
                  <a:pt x="6948806" y="1811209"/>
                  <a:pt x="6961506" y="1791524"/>
                </a:cubicBezTo>
                <a:close/>
                <a:moveTo>
                  <a:pt x="6939281" y="1847404"/>
                </a:moveTo>
                <a:cubicBezTo>
                  <a:pt x="6918325" y="1832163"/>
                  <a:pt x="6895465" y="1864549"/>
                  <a:pt x="6916420" y="1879154"/>
                </a:cubicBezTo>
                <a:cubicBezTo>
                  <a:pt x="6936740" y="1895029"/>
                  <a:pt x="6960870" y="1862009"/>
                  <a:pt x="6939281" y="1847404"/>
                </a:cubicBezTo>
                <a:close/>
                <a:moveTo>
                  <a:pt x="6925945" y="1609913"/>
                </a:moveTo>
                <a:cubicBezTo>
                  <a:pt x="6908165" y="1599754"/>
                  <a:pt x="6892925" y="1627694"/>
                  <a:pt x="6910706" y="1637219"/>
                </a:cubicBezTo>
                <a:cubicBezTo>
                  <a:pt x="6928485" y="1646744"/>
                  <a:pt x="6943725" y="1619438"/>
                  <a:pt x="6925945" y="1609913"/>
                </a:cubicBezTo>
                <a:close/>
                <a:moveTo>
                  <a:pt x="6916420" y="1989644"/>
                </a:moveTo>
                <a:cubicBezTo>
                  <a:pt x="6938010" y="2006788"/>
                  <a:pt x="6964045" y="1972499"/>
                  <a:pt x="6941820" y="1955988"/>
                </a:cubicBezTo>
                <a:cubicBezTo>
                  <a:pt x="6920231" y="1939479"/>
                  <a:pt x="6894195" y="1973769"/>
                  <a:pt x="6916420" y="1989644"/>
                </a:cubicBezTo>
                <a:close/>
                <a:moveTo>
                  <a:pt x="7002781" y="1818194"/>
                </a:moveTo>
                <a:cubicBezTo>
                  <a:pt x="6989445" y="1837879"/>
                  <a:pt x="7020560" y="1858199"/>
                  <a:pt x="7033260" y="1837879"/>
                </a:cubicBezTo>
                <a:cubicBezTo>
                  <a:pt x="7046595" y="1818829"/>
                  <a:pt x="7015481" y="1798509"/>
                  <a:pt x="7002781" y="1818194"/>
                </a:cubicBezTo>
                <a:close/>
                <a:moveTo>
                  <a:pt x="6960870" y="1730563"/>
                </a:moveTo>
                <a:cubicBezTo>
                  <a:pt x="6979285" y="1741994"/>
                  <a:pt x="6997700" y="1712784"/>
                  <a:pt x="6978015" y="1701354"/>
                </a:cubicBezTo>
                <a:cubicBezTo>
                  <a:pt x="6959600" y="1689924"/>
                  <a:pt x="6941820" y="1719134"/>
                  <a:pt x="6960870" y="1730563"/>
                </a:cubicBezTo>
                <a:close/>
                <a:moveTo>
                  <a:pt x="6989445" y="1593404"/>
                </a:moveTo>
                <a:cubicBezTo>
                  <a:pt x="7004685" y="1600388"/>
                  <a:pt x="7014845" y="1576259"/>
                  <a:pt x="6998970" y="1569909"/>
                </a:cubicBezTo>
                <a:cubicBezTo>
                  <a:pt x="6983731" y="1562924"/>
                  <a:pt x="6974206" y="1587054"/>
                  <a:pt x="6989445" y="1593404"/>
                </a:cubicBezTo>
                <a:close/>
                <a:moveTo>
                  <a:pt x="7030085" y="1771204"/>
                </a:moveTo>
                <a:cubicBezTo>
                  <a:pt x="7048500" y="1782634"/>
                  <a:pt x="7066281" y="1752788"/>
                  <a:pt x="7047231" y="1741994"/>
                </a:cubicBezTo>
                <a:cubicBezTo>
                  <a:pt x="7028815" y="1731199"/>
                  <a:pt x="7011035" y="1760409"/>
                  <a:pt x="7030085" y="1771204"/>
                </a:cubicBezTo>
                <a:close/>
                <a:moveTo>
                  <a:pt x="7067550" y="1985199"/>
                </a:moveTo>
                <a:cubicBezTo>
                  <a:pt x="7088506" y="1999804"/>
                  <a:pt x="7111365" y="1966784"/>
                  <a:pt x="7089775" y="1952179"/>
                </a:cubicBezTo>
                <a:cubicBezTo>
                  <a:pt x="7068185" y="1937574"/>
                  <a:pt x="7045960" y="1971229"/>
                  <a:pt x="7067550" y="1985199"/>
                </a:cubicBezTo>
                <a:lnTo>
                  <a:pt x="7067550" y="1985199"/>
                </a:lnTo>
                <a:close/>
                <a:moveTo>
                  <a:pt x="6969125" y="1618169"/>
                </a:moveTo>
                <a:cubicBezTo>
                  <a:pt x="6985635" y="1626424"/>
                  <a:pt x="6997700" y="1600388"/>
                  <a:pt x="6981190" y="1592769"/>
                </a:cubicBezTo>
                <a:cubicBezTo>
                  <a:pt x="6965315" y="1584513"/>
                  <a:pt x="6952615" y="1610549"/>
                  <a:pt x="6969125" y="1618169"/>
                </a:cubicBezTo>
                <a:close/>
                <a:moveTo>
                  <a:pt x="7057390" y="1680399"/>
                </a:moveTo>
                <a:cubicBezTo>
                  <a:pt x="7039610" y="1670874"/>
                  <a:pt x="7025006" y="1698813"/>
                  <a:pt x="7042785" y="1707704"/>
                </a:cubicBezTo>
                <a:cubicBezTo>
                  <a:pt x="7060565" y="1717863"/>
                  <a:pt x="7075806" y="1689924"/>
                  <a:pt x="7057390" y="1680399"/>
                </a:cubicBezTo>
                <a:close/>
                <a:moveTo>
                  <a:pt x="7048500" y="1617534"/>
                </a:moveTo>
                <a:cubicBezTo>
                  <a:pt x="7063740" y="1623884"/>
                  <a:pt x="7073265" y="1599754"/>
                  <a:pt x="7058025" y="1594038"/>
                </a:cubicBezTo>
                <a:cubicBezTo>
                  <a:pt x="7042785" y="1587688"/>
                  <a:pt x="7032625" y="1611184"/>
                  <a:pt x="7048500" y="1617534"/>
                </a:cubicBezTo>
                <a:close/>
                <a:moveTo>
                  <a:pt x="7031990" y="1648013"/>
                </a:moveTo>
                <a:cubicBezTo>
                  <a:pt x="7048500" y="1656269"/>
                  <a:pt x="7060565" y="1630234"/>
                  <a:pt x="7044056" y="1622613"/>
                </a:cubicBezTo>
                <a:cubicBezTo>
                  <a:pt x="7027545" y="1614359"/>
                  <a:pt x="7014845" y="1640394"/>
                  <a:pt x="7031990" y="1648013"/>
                </a:cubicBezTo>
                <a:close/>
                <a:moveTo>
                  <a:pt x="1636395" y="2007424"/>
                </a:moveTo>
                <a:cubicBezTo>
                  <a:pt x="1638300" y="2007424"/>
                  <a:pt x="1640840" y="2006788"/>
                  <a:pt x="1642745" y="2006154"/>
                </a:cubicBezTo>
                <a:lnTo>
                  <a:pt x="1642745" y="2006154"/>
                </a:lnTo>
                <a:cubicBezTo>
                  <a:pt x="1688465" y="1954719"/>
                  <a:pt x="1574800" y="1977579"/>
                  <a:pt x="1636395" y="2007424"/>
                </a:cubicBezTo>
                <a:close/>
                <a:moveTo>
                  <a:pt x="2730500" y="1218754"/>
                </a:moveTo>
                <a:cubicBezTo>
                  <a:pt x="2708910" y="1235899"/>
                  <a:pt x="2735580" y="1269554"/>
                  <a:pt x="2757170" y="1251774"/>
                </a:cubicBezTo>
                <a:cubicBezTo>
                  <a:pt x="2778760" y="1235263"/>
                  <a:pt x="2752090" y="1201609"/>
                  <a:pt x="2730500" y="1218754"/>
                </a:cubicBezTo>
                <a:close/>
                <a:moveTo>
                  <a:pt x="2712085" y="1137474"/>
                </a:moveTo>
                <a:cubicBezTo>
                  <a:pt x="2714625" y="1137474"/>
                  <a:pt x="2717165" y="1136838"/>
                  <a:pt x="2719705" y="1136204"/>
                </a:cubicBezTo>
                <a:cubicBezTo>
                  <a:pt x="2712720" y="1150174"/>
                  <a:pt x="2724150" y="1169224"/>
                  <a:pt x="2740025" y="1169859"/>
                </a:cubicBezTo>
                <a:cubicBezTo>
                  <a:pt x="2693670" y="1237169"/>
                  <a:pt x="2828925" y="1201609"/>
                  <a:pt x="2755265" y="1166049"/>
                </a:cubicBezTo>
                <a:cubicBezTo>
                  <a:pt x="2777490" y="1151444"/>
                  <a:pt x="2759710" y="1115249"/>
                  <a:pt x="2734945" y="1123504"/>
                </a:cubicBezTo>
                <a:cubicBezTo>
                  <a:pt x="2748915" y="1045399"/>
                  <a:pt x="2635250" y="1117788"/>
                  <a:pt x="2712085" y="1137474"/>
                </a:cubicBezTo>
                <a:close/>
                <a:moveTo>
                  <a:pt x="2249805" y="1568638"/>
                </a:moveTo>
                <a:cubicBezTo>
                  <a:pt x="2249805" y="1579434"/>
                  <a:pt x="2263140" y="1586419"/>
                  <a:pt x="2271395" y="1580069"/>
                </a:cubicBezTo>
                <a:lnTo>
                  <a:pt x="2271395" y="1580069"/>
                </a:lnTo>
                <a:cubicBezTo>
                  <a:pt x="2281555" y="1573719"/>
                  <a:pt x="2278380" y="1557844"/>
                  <a:pt x="2267585" y="1554669"/>
                </a:cubicBezTo>
                <a:cubicBezTo>
                  <a:pt x="2261870" y="1529904"/>
                  <a:pt x="2227580" y="1555938"/>
                  <a:pt x="2249805" y="1568638"/>
                </a:cubicBezTo>
                <a:close/>
                <a:moveTo>
                  <a:pt x="2787650" y="1051749"/>
                </a:moveTo>
                <a:cubicBezTo>
                  <a:pt x="2809875" y="1052384"/>
                  <a:pt x="2821940" y="1021904"/>
                  <a:pt x="2804160" y="1007299"/>
                </a:cubicBezTo>
                <a:cubicBezTo>
                  <a:pt x="2767965" y="978088"/>
                  <a:pt x="2741295" y="1049844"/>
                  <a:pt x="2787650" y="1051749"/>
                </a:cubicBezTo>
                <a:close/>
                <a:moveTo>
                  <a:pt x="2878455" y="1009204"/>
                </a:moveTo>
                <a:cubicBezTo>
                  <a:pt x="2900045" y="1031429"/>
                  <a:pt x="2934970" y="997774"/>
                  <a:pt x="2912745" y="975549"/>
                </a:cubicBezTo>
                <a:cubicBezTo>
                  <a:pt x="2891155" y="953324"/>
                  <a:pt x="2856230" y="987613"/>
                  <a:pt x="2878455" y="1009204"/>
                </a:cubicBezTo>
                <a:close/>
                <a:moveTo>
                  <a:pt x="2892425" y="1034604"/>
                </a:moveTo>
                <a:cubicBezTo>
                  <a:pt x="2870200" y="1053654"/>
                  <a:pt x="2900045" y="1088579"/>
                  <a:pt x="2921635" y="1068894"/>
                </a:cubicBezTo>
                <a:cubicBezTo>
                  <a:pt x="2944495" y="1049844"/>
                  <a:pt x="2914650" y="1014919"/>
                  <a:pt x="2892425" y="1034604"/>
                </a:cubicBezTo>
                <a:close/>
                <a:moveTo>
                  <a:pt x="2214880" y="1595944"/>
                </a:moveTo>
                <a:cubicBezTo>
                  <a:pt x="2219325" y="1569909"/>
                  <a:pt x="2176780" y="1581338"/>
                  <a:pt x="2193290" y="1601659"/>
                </a:cubicBezTo>
                <a:cubicBezTo>
                  <a:pt x="2184400" y="1634044"/>
                  <a:pt x="2239010" y="1619438"/>
                  <a:pt x="2214880" y="1595944"/>
                </a:cubicBezTo>
                <a:close/>
                <a:moveTo>
                  <a:pt x="2863850" y="966659"/>
                </a:moveTo>
                <a:cubicBezTo>
                  <a:pt x="2886075" y="967294"/>
                  <a:pt x="2898140" y="936813"/>
                  <a:pt x="2880995" y="922209"/>
                </a:cubicBezTo>
                <a:cubicBezTo>
                  <a:pt x="2844165" y="892999"/>
                  <a:pt x="2816860" y="964119"/>
                  <a:pt x="2863850" y="966659"/>
                </a:cubicBezTo>
                <a:close/>
                <a:moveTo>
                  <a:pt x="2814955" y="1102549"/>
                </a:moveTo>
                <a:cubicBezTo>
                  <a:pt x="2792730" y="1121599"/>
                  <a:pt x="2823210" y="1155888"/>
                  <a:pt x="2844800" y="1136204"/>
                </a:cubicBezTo>
                <a:cubicBezTo>
                  <a:pt x="2867025" y="1117154"/>
                  <a:pt x="2836545" y="1082863"/>
                  <a:pt x="2814955" y="1102549"/>
                </a:cubicBezTo>
                <a:close/>
                <a:moveTo>
                  <a:pt x="2800985" y="1086038"/>
                </a:moveTo>
                <a:cubicBezTo>
                  <a:pt x="2822575" y="1108263"/>
                  <a:pt x="2857500" y="1073974"/>
                  <a:pt x="2835275" y="1052384"/>
                </a:cubicBezTo>
                <a:cubicBezTo>
                  <a:pt x="2813685" y="1029524"/>
                  <a:pt x="2778760" y="1064449"/>
                  <a:pt x="2800985" y="1086038"/>
                </a:cubicBezTo>
                <a:close/>
                <a:moveTo>
                  <a:pt x="1876425" y="1800413"/>
                </a:moveTo>
                <a:cubicBezTo>
                  <a:pt x="1896110" y="1800413"/>
                  <a:pt x="1889760" y="1768663"/>
                  <a:pt x="1871345" y="1776284"/>
                </a:cubicBezTo>
                <a:cubicBezTo>
                  <a:pt x="1858645" y="1780729"/>
                  <a:pt x="1863090" y="1801049"/>
                  <a:pt x="1876425" y="1800413"/>
                </a:cubicBezTo>
                <a:close/>
                <a:moveTo>
                  <a:pt x="1817370" y="1823909"/>
                </a:moveTo>
                <a:cubicBezTo>
                  <a:pt x="1837055" y="1823909"/>
                  <a:pt x="1831340" y="1792794"/>
                  <a:pt x="1812925" y="1799144"/>
                </a:cubicBezTo>
                <a:cubicBezTo>
                  <a:pt x="1799590" y="1803588"/>
                  <a:pt x="1803400" y="1824544"/>
                  <a:pt x="1817370" y="1823909"/>
                </a:cubicBezTo>
                <a:close/>
                <a:moveTo>
                  <a:pt x="1853565" y="1841688"/>
                </a:moveTo>
                <a:cubicBezTo>
                  <a:pt x="1838325" y="1889313"/>
                  <a:pt x="1914525" y="1851849"/>
                  <a:pt x="1867535" y="1834704"/>
                </a:cubicBezTo>
                <a:cubicBezTo>
                  <a:pt x="1879600" y="1792794"/>
                  <a:pt x="1813560" y="1825813"/>
                  <a:pt x="1853565" y="1841688"/>
                </a:cubicBezTo>
                <a:close/>
                <a:moveTo>
                  <a:pt x="1757045" y="1843594"/>
                </a:moveTo>
                <a:cubicBezTo>
                  <a:pt x="1776095" y="1843594"/>
                  <a:pt x="1771650" y="1813113"/>
                  <a:pt x="1753235" y="1818829"/>
                </a:cubicBezTo>
                <a:cubicBezTo>
                  <a:pt x="1739265" y="1822638"/>
                  <a:pt x="1743075" y="1844229"/>
                  <a:pt x="1757045" y="1843594"/>
                </a:cubicBezTo>
                <a:close/>
                <a:moveTo>
                  <a:pt x="1931670" y="1828988"/>
                </a:moveTo>
                <a:cubicBezTo>
                  <a:pt x="1951990" y="1828988"/>
                  <a:pt x="1951355" y="1797238"/>
                  <a:pt x="1931035" y="1797874"/>
                </a:cubicBezTo>
                <a:cubicBezTo>
                  <a:pt x="1927225" y="1761044"/>
                  <a:pt x="1880235" y="1802319"/>
                  <a:pt x="1915795" y="1811209"/>
                </a:cubicBezTo>
                <a:cubicBezTo>
                  <a:pt x="1915160" y="1816288"/>
                  <a:pt x="1917065" y="1822004"/>
                  <a:pt x="1920875" y="1825179"/>
                </a:cubicBezTo>
                <a:cubicBezTo>
                  <a:pt x="1862455" y="1846134"/>
                  <a:pt x="1962785" y="1882963"/>
                  <a:pt x="1931670" y="1828988"/>
                </a:cubicBezTo>
                <a:close/>
                <a:moveTo>
                  <a:pt x="1978025" y="1777554"/>
                </a:moveTo>
                <a:cubicBezTo>
                  <a:pt x="1978660" y="1777554"/>
                  <a:pt x="1979295" y="1777554"/>
                  <a:pt x="1979930" y="1777554"/>
                </a:cubicBezTo>
                <a:cubicBezTo>
                  <a:pt x="1980565" y="1778824"/>
                  <a:pt x="1980565" y="1780729"/>
                  <a:pt x="1981835" y="1781999"/>
                </a:cubicBezTo>
                <a:cubicBezTo>
                  <a:pt x="1941195" y="1809938"/>
                  <a:pt x="2021205" y="1832799"/>
                  <a:pt x="2002155" y="1787713"/>
                </a:cubicBezTo>
                <a:cubicBezTo>
                  <a:pt x="2019300" y="1780729"/>
                  <a:pt x="2008505" y="1753424"/>
                  <a:pt x="1991360" y="1759138"/>
                </a:cubicBezTo>
                <a:cubicBezTo>
                  <a:pt x="1977390" y="1729294"/>
                  <a:pt x="1945640" y="1773744"/>
                  <a:pt x="1978025" y="1777554"/>
                </a:cubicBezTo>
                <a:close/>
                <a:moveTo>
                  <a:pt x="2045335" y="1713419"/>
                </a:moveTo>
                <a:cubicBezTo>
                  <a:pt x="2066925" y="1712784"/>
                  <a:pt x="2057400" y="1679129"/>
                  <a:pt x="2038350" y="1689924"/>
                </a:cubicBezTo>
                <a:cubicBezTo>
                  <a:pt x="2028190" y="1696274"/>
                  <a:pt x="2033270" y="1714054"/>
                  <a:pt x="2045335" y="1713419"/>
                </a:cubicBezTo>
                <a:close/>
                <a:moveTo>
                  <a:pt x="1990725" y="1745169"/>
                </a:moveTo>
                <a:cubicBezTo>
                  <a:pt x="2011680" y="1744534"/>
                  <a:pt x="2003425" y="1711513"/>
                  <a:pt x="1984375" y="1721674"/>
                </a:cubicBezTo>
                <a:cubicBezTo>
                  <a:pt x="1972945" y="1727388"/>
                  <a:pt x="1978025" y="1745804"/>
                  <a:pt x="1990725" y="1745169"/>
                </a:cubicBezTo>
                <a:close/>
                <a:moveTo>
                  <a:pt x="1934210" y="1774379"/>
                </a:moveTo>
                <a:cubicBezTo>
                  <a:pt x="1954530" y="1773744"/>
                  <a:pt x="1947545" y="1741994"/>
                  <a:pt x="1928495" y="1750249"/>
                </a:cubicBezTo>
                <a:cubicBezTo>
                  <a:pt x="1916430" y="1755329"/>
                  <a:pt x="1921510" y="1775013"/>
                  <a:pt x="1934210" y="1774379"/>
                </a:cubicBezTo>
                <a:close/>
                <a:moveTo>
                  <a:pt x="1791970" y="1868994"/>
                </a:moveTo>
                <a:cubicBezTo>
                  <a:pt x="1793240" y="1868994"/>
                  <a:pt x="1794510" y="1868994"/>
                  <a:pt x="1795145" y="1868359"/>
                </a:cubicBezTo>
                <a:cubicBezTo>
                  <a:pt x="1794510" y="1868359"/>
                  <a:pt x="1793875" y="1868994"/>
                  <a:pt x="1792605" y="1868994"/>
                </a:cubicBezTo>
                <a:cubicBezTo>
                  <a:pt x="1774190" y="1877249"/>
                  <a:pt x="1788160" y="1905824"/>
                  <a:pt x="1805940" y="1896934"/>
                </a:cubicBezTo>
                <a:cubicBezTo>
                  <a:pt x="1823085" y="1889313"/>
                  <a:pt x="1812290" y="1863913"/>
                  <a:pt x="1796415" y="1867724"/>
                </a:cubicBezTo>
                <a:cubicBezTo>
                  <a:pt x="1812290" y="1862644"/>
                  <a:pt x="1805305" y="1834069"/>
                  <a:pt x="1786255" y="1841054"/>
                </a:cubicBezTo>
                <a:cubicBezTo>
                  <a:pt x="1772920" y="1847404"/>
                  <a:pt x="1777365" y="1869629"/>
                  <a:pt x="1791970" y="1868994"/>
                </a:cubicBezTo>
                <a:close/>
                <a:moveTo>
                  <a:pt x="3213100" y="908874"/>
                </a:moveTo>
                <a:cubicBezTo>
                  <a:pt x="3249295" y="907604"/>
                  <a:pt x="3232150" y="851088"/>
                  <a:pt x="3201670" y="870138"/>
                </a:cubicBezTo>
                <a:cubicBezTo>
                  <a:pt x="3183890" y="880934"/>
                  <a:pt x="3192780" y="909509"/>
                  <a:pt x="3213100" y="908874"/>
                </a:cubicBezTo>
                <a:close/>
                <a:moveTo>
                  <a:pt x="3178175" y="1046034"/>
                </a:moveTo>
                <a:cubicBezTo>
                  <a:pt x="3208020" y="1045399"/>
                  <a:pt x="3196590" y="998409"/>
                  <a:pt x="3169285" y="1011744"/>
                </a:cubicBezTo>
                <a:cubicBezTo>
                  <a:pt x="3152775" y="1019363"/>
                  <a:pt x="3159125" y="1046669"/>
                  <a:pt x="3178175" y="1046034"/>
                </a:cubicBezTo>
                <a:close/>
                <a:moveTo>
                  <a:pt x="3250565" y="953324"/>
                </a:moveTo>
                <a:cubicBezTo>
                  <a:pt x="3283585" y="952688"/>
                  <a:pt x="3269615" y="900619"/>
                  <a:pt x="3240405" y="916494"/>
                </a:cubicBezTo>
                <a:cubicBezTo>
                  <a:pt x="3222625" y="926019"/>
                  <a:pt x="3230880" y="954594"/>
                  <a:pt x="3250565" y="953324"/>
                </a:cubicBezTo>
                <a:close/>
                <a:moveTo>
                  <a:pt x="3171190" y="999679"/>
                </a:moveTo>
                <a:cubicBezTo>
                  <a:pt x="3204210" y="999044"/>
                  <a:pt x="3189605" y="946974"/>
                  <a:pt x="3161030" y="962849"/>
                </a:cubicBezTo>
                <a:cubicBezTo>
                  <a:pt x="3143885" y="973009"/>
                  <a:pt x="3152140" y="1000949"/>
                  <a:pt x="3171190" y="999679"/>
                </a:cubicBezTo>
                <a:close/>
                <a:moveTo>
                  <a:pt x="3131820" y="837754"/>
                </a:moveTo>
                <a:cubicBezTo>
                  <a:pt x="3114675" y="849819"/>
                  <a:pt x="3124835" y="879029"/>
                  <a:pt x="3145790" y="878394"/>
                </a:cubicBezTo>
                <a:cubicBezTo>
                  <a:pt x="3185795" y="876488"/>
                  <a:pt x="3164840" y="814259"/>
                  <a:pt x="3131820" y="837754"/>
                </a:cubicBezTo>
                <a:close/>
                <a:moveTo>
                  <a:pt x="3215005" y="774888"/>
                </a:moveTo>
                <a:cubicBezTo>
                  <a:pt x="3190875" y="792034"/>
                  <a:pt x="3218815" y="828863"/>
                  <a:pt x="3241675" y="811084"/>
                </a:cubicBezTo>
                <a:lnTo>
                  <a:pt x="3241675" y="811084"/>
                </a:lnTo>
                <a:cubicBezTo>
                  <a:pt x="3265170" y="794574"/>
                  <a:pt x="3237865" y="757109"/>
                  <a:pt x="3215005" y="774888"/>
                </a:cubicBezTo>
                <a:close/>
                <a:moveTo>
                  <a:pt x="3101975" y="1086674"/>
                </a:moveTo>
                <a:cubicBezTo>
                  <a:pt x="3132455" y="1086038"/>
                  <a:pt x="3119755" y="1038413"/>
                  <a:pt x="3093085" y="1052384"/>
                </a:cubicBezTo>
                <a:cubicBezTo>
                  <a:pt x="3076575" y="1060638"/>
                  <a:pt x="3083560" y="1087309"/>
                  <a:pt x="3101975" y="1086674"/>
                </a:cubicBezTo>
                <a:close/>
                <a:moveTo>
                  <a:pt x="3093085" y="1047938"/>
                </a:moveTo>
                <a:cubicBezTo>
                  <a:pt x="3126105" y="1047304"/>
                  <a:pt x="3111500" y="994599"/>
                  <a:pt x="3082290" y="1011744"/>
                </a:cubicBezTo>
                <a:cubicBezTo>
                  <a:pt x="3065780" y="1021269"/>
                  <a:pt x="3074035" y="1048574"/>
                  <a:pt x="3093085" y="1047938"/>
                </a:cubicBezTo>
                <a:close/>
                <a:moveTo>
                  <a:pt x="3144520" y="959674"/>
                </a:moveTo>
                <a:cubicBezTo>
                  <a:pt x="3167380" y="944434"/>
                  <a:pt x="3142615" y="908874"/>
                  <a:pt x="3120390" y="924749"/>
                </a:cubicBezTo>
                <a:cubicBezTo>
                  <a:pt x="3097530" y="939988"/>
                  <a:pt x="3122295" y="975549"/>
                  <a:pt x="3144520" y="959674"/>
                </a:cubicBezTo>
                <a:close/>
                <a:moveTo>
                  <a:pt x="3202305" y="682179"/>
                </a:moveTo>
                <a:cubicBezTo>
                  <a:pt x="3178175" y="701863"/>
                  <a:pt x="3209290" y="739329"/>
                  <a:pt x="3232785" y="719009"/>
                </a:cubicBezTo>
                <a:cubicBezTo>
                  <a:pt x="3257550" y="699959"/>
                  <a:pt x="3226435" y="661859"/>
                  <a:pt x="3202305" y="682179"/>
                </a:cubicBezTo>
                <a:cubicBezTo>
                  <a:pt x="3202305" y="682179"/>
                  <a:pt x="3202305" y="682179"/>
                  <a:pt x="3202305" y="682179"/>
                </a:cubicBezTo>
                <a:close/>
                <a:moveTo>
                  <a:pt x="2968625" y="999679"/>
                </a:moveTo>
                <a:cubicBezTo>
                  <a:pt x="2987040" y="1022538"/>
                  <a:pt x="3022600" y="992694"/>
                  <a:pt x="3002915" y="970469"/>
                </a:cubicBezTo>
                <a:cubicBezTo>
                  <a:pt x="2984500" y="947609"/>
                  <a:pt x="2948940" y="977454"/>
                  <a:pt x="2968625" y="999679"/>
                </a:cubicBezTo>
                <a:close/>
                <a:moveTo>
                  <a:pt x="3019425" y="799019"/>
                </a:moveTo>
                <a:cubicBezTo>
                  <a:pt x="3041015" y="799654"/>
                  <a:pt x="3053715" y="770444"/>
                  <a:pt x="3037205" y="755204"/>
                </a:cubicBezTo>
                <a:cubicBezTo>
                  <a:pt x="3001645" y="724724"/>
                  <a:pt x="2972435" y="797113"/>
                  <a:pt x="3019425" y="799019"/>
                </a:cubicBezTo>
                <a:close/>
                <a:moveTo>
                  <a:pt x="2957195" y="899984"/>
                </a:moveTo>
                <a:cubicBezTo>
                  <a:pt x="2934335" y="920938"/>
                  <a:pt x="2967990" y="956499"/>
                  <a:pt x="2990215" y="934909"/>
                </a:cubicBezTo>
                <a:cubicBezTo>
                  <a:pt x="3013075" y="913319"/>
                  <a:pt x="2979420" y="877759"/>
                  <a:pt x="2957195" y="899984"/>
                </a:cubicBezTo>
                <a:cubicBezTo>
                  <a:pt x="2957195" y="899984"/>
                  <a:pt x="2957195" y="899984"/>
                  <a:pt x="2957195" y="899984"/>
                </a:cubicBezTo>
                <a:close/>
                <a:moveTo>
                  <a:pt x="2940685" y="882204"/>
                </a:moveTo>
                <a:cubicBezTo>
                  <a:pt x="2962910" y="882838"/>
                  <a:pt x="2974975" y="852994"/>
                  <a:pt x="2957830" y="838388"/>
                </a:cubicBezTo>
                <a:cubicBezTo>
                  <a:pt x="2922270" y="807909"/>
                  <a:pt x="2894330" y="880299"/>
                  <a:pt x="2940685" y="882204"/>
                </a:cubicBezTo>
                <a:close/>
                <a:moveTo>
                  <a:pt x="3035935" y="859344"/>
                </a:moveTo>
                <a:cubicBezTo>
                  <a:pt x="3056255" y="882838"/>
                  <a:pt x="3092450" y="849819"/>
                  <a:pt x="3071495" y="826959"/>
                </a:cubicBezTo>
                <a:cubicBezTo>
                  <a:pt x="3050540" y="803463"/>
                  <a:pt x="3014345" y="836484"/>
                  <a:pt x="3035935" y="859344"/>
                </a:cubicBezTo>
                <a:close/>
                <a:moveTo>
                  <a:pt x="3183255" y="639634"/>
                </a:moveTo>
                <a:cubicBezTo>
                  <a:pt x="3229610" y="637729"/>
                  <a:pt x="3202305" y="565338"/>
                  <a:pt x="3166110" y="595819"/>
                </a:cubicBezTo>
                <a:cubicBezTo>
                  <a:pt x="3148965" y="610424"/>
                  <a:pt x="3161030" y="640269"/>
                  <a:pt x="3183255" y="639634"/>
                </a:cubicBezTo>
                <a:close/>
                <a:moveTo>
                  <a:pt x="3116580" y="786319"/>
                </a:moveTo>
                <a:cubicBezTo>
                  <a:pt x="3136900" y="810449"/>
                  <a:pt x="3173730" y="778063"/>
                  <a:pt x="3152775" y="754569"/>
                </a:cubicBezTo>
                <a:cubicBezTo>
                  <a:pt x="3132455" y="731074"/>
                  <a:pt x="3095625" y="763459"/>
                  <a:pt x="3116580" y="786319"/>
                </a:cubicBezTo>
                <a:close/>
                <a:moveTo>
                  <a:pt x="3100070" y="718374"/>
                </a:moveTo>
                <a:cubicBezTo>
                  <a:pt x="3121660" y="719009"/>
                  <a:pt x="3134360" y="690434"/>
                  <a:pt x="3118485" y="675194"/>
                </a:cubicBezTo>
                <a:cubicBezTo>
                  <a:pt x="3082925" y="642809"/>
                  <a:pt x="3052445" y="715834"/>
                  <a:pt x="3100070" y="718374"/>
                </a:cubicBezTo>
                <a:close/>
                <a:moveTo>
                  <a:pt x="1534160" y="1982659"/>
                </a:moveTo>
                <a:cubicBezTo>
                  <a:pt x="1529080" y="1962974"/>
                  <a:pt x="1498600" y="1971229"/>
                  <a:pt x="1504315" y="1990279"/>
                </a:cubicBezTo>
                <a:cubicBezTo>
                  <a:pt x="1509395" y="2009963"/>
                  <a:pt x="1539875" y="2001709"/>
                  <a:pt x="1534160" y="1982659"/>
                </a:cubicBezTo>
                <a:close/>
                <a:moveTo>
                  <a:pt x="1376680" y="1955354"/>
                </a:moveTo>
                <a:cubicBezTo>
                  <a:pt x="1378585" y="1973769"/>
                  <a:pt x="1407160" y="1970594"/>
                  <a:pt x="1404620" y="1952813"/>
                </a:cubicBezTo>
                <a:cubicBezTo>
                  <a:pt x="1403350" y="1934399"/>
                  <a:pt x="1374775" y="1936938"/>
                  <a:pt x="1376680" y="1955354"/>
                </a:cubicBezTo>
                <a:close/>
                <a:moveTo>
                  <a:pt x="1408430" y="2121089"/>
                </a:moveTo>
                <a:cubicBezTo>
                  <a:pt x="1416050" y="2143949"/>
                  <a:pt x="1450975" y="2131249"/>
                  <a:pt x="1443355" y="2109024"/>
                </a:cubicBezTo>
                <a:cubicBezTo>
                  <a:pt x="1435735" y="2086163"/>
                  <a:pt x="1400175" y="2098864"/>
                  <a:pt x="1408430" y="2121089"/>
                </a:cubicBezTo>
                <a:close/>
                <a:moveTo>
                  <a:pt x="1391920" y="2072194"/>
                </a:moveTo>
                <a:cubicBezTo>
                  <a:pt x="1397000" y="2093784"/>
                  <a:pt x="1430655" y="2084259"/>
                  <a:pt x="1424305" y="2063304"/>
                </a:cubicBezTo>
                <a:cubicBezTo>
                  <a:pt x="1419225" y="2042349"/>
                  <a:pt x="1385570" y="2051238"/>
                  <a:pt x="1391920" y="2072194"/>
                </a:cubicBezTo>
                <a:close/>
                <a:moveTo>
                  <a:pt x="1381760" y="1902013"/>
                </a:moveTo>
                <a:cubicBezTo>
                  <a:pt x="1398270" y="1902013"/>
                  <a:pt x="1398270" y="1875979"/>
                  <a:pt x="1381760" y="1876613"/>
                </a:cubicBezTo>
                <a:cubicBezTo>
                  <a:pt x="1365250" y="1876613"/>
                  <a:pt x="1365250" y="1902013"/>
                  <a:pt x="1381760" y="1902013"/>
                </a:cubicBezTo>
                <a:close/>
                <a:moveTo>
                  <a:pt x="1445260" y="1899474"/>
                </a:moveTo>
                <a:cubicBezTo>
                  <a:pt x="1462405" y="1900109"/>
                  <a:pt x="1461770" y="1872804"/>
                  <a:pt x="1444625" y="1874074"/>
                </a:cubicBezTo>
                <a:cubicBezTo>
                  <a:pt x="1428750" y="1874709"/>
                  <a:pt x="1429385" y="1900109"/>
                  <a:pt x="1445260" y="1899474"/>
                </a:cubicBezTo>
                <a:close/>
                <a:moveTo>
                  <a:pt x="1372870" y="2033459"/>
                </a:moveTo>
                <a:cubicBezTo>
                  <a:pt x="1394460" y="2033459"/>
                  <a:pt x="1391920" y="1999169"/>
                  <a:pt x="1370330" y="2002344"/>
                </a:cubicBezTo>
                <a:cubicBezTo>
                  <a:pt x="1351915" y="2005519"/>
                  <a:pt x="1354455" y="2034094"/>
                  <a:pt x="1372870" y="2033459"/>
                </a:cubicBezTo>
                <a:close/>
                <a:moveTo>
                  <a:pt x="1446530" y="2019488"/>
                </a:moveTo>
                <a:cubicBezTo>
                  <a:pt x="1468755" y="2019488"/>
                  <a:pt x="1464945" y="1983929"/>
                  <a:pt x="1443355" y="1989009"/>
                </a:cubicBezTo>
                <a:cubicBezTo>
                  <a:pt x="1425575" y="1992184"/>
                  <a:pt x="1428750" y="2020124"/>
                  <a:pt x="1446530" y="2019488"/>
                </a:cubicBezTo>
                <a:close/>
                <a:moveTo>
                  <a:pt x="1445260" y="2154744"/>
                </a:moveTo>
                <a:cubicBezTo>
                  <a:pt x="1435735" y="2131249"/>
                  <a:pt x="1398270" y="2147124"/>
                  <a:pt x="1409065" y="2169984"/>
                </a:cubicBezTo>
                <a:cubicBezTo>
                  <a:pt x="1418590" y="2194114"/>
                  <a:pt x="1455420" y="2178239"/>
                  <a:pt x="1445260" y="2154744"/>
                </a:cubicBezTo>
                <a:close/>
                <a:moveTo>
                  <a:pt x="1402715" y="2195384"/>
                </a:moveTo>
                <a:cubicBezTo>
                  <a:pt x="1377950" y="2207449"/>
                  <a:pt x="1397635" y="2246184"/>
                  <a:pt x="1421765" y="2233484"/>
                </a:cubicBezTo>
                <a:cubicBezTo>
                  <a:pt x="1446530" y="2221419"/>
                  <a:pt x="1427480" y="2182684"/>
                  <a:pt x="1402715" y="2195384"/>
                </a:cubicBezTo>
                <a:close/>
                <a:moveTo>
                  <a:pt x="1725930" y="1900109"/>
                </a:moveTo>
                <a:cubicBezTo>
                  <a:pt x="1706880" y="1907729"/>
                  <a:pt x="1719580" y="1936938"/>
                  <a:pt x="1737995" y="1928684"/>
                </a:cubicBezTo>
                <a:cubicBezTo>
                  <a:pt x="1756410" y="1921063"/>
                  <a:pt x="1744345" y="1891854"/>
                  <a:pt x="1725930" y="1900109"/>
                </a:cubicBezTo>
                <a:close/>
                <a:moveTo>
                  <a:pt x="1318260" y="1902013"/>
                </a:moveTo>
                <a:cubicBezTo>
                  <a:pt x="1334770" y="1902649"/>
                  <a:pt x="1335405" y="1876613"/>
                  <a:pt x="1318895" y="1876613"/>
                </a:cubicBezTo>
                <a:cubicBezTo>
                  <a:pt x="1302385" y="1875979"/>
                  <a:pt x="1301750" y="1902013"/>
                  <a:pt x="1318260" y="1902013"/>
                </a:cubicBezTo>
                <a:close/>
                <a:moveTo>
                  <a:pt x="1256665" y="2147124"/>
                </a:moveTo>
                <a:cubicBezTo>
                  <a:pt x="1233170" y="2152839"/>
                  <a:pt x="1242695" y="2189034"/>
                  <a:pt x="1265555" y="2182684"/>
                </a:cubicBezTo>
                <a:cubicBezTo>
                  <a:pt x="1288415" y="2176969"/>
                  <a:pt x="1279525" y="2140774"/>
                  <a:pt x="1256665" y="2147124"/>
                </a:cubicBezTo>
                <a:close/>
                <a:moveTo>
                  <a:pt x="1299210" y="2044254"/>
                </a:moveTo>
                <a:cubicBezTo>
                  <a:pt x="1320800" y="2044254"/>
                  <a:pt x="1318895" y="2010599"/>
                  <a:pt x="1297305" y="2013138"/>
                </a:cubicBezTo>
                <a:cubicBezTo>
                  <a:pt x="1278255" y="2015044"/>
                  <a:pt x="1280160" y="2044254"/>
                  <a:pt x="1299210" y="2044254"/>
                </a:cubicBezTo>
                <a:close/>
                <a:moveTo>
                  <a:pt x="1326515" y="2147124"/>
                </a:moveTo>
                <a:cubicBezTo>
                  <a:pt x="1333500" y="2169984"/>
                  <a:pt x="1369060" y="2159189"/>
                  <a:pt x="1361440" y="2136329"/>
                </a:cubicBezTo>
                <a:cubicBezTo>
                  <a:pt x="1355090" y="2113469"/>
                  <a:pt x="1318895" y="2124264"/>
                  <a:pt x="1326515" y="2147124"/>
                </a:cubicBezTo>
                <a:close/>
                <a:moveTo>
                  <a:pt x="1274445" y="2221419"/>
                </a:moveTo>
                <a:cubicBezTo>
                  <a:pt x="1266825" y="2197289"/>
                  <a:pt x="1228725" y="2209989"/>
                  <a:pt x="1236980" y="2234119"/>
                </a:cubicBezTo>
                <a:cubicBezTo>
                  <a:pt x="1244600" y="2258249"/>
                  <a:pt x="1282700" y="2245549"/>
                  <a:pt x="1274445" y="2221419"/>
                </a:cubicBezTo>
                <a:close/>
                <a:moveTo>
                  <a:pt x="1315720" y="2236659"/>
                </a:moveTo>
                <a:cubicBezTo>
                  <a:pt x="1290320" y="2247454"/>
                  <a:pt x="1308100" y="2286824"/>
                  <a:pt x="1332865" y="2275394"/>
                </a:cubicBezTo>
                <a:cubicBezTo>
                  <a:pt x="1358265" y="2263964"/>
                  <a:pt x="1340485" y="2224594"/>
                  <a:pt x="1315720" y="2236659"/>
                </a:cubicBezTo>
                <a:close/>
                <a:moveTo>
                  <a:pt x="1445260" y="1947099"/>
                </a:moveTo>
                <a:cubicBezTo>
                  <a:pt x="1446530" y="1954719"/>
                  <a:pt x="1453515" y="1960434"/>
                  <a:pt x="1461135" y="1959163"/>
                </a:cubicBezTo>
                <a:lnTo>
                  <a:pt x="1461135" y="1959163"/>
                </a:lnTo>
                <a:cubicBezTo>
                  <a:pt x="1496695" y="1947734"/>
                  <a:pt x="1446530" y="1910269"/>
                  <a:pt x="1445260" y="1947099"/>
                </a:cubicBezTo>
                <a:close/>
                <a:moveTo>
                  <a:pt x="1307465" y="1959799"/>
                </a:moveTo>
                <a:cubicBezTo>
                  <a:pt x="1308100" y="1978213"/>
                  <a:pt x="1336675" y="1976309"/>
                  <a:pt x="1335405" y="1957894"/>
                </a:cubicBezTo>
                <a:cubicBezTo>
                  <a:pt x="1334770" y="1940113"/>
                  <a:pt x="1306195" y="1941384"/>
                  <a:pt x="1307465" y="1959799"/>
                </a:cubicBezTo>
                <a:close/>
                <a:moveTo>
                  <a:pt x="1325880" y="2070288"/>
                </a:moveTo>
                <a:cubicBezTo>
                  <a:pt x="1304290" y="2074734"/>
                  <a:pt x="1311910" y="2108389"/>
                  <a:pt x="1332865" y="2103309"/>
                </a:cubicBezTo>
                <a:cubicBezTo>
                  <a:pt x="1355090" y="2099499"/>
                  <a:pt x="1347470" y="2065209"/>
                  <a:pt x="1325880" y="2070288"/>
                </a:cubicBezTo>
                <a:close/>
                <a:moveTo>
                  <a:pt x="1360170" y="2189669"/>
                </a:moveTo>
                <a:cubicBezTo>
                  <a:pt x="1351280" y="2165539"/>
                  <a:pt x="1313815" y="2180144"/>
                  <a:pt x="1323340" y="2203639"/>
                </a:cubicBezTo>
                <a:cubicBezTo>
                  <a:pt x="1332230" y="2227769"/>
                  <a:pt x="1369695" y="2213799"/>
                  <a:pt x="1360170" y="2189669"/>
                </a:cubicBezTo>
                <a:close/>
                <a:moveTo>
                  <a:pt x="1633855" y="1875344"/>
                </a:moveTo>
                <a:cubicBezTo>
                  <a:pt x="1652270" y="1875344"/>
                  <a:pt x="1649095" y="1846769"/>
                  <a:pt x="1631315" y="1849944"/>
                </a:cubicBezTo>
                <a:cubicBezTo>
                  <a:pt x="1616710" y="1852484"/>
                  <a:pt x="1619250" y="1875344"/>
                  <a:pt x="1633855" y="1875344"/>
                </a:cubicBezTo>
                <a:close/>
                <a:moveTo>
                  <a:pt x="1571625" y="1886138"/>
                </a:moveTo>
                <a:cubicBezTo>
                  <a:pt x="1589405" y="1886138"/>
                  <a:pt x="1587500" y="1858199"/>
                  <a:pt x="1569720" y="1860738"/>
                </a:cubicBezTo>
                <a:cubicBezTo>
                  <a:pt x="1554480" y="1862644"/>
                  <a:pt x="1556385" y="1886774"/>
                  <a:pt x="1571625" y="1886138"/>
                </a:cubicBezTo>
                <a:close/>
                <a:moveTo>
                  <a:pt x="7406640" y="2173159"/>
                </a:moveTo>
                <a:cubicBezTo>
                  <a:pt x="7419340" y="2150934"/>
                  <a:pt x="7384415" y="2131249"/>
                  <a:pt x="7372350" y="2153474"/>
                </a:cubicBezTo>
                <a:cubicBezTo>
                  <a:pt x="7359650" y="2175699"/>
                  <a:pt x="7393940" y="2195384"/>
                  <a:pt x="7406640" y="2173159"/>
                </a:cubicBezTo>
                <a:close/>
                <a:moveTo>
                  <a:pt x="1586865" y="1950909"/>
                </a:moveTo>
                <a:cubicBezTo>
                  <a:pt x="1567180" y="1956624"/>
                  <a:pt x="1577340" y="1987104"/>
                  <a:pt x="1596390" y="1980754"/>
                </a:cubicBezTo>
                <a:cubicBezTo>
                  <a:pt x="1615440" y="1975038"/>
                  <a:pt x="1605915" y="1944559"/>
                  <a:pt x="1586865" y="1950909"/>
                </a:cubicBezTo>
                <a:close/>
                <a:moveTo>
                  <a:pt x="1581150" y="1922334"/>
                </a:moveTo>
                <a:cubicBezTo>
                  <a:pt x="1585595" y="1940113"/>
                  <a:pt x="1612900" y="1933129"/>
                  <a:pt x="1608455" y="1915349"/>
                </a:cubicBezTo>
                <a:cubicBezTo>
                  <a:pt x="1604645" y="1897569"/>
                  <a:pt x="1576705" y="1904554"/>
                  <a:pt x="1581150" y="1922334"/>
                </a:cubicBezTo>
                <a:close/>
                <a:moveTo>
                  <a:pt x="1696085" y="1860738"/>
                </a:moveTo>
                <a:cubicBezTo>
                  <a:pt x="1714500" y="1860738"/>
                  <a:pt x="1710690" y="1830894"/>
                  <a:pt x="1692910" y="1835974"/>
                </a:cubicBezTo>
                <a:cubicBezTo>
                  <a:pt x="1678305" y="1839149"/>
                  <a:pt x="1681480" y="1861374"/>
                  <a:pt x="1696085" y="1860738"/>
                </a:cubicBezTo>
                <a:close/>
                <a:moveTo>
                  <a:pt x="1483360" y="2240469"/>
                </a:moveTo>
                <a:cubicBezTo>
                  <a:pt x="1508760" y="2225864"/>
                  <a:pt x="1485265" y="2186494"/>
                  <a:pt x="1460500" y="2201734"/>
                </a:cubicBezTo>
                <a:cubicBezTo>
                  <a:pt x="1435100" y="2216339"/>
                  <a:pt x="1458595" y="2255709"/>
                  <a:pt x="1483360" y="2240469"/>
                </a:cubicBezTo>
                <a:close/>
                <a:moveTo>
                  <a:pt x="1667510" y="1955988"/>
                </a:moveTo>
                <a:cubicBezTo>
                  <a:pt x="1686560" y="1949638"/>
                  <a:pt x="1675765" y="1919794"/>
                  <a:pt x="1656715" y="1926779"/>
                </a:cubicBezTo>
                <a:cubicBezTo>
                  <a:pt x="1637665" y="1933763"/>
                  <a:pt x="1649095" y="1963609"/>
                  <a:pt x="1667510" y="1955988"/>
                </a:cubicBezTo>
                <a:close/>
                <a:moveTo>
                  <a:pt x="1661795" y="1914713"/>
                </a:moveTo>
                <a:cubicBezTo>
                  <a:pt x="1682750" y="1914713"/>
                  <a:pt x="1677670" y="1881059"/>
                  <a:pt x="1657985" y="1887409"/>
                </a:cubicBezTo>
                <a:cubicBezTo>
                  <a:pt x="1642110" y="1891219"/>
                  <a:pt x="1645920" y="1915349"/>
                  <a:pt x="1661795" y="1914713"/>
                </a:cubicBezTo>
                <a:close/>
                <a:moveTo>
                  <a:pt x="1727200" y="1893759"/>
                </a:moveTo>
                <a:cubicBezTo>
                  <a:pt x="1748790" y="1893759"/>
                  <a:pt x="1743075" y="1859469"/>
                  <a:pt x="1722755" y="1866454"/>
                </a:cubicBezTo>
                <a:cubicBezTo>
                  <a:pt x="1708150" y="1870899"/>
                  <a:pt x="1711960" y="1894394"/>
                  <a:pt x="1727200" y="1893759"/>
                </a:cubicBezTo>
                <a:close/>
                <a:moveTo>
                  <a:pt x="3079115" y="936813"/>
                </a:moveTo>
                <a:cubicBezTo>
                  <a:pt x="3101975" y="919034"/>
                  <a:pt x="3073400" y="882838"/>
                  <a:pt x="3050540" y="901888"/>
                </a:cubicBezTo>
                <a:cubicBezTo>
                  <a:pt x="3027680" y="919669"/>
                  <a:pt x="3056890" y="955863"/>
                  <a:pt x="3079115" y="936813"/>
                </a:cubicBezTo>
                <a:close/>
                <a:moveTo>
                  <a:pt x="1508760" y="1894394"/>
                </a:moveTo>
                <a:cubicBezTo>
                  <a:pt x="1525905" y="1894394"/>
                  <a:pt x="1524635" y="1867088"/>
                  <a:pt x="1507490" y="1868994"/>
                </a:cubicBezTo>
                <a:cubicBezTo>
                  <a:pt x="1491615" y="1870263"/>
                  <a:pt x="1492885" y="1894394"/>
                  <a:pt x="1508760" y="1894394"/>
                </a:cubicBezTo>
                <a:close/>
                <a:moveTo>
                  <a:pt x="1499235" y="2067113"/>
                </a:moveTo>
                <a:cubicBezTo>
                  <a:pt x="1480820" y="2074099"/>
                  <a:pt x="1486535" y="2103309"/>
                  <a:pt x="1506220" y="2102674"/>
                </a:cubicBezTo>
                <a:cubicBezTo>
                  <a:pt x="1534795" y="2102674"/>
                  <a:pt x="1525905" y="2056954"/>
                  <a:pt x="1499235" y="2067113"/>
                </a:cubicBezTo>
                <a:close/>
                <a:moveTo>
                  <a:pt x="1468755" y="2050604"/>
                </a:moveTo>
                <a:cubicBezTo>
                  <a:pt x="1475105" y="2071559"/>
                  <a:pt x="1508125" y="2061399"/>
                  <a:pt x="1501140" y="2040444"/>
                </a:cubicBezTo>
                <a:cubicBezTo>
                  <a:pt x="1495425" y="2019488"/>
                  <a:pt x="1462405" y="2030284"/>
                  <a:pt x="1468755" y="2050604"/>
                </a:cubicBezTo>
                <a:close/>
                <a:moveTo>
                  <a:pt x="1540510" y="2178874"/>
                </a:moveTo>
                <a:cubicBezTo>
                  <a:pt x="1555750" y="2203639"/>
                  <a:pt x="1594485" y="2178874"/>
                  <a:pt x="1578610" y="2154744"/>
                </a:cubicBezTo>
                <a:cubicBezTo>
                  <a:pt x="1563370" y="2129979"/>
                  <a:pt x="1524635" y="2154744"/>
                  <a:pt x="1540510" y="2178874"/>
                </a:cubicBezTo>
                <a:close/>
                <a:moveTo>
                  <a:pt x="1561465" y="2036634"/>
                </a:moveTo>
                <a:cubicBezTo>
                  <a:pt x="1587500" y="2036634"/>
                  <a:pt x="1579880" y="1994724"/>
                  <a:pt x="1555750" y="2003613"/>
                </a:cubicBezTo>
                <a:cubicBezTo>
                  <a:pt x="1537970" y="2009963"/>
                  <a:pt x="1543050" y="2037269"/>
                  <a:pt x="1561465" y="2036634"/>
                </a:cubicBezTo>
                <a:close/>
                <a:moveTo>
                  <a:pt x="1513840" y="1936304"/>
                </a:moveTo>
                <a:cubicBezTo>
                  <a:pt x="1517015" y="1954719"/>
                  <a:pt x="1545590" y="1949004"/>
                  <a:pt x="1541780" y="1931224"/>
                </a:cubicBezTo>
                <a:cubicBezTo>
                  <a:pt x="1537970" y="1912809"/>
                  <a:pt x="1510030" y="1918524"/>
                  <a:pt x="1513840" y="1936304"/>
                </a:cubicBezTo>
                <a:close/>
                <a:moveTo>
                  <a:pt x="1528445" y="2116009"/>
                </a:moveTo>
                <a:cubicBezTo>
                  <a:pt x="1517650" y="2092513"/>
                  <a:pt x="1481455" y="2110294"/>
                  <a:pt x="1492885" y="2133154"/>
                </a:cubicBezTo>
                <a:cubicBezTo>
                  <a:pt x="1503680" y="2156649"/>
                  <a:pt x="1539875" y="2138869"/>
                  <a:pt x="1528445" y="2116009"/>
                </a:cubicBezTo>
                <a:close/>
                <a:moveTo>
                  <a:pt x="4215765" y="677099"/>
                </a:moveTo>
                <a:cubicBezTo>
                  <a:pt x="4218305" y="700594"/>
                  <a:pt x="4255135" y="696149"/>
                  <a:pt x="4251960" y="672654"/>
                </a:cubicBezTo>
                <a:cubicBezTo>
                  <a:pt x="4249420" y="648524"/>
                  <a:pt x="4212590" y="653604"/>
                  <a:pt x="4215765" y="677099"/>
                </a:cubicBezTo>
                <a:close/>
                <a:moveTo>
                  <a:pt x="4094480" y="478344"/>
                </a:moveTo>
                <a:cubicBezTo>
                  <a:pt x="4067175" y="482788"/>
                  <a:pt x="4075430" y="525334"/>
                  <a:pt x="4102100" y="519619"/>
                </a:cubicBezTo>
                <a:cubicBezTo>
                  <a:pt x="4129405" y="515174"/>
                  <a:pt x="4121150" y="472629"/>
                  <a:pt x="4094480" y="478344"/>
                </a:cubicBezTo>
                <a:close/>
                <a:moveTo>
                  <a:pt x="4086860" y="198308"/>
                </a:moveTo>
                <a:cubicBezTo>
                  <a:pt x="4120515" y="198944"/>
                  <a:pt x="4119245" y="145604"/>
                  <a:pt x="4085590" y="147508"/>
                </a:cubicBezTo>
                <a:cubicBezTo>
                  <a:pt x="4053205" y="148144"/>
                  <a:pt x="4054475" y="198944"/>
                  <a:pt x="4086860" y="198308"/>
                </a:cubicBezTo>
                <a:close/>
                <a:moveTo>
                  <a:pt x="4131310" y="773619"/>
                </a:moveTo>
                <a:cubicBezTo>
                  <a:pt x="4133850" y="795209"/>
                  <a:pt x="4168140" y="790763"/>
                  <a:pt x="4164965" y="768538"/>
                </a:cubicBezTo>
                <a:cubicBezTo>
                  <a:pt x="4162425" y="746949"/>
                  <a:pt x="4128135" y="752029"/>
                  <a:pt x="4131310" y="773619"/>
                </a:cubicBezTo>
                <a:close/>
                <a:moveTo>
                  <a:pt x="4084955" y="305624"/>
                </a:moveTo>
                <a:cubicBezTo>
                  <a:pt x="4117975" y="305624"/>
                  <a:pt x="4114800" y="253554"/>
                  <a:pt x="4082415" y="257999"/>
                </a:cubicBezTo>
                <a:cubicBezTo>
                  <a:pt x="4053205" y="260538"/>
                  <a:pt x="4056380" y="306258"/>
                  <a:pt x="4084955" y="305624"/>
                </a:cubicBezTo>
                <a:close/>
                <a:moveTo>
                  <a:pt x="4193540" y="298004"/>
                </a:moveTo>
                <a:cubicBezTo>
                  <a:pt x="4225290" y="298004"/>
                  <a:pt x="4224655" y="248474"/>
                  <a:pt x="4192905" y="249744"/>
                </a:cubicBezTo>
                <a:cubicBezTo>
                  <a:pt x="4161790" y="250379"/>
                  <a:pt x="4163060" y="298638"/>
                  <a:pt x="4193540" y="298004"/>
                </a:cubicBezTo>
                <a:close/>
                <a:moveTo>
                  <a:pt x="4057015" y="420558"/>
                </a:moveTo>
                <a:cubicBezTo>
                  <a:pt x="4088765" y="420558"/>
                  <a:pt x="4084320" y="369758"/>
                  <a:pt x="4052570" y="376108"/>
                </a:cubicBezTo>
                <a:cubicBezTo>
                  <a:pt x="4026535" y="379919"/>
                  <a:pt x="4030980" y="421194"/>
                  <a:pt x="4057015" y="420558"/>
                </a:cubicBezTo>
                <a:close/>
                <a:moveTo>
                  <a:pt x="4149090" y="705038"/>
                </a:moveTo>
                <a:cubicBezTo>
                  <a:pt x="4175125" y="705038"/>
                  <a:pt x="4171315" y="664399"/>
                  <a:pt x="4146550" y="668844"/>
                </a:cubicBezTo>
                <a:cubicBezTo>
                  <a:pt x="4124325" y="671384"/>
                  <a:pt x="4126865" y="705674"/>
                  <a:pt x="4149090" y="705038"/>
                </a:cubicBezTo>
                <a:close/>
                <a:moveTo>
                  <a:pt x="4199255" y="199579"/>
                </a:moveTo>
                <a:cubicBezTo>
                  <a:pt x="4232275" y="202119"/>
                  <a:pt x="4235450" y="150683"/>
                  <a:pt x="4202430" y="148779"/>
                </a:cubicBezTo>
                <a:cubicBezTo>
                  <a:pt x="4170045" y="146238"/>
                  <a:pt x="4166235" y="197674"/>
                  <a:pt x="4199255" y="199579"/>
                </a:cubicBezTo>
                <a:close/>
                <a:moveTo>
                  <a:pt x="4159250" y="404683"/>
                </a:moveTo>
                <a:cubicBezTo>
                  <a:pt x="4190365" y="405319"/>
                  <a:pt x="4187190" y="355788"/>
                  <a:pt x="4156710" y="359599"/>
                </a:cubicBezTo>
                <a:cubicBezTo>
                  <a:pt x="4128770" y="362774"/>
                  <a:pt x="4131310" y="405954"/>
                  <a:pt x="4159250" y="404683"/>
                </a:cubicBezTo>
                <a:close/>
                <a:moveTo>
                  <a:pt x="3891915" y="722819"/>
                </a:moveTo>
                <a:cubicBezTo>
                  <a:pt x="3868420" y="728534"/>
                  <a:pt x="3878580" y="764729"/>
                  <a:pt x="3901440" y="758379"/>
                </a:cubicBezTo>
                <a:cubicBezTo>
                  <a:pt x="3924300" y="752663"/>
                  <a:pt x="3914775" y="716469"/>
                  <a:pt x="3891915" y="722819"/>
                </a:cubicBezTo>
                <a:close/>
                <a:moveTo>
                  <a:pt x="3973195" y="209104"/>
                </a:moveTo>
                <a:cubicBezTo>
                  <a:pt x="4008755" y="209104"/>
                  <a:pt x="4004310" y="153224"/>
                  <a:pt x="3969385" y="158938"/>
                </a:cubicBezTo>
                <a:cubicBezTo>
                  <a:pt x="3938905" y="162113"/>
                  <a:pt x="3942715" y="209738"/>
                  <a:pt x="3973195" y="209104"/>
                </a:cubicBezTo>
                <a:close/>
                <a:moveTo>
                  <a:pt x="3927475" y="661859"/>
                </a:moveTo>
                <a:cubicBezTo>
                  <a:pt x="3952240" y="655509"/>
                  <a:pt x="3941445" y="616774"/>
                  <a:pt x="3916680" y="623759"/>
                </a:cubicBezTo>
                <a:cubicBezTo>
                  <a:pt x="3891915" y="630744"/>
                  <a:pt x="3903345" y="669479"/>
                  <a:pt x="3927475" y="661859"/>
                </a:cubicBezTo>
                <a:close/>
                <a:moveTo>
                  <a:pt x="3889375" y="550734"/>
                </a:moveTo>
                <a:cubicBezTo>
                  <a:pt x="3914140" y="600263"/>
                  <a:pt x="3958590" y="517713"/>
                  <a:pt x="3903345" y="524699"/>
                </a:cubicBezTo>
                <a:cubicBezTo>
                  <a:pt x="3891915" y="527874"/>
                  <a:pt x="3885565" y="539938"/>
                  <a:pt x="3889375" y="550734"/>
                </a:cubicBezTo>
                <a:close/>
                <a:moveTo>
                  <a:pt x="4060825" y="684084"/>
                </a:moveTo>
                <a:cubicBezTo>
                  <a:pt x="4037330" y="688529"/>
                  <a:pt x="4044950" y="724724"/>
                  <a:pt x="4067810" y="720279"/>
                </a:cubicBezTo>
                <a:cubicBezTo>
                  <a:pt x="4091305" y="715834"/>
                  <a:pt x="4083685" y="679004"/>
                  <a:pt x="4060825" y="684084"/>
                </a:cubicBezTo>
                <a:close/>
                <a:moveTo>
                  <a:pt x="4191635" y="463104"/>
                </a:moveTo>
                <a:cubicBezTo>
                  <a:pt x="4164330" y="466279"/>
                  <a:pt x="4170045" y="508824"/>
                  <a:pt x="4196715" y="505013"/>
                </a:cubicBezTo>
                <a:cubicBezTo>
                  <a:pt x="4224020" y="501838"/>
                  <a:pt x="4218940" y="459294"/>
                  <a:pt x="4191635" y="463104"/>
                </a:cubicBezTo>
                <a:close/>
                <a:moveTo>
                  <a:pt x="3986530" y="781238"/>
                </a:moveTo>
                <a:cubicBezTo>
                  <a:pt x="3964940" y="785049"/>
                  <a:pt x="3971925" y="819338"/>
                  <a:pt x="3992880" y="814259"/>
                </a:cubicBezTo>
                <a:cubicBezTo>
                  <a:pt x="4015105" y="811084"/>
                  <a:pt x="4008120" y="776794"/>
                  <a:pt x="3986530" y="781238"/>
                </a:cubicBezTo>
                <a:close/>
                <a:moveTo>
                  <a:pt x="4006850" y="600899"/>
                </a:moveTo>
                <a:cubicBezTo>
                  <a:pt x="3981450" y="606613"/>
                  <a:pt x="3990975" y="645349"/>
                  <a:pt x="4015740" y="639634"/>
                </a:cubicBezTo>
                <a:cubicBezTo>
                  <a:pt x="4040505" y="633919"/>
                  <a:pt x="4031615" y="594549"/>
                  <a:pt x="4006850" y="600899"/>
                </a:cubicBezTo>
                <a:close/>
                <a:moveTo>
                  <a:pt x="3982720" y="524063"/>
                </a:moveTo>
                <a:cubicBezTo>
                  <a:pt x="3989070" y="550734"/>
                  <a:pt x="4030980" y="540574"/>
                  <a:pt x="4023995" y="513904"/>
                </a:cubicBezTo>
                <a:cubicBezTo>
                  <a:pt x="4017645" y="487869"/>
                  <a:pt x="3975735" y="498029"/>
                  <a:pt x="3982720" y="524063"/>
                </a:cubicBezTo>
                <a:close/>
                <a:moveTo>
                  <a:pt x="3973195" y="275779"/>
                </a:moveTo>
                <a:cubicBezTo>
                  <a:pt x="3942715" y="281494"/>
                  <a:pt x="3952875" y="329754"/>
                  <a:pt x="3983355" y="322769"/>
                </a:cubicBezTo>
                <a:cubicBezTo>
                  <a:pt x="4013835" y="317054"/>
                  <a:pt x="4003675" y="268794"/>
                  <a:pt x="3973195" y="275779"/>
                </a:cubicBezTo>
                <a:close/>
                <a:moveTo>
                  <a:pt x="3957320" y="442783"/>
                </a:moveTo>
                <a:cubicBezTo>
                  <a:pt x="3990340" y="442783"/>
                  <a:pt x="3983990" y="390079"/>
                  <a:pt x="3951605" y="398333"/>
                </a:cubicBezTo>
                <a:cubicBezTo>
                  <a:pt x="3926205" y="404683"/>
                  <a:pt x="3931285" y="443419"/>
                  <a:pt x="3957320" y="442783"/>
                </a:cubicBezTo>
                <a:close/>
                <a:moveTo>
                  <a:pt x="4353560" y="569149"/>
                </a:moveTo>
                <a:cubicBezTo>
                  <a:pt x="4354830" y="594549"/>
                  <a:pt x="4394835" y="592644"/>
                  <a:pt x="4392930" y="567244"/>
                </a:cubicBezTo>
                <a:cubicBezTo>
                  <a:pt x="4392295" y="541209"/>
                  <a:pt x="4351655" y="543749"/>
                  <a:pt x="4353560" y="569149"/>
                </a:cubicBezTo>
                <a:close/>
                <a:moveTo>
                  <a:pt x="4406265" y="310704"/>
                </a:moveTo>
                <a:cubicBezTo>
                  <a:pt x="4436745" y="315783"/>
                  <a:pt x="4444365" y="267524"/>
                  <a:pt x="4413250" y="263079"/>
                </a:cubicBezTo>
                <a:cubicBezTo>
                  <a:pt x="4382770" y="258633"/>
                  <a:pt x="4375785" y="306894"/>
                  <a:pt x="4406265" y="310704"/>
                </a:cubicBezTo>
                <a:close/>
                <a:moveTo>
                  <a:pt x="4388485" y="492313"/>
                </a:moveTo>
                <a:cubicBezTo>
                  <a:pt x="4415790" y="492949"/>
                  <a:pt x="4415790" y="449133"/>
                  <a:pt x="4388485" y="449769"/>
                </a:cubicBezTo>
                <a:cubicBezTo>
                  <a:pt x="4360545" y="449769"/>
                  <a:pt x="4361180" y="492949"/>
                  <a:pt x="4388485" y="492313"/>
                </a:cubicBezTo>
                <a:close/>
                <a:moveTo>
                  <a:pt x="4404995" y="677734"/>
                </a:moveTo>
                <a:cubicBezTo>
                  <a:pt x="4429760" y="677734"/>
                  <a:pt x="4428490" y="639634"/>
                  <a:pt x="4404360" y="640904"/>
                </a:cubicBezTo>
                <a:cubicBezTo>
                  <a:pt x="4380865" y="642174"/>
                  <a:pt x="4381500" y="678369"/>
                  <a:pt x="4404995" y="677734"/>
                </a:cubicBezTo>
                <a:close/>
                <a:moveTo>
                  <a:pt x="4363720" y="397063"/>
                </a:moveTo>
                <a:cubicBezTo>
                  <a:pt x="4392930" y="398333"/>
                  <a:pt x="4394200" y="352613"/>
                  <a:pt x="4364990" y="351979"/>
                </a:cubicBezTo>
                <a:cubicBezTo>
                  <a:pt x="4335780" y="350074"/>
                  <a:pt x="4334510" y="396429"/>
                  <a:pt x="4363720" y="397063"/>
                </a:cubicBezTo>
                <a:close/>
                <a:moveTo>
                  <a:pt x="4614545" y="358329"/>
                </a:moveTo>
                <a:cubicBezTo>
                  <a:pt x="4643755" y="367854"/>
                  <a:pt x="4658995" y="321499"/>
                  <a:pt x="4628515" y="312608"/>
                </a:cubicBezTo>
                <a:cubicBezTo>
                  <a:pt x="4598670" y="303083"/>
                  <a:pt x="4584700" y="350074"/>
                  <a:pt x="4614545" y="358329"/>
                </a:cubicBezTo>
                <a:close/>
                <a:moveTo>
                  <a:pt x="4546600" y="391983"/>
                </a:moveTo>
                <a:cubicBezTo>
                  <a:pt x="4540885" y="420558"/>
                  <a:pt x="4586605" y="428813"/>
                  <a:pt x="4591050" y="399604"/>
                </a:cubicBezTo>
                <a:cubicBezTo>
                  <a:pt x="4596765" y="371029"/>
                  <a:pt x="4551680" y="362774"/>
                  <a:pt x="4546600" y="391983"/>
                </a:cubicBezTo>
                <a:close/>
                <a:moveTo>
                  <a:pt x="4526915" y="269429"/>
                </a:moveTo>
                <a:cubicBezTo>
                  <a:pt x="4557395" y="280858"/>
                  <a:pt x="4575175" y="231963"/>
                  <a:pt x="4544060" y="221804"/>
                </a:cubicBezTo>
                <a:cubicBezTo>
                  <a:pt x="4512310" y="210374"/>
                  <a:pt x="4495165" y="259269"/>
                  <a:pt x="4526915" y="269429"/>
                </a:cubicBezTo>
                <a:close/>
                <a:moveTo>
                  <a:pt x="4537075" y="566609"/>
                </a:moveTo>
                <a:cubicBezTo>
                  <a:pt x="4535805" y="592009"/>
                  <a:pt x="4575810" y="593913"/>
                  <a:pt x="4576445" y="568513"/>
                </a:cubicBezTo>
                <a:cubicBezTo>
                  <a:pt x="4577715" y="542479"/>
                  <a:pt x="4537710" y="541209"/>
                  <a:pt x="4537075" y="566609"/>
                </a:cubicBezTo>
                <a:close/>
                <a:moveTo>
                  <a:pt x="4337685" y="663763"/>
                </a:moveTo>
                <a:cubicBezTo>
                  <a:pt x="4335780" y="640269"/>
                  <a:pt x="4298950" y="643444"/>
                  <a:pt x="4300855" y="666938"/>
                </a:cubicBezTo>
                <a:cubicBezTo>
                  <a:pt x="4302760" y="691069"/>
                  <a:pt x="4340225" y="687259"/>
                  <a:pt x="4337685" y="663763"/>
                </a:cubicBezTo>
                <a:close/>
                <a:moveTo>
                  <a:pt x="4300220" y="299908"/>
                </a:moveTo>
                <a:cubicBezTo>
                  <a:pt x="4331335" y="302449"/>
                  <a:pt x="4334510" y="253554"/>
                  <a:pt x="4303395" y="252283"/>
                </a:cubicBezTo>
                <a:cubicBezTo>
                  <a:pt x="4272280" y="249744"/>
                  <a:pt x="4269740" y="298638"/>
                  <a:pt x="4300220" y="299908"/>
                </a:cubicBezTo>
                <a:close/>
                <a:moveTo>
                  <a:pt x="4227830" y="778063"/>
                </a:moveTo>
                <a:cubicBezTo>
                  <a:pt x="4251325" y="778063"/>
                  <a:pt x="4248785" y="741234"/>
                  <a:pt x="4225925" y="744409"/>
                </a:cubicBezTo>
                <a:cubicBezTo>
                  <a:pt x="4205605" y="746313"/>
                  <a:pt x="4207510" y="778063"/>
                  <a:pt x="4227830" y="778063"/>
                </a:cubicBezTo>
                <a:close/>
                <a:moveTo>
                  <a:pt x="4261485" y="397063"/>
                </a:moveTo>
                <a:cubicBezTo>
                  <a:pt x="4291330" y="397699"/>
                  <a:pt x="4290695" y="350074"/>
                  <a:pt x="4260850" y="351979"/>
                </a:cubicBezTo>
                <a:cubicBezTo>
                  <a:pt x="4231640" y="352613"/>
                  <a:pt x="4232910" y="397699"/>
                  <a:pt x="4261485" y="397063"/>
                </a:cubicBezTo>
                <a:close/>
                <a:moveTo>
                  <a:pt x="4631055" y="310704"/>
                </a:moveTo>
                <a:cubicBezTo>
                  <a:pt x="4660900" y="324674"/>
                  <a:pt x="4681855" y="277049"/>
                  <a:pt x="4651375" y="264349"/>
                </a:cubicBezTo>
                <a:cubicBezTo>
                  <a:pt x="4621530" y="250379"/>
                  <a:pt x="4600575" y="298004"/>
                  <a:pt x="4631055" y="310704"/>
                </a:cubicBezTo>
                <a:close/>
                <a:moveTo>
                  <a:pt x="4310380" y="212279"/>
                </a:moveTo>
                <a:cubicBezTo>
                  <a:pt x="4342765" y="218629"/>
                  <a:pt x="4351655" y="167194"/>
                  <a:pt x="4318635" y="162113"/>
                </a:cubicBezTo>
                <a:cubicBezTo>
                  <a:pt x="4286250" y="156399"/>
                  <a:pt x="4277360" y="207833"/>
                  <a:pt x="4310380" y="212279"/>
                </a:cubicBezTo>
                <a:close/>
                <a:moveTo>
                  <a:pt x="3065780" y="1015554"/>
                </a:moveTo>
                <a:cubicBezTo>
                  <a:pt x="3088005" y="999679"/>
                  <a:pt x="3063240" y="964754"/>
                  <a:pt x="3041015" y="981263"/>
                </a:cubicBezTo>
                <a:cubicBezTo>
                  <a:pt x="3018155" y="997138"/>
                  <a:pt x="3043555" y="1032063"/>
                  <a:pt x="3065780" y="1015554"/>
                </a:cubicBezTo>
                <a:close/>
                <a:moveTo>
                  <a:pt x="4307840" y="769809"/>
                </a:moveTo>
                <a:cubicBezTo>
                  <a:pt x="4330700" y="769809"/>
                  <a:pt x="4329430" y="733613"/>
                  <a:pt x="4306570" y="736154"/>
                </a:cubicBezTo>
                <a:cubicBezTo>
                  <a:pt x="4285615" y="737424"/>
                  <a:pt x="4286885" y="770444"/>
                  <a:pt x="4307840" y="769809"/>
                </a:cubicBezTo>
                <a:close/>
                <a:moveTo>
                  <a:pt x="4289425" y="453579"/>
                </a:moveTo>
                <a:cubicBezTo>
                  <a:pt x="4262120" y="454849"/>
                  <a:pt x="4264660" y="498029"/>
                  <a:pt x="4292600" y="496124"/>
                </a:cubicBezTo>
                <a:cubicBezTo>
                  <a:pt x="4319905" y="494219"/>
                  <a:pt x="4317365" y="451038"/>
                  <a:pt x="4289425" y="453579"/>
                </a:cubicBezTo>
                <a:close/>
                <a:moveTo>
                  <a:pt x="4262120" y="576769"/>
                </a:moveTo>
                <a:cubicBezTo>
                  <a:pt x="4264025" y="602169"/>
                  <a:pt x="4304030" y="598359"/>
                  <a:pt x="4301490" y="572959"/>
                </a:cubicBezTo>
                <a:cubicBezTo>
                  <a:pt x="4299585" y="547559"/>
                  <a:pt x="4258945" y="551369"/>
                  <a:pt x="4262120" y="576769"/>
                </a:cubicBezTo>
                <a:close/>
                <a:moveTo>
                  <a:pt x="3395980" y="773619"/>
                </a:moveTo>
                <a:cubicBezTo>
                  <a:pt x="3382645" y="750124"/>
                  <a:pt x="3345180" y="771713"/>
                  <a:pt x="3359785" y="795209"/>
                </a:cubicBezTo>
                <a:cubicBezTo>
                  <a:pt x="3373755" y="818704"/>
                  <a:pt x="3410585" y="797113"/>
                  <a:pt x="3395980" y="773619"/>
                </a:cubicBezTo>
                <a:close/>
                <a:moveTo>
                  <a:pt x="3402965" y="897444"/>
                </a:moveTo>
                <a:cubicBezTo>
                  <a:pt x="3380740" y="906969"/>
                  <a:pt x="3396615" y="941259"/>
                  <a:pt x="3418205" y="931099"/>
                </a:cubicBezTo>
                <a:cubicBezTo>
                  <a:pt x="3439795" y="921574"/>
                  <a:pt x="3424555" y="887284"/>
                  <a:pt x="3402965" y="897444"/>
                </a:cubicBezTo>
                <a:close/>
                <a:moveTo>
                  <a:pt x="3402330" y="828863"/>
                </a:moveTo>
                <a:cubicBezTo>
                  <a:pt x="3379470" y="840294"/>
                  <a:pt x="3397885" y="875854"/>
                  <a:pt x="3420110" y="863788"/>
                </a:cubicBezTo>
                <a:cubicBezTo>
                  <a:pt x="3443605" y="852994"/>
                  <a:pt x="3425190" y="816799"/>
                  <a:pt x="3402330" y="828863"/>
                </a:cubicBezTo>
                <a:close/>
                <a:moveTo>
                  <a:pt x="3385185" y="657413"/>
                </a:moveTo>
                <a:cubicBezTo>
                  <a:pt x="3360420" y="672654"/>
                  <a:pt x="3385185" y="711388"/>
                  <a:pt x="3409315" y="695513"/>
                </a:cubicBezTo>
                <a:cubicBezTo>
                  <a:pt x="3434715" y="679638"/>
                  <a:pt x="3409950" y="640904"/>
                  <a:pt x="3385185" y="657413"/>
                </a:cubicBezTo>
                <a:close/>
                <a:moveTo>
                  <a:pt x="3367405" y="966659"/>
                </a:moveTo>
                <a:cubicBezTo>
                  <a:pt x="3347085" y="974279"/>
                  <a:pt x="3359785" y="1006663"/>
                  <a:pt x="3380105" y="998409"/>
                </a:cubicBezTo>
                <a:cubicBezTo>
                  <a:pt x="3400425" y="990154"/>
                  <a:pt x="3387725" y="958404"/>
                  <a:pt x="3367405" y="966659"/>
                </a:cubicBezTo>
                <a:close/>
                <a:moveTo>
                  <a:pt x="3547110" y="364679"/>
                </a:moveTo>
                <a:cubicBezTo>
                  <a:pt x="3589655" y="363408"/>
                  <a:pt x="3571240" y="296733"/>
                  <a:pt x="3534410" y="317054"/>
                </a:cubicBezTo>
                <a:cubicBezTo>
                  <a:pt x="3512185" y="329119"/>
                  <a:pt x="3522345" y="365949"/>
                  <a:pt x="3547110" y="364679"/>
                </a:cubicBezTo>
                <a:close/>
                <a:moveTo>
                  <a:pt x="3485515" y="788224"/>
                </a:moveTo>
                <a:cubicBezTo>
                  <a:pt x="3462020" y="799019"/>
                  <a:pt x="3479800" y="835213"/>
                  <a:pt x="3502660" y="823784"/>
                </a:cubicBezTo>
                <a:cubicBezTo>
                  <a:pt x="3525520" y="812988"/>
                  <a:pt x="3508375" y="776794"/>
                  <a:pt x="3485515" y="788224"/>
                </a:cubicBezTo>
                <a:close/>
                <a:moveTo>
                  <a:pt x="3474085" y="602804"/>
                </a:moveTo>
                <a:cubicBezTo>
                  <a:pt x="3448685" y="617409"/>
                  <a:pt x="3472180" y="656779"/>
                  <a:pt x="3496945" y="641538"/>
                </a:cubicBezTo>
                <a:cubicBezTo>
                  <a:pt x="3522345" y="627569"/>
                  <a:pt x="3498850" y="587563"/>
                  <a:pt x="3474085" y="602804"/>
                </a:cubicBezTo>
                <a:close/>
                <a:moveTo>
                  <a:pt x="3460750" y="522158"/>
                </a:moveTo>
                <a:cubicBezTo>
                  <a:pt x="3477260" y="548829"/>
                  <a:pt x="3518535" y="522794"/>
                  <a:pt x="3501390" y="496758"/>
                </a:cubicBezTo>
                <a:cubicBezTo>
                  <a:pt x="3484880" y="470088"/>
                  <a:pt x="3443605" y="496124"/>
                  <a:pt x="3460750" y="522158"/>
                </a:cubicBezTo>
                <a:close/>
                <a:moveTo>
                  <a:pt x="3450590" y="425638"/>
                </a:moveTo>
                <a:cubicBezTo>
                  <a:pt x="3494405" y="424369"/>
                  <a:pt x="3473450" y="355788"/>
                  <a:pt x="3435985" y="379283"/>
                </a:cubicBezTo>
                <a:cubicBezTo>
                  <a:pt x="3415665" y="391983"/>
                  <a:pt x="3426460" y="426274"/>
                  <a:pt x="3450590" y="425638"/>
                </a:cubicBezTo>
                <a:close/>
                <a:moveTo>
                  <a:pt x="3298825" y="714563"/>
                </a:moveTo>
                <a:cubicBezTo>
                  <a:pt x="3274695" y="731074"/>
                  <a:pt x="3300730" y="768538"/>
                  <a:pt x="3324225" y="752029"/>
                </a:cubicBezTo>
                <a:lnTo>
                  <a:pt x="3324225" y="752029"/>
                </a:lnTo>
                <a:cubicBezTo>
                  <a:pt x="3348990" y="735519"/>
                  <a:pt x="3322955" y="698054"/>
                  <a:pt x="3298825" y="714563"/>
                </a:cubicBezTo>
                <a:close/>
                <a:moveTo>
                  <a:pt x="3283585" y="647888"/>
                </a:moveTo>
                <a:cubicBezTo>
                  <a:pt x="3302000" y="672654"/>
                  <a:pt x="3340735" y="643444"/>
                  <a:pt x="3321685" y="618679"/>
                </a:cubicBezTo>
                <a:cubicBezTo>
                  <a:pt x="3303270" y="593913"/>
                  <a:pt x="3264535" y="623759"/>
                  <a:pt x="3283585" y="647888"/>
                </a:cubicBezTo>
                <a:close/>
                <a:moveTo>
                  <a:pt x="3348355" y="942529"/>
                </a:moveTo>
                <a:cubicBezTo>
                  <a:pt x="3338195" y="920938"/>
                  <a:pt x="3304540" y="936813"/>
                  <a:pt x="3315335" y="958404"/>
                </a:cubicBezTo>
                <a:cubicBezTo>
                  <a:pt x="3325495" y="979994"/>
                  <a:pt x="3359150" y="964119"/>
                  <a:pt x="3348355" y="942529"/>
                </a:cubicBezTo>
                <a:close/>
                <a:moveTo>
                  <a:pt x="3268980" y="564069"/>
                </a:moveTo>
                <a:cubicBezTo>
                  <a:pt x="3314700" y="562163"/>
                  <a:pt x="3289300" y="491044"/>
                  <a:pt x="3252470" y="518983"/>
                </a:cubicBezTo>
                <a:cubicBezTo>
                  <a:pt x="3252470" y="518983"/>
                  <a:pt x="3252470" y="518983"/>
                  <a:pt x="3252470" y="518983"/>
                </a:cubicBezTo>
                <a:cubicBezTo>
                  <a:pt x="3234690" y="533588"/>
                  <a:pt x="3246120" y="564704"/>
                  <a:pt x="3268980" y="564069"/>
                </a:cubicBezTo>
                <a:close/>
                <a:moveTo>
                  <a:pt x="3292475" y="997138"/>
                </a:moveTo>
                <a:cubicBezTo>
                  <a:pt x="3272155" y="1005394"/>
                  <a:pt x="3285490" y="1037144"/>
                  <a:pt x="3305810" y="1028254"/>
                </a:cubicBezTo>
                <a:cubicBezTo>
                  <a:pt x="3326130" y="1019999"/>
                  <a:pt x="3312795" y="988249"/>
                  <a:pt x="3292475" y="997138"/>
                </a:cubicBezTo>
                <a:close/>
                <a:moveTo>
                  <a:pt x="3357880" y="492313"/>
                </a:moveTo>
                <a:cubicBezTo>
                  <a:pt x="3402965" y="490408"/>
                  <a:pt x="3379470" y="420558"/>
                  <a:pt x="3342640" y="446594"/>
                </a:cubicBezTo>
                <a:cubicBezTo>
                  <a:pt x="3322955" y="460563"/>
                  <a:pt x="3335020" y="493583"/>
                  <a:pt x="3357880" y="492313"/>
                </a:cubicBezTo>
                <a:close/>
                <a:moveTo>
                  <a:pt x="3371215" y="583119"/>
                </a:moveTo>
                <a:cubicBezTo>
                  <a:pt x="3388995" y="609154"/>
                  <a:pt x="3429000" y="580579"/>
                  <a:pt x="3410585" y="555813"/>
                </a:cubicBezTo>
                <a:cubicBezTo>
                  <a:pt x="3392805" y="529779"/>
                  <a:pt x="3352800" y="557719"/>
                  <a:pt x="3371215" y="583119"/>
                </a:cubicBezTo>
                <a:close/>
                <a:moveTo>
                  <a:pt x="3330575" y="908874"/>
                </a:moveTo>
                <a:cubicBezTo>
                  <a:pt x="3362960" y="908238"/>
                  <a:pt x="3350260" y="856804"/>
                  <a:pt x="3321050" y="872044"/>
                </a:cubicBezTo>
                <a:cubicBezTo>
                  <a:pt x="3302635" y="880934"/>
                  <a:pt x="3310890" y="909509"/>
                  <a:pt x="3330575" y="908874"/>
                </a:cubicBezTo>
                <a:close/>
                <a:moveTo>
                  <a:pt x="3576955" y="787588"/>
                </a:moveTo>
                <a:cubicBezTo>
                  <a:pt x="3608070" y="786954"/>
                  <a:pt x="3597910" y="737424"/>
                  <a:pt x="3568700" y="749488"/>
                </a:cubicBezTo>
                <a:cubicBezTo>
                  <a:pt x="3549650" y="757744"/>
                  <a:pt x="3556635" y="788224"/>
                  <a:pt x="3576955" y="787588"/>
                </a:cubicBezTo>
                <a:close/>
                <a:moveTo>
                  <a:pt x="3762375" y="338644"/>
                </a:moveTo>
                <a:cubicBezTo>
                  <a:pt x="3733165" y="349438"/>
                  <a:pt x="3750945" y="395158"/>
                  <a:pt x="3779520" y="383729"/>
                </a:cubicBezTo>
                <a:cubicBezTo>
                  <a:pt x="3808730" y="372933"/>
                  <a:pt x="3790950" y="327213"/>
                  <a:pt x="3762375" y="338644"/>
                </a:cubicBezTo>
                <a:close/>
                <a:moveTo>
                  <a:pt x="3752850" y="266254"/>
                </a:moveTo>
                <a:cubicBezTo>
                  <a:pt x="3792220" y="265619"/>
                  <a:pt x="3780790" y="204024"/>
                  <a:pt x="3743960" y="216724"/>
                </a:cubicBezTo>
                <a:cubicBezTo>
                  <a:pt x="3717925" y="226249"/>
                  <a:pt x="3725545" y="267524"/>
                  <a:pt x="3752850" y="266254"/>
                </a:cubicBezTo>
                <a:close/>
                <a:moveTo>
                  <a:pt x="3648075" y="311338"/>
                </a:moveTo>
                <a:cubicBezTo>
                  <a:pt x="3688715" y="310704"/>
                  <a:pt x="3674110" y="245933"/>
                  <a:pt x="3637280" y="263079"/>
                </a:cubicBezTo>
                <a:cubicBezTo>
                  <a:pt x="3613150" y="273874"/>
                  <a:pt x="3622040" y="311974"/>
                  <a:pt x="3648075" y="311338"/>
                </a:cubicBezTo>
                <a:close/>
                <a:moveTo>
                  <a:pt x="3813810" y="781874"/>
                </a:moveTo>
                <a:cubicBezTo>
                  <a:pt x="3841115" y="781874"/>
                  <a:pt x="3834765" y="738059"/>
                  <a:pt x="3808730" y="745679"/>
                </a:cubicBezTo>
                <a:cubicBezTo>
                  <a:pt x="3788410" y="751394"/>
                  <a:pt x="3793490" y="782509"/>
                  <a:pt x="3813810" y="781874"/>
                </a:cubicBezTo>
                <a:close/>
                <a:moveTo>
                  <a:pt x="3828415" y="650429"/>
                </a:moveTo>
                <a:cubicBezTo>
                  <a:pt x="3803650" y="658049"/>
                  <a:pt x="3816350" y="696149"/>
                  <a:pt x="3840480" y="687894"/>
                </a:cubicBezTo>
                <a:cubicBezTo>
                  <a:pt x="3865245" y="680909"/>
                  <a:pt x="3852545" y="642174"/>
                  <a:pt x="3828415" y="650429"/>
                </a:cubicBezTo>
                <a:close/>
                <a:moveTo>
                  <a:pt x="3861435" y="231963"/>
                </a:moveTo>
                <a:cubicBezTo>
                  <a:pt x="3898900" y="231963"/>
                  <a:pt x="3891280" y="172908"/>
                  <a:pt x="3855085" y="181799"/>
                </a:cubicBezTo>
                <a:cubicBezTo>
                  <a:pt x="3827145" y="188783"/>
                  <a:pt x="3832860" y="232599"/>
                  <a:pt x="3861435" y="231963"/>
                </a:cubicBezTo>
                <a:close/>
                <a:moveTo>
                  <a:pt x="3816985" y="596454"/>
                </a:moveTo>
                <a:cubicBezTo>
                  <a:pt x="3849370" y="596454"/>
                  <a:pt x="3840480" y="545019"/>
                  <a:pt x="3810000" y="555179"/>
                </a:cubicBezTo>
                <a:cubicBezTo>
                  <a:pt x="3787775" y="562163"/>
                  <a:pt x="3794125" y="597088"/>
                  <a:pt x="3816985" y="596454"/>
                </a:cubicBezTo>
                <a:close/>
                <a:moveTo>
                  <a:pt x="3858260" y="471994"/>
                </a:moveTo>
                <a:cubicBezTo>
                  <a:pt x="3892550" y="471994"/>
                  <a:pt x="3883660" y="417383"/>
                  <a:pt x="3851275" y="428179"/>
                </a:cubicBezTo>
                <a:cubicBezTo>
                  <a:pt x="3827145" y="435163"/>
                  <a:pt x="3833495" y="473263"/>
                  <a:pt x="3858260" y="471994"/>
                </a:cubicBezTo>
                <a:close/>
                <a:moveTo>
                  <a:pt x="3595370" y="561529"/>
                </a:moveTo>
                <a:cubicBezTo>
                  <a:pt x="3582035" y="535494"/>
                  <a:pt x="3541395" y="557084"/>
                  <a:pt x="3555365" y="582484"/>
                </a:cubicBezTo>
                <a:cubicBezTo>
                  <a:pt x="3568700" y="608519"/>
                  <a:pt x="3609340" y="586929"/>
                  <a:pt x="3595370" y="561529"/>
                </a:cubicBezTo>
                <a:close/>
                <a:moveTo>
                  <a:pt x="3688080" y="516444"/>
                </a:moveTo>
                <a:cubicBezTo>
                  <a:pt x="3676015" y="489774"/>
                  <a:pt x="3634740" y="509458"/>
                  <a:pt x="3647440" y="535494"/>
                </a:cubicBezTo>
                <a:cubicBezTo>
                  <a:pt x="3658870" y="562163"/>
                  <a:pt x="3700780" y="543113"/>
                  <a:pt x="3688080" y="516444"/>
                </a:cubicBezTo>
                <a:close/>
                <a:moveTo>
                  <a:pt x="3472180" y="887284"/>
                </a:moveTo>
                <a:cubicBezTo>
                  <a:pt x="3481070" y="909509"/>
                  <a:pt x="3515360" y="894904"/>
                  <a:pt x="3505835" y="873313"/>
                </a:cubicBezTo>
                <a:cubicBezTo>
                  <a:pt x="3497580" y="851088"/>
                  <a:pt x="3462655" y="865694"/>
                  <a:pt x="3472180" y="887284"/>
                </a:cubicBezTo>
                <a:close/>
                <a:moveTo>
                  <a:pt x="3540760" y="920304"/>
                </a:moveTo>
                <a:cubicBezTo>
                  <a:pt x="3533775" y="899349"/>
                  <a:pt x="3501390" y="910779"/>
                  <a:pt x="3509010" y="931734"/>
                </a:cubicBezTo>
                <a:cubicBezTo>
                  <a:pt x="3515995" y="952054"/>
                  <a:pt x="3548380" y="940624"/>
                  <a:pt x="3540760" y="920304"/>
                </a:cubicBezTo>
                <a:close/>
                <a:moveTo>
                  <a:pt x="3567430" y="680909"/>
                </a:moveTo>
                <a:cubicBezTo>
                  <a:pt x="3555365" y="656144"/>
                  <a:pt x="3516630" y="675829"/>
                  <a:pt x="3529965" y="699959"/>
                </a:cubicBezTo>
                <a:cubicBezTo>
                  <a:pt x="3542030" y="724724"/>
                  <a:pt x="3580130" y="705038"/>
                  <a:pt x="3567430" y="680909"/>
                </a:cubicBezTo>
                <a:close/>
                <a:moveTo>
                  <a:pt x="3866515" y="303083"/>
                </a:moveTo>
                <a:cubicBezTo>
                  <a:pt x="3836670" y="311338"/>
                  <a:pt x="3850640" y="358329"/>
                  <a:pt x="3880485" y="348804"/>
                </a:cubicBezTo>
                <a:cubicBezTo>
                  <a:pt x="3910330" y="340549"/>
                  <a:pt x="3896360" y="293558"/>
                  <a:pt x="3866515" y="303083"/>
                </a:cubicBezTo>
                <a:close/>
                <a:moveTo>
                  <a:pt x="3481070" y="725994"/>
                </a:moveTo>
                <a:cubicBezTo>
                  <a:pt x="3468370" y="701863"/>
                  <a:pt x="3430270" y="722184"/>
                  <a:pt x="3444240" y="746313"/>
                </a:cubicBezTo>
                <a:cubicBezTo>
                  <a:pt x="3456940" y="770444"/>
                  <a:pt x="3494405" y="749488"/>
                  <a:pt x="3481070" y="725994"/>
                </a:cubicBezTo>
                <a:close/>
                <a:moveTo>
                  <a:pt x="3442970" y="937449"/>
                </a:moveTo>
                <a:cubicBezTo>
                  <a:pt x="3422015" y="945069"/>
                  <a:pt x="3434715" y="977454"/>
                  <a:pt x="3455035" y="969199"/>
                </a:cubicBezTo>
                <a:cubicBezTo>
                  <a:pt x="3475355" y="961579"/>
                  <a:pt x="3463290" y="929194"/>
                  <a:pt x="3442970" y="937449"/>
                </a:cubicBezTo>
                <a:close/>
                <a:moveTo>
                  <a:pt x="3553460" y="465644"/>
                </a:moveTo>
                <a:cubicBezTo>
                  <a:pt x="3568065" y="492949"/>
                  <a:pt x="3610610" y="469454"/>
                  <a:pt x="3595370" y="442149"/>
                </a:cubicBezTo>
                <a:cubicBezTo>
                  <a:pt x="3580765" y="414844"/>
                  <a:pt x="3538220" y="438338"/>
                  <a:pt x="3553460" y="465644"/>
                </a:cubicBezTo>
                <a:close/>
                <a:moveTo>
                  <a:pt x="3654425" y="713929"/>
                </a:moveTo>
                <a:cubicBezTo>
                  <a:pt x="3630295" y="723454"/>
                  <a:pt x="3645535" y="760284"/>
                  <a:pt x="3669030" y="750759"/>
                </a:cubicBezTo>
                <a:cubicBezTo>
                  <a:pt x="3693160" y="741234"/>
                  <a:pt x="3677920" y="703769"/>
                  <a:pt x="3654425" y="713929"/>
                </a:cubicBezTo>
                <a:close/>
                <a:moveTo>
                  <a:pt x="6868160" y="2072829"/>
                </a:moveTo>
                <a:cubicBezTo>
                  <a:pt x="6890385" y="2091879"/>
                  <a:pt x="6919595" y="2055684"/>
                  <a:pt x="6896735" y="2037904"/>
                </a:cubicBezTo>
                <a:cubicBezTo>
                  <a:pt x="6873875" y="2019488"/>
                  <a:pt x="6845300" y="2055049"/>
                  <a:pt x="6868160" y="2072829"/>
                </a:cubicBezTo>
                <a:close/>
                <a:moveTo>
                  <a:pt x="9773920" y="1907094"/>
                </a:moveTo>
                <a:cubicBezTo>
                  <a:pt x="9783445" y="1919794"/>
                  <a:pt x="9804400" y="1913444"/>
                  <a:pt x="9806305" y="1898204"/>
                </a:cubicBezTo>
                <a:cubicBezTo>
                  <a:pt x="9853930" y="1966784"/>
                  <a:pt x="9854565" y="1825179"/>
                  <a:pt x="9806305" y="1893124"/>
                </a:cubicBezTo>
                <a:cubicBezTo>
                  <a:pt x="9801860" y="1862644"/>
                  <a:pt x="9754870" y="1882329"/>
                  <a:pt x="9773920" y="1907094"/>
                </a:cubicBezTo>
                <a:close/>
                <a:moveTo>
                  <a:pt x="9812020" y="1806129"/>
                </a:moveTo>
                <a:cubicBezTo>
                  <a:pt x="9835515" y="1805494"/>
                  <a:pt x="9825355" y="1768663"/>
                  <a:pt x="9805035" y="1779459"/>
                </a:cubicBezTo>
                <a:cubicBezTo>
                  <a:pt x="9792335" y="1786444"/>
                  <a:pt x="9798050" y="1806763"/>
                  <a:pt x="9812020" y="1806129"/>
                </a:cubicBezTo>
                <a:close/>
                <a:moveTo>
                  <a:pt x="9760585" y="1803588"/>
                </a:moveTo>
                <a:cubicBezTo>
                  <a:pt x="9780905" y="1803588"/>
                  <a:pt x="9773920" y="1771204"/>
                  <a:pt x="9755505" y="1779459"/>
                </a:cubicBezTo>
                <a:cubicBezTo>
                  <a:pt x="9742805" y="1784538"/>
                  <a:pt x="9747250" y="1804224"/>
                  <a:pt x="9760585" y="1803588"/>
                </a:cubicBezTo>
                <a:close/>
                <a:moveTo>
                  <a:pt x="9786620" y="1938209"/>
                </a:moveTo>
                <a:cubicBezTo>
                  <a:pt x="9766300" y="1956624"/>
                  <a:pt x="9796145" y="1988374"/>
                  <a:pt x="9815830" y="1968688"/>
                </a:cubicBezTo>
                <a:cubicBezTo>
                  <a:pt x="9836150" y="1950274"/>
                  <a:pt x="9806305" y="1919159"/>
                  <a:pt x="9786620" y="1938209"/>
                </a:cubicBezTo>
                <a:close/>
                <a:moveTo>
                  <a:pt x="9795510" y="1838513"/>
                </a:moveTo>
                <a:cubicBezTo>
                  <a:pt x="9773920" y="1882963"/>
                  <a:pt x="9855200" y="1862644"/>
                  <a:pt x="9815195" y="1833434"/>
                </a:cubicBezTo>
                <a:cubicBezTo>
                  <a:pt x="9832340" y="1794063"/>
                  <a:pt x="9761855" y="1811844"/>
                  <a:pt x="9795510" y="1838513"/>
                </a:cubicBezTo>
                <a:close/>
                <a:moveTo>
                  <a:pt x="9856470" y="1795969"/>
                </a:moveTo>
                <a:cubicBezTo>
                  <a:pt x="9851390" y="1837244"/>
                  <a:pt x="9914890" y="1808034"/>
                  <a:pt x="9879965" y="1785174"/>
                </a:cubicBezTo>
                <a:cubicBezTo>
                  <a:pt x="9880600" y="1780094"/>
                  <a:pt x="9878695" y="1773744"/>
                  <a:pt x="9873615" y="1770569"/>
                </a:cubicBezTo>
                <a:cubicBezTo>
                  <a:pt x="9885045" y="1769299"/>
                  <a:pt x="9889490" y="1754059"/>
                  <a:pt x="9881235" y="1746438"/>
                </a:cubicBezTo>
                <a:cubicBezTo>
                  <a:pt x="9906635" y="1721674"/>
                  <a:pt x="9847580" y="1713419"/>
                  <a:pt x="9864725" y="1743899"/>
                </a:cubicBezTo>
                <a:cubicBezTo>
                  <a:pt x="9855835" y="1748344"/>
                  <a:pt x="9854565" y="1761679"/>
                  <a:pt x="9862185" y="1767394"/>
                </a:cubicBezTo>
                <a:cubicBezTo>
                  <a:pt x="9848215" y="1768663"/>
                  <a:pt x="9843770" y="1788984"/>
                  <a:pt x="9856470" y="1795969"/>
                </a:cubicBezTo>
                <a:close/>
                <a:moveTo>
                  <a:pt x="10309860" y="1387663"/>
                </a:moveTo>
                <a:cubicBezTo>
                  <a:pt x="10313670" y="1402904"/>
                  <a:pt x="10333990" y="1407984"/>
                  <a:pt x="10344785" y="1396554"/>
                </a:cubicBezTo>
                <a:cubicBezTo>
                  <a:pt x="10346690" y="1396554"/>
                  <a:pt x="10349230" y="1395919"/>
                  <a:pt x="10351135" y="1395284"/>
                </a:cubicBezTo>
                <a:cubicBezTo>
                  <a:pt x="10362565" y="1415604"/>
                  <a:pt x="10393680" y="1395284"/>
                  <a:pt x="10379710" y="1376869"/>
                </a:cubicBezTo>
                <a:cubicBezTo>
                  <a:pt x="10380980" y="1369249"/>
                  <a:pt x="10376535" y="1360359"/>
                  <a:pt x="10368915" y="1357819"/>
                </a:cubicBezTo>
                <a:cubicBezTo>
                  <a:pt x="10391775" y="1329244"/>
                  <a:pt x="10340340" y="1300669"/>
                  <a:pt x="10327640" y="1334324"/>
                </a:cubicBezTo>
                <a:cubicBezTo>
                  <a:pt x="10314305" y="1336863"/>
                  <a:pt x="10304780" y="1352104"/>
                  <a:pt x="10308590" y="1365438"/>
                </a:cubicBezTo>
                <a:cubicBezTo>
                  <a:pt x="10305415" y="1372424"/>
                  <a:pt x="10306050" y="1380679"/>
                  <a:pt x="10309860" y="1387663"/>
                </a:cubicBezTo>
                <a:close/>
                <a:moveTo>
                  <a:pt x="9817735" y="1776919"/>
                </a:moveTo>
                <a:cubicBezTo>
                  <a:pt x="9838055" y="1776284"/>
                  <a:pt x="9831070" y="1743899"/>
                  <a:pt x="9812020" y="1752788"/>
                </a:cubicBezTo>
                <a:cubicBezTo>
                  <a:pt x="9799955" y="1757869"/>
                  <a:pt x="9805035" y="1777554"/>
                  <a:pt x="9817735" y="1776919"/>
                </a:cubicBezTo>
                <a:close/>
                <a:moveTo>
                  <a:pt x="9854565" y="1859469"/>
                </a:moveTo>
                <a:cubicBezTo>
                  <a:pt x="9887585" y="1858199"/>
                  <a:pt x="9869170" y="1806763"/>
                  <a:pt x="9842500" y="1827084"/>
                </a:cubicBezTo>
                <a:cubicBezTo>
                  <a:pt x="9829800" y="1837244"/>
                  <a:pt x="9838055" y="1860104"/>
                  <a:pt x="9854565" y="1859469"/>
                </a:cubicBezTo>
                <a:close/>
                <a:moveTo>
                  <a:pt x="9690735" y="1872169"/>
                </a:moveTo>
                <a:cubicBezTo>
                  <a:pt x="9713595" y="1871534"/>
                  <a:pt x="9704705" y="1835338"/>
                  <a:pt x="9684385" y="1845499"/>
                </a:cubicBezTo>
                <a:cubicBezTo>
                  <a:pt x="9671050" y="1851213"/>
                  <a:pt x="9676130" y="1872804"/>
                  <a:pt x="9690735" y="1872169"/>
                </a:cubicBezTo>
                <a:close/>
                <a:moveTo>
                  <a:pt x="9676765" y="1957894"/>
                </a:moveTo>
                <a:cubicBezTo>
                  <a:pt x="9705340" y="1957259"/>
                  <a:pt x="9692005" y="1911538"/>
                  <a:pt x="9667240" y="1926779"/>
                </a:cubicBezTo>
                <a:cubicBezTo>
                  <a:pt x="9653270" y="1935669"/>
                  <a:pt x="9660255" y="1958529"/>
                  <a:pt x="9676765" y="1957894"/>
                </a:cubicBezTo>
                <a:close/>
                <a:moveTo>
                  <a:pt x="10376535" y="1307654"/>
                </a:moveTo>
                <a:cubicBezTo>
                  <a:pt x="10373360" y="1322259"/>
                  <a:pt x="10389235" y="1336229"/>
                  <a:pt x="10403205" y="1331149"/>
                </a:cubicBezTo>
                <a:cubicBezTo>
                  <a:pt x="10406380" y="1332419"/>
                  <a:pt x="10410190" y="1333054"/>
                  <a:pt x="10413365" y="1332419"/>
                </a:cubicBezTo>
                <a:cubicBezTo>
                  <a:pt x="10406380" y="1366074"/>
                  <a:pt x="10462260" y="1354644"/>
                  <a:pt x="10442575" y="1326069"/>
                </a:cubicBezTo>
                <a:cubicBezTo>
                  <a:pt x="10450195" y="1314004"/>
                  <a:pt x="10439400" y="1297494"/>
                  <a:pt x="10425430" y="1298763"/>
                </a:cubicBezTo>
                <a:cubicBezTo>
                  <a:pt x="10423525" y="1296859"/>
                  <a:pt x="10421620" y="1295588"/>
                  <a:pt x="10419080" y="1294319"/>
                </a:cubicBezTo>
                <a:cubicBezTo>
                  <a:pt x="10419080" y="1291779"/>
                  <a:pt x="10418445" y="1289238"/>
                  <a:pt x="10417175" y="1286699"/>
                </a:cubicBezTo>
                <a:cubicBezTo>
                  <a:pt x="10419080" y="1284794"/>
                  <a:pt x="10421620" y="1283524"/>
                  <a:pt x="10422890" y="1280984"/>
                </a:cubicBezTo>
                <a:cubicBezTo>
                  <a:pt x="10464800" y="1272729"/>
                  <a:pt x="10431145" y="1211134"/>
                  <a:pt x="10401300" y="1240979"/>
                </a:cubicBezTo>
                <a:cubicBezTo>
                  <a:pt x="10382250" y="1240344"/>
                  <a:pt x="10369550" y="1265109"/>
                  <a:pt x="10380980" y="1280349"/>
                </a:cubicBezTo>
                <a:cubicBezTo>
                  <a:pt x="10373995" y="1287969"/>
                  <a:pt x="10372090" y="1299399"/>
                  <a:pt x="10376535" y="1307654"/>
                </a:cubicBezTo>
                <a:close/>
                <a:moveTo>
                  <a:pt x="9675495" y="1919159"/>
                </a:moveTo>
                <a:cubicBezTo>
                  <a:pt x="9701530" y="1918524"/>
                  <a:pt x="9690735" y="1877884"/>
                  <a:pt x="9667875" y="1889949"/>
                </a:cubicBezTo>
                <a:cubicBezTo>
                  <a:pt x="9653905" y="1897569"/>
                  <a:pt x="9660255" y="1919794"/>
                  <a:pt x="9675495" y="1919159"/>
                </a:cubicBezTo>
                <a:close/>
                <a:moveTo>
                  <a:pt x="9665970" y="1989009"/>
                </a:moveTo>
                <a:cubicBezTo>
                  <a:pt x="9652635" y="1969324"/>
                  <a:pt x="9622155" y="1990913"/>
                  <a:pt x="9636125" y="2010599"/>
                </a:cubicBezTo>
                <a:cubicBezTo>
                  <a:pt x="9649460" y="2029649"/>
                  <a:pt x="9679940" y="2008059"/>
                  <a:pt x="9665970" y="1989009"/>
                </a:cubicBezTo>
                <a:close/>
                <a:moveTo>
                  <a:pt x="9751695" y="1839784"/>
                </a:moveTo>
                <a:cubicBezTo>
                  <a:pt x="9775190" y="1839149"/>
                  <a:pt x="9765665" y="1802319"/>
                  <a:pt x="9744710" y="1813113"/>
                </a:cubicBezTo>
                <a:cubicBezTo>
                  <a:pt x="9732010" y="1820099"/>
                  <a:pt x="9737725" y="1840419"/>
                  <a:pt x="9751695" y="1839784"/>
                </a:cubicBezTo>
                <a:close/>
                <a:moveTo>
                  <a:pt x="9702165" y="1828988"/>
                </a:moveTo>
                <a:cubicBezTo>
                  <a:pt x="9721850" y="1828354"/>
                  <a:pt x="9715500" y="1797238"/>
                  <a:pt x="9697085" y="1804859"/>
                </a:cubicBezTo>
                <a:cubicBezTo>
                  <a:pt x="9684385" y="1809938"/>
                  <a:pt x="9688830" y="1829624"/>
                  <a:pt x="9702165" y="1828988"/>
                </a:cubicBezTo>
                <a:close/>
                <a:moveTo>
                  <a:pt x="9670415" y="2100134"/>
                </a:moveTo>
                <a:cubicBezTo>
                  <a:pt x="9691370" y="2082988"/>
                  <a:pt x="9663430" y="2049969"/>
                  <a:pt x="9643110" y="2067749"/>
                </a:cubicBezTo>
                <a:cubicBezTo>
                  <a:pt x="9621520" y="2085529"/>
                  <a:pt x="9650095" y="2118549"/>
                  <a:pt x="9670415" y="2100134"/>
                </a:cubicBezTo>
                <a:close/>
                <a:moveTo>
                  <a:pt x="9705975" y="1959799"/>
                </a:moveTo>
                <a:cubicBezTo>
                  <a:pt x="9714230" y="1971229"/>
                  <a:pt x="9732645" y="1968688"/>
                  <a:pt x="9737725" y="1955988"/>
                </a:cubicBezTo>
                <a:cubicBezTo>
                  <a:pt x="9770745" y="2030919"/>
                  <a:pt x="9799320" y="1895029"/>
                  <a:pt x="9738995" y="1949638"/>
                </a:cubicBezTo>
                <a:cubicBezTo>
                  <a:pt x="9738995" y="1916619"/>
                  <a:pt x="9686925" y="1932494"/>
                  <a:pt x="9705975" y="1959799"/>
                </a:cubicBezTo>
                <a:close/>
                <a:moveTo>
                  <a:pt x="9745345" y="2005519"/>
                </a:moveTo>
                <a:cubicBezTo>
                  <a:pt x="9701530" y="1971229"/>
                  <a:pt x="9697085" y="2065209"/>
                  <a:pt x="9744075" y="2035363"/>
                </a:cubicBezTo>
                <a:lnTo>
                  <a:pt x="9744075" y="2035363"/>
                </a:lnTo>
                <a:cubicBezTo>
                  <a:pt x="9752965" y="2027744"/>
                  <a:pt x="9753600" y="2014409"/>
                  <a:pt x="9745345" y="2005519"/>
                </a:cubicBezTo>
                <a:close/>
                <a:moveTo>
                  <a:pt x="9737090" y="1880424"/>
                </a:moveTo>
                <a:cubicBezTo>
                  <a:pt x="9688830" y="1926779"/>
                  <a:pt x="9803130" y="1912809"/>
                  <a:pt x="9744710" y="1879788"/>
                </a:cubicBezTo>
                <a:cubicBezTo>
                  <a:pt x="9788525" y="1837244"/>
                  <a:pt x="9685020" y="1849309"/>
                  <a:pt x="9737090" y="1880424"/>
                </a:cubicBezTo>
                <a:close/>
                <a:moveTo>
                  <a:pt x="10817225" y="939354"/>
                </a:moveTo>
                <a:cubicBezTo>
                  <a:pt x="10796270" y="954594"/>
                  <a:pt x="10821035" y="986344"/>
                  <a:pt x="10840720" y="971104"/>
                </a:cubicBezTo>
                <a:cubicBezTo>
                  <a:pt x="10861675" y="955863"/>
                  <a:pt x="10837545" y="924113"/>
                  <a:pt x="10817225" y="939354"/>
                </a:cubicBezTo>
                <a:close/>
                <a:moveTo>
                  <a:pt x="10849610" y="990788"/>
                </a:moveTo>
                <a:cubicBezTo>
                  <a:pt x="10836275" y="971104"/>
                  <a:pt x="10805795" y="992059"/>
                  <a:pt x="10819130" y="1011744"/>
                </a:cubicBezTo>
                <a:cubicBezTo>
                  <a:pt x="10832465" y="1031429"/>
                  <a:pt x="10863580" y="1010474"/>
                  <a:pt x="10849610" y="990788"/>
                </a:cubicBezTo>
                <a:close/>
                <a:moveTo>
                  <a:pt x="10823575" y="1075879"/>
                </a:moveTo>
                <a:cubicBezTo>
                  <a:pt x="10852150" y="1075244"/>
                  <a:pt x="10839450" y="1030159"/>
                  <a:pt x="10814685" y="1044763"/>
                </a:cubicBezTo>
                <a:cubicBezTo>
                  <a:pt x="10800080" y="1053019"/>
                  <a:pt x="10807065" y="1076513"/>
                  <a:pt x="10823575" y="1075879"/>
                </a:cubicBezTo>
                <a:close/>
                <a:moveTo>
                  <a:pt x="10760075" y="852359"/>
                </a:moveTo>
                <a:cubicBezTo>
                  <a:pt x="10759440" y="893634"/>
                  <a:pt x="10803255" y="879663"/>
                  <a:pt x="10808335" y="858074"/>
                </a:cubicBezTo>
                <a:cubicBezTo>
                  <a:pt x="10808970" y="869504"/>
                  <a:pt x="10817860" y="880299"/>
                  <a:pt x="10830560" y="879663"/>
                </a:cubicBezTo>
                <a:cubicBezTo>
                  <a:pt x="10871835" y="877759"/>
                  <a:pt x="10847705" y="814259"/>
                  <a:pt x="10815320" y="840294"/>
                </a:cubicBezTo>
                <a:cubicBezTo>
                  <a:pt x="10811510" y="843469"/>
                  <a:pt x="10808970" y="847913"/>
                  <a:pt x="10808335" y="852359"/>
                </a:cubicBezTo>
                <a:cubicBezTo>
                  <a:pt x="10807700" y="846009"/>
                  <a:pt x="10803255" y="839024"/>
                  <a:pt x="10793095" y="833309"/>
                </a:cubicBezTo>
                <a:cubicBezTo>
                  <a:pt x="10796905" y="770444"/>
                  <a:pt x="10704195" y="823149"/>
                  <a:pt x="10760075" y="852359"/>
                </a:cubicBezTo>
                <a:close/>
                <a:moveTo>
                  <a:pt x="10810240" y="894904"/>
                </a:moveTo>
                <a:cubicBezTo>
                  <a:pt x="10788650" y="912049"/>
                  <a:pt x="10815955" y="945069"/>
                  <a:pt x="10836910" y="927288"/>
                </a:cubicBezTo>
                <a:cubicBezTo>
                  <a:pt x="10858500" y="910779"/>
                  <a:pt x="10831195" y="877124"/>
                  <a:pt x="10810240" y="894904"/>
                </a:cubicBezTo>
                <a:close/>
                <a:moveTo>
                  <a:pt x="10877550" y="1025713"/>
                </a:moveTo>
                <a:cubicBezTo>
                  <a:pt x="10888345" y="1044763"/>
                  <a:pt x="10918190" y="1026984"/>
                  <a:pt x="10906760" y="1008569"/>
                </a:cubicBezTo>
                <a:cubicBezTo>
                  <a:pt x="10895965" y="989519"/>
                  <a:pt x="10866120" y="1007299"/>
                  <a:pt x="10877550" y="1025713"/>
                </a:cubicBezTo>
                <a:close/>
                <a:moveTo>
                  <a:pt x="10779125" y="1039684"/>
                </a:moveTo>
                <a:cubicBezTo>
                  <a:pt x="10765790" y="1019999"/>
                  <a:pt x="10735310" y="1041588"/>
                  <a:pt x="10749280" y="1061274"/>
                </a:cubicBezTo>
                <a:cubicBezTo>
                  <a:pt x="10762615" y="1080959"/>
                  <a:pt x="10793095" y="1058734"/>
                  <a:pt x="10779125" y="1039684"/>
                </a:cubicBezTo>
                <a:close/>
                <a:moveTo>
                  <a:pt x="10921365" y="943163"/>
                </a:moveTo>
                <a:cubicBezTo>
                  <a:pt x="10908665" y="922844"/>
                  <a:pt x="10877550" y="943163"/>
                  <a:pt x="10890885" y="962849"/>
                </a:cubicBezTo>
                <a:cubicBezTo>
                  <a:pt x="10903585" y="983804"/>
                  <a:pt x="10934700" y="963484"/>
                  <a:pt x="10921365" y="943163"/>
                </a:cubicBezTo>
                <a:close/>
                <a:moveTo>
                  <a:pt x="10445750" y="1232088"/>
                </a:moveTo>
                <a:cubicBezTo>
                  <a:pt x="10439400" y="1244154"/>
                  <a:pt x="10448290" y="1260029"/>
                  <a:pt x="10461625" y="1261934"/>
                </a:cubicBezTo>
                <a:cubicBezTo>
                  <a:pt x="10464800" y="1266379"/>
                  <a:pt x="10469880" y="1269554"/>
                  <a:pt x="10475595" y="1270188"/>
                </a:cubicBezTo>
                <a:cubicBezTo>
                  <a:pt x="10476865" y="1272729"/>
                  <a:pt x="10478770" y="1275269"/>
                  <a:pt x="10480675" y="1276538"/>
                </a:cubicBezTo>
                <a:cubicBezTo>
                  <a:pt x="10455910" y="1314004"/>
                  <a:pt x="10531475" y="1311463"/>
                  <a:pt x="10504170" y="1275904"/>
                </a:cubicBezTo>
                <a:cubicBezTo>
                  <a:pt x="10514965" y="1267013"/>
                  <a:pt x="10510520" y="1247329"/>
                  <a:pt x="10496550" y="1244788"/>
                </a:cubicBezTo>
                <a:cubicBezTo>
                  <a:pt x="10495280" y="1239074"/>
                  <a:pt x="10490200" y="1234629"/>
                  <a:pt x="10485120" y="1232724"/>
                </a:cubicBezTo>
                <a:cubicBezTo>
                  <a:pt x="10490835" y="1222563"/>
                  <a:pt x="10487660" y="1208594"/>
                  <a:pt x="10477500" y="1202244"/>
                </a:cubicBezTo>
                <a:cubicBezTo>
                  <a:pt x="10480040" y="1201609"/>
                  <a:pt x="10482580" y="1200338"/>
                  <a:pt x="10485120" y="1199069"/>
                </a:cubicBezTo>
                <a:cubicBezTo>
                  <a:pt x="10525125" y="1204784"/>
                  <a:pt x="10518140" y="1139379"/>
                  <a:pt x="10480040" y="1153349"/>
                </a:cubicBezTo>
                <a:cubicBezTo>
                  <a:pt x="10452100" y="1143188"/>
                  <a:pt x="10433050" y="1185734"/>
                  <a:pt x="10459720" y="1199704"/>
                </a:cubicBezTo>
                <a:cubicBezTo>
                  <a:pt x="10445750" y="1202244"/>
                  <a:pt x="10438765" y="1220024"/>
                  <a:pt x="10445750" y="1232088"/>
                </a:cubicBezTo>
                <a:close/>
                <a:moveTo>
                  <a:pt x="10840720" y="770444"/>
                </a:moveTo>
                <a:cubicBezTo>
                  <a:pt x="10824845" y="833944"/>
                  <a:pt x="10927080" y="790763"/>
                  <a:pt x="10870565" y="757744"/>
                </a:cubicBezTo>
                <a:cubicBezTo>
                  <a:pt x="10890250" y="688529"/>
                  <a:pt x="10777220" y="736154"/>
                  <a:pt x="10840720" y="770444"/>
                </a:cubicBezTo>
                <a:close/>
                <a:moveTo>
                  <a:pt x="10543540" y="1112709"/>
                </a:moveTo>
                <a:cubicBezTo>
                  <a:pt x="10544810" y="1112709"/>
                  <a:pt x="10545445" y="1112709"/>
                  <a:pt x="10546715" y="1112074"/>
                </a:cubicBezTo>
                <a:cubicBezTo>
                  <a:pt x="10581005" y="1134299"/>
                  <a:pt x="10601960" y="1070799"/>
                  <a:pt x="10560685" y="1068259"/>
                </a:cubicBezTo>
                <a:cubicBezTo>
                  <a:pt x="10525125" y="1038413"/>
                  <a:pt x="10496550" y="1110804"/>
                  <a:pt x="10543540" y="1112709"/>
                </a:cubicBezTo>
                <a:close/>
                <a:moveTo>
                  <a:pt x="10581005" y="1240344"/>
                </a:moveTo>
                <a:cubicBezTo>
                  <a:pt x="10563860" y="1251138"/>
                  <a:pt x="10581005" y="1277809"/>
                  <a:pt x="10598150" y="1266379"/>
                </a:cubicBezTo>
                <a:cubicBezTo>
                  <a:pt x="10614660" y="1255584"/>
                  <a:pt x="10597515" y="1228913"/>
                  <a:pt x="10581005" y="1240344"/>
                </a:cubicBezTo>
                <a:close/>
                <a:moveTo>
                  <a:pt x="10518775" y="1187004"/>
                </a:moveTo>
                <a:cubicBezTo>
                  <a:pt x="10520680" y="1188909"/>
                  <a:pt x="10523220" y="1190813"/>
                  <a:pt x="10525760" y="1192084"/>
                </a:cubicBezTo>
                <a:cubicBezTo>
                  <a:pt x="10526395" y="1199069"/>
                  <a:pt x="10532745" y="1206054"/>
                  <a:pt x="10539730" y="1207959"/>
                </a:cubicBezTo>
                <a:cubicBezTo>
                  <a:pt x="10539730" y="1214944"/>
                  <a:pt x="10544175" y="1221929"/>
                  <a:pt x="10551160" y="1224469"/>
                </a:cubicBezTo>
                <a:cubicBezTo>
                  <a:pt x="10504805" y="1262569"/>
                  <a:pt x="10607675" y="1266379"/>
                  <a:pt x="10563860" y="1225104"/>
                </a:cubicBezTo>
                <a:cubicBezTo>
                  <a:pt x="10579735" y="1220024"/>
                  <a:pt x="10580370" y="1196529"/>
                  <a:pt x="10564495" y="1190813"/>
                </a:cubicBezTo>
                <a:cubicBezTo>
                  <a:pt x="10565130" y="1183829"/>
                  <a:pt x="10561320" y="1175574"/>
                  <a:pt x="10554335" y="1171763"/>
                </a:cubicBezTo>
                <a:cubicBezTo>
                  <a:pt x="10554335" y="1167954"/>
                  <a:pt x="10553065" y="1164144"/>
                  <a:pt x="10551160" y="1160969"/>
                </a:cubicBezTo>
                <a:cubicBezTo>
                  <a:pt x="10582910" y="1115249"/>
                  <a:pt x="10489565" y="1110804"/>
                  <a:pt x="10516870" y="1159063"/>
                </a:cubicBezTo>
                <a:cubicBezTo>
                  <a:pt x="10511155" y="1167319"/>
                  <a:pt x="10511790" y="1179384"/>
                  <a:pt x="10518775" y="1187004"/>
                </a:cubicBezTo>
                <a:close/>
                <a:moveTo>
                  <a:pt x="10551795" y="1160334"/>
                </a:moveTo>
                <a:lnTo>
                  <a:pt x="10551795" y="1160334"/>
                </a:lnTo>
                <a:cubicBezTo>
                  <a:pt x="10551795" y="1160969"/>
                  <a:pt x="10551795" y="1160969"/>
                  <a:pt x="10551795" y="1160334"/>
                </a:cubicBezTo>
                <a:cubicBezTo>
                  <a:pt x="10551795" y="1160969"/>
                  <a:pt x="10551795" y="1160969"/>
                  <a:pt x="10551795" y="1160334"/>
                </a:cubicBezTo>
                <a:close/>
                <a:moveTo>
                  <a:pt x="10746740" y="1087944"/>
                </a:moveTo>
                <a:cubicBezTo>
                  <a:pt x="10746740" y="1087944"/>
                  <a:pt x="10746740" y="1087944"/>
                  <a:pt x="10746740" y="1087944"/>
                </a:cubicBezTo>
                <a:cubicBezTo>
                  <a:pt x="10728325" y="1100009"/>
                  <a:pt x="10747375" y="1128584"/>
                  <a:pt x="10765155" y="1116519"/>
                </a:cubicBezTo>
                <a:cubicBezTo>
                  <a:pt x="10783570" y="1105088"/>
                  <a:pt x="10764520" y="1075879"/>
                  <a:pt x="10746740" y="1087944"/>
                </a:cubicBezTo>
                <a:close/>
                <a:moveTo>
                  <a:pt x="10595610" y="1123504"/>
                </a:moveTo>
                <a:cubicBezTo>
                  <a:pt x="10593070" y="1133029"/>
                  <a:pt x="10599420" y="1143824"/>
                  <a:pt x="10608945" y="1146363"/>
                </a:cubicBezTo>
                <a:cubicBezTo>
                  <a:pt x="10598785" y="1193988"/>
                  <a:pt x="10674350" y="1160969"/>
                  <a:pt x="10632440" y="1136204"/>
                </a:cubicBezTo>
                <a:cubicBezTo>
                  <a:pt x="10636885" y="1127313"/>
                  <a:pt x="10633710" y="1115249"/>
                  <a:pt x="10624185" y="1110804"/>
                </a:cubicBezTo>
                <a:cubicBezTo>
                  <a:pt x="10626725" y="1103819"/>
                  <a:pt x="10624820" y="1094929"/>
                  <a:pt x="10619105" y="1089213"/>
                </a:cubicBezTo>
                <a:cubicBezTo>
                  <a:pt x="10664825" y="1041588"/>
                  <a:pt x="10553065" y="1033969"/>
                  <a:pt x="10591800" y="1087309"/>
                </a:cubicBezTo>
                <a:cubicBezTo>
                  <a:pt x="10579100" y="1096199"/>
                  <a:pt x="10581005" y="1117788"/>
                  <a:pt x="10595610" y="1123504"/>
                </a:cubicBezTo>
                <a:close/>
                <a:moveTo>
                  <a:pt x="10754360" y="949513"/>
                </a:moveTo>
                <a:cubicBezTo>
                  <a:pt x="10796270" y="947609"/>
                  <a:pt x="10770870" y="883474"/>
                  <a:pt x="10739120" y="910144"/>
                </a:cubicBezTo>
                <a:cubicBezTo>
                  <a:pt x="10723880" y="923479"/>
                  <a:pt x="10734675" y="950149"/>
                  <a:pt x="10754360" y="949513"/>
                </a:cubicBezTo>
                <a:close/>
                <a:moveTo>
                  <a:pt x="10683875" y="937449"/>
                </a:moveTo>
                <a:cubicBezTo>
                  <a:pt x="10696575" y="985074"/>
                  <a:pt x="10760710" y="933638"/>
                  <a:pt x="10716895" y="911413"/>
                </a:cubicBezTo>
                <a:cubicBezTo>
                  <a:pt x="10706100" y="855534"/>
                  <a:pt x="10632440" y="914588"/>
                  <a:pt x="10683875" y="937449"/>
                </a:cubicBezTo>
                <a:close/>
                <a:moveTo>
                  <a:pt x="10612755" y="1024444"/>
                </a:moveTo>
                <a:cubicBezTo>
                  <a:pt x="10636885" y="1061274"/>
                  <a:pt x="10681335" y="1003488"/>
                  <a:pt x="10640060" y="988884"/>
                </a:cubicBezTo>
                <a:cubicBezTo>
                  <a:pt x="10614660" y="943163"/>
                  <a:pt x="10561955" y="1012379"/>
                  <a:pt x="10612755" y="1024444"/>
                </a:cubicBezTo>
                <a:close/>
                <a:moveTo>
                  <a:pt x="9133840" y="2333179"/>
                </a:moveTo>
                <a:cubicBezTo>
                  <a:pt x="9123680" y="2336989"/>
                  <a:pt x="9119235" y="2349054"/>
                  <a:pt x="9123680" y="2359214"/>
                </a:cubicBezTo>
                <a:cubicBezTo>
                  <a:pt x="9152255" y="2402394"/>
                  <a:pt x="9184005" y="2321114"/>
                  <a:pt x="9133840" y="2333179"/>
                </a:cubicBezTo>
                <a:close/>
                <a:moveTo>
                  <a:pt x="9323705" y="2261424"/>
                </a:moveTo>
                <a:cubicBezTo>
                  <a:pt x="9311640" y="2238564"/>
                  <a:pt x="9276715" y="2258249"/>
                  <a:pt x="9288780" y="2280474"/>
                </a:cubicBezTo>
                <a:cubicBezTo>
                  <a:pt x="9301480" y="2302699"/>
                  <a:pt x="9336405" y="2283649"/>
                  <a:pt x="9323705" y="2261424"/>
                </a:cubicBezTo>
                <a:close/>
                <a:moveTo>
                  <a:pt x="9302750" y="2412554"/>
                </a:moveTo>
                <a:cubicBezTo>
                  <a:pt x="9318625" y="2437319"/>
                  <a:pt x="9356725" y="2411284"/>
                  <a:pt x="9340215" y="2387154"/>
                </a:cubicBezTo>
                <a:cubicBezTo>
                  <a:pt x="9324340" y="2363024"/>
                  <a:pt x="9286240" y="2388424"/>
                  <a:pt x="9302750" y="2412554"/>
                </a:cubicBezTo>
                <a:close/>
                <a:moveTo>
                  <a:pt x="9387840" y="2354134"/>
                </a:moveTo>
                <a:cubicBezTo>
                  <a:pt x="9404985" y="2378264"/>
                  <a:pt x="9441815" y="2350959"/>
                  <a:pt x="9424035" y="2327464"/>
                </a:cubicBezTo>
                <a:cubicBezTo>
                  <a:pt x="9406890" y="2303334"/>
                  <a:pt x="9370060" y="2330639"/>
                  <a:pt x="9387840" y="2354134"/>
                </a:cubicBezTo>
                <a:close/>
                <a:moveTo>
                  <a:pt x="10891520" y="884744"/>
                </a:moveTo>
                <a:cubicBezTo>
                  <a:pt x="10870565" y="899349"/>
                  <a:pt x="10894060" y="931734"/>
                  <a:pt x="10914380" y="917129"/>
                </a:cubicBezTo>
                <a:cubicBezTo>
                  <a:pt x="10935970" y="902524"/>
                  <a:pt x="10912475" y="870138"/>
                  <a:pt x="10891520" y="884744"/>
                </a:cubicBezTo>
                <a:close/>
                <a:moveTo>
                  <a:pt x="9436735" y="1981388"/>
                </a:moveTo>
                <a:cubicBezTo>
                  <a:pt x="9458325" y="1981388"/>
                  <a:pt x="9452610" y="1947099"/>
                  <a:pt x="9431655" y="1954084"/>
                </a:cubicBezTo>
                <a:cubicBezTo>
                  <a:pt x="9417685" y="1959163"/>
                  <a:pt x="9421495" y="1982024"/>
                  <a:pt x="9436735" y="1981388"/>
                </a:cubicBezTo>
                <a:close/>
                <a:moveTo>
                  <a:pt x="9403080" y="2215069"/>
                </a:moveTo>
                <a:cubicBezTo>
                  <a:pt x="9397365" y="2205544"/>
                  <a:pt x="9385300" y="2202369"/>
                  <a:pt x="9375775" y="2208084"/>
                </a:cubicBezTo>
                <a:cubicBezTo>
                  <a:pt x="9375775" y="2208084"/>
                  <a:pt x="9375775" y="2208084"/>
                  <a:pt x="9375775" y="2208084"/>
                </a:cubicBezTo>
                <a:cubicBezTo>
                  <a:pt x="9337040" y="2242374"/>
                  <a:pt x="9421495" y="2263329"/>
                  <a:pt x="9403080" y="2215069"/>
                </a:cubicBezTo>
                <a:close/>
                <a:moveTo>
                  <a:pt x="9460865" y="2048063"/>
                </a:moveTo>
                <a:cubicBezTo>
                  <a:pt x="9441180" y="2058224"/>
                  <a:pt x="9457055" y="2088704"/>
                  <a:pt x="9476740" y="2077909"/>
                </a:cubicBezTo>
                <a:cubicBezTo>
                  <a:pt x="9496425" y="2068384"/>
                  <a:pt x="9480550" y="2037904"/>
                  <a:pt x="9460865" y="2048063"/>
                </a:cubicBezTo>
                <a:close/>
                <a:moveTo>
                  <a:pt x="9463405" y="1915349"/>
                </a:moveTo>
                <a:cubicBezTo>
                  <a:pt x="9482455" y="1915349"/>
                  <a:pt x="9478010" y="1884869"/>
                  <a:pt x="9459595" y="1890584"/>
                </a:cubicBezTo>
                <a:cubicBezTo>
                  <a:pt x="9445625" y="1893759"/>
                  <a:pt x="9449435" y="1915349"/>
                  <a:pt x="9463405" y="1915349"/>
                </a:cubicBezTo>
                <a:close/>
                <a:moveTo>
                  <a:pt x="9401810" y="2022029"/>
                </a:moveTo>
                <a:cubicBezTo>
                  <a:pt x="9383395" y="2029649"/>
                  <a:pt x="9395460" y="2058859"/>
                  <a:pt x="9413875" y="2050604"/>
                </a:cubicBezTo>
                <a:cubicBezTo>
                  <a:pt x="9432290" y="2042984"/>
                  <a:pt x="9420225" y="2013774"/>
                  <a:pt x="9401810" y="2022029"/>
                </a:cubicBezTo>
                <a:close/>
                <a:moveTo>
                  <a:pt x="9145905" y="2530029"/>
                </a:moveTo>
                <a:cubicBezTo>
                  <a:pt x="9182735" y="2529394"/>
                  <a:pt x="9168130" y="2470339"/>
                  <a:pt x="9135110" y="2487484"/>
                </a:cubicBezTo>
                <a:cubicBezTo>
                  <a:pt x="9114790" y="2497644"/>
                  <a:pt x="9123680" y="2530664"/>
                  <a:pt x="9145905" y="2530029"/>
                </a:cubicBezTo>
                <a:close/>
                <a:moveTo>
                  <a:pt x="9255125" y="2178239"/>
                </a:moveTo>
                <a:cubicBezTo>
                  <a:pt x="9276080" y="2170619"/>
                  <a:pt x="9263380" y="2138234"/>
                  <a:pt x="9243060" y="2146489"/>
                </a:cubicBezTo>
                <a:cubicBezTo>
                  <a:pt x="9222105" y="2154109"/>
                  <a:pt x="9234805" y="2186494"/>
                  <a:pt x="9255125" y="2178239"/>
                </a:cubicBezTo>
                <a:close/>
                <a:moveTo>
                  <a:pt x="9242425" y="2303969"/>
                </a:moveTo>
                <a:cubicBezTo>
                  <a:pt x="9231630" y="2281109"/>
                  <a:pt x="9195435" y="2298254"/>
                  <a:pt x="9206865" y="2321114"/>
                </a:cubicBezTo>
                <a:cubicBezTo>
                  <a:pt x="9218295" y="2344609"/>
                  <a:pt x="9254490" y="2326829"/>
                  <a:pt x="9242425" y="2303969"/>
                </a:cubicBezTo>
                <a:close/>
                <a:moveTo>
                  <a:pt x="9208135" y="2268409"/>
                </a:moveTo>
                <a:cubicBezTo>
                  <a:pt x="9230360" y="2259519"/>
                  <a:pt x="9215755" y="2225229"/>
                  <a:pt x="9194165" y="2234754"/>
                </a:cubicBezTo>
                <a:cubicBezTo>
                  <a:pt x="9171940" y="2243009"/>
                  <a:pt x="9186545" y="2277934"/>
                  <a:pt x="9208135" y="2268409"/>
                </a:cubicBezTo>
                <a:close/>
                <a:moveTo>
                  <a:pt x="9096375" y="2473514"/>
                </a:moveTo>
                <a:cubicBezTo>
                  <a:pt x="9121775" y="2462719"/>
                  <a:pt x="9103995" y="2423349"/>
                  <a:pt x="9079230" y="2434779"/>
                </a:cubicBezTo>
                <a:cubicBezTo>
                  <a:pt x="9053195" y="2446209"/>
                  <a:pt x="9071610" y="2485579"/>
                  <a:pt x="9096375" y="2473514"/>
                </a:cubicBezTo>
                <a:close/>
                <a:moveTo>
                  <a:pt x="9254490" y="2443669"/>
                </a:moveTo>
                <a:cubicBezTo>
                  <a:pt x="9239250" y="2418269"/>
                  <a:pt x="9200515" y="2442399"/>
                  <a:pt x="9215755" y="2467164"/>
                </a:cubicBezTo>
                <a:cubicBezTo>
                  <a:pt x="9230995" y="2492564"/>
                  <a:pt x="9269730" y="2468434"/>
                  <a:pt x="9254490" y="2443669"/>
                </a:cubicBezTo>
                <a:close/>
                <a:moveTo>
                  <a:pt x="9091930" y="2197289"/>
                </a:moveTo>
                <a:cubicBezTo>
                  <a:pt x="9073515" y="2202369"/>
                  <a:pt x="9077960" y="2230944"/>
                  <a:pt x="9096375" y="2230309"/>
                </a:cubicBezTo>
                <a:cubicBezTo>
                  <a:pt x="9121775" y="2230944"/>
                  <a:pt x="9116060" y="2190304"/>
                  <a:pt x="9091930" y="2197289"/>
                </a:cubicBezTo>
                <a:close/>
                <a:moveTo>
                  <a:pt x="9598025" y="2133154"/>
                </a:moveTo>
                <a:cubicBezTo>
                  <a:pt x="9580880" y="2111564"/>
                  <a:pt x="9547860" y="2138234"/>
                  <a:pt x="9565005" y="2159824"/>
                </a:cubicBezTo>
                <a:cubicBezTo>
                  <a:pt x="9582150" y="2181414"/>
                  <a:pt x="9615805" y="2154109"/>
                  <a:pt x="9598025" y="2133154"/>
                </a:cubicBezTo>
                <a:close/>
                <a:moveTo>
                  <a:pt x="9044305" y="2533839"/>
                </a:moveTo>
                <a:cubicBezTo>
                  <a:pt x="9033510" y="2538919"/>
                  <a:pt x="9028430" y="2552889"/>
                  <a:pt x="9033510" y="2563684"/>
                </a:cubicBezTo>
                <a:cubicBezTo>
                  <a:pt x="9068435" y="2611944"/>
                  <a:pt x="9101455" y="2517329"/>
                  <a:pt x="9044305" y="2533839"/>
                </a:cubicBezTo>
                <a:close/>
                <a:moveTo>
                  <a:pt x="9127490" y="2300159"/>
                </a:moveTo>
                <a:cubicBezTo>
                  <a:pt x="9149715" y="2292539"/>
                  <a:pt x="9137015" y="2256979"/>
                  <a:pt x="9114790" y="2265869"/>
                </a:cubicBezTo>
                <a:cubicBezTo>
                  <a:pt x="9092565" y="2273489"/>
                  <a:pt x="9105265" y="2308414"/>
                  <a:pt x="9127490" y="2300159"/>
                </a:cubicBezTo>
                <a:close/>
                <a:moveTo>
                  <a:pt x="9173210" y="2206814"/>
                </a:moveTo>
                <a:cubicBezTo>
                  <a:pt x="9198610" y="2206814"/>
                  <a:pt x="9192260" y="2165539"/>
                  <a:pt x="9168130" y="2173794"/>
                </a:cubicBezTo>
                <a:cubicBezTo>
                  <a:pt x="9149715" y="2178874"/>
                  <a:pt x="9154795" y="2207449"/>
                  <a:pt x="9173210" y="2206814"/>
                </a:cubicBezTo>
                <a:close/>
                <a:moveTo>
                  <a:pt x="9643110" y="1853119"/>
                </a:moveTo>
                <a:cubicBezTo>
                  <a:pt x="9662795" y="1853119"/>
                  <a:pt x="9657080" y="1821369"/>
                  <a:pt x="9638665" y="1828354"/>
                </a:cubicBezTo>
                <a:cubicBezTo>
                  <a:pt x="9625965" y="1833434"/>
                  <a:pt x="9629775" y="1853754"/>
                  <a:pt x="9643110" y="1853119"/>
                </a:cubicBezTo>
                <a:close/>
                <a:moveTo>
                  <a:pt x="9596120" y="1947099"/>
                </a:moveTo>
                <a:cubicBezTo>
                  <a:pt x="9605645" y="1964879"/>
                  <a:pt x="9632950" y="1950274"/>
                  <a:pt x="9623425" y="1932494"/>
                </a:cubicBezTo>
                <a:cubicBezTo>
                  <a:pt x="9614535" y="1914713"/>
                  <a:pt x="9586595" y="1929319"/>
                  <a:pt x="9596120" y="1947099"/>
                </a:cubicBezTo>
                <a:close/>
                <a:moveTo>
                  <a:pt x="9628505" y="1902013"/>
                </a:moveTo>
                <a:cubicBezTo>
                  <a:pt x="9651365" y="1901379"/>
                  <a:pt x="9643110" y="1865819"/>
                  <a:pt x="9622155" y="1875344"/>
                </a:cubicBezTo>
                <a:cubicBezTo>
                  <a:pt x="9608820" y="1881059"/>
                  <a:pt x="9613900" y="1902649"/>
                  <a:pt x="9628505" y="1902013"/>
                </a:cubicBezTo>
                <a:close/>
                <a:moveTo>
                  <a:pt x="9584055" y="1875344"/>
                </a:moveTo>
                <a:cubicBezTo>
                  <a:pt x="9603740" y="1875344"/>
                  <a:pt x="9598025" y="1844229"/>
                  <a:pt x="9579610" y="1850579"/>
                </a:cubicBezTo>
                <a:cubicBezTo>
                  <a:pt x="9566275" y="1855024"/>
                  <a:pt x="9570085" y="1875979"/>
                  <a:pt x="9584055" y="1875344"/>
                </a:cubicBezTo>
                <a:close/>
                <a:moveTo>
                  <a:pt x="9552305" y="2195384"/>
                </a:moveTo>
                <a:cubicBezTo>
                  <a:pt x="9530080" y="2214434"/>
                  <a:pt x="9559925" y="2248724"/>
                  <a:pt x="9581515" y="2229674"/>
                </a:cubicBezTo>
                <a:cubicBezTo>
                  <a:pt x="9604375" y="2211259"/>
                  <a:pt x="9574530" y="2176334"/>
                  <a:pt x="9552305" y="2195384"/>
                </a:cubicBezTo>
                <a:close/>
                <a:moveTo>
                  <a:pt x="9569450" y="2032824"/>
                </a:moveTo>
                <a:cubicBezTo>
                  <a:pt x="9549130" y="2045524"/>
                  <a:pt x="9570085" y="2076638"/>
                  <a:pt x="9589770" y="2063304"/>
                </a:cubicBezTo>
                <a:cubicBezTo>
                  <a:pt x="9610090" y="2050604"/>
                  <a:pt x="9589135" y="2019488"/>
                  <a:pt x="9569450" y="2032824"/>
                </a:cubicBezTo>
                <a:close/>
                <a:moveTo>
                  <a:pt x="9565640" y="1930588"/>
                </a:moveTo>
                <a:cubicBezTo>
                  <a:pt x="9587865" y="1930588"/>
                  <a:pt x="9580880" y="1895029"/>
                  <a:pt x="9559925" y="1903284"/>
                </a:cubicBezTo>
                <a:cubicBezTo>
                  <a:pt x="9545955" y="1908999"/>
                  <a:pt x="9550400" y="1931224"/>
                  <a:pt x="9565640" y="1930588"/>
                </a:cubicBezTo>
                <a:close/>
                <a:moveTo>
                  <a:pt x="9608820" y="2001074"/>
                </a:moveTo>
                <a:cubicBezTo>
                  <a:pt x="9637395" y="2000438"/>
                  <a:pt x="9624695" y="1955354"/>
                  <a:pt x="9599930" y="1969959"/>
                </a:cubicBezTo>
                <a:cubicBezTo>
                  <a:pt x="9585325" y="1978213"/>
                  <a:pt x="9592310" y="2001709"/>
                  <a:pt x="9608820" y="2001074"/>
                </a:cubicBezTo>
                <a:close/>
                <a:moveTo>
                  <a:pt x="9625965" y="2087434"/>
                </a:moveTo>
                <a:cubicBezTo>
                  <a:pt x="9646920" y="2072194"/>
                  <a:pt x="9622790" y="2040444"/>
                  <a:pt x="9602470" y="2055684"/>
                </a:cubicBezTo>
                <a:cubicBezTo>
                  <a:pt x="9581515" y="2070924"/>
                  <a:pt x="9605645" y="2102674"/>
                  <a:pt x="9625965" y="2087434"/>
                </a:cubicBezTo>
                <a:close/>
                <a:moveTo>
                  <a:pt x="9469755" y="2292539"/>
                </a:moveTo>
                <a:cubicBezTo>
                  <a:pt x="9487535" y="2316034"/>
                  <a:pt x="9523730" y="2286824"/>
                  <a:pt x="9505315" y="2264599"/>
                </a:cubicBezTo>
                <a:cubicBezTo>
                  <a:pt x="9487535" y="2241104"/>
                  <a:pt x="9451340" y="2269679"/>
                  <a:pt x="9469755" y="2292539"/>
                </a:cubicBezTo>
                <a:close/>
                <a:moveTo>
                  <a:pt x="9482455" y="2020759"/>
                </a:moveTo>
                <a:cubicBezTo>
                  <a:pt x="9500870" y="2012504"/>
                  <a:pt x="9487535" y="1983929"/>
                  <a:pt x="9469755" y="1992819"/>
                </a:cubicBezTo>
                <a:cubicBezTo>
                  <a:pt x="9451340" y="2000438"/>
                  <a:pt x="9464675" y="2029013"/>
                  <a:pt x="9482455" y="2020759"/>
                </a:cubicBezTo>
                <a:close/>
                <a:moveTo>
                  <a:pt x="9501505" y="1957259"/>
                </a:moveTo>
                <a:cubicBezTo>
                  <a:pt x="9523730" y="1957259"/>
                  <a:pt x="9516745" y="1922334"/>
                  <a:pt x="9496425" y="1929954"/>
                </a:cubicBezTo>
                <a:cubicBezTo>
                  <a:pt x="9481820" y="1935034"/>
                  <a:pt x="9486900" y="1957894"/>
                  <a:pt x="9501505" y="1957259"/>
                </a:cubicBezTo>
                <a:close/>
                <a:moveTo>
                  <a:pt x="9453245" y="2160459"/>
                </a:moveTo>
                <a:cubicBezTo>
                  <a:pt x="9436735" y="2170619"/>
                  <a:pt x="9444990" y="2197289"/>
                  <a:pt x="9464040" y="2196654"/>
                </a:cubicBezTo>
                <a:cubicBezTo>
                  <a:pt x="9497695" y="2195384"/>
                  <a:pt x="9481820" y="2142679"/>
                  <a:pt x="9453245" y="2160459"/>
                </a:cubicBezTo>
                <a:close/>
                <a:moveTo>
                  <a:pt x="9424035" y="2122359"/>
                </a:moveTo>
                <a:cubicBezTo>
                  <a:pt x="9403080" y="2133789"/>
                  <a:pt x="9421495" y="2166174"/>
                  <a:pt x="9441815" y="2154109"/>
                </a:cubicBezTo>
                <a:cubicBezTo>
                  <a:pt x="9463405" y="2142679"/>
                  <a:pt x="9444990" y="2110294"/>
                  <a:pt x="9424035" y="2122359"/>
                </a:cubicBezTo>
                <a:close/>
                <a:moveTo>
                  <a:pt x="9539605" y="2041713"/>
                </a:moveTo>
                <a:cubicBezTo>
                  <a:pt x="9567545" y="2041079"/>
                  <a:pt x="9556115" y="1996629"/>
                  <a:pt x="9531350" y="2009963"/>
                </a:cubicBezTo>
                <a:cubicBezTo>
                  <a:pt x="9516110" y="2018219"/>
                  <a:pt x="9522460" y="2042349"/>
                  <a:pt x="9539605" y="2041713"/>
                </a:cubicBezTo>
                <a:close/>
                <a:moveTo>
                  <a:pt x="9529445" y="1981388"/>
                </a:moveTo>
                <a:cubicBezTo>
                  <a:pt x="9538335" y="1999804"/>
                  <a:pt x="9566275" y="1985199"/>
                  <a:pt x="9557385" y="1967419"/>
                </a:cubicBezTo>
                <a:cubicBezTo>
                  <a:pt x="9548495" y="1949004"/>
                  <a:pt x="9520555" y="1962974"/>
                  <a:pt x="9529445" y="1981388"/>
                </a:cubicBezTo>
                <a:close/>
                <a:moveTo>
                  <a:pt x="9497695" y="2078544"/>
                </a:moveTo>
                <a:cubicBezTo>
                  <a:pt x="9477375" y="2090609"/>
                  <a:pt x="9497060" y="2122359"/>
                  <a:pt x="9516745" y="2109659"/>
                </a:cubicBezTo>
                <a:cubicBezTo>
                  <a:pt x="9537700" y="2098229"/>
                  <a:pt x="9518015" y="2065844"/>
                  <a:pt x="9497695" y="2078544"/>
                </a:cubicBezTo>
                <a:close/>
                <a:moveTo>
                  <a:pt x="9523730" y="1896299"/>
                </a:moveTo>
                <a:cubicBezTo>
                  <a:pt x="9542780" y="1896299"/>
                  <a:pt x="9537700" y="1865819"/>
                  <a:pt x="9519920" y="1871534"/>
                </a:cubicBezTo>
                <a:cubicBezTo>
                  <a:pt x="9506585" y="1875344"/>
                  <a:pt x="9509760" y="1896299"/>
                  <a:pt x="9523730" y="1896299"/>
                </a:cubicBezTo>
                <a:close/>
                <a:moveTo>
                  <a:pt x="11238230" y="618679"/>
                </a:moveTo>
                <a:cubicBezTo>
                  <a:pt x="11224260" y="595184"/>
                  <a:pt x="11187430" y="617409"/>
                  <a:pt x="11202035" y="640269"/>
                </a:cubicBezTo>
                <a:cubicBezTo>
                  <a:pt x="11215370" y="664399"/>
                  <a:pt x="11252200" y="642174"/>
                  <a:pt x="11238230" y="618679"/>
                </a:cubicBezTo>
                <a:close/>
                <a:moveTo>
                  <a:pt x="11771630" y="224344"/>
                </a:moveTo>
                <a:cubicBezTo>
                  <a:pt x="11807825" y="224344"/>
                  <a:pt x="11798300" y="166558"/>
                  <a:pt x="11764010" y="177354"/>
                </a:cubicBezTo>
                <a:cubicBezTo>
                  <a:pt x="11738610" y="184974"/>
                  <a:pt x="11745595" y="224979"/>
                  <a:pt x="11771630" y="224344"/>
                </a:cubicBezTo>
                <a:close/>
                <a:moveTo>
                  <a:pt x="11750675" y="413574"/>
                </a:moveTo>
                <a:cubicBezTo>
                  <a:pt x="11782425" y="413574"/>
                  <a:pt x="11774805" y="363408"/>
                  <a:pt x="11744960" y="372299"/>
                </a:cubicBezTo>
                <a:cubicBezTo>
                  <a:pt x="11722100" y="378649"/>
                  <a:pt x="11727180" y="414844"/>
                  <a:pt x="11750675" y="413574"/>
                </a:cubicBezTo>
                <a:close/>
                <a:moveTo>
                  <a:pt x="11783060" y="128458"/>
                </a:moveTo>
                <a:cubicBezTo>
                  <a:pt x="11821795" y="128458"/>
                  <a:pt x="11811000" y="66229"/>
                  <a:pt x="11774805" y="78929"/>
                </a:cubicBezTo>
                <a:cubicBezTo>
                  <a:pt x="11748135" y="87819"/>
                  <a:pt x="11755755" y="129729"/>
                  <a:pt x="11783060" y="128458"/>
                </a:cubicBezTo>
                <a:close/>
                <a:moveTo>
                  <a:pt x="11567795" y="477074"/>
                </a:moveTo>
                <a:cubicBezTo>
                  <a:pt x="11600815" y="476438"/>
                  <a:pt x="11590655" y="424369"/>
                  <a:pt x="11560175" y="436433"/>
                </a:cubicBezTo>
                <a:cubicBezTo>
                  <a:pt x="11537950" y="444054"/>
                  <a:pt x="11544935" y="478344"/>
                  <a:pt x="11567795" y="477074"/>
                </a:cubicBezTo>
                <a:close/>
                <a:moveTo>
                  <a:pt x="11791315" y="263713"/>
                </a:moveTo>
                <a:cubicBezTo>
                  <a:pt x="11762740" y="271333"/>
                  <a:pt x="11776075" y="315783"/>
                  <a:pt x="11804015" y="306894"/>
                </a:cubicBezTo>
                <a:cubicBezTo>
                  <a:pt x="11832590" y="299274"/>
                  <a:pt x="11819255" y="255458"/>
                  <a:pt x="11791315" y="263713"/>
                </a:cubicBezTo>
                <a:close/>
                <a:moveTo>
                  <a:pt x="11845290" y="388808"/>
                </a:moveTo>
                <a:cubicBezTo>
                  <a:pt x="11875770" y="388808"/>
                  <a:pt x="11870055" y="339913"/>
                  <a:pt x="11840210" y="346899"/>
                </a:cubicBezTo>
                <a:cubicBezTo>
                  <a:pt x="11816080" y="351979"/>
                  <a:pt x="11821160" y="389444"/>
                  <a:pt x="11845290" y="388808"/>
                </a:cubicBezTo>
                <a:close/>
                <a:moveTo>
                  <a:pt x="11764010" y="556449"/>
                </a:moveTo>
                <a:cubicBezTo>
                  <a:pt x="11740515" y="561529"/>
                  <a:pt x="11749405" y="597724"/>
                  <a:pt x="11772265" y="592009"/>
                </a:cubicBezTo>
                <a:cubicBezTo>
                  <a:pt x="11795760" y="586929"/>
                  <a:pt x="11787505" y="550734"/>
                  <a:pt x="11764010" y="556449"/>
                </a:cubicBezTo>
                <a:close/>
                <a:moveTo>
                  <a:pt x="11804015" y="451674"/>
                </a:moveTo>
                <a:cubicBezTo>
                  <a:pt x="11778615" y="457388"/>
                  <a:pt x="11788140" y="496124"/>
                  <a:pt x="11812905" y="490408"/>
                </a:cubicBezTo>
                <a:cubicBezTo>
                  <a:pt x="11838305" y="484694"/>
                  <a:pt x="11828780" y="445324"/>
                  <a:pt x="11804015" y="451674"/>
                </a:cubicBezTo>
                <a:close/>
                <a:moveTo>
                  <a:pt x="11680190" y="577404"/>
                </a:moveTo>
                <a:cubicBezTo>
                  <a:pt x="11657330" y="583119"/>
                  <a:pt x="11666855" y="619313"/>
                  <a:pt x="11689715" y="612963"/>
                </a:cubicBezTo>
                <a:cubicBezTo>
                  <a:pt x="11712575" y="606613"/>
                  <a:pt x="11703050" y="570419"/>
                  <a:pt x="11680190" y="577404"/>
                </a:cubicBezTo>
                <a:close/>
                <a:moveTo>
                  <a:pt x="11834495" y="559624"/>
                </a:moveTo>
                <a:cubicBezTo>
                  <a:pt x="11851640" y="604709"/>
                  <a:pt x="11897360" y="537399"/>
                  <a:pt x="11849100" y="538034"/>
                </a:cubicBezTo>
                <a:cubicBezTo>
                  <a:pt x="11839575" y="539938"/>
                  <a:pt x="11832590" y="549463"/>
                  <a:pt x="11834495" y="559624"/>
                </a:cubicBezTo>
                <a:close/>
                <a:moveTo>
                  <a:pt x="11707495" y="338644"/>
                </a:moveTo>
                <a:cubicBezTo>
                  <a:pt x="11735435" y="329119"/>
                  <a:pt x="11720195" y="285938"/>
                  <a:pt x="11692255" y="296099"/>
                </a:cubicBezTo>
                <a:cubicBezTo>
                  <a:pt x="11664315" y="304988"/>
                  <a:pt x="11680190" y="348804"/>
                  <a:pt x="11707495" y="338644"/>
                </a:cubicBezTo>
                <a:close/>
                <a:moveTo>
                  <a:pt x="11597005" y="601534"/>
                </a:moveTo>
                <a:cubicBezTo>
                  <a:pt x="11574145" y="608519"/>
                  <a:pt x="11585575" y="644079"/>
                  <a:pt x="11607800" y="636459"/>
                </a:cubicBezTo>
                <a:cubicBezTo>
                  <a:pt x="11630660" y="630109"/>
                  <a:pt x="11619230" y="593913"/>
                  <a:pt x="11597005" y="601534"/>
                </a:cubicBezTo>
                <a:close/>
                <a:moveTo>
                  <a:pt x="11583035" y="362774"/>
                </a:moveTo>
                <a:cubicBezTo>
                  <a:pt x="11593830" y="390079"/>
                  <a:pt x="11636375" y="372299"/>
                  <a:pt x="11624945" y="345629"/>
                </a:cubicBezTo>
                <a:cubicBezTo>
                  <a:pt x="11614150" y="318324"/>
                  <a:pt x="11571605" y="335469"/>
                  <a:pt x="11583035" y="362774"/>
                </a:cubicBezTo>
                <a:close/>
                <a:moveTo>
                  <a:pt x="11570335" y="305624"/>
                </a:moveTo>
                <a:cubicBezTo>
                  <a:pt x="11608435" y="304988"/>
                  <a:pt x="11595100" y="244029"/>
                  <a:pt x="11560175" y="259904"/>
                </a:cubicBezTo>
                <a:cubicBezTo>
                  <a:pt x="11537315" y="269429"/>
                  <a:pt x="11545570" y="306258"/>
                  <a:pt x="11570335" y="305624"/>
                </a:cubicBezTo>
                <a:close/>
                <a:moveTo>
                  <a:pt x="11572875" y="218629"/>
                </a:moveTo>
                <a:cubicBezTo>
                  <a:pt x="11614150" y="217994"/>
                  <a:pt x="11598275" y="152588"/>
                  <a:pt x="11561445" y="170369"/>
                </a:cubicBezTo>
                <a:cubicBezTo>
                  <a:pt x="11537950" y="181799"/>
                  <a:pt x="11547475" y="219899"/>
                  <a:pt x="11572875" y="218629"/>
                </a:cubicBezTo>
                <a:close/>
                <a:moveTo>
                  <a:pt x="11670030" y="261808"/>
                </a:moveTo>
                <a:cubicBezTo>
                  <a:pt x="11707495" y="261174"/>
                  <a:pt x="11696065" y="202119"/>
                  <a:pt x="11661140" y="215454"/>
                </a:cubicBezTo>
                <a:cubicBezTo>
                  <a:pt x="11637010" y="224344"/>
                  <a:pt x="11644630" y="263079"/>
                  <a:pt x="11670030" y="261808"/>
                </a:cubicBezTo>
                <a:close/>
                <a:moveTo>
                  <a:pt x="11613515" y="526604"/>
                </a:moveTo>
                <a:cubicBezTo>
                  <a:pt x="11621135" y="551369"/>
                  <a:pt x="11659235" y="538034"/>
                  <a:pt x="11650980" y="513904"/>
                </a:cubicBezTo>
                <a:cubicBezTo>
                  <a:pt x="11643360" y="489774"/>
                  <a:pt x="11605260" y="502474"/>
                  <a:pt x="11613515" y="526604"/>
                </a:cubicBezTo>
                <a:close/>
                <a:moveTo>
                  <a:pt x="11676380" y="170369"/>
                </a:moveTo>
                <a:cubicBezTo>
                  <a:pt x="11716385" y="169733"/>
                  <a:pt x="11703685" y="106233"/>
                  <a:pt x="11666220" y="121474"/>
                </a:cubicBezTo>
                <a:cubicBezTo>
                  <a:pt x="11641455" y="131633"/>
                  <a:pt x="11649710" y="171004"/>
                  <a:pt x="11676380" y="170369"/>
                </a:cubicBezTo>
                <a:close/>
                <a:moveTo>
                  <a:pt x="11658600" y="443419"/>
                </a:moveTo>
                <a:cubicBezTo>
                  <a:pt x="11690985" y="442783"/>
                  <a:pt x="11682095" y="391983"/>
                  <a:pt x="11651615" y="402144"/>
                </a:cubicBezTo>
                <a:cubicBezTo>
                  <a:pt x="11629390" y="409129"/>
                  <a:pt x="11635740" y="444054"/>
                  <a:pt x="11658600" y="443419"/>
                </a:cubicBezTo>
                <a:close/>
                <a:moveTo>
                  <a:pt x="11738610" y="488504"/>
                </a:moveTo>
                <a:cubicBezTo>
                  <a:pt x="11716385" y="441513"/>
                  <a:pt x="11673205" y="518349"/>
                  <a:pt x="11725275" y="512633"/>
                </a:cubicBezTo>
                <a:lnTo>
                  <a:pt x="11725275" y="512633"/>
                </a:lnTo>
                <a:cubicBezTo>
                  <a:pt x="11736070" y="510094"/>
                  <a:pt x="11741785" y="498663"/>
                  <a:pt x="11738610" y="488504"/>
                </a:cubicBezTo>
                <a:close/>
                <a:moveTo>
                  <a:pt x="12115800" y="50988"/>
                </a:moveTo>
                <a:cubicBezTo>
                  <a:pt x="12150725" y="51624"/>
                  <a:pt x="12147550" y="-3621"/>
                  <a:pt x="12113260" y="188"/>
                </a:cubicBezTo>
                <a:cubicBezTo>
                  <a:pt x="12082145" y="3363"/>
                  <a:pt x="12084685" y="52258"/>
                  <a:pt x="12115800" y="50988"/>
                </a:cubicBezTo>
                <a:close/>
                <a:moveTo>
                  <a:pt x="12099290" y="424369"/>
                </a:moveTo>
                <a:cubicBezTo>
                  <a:pt x="12097385" y="398969"/>
                  <a:pt x="12057380" y="402779"/>
                  <a:pt x="12059920" y="428179"/>
                </a:cubicBezTo>
                <a:cubicBezTo>
                  <a:pt x="12062460" y="453579"/>
                  <a:pt x="12102465" y="449769"/>
                  <a:pt x="12099290" y="424369"/>
                </a:cubicBezTo>
                <a:close/>
                <a:moveTo>
                  <a:pt x="12088495" y="151954"/>
                </a:moveTo>
                <a:cubicBezTo>
                  <a:pt x="12089765" y="151954"/>
                  <a:pt x="12090400" y="151954"/>
                  <a:pt x="12091670" y="151954"/>
                </a:cubicBezTo>
                <a:lnTo>
                  <a:pt x="12091670" y="151954"/>
                </a:lnTo>
                <a:cubicBezTo>
                  <a:pt x="12122785" y="148779"/>
                  <a:pt x="12117070" y="99883"/>
                  <a:pt x="12085955" y="104329"/>
                </a:cubicBezTo>
                <a:cubicBezTo>
                  <a:pt x="12056745" y="107504"/>
                  <a:pt x="12059285" y="153224"/>
                  <a:pt x="12088495" y="151954"/>
                </a:cubicBezTo>
                <a:close/>
                <a:moveTo>
                  <a:pt x="12015470" y="334833"/>
                </a:moveTo>
                <a:cubicBezTo>
                  <a:pt x="12018645" y="362138"/>
                  <a:pt x="12061190" y="356424"/>
                  <a:pt x="12057380" y="329119"/>
                </a:cubicBezTo>
                <a:cubicBezTo>
                  <a:pt x="12054205" y="302449"/>
                  <a:pt x="12011660" y="308163"/>
                  <a:pt x="12015470" y="334833"/>
                </a:cubicBezTo>
                <a:close/>
                <a:moveTo>
                  <a:pt x="12090400" y="524699"/>
                </a:moveTo>
                <a:cubicBezTo>
                  <a:pt x="12091670" y="548829"/>
                  <a:pt x="12129135" y="545654"/>
                  <a:pt x="12127230" y="522158"/>
                </a:cubicBezTo>
                <a:cubicBezTo>
                  <a:pt x="12125325" y="498029"/>
                  <a:pt x="12087860" y="500569"/>
                  <a:pt x="12090400" y="524699"/>
                </a:cubicBezTo>
                <a:close/>
                <a:moveTo>
                  <a:pt x="12111990" y="324038"/>
                </a:moveTo>
                <a:cubicBezTo>
                  <a:pt x="12113895" y="351344"/>
                  <a:pt x="12156440" y="348169"/>
                  <a:pt x="12154535" y="320863"/>
                </a:cubicBezTo>
                <a:cubicBezTo>
                  <a:pt x="12152630" y="293558"/>
                  <a:pt x="12109450" y="296733"/>
                  <a:pt x="12111990" y="324038"/>
                </a:cubicBezTo>
                <a:close/>
                <a:moveTo>
                  <a:pt x="12122785" y="223708"/>
                </a:moveTo>
                <a:cubicBezTo>
                  <a:pt x="12120245" y="194499"/>
                  <a:pt x="12074525" y="198944"/>
                  <a:pt x="12077700" y="228154"/>
                </a:cubicBezTo>
                <a:cubicBezTo>
                  <a:pt x="12080240" y="257999"/>
                  <a:pt x="12125960" y="252919"/>
                  <a:pt x="12122785" y="223708"/>
                </a:cubicBezTo>
                <a:close/>
                <a:moveTo>
                  <a:pt x="12109450" y="722184"/>
                </a:moveTo>
                <a:cubicBezTo>
                  <a:pt x="12110085" y="742504"/>
                  <a:pt x="12141835" y="741234"/>
                  <a:pt x="12140565" y="720913"/>
                </a:cubicBezTo>
                <a:cubicBezTo>
                  <a:pt x="12139295" y="700594"/>
                  <a:pt x="12108180" y="701863"/>
                  <a:pt x="12109450" y="722184"/>
                </a:cubicBezTo>
                <a:close/>
                <a:moveTo>
                  <a:pt x="11969115" y="439608"/>
                </a:moveTo>
                <a:cubicBezTo>
                  <a:pt x="11972290" y="465008"/>
                  <a:pt x="12012295" y="459294"/>
                  <a:pt x="12008485" y="433894"/>
                </a:cubicBezTo>
                <a:cubicBezTo>
                  <a:pt x="12005310" y="409129"/>
                  <a:pt x="11965305" y="414208"/>
                  <a:pt x="11969115" y="439608"/>
                </a:cubicBezTo>
                <a:close/>
                <a:moveTo>
                  <a:pt x="11892280" y="94169"/>
                </a:moveTo>
                <a:cubicBezTo>
                  <a:pt x="11929745" y="94169"/>
                  <a:pt x="11922125" y="34479"/>
                  <a:pt x="11885295" y="44004"/>
                </a:cubicBezTo>
                <a:cubicBezTo>
                  <a:pt x="11857355" y="51624"/>
                  <a:pt x="11863705" y="95438"/>
                  <a:pt x="11892280" y="94169"/>
                </a:cubicBezTo>
                <a:close/>
                <a:moveTo>
                  <a:pt x="11892280" y="237679"/>
                </a:moveTo>
                <a:cubicBezTo>
                  <a:pt x="11863705" y="244029"/>
                  <a:pt x="11873865" y="288479"/>
                  <a:pt x="11902440" y="281494"/>
                </a:cubicBezTo>
                <a:cubicBezTo>
                  <a:pt x="11931015" y="275779"/>
                  <a:pt x="11920855" y="230694"/>
                  <a:pt x="11892280" y="237679"/>
                </a:cubicBezTo>
                <a:close/>
                <a:moveTo>
                  <a:pt x="11994515" y="217358"/>
                </a:moveTo>
                <a:cubicBezTo>
                  <a:pt x="11967845" y="221169"/>
                  <a:pt x="11971020" y="263079"/>
                  <a:pt x="11998325" y="262444"/>
                </a:cubicBezTo>
                <a:cubicBezTo>
                  <a:pt x="12030075" y="262444"/>
                  <a:pt x="12025630" y="212279"/>
                  <a:pt x="11994515" y="217358"/>
                </a:cubicBezTo>
                <a:close/>
                <a:moveTo>
                  <a:pt x="11934825" y="523429"/>
                </a:moveTo>
                <a:cubicBezTo>
                  <a:pt x="11911330" y="526604"/>
                  <a:pt x="11917045" y="563434"/>
                  <a:pt x="11940540" y="559624"/>
                </a:cubicBezTo>
                <a:cubicBezTo>
                  <a:pt x="11963400" y="557084"/>
                  <a:pt x="11958320" y="519619"/>
                  <a:pt x="11934825" y="523429"/>
                </a:cubicBezTo>
                <a:close/>
                <a:moveTo>
                  <a:pt x="11875770" y="193229"/>
                </a:moveTo>
                <a:cubicBezTo>
                  <a:pt x="11910695" y="193229"/>
                  <a:pt x="11903710" y="136713"/>
                  <a:pt x="11869420" y="146238"/>
                </a:cubicBezTo>
                <a:cubicBezTo>
                  <a:pt x="11842750" y="152588"/>
                  <a:pt x="11848465" y="193863"/>
                  <a:pt x="11875770" y="193229"/>
                </a:cubicBezTo>
                <a:close/>
                <a:moveTo>
                  <a:pt x="11919585" y="351344"/>
                </a:moveTo>
                <a:cubicBezTo>
                  <a:pt x="11924030" y="378649"/>
                  <a:pt x="11966575" y="370394"/>
                  <a:pt x="11961495" y="343724"/>
                </a:cubicBezTo>
                <a:cubicBezTo>
                  <a:pt x="11956415" y="316419"/>
                  <a:pt x="11913870" y="324674"/>
                  <a:pt x="11919585" y="351344"/>
                </a:cubicBezTo>
                <a:close/>
                <a:moveTo>
                  <a:pt x="11981180" y="169099"/>
                </a:moveTo>
                <a:cubicBezTo>
                  <a:pt x="12015470" y="169099"/>
                  <a:pt x="12010390" y="115124"/>
                  <a:pt x="11976735" y="121474"/>
                </a:cubicBezTo>
                <a:cubicBezTo>
                  <a:pt x="11948795" y="125919"/>
                  <a:pt x="11953240" y="169733"/>
                  <a:pt x="11981180" y="169099"/>
                </a:cubicBezTo>
                <a:close/>
                <a:moveTo>
                  <a:pt x="12022455" y="549463"/>
                </a:moveTo>
                <a:cubicBezTo>
                  <a:pt x="12047855" y="549463"/>
                  <a:pt x="12045315" y="510094"/>
                  <a:pt x="12020550" y="512633"/>
                </a:cubicBezTo>
                <a:cubicBezTo>
                  <a:pt x="11998325" y="514538"/>
                  <a:pt x="12000230" y="549463"/>
                  <a:pt x="12022455" y="549463"/>
                </a:cubicBezTo>
                <a:close/>
                <a:moveTo>
                  <a:pt x="12002770" y="68133"/>
                </a:moveTo>
                <a:cubicBezTo>
                  <a:pt x="12038965" y="68133"/>
                  <a:pt x="12033250" y="10983"/>
                  <a:pt x="11997690" y="17969"/>
                </a:cubicBezTo>
                <a:cubicBezTo>
                  <a:pt x="11968480" y="23049"/>
                  <a:pt x="11973560" y="69404"/>
                  <a:pt x="12002770" y="68133"/>
                </a:cubicBezTo>
                <a:close/>
                <a:moveTo>
                  <a:pt x="11460480" y="604709"/>
                </a:moveTo>
                <a:cubicBezTo>
                  <a:pt x="11491595" y="604074"/>
                  <a:pt x="11481435" y="555179"/>
                  <a:pt x="11452860" y="566609"/>
                </a:cubicBezTo>
                <a:cubicBezTo>
                  <a:pt x="11433175" y="574229"/>
                  <a:pt x="11439525" y="605344"/>
                  <a:pt x="11460480" y="604709"/>
                </a:cubicBezTo>
                <a:close/>
                <a:moveTo>
                  <a:pt x="11099165" y="538034"/>
                </a:moveTo>
                <a:cubicBezTo>
                  <a:pt x="11144885" y="536129"/>
                  <a:pt x="11119485" y="465008"/>
                  <a:pt x="11082655" y="492949"/>
                </a:cubicBezTo>
                <a:cubicBezTo>
                  <a:pt x="11064240" y="507554"/>
                  <a:pt x="11076305" y="538669"/>
                  <a:pt x="11099165" y="538034"/>
                </a:cubicBezTo>
                <a:close/>
                <a:moveTo>
                  <a:pt x="11135360" y="615504"/>
                </a:moveTo>
                <a:cubicBezTo>
                  <a:pt x="11151870" y="639634"/>
                  <a:pt x="11189335" y="613599"/>
                  <a:pt x="11172825" y="590104"/>
                </a:cubicBezTo>
                <a:cubicBezTo>
                  <a:pt x="11156315" y="565338"/>
                  <a:pt x="11118215" y="591374"/>
                  <a:pt x="11135360" y="615504"/>
                </a:cubicBezTo>
                <a:close/>
                <a:moveTo>
                  <a:pt x="11095355" y="549463"/>
                </a:moveTo>
                <a:cubicBezTo>
                  <a:pt x="11070590" y="567879"/>
                  <a:pt x="11100435" y="606613"/>
                  <a:pt x="11124565" y="587563"/>
                </a:cubicBezTo>
                <a:cubicBezTo>
                  <a:pt x="11149330" y="568513"/>
                  <a:pt x="11119485" y="529779"/>
                  <a:pt x="11095355" y="549463"/>
                </a:cubicBezTo>
                <a:close/>
                <a:moveTo>
                  <a:pt x="11038840" y="809179"/>
                </a:moveTo>
                <a:cubicBezTo>
                  <a:pt x="11073765" y="847913"/>
                  <a:pt x="11092815" y="762188"/>
                  <a:pt x="11045190" y="781874"/>
                </a:cubicBezTo>
                <a:cubicBezTo>
                  <a:pt x="11045190" y="781874"/>
                  <a:pt x="11045190" y="781874"/>
                  <a:pt x="11045190" y="781874"/>
                </a:cubicBezTo>
                <a:cubicBezTo>
                  <a:pt x="11035665" y="787588"/>
                  <a:pt x="11032490" y="799654"/>
                  <a:pt x="11038840" y="809179"/>
                </a:cubicBezTo>
                <a:close/>
                <a:moveTo>
                  <a:pt x="11009630" y="618044"/>
                </a:moveTo>
                <a:cubicBezTo>
                  <a:pt x="11009630" y="618044"/>
                  <a:pt x="11009630" y="618044"/>
                  <a:pt x="11009630" y="618044"/>
                </a:cubicBezTo>
                <a:cubicBezTo>
                  <a:pt x="10985500" y="637729"/>
                  <a:pt x="11016615" y="675194"/>
                  <a:pt x="11040110" y="654874"/>
                </a:cubicBezTo>
                <a:cubicBezTo>
                  <a:pt x="11064875" y="635188"/>
                  <a:pt x="11033760" y="597724"/>
                  <a:pt x="11009630" y="618044"/>
                </a:cubicBezTo>
                <a:close/>
                <a:moveTo>
                  <a:pt x="11220450" y="557719"/>
                </a:moveTo>
                <a:cubicBezTo>
                  <a:pt x="11260455" y="601534"/>
                  <a:pt x="11282045" y="503744"/>
                  <a:pt x="11227435" y="526604"/>
                </a:cubicBezTo>
                <a:cubicBezTo>
                  <a:pt x="11227435" y="526604"/>
                  <a:pt x="11227435" y="526604"/>
                  <a:pt x="11227435" y="526604"/>
                </a:cubicBezTo>
                <a:cubicBezTo>
                  <a:pt x="11217275" y="532954"/>
                  <a:pt x="11214100" y="546924"/>
                  <a:pt x="11220450" y="557719"/>
                </a:cubicBezTo>
                <a:close/>
                <a:moveTo>
                  <a:pt x="11188065" y="465644"/>
                </a:moveTo>
                <a:cubicBezTo>
                  <a:pt x="11233150" y="463738"/>
                  <a:pt x="11209020" y="393888"/>
                  <a:pt x="11172190" y="419924"/>
                </a:cubicBezTo>
                <a:cubicBezTo>
                  <a:pt x="11153140" y="434529"/>
                  <a:pt x="11164570" y="466913"/>
                  <a:pt x="11188065" y="465644"/>
                </a:cubicBezTo>
                <a:close/>
                <a:moveTo>
                  <a:pt x="11279505" y="397699"/>
                </a:moveTo>
                <a:cubicBezTo>
                  <a:pt x="11323320" y="395794"/>
                  <a:pt x="11301730" y="327213"/>
                  <a:pt x="11264900" y="351344"/>
                </a:cubicBezTo>
                <a:cubicBezTo>
                  <a:pt x="11244580" y="364679"/>
                  <a:pt x="11256010" y="398333"/>
                  <a:pt x="11279505" y="397699"/>
                </a:cubicBezTo>
                <a:close/>
                <a:moveTo>
                  <a:pt x="11182985" y="484058"/>
                </a:moveTo>
                <a:cubicBezTo>
                  <a:pt x="11157585" y="501838"/>
                  <a:pt x="11186160" y="541209"/>
                  <a:pt x="11210925" y="522794"/>
                </a:cubicBezTo>
                <a:cubicBezTo>
                  <a:pt x="11236325" y="505013"/>
                  <a:pt x="11207750" y="465008"/>
                  <a:pt x="11182985" y="484058"/>
                </a:cubicBezTo>
                <a:close/>
                <a:moveTo>
                  <a:pt x="11527155" y="557719"/>
                </a:moveTo>
                <a:cubicBezTo>
                  <a:pt x="11536045" y="581849"/>
                  <a:pt x="11573510" y="567879"/>
                  <a:pt x="11563985" y="543749"/>
                </a:cubicBezTo>
                <a:cubicBezTo>
                  <a:pt x="11555730" y="520254"/>
                  <a:pt x="11517630" y="534224"/>
                  <a:pt x="11527155" y="557719"/>
                </a:cubicBezTo>
                <a:close/>
                <a:moveTo>
                  <a:pt x="11036935" y="872679"/>
                </a:moveTo>
                <a:cubicBezTo>
                  <a:pt x="11049000" y="893634"/>
                  <a:pt x="11080750" y="874584"/>
                  <a:pt x="11068685" y="854263"/>
                </a:cubicBezTo>
                <a:cubicBezTo>
                  <a:pt x="11057255" y="833309"/>
                  <a:pt x="11024870" y="852359"/>
                  <a:pt x="11036935" y="872679"/>
                </a:cubicBezTo>
                <a:close/>
                <a:moveTo>
                  <a:pt x="10925810" y="690434"/>
                </a:moveTo>
                <a:cubicBezTo>
                  <a:pt x="10889615" y="760919"/>
                  <a:pt x="11017885" y="719009"/>
                  <a:pt x="10947400" y="683449"/>
                </a:cubicBezTo>
                <a:cubicBezTo>
                  <a:pt x="10986770" y="607884"/>
                  <a:pt x="10848340" y="653604"/>
                  <a:pt x="10925810" y="690434"/>
                </a:cubicBezTo>
                <a:close/>
                <a:moveTo>
                  <a:pt x="10969625" y="891729"/>
                </a:moveTo>
                <a:cubicBezTo>
                  <a:pt x="10949305" y="903794"/>
                  <a:pt x="10968990" y="935544"/>
                  <a:pt x="10988675" y="922844"/>
                </a:cubicBezTo>
                <a:cubicBezTo>
                  <a:pt x="11008995" y="910779"/>
                  <a:pt x="10989310" y="879029"/>
                  <a:pt x="10969625" y="891729"/>
                </a:cubicBezTo>
                <a:close/>
                <a:moveTo>
                  <a:pt x="9279255" y="2355404"/>
                </a:moveTo>
                <a:cubicBezTo>
                  <a:pt x="9265920" y="2331274"/>
                  <a:pt x="9228455" y="2352864"/>
                  <a:pt x="9242425" y="2376359"/>
                </a:cubicBezTo>
                <a:cubicBezTo>
                  <a:pt x="9255760" y="2400489"/>
                  <a:pt x="9293225" y="2378899"/>
                  <a:pt x="9279255" y="2355404"/>
                </a:cubicBezTo>
                <a:close/>
                <a:moveTo>
                  <a:pt x="10994390" y="779334"/>
                </a:moveTo>
                <a:cubicBezTo>
                  <a:pt x="10978515" y="757109"/>
                  <a:pt x="10943590" y="782509"/>
                  <a:pt x="10960100" y="804099"/>
                </a:cubicBezTo>
                <a:cubicBezTo>
                  <a:pt x="10976610" y="826324"/>
                  <a:pt x="11010900" y="800924"/>
                  <a:pt x="10994390" y="779334"/>
                </a:cubicBezTo>
                <a:close/>
                <a:moveTo>
                  <a:pt x="10995025" y="837754"/>
                </a:moveTo>
                <a:cubicBezTo>
                  <a:pt x="10981055" y="816163"/>
                  <a:pt x="10947400" y="839024"/>
                  <a:pt x="10962005" y="859979"/>
                </a:cubicBezTo>
                <a:cubicBezTo>
                  <a:pt x="10975975" y="881569"/>
                  <a:pt x="11009630" y="858709"/>
                  <a:pt x="10995025" y="837754"/>
                </a:cubicBezTo>
                <a:close/>
                <a:moveTo>
                  <a:pt x="11012805" y="612963"/>
                </a:moveTo>
                <a:cubicBezTo>
                  <a:pt x="11059160" y="611059"/>
                  <a:pt x="11031855" y="539304"/>
                  <a:pt x="10995660" y="568513"/>
                </a:cubicBezTo>
                <a:cubicBezTo>
                  <a:pt x="10978515" y="583754"/>
                  <a:pt x="10990580" y="613599"/>
                  <a:pt x="11012805" y="612963"/>
                </a:cubicBezTo>
                <a:close/>
                <a:moveTo>
                  <a:pt x="10970895" y="738694"/>
                </a:moveTo>
                <a:cubicBezTo>
                  <a:pt x="10988675" y="762188"/>
                  <a:pt x="11024870" y="733613"/>
                  <a:pt x="11006455" y="710754"/>
                </a:cubicBezTo>
                <a:cubicBezTo>
                  <a:pt x="10988675" y="687894"/>
                  <a:pt x="10952480" y="716469"/>
                  <a:pt x="10970895" y="738694"/>
                </a:cubicBezTo>
                <a:close/>
                <a:moveTo>
                  <a:pt x="10891520" y="804734"/>
                </a:moveTo>
                <a:cubicBezTo>
                  <a:pt x="10909935" y="827594"/>
                  <a:pt x="10945495" y="797749"/>
                  <a:pt x="10925810" y="775524"/>
                </a:cubicBezTo>
                <a:cubicBezTo>
                  <a:pt x="10907395" y="752663"/>
                  <a:pt x="10872470" y="782509"/>
                  <a:pt x="10891520" y="804734"/>
                </a:cubicBezTo>
                <a:close/>
                <a:moveTo>
                  <a:pt x="11448415" y="839659"/>
                </a:moveTo>
                <a:cubicBezTo>
                  <a:pt x="11454130" y="859344"/>
                  <a:pt x="11483975" y="849819"/>
                  <a:pt x="11478260" y="830769"/>
                </a:cubicBezTo>
                <a:cubicBezTo>
                  <a:pt x="11472545" y="811084"/>
                  <a:pt x="11442065" y="819974"/>
                  <a:pt x="11448415" y="839659"/>
                </a:cubicBezTo>
                <a:close/>
                <a:moveTo>
                  <a:pt x="11397615" y="452308"/>
                </a:moveTo>
                <a:cubicBezTo>
                  <a:pt x="11410950" y="478344"/>
                  <a:pt x="11451590" y="456754"/>
                  <a:pt x="11437620" y="431354"/>
                </a:cubicBezTo>
                <a:cubicBezTo>
                  <a:pt x="11424285" y="405319"/>
                  <a:pt x="11383645" y="426274"/>
                  <a:pt x="11397615" y="452308"/>
                </a:cubicBezTo>
                <a:close/>
                <a:moveTo>
                  <a:pt x="11384915" y="639634"/>
                </a:moveTo>
                <a:cubicBezTo>
                  <a:pt x="11408410" y="629474"/>
                  <a:pt x="11391265" y="592644"/>
                  <a:pt x="11368405" y="604074"/>
                </a:cubicBezTo>
                <a:cubicBezTo>
                  <a:pt x="11344910" y="614869"/>
                  <a:pt x="11362055" y="651063"/>
                  <a:pt x="11384915" y="639634"/>
                </a:cubicBezTo>
                <a:close/>
                <a:moveTo>
                  <a:pt x="11399520" y="555179"/>
                </a:moveTo>
                <a:lnTo>
                  <a:pt x="11399520" y="555179"/>
                </a:lnTo>
                <a:cubicBezTo>
                  <a:pt x="11424285" y="543113"/>
                  <a:pt x="11404600" y="504379"/>
                  <a:pt x="11380470" y="517079"/>
                </a:cubicBezTo>
                <a:cubicBezTo>
                  <a:pt x="11355705" y="529144"/>
                  <a:pt x="11375390" y="567244"/>
                  <a:pt x="11399520" y="555179"/>
                </a:cubicBezTo>
                <a:close/>
                <a:moveTo>
                  <a:pt x="11490960" y="741234"/>
                </a:moveTo>
                <a:cubicBezTo>
                  <a:pt x="11483975" y="720279"/>
                  <a:pt x="11451590" y="731074"/>
                  <a:pt x="11458575" y="752029"/>
                </a:cubicBezTo>
                <a:cubicBezTo>
                  <a:pt x="11465560" y="772984"/>
                  <a:pt x="11497945" y="762188"/>
                  <a:pt x="11490960" y="741234"/>
                </a:cubicBezTo>
                <a:close/>
                <a:moveTo>
                  <a:pt x="11452225" y="341183"/>
                </a:moveTo>
                <a:cubicBezTo>
                  <a:pt x="11466830" y="369124"/>
                  <a:pt x="11509375" y="345629"/>
                  <a:pt x="11494770" y="318324"/>
                </a:cubicBezTo>
                <a:cubicBezTo>
                  <a:pt x="11480165" y="291019"/>
                  <a:pt x="11436985" y="314513"/>
                  <a:pt x="11452225" y="341183"/>
                </a:cubicBezTo>
                <a:close/>
                <a:moveTo>
                  <a:pt x="11489055" y="405319"/>
                </a:moveTo>
                <a:cubicBezTo>
                  <a:pt x="11501120" y="431988"/>
                  <a:pt x="11543030" y="412304"/>
                  <a:pt x="11529695" y="386269"/>
                </a:cubicBezTo>
                <a:cubicBezTo>
                  <a:pt x="11518265" y="359599"/>
                  <a:pt x="11476355" y="378649"/>
                  <a:pt x="11489055" y="405319"/>
                </a:cubicBezTo>
                <a:close/>
                <a:moveTo>
                  <a:pt x="10886440" y="833944"/>
                </a:moveTo>
                <a:cubicBezTo>
                  <a:pt x="10864215" y="850454"/>
                  <a:pt x="10890885" y="884744"/>
                  <a:pt x="10912475" y="867599"/>
                </a:cubicBezTo>
                <a:cubicBezTo>
                  <a:pt x="10934700" y="850454"/>
                  <a:pt x="10908030" y="816799"/>
                  <a:pt x="10886440" y="833944"/>
                </a:cubicBezTo>
                <a:close/>
                <a:moveTo>
                  <a:pt x="11471910" y="273238"/>
                </a:moveTo>
                <a:cubicBezTo>
                  <a:pt x="11513820" y="271969"/>
                  <a:pt x="11496675" y="205294"/>
                  <a:pt x="11459210" y="225613"/>
                </a:cubicBezTo>
                <a:cubicBezTo>
                  <a:pt x="11436985" y="237679"/>
                  <a:pt x="11447145" y="274508"/>
                  <a:pt x="11471910" y="273238"/>
                </a:cubicBezTo>
                <a:close/>
                <a:moveTo>
                  <a:pt x="11366500" y="363408"/>
                </a:moveTo>
                <a:cubicBezTo>
                  <a:pt x="11339195" y="379283"/>
                  <a:pt x="11364595" y="421194"/>
                  <a:pt x="11391265" y="404683"/>
                </a:cubicBezTo>
                <a:cubicBezTo>
                  <a:pt x="11417935" y="388808"/>
                  <a:pt x="11392535" y="346899"/>
                  <a:pt x="11366500" y="363408"/>
                </a:cubicBezTo>
                <a:close/>
                <a:moveTo>
                  <a:pt x="11285220" y="644713"/>
                </a:moveTo>
                <a:cubicBezTo>
                  <a:pt x="11262360" y="656144"/>
                  <a:pt x="11280775" y="691704"/>
                  <a:pt x="11303000" y="679638"/>
                </a:cubicBezTo>
                <a:cubicBezTo>
                  <a:pt x="11325860" y="668209"/>
                  <a:pt x="11308080" y="632649"/>
                  <a:pt x="11285220" y="644713"/>
                </a:cubicBezTo>
                <a:close/>
                <a:moveTo>
                  <a:pt x="11273155" y="421829"/>
                </a:moveTo>
                <a:cubicBezTo>
                  <a:pt x="11247120" y="438974"/>
                  <a:pt x="11273790" y="479613"/>
                  <a:pt x="11299825" y="461833"/>
                </a:cubicBezTo>
                <a:cubicBezTo>
                  <a:pt x="11325860" y="444688"/>
                  <a:pt x="11299190" y="404049"/>
                  <a:pt x="11273155" y="421829"/>
                </a:cubicBezTo>
                <a:close/>
                <a:moveTo>
                  <a:pt x="11414760" y="767269"/>
                </a:moveTo>
                <a:cubicBezTo>
                  <a:pt x="11407140" y="746313"/>
                  <a:pt x="11374755" y="758379"/>
                  <a:pt x="11383010" y="779334"/>
                </a:cubicBezTo>
                <a:cubicBezTo>
                  <a:pt x="11390630" y="800288"/>
                  <a:pt x="11423015" y="788224"/>
                  <a:pt x="11414760" y="767269"/>
                </a:cubicBezTo>
                <a:close/>
                <a:moveTo>
                  <a:pt x="11242675" y="818069"/>
                </a:moveTo>
                <a:cubicBezTo>
                  <a:pt x="11222355" y="826324"/>
                  <a:pt x="11236325" y="858074"/>
                  <a:pt x="11256010" y="849184"/>
                </a:cubicBezTo>
                <a:cubicBezTo>
                  <a:pt x="11276965" y="840294"/>
                  <a:pt x="11262995" y="808544"/>
                  <a:pt x="11242675" y="818069"/>
                </a:cubicBezTo>
                <a:close/>
                <a:moveTo>
                  <a:pt x="11322685" y="571054"/>
                </a:moveTo>
                <a:cubicBezTo>
                  <a:pt x="11309985" y="546924"/>
                  <a:pt x="11271885" y="567879"/>
                  <a:pt x="11285855" y="591374"/>
                </a:cubicBezTo>
                <a:cubicBezTo>
                  <a:pt x="11298555" y="615504"/>
                  <a:pt x="11336020" y="594549"/>
                  <a:pt x="11322685" y="571054"/>
                </a:cubicBezTo>
                <a:close/>
                <a:moveTo>
                  <a:pt x="11245850" y="893634"/>
                </a:moveTo>
                <a:cubicBezTo>
                  <a:pt x="11226800" y="900619"/>
                  <a:pt x="11238865" y="930463"/>
                  <a:pt x="11257280" y="922209"/>
                </a:cubicBezTo>
                <a:cubicBezTo>
                  <a:pt x="11275695" y="915859"/>
                  <a:pt x="11264265" y="886013"/>
                  <a:pt x="11245850" y="893634"/>
                </a:cubicBezTo>
                <a:close/>
                <a:moveTo>
                  <a:pt x="11374755" y="332929"/>
                </a:moveTo>
                <a:cubicBezTo>
                  <a:pt x="11417935" y="331658"/>
                  <a:pt x="11398250" y="263713"/>
                  <a:pt x="11360785" y="285938"/>
                </a:cubicBezTo>
                <a:cubicBezTo>
                  <a:pt x="11339195" y="299274"/>
                  <a:pt x="11349990" y="334199"/>
                  <a:pt x="11374755" y="332929"/>
                </a:cubicBezTo>
                <a:close/>
                <a:moveTo>
                  <a:pt x="11308080" y="503108"/>
                </a:moveTo>
                <a:cubicBezTo>
                  <a:pt x="11322685" y="528509"/>
                  <a:pt x="11362055" y="505649"/>
                  <a:pt x="11346815" y="480249"/>
                </a:cubicBezTo>
                <a:cubicBezTo>
                  <a:pt x="11332845" y="454849"/>
                  <a:pt x="11292840" y="478344"/>
                  <a:pt x="11308080" y="503108"/>
                </a:cubicBezTo>
                <a:close/>
                <a:moveTo>
                  <a:pt x="8964930" y="2007424"/>
                </a:moveTo>
                <a:cubicBezTo>
                  <a:pt x="8982075" y="2007424"/>
                  <a:pt x="8980805" y="1980754"/>
                  <a:pt x="8963660" y="1982024"/>
                </a:cubicBezTo>
                <a:cubicBezTo>
                  <a:pt x="8947785" y="1983294"/>
                  <a:pt x="8949055" y="2008059"/>
                  <a:pt x="8964930" y="2007424"/>
                </a:cubicBezTo>
                <a:close/>
                <a:moveTo>
                  <a:pt x="8071485" y="2028379"/>
                </a:moveTo>
                <a:cubicBezTo>
                  <a:pt x="8089265" y="2032824"/>
                  <a:pt x="8095615" y="2004884"/>
                  <a:pt x="8077835" y="2001074"/>
                </a:cubicBezTo>
                <a:cubicBezTo>
                  <a:pt x="8060056" y="1996629"/>
                  <a:pt x="8053706" y="2024569"/>
                  <a:pt x="8071485" y="2028379"/>
                </a:cubicBezTo>
                <a:close/>
                <a:moveTo>
                  <a:pt x="8078470" y="1942019"/>
                </a:moveTo>
                <a:cubicBezTo>
                  <a:pt x="8094345" y="1945829"/>
                  <a:pt x="8100060" y="1920429"/>
                  <a:pt x="8083550" y="1917254"/>
                </a:cubicBezTo>
                <a:cubicBezTo>
                  <a:pt x="8067675" y="1914079"/>
                  <a:pt x="8062595" y="1938844"/>
                  <a:pt x="8078470" y="1942019"/>
                </a:cubicBezTo>
                <a:close/>
                <a:moveTo>
                  <a:pt x="8059420" y="2230309"/>
                </a:moveTo>
                <a:cubicBezTo>
                  <a:pt x="8080375" y="2236024"/>
                  <a:pt x="8089265" y="2203004"/>
                  <a:pt x="8067675" y="2197289"/>
                </a:cubicBezTo>
                <a:cubicBezTo>
                  <a:pt x="8047356" y="2191574"/>
                  <a:pt x="8038465" y="2225229"/>
                  <a:pt x="8059420" y="2230309"/>
                </a:cubicBezTo>
                <a:close/>
                <a:moveTo>
                  <a:pt x="8003540" y="2309684"/>
                </a:moveTo>
                <a:cubicBezTo>
                  <a:pt x="7997190" y="2332544"/>
                  <a:pt x="8032750" y="2342704"/>
                  <a:pt x="8039100" y="2319209"/>
                </a:cubicBezTo>
                <a:cubicBezTo>
                  <a:pt x="8046085" y="2296349"/>
                  <a:pt x="8009890" y="2286189"/>
                  <a:pt x="8003540" y="2309684"/>
                </a:cubicBezTo>
                <a:close/>
                <a:moveTo>
                  <a:pt x="8138160" y="2249359"/>
                </a:moveTo>
                <a:cubicBezTo>
                  <a:pt x="8159115" y="2254439"/>
                  <a:pt x="8167370" y="2220784"/>
                  <a:pt x="8145781" y="2216339"/>
                </a:cubicBezTo>
                <a:cubicBezTo>
                  <a:pt x="8124190" y="2211259"/>
                  <a:pt x="8117206" y="2244914"/>
                  <a:pt x="8138160" y="2249359"/>
                </a:cubicBezTo>
                <a:close/>
                <a:moveTo>
                  <a:pt x="8139431" y="2043619"/>
                </a:moveTo>
                <a:cubicBezTo>
                  <a:pt x="8157210" y="2048063"/>
                  <a:pt x="8163560" y="2019488"/>
                  <a:pt x="8145145" y="2016313"/>
                </a:cubicBezTo>
                <a:cubicBezTo>
                  <a:pt x="8127365" y="2011869"/>
                  <a:pt x="8121650" y="2039809"/>
                  <a:pt x="8139431" y="2043619"/>
                </a:cubicBezTo>
                <a:close/>
                <a:moveTo>
                  <a:pt x="8140700" y="2556064"/>
                </a:moveTo>
                <a:cubicBezTo>
                  <a:pt x="8113395" y="2550984"/>
                  <a:pt x="8106410" y="2593529"/>
                  <a:pt x="8133081" y="2597974"/>
                </a:cubicBezTo>
                <a:cubicBezTo>
                  <a:pt x="8160385" y="2603054"/>
                  <a:pt x="8168006" y="2560509"/>
                  <a:pt x="8140700" y="2556064"/>
                </a:cubicBezTo>
                <a:close/>
                <a:moveTo>
                  <a:pt x="8140700" y="1954719"/>
                </a:moveTo>
                <a:cubicBezTo>
                  <a:pt x="8140700" y="1954719"/>
                  <a:pt x="8140700" y="1954719"/>
                  <a:pt x="8140700" y="1954719"/>
                </a:cubicBezTo>
                <a:cubicBezTo>
                  <a:pt x="8140700" y="1954719"/>
                  <a:pt x="8140700" y="1954719"/>
                  <a:pt x="8140700" y="1954719"/>
                </a:cubicBezTo>
                <a:lnTo>
                  <a:pt x="8140700" y="1954719"/>
                </a:lnTo>
                <a:close/>
                <a:moveTo>
                  <a:pt x="8140700" y="1954719"/>
                </a:moveTo>
                <a:cubicBezTo>
                  <a:pt x="8194675" y="1933129"/>
                  <a:pt x="8098790" y="1915349"/>
                  <a:pt x="8140700" y="1954719"/>
                </a:cubicBezTo>
                <a:lnTo>
                  <a:pt x="8140700" y="1954719"/>
                </a:lnTo>
                <a:close/>
                <a:moveTo>
                  <a:pt x="8016240" y="1928684"/>
                </a:moveTo>
                <a:cubicBezTo>
                  <a:pt x="8032115" y="1932494"/>
                  <a:pt x="8037831" y="1907094"/>
                  <a:pt x="8021956" y="1903919"/>
                </a:cubicBezTo>
                <a:cubicBezTo>
                  <a:pt x="8005445" y="1900109"/>
                  <a:pt x="7999731" y="1925509"/>
                  <a:pt x="8016240" y="1928684"/>
                </a:cubicBezTo>
                <a:close/>
                <a:moveTo>
                  <a:pt x="7954010" y="1914713"/>
                </a:moveTo>
                <a:cubicBezTo>
                  <a:pt x="7969885" y="1919159"/>
                  <a:pt x="7976235" y="1893759"/>
                  <a:pt x="7959725" y="1889949"/>
                </a:cubicBezTo>
                <a:cubicBezTo>
                  <a:pt x="7943850" y="1886138"/>
                  <a:pt x="7938135" y="1910904"/>
                  <a:pt x="7954010" y="1914713"/>
                </a:cubicBezTo>
                <a:close/>
                <a:moveTo>
                  <a:pt x="7944485" y="2272219"/>
                </a:moveTo>
                <a:cubicBezTo>
                  <a:pt x="7921625" y="2264599"/>
                  <a:pt x="7910831" y="2300159"/>
                  <a:pt x="7933690" y="2307144"/>
                </a:cubicBezTo>
                <a:cubicBezTo>
                  <a:pt x="7955915" y="2314764"/>
                  <a:pt x="7967345" y="2279204"/>
                  <a:pt x="7944485" y="2272219"/>
                </a:cubicBezTo>
                <a:close/>
                <a:moveTo>
                  <a:pt x="7927340" y="2526219"/>
                </a:moveTo>
                <a:cubicBezTo>
                  <a:pt x="7919085" y="2552254"/>
                  <a:pt x="7960360" y="2564319"/>
                  <a:pt x="7967981" y="2538284"/>
                </a:cubicBezTo>
                <a:cubicBezTo>
                  <a:pt x="7976235" y="2511614"/>
                  <a:pt x="7934960" y="2499549"/>
                  <a:pt x="7927340" y="2526219"/>
                </a:cubicBezTo>
                <a:close/>
                <a:moveTo>
                  <a:pt x="7947660" y="2060763"/>
                </a:moveTo>
                <a:cubicBezTo>
                  <a:pt x="7928610" y="2054413"/>
                  <a:pt x="7919720" y="2084894"/>
                  <a:pt x="7938770" y="2090609"/>
                </a:cubicBezTo>
                <a:cubicBezTo>
                  <a:pt x="7957820" y="2096324"/>
                  <a:pt x="7966710" y="2065844"/>
                  <a:pt x="7947660" y="2060763"/>
                </a:cubicBezTo>
                <a:close/>
                <a:moveTo>
                  <a:pt x="8004175" y="2011869"/>
                </a:moveTo>
                <a:cubicBezTo>
                  <a:pt x="8021956" y="2016949"/>
                  <a:pt x="8028940" y="1989009"/>
                  <a:pt x="8011160" y="1984563"/>
                </a:cubicBezTo>
                <a:cubicBezTo>
                  <a:pt x="7993381" y="1980119"/>
                  <a:pt x="7986395" y="2008059"/>
                  <a:pt x="8004175" y="2011869"/>
                </a:cubicBezTo>
                <a:close/>
                <a:moveTo>
                  <a:pt x="7981950" y="2208719"/>
                </a:moveTo>
                <a:cubicBezTo>
                  <a:pt x="8002906" y="2215069"/>
                  <a:pt x="8013065" y="2182049"/>
                  <a:pt x="7991475" y="2176334"/>
                </a:cubicBezTo>
                <a:cubicBezTo>
                  <a:pt x="7970520" y="2169984"/>
                  <a:pt x="7960360" y="2203004"/>
                  <a:pt x="7981950" y="2208719"/>
                </a:cubicBezTo>
                <a:close/>
                <a:moveTo>
                  <a:pt x="8018781" y="2081084"/>
                </a:moveTo>
                <a:cubicBezTo>
                  <a:pt x="7996556" y="2075369"/>
                  <a:pt x="7991475" y="2111564"/>
                  <a:pt x="8014335" y="2111564"/>
                </a:cubicBezTo>
                <a:cubicBezTo>
                  <a:pt x="8032115" y="2112199"/>
                  <a:pt x="8036560" y="2084894"/>
                  <a:pt x="8018781" y="2081084"/>
                </a:cubicBezTo>
                <a:close/>
                <a:moveTo>
                  <a:pt x="8174356" y="2465259"/>
                </a:moveTo>
                <a:cubicBezTo>
                  <a:pt x="8179435" y="2440494"/>
                  <a:pt x="8140065" y="2432874"/>
                  <a:pt x="8135620" y="2457639"/>
                </a:cubicBezTo>
                <a:cubicBezTo>
                  <a:pt x="8130540" y="2483039"/>
                  <a:pt x="8169910" y="2490659"/>
                  <a:pt x="8174356" y="2465259"/>
                </a:cubicBezTo>
                <a:close/>
                <a:moveTo>
                  <a:pt x="8021320" y="2552254"/>
                </a:moveTo>
                <a:cubicBezTo>
                  <a:pt x="8014970" y="2578924"/>
                  <a:pt x="8056245" y="2589084"/>
                  <a:pt x="8062595" y="2561779"/>
                </a:cubicBezTo>
                <a:cubicBezTo>
                  <a:pt x="8069581" y="2535109"/>
                  <a:pt x="8027035" y="2525584"/>
                  <a:pt x="8021320" y="2552254"/>
                </a:cubicBezTo>
                <a:close/>
                <a:moveTo>
                  <a:pt x="8308975" y="2598609"/>
                </a:moveTo>
                <a:cubicBezTo>
                  <a:pt x="8307070" y="2625914"/>
                  <a:pt x="8350250" y="2628454"/>
                  <a:pt x="8351520" y="2601149"/>
                </a:cubicBezTo>
                <a:cubicBezTo>
                  <a:pt x="8353425" y="2573844"/>
                  <a:pt x="8310245" y="2570669"/>
                  <a:pt x="8308975" y="2598609"/>
                </a:cubicBezTo>
                <a:close/>
                <a:moveTo>
                  <a:pt x="8332470" y="2063938"/>
                </a:moveTo>
                <a:cubicBezTo>
                  <a:pt x="8333740" y="2100769"/>
                  <a:pt x="8383906" y="2063304"/>
                  <a:pt x="8348345" y="2051874"/>
                </a:cubicBezTo>
                <a:cubicBezTo>
                  <a:pt x="8340725" y="2051238"/>
                  <a:pt x="8333740" y="2056319"/>
                  <a:pt x="8332470" y="2063938"/>
                </a:cubicBezTo>
                <a:close/>
                <a:moveTo>
                  <a:pt x="8361045" y="2360484"/>
                </a:moveTo>
                <a:cubicBezTo>
                  <a:pt x="8337550" y="2357944"/>
                  <a:pt x="8333740" y="2394774"/>
                  <a:pt x="8357235" y="2397314"/>
                </a:cubicBezTo>
                <a:cubicBezTo>
                  <a:pt x="8381365" y="2399219"/>
                  <a:pt x="8385175" y="2362389"/>
                  <a:pt x="8361045" y="2360484"/>
                </a:cubicBezTo>
                <a:close/>
                <a:moveTo>
                  <a:pt x="8145145" y="2128074"/>
                </a:moveTo>
                <a:cubicBezTo>
                  <a:pt x="8140700" y="2147759"/>
                  <a:pt x="8171181" y="2154744"/>
                  <a:pt x="8175625" y="2134424"/>
                </a:cubicBezTo>
                <a:cubicBezTo>
                  <a:pt x="8180070" y="2115374"/>
                  <a:pt x="8148956" y="2108389"/>
                  <a:pt x="8145145" y="2128074"/>
                </a:cubicBezTo>
                <a:close/>
                <a:moveTo>
                  <a:pt x="8357870" y="2737674"/>
                </a:moveTo>
                <a:cubicBezTo>
                  <a:pt x="8387081" y="2738309"/>
                  <a:pt x="8387715" y="2692589"/>
                  <a:pt x="8358506" y="2692589"/>
                </a:cubicBezTo>
                <a:cubicBezTo>
                  <a:pt x="8329295" y="2691954"/>
                  <a:pt x="8328660" y="2738309"/>
                  <a:pt x="8357870" y="2737674"/>
                </a:cubicBezTo>
                <a:close/>
                <a:moveTo>
                  <a:pt x="8338185" y="2467164"/>
                </a:moveTo>
                <a:cubicBezTo>
                  <a:pt x="8311515" y="2464624"/>
                  <a:pt x="8309610" y="2507169"/>
                  <a:pt x="8336915" y="2506534"/>
                </a:cubicBezTo>
                <a:cubicBezTo>
                  <a:pt x="8361045" y="2507169"/>
                  <a:pt x="8362950" y="2469069"/>
                  <a:pt x="8338185" y="2467164"/>
                </a:cubicBezTo>
                <a:close/>
                <a:moveTo>
                  <a:pt x="8304531" y="2174429"/>
                </a:moveTo>
                <a:cubicBezTo>
                  <a:pt x="8324215" y="2178239"/>
                  <a:pt x="8329295" y="2146489"/>
                  <a:pt x="8309610" y="2143949"/>
                </a:cubicBezTo>
                <a:cubicBezTo>
                  <a:pt x="8289925" y="2140139"/>
                  <a:pt x="8284845" y="2171889"/>
                  <a:pt x="8304531" y="2174429"/>
                </a:cubicBezTo>
                <a:close/>
                <a:moveTo>
                  <a:pt x="8379460" y="2185224"/>
                </a:moveTo>
                <a:cubicBezTo>
                  <a:pt x="8399145" y="2188399"/>
                  <a:pt x="8403590" y="2156649"/>
                  <a:pt x="8383270" y="2154109"/>
                </a:cubicBezTo>
                <a:cubicBezTo>
                  <a:pt x="8363585" y="2151569"/>
                  <a:pt x="8359140" y="2182684"/>
                  <a:pt x="8379460" y="2185224"/>
                </a:cubicBezTo>
                <a:close/>
                <a:moveTo>
                  <a:pt x="8392795" y="1993454"/>
                </a:moveTo>
                <a:cubicBezTo>
                  <a:pt x="8409305" y="1995359"/>
                  <a:pt x="8412480" y="1969959"/>
                  <a:pt x="8395970" y="1968054"/>
                </a:cubicBezTo>
                <a:cubicBezTo>
                  <a:pt x="8379460" y="1966149"/>
                  <a:pt x="8376285" y="1991549"/>
                  <a:pt x="8392795" y="1993454"/>
                </a:cubicBezTo>
                <a:close/>
                <a:moveTo>
                  <a:pt x="7936865" y="1994088"/>
                </a:moveTo>
                <a:lnTo>
                  <a:pt x="7936865" y="1994088"/>
                </a:lnTo>
                <a:cubicBezTo>
                  <a:pt x="7954010" y="1999169"/>
                  <a:pt x="7962265" y="1971229"/>
                  <a:pt x="7944485" y="1966784"/>
                </a:cubicBezTo>
                <a:cubicBezTo>
                  <a:pt x="7926706" y="1961704"/>
                  <a:pt x="7919085" y="1989644"/>
                  <a:pt x="7936865" y="1994088"/>
                </a:cubicBezTo>
                <a:close/>
                <a:moveTo>
                  <a:pt x="8329295" y="1985199"/>
                </a:moveTo>
                <a:cubicBezTo>
                  <a:pt x="8345806" y="1987738"/>
                  <a:pt x="8348981" y="1961704"/>
                  <a:pt x="8332470" y="1959799"/>
                </a:cubicBezTo>
                <a:cubicBezTo>
                  <a:pt x="8316595" y="1957894"/>
                  <a:pt x="8313420" y="1983294"/>
                  <a:pt x="8329295" y="1985199"/>
                </a:cubicBezTo>
                <a:close/>
                <a:moveTo>
                  <a:pt x="8195945" y="2041079"/>
                </a:moveTo>
                <a:cubicBezTo>
                  <a:pt x="8192135" y="2058859"/>
                  <a:pt x="8220710" y="2064574"/>
                  <a:pt x="8223885" y="2046159"/>
                </a:cubicBezTo>
                <a:cubicBezTo>
                  <a:pt x="8227695" y="2028379"/>
                  <a:pt x="8199120" y="2022663"/>
                  <a:pt x="8195945" y="2041079"/>
                </a:cubicBezTo>
                <a:close/>
                <a:moveTo>
                  <a:pt x="8264525" y="2053144"/>
                </a:moveTo>
                <a:cubicBezTo>
                  <a:pt x="8261350" y="2070924"/>
                  <a:pt x="8289290" y="2076004"/>
                  <a:pt x="8292465" y="2057588"/>
                </a:cubicBezTo>
                <a:cubicBezTo>
                  <a:pt x="8295006" y="2039809"/>
                  <a:pt x="8267065" y="2035363"/>
                  <a:pt x="8264525" y="2053144"/>
                </a:cubicBezTo>
                <a:close/>
                <a:moveTo>
                  <a:pt x="8265160" y="2479229"/>
                </a:moveTo>
                <a:cubicBezTo>
                  <a:pt x="8266431" y="2468434"/>
                  <a:pt x="8258810" y="2458274"/>
                  <a:pt x="8248015" y="2457004"/>
                </a:cubicBezTo>
                <a:cubicBezTo>
                  <a:pt x="8196581" y="2458909"/>
                  <a:pt x="8249285" y="2528759"/>
                  <a:pt x="8265160" y="2479229"/>
                </a:cubicBezTo>
                <a:close/>
                <a:moveTo>
                  <a:pt x="8203565" y="1965513"/>
                </a:moveTo>
                <a:cubicBezTo>
                  <a:pt x="8219440" y="1968688"/>
                  <a:pt x="8224520" y="1943288"/>
                  <a:pt x="8208010" y="1940749"/>
                </a:cubicBezTo>
                <a:cubicBezTo>
                  <a:pt x="8191500" y="1937574"/>
                  <a:pt x="8187056" y="1962974"/>
                  <a:pt x="8203565" y="1965513"/>
                </a:cubicBezTo>
                <a:close/>
                <a:moveTo>
                  <a:pt x="8218170" y="2143314"/>
                </a:moveTo>
                <a:cubicBezTo>
                  <a:pt x="8214360" y="2162999"/>
                  <a:pt x="8244840" y="2168714"/>
                  <a:pt x="8248650" y="2149029"/>
                </a:cubicBezTo>
                <a:cubicBezTo>
                  <a:pt x="8252460" y="2129344"/>
                  <a:pt x="8221345" y="2123629"/>
                  <a:pt x="8218170" y="2143314"/>
                </a:cubicBezTo>
                <a:close/>
                <a:moveTo>
                  <a:pt x="8223885" y="2232849"/>
                </a:moveTo>
                <a:cubicBezTo>
                  <a:pt x="8200390" y="2228404"/>
                  <a:pt x="8196581" y="2266504"/>
                  <a:pt x="8220710" y="2266504"/>
                </a:cubicBezTo>
                <a:cubicBezTo>
                  <a:pt x="8241031" y="2266504"/>
                  <a:pt x="8244206" y="2236024"/>
                  <a:pt x="8223885" y="2232849"/>
                </a:cubicBezTo>
                <a:close/>
                <a:moveTo>
                  <a:pt x="8266431" y="1976309"/>
                </a:moveTo>
                <a:cubicBezTo>
                  <a:pt x="8282306" y="1978849"/>
                  <a:pt x="8286750" y="1953449"/>
                  <a:pt x="8270240" y="1950909"/>
                </a:cubicBezTo>
                <a:cubicBezTo>
                  <a:pt x="8254365" y="1948369"/>
                  <a:pt x="8249920" y="1973769"/>
                  <a:pt x="8266431" y="1976309"/>
                </a:cubicBezTo>
                <a:close/>
                <a:moveTo>
                  <a:pt x="8230870" y="2611944"/>
                </a:moveTo>
                <a:cubicBezTo>
                  <a:pt x="8258175" y="2615754"/>
                  <a:pt x="8263256" y="2572574"/>
                  <a:pt x="8235950" y="2570034"/>
                </a:cubicBezTo>
                <a:cubicBezTo>
                  <a:pt x="8208645" y="2566224"/>
                  <a:pt x="8203565" y="2609404"/>
                  <a:pt x="8230870" y="2611944"/>
                </a:cubicBezTo>
                <a:close/>
                <a:moveTo>
                  <a:pt x="7707631" y="1849944"/>
                </a:moveTo>
                <a:cubicBezTo>
                  <a:pt x="7723506" y="1855024"/>
                  <a:pt x="7730490" y="1830259"/>
                  <a:pt x="7714615" y="1825813"/>
                </a:cubicBezTo>
                <a:cubicBezTo>
                  <a:pt x="7699375" y="1820734"/>
                  <a:pt x="7691756" y="1845499"/>
                  <a:pt x="7707631" y="1849944"/>
                </a:cubicBezTo>
                <a:close/>
                <a:moveTo>
                  <a:pt x="7616190" y="2037904"/>
                </a:moveTo>
                <a:cubicBezTo>
                  <a:pt x="7596506" y="2029013"/>
                  <a:pt x="7582535" y="2060763"/>
                  <a:pt x="7602856" y="2069019"/>
                </a:cubicBezTo>
                <a:cubicBezTo>
                  <a:pt x="7622540" y="2078544"/>
                  <a:pt x="7636510" y="2046794"/>
                  <a:pt x="7616190" y="2037904"/>
                </a:cubicBezTo>
                <a:close/>
                <a:moveTo>
                  <a:pt x="7598410" y="1870899"/>
                </a:moveTo>
                <a:cubicBezTo>
                  <a:pt x="7592060" y="1888044"/>
                  <a:pt x="7618731" y="1897569"/>
                  <a:pt x="7625081" y="1880424"/>
                </a:cubicBezTo>
                <a:cubicBezTo>
                  <a:pt x="7631431" y="1863279"/>
                  <a:pt x="7604125" y="1853754"/>
                  <a:pt x="7598410" y="1870899"/>
                </a:cubicBezTo>
                <a:close/>
                <a:moveTo>
                  <a:pt x="7601585" y="2157284"/>
                </a:moveTo>
                <a:cubicBezTo>
                  <a:pt x="7591425" y="2178874"/>
                  <a:pt x="7625081" y="2194114"/>
                  <a:pt x="7635240" y="2172524"/>
                </a:cubicBezTo>
                <a:cubicBezTo>
                  <a:pt x="7645400" y="2151569"/>
                  <a:pt x="7611110" y="2135694"/>
                  <a:pt x="7601585" y="2157284"/>
                </a:cubicBezTo>
                <a:close/>
                <a:moveTo>
                  <a:pt x="7586345" y="1812479"/>
                </a:moveTo>
                <a:cubicBezTo>
                  <a:pt x="7601585" y="1817559"/>
                  <a:pt x="7609840" y="1792794"/>
                  <a:pt x="7593965" y="1788349"/>
                </a:cubicBezTo>
                <a:cubicBezTo>
                  <a:pt x="7578090" y="1783269"/>
                  <a:pt x="7570470" y="1808034"/>
                  <a:pt x="7586345" y="1812479"/>
                </a:cubicBezTo>
                <a:close/>
                <a:moveTo>
                  <a:pt x="7585075" y="1964244"/>
                </a:moveTo>
                <a:cubicBezTo>
                  <a:pt x="7603490" y="1972499"/>
                  <a:pt x="7615556" y="1942654"/>
                  <a:pt x="7596506" y="1935669"/>
                </a:cubicBezTo>
                <a:cubicBezTo>
                  <a:pt x="7578090" y="1928049"/>
                  <a:pt x="7566025" y="1957259"/>
                  <a:pt x="7585075" y="1964244"/>
                </a:cubicBezTo>
                <a:close/>
                <a:moveTo>
                  <a:pt x="8428355" y="2472244"/>
                </a:moveTo>
                <a:cubicBezTo>
                  <a:pt x="8402955" y="2470974"/>
                  <a:pt x="8401685" y="2511614"/>
                  <a:pt x="8427085" y="2511614"/>
                </a:cubicBezTo>
                <a:cubicBezTo>
                  <a:pt x="8453120" y="2512884"/>
                  <a:pt x="8454390" y="2472879"/>
                  <a:pt x="8428355" y="2472244"/>
                </a:cubicBezTo>
                <a:close/>
                <a:moveTo>
                  <a:pt x="7667625" y="2078544"/>
                </a:moveTo>
                <a:cubicBezTo>
                  <a:pt x="7658735" y="2098864"/>
                  <a:pt x="7690485" y="2112199"/>
                  <a:pt x="7698740" y="2091244"/>
                </a:cubicBezTo>
                <a:cubicBezTo>
                  <a:pt x="7707631" y="2071559"/>
                  <a:pt x="7675881" y="2058224"/>
                  <a:pt x="7667625" y="2078544"/>
                </a:cubicBezTo>
                <a:close/>
                <a:moveTo>
                  <a:pt x="7646670" y="1831529"/>
                </a:moveTo>
                <a:cubicBezTo>
                  <a:pt x="7662545" y="1836609"/>
                  <a:pt x="7670165" y="1811844"/>
                  <a:pt x="7654290" y="1807399"/>
                </a:cubicBezTo>
                <a:cubicBezTo>
                  <a:pt x="7639050" y="1802319"/>
                  <a:pt x="7630795" y="1827084"/>
                  <a:pt x="7646670" y="1831529"/>
                </a:cubicBezTo>
                <a:close/>
                <a:moveTo>
                  <a:pt x="7672070" y="1912174"/>
                </a:moveTo>
                <a:cubicBezTo>
                  <a:pt x="7689215" y="1918524"/>
                  <a:pt x="7698740" y="1891219"/>
                  <a:pt x="7680960" y="1885504"/>
                </a:cubicBezTo>
                <a:cubicBezTo>
                  <a:pt x="7663815" y="1879154"/>
                  <a:pt x="7654925" y="1906459"/>
                  <a:pt x="7672070" y="1912174"/>
                </a:cubicBezTo>
                <a:close/>
                <a:moveTo>
                  <a:pt x="7533640" y="1846769"/>
                </a:moveTo>
                <a:cubicBezTo>
                  <a:pt x="7527290" y="1863913"/>
                  <a:pt x="7553960" y="1874074"/>
                  <a:pt x="7560310" y="1856929"/>
                </a:cubicBezTo>
                <a:cubicBezTo>
                  <a:pt x="7566660" y="1839784"/>
                  <a:pt x="7539356" y="1829624"/>
                  <a:pt x="7533640" y="1846769"/>
                </a:cubicBezTo>
                <a:close/>
                <a:moveTo>
                  <a:pt x="7456170" y="2001709"/>
                </a:moveTo>
                <a:cubicBezTo>
                  <a:pt x="7475856" y="2011869"/>
                  <a:pt x="7491095" y="1980754"/>
                  <a:pt x="7470775" y="1971229"/>
                </a:cubicBezTo>
                <a:cubicBezTo>
                  <a:pt x="7451090" y="1961069"/>
                  <a:pt x="7435850" y="1992184"/>
                  <a:pt x="7456170" y="2001709"/>
                </a:cubicBezTo>
                <a:close/>
                <a:moveTo>
                  <a:pt x="7468870" y="1822004"/>
                </a:moveTo>
                <a:cubicBezTo>
                  <a:pt x="7461885" y="1839149"/>
                  <a:pt x="7488556" y="1849309"/>
                  <a:pt x="7494906" y="1832163"/>
                </a:cubicBezTo>
                <a:cubicBezTo>
                  <a:pt x="7501890" y="1815654"/>
                  <a:pt x="7475220" y="1804859"/>
                  <a:pt x="7468870" y="1822004"/>
                </a:cubicBezTo>
                <a:close/>
                <a:moveTo>
                  <a:pt x="7465060" y="1773109"/>
                </a:moveTo>
                <a:cubicBezTo>
                  <a:pt x="7480300" y="1778824"/>
                  <a:pt x="7489190" y="1754059"/>
                  <a:pt x="7473315" y="1748979"/>
                </a:cubicBezTo>
                <a:cubicBezTo>
                  <a:pt x="7458075" y="1743263"/>
                  <a:pt x="7449185" y="1768029"/>
                  <a:pt x="7465060" y="1773109"/>
                </a:cubicBezTo>
                <a:close/>
                <a:moveTo>
                  <a:pt x="7480300" y="2335719"/>
                </a:moveTo>
                <a:cubicBezTo>
                  <a:pt x="7466965" y="2359849"/>
                  <a:pt x="7505065" y="2380169"/>
                  <a:pt x="7517765" y="2355404"/>
                </a:cubicBezTo>
                <a:cubicBezTo>
                  <a:pt x="7531100" y="2331909"/>
                  <a:pt x="7493000" y="2311589"/>
                  <a:pt x="7480300" y="2335719"/>
                </a:cubicBezTo>
                <a:close/>
                <a:moveTo>
                  <a:pt x="7576185" y="2409379"/>
                </a:moveTo>
                <a:cubicBezTo>
                  <a:pt x="7600315" y="2421444"/>
                  <a:pt x="7620000" y="2383344"/>
                  <a:pt x="7594600" y="2371279"/>
                </a:cubicBezTo>
                <a:cubicBezTo>
                  <a:pt x="7570470" y="2358579"/>
                  <a:pt x="7551420" y="2397314"/>
                  <a:pt x="7576185" y="2409379"/>
                </a:cubicBezTo>
                <a:close/>
                <a:moveTo>
                  <a:pt x="7738110" y="1934399"/>
                </a:moveTo>
                <a:cubicBezTo>
                  <a:pt x="7755256" y="1940113"/>
                  <a:pt x="7764781" y="1912809"/>
                  <a:pt x="7747000" y="1907729"/>
                </a:cubicBezTo>
                <a:cubicBezTo>
                  <a:pt x="7729220" y="1901379"/>
                  <a:pt x="7720331" y="1928684"/>
                  <a:pt x="7738110" y="1934399"/>
                </a:cubicBezTo>
                <a:close/>
                <a:moveTo>
                  <a:pt x="7515860" y="1935669"/>
                </a:moveTo>
                <a:cubicBezTo>
                  <a:pt x="7534275" y="1943924"/>
                  <a:pt x="7546975" y="1914713"/>
                  <a:pt x="7527925" y="1907094"/>
                </a:cubicBezTo>
                <a:cubicBezTo>
                  <a:pt x="7509510" y="1898838"/>
                  <a:pt x="7496810" y="1928049"/>
                  <a:pt x="7515860" y="1935669"/>
                </a:cubicBezTo>
                <a:close/>
                <a:moveTo>
                  <a:pt x="7520306" y="2013774"/>
                </a:moveTo>
                <a:cubicBezTo>
                  <a:pt x="7510781" y="2033459"/>
                  <a:pt x="7541895" y="2048063"/>
                  <a:pt x="7550785" y="2027744"/>
                </a:cubicBezTo>
                <a:cubicBezTo>
                  <a:pt x="7560945" y="2008059"/>
                  <a:pt x="7529831" y="1993454"/>
                  <a:pt x="7520306" y="2013774"/>
                </a:cubicBezTo>
                <a:close/>
                <a:moveTo>
                  <a:pt x="7525385" y="1793429"/>
                </a:moveTo>
                <a:cubicBezTo>
                  <a:pt x="7540625" y="1798509"/>
                  <a:pt x="7548881" y="1774379"/>
                  <a:pt x="7533006" y="1769299"/>
                </a:cubicBezTo>
                <a:cubicBezTo>
                  <a:pt x="7517765" y="1763584"/>
                  <a:pt x="7509510" y="1788349"/>
                  <a:pt x="7525385" y="1793429"/>
                </a:cubicBezTo>
                <a:close/>
                <a:moveTo>
                  <a:pt x="7804150" y="1955354"/>
                </a:moveTo>
                <a:cubicBezTo>
                  <a:pt x="7821295" y="1961069"/>
                  <a:pt x="7830185" y="1933763"/>
                  <a:pt x="7812406" y="1928684"/>
                </a:cubicBezTo>
                <a:cubicBezTo>
                  <a:pt x="7794625" y="1922334"/>
                  <a:pt x="7786370" y="1950274"/>
                  <a:pt x="7804150" y="1955354"/>
                </a:cubicBezTo>
                <a:close/>
                <a:moveTo>
                  <a:pt x="7830820" y="1883599"/>
                </a:moveTo>
                <a:cubicBezTo>
                  <a:pt x="7846695" y="1888044"/>
                  <a:pt x="7853681" y="1863279"/>
                  <a:pt x="7837170" y="1858834"/>
                </a:cubicBezTo>
                <a:cubicBezTo>
                  <a:pt x="7821295" y="1855024"/>
                  <a:pt x="7814310" y="1879788"/>
                  <a:pt x="7830820" y="1883599"/>
                </a:cubicBezTo>
                <a:close/>
                <a:moveTo>
                  <a:pt x="7817485" y="2136964"/>
                </a:moveTo>
                <a:cubicBezTo>
                  <a:pt x="7809865" y="2157284"/>
                  <a:pt x="7842250" y="2169349"/>
                  <a:pt x="7849235" y="2148394"/>
                </a:cubicBezTo>
                <a:cubicBezTo>
                  <a:pt x="7857490" y="2128074"/>
                  <a:pt x="7824470" y="2116009"/>
                  <a:pt x="7817485" y="2136964"/>
                </a:cubicBezTo>
                <a:close/>
                <a:moveTo>
                  <a:pt x="7795895" y="2044254"/>
                </a:moveTo>
                <a:cubicBezTo>
                  <a:pt x="7814945" y="2051238"/>
                  <a:pt x="7825106" y="2021394"/>
                  <a:pt x="7806056" y="2015044"/>
                </a:cubicBezTo>
                <a:cubicBezTo>
                  <a:pt x="7787006" y="2008059"/>
                  <a:pt x="7776845" y="2037904"/>
                  <a:pt x="7795895" y="2044254"/>
                </a:cubicBezTo>
                <a:close/>
                <a:moveTo>
                  <a:pt x="7851140" y="2279839"/>
                </a:moveTo>
                <a:cubicBezTo>
                  <a:pt x="7873365" y="2288094"/>
                  <a:pt x="7886065" y="2252534"/>
                  <a:pt x="7863206" y="2245549"/>
                </a:cubicBezTo>
                <a:cubicBezTo>
                  <a:pt x="7840981" y="2236659"/>
                  <a:pt x="7828915" y="2272219"/>
                  <a:pt x="7851140" y="2279839"/>
                </a:cubicBezTo>
                <a:close/>
                <a:moveTo>
                  <a:pt x="7893685" y="2163634"/>
                </a:moveTo>
                <a:cubicBezTo>
                  <a:pt x="7886700" y="2184589"/>
                  <a:pt x="7919085" y="2195384"/>
                  <a:pt x="7926070" y="2173794"/>
                </a:cubicBezTo>
                <a:cubicBezTo>
                  <a:pt x="7933056" y="2153474"/>
                  <a:pt x="7900035" y="2142679"/>
                  <a:pt x="7893685" y="2163634"/>
                </a:cubicBezTo>
                <a:close/>
                <a:moveTo>
                  <a:pt x="7882890" y="2410014"/>
                </a:moveTo>
                <a:cubicBezTo>
                  <a:pt x="7907020" y="2418904"/>
                  <a:pt x="7919720" y="2380169"/>
                  <a:pt x="7895590" y="2372549"/>
                </a:cubicBezTo>
                <a:cubicBezTo>
                  <a:pt x="7871460" y="2364294"/>
                  <a:pt x="7858760" y="2402394"/>
                  <a:pt x="7882890" y="2410014"/>
                </a:cubicBezTo>
                <a:close/>
                <a:moveTo>
                  <a:pt x="7724775" y="2018854"/>
                </a:moveTo>
                <a:cubicBezTo>
                  <a:pt x="7743190" y="2025838"/>
                  <a:pt x="7754620" y="1996629"/>
                  <a:pt x="7735570" y="1989644"/>
                </a:cubicBezTo>
                <a:cubicBezTo>
                  <a:pt x="7717156" y="1982659"/>
                  <a:pt x="7705725" y="2012504"/>
                  <a:pt x="7724775" y="2018854"/>
                </a:cubicBezTo>
                <a:close/>
                <a:moveTo>
                  <a:pt x="7892415" y="1899474"/>
                </a:moveTo>
                <a:cubicBezTo>
                  <a:pt x="7908290" y="1903919"/>
                  <a:pt x="7914640" y="1878519"/>
                  <a:pt x="7898765" y="1874709"/>
                </a:cubicBezTo>
                <a:cubicBezTo>
                  <a:pt x="7882256" y="1870899"/>
                  <a:pt x="7876540" y="1895663"/>
                  <a:pt x="7892415" y="1899474"/>
                </a:cubicBezTo>
                <a:close/>
                <a:moveTo>
                  <a:pt x="7870190" y="1975038"/>
                </a:moveTo>
                <a:cubicBezTo>
                  <a:pt x="7887335" y="1980754"/>
                  <a:pt x="7895590" y="1952813"/>
                  <a:pt x="7877810" y="1947734"/>
                </a:cubicBezTo>
                <a:cubicBezTo>
                  <a:pt x="7860665" y="1942654"/>
                  <a:pt x="7852410" y="1970594"/>
                  <a:pt x="7870190" y="1975038"/>
                </a:cubicBezTo>
                <a:close/>
                <a:moveTo>
                  <a:pt x="7867015" y="2067749"/>
                </a:moveTo>
                <a:cubicBezTo>
                  <a:pt x="7886065" y="2074099"/>
                  <a:pt x="7896225" y="2044254"/>
                  <a:pt x="7876540" y="2037904"/>
                </a:cubicBezTo>
                <a:cubicBezTo>
                  <a:pt x="7857490" y="2031554"/>
                  <a:pt x="7847331" y="2062034"/>
                  <a:pt x="7867015" y="2067749"/>
                </a:cubicBezTo>
                <a:close/>
                <a:moveTo>
                  <a:pt x="7742556" y="2109024"/>
                </a:moveTo>
                <a:cubicBezTo>
                  <a:pt x="7734300" y="2129344"/>
                  <a:pt x="7766685" y="2142044"/>
                  <a:pt x="7774306" y="2121089"/>
                </a:cubicBezTo>
                <a:cubicBezTo>
                  <a:pt x="7781925" y="2100769"/>
                  <a:pt x="7750175" y="2088069"/>
                  <a:pt x="7742556" y="2109024"/>
                </a:cubicBezTo>
                <a:close/>
                <a:moveTo>
                  <a:pt x="7665085" y="2450654"/>
                </a:moveTo>
                <a:cubicBezTo>
                  <a:pt x="7689850" y="2462084"/>
                  <a:pt x="7707631" y="2422714"/>
                  <a:pt x="7682231" y="2411919"/>
                </a:cubicBezTo>
                <a:cubicBezTo>
                  <a:pt x="7657465" y="2400489"/>
                  <a:pt x="7639685" y="2439859"/>
                  <a:pt x="7665085" y="2450654"/>
                </a:cubicBezTo>
                <a:close/>
                <a:moveTo>
                  <a:pt x="7674610" y="1983294"/>
                </a:moveTo>
                <a:cubicBezTo>
                  <a:pt x="7682231" y="1964244"/>
                  <a:pt x="7652385" y="1953449"/>
                  <a:pt x="7645400" y="1971863"/>
                </a:cubicBezTo>
                <a:cubicBezTo>
                  <a:pt x="7638415" y="1990913"/>
                  <a:pt x="7667625" y="2002344"/>
                  <a:pt x="7674610" y="1983294"/>
                </a:cubicBezTo>
                <a:close/>
                <a:moveTo>
                  <a:pt x="7771765" y="2449384"/>
                </a:moveTo>
                <a:cubicBezTo>
                  <a:pt x="7746365" y="2438589"/>
                  <a:pt x="7730490" y="2479229"/>
                  <a:pt x="7756525" y="2488754"/>
                </a:cubicBezTo>
                <a:cubicBezTo>
                  <a:pt x="7781290" y="2498914"/>
                  <a:pt x="7797165" y="2458909"/>
                  <a:pt x="7771765" y="2449384"/>
                </a:cubicBezTo>
                <a:close/>
                <a:moveTo>
                  <a:pt x="7713981" y="2206814"/>
                </a:moveTo>
                <a:cubicBezTo>
                  <a:pt x="7723506" y="2185224"/>
                  <a:pt x="7689215" y="2170619"/>
                  <a:pt x="7680325" y="2192209"/>
                </a:cubicBezTo>
                <a:cubicBezTo>
                  <a:pt x="7670800" y="2214434"/>
                  <a:pt x="7704456" y="2229039"/>
                  <a:pt x="7713981" y="2206814"/>
                </a:cubicBezTo>
                <a:close/>
                <a:moveTo>
                  <a:pt x="7769225" y="1867088"/>
                </a:moveTo>
                <a:cubicBezTo>
                  <a:pt x="7785100" y="1871534"/>
                  <a:pt x="7792085" y="1846769"/>
                  <a:pt x="7776210" y="1842324"/>
                </a:cubicBezTo>
                <a:cubicBezTo>
                  <a:pt x="7760335" y="1837879"/>
                  <a:pt x="7753350" y="1862644"/>
                  <a:pt x="7769225" y="1867088"/>
                </a:cubicBezTo>
                <a:close/>
                <a:moveTo>
                  <a:pt x="7820025" y="2745929"/>
                </a:moveTo>
                <a:cubicBezTo>
                  <a:pt x="7830820" y="2716719"/>
                  <a:pt x="7784465" y="2700844"/>
                  <a:pt x="7774940" y="2730054"/>
                </a:cubicBezTo>
                <a:cubicBezTo>
                  <a:pt x="7764145" y="2759899"/>
                  <a:pt x="7809865" y="2775774"/>
                  <a:pt x="7820025" y="2745929"/>
                </a:cubicBezTo>
                <a:close/>
                <a:moveTo>
                  <a:pt x="7793990" y="2239199"/>
                </a:moveTo>
                <a:cubicBezTo>
                  <a:pt x="7802881" y="2216974"/>
                  <a:pt x="7767956" y="2203639"/>
                  <a:pt x="7759700" y="2225864"/>
                </a:cubicBezTo>
                <a:cubicBezTo>
                  <a:pt x="7750810" y="2248089"/>
                  <a:pt x="7785100" y="2261424"/>
                  <a:pt x="7793990" y="2239199"/>
                </a:cubicBezTo>
                <a:close/>
                <a:moveTo>
                  <a:pt x="9373870" y="2170619"/>
                </a:moveTo>
                <a:cubicBezTo>
                  <a:pt x="9363075" y="2149664"/>
                  <a:pt x="9330055" y="2166174"/>
                  <a:pt x="9341485" y="2187764"/>
                </a:cubicBezTo>
                <a:cubicBezTo>
                  <a:pt x="9351645" y="2208719"/>
                  <a:pt x="9385300" y="2191574"/>
                  <a:pt x="9373870" y="2170619"/>
                </a:cubicBezTo>
                <a:close/>
                <a:moveTo>
                  <a:pt x="9018905" y="2251264"/>
                </a:moveTo>
                <a:cubicBezTo>
                  <a:pt x="9043670" y="2251264"/>
                  <a:pt x="9038590" y="2211894"/>
                  <a:pt x="9015095" y="2217609"/>
                </a:cubicBezTo>
                <a:cubicBezTo>
                  <a:pt x="8996045" y="2222054"/>
                  <a:pt x="8999220" y="2251899"/>
                  <a:pt x="9018905" y="2251264"/>
                </a:cubicBezTo>
                <a:close/>
                <a:moveTo>
                  <a:pt x="8977630" y="2499549"/>
                </a:moveTo>
                <a:cubicBezTo>
                  <a:pt x="8987155" y="2525584"/>
                  <a:pt x="9027160" y="2509709"/>
                  <a:pt x="9017000" y="2484309"/>
                </a:cubicBezTo>
                <a:cubicBezTo>
                  <a:pt x="9008110" y="2458274"/>
                  <a:pt x="8967470" y="2474149"/>
                  <a:pt x="8977630" y="2499549"/>
                </a:cubicBezTo>
                <a:close/>
                <a:moveTo>
                  <a:pt x="8989060" y="2409379"/>
                </a:moveTo>
                <a:cubicBezTo>
                  <a:pt x="8964930" y="2363659"/>
                  <a:pt x="8924925" y="2441129"/>
                  <a:pt x="8976360" y="2434144"/>
                </a:cubicBezTo>
                <a:lnTo>
                  <a:pt x="8976360" y="2434144"/>
                </a:lnTo>
                <a:cubicBezTo>
                  <a:pt x="8986520" y="2430969"/>
                  <a:pt x="8992235" y="2419539"/>
                  <a:pt x="8989060" y="2409379"/>
                </a:cubicBezTo>
                <a:close/>
                <a:moveTo>
                  <a:pt x="8939530" y="2604324"/>
                </a:moveTo>
                <a:cubicBezTo>
                  <a:pt x="8950325" y="2631629"/>
                  <a:pt x="8992870" y="2613849"/>
                  <a:pt x="8981440" y="2587179"/>
                </a:cubicBezTo>
                <a:cubicBezTo>
                  <a:pt x="8970010" y="2559874"/>
                  <a:pt x="8927465" y="2577654"/>
                  <a:pt x="8939530" y="2604324"/>
                </a:cubicBezTo>
                <a:close/>
                <a:moveTo>
                  <a:pt x="8952230" y="2315399"/>
                </a:moveTo>
                <a:cubicBezTo>
                  <a:pt x="8929370" y="2321114"/>
                  <a:pt x="8938895" y="2357309"/>
                  <a:pt x="8961120" y="2350959"/>
                </a:cubicBezTo>
                <a:cubicBezTo>
                  <a:pt x="8984615" y="2345879"/>
                  <a:pt x="8975090" y="2309684"/>
                  <a:pt x="8952230" y="2315399"/>
                </a:cubicBezTo>
                <a:close/>
                <a:moveTo>
                  <a:pt x="9044940" y="2327464"/>
                </a:moveTo>
                <a:cubicBezTo>
                  <a:pt x="9067800" y="2320479"/>
                  <a:pt x="9057005" y="2284919"/>
                  <a:pt x="9034145" y="2292539"/>
                </a:cubicBezTo>
                <a:cubicBezTo>
                  <a:pt x="9011285" y="2298889"/>
                  <a:pt x="9022715" y="2335084"/>
                  <a:pt x="9044940" y="2327464"/>
                </a:cubicBezTo>
                <a:close/>
                <a:moveTo>
                  <a:pt x="9027795" y="2001709"/>
                </a:moveTo>
                <a:cubicBezTo>
                  <a:pt x="9044940" y="2001709"/>
                  <a:pt x="9043670" y="1974404"/>
                  <a:pt x="9026525" y="1976309"/>
                </a:cubicBezTo>
                <a:cubicBezTo>
                  <a:pt x="9011285" y="1977579"/>
                  <a:pt x="9012555" y="2001709"/>
                  <a:pt x="9027795" y="2001709"/>
                </a:cubicBezTo>
                <a:close/>
                <a:moveTo>
                  <a:pt x="9035415" y="2149664"/>
                </a:moveTo>
                <a:cubicBezTo>
                  <a:pt x="9039225" y="2169349"/>
                  <a:pt x="9070340" y="2162999"/>
                  <a:pt x="9065895" y="2143314"/>
                </a:cubicBezTo>
                <a:cubicBezTo>
                  <a:pt x="9062085" y="2123629"/>
                  <a:pt x="9031605" y="2129979"/>
                  <a:pt x="9035415" y="2149664"/>
                </a:cubicBezTo>
                <a:close/>
                <a:moveTo>
                  <a:pt x="9033510" y="2055049"/>
                </a:moveTo>
                <a:cubicBezTo>
                  <a:pt x="9015095" y="2057588"/>
                  <a:pt x="9019540" y="2086163"/>
                  <a:pt x="9037955" y="2082988"/>
                </a:cubicBezTo>
                <a:cubicBezTo>
                  <a:pt x="9055735" y="2080449"/>
                  <a:pt x="9051290" y="2051874"/>
                  <a:pt x="9033510" y="2055049"/>
                </a:cubicBezTo>
                <a:close/>
                <a:moveTo>
                  <a:pt x="8965565" y="2063938"/>
                </a:moveTo>
                <a:cubicBezTo>
                  <a:pt x="8947150" y="2065844"/>
                  <a:pt x="8950960" y="2094419"/>
                  <a:pt x="8968740" y="2091879"/>
                </a:cubicBezTo>
                <a:cubicBezTo>
                  <a:pt x="8986520" y="2089974"/>
                  <a:pt x="8983345" y="2061399"/>
                  <a:pt x="8965565" y="2063938"/>
                </a:cubicBezTo>
                <a:close/>
                <a:moveTo>
                  <a:pt x="8876665" y="2421444"/>
                </a:moveTo>
                <a:cubicBezTo>
                  <a:pt x="8851900" y="2427794"/>
                  <a:pt x="8862060" y="2466529"/>
                  <a:pt x="8886825" y="2459544"/>
                </a:cubicBezTo>
                <a:cubicBezTo>
                  <a:pt x="8911590" y="2453829"/>
                  <a:pt x="8901430" y="2415094"/>
                  <a:pt x="8876665" y="2421444"/>
                </a:cubicBezTo>
                <a:close/>
                <a:moveTo>
                  <a:pt x="8869680" y="2335084"/>
                </a:moveTo>
                <a:cubicBezTo>
                  <a:pt x="8846185" y="2339529"/>
                  <a:pt x="8853805" y="2376359"/>
                  <a:pt x="8877300" y="2371279"/>
                </a:cubicBezTo>
                <a:cubicBezTo>
                  <a:pt x="8900160" y="2366199"/>
                  <a:pt x="8892540" y="2329369"/>
                  <a:pt x="8869680" y="2335084"/>
                </a:cubicBezTo>
                <a:close/>
                <a:moveTo>
                  <a:pt x="8842375" y="2639249"/>
                </a:moveTo>
                <a:cubicBezTo>
                  <a:pt x="8851900" y="2667189"/>
                  <a:pt x="8895080" y="2651949"/>
                  <a:pt x="8884920" y="2624644"/>
                </a:cubicBezTo>
                <a:cubicBezTo>
                  <a:pt x="8876030" y="2596704"/>
                  <a:pt x="8832850" y="2611944"/>
                  <a:pt x="8842375" y="2639249"/>
                </a:cubicBezTo>
                <a:close/>
                <a:moveTo>
                  <a:pt x="8901430" y="2156014"/>
                </a:moveTo>
                <a:cubicBezTo>
                  <a:pt x="8881110" y="2157919"/>
                  <a:pt x="8885555" y="2189669"/>
                  <a:pt x="8905240" y="2187129"/>
                </a:cubicBezTo>
                <a:cubicBezTo>
                  <a:pt x="8925560" y="2184589"/>
                  <a:pt x="8921750" y="2152839"/>
                  <a:pt x="8901430" y="2156014"/>
                </a:cubicBezTo>
                <a:close/>
                <a:moveTo>
                  <a:pt x="8899525" y="2504629"/>
                </a:moveTo>
                <a:cubicBezTo>
                  <a:pt x="8872855" y="2512884"/>
                  <a:pt x="8886825" y="2553524"/>
                  <a:pt x="8912860" y="2544634"/>
                </a:cubicBezTo>
                <a:cubicBezTo>
                  <a:pt x="8938895" y="2536379"/>
                  <a:pt x="8925560" y="2495739"/>
                  <a:pt x="8899525" y="2504629"/>
                </a:cubicBezTo>
                <a:close/>
                <a:moveTo>
                  <a:pt x="8975090" y="2145219"/>
                </a:moveTo>
                <a:cubicBezTo>
                  <a:pt x="8955405" y="2148394"/>
                  <a:pt x="8960485" y="2179509"/>
                  <a:pt x="8980170" y="2175699"/>
                </a:cubicBezTo>
                <a:lnTo>
                  <a:pt x="8980170" y="2175699"/>
                </a:lnTo>
                <a:cubicBezTo>
                  <a:pt x="8999855" y="2172524"/>
                  <a:pt x="8994775" y="2141409"/>
                  <a:pt x="8975090" y="2145219"/>
                </a:cubicBezTo>
                <a:close/>
                <a:moveTo>
                  <a:pt x="7404735" y="1796604"/>
                </a:moveTo>
                <a:cubicBezTo>
                  <a:pt x="7397750" y="1813113"/>
                  <a:pt x="7424420" y="1824544"/>
                  <a:pt x="7430770" y="1807399"/>
                </a:cubicBezTo>
                <a:cubicBezTo>
                  <a:pt x="7437756" y="1790254"/>
                  <a:pt x="7411085" y="1779459"/>
                  <a:pt x="7404735" y="1796604"/>
                </a:cubicBezTo>
                <a:close/>
                <a:moveTo>
                  <a:pt x="9049385" y="2366834"/>
                </a:moveTo>
                <a:cubicBezTo>
                  <a:pt x="9025255" y="2375089"/>
                  <a:pt x="9039225" y="2413189"/>
                  <a:pt x="9063355" y="2403664"/>
                </a:cubicBezTo>
                <a:cubicBezTo>
                  <a:pt x="9087485" y="2395409"/>
                  <a:pt x="9073515" y="2357309"/>
                  <a:pt x="9049385" y="2366834"/>
                </a:cubicBezTo>
                <a:close/>
                <a:moveTo>
                  <a:pt x="8940165" y="2268409"/>
                </a:moveTo>
                <a:cubicBezTo>
                  <a:pt x="8964295" y="2268409"/>
                  <a:pt x="8960485" y="2230309"/>
                  <a:pt x="8936990" y="2234754"/>
                </a:cubicBezTo>
                <a:cubicBezTo>
                  <a:pt x="8917305" y="2238564"/>
                  <a:pt x="8920480" y="2269044"/>
                  <a:pt x="8940165" y="2268409"/>
                </a:cubicBezTo>
                <a:close/>
                <a:moveTo>
                  <a:pt x="9091295" y="1994088"/>
                </a:moveTo>
                <a:cubicBezTo>
                  <a:pt x="9091930" y="1994088"/>
                  <a:pt x="9092565" y="1994088"/>
                  <a:pt x="9093200" y="1994088"/>
                </a:cubicBezTo>
                <a:lnTo>
                  <a:pt x="9093200" y="1994088"/>
                </a:lnTo>
                <a:cubicBezTo>
                  <a:pt x="9137650" y="1960434"/>
                  <a:pt x="9042400" y="1966149"/>
                  <a:pt x="9091295" y="1994088"/>
                </a:cubicBezTo>
                <a:close/>
                <a:moveTo>
                  <a:pt x="9340850" y="1948369"/>
                </a:moveTo>
                <a:cubicBezTo>
                  <a:pt x="9359265" y="1948369"/>
                  <a:pt x="9356090" y="1919159"/>
                  <a:pt x="9337675" y="1923604"/>
                </a:cubicBezTo>
                <a:cubicBezTo>
                  <a:pt x="9323705" y="1926144"/>
                  <a:pt x="9326245" y="1948369"/>
                  <a:pt x="9340850" y="1948369"/>
                </a:cubicBezTo>
                <a:close/>
                <a:moveTo>
                  <a:pt x="9337675" y="2079179"/>
                </a:moveTo>
                <a:cubicBezTo>
                  <a:pt x="9339580" y="2079179"/>
                  <a:pt x="9341485" y="2078544"/>
                  <a:pt x="9343390" y="2077909"/>
                </a:cubicBezTo>
                <a:lnTo>
                  <a:pt x="9343390" y="2077909"/>
                </a:lnTo>
                <a:cubicBezTo>
                  <a:pt x="9386570" y="2031554"/>
                  <a:pt x="9281160" y="2050604"/>
                  <a:pt x="9337675" y="2079179"/>
                </a:cubicBezTo>
                <a:close/>
                <a:moveTo>
                  <a:pt x="9319260" y="2006154"/>
                </a:moveTo>
                <a:cubicBezTo>
                  <a:pt x="9314180" y="1988374"/>
                  <a:pt x="9286875" y="1996629"/>
                  <a:pt x="9291955" y="2013774"/>
                </a:cubicBezTo>
                <a:cubicBezTo>
                  <a:pt x="9297035" y="2031554"/>
                  <a:pt x="9324340" y="2023934"/>
                  <a:pt x="9319260" y="2006154"/>
                </a:cubicBezTo>
                <a:close/>
                <a:moveTo>
                  <a:pt x="9371330" y="2004249"/>
                </a:moveTo>
                <a:cubicBezTo>
                  <a:pt x="9392920" y="2004249"/>
                  <a:pt x="9387205" y="1970594"/>
                  <a:pt x="9366885" y="1976944"/>
                </a:cubicBezTo>
                <a:cubicBezTo>
                  <a:pt x="9352280" y="1980754"/>
                  <a:pt x="9356090" y="2004249"/>
                  <a:pt x="9371330" y="2004249"/>
                </a:cubicBezTo>
                <a:close/>
                <a:moveTo>
                  <a:pt x="8901430" y="2011869"/>
                </a:moveTo>
                <a:cubicBezTo>
                  <a:pt x="8918575" y="2011869"/>
                  <a:pt x="8917305" y="1985199"/>
                  <a:pt x="8900795" y="1986469"/>
                </a:cubicBezTo>
                <a:cubicBezTo>
                  <a:pt x="8884920" y="1987104"/>
                  <a:pt x="8885555" y="2011869"/>
                  <a:pt x="8901430" y="2011869"/>
                </a:cubicBezTo>
                <a:close/>
                <a:moveTo>
                  <a:pt x="9278620" y="1962338"/>
                </a:moveTo>
                <a:cubicBezTo>
                  <a:pt x="9297035" y="1962338"/>
                  <a:pt x="9293860" y="1933129"/>
                  <a:pt x="9276080" y="1936938"/>
                </a:cubicBezTo>
                <a:cubicBezTo>
                  <a:pt x="9261475" y="1940113"/>
                  <a:pt x="9264015" y="1962338"/>
                  <a:pt x="9278620" y="1962338"/>
                </a:cubicBezTo>
                <a:close/>
                <a:moveTo>
                  <a:pt x="9402445" y="1932494"/>
                </a:moveTo>
                <a:cubicBezTo>
                  <a:pt x="9420860" y="1932494"/>
                  <a:pt x="9417050" y="1902649"/>
                  <a:pt x="9399270" y="1907729"/>
                </a:cubicBezTo>
                <a:cubicBezTo>
                  <a:pt x="9384665" y="1910904"/>
                  <a:pt x="9387840" y="1933129"/>
                  <a:pt x="9402445" y="1932494"/>
                </a:cubicBezTo>
                <a:close/>
                <a:moveTo>
                  <a:pt x="9338945" y="2125534"/>
                </a:moveTo>
                <a:cubicBezTo>
                  <a:pt x="9330690" y="2105214"/>
                  <a:pt x="9298940" y="2118549"/>
                  <a:pt x="9307830" y="2138869"/>
                </a:cubicBezTo>
                <a:cubicBezTo>
                  <a:pt x="9316720" y="2159189"/>
                  <a:pt x="9347835" y="2145854"/>
                  <a:pt x="9338945" y="2125534"/>
                </a:cubicBezTo>
                <a:close/>
                <a:moveTo>
                  <a:pt x="9411970" y="2091879"/>
                </a:moveTo>
                <a:cubicBezTo>
                  <a:pt x="9403080" y="2072194"/>
                  <a:pt x="9371965" y="2086799"/>
                  <a:pt x="9381490" y="2106484"/>
                </a:cubicBezTo>
                <a:cubicBezTo>
                  <a:pt x="9391015" y="2126804"/>
                  <a:pt x="9421495" y="2111564"/>
                  <a:pt x="9411970" y="2091879"/>
                </a:cubicBezTo>
                <a:close/>
                <a:moveTo>
                  <a:pt x="9272270" y="2200464"/>
                </a:moveTo>
                <a:cubicBezTo>
                  <a:pt x="9254490" y="2208084"/>
                  <a:pt x="9261475" y="2236024"/>
                  <a:pt x="9279890" y="2235389"/>
                </a:cubicBezTo>
                <a:cubicBezTo>
                  <a:pt x="9309735" y="2234754"/>
                  <a:pt x="9299575" y="2188399"/>
                  <a:pt x="9272270" y="2200464"/>
                </a:cubicBezTo>
                <a:close/>
                <a:moveTo>
                  <a:pt x="9252585" y="2093149"/>
                </a:moveTo>
                <a:cubicBezTo>
                  <a:pt x="9258935" y="2112199"/>
                  <a:pt x="9288780" y="2102039"/>
                  <a:pt x="9281795" y="2083624"/>
                </a:cubicBezTo>
                <a:cubicBezTo>
                  <a:pt x="9276080" y="2063938"/>
                  <a:pt x="9246235" y="2074099"/>
                  <a:pt x="9252585" y="2093149"/>
                </a:cubicBezTo>
                <a:close/>
                <a:moveTo>
                  <a:pt x="9154160" y="1985199"/>
                </a:moveTo>
                <a:cubicBezTo>
                  <a:pt x="9171940" y="1985199"/>
                  <a:pt x="9170035" y="1957259"/>
                  <a:pt x="9152255" y="1959799"/>
                </a:cubicBezTo>
                <a:cubicBezTo>
                  <a:pt x="9137015" y="1961704"/>
                  <a:pt x="9138920" y="1985834"/>
                  <a:pt x="9154160" y="1985199"/>
                </a:cubicBezTo>
                <a:close/>
                <a:moveTo>
                  <a:pt x="9090025" y="2060129"/>
                </a:moveTo>
                <a:cubicBezTo>
                  <a:pt x="9093200" y="2078544"/>
                  <a:pt x="9121140" y="2072829"/>
                  <a:pt x="9117965" y="2055049"/>
                </a:cubicBezTo>
                <a:cubicBezTo>
                  <a:pt x="9114790" y="2036634"/>
                  <a:pt x="9086215" y="2042349"/>
                  <a:pt x="9090025" y="2060129"/>
                </a:cubicBezTo>
                <a:close/>
                <a:moveTo>
                  <a:pt x="9157335" y="2046794"/>
                </a:moveTo>
                <a:cubicBezTo>
                  <a:pt x="9161145" y="2064574"/>
                  <a:pt x="9189085" y="2058859"/>
                  <a:pt x="9184640" y="2041079"/>
                </a:cubicBezTo>
                <a:cubicBezTo>
                  <a:pt x="9181465" y="2023299"/>
                  <a:pt x="9153525" y="2029013"/>
                  <a:pt x="9157335" y="2046794"/>
                </a:cubicBezTo>
                <a:close/>
                <a:moveTo>
                  <a:pt x="9108440" y="2133789"/>
                </a:moveTo>
                <a:cubicBezTo>
                  <a:pt x="9112885" y="2153474"/>
                  <a:pt x="9144000" y="2145854"/>
                  <a:pt x="9138920" y="2126169"/>
                </a:cubicBezTo>
                <a:cubicBezTo>
                  <a:pt x="9134475" y="2106484"/>
                  <a:pt x="9103360" y="2114104"/>
                  <a:pt x="9108440" y="2133789"/>
                </a:cubicBezTo>
                <a:close/>
                <a:moveTo>
                  <a:pt x="9225280" y="2031554"/>
                </a:moveTo>
                <a:cubicBezTo>
                  <a:pt x="9229725" y="2049334"/>
                  <a:pt x="9257665" y="2042349"/>
                  <a:pt x="9252585" y="2024569"/>
                </a:cubicBezTo>
                <a:cubicBezTo>
                  <a:pt x="9248140" y="2006788"/>
                  <a:pt x="9220200" y="2013774"/>
                  <a:pt x="9225280" y="2031554"/>
                </a:cubicBezTo>
                <a:close/>
                <a:moveTo>
                  <a:pt x="9216390" y="1974404"/>
                </a:moveTo>
                <a:cubicBezTo>
                  <a:pt x="9234170" y="1974404"/>
                  <a:pt x="9231630" y="1945829"/>
                  <a:pt x="9213850" y="1949004"/>
                </a:cubicBezTo>
                <a:cubicBezTo>
                  <a:pt x="9199245" y="1951544"/>
                  <a:pt x="9201785" y="1975038"/>
                  <a:pt x="9216390" y="1974404"/>
                </a:cubicBezTo>
                <a:close/>
                <a:moveTo>
                  <a:pt x="9180830" y="2114739"/>
                </a:moveTo>
                <a:cubicBezTo>
                  <a:pt x="9186545" y="2134424"/>
                  <a:pt x="9216390" y="2125534"/>
                  <a:pt x="9210675" y="2105849"/>
                </a:cubicBezTo>
                <a:cubicBezTo>
                  <a:pt x="9205595" y="2086799"/>
                  <a:pt x="9175115" y="2095688"/>
                  <a:pt x="9180830" y="2114739"/>
                </a:cubicBezTo>
                <a:close/>
                <a:moveTo>
                  <a:pt x="8646795" y="2013774"/>
                </a:moveTo>
                <a:cubicBezTo>
                  <a:pt x="8663305" y="2014409"/>
                  <a:pt x="8663940" y="1989009"/>
                  <a:pt x="8648065" y="1988374"/>
                </a:cubicBezTo>
                <a:cubicBezTo>
                  <a:pt x="8631555" y="1987104"/>
                  <a:pt x="8630285" y="2013138"/>
                  <a:pt x="8646795" y="2013774"/>
                </a:cubicBezTo>
                <a:close/>
                <a:moveTo>
                  <a:pt x="8583295" y="2010599"/>
                </a:moveTo>
                <a:cubicBezTo>
                  <a:pt x="8599805" y="2011869"/>
                  <a:pt x="8601075" y="1985834"/>
                  <a:pt x="8584565" y="1985199"/>
                </a:cubicBezTo>
                <a:cubicBezTo>
                  <a:pt x="8568055" y="1983929"/>
                  <a:pt x="8566785" y="2009963"/>
                  <a:pt x="8583295" y="2010599"/>
                </a:cubicBezTo>
                <a:close/>
                <a:moveTo>
                  <a:pt x="8531225" y="2168079"/>
                </a:moveTo>
                <a:cubicBezTo>
                  <a:pt x="8510270" y="2166809"/>
                  <a:pt x="8509635" y="2199194"/>
                  <a:pt x="8530590" y="2199194"/>
                </a:cubicBezTo>
                <a:cubicBezTo>
                  <a:pt x="8549640" y="2199194"/>
                  <a:pt x="8550910" y="2168714"/>
                  <a:pt x="8531225" y="2168079"/>
                </a:cubicBezTo>
                <a:close/>
                <a:moveTo>
                  <a:pt x="8444230" y="2403029"/>
                </a:moveTo>
                <a:cubicBezTo>
                  <a:pt x="8467725" y="2404934"/>
                  <a:pt x="8469630" y="2367469"/>
                  <a:pt x="8446135" y="2366199"/>
                </a:cubicBezTo>
                <a:cubicBezTo>
                  <a:pt x="8422005" y="2364929"/>
                  <a:pt x="8420100" y="2402394"/>
                  <a:pt x="8444230" y="2403029"/>
                </a:cubicBezTo>
                <a:close/>
                <a:moveTo>
                  <a:pt x="8589645" y="2185859"/>
                </a:moveTo>
                <a:cubicBezTo>
                  <a:pt x="8589010" y="2206179"/>
                  <a:pt x="8620760" y="2206814"/>
                  <a:pt x="8620760" y="2186494"/>
                </a:cubicBezTo>
                <a:cubicBezTo>
                  <a:pt x="8621395" y="2166809"/>
                  <a:pt x="8589645" y="2166174"/>
                  <a:pt x="8589645" y="2185859"/>
                </a:cubicBezTo>
                <a:close/>
                <a:moveTo>
                  <a:pt x="8620760" y="2267774"/>
                </a:moveTo>
                <a:cubicBezTo>
                  <a:pt x="8598535" y="2267774"/>
                  <a:pt x="8599170" y="2302064"/>
                  <a:pt x="8621395" y="2301429"/>
                </a:cubicBezTo>
                <a:cubicBezTo>
                  <a:pt x="8642985" y="2302064"/>
                  <a:pt x="8642350" y="2267139"/>
                  <a:pt x="8620760" y="2267774"/>
                </a:cubicBezTo>
                <a:close/>
                <a:moveTo>
                  <a:pt x="8598535" y="2385884"/>
                </a:moveTo>
                <a:cubicBezTo>
                  <a:pt x="8599170" y="2410014"/>
                  <a:pt x="8636635" y="2408109"/>
                  <a:pt x="8635365" y="2383979"/>
                </a:cubicBezTo>
                <a:cubicBezTo>
                  <a:pt x="8634730" y="2360484"/>
                  <a:pt x="8597265" y="2362389"/>
                  <a:pt x="8598535" y="2385884"/>
                </a:cubicBezTo>
                <a:close/>
                <a:moveTo>
                  <a:pt x="8621395" y="2105214"/>
                </a:moveTo>
                <a:cubicBezTo>
                  <a:pt x="8639810" y="2106484"/>
                  <a:pt x="8640445" y="2077274"/>
                  <a:pt x="8622665" y="2077274"/>
                </a:cubicBezTo>
                <a:cubicBezTo>
                  <a:pt x="8604250" y="2076004"/>
                  <a:pt x="8602980" y="2105214"/>
                  <a:pt x="8621395" y="2105214"/>
                </a:cubicBezTo>
                <a:close/>
                <a:moveTo>
                  <a:pt x="8591550" y="2488754"/>
                </a:moveTo>
                <a:cubicBezTo>
                  <a:pt x="8593455" y="2514154"/>
                  <a:pt x="8633460" y="2510979"/>
                  <a:pt x="8630920" y="2485579"/>
                </a:cubicBezTo>
                <a:cubicBezTo>
                  <a:pt x="8629015" y="2460179"/>
                  <a:pt x="8589010" y="2463354"/>
                  <a:pt x="8591550" y="2488754"/>
                </a:cubicBezTo>
                <a:close/>
                <a:moveTo>
                  <a:pt x="8531225" y="2405569"/>
                </a:moveTo>
                <a:cubicBezTo>
                  <a:pt x="8555355" y="2406204"/>
                  <a:pt x="8555355" y="2368739"/>
                  <a:pt x="8531225" y="2368739"/>
                </a:cubicBezTo>
                <a:cubicBezTo>
                  <a:pt x="8507730" y="2368104"/>
                  <a:pt x="8507095" y="2405569"/>
                  <a:pt x="8531225" y="2405569"/>
                </a:cubicBezTo>
                <a:close/>
                <a:moveTo>
                  <a:pt x="8523605" y="2283649"/>
                </a:moveTo>
                <a:cubicBezTo>
                  <a:pt x="8523605" y="2293174"/>
                  <a:pt x="8530590" y="2300794"/>
                  <a:pt x="8540115" y="2301429"/>
                </a:cubicBezTo>
                <a:lnTo>
                  <a:pt x="8540115" y="2301429"/>
                </a:lnTo>
                <a:cubicBezTo>
                  <a:pt x="8583930" y="2295079"/>
                  <a:pt x="8532495" y="2240469"/>
                  <a:pt x="8523605" y="2283649"/>
                </a:cubicBezTo>
                <a:close/>
                <a:moveTo>
                  <a:pt x="8459470" y="2690049"/>
                </a:moveTo>
                <a:cubicBezTo>
                  <a:pt x="8430260" y="2691319"/>
                  <a:pt x="8432800" y="2737674"/>
                  <a:pt x="8462010" y="2735134"/>
                </a:cubicBezTo>
                <a:cubicBezTo>
                  <a:pt x="8491855" y="2733864"/>
                  <a:pt x="8488680" y="2688144"/>
                  <a:pt x="8459470" y="2690049"/>
                </a:cubicBezTo>
                <a:cubicBezTo>
                  <a:pt x="8459470" y="2690049"/>
                  <a:pt x="8459470" y="2690049"/>
                  <a:pt x="8459470" y="2690049"/>
                </a:cubicBezTo>
                <a:close/>
                <a:moveTo>
                  <a:pt x="8898255" y="2098864"/>
                </a:moveTo>
                <a:cubicBezTo>
                  <a:pt x="8917305" y="2098864"/>
                  <a:pt x="8916035" y="2069019"/>
                  <a:pt x="8896985" y="2070924"/>
                </a:cubicBezTo>
                <a:cubicBezTo>
                  <a:pt x="8879205" y="2072194"/>
                  <a:pt x="8880475" y="2099499"/>
                  <a:pt x="8898255" y="2098864"/>
                </a:cubicBezTo>
                <a:close/>
                <a:moveTo>
                  <a:pt x="8461375" y="2263329"/>
                </a:moveTo>
                <a:cubicBezTo>
                  <a:pt x="8439150" y="2261424"/>
                  <a:pt x="8437245" y="2295714"/>
                  <a:pt x="8458835" y="2296984"/>
                </a:cubicBezTo>
                <a:cubicBezTo>
                  <a:pt x="8481060" y="2298889"/>
                  <a:pt x="8483600" y="2264599"/>
                  <a:pt x="8461375" y="2263329"/>
                </a:cubicBezTo>
                <a:close/>
                <a:moveTo>
                  <a:pt x="8454390" y="2193479"/>
                </a:moveTo>
                <a:cubicBezTo>
                  <a:pt x="8474075" y="2195384"/>
                  <a:pt x="8477250" y="2164269"/>
                  <a:pt x="8456930" y="2162364"/>
                </a:cubicBezTo>
                <a:cubicBezTo>
                  <a:pt x="8437245" y="2160459"/>
                  <a:pt x="8434070" y="2191574"/>
                  <a:pt x="8454390" y="2193479"/>
                </a:cubicBezTo>
                <a:close/>
                <a:moveTo>
                  <a:pt x="8541385" y="2705924"/>
                </a:moveTo>
                <a:cubicBezTo>
                  <a:pt x="8545195" y="2735134"/>
                  <a:pt x="8590280" y="2728784"/>
                  <a:pt x="8586470" y="2700209"/>
                </a:cubicBezTo>
                <a:cubicBezTo>
                  <a:pt x="8582660" y="2670999"/>
                  <a:pt x="8536940" y="2676714"/>
                  <a:pt x="8541385" y="2705924"/>
                </a:cubicBezTo>
                <a:close/>
                <a:moveTo>
                  <a:pt x="8551545" y="2102039"/>
                </a:moveTo>
                <a:cubicBezTo>
                  <a:pt x="8569960" y="2103309"/>
                  <a:pt x="8571865" y="2074734"/>
                  <a:pt x="8553450" y="2074099"/>
                </a:cubicBezTo>
                <a:cubicBezTo>
                  <a:pt x="8535035" y="2072194"/>
                  <a:pt x="8533765" y="2100769"/>
                  <a:pt x="8551545" y="2102039"/>
                </a:cubicBezTo>
                <a:close/>
                <a:moveTo>
                  <a:pt x="8519795" y="2006154"/>
                </a:moveTo>
                <a:cubicBezTo>
                  <a:pt x="8536305" y="2008059"/>
                  <a:pt x="8538210" y="1982024"/>
                  <a:pt x="8521700" y="1980754"/>
                </a:cubicBezTo>
                <a:cubicBezTo>
                  <a:pt x="8505190" y="1979484"/>
                  <a:pt x="8503285" y="2004884"/>
                  <a:pt x="8519795" y="2006154"/>
                </a:cubicBezTo>
                <a:close/>
                <a:moveTo>
                  <a:pt x="8482330" y="2096324"/>
                </a:moveTo>
                <a:cubicBezTo>
                  <a:pt x="8500745" y="2098229"/>
                  <a:pt x="8503285" y="2069654"/>
                  <a:pt x="8484870" y="2068384"/>
                </a:cubicBezTo>
                <a:cubicBezTo>
                  <a:pt x="8467090" y="2066479"/>
                  <a:pt x="8463915" y="2095054"/>
                  <a:pt x="8482330" y="2096324"/>
                </a:cubicBezTo>
                <a:close/>
                <a:moveTo>
                  <a:pt x="8456295" y="2000438"/>
                </a:moveTo>
                <a:cubicBezTo>
                  <a:pt x="8472805" y="2002344"/>
                  <a:pt x="8475345" y="1976309"/>
                  <a:pt x="8458835" y="1975038"/>
                </a:cubicBezTo>
                <a:cubicBezTo>
                  <a:pt x="8442325" y="1973134"/>
                  <a:pt x="8439785" y="1999169"/>
                  <a:pt x="8456295" y="2000438"/>
                </a:cubicBezTo>
                <a:close/>
                <a:moveTo>
                  <a:pt x="8785860" y="2349689"/>
                </a:moveTo>
                <a:cubicBezTo>
                  <a:pt x="8762365" y="2352864"/>
                  <a:pt x="8768080" y="2389694"/>
                  <a:pt x="8791575" y="2385884"/>
                </a:cubicBezTo>
                <a:cubicBezTo>
                  <a:pt x="8814435" y="2382709"/>
                  <a:pt x="8808720" y="2345879"/>
                  <a:pt x="8785860" y="2349689"/>
                </a:cubicBezTo>
                <a:close/>
                <a:moveTo>
                  <a:pt x="8788400" y="2441764"/>
                </a:moveTo>
                <a:cubicBezTo>
                  <a:pt x="8763000" y="2446209"/>
                  <a:pt x="8771255" y="2486214"/>
                  <a:pt x="8796020" y="2480499"/>
                </a:cubicBezTo>
                <a:cubicBezTo>
                  <a:pt x="8821420" y="2476054"/>
                  <a:pt x="8813800" y="2436684"/>
                  <a:pt x="8788400" y="2441764"/>
                </a:cubicBezTo>
                <a:close/>
                <a:moveTo>
                  <a:pt x="8759190" y="2640519"/>
                </a:moveTo>
                <a:cubicBezTo>
                  <a:pt x="8730615" y="2647504"/>
                  <a:pt x="8743315" y="2691954"/>
                  <a:pt x="8771255" y="2684334"/>
                </a:cubicBezTo>
                <a:cubicBezTo>
                  <a:pt x="8799830" y="2676714"/>
                  <a:pt x="8787765" y="2632264"/>
                  <a:pt x="8759190" y="2640519"/>
                </a:cubicBezTo>
                <a:close/>
                <a:moveTo>
                  <a:pt x="8779510" y="2258884"/>
                </a:moveTo>
                <a:cubicBezTo>
                  <a:pt x="8757285" y="2260789"/>
                  <a:pt x="8761095" y="2295079"/>
                  <a:pt x="8783320" y="2292539"/>
                </a:cubicBezTo>
                <a:cubicBezTo>
                  <a:pt x="8804910" y="2290634"/>
                  <a:pt x="8801735" y="2256344"/>
                  <a:pt x="8779510" y="2258884"/>
                </a:cubicBezTo>
                <a:close/>
                <a:moveTo>
                  <a:pt x="8837930" y="2014409"/>
                </a:moveTo>
                <a:cubicBezTo>
                  <a:pt x="8854440" y="2014409"/>
                  <a:pt x="8854440" y="1988374"/>
                  <a:pt x="8837295" y="1989009"/>
                </a:cubicBezTo>
                <a:cubicBezTo>
                  <a:pt x="8821420" y="1989009"/>
                  <a:pt x="8821420" y="2014409"/>
                  <a:pt x="8837930" y="2014409"/>
                </a:cubicBezTo>
                <a:close/>
                <a:moveTo>
                  <a:pt x="8844280" y="2267774"/>
                </a:moveTo>
                <a:cubicBezTo>
                  <a:pt x="8847455" y="2289364"/>
                  <a:pt x="8881110" y="2284284"/>
                  <a:pt x="8877935" y="2262694"/>
                </a:cubicBezTo>
                <a:cubicBezTo>
                  <a:pt x="8874760" y="2241104"/>
                  <a:pt x="8840470" y="2246184"/>
                  <a:pt x="8844280" y="2267774"/>
                </a:cubicBezTo>
                <a:close/>
                <a:moveTo>
                  <a:pt x="8774430" y="2015679"/>
                </a:moveTo>
                <a:cubicBezTo>
                  <a:pt x="8790940" y="2015679"/>
                  <a:pt x="8790940" y="1989644"/>
                  <a:pt x="8774430" y="1990279"/>
                </a:cubicBezTo>
                <a:cubicBezTo>
                  <a:pt x="8757920" y="1990279"/>
                  <a:pt x="8757920" y="2015679"/>
                  <a:pt x="8774430" y="2015679"/>
                </a:cubicBezTo>
                <a:close/>
                <a:moveTo>
                  <a:pt x="8829040" y="2103944"/>
                </a:moveTo>
                <a:cubicBezTo>
                  <a:pt x="8848090" y="2103944"/>
                  <a:pt x="8846820" y="2074734"/>
                  <a:pt x="8828405" y="2076004"/>
                </a:cubicBezTo>
                <a:cubicBezTo>
                  <a:pt x="8810625" y="2076004"/>
                  <a:pt x="8811260" y="2103944"/>
                  <a:pt x="8829040" y="2103944"/>
                </a:cubicBezTo>
                <a:close/>
                <a:moveTo>
                  <a:pt x="8829040" y="2194749"/>
                </a:moveTo>
                <a:cubicBezTo>
                  <a:pt x="8849995" y="2194749"/>
                  <a:pt x="8848725" y="2161729"/>
                  <a:pt x="8827770" y="2163634"/>
                </a:cubicBezTo>
                <a:cubicBezTo>
                  <a:pt x="8808720" y="2164904"/>
                  <a:pt x="8809990" y="2195384"/>
                  <a:pt x="8829040" y="2194749"/>
                </a:cubicBezTo>
                <a:close/>
                <a:moveTo>
                  <a:pt x="8642985" y="2690684"/>
                </a:moveTo>
                <a:cubicBezTo>
                  <a:pt x="8648700" y="2719259"/>
                  <a:pt x="8693150" y="2710369"/>
                  <a:pt x="8687435" y="2681794"/>
                </a:cubicBezTo>
                <a:cubicBezTo>
                  <a:pt x="8681720" y="2652584"/>
                  <a:pt x="8636635" y="2662109"/>
                  <a:pt x="8642985" y="2690684"/>
                </a:cubicBezTo>
                <a:close/>
                <a:moveTo>
                  <a:pt x="8702040" y="2298889"/>
                </a:moveTo>
                <a:cubicBezTo>
                  <a:pt x="8724265" y="2297619"/>
                  <a:pt x="8721725" y="2263329"/>
                  <a:pt x="8700135" y="2265234"/>
                </a:cubicBezTo>
                <a:cubicBezTo>
                  <a:pt x="8678545" y="2265869"/>
                  <a:pt x="8680450" y="2300159"/>
                  <a:pt x="8702040" y="2298889"/>
                </a:cubicBezTo>
                <a:close/>
                <a:moveTo>
                  <a:pt x="8679815" y="2202369"/>
                </a:moveTo>
                <a:cubicBezTo>
                  <a:pt x="8700135" y="2202369"/>
                  <a:pt x="8700135" y="2170619"/>
                  <a:pt x="8679815" y="2171254"/>
                </a:cubicBezTo>
                <a:cubicBezTo>
                  <a:pt x="8659495" y="2171254"/>
                  <a:pt x="8660130" y="2202369"/>
                  <a:pt x="8679815" y="2202369"/>
                </a:cubicBezTo>
                <a:close/>
                <a:moveTo>
                  <a:pt x="8684895" y="2380169"/>
                </a:moveTo>
                <a:cubicBezTo>
                  <a:pt x="8686800" y="2403664"/>
                  <a:pt x="8724265" y="2399854"/>
                  <a:pt x="8721725" y="2376359"/>
                </a:cubicBezTo>
                <a:cubicBezTo>
                  <a:pt x="8719185" y="2352864"/>
                  <a:pt x="8681720" y="2356674"/>
                  <a:pt x="8684895" y="2380169"/>
                </a:cubicBezTo>
                <a:close/>
                <a:moveTo>
                  <a:pt x="8690610" y="2107119"/>
                </a:moveTo>
                <a:cubicBezTo>
                  <a:pt x="8709025" y="2107754"/>
                  <a:pt x="8709025" y="2078544"/>
                  <a:pt x="8690610" y="2079179"/>
                </a:cubicBezTo>
                <a:cubicBezTo>
                  <a:pt x="8672830" y="2078544"/>
                  <a:pt x="8672830" y="2107119"/>
                  <a:pt x="8690610" y="2107119"/>
                </a:cubicBezTo>
                <a:close/>
                <a:moveTo>
                  <a:pt x="8710930" y="2015044"/>
                </a:moveTo>
                <a:cubicBezTo>
                  <a:pt x="8727440" y="2015679"/>
                  <a:pt x="8727440" y="1989644"/>
                  <a:pt x="8711565" y="1989644"/>
                </a:cubicBezTo>
                <a:cubicBezTo>
                  <a:pt x="8694420" y="1989009"/>
                  <a:pt x="8694420" y="2015044"/>
                  <a:pt x="8710930" y="2015044"/>
                </a:cubicBezTo>
                <a:close/>
                <a:moveTo>
                  <a:pt x="8721725" y="2474149"/>
                </a:moveTo>
                <a:cubicBezTo>
                  <a:pt x="8718550" y="2448749"/>
                  <a:pt x="8678545" y="2454464"/>
                  <a:pt x="8682355" y="2479864"/>
                </a:cubicBezTo>
                <a:cubicBezTo>
                  <a:pt x="8686165" y="2505264"/>
                  <a:pt x="8725535" y="2499549"/>
                  <a:pt x="8721725" y="2474149"/>
                </a:cubicBezTo>
                <a:close/>
                <a:moveTo>
                  <a:pt x="8754745" y="2199829"/>
                </a:moveTo>
                <a:cubicBezTo>
                  <a:pt x="8775065" y="2199829"/>
                  <a:pt x="8774430" y="2167444"/>
                  <a:pt x="8754110" y="2168714"/>
                </a:cubicBezTo>
                <a:cubicBezTo>
                  <a:pt x="8733790" y="2169349"/>
                  <a:pt x="8735060" y="2200464"/>
                  <a:pt x="8754745" y="2199829"/>
                </a:cubicBezTo>
                <a:close/>
                <a:moveTo>
                  <a:pt x="8759825" y="2106484"/>
                </a:moveTo>
                <a:cubicBezTo>
                  <a:pt x="8778240" y="2106484"/>
                  <a:pt x="8778240" y="2077274"/>
                  <a:pt x="8759190" y="2078544"/>
                </a:cubicBezTo>
                <a:cubicBezTo>
                  <a:pt x="8741410" y="2078544"/>
                  <a:pt x="8742045" y="2106484"/>
                  <a:pt x="8759825" y="2106484"/>
                </a:cubicBezTo>
                <a:close/>
                <a:moveTo>
                  <a:pt x="5309870" y="1019363"/>
                </a:moveTo>
                <a:cubicBezTo>
                  <a:pt x="5293995" y="1016188"/>
                  <a:pt x="5288915" y="1041588"/>
                  <a:pt x="5305425" y="1044129"/>
                </a:cubicBezTo>
                <a:cubicBezTo>
                  <a:pt x="5321935" y="1047938"/>
                  <a:pt x="5326380" y="1021904"/>
                  <a:pt x="5309870" y="1019363"/>
                </a:cubicBezTo>
                <a:close/>
                <a:moveTo>
                  <a:pt x="7705090" y="2677984"/>
                </a:moveTo>
                <a:cubicBezTo>
                  <a:pt x="7676515" y="2665919"/>
                  <a:pt x="7658100" y="2711004"/>
                  <a:pt x="7686675" y="2722434"/>
                </a:cubicBezTo>
                <a:cubicBezTo>
                  <a:pt x="7715250" y="2734499"/>
                  <a:pt x="7734300" y="2688779"/>
                  <a:pt x="7705090" y="2677984"/>
                </a:cubicBezTo>
                <a:close/>
                <a:moveTo>
                  <a:pt x="7699375" y="2806254"/>
                </a:moveTo>
                <a:cubicBezTo>
                  <a:pt x="7668895" y="2793554"/>
                  <a:pt x="7649845" y="2841814"/>
                  <a:pt x="7680325" y="2853244"/>
                </a:cubicBezTo>
                <a:cubicBezTo>
                  <a:pt x="7710806" y="2866579"/>
                  <a:pt x="7730490" y="2818319"/>
                  <a:pt x="7699375" y="2806254"/>
                </a:cubicBezTo>
                <a:close/>
                <a:moveTo>
                  <a:pt x="7764145" y="2572574"/>
                </a:moveTo>
                <a:cubicBezTo>
                  <a:pt x="7736840" y="2561779"/>
                  <a:pt x="7720331" y="2604324"/>
                  <a:pt x="7747635" y="2614484"/>
                </a:cubicBezTo>
                <a:lnTo>
                  <a:pt x="7747635" y="2614484"/>
                </a:lnTo>
                <a:cubicBezTo>
                  <a:pt x="7774940" y="2625279"/>
                  <a:pt x="7792085" y="2582734"/>
                  <a:pt x="7764145" y="2572574"/>
                </a:cubicBezTo>
                <a:close/>
                <a:moveTo>
                  <a:pt x="7725410" y="2308414"/>
                </a:moveTo>
                <a:cubicBezTo>
                  <a:pt x="7701915" y="2298254"/>
                  <a:pt x="7686040" y="2335084"/>
                  <a:pt x="7710170" y="2344609"/>
                </a:cubicBezTo>
                <a:cubicBezTo>
                  <a:pt x="7733031" y="2355404"/>
                  <a:pt x="7749540" y="2317939"/>
                  <a:pt x="7725410" y="2308414"/>
                </a:cubicBezTo>
                <a:close/>
                <a:moveTo>
                  <a:pt x="7569200" y="2258249"/>
                </a:moveTo>
                <a:cubicBezTo>
                  <a:pt x="7581265" y="2235389"/>
                  <a:pt x="7545070" y="2217609"/>
                  <a:pt x="7533640" y="2240469"/>
                </a:cubicBezTo>
                <a:cubicBezTo>
                  <a:pt x="7521575" y="2263329"/>
                  <a:pt x="7557770" y="2281744"/>
                  <a:pt x="7569200" y="2258249"/>
                </a:cubicBezTo>
                <a:close/>
                <a:moveTo>
                  <a:pt x="7588250" y="2519869"/>
                </a:moveTo>
                <a:cubicBezTo>
                  <a:pt x="7601585" y="2493834"/>
                  <a:pt x="7560310" y="2473514"/>
                  <a:pt x="7547610" y="2500184"/>
                </a:cubicBezTo>
                <a:cubicBezTo>
                  <a:pt x="7534275" y="2526219"/>
                  <a:pt x="7575550" y="2546539"/>
                  <a:pt x="7588250" y="2519869"/>
                </a:cubicBezTo>
                <a:close/>
                <a:moveTo>
                  <a:pt x="7595870" y="2761804"/>
                </a:moveTo>
                <a:cubicBezTo>
                  <a:pt x="7566025" y="2747199"/>
                  <a:pt x="7544435" y="2794189"/>
                  <a:pt x="7574281" y="2808159"/>
                </a:cubicBezTo>
                <a:cubicBezTo>
                  <a:pt x="7603490" y="2822129"/>
                  <a:pt x="7625715" y="2775139"/>
                  <a:pt x="7595870" y="2761804"/>
                </a:cubicBezTo>
                <a:close/>
                <a:moveTo>
                  <a:pt x="7651750" y="2297619"/>
                </a:moveTo>
                <a:cubicBezTo>
                  <a:pt x="7662545" y="2274759"/>
                  <a:pt x="7626350" y="2257614"/>
                  <a:pt x="7615556" y="2281109"/>
                </a:cubicBezTo>
                <a:cubicBezTo>
                  <a:pt x="7604760" y="2303969"/>
                  <a:pt x="7641590" y="2321114"/>
                  <a:pt x="7651750" y="2297619"/>
                </a:cubicBezTo>
                <a:close/>
                <a:moveTo>
                  <a:pt x="7606665" y="2634169"/>
                </a:moveTo>
                <a:cubicBezTo>
                  <a:pt x="7578725" y="2620199"/>
                  <a:pt x="7557770" y="2664649"/>
                  <a:pt x="7586345" y="2677349"/>
                </a:cubicBezTo>
                <a:cubicBezTo>
                  <a:pt x="7614285" y="2691319"/>
                  <a:pt x="7635240" y="2647504"/>
                  <a:pt x="7606665" y="2634169"/>
                </a:cubicBezTo>
                <a:close/>
                <a:moveTo>
                  <a:pt x="7681595" y="2563049"/>
                </a:moveTo>
                <a:cubicBezTo>
                  <a:pt x="7693660" y="2536379"/>
                  <a:pt x="7651750" y="2517964"/>
                  <a:pt x="7640320" y="2544634"/>
                </a:cubicBezTo>
                <a:cubicBezTo>
                  <a:pt x="7628256" y="2571304"/>
                  <a:pt x="7670165" y="2590354"/>
                  <a:pt x="7681595" y="2563049"/>
                </a:cubicBezTo>
                <a:close/>
                <a:moveTo>
                  <a:pt x="7805420" y="2844989"/>
                </a:moveTo>
                <a:cubicBezTo>
                  <a:pt x="7774306" y="2834194"/>
                  <a:pt x="7757795" y="2883089"/>
                  <a:pt x="7789545" y="2893248"/>
                </a:cubicBezTo>
                <a:cubicBezTo>
                  <a:pt x="7820025" y="2904679"/>
                  <a:pt x="7836535" y="2855148"/>
                  <a:pt x="7805420" y="2844989"/>
                </a:cubicBezTo>
                <a:close/>
                <a:moveTo>
                  <a:pt x="7957820" y="2636074"/>
                </a:moveTo>
                <a:cubicBezTo>
                  <a:pt x="7929881" y="2627819"/>
                  <a:pt x="7917815" y="2672269"/>
                  <a:pt x="7945756" y="2679889"/>
                </a:cubicBezTo>
                <a:cubicBezTo>
                  <a:pt x="7973695" y="2688144"/>
                  <a:pt x="7986395" y="2643059"/>
                  <a:pt x="7957820" y="2636074"/>
                </a:cubicBezTo>
                <a:close/>
                <a:moveTo>
                  <a:pt x="7995285" y="2424619"/>
                </a:moveTo>
                <a:cubicBezTo>
                  <a:pt x="8002906" y="2399854"/>
                  <a:pt x="7964170" y="2389059"/>
                  <a:pt x="7957185" y="2413824"/>
                </a:cubicBezTo>
                <a:cubicBezTo>
                  <a:pt x="7950200" y="2437954"/>
                  <a:pt x="7988935" y="2449384"/>
                  <a:pt x="7995285" y="2424619"/>
                </a:cubicBezTo>
                <a:close/>
                <a:moveTo>
                  <a:pt x="8011795" y="2773869"/>
                </a:moveTo>
                <a:cubicBezTo>
                  <a:pt x="7978140" y="2766249"/>
                  <a:pt x="7972425" y="2821494"/>
                  <a:pt x="8006715" y="2821494"/>
                </a:cubicBezTo>
                <a:cubicBezTo>
                  <a:pt x="8034020" y="2822129"/>
                  <a:pt x="8039100" y="2778949"/>
                  <a:pt x="8011795" y="2773869"/>
                </a:cubicBezTo>
                <a:close/>
                <a:moveTo>
                  <a:pt x="7913370" y="2877373"/>
                </a:moveTo>
                <a:cubicBezTo>
                  <a:pt x="7881620" y="2868484"/>
                  <a:pt x="7868285" y="2918648"/>
                  <a:pt x="7900670" y="2926269"/>
                </a:cubicBezTo>
                <a:cubicBezTo>
                  <a:pt x="7931785" y="2935159"/>
                  <a:pt x="7945120" y="2884994"/>
                  <a:pt x="7913370" y="2877373"/>
                </a:cubicBezTo>
                <a:close/>
                <a:moveTo>
                  <a:pt x="7809865" y="2342069"/>
                </a:moveTo>
                <a:cubicBezTo>
                  <a:pt x="7786370" y="2332544"/>
                  <a:pt x="7771765" y="2370009"/>
                  <a:pt x="7795895" y="2378899"/>
                </a:cubicBezTo>
                <a:cubicBezTo>
                  <a:pt x="7819390" y="2388424"/>
                  <a:pt x="7833995" y="2350959"/>
                  <a:pt x="7809865" y="2342069"/>
                </a:cubicBezTo>
                <a:close/>
                <a:moveTo>
                  <a:pt x="7860031" y="2606864"/>
                </a:moveTo>
                <a:cubicBezTo>
                  <a:pt x="7832090" y="2597339"/>
                  <a:pt x="7818120" y="2641154"/>
                  <a:pt x="7846060" y="2650044"/>
                </a:cubicBezTo>
                <a:cubicBezTo>
                  <a:pt x="7873365" y="2659569"/>
                  <a:pt x="7887970" y="2615754"/>
                  <a:pt x="7860031" y="2606864"/>
                </a:cubicBezTo>
                <a:close/>
                <a:moveTo>
                  <a:pt x="7861935" y="2482404"/>
                </a:moveTo>
                <a:cubicBezTo>
                  <a:pt x="7835900" y="2472879"/>
                  <a:pt x="7821931" y="2514154"/>
                  <a:pt x="7847965" y="2522409"/>
                </a:cubicBezTo>
                <a:cubicBezTo>
                  <a:pt x="7874000" y="2531934"/>
                  <a:pt x="7887970" y="2491294"/>
                  <a:pt x="7861935" y="2482404"/>
                </a:cubicBezTo>
                <a:close/>
                <a:moveTo>
                  <a:pt x="7894320" y="2794189"/>
                </a:moveTo>
                <a:cubicBezTo>
                  <a:pt x="7923531" y="2803079"/>
                  <a:pt x="7937500" y="2756089"/>
                  <a:pt x="7907656" y="2747834"/>
                </a:cubicBezTo>
                <a:cubicBezTo>
                  <a:pt x="7877810" y="2738944"/>
                  <a:pt x="7864475" y="2785934"/>
                  <a:pt x="7894320" y="2794189"/>
                </a:cubicBezTo>
                <a:close/>
                <a:moveTo>
                  <a:pt x="7460615" y="2224594"/>
                </a:moveTo>
                <a:cubicBezTo>
                  <a:pt x="7482840" y="2237294"/>
                  <a:pt x="7501890" y="2201734"/>
                  <a:pt x="7479031" y="2189669"/>
                </a:cubicBezTo>
                <a:cubicBezTo>
                  <a:pt x="7456806" y="2177604"/>
                  <a:pt x="7437756" y="2213164"/>
                  <a:pt x="7460615" y="2224594"/>
                </a:cubicBezTo>
                <a:close/>
                <a:moveTo>
                  <a:pt x="7395845" y="2656394"/>
                </a:moveTo>
                <a:cubicBezTo>
                  <a:pt x="7367906" y="2639249"/>
                  <a:pt x="7341235" y="2684334"/>
                  <a:pt x="7370445" y="2700209"/>
                </a:cubicBezTo>
                <a:cubicBezTo>
                  <a:pt x="7397750" y="2717354"/>
                  <a:pt x="7424420" y="2672904"/>
                  <a:pt x="7395845" y="2656394"/>
                </a:cubicBezTo>
                <a:close/>
                <a:moveTo>
                  <a:pt x="7324090" y="2478594"/>
                </a:moveTo>
                <a:cubicBezTo>
                  <a:pt x="7298056" y="2461449"/>
                  <a:pt x="7272020" y="2502724"/>
                  <a:pt x="7298690" y="2519234"/>
                </a:cubicBezTo>
                <a:cubicBezTo>
                  <a:pt x="7324090" y="2536379"/>
                  <a:pt x="7350760" y="2495104"/>
                  <a:pt x="7324090" y="2478594"/>
                </a:cubicBezTo>
                <a:close/>
                <a:moveTo>
                  <a:pt x="7298690" y="2597339"/>
                </a:moveTo>
                <a:cubicBezTo>
                  <a:pt x="7271385" y="2578924"/>
                  <a:pt x="7243445" y="2622739"/>
                  <a:pt x="7271385" y="2640519"/>
                </a:cubicBezTo>
                <a:cubicBezTo>
                  <a:pt x="7298690" y="2658299"/>
                  <a:pt x="7327265" y="2615119"/>
                  <a:pt x="7298690" y="2597339"/>
                </a:cubicBezTo>
                <a:close/>
                <a:moveTo>
                  <a:pt x="7366635" y="1780729"/>
                </a:moveTo>
                <a:cubicBezTo>
                  <a:pt x="7373620" y="1764219"/>
                  <a:pt x="7347585" y="1752788"/>
                  <a:pt x="7340600" y="1769934"/>
                </a:cubicBezTo>
                <a:cubicBezTo>
                  <a:pt x="7333615" y="1787079"/>
                  <a:pt x="7359650" y="1797874"/>
                  <a:pt x="7366635" y="1780729"/>
                </a:cubicBezTo>
                <a:close/>
                <a:moveTo>
                  <a:pt x="7340600" y="2231579"/>
                </a:moveTo>
                <a:cubicBezTo>
                  <a:pt x="7317106" y="2216974"/>
                  <a:pt x="7294881" y="2253804"/>
                  <a:pt x="7318375" y="2267774"/>
                </a:cubicBezTo>
                <a:cubicBezTo>
                  <a:pt x="7341870" y="2282379"/>
                  <a:pt x="7364731" y="2245549"/>
                  <a:pt x="7340600" y="2231579"/>
                </a:cubicBezTo>
                <a:close/>
                <a:moveTo>
                  <a:pt x="7204710" y="2534474"/>
                </a:moveTo>
                <a:cubicBezTo>
                  <a:pt x="7178040" y="2515424"/>
                  <a:pt x="7148195" y="2557969"/>
                  <a:pt x="7176135" y="2576384"/>
                </a:cubicBezTo>
                <a:cubicBezTo>
                  <a:pt x="7202170" y="2595434"/>
                  <a:pt x="7232015" y="2552889"/>
                  <a:pt x="7204710" y="2534474"/>
                </a:cubicBezTo>
                <a:close/>
                <a:moveTo>
                  <a:pt x="7145020" y="2357944"/>
                </a:moveTo>
                <a:cubicBezTo>
                  <a:pt x="7120256" y="2339529"/>
                  <a:pt x="7091681" y="2378899"/>
                  <a:pt x="7117081" y="2396679"/>
                </a:cubicBezTo>
                <a:cubicBezTo>
                  <a:pt x="7141845" y="2415094"/>
                  <a:pt x="7171056" y="2375724"/>
                  <a:pt x="7145020" y="2357944"/>
                </a:cubicBezTo>
                <a:close/>
                <a:moveTo>
                  <a:pt x="7233920" y="2419539"/>
                </a:moveTo>
                <a:cubicBezTo>
                  <a:pt x="7208520" y="2401759"/>
                  <a:pt x="7181215" y="2442399"/>
                  <a:pt x="7207250" y="2459544"/>
                </a:cubicBezTo>
                <a:cubicBezTo>
                  <a:pt x="7232015" y="2477324"/>
                  <a:pt x="7259956" y="2436684"/>
                  <a:pt x="7233920" y="2419539"/>
                </a:cubicBezTo>
                <a:close/>
                <a:moveTo>
                  <a:pt x="7265035" y="2209354"/>
                </a:moveTo>
                <a:cubicBezTo>
                  <a:pt x="7280275" y="2186494"/>
                  <a:pt x="7244081" y="2162999"/>
                  <a:pt x="7229475" y="2186494"/>
                </a:cubicBezTo>
                <a:cubicBezTo>
                  <a:pt x="7214235" y="2208719"/>
                  <a:pt x="7250431" y="2232214"/>
                  <a:pt x="7265035" y="2209354"/>
                </a:cubicBezTo>
                <a:close/>
                <a:moveTo>
                  <a:pt x="7510781" y="2586544"/>
                </a:moveTo>
                <a:cubicBezTo>
                  <a:pt x="7483475" y="2571939"/>
                  <a:pt x="7460615" y="2615119"/>
                  <a:pt x="7488556" y="2629089"/>
                </a:cubicBezTo>
                <a:cubicBezTo>
                  <a:pt x="7515225" y="2643694"/>
                  <a:pt x="7538085" y="2600514"/>
                  <a:pt x="7510781" y="2586544"/>
                </a:cubicBezTo>
                <a:close/>
                <a:moveTo>
                  <a:pt x="7494270" y="2711639"/>
                </a:moveTo>
                <a:cubicBezTo>
                  <a:pt x="7465060" y="2695764"/>
                  <a:pt x="7440931" y="2741484"/>
                  <a:pt x="7470775" y="2756724"/>
                </a:cubicBezTo>
                <a:cubicBezTo>
                  <a:pt x="7499350" y="2772599"/>
                  <a:pt x="7524115" y="2726879"/>
                  <a:pt x="7494270" y="2711639"/>
                </a:cubicBezTo>
                <a:close/>
                <a:moveTo>
                  <a:pt x="7465695" y="2482404"/>
                </a:moveTo>
                <a:cubicBezTo>
                  <a:pt x="7491095" y="2497009"/>
                  <a:pt x="7513320" y="2456369"/>
                  <a:pt x="7487285" y="2443034"/>
                </a:cubicBezTo>
                <a:cubicBezTo>
                  <a:pt x="7461885" y="2428429"/>
                  <a:pt x="7439660" y="2469069"/>
                  <a:pt x="7465695" y="2482404"/>
                </a:cubicBezTo>
                <a:close/>
                <a:moveTo>
                  <a:pt x="8023225" y="2901504"/>
                </a:moveTo>
                <a:cubicBezTo>
                  <a:pt x="7990840" y="2895154"/>
                  <a:pt x="7981315" y="2945954"/>
                  <a:pt x="8013700" y="2951669"/>
                </a:cubicBezTo>
                <a:cubicBezTo>
                  <a:pt x="8045450" y="2958019"/>
                  <a:pt x="8055610" y="2907219"/>
                  <a:pt x="8023225" y="2901504"/>
                </a:cubicBezTo>
                <a:close/>
                <a:moveTo>
                  <a:pt x="7532370" y="2145219"/>
                </a:moveTo>
                <a:cubicBezTo>
                  <a:pt x="7553325" y="2156014"/>
                  <a:pt x="7569835" y="2122359"/>
                  <a:pt x="7548245" y="2112199"/>
                </a:cubicBezTo>
                <a:cubicBezTo>
                  <a:pt x="7527290" y="2101404"/>
                  <a:pt x="7510781" y="2135059"/>
                  <a:pt x="7532370" y="2145219"/>
                </a:cubicBezTo>
                <a:lnTo>
                  <a:pt x="7532370" y="2145219"/>
                </a:lnTo>
                <a:close/>
                <a:moveTo>
                  <a:pt x="7424420" y="2280474"/>
                </a:moveTo>
                <a:cubicBezTo>
                  <a:pt x="7400925" y="2266504"/>
                  <a:pt x="7379335" y="2303969"/>
                  <a:pt x="7403465" y="2317304"/>
                </a:cubicBezTo>
                <a:lnTo>
                  <a:pt x="7403465" y="2317304"/>
                </a:lnTo>
                <a:cubicBezTo>
                  <a:pt x="7426960" y="2331274"/>
                  <a:pt x="7448550" y="2293809"/>
                  <a:pt x="7424420" y="2280474"/>
                </a:cubicBezTo>
                <a:close/>
                <a:moveTo>
                  <a:pt x="7416165" y="2534474"/>
                </a:moveTo>
                <a:cubicBezTo>
                  <a:pt x="7389495" y="2518599"/>
                  <a:pt x="7364731" y="2560509"/>
                  <a:pt x="7392035" y="2575749"/>
                </a:cubicBezTo>
                <a:cubicBezTo>
                  <a:pt x="7418706" y="2592259"/>
                  <a:pt x="7443470" y="2549714"/>
                  <a:pt x="7416165" y="2534474"/>
                </a:cubicBezTo>
                <a:close/>
                <a:moveTo>
                  <a:pt x="7454900" y="2105849"/>
                </a:moveTo>
                <a:cubicBezTo>
                  <a:pt x="7475856" y="2117279"/>
                  <a:pt x="7493000" y="2083624"/>
                  <a:pt x="7472045" y="2073463"/>
                </a:cubicBezTo>
                <a:cubicBezTo>
                  <a:pt x="7451090" y="2062034"/>
                  <a:pt x="7433945" y="2095688"/>
                  <a:pt x="7454900" y="2105849"/>
                </a:cubicBezTo>
                <a:lnTo>
                  <a:pt x="7454900" y="2105849"/>
                </a:lnTo>
                <a:close/>
                <a:moveTo>
                  <a:pt x="7459345" y="1877249"/>
                </a:moveTo>
                <a:cubicBezTo>
                  <a:pt x="7436485" y="1867724"/>
                  <a:pt x="7428231" y="1906459"/>
                  <a:pt x="7452995" y="1907094"/>
                </a:cubicBezTo>
                <a:cubicBezTo>
                  <a:pt x="7469506" y="1907729"/>
                  <a:pt x="7474585" y="1883599"/>
                  <a:pt x="7459345" y="1877249"/>
                </a:cubicBezTo>
                <a:close/>
                <a:moveTo>
                  <a:pt x="8580120" y="2894519"/>
                </a:moveTo>
                <a:cubicBezTo>
                  <a:pt x="8547735" y="2900869"/>
                  <a:pt x="8559165" y="2951669"/>
                  <a:pt x="8590915" y="2944048"/>
                </a:cubicBezTo>
                <a:cubicBezTo>
                  <a:pt x="8623300" y="2937698"/>
                  <a:pt x="8611870" y="2886898"/>
                  <a:pt x="8580120" y="2894519"/>
                </a:cubicBezTo>
                <a:close/>
                <a:moveTo>
                  <a:pt x="9139555" y="2566224"/>
                </a:moveTo>
                <a:cubicBezTo>
                  <a:pt x="9139555" y="2566224"/>
                  <a:pt x="9139555" y="2566224"/>
                  <a:pt x="9139555" y="2566224"/>
                </a:cubicBezTo>
                <a:cubicBezTo>
                  <a:pt x="9112885" y="2582099"/>
                  <a:pt x="9138285" y="2624009"/>
                  <a:pt x="9164320" y="2607499"/>
                </a:cubicBezTo>
                <a:cubicBezTo>
                  <a:pt x="9190990" y="2592259"/>
                  <a:pt x="9166225" y="2550349"/>
                  <a:pt x="9139555" y="2566224"/>
                </a:cubicBezTo>
                <a:close/>
                <a:moveTo>
                  <a:pt x="8676005" y="2789109"/>
                </a:moveTo>
                <a:cubicBezTo>
                  <a:pt x="8651240" y="2730689"/>
                  <a:pt x="8595360" y="2821494"/>
                  <a:pt x="8658225" y="2817684"/>
                </a:cubicBezTo>
                <a:lnTo>
                  <a:pt x="8658225" y="2817684"/>
                </a:lnTo>
                <a:cubicBezTo>
                  <a:pt x="8670925" y="2814509"/>
                  <a:pt x="8679180" y="2801809"/>
                  <a:pt x="8676005" y="2789109"/>
                </a:cubicBezTo>
                <a:close/>
                <a:moveTo>
                  <a:pt x="8642350" y="2586544"/>
                </a:moveTo>
                <a:cubicBezTo>
                  <a:pt x="8639175" y="2559239"/>
                  <a:pt x="8596630" y="2564954"/>
                  <a:pt x="8600440" y="2592259"/>
                </a:cubicBezTo>
                <a:cubicBezTo>
                  <a:pt x="8603615" y="2619564"/>
                  <a:pt x="8646795" y="2613849"/>
                  <a:pt x="8642350" y="2586544"/>
                </a:cubicBezTo>
                <a:close/>
                <a:moveTo>
                  <a:pt x="8738235" y="2569399"/>
                </a:moveTo>
                <a:cubicBezTo>
                  <a:pt x="8733155" y="2542094"/>
                  <a:pt x="8691245" y="2550349"/>
                  <a:pt x="8696960" y="2577654"/>
                </a:cubicBezTo>
                <a:cubicBezTo>
                  <a:pt x="8702040" y="2604959"/>
                  <a:pt x="8743950" y="2596069"/>
                  <a:pt x="8738235" y="2569399"/>
                </a:cubicBezTo>
                <a:close/>
                <a:moveTo>
                  <a:pt x="8688705" y="2866579"/>
                </a:moveTo>
                <a:cubicBezTo>
                  <a:pt x="8656955" y="2875469"/>
                  <a:pt x="8672195" y="2924998"/>
                  <a:pt x="8703310" y="2915473"/>
                </a:cubicBezTo>
                <a:cubicBezTo>
                  <a:pt x="8735060" y="2905948"/>
                  <a:pt x="8719820" y="2856419"/>
                  <a:pt x="8688705" y="2866579"/>
                </a:cubicBezTo>
                <a:close/>
                <a:moveTo>
                  <a:pt x="8522970" y="2577654"/>
                </a:moveTo>
                <a:cubicBezTo>
                  <a:pt x="8495665" y="2578924"/>
                  <a:pt x="8498205" y="2622104"/>
                  <a:pt x="8526145" y="2619564"/>
                </a:cubicBezTo>
                <a:cubicBezTo>
                  <a:pt x="8553450" y="2618294"/>
                  <a:pt x="8550910" y="2575114"/>
                  <a:pt x="8522970" y="2577654"/>
                </a:cubicBezTo>
                <a:close/>
                <a:moveTo>
                  <a:pt x="8569325" y="2811334"/>
                </a:moveTo>
                <a:cubicBezTo>
                  <a:pt x="8549005" y="2751644"/>
                  <a:pt x="8486140" y="2838004"/>
                  <a:pt x="8549005" y="2838639"/>
                </a:cubicBezTo>
                <a:cubicBezTo>
                  <a:pt x="8562340" y="2836734"/>
                  <a:pt x="8571865" y="2824669"/>
                  <a:pt x="8569325" y="2811334"/>
                </a:cubicBezTo>
                <a:close/>
                <a:moveTo>
                  <a:pt x="8469630" y="2913569"/>
                </a:moveTo>
                <a:cubicBezTo>
                  <a:pt x="8436610" y="2917379"/>
                  <a:pt x="8444230" y="2968814"/>
                  <a:pt x="8476615" y="2963734"/>
                </a:cubicBezTo>
                <a:cubicBezTo>
                  <a:pt x="8509000" y="2960559"/>
                  <a:pt x="8502015" y="2909123"/>
                  <a:pt x="8469630" y="2913569"/>
                </a:cubicBezTo>
                <a:close/>
                <a:moveTo>
                  <a:pt x="8549640" y="2838639"/>
                </a:moveTo>
                <a:lnTo>
                  <a:pt x="8549640" y="2838639"/>
                </a:lnTo>
                <a:cubicBezTo>
                  <a:pt x="8549640" y="2838639"/>
                  <a:pt x="8549640" y="2838639"/>
                  <a:pt x="8549640" y="2838639"/>
                </a:cubicBezTo>
                <a:cubicBezTo>
                  <a:pt x="8549640" y="2838639"/>
                  <a:pt x="8549640" y="2838639"/>
                  <a:pt x="8549640" y="2838639"/>
                </a:cubicBezTo>
                <a:close/>
                <a:moveTo>
                  <a:pt x="8519795" y="2512249"/>
                </a:moveTo>
                <a:cubicBezTo>
                  <a:pt x="8545830" y="2512249"/>
                  <a:pt x="8545195" y="2471609"/>
                  <a:pt x="8519160" y="2472879"/>
                </a:cubicBezTo>
                <a:cubicBezTo>
                  <a:pt x="8493760" y="2472879"/>
                  <a:pt x="8494395" y="2512249"/>
                  <a:pt x="8519795" y="2512249"/>
                </a:cubicBezTo>
                <a:close/>
                <a:moveTo>
                  <a:pt x="8950325" y="2666554"/>
                </a:moveTo>
                <a:cubicBezTo>
                  <a:pt x="8921750" y="2679254"/>
                  <a:pt x="8942705" y="2723704"/>
                  <a:pt x="8970010" y="2710369"/>
                </a:cubicBezTo>
                <a:cubicBezTo>
                  <a:pt x="8998585" y="2697669"/>
                  <a:pt x="8978265" y="2653219"/>
                  <a:pt x="8950325" y="2666554"/>
                </a:cubicBezTo>
                <a:close/>
                <a:moveTo>
                  <a:pt x="8999220" y="2735769"/>
                </a:moveTo>
                <a:cubicBezTo>
                  <a:pt x="8970010" y="2751009"/>
                  <a:pt x="8994775" y="2796729"/>
                  <a:pt x="9023350" y="2780219"/>
                </a:cubicBezTo>
                <a:lnTo>
                  <a:pt x="9023350" y="2780219"/>
                </a:lnTo>
                <a:cubicBezTo>
                  <a:pt x="9052560" y="2765614"/>
                  <a:pt x="9027795" y="2719894"/>
                  <a:pt x="8999220" y="2735769"/>
                </a:cubicBezTo>
                <a:close/>
                <a:moveTo>
                  <a:pt x="9046210" y="2619564"/>
                </a:moveTo>
                <a:cubicBezTo>
                  <a:pt x="9018270" y="2633534"/>
                  <a:pt x="9041765" y="2676714"/>
                  <a:pt x="9068435" y="2662109"/>
                </a:cubicBezTo>
                <a:cubicBezTo>
                  <a:pt x="9096375" y="2647504"/>
                  <a:pt x="9073515" y="2604324"/>
                  <a:pt x="9046210" y="2619564"/>
                </a:cubicBezTo>
                <a:close/>
                <a:moveTo>
                  <a:pt x="9097010" y="2679254"/>
                </a:moveTo>
                <a:cubicBezTo>
                  <a:pt x="9068435" y="2696399"/>
                  <a:pt x="9096375" y="2740214"/>
                  <a:pt x="9123680" y="2722434"/>
                </a:cubicBezTo>
                <a:cubicBezTo>
                  <a:pt x="9151620" y="2705289"/>
                  <a:pt x="9124315" y="2661474"/>
                  <a:pt x="9097010" y="2679254"/>
                </a:cubicBezTo>
                <a:close/>
                <a:moveTo>
                  <a:pt x="8794750" y="2830384"/>
                </a:moveTo>
                <a:cubicBezTo>
                  <a:pt x="8763635" y="2841814"/>
                  <a:pt x="8782685" y="2890073"/>
                  <a:pt x="8813165" y="2878009"/>
                </a:cubicBezTo>
                <a:cubicBezTo>
                  <a:pt x="8844280" y="2866579"/>
                  <a:pt x="8825865" y="2817684"/>
                  <a:pt x="8794750" y="2830384"/>
                </a:cubicBezTo>
                <a:close/>
                <a:moveTo>
                  <a:pt x="8056881" y="2659569"/>
                </a:moveTo>
                <a:cubicBezTo>
                  <a:pt x="8028306" y="2653219"/>
                  <a:pt x="8018781" y="2698304"/>
                  <a:pt x="8047990" y="2704019"/>
                </a:cubicBezTo>
                <a:cubicBezTo>
                  <a:pt x="8075931" y="2710369"/>
                  <a:pt x="8085456" y="2665284"/>
                  <a:pt x="8056881" y="2659569"/>
                </a:cubicBezTo>
                <a:close/>
                <a:moveTo>
                  <a:pt x="8780145" y="2759264"/>
                </a:moveTo>
                <a:cubicBezTo>
                  <a:pt x="8771255" y="2729419"/>
                  <a:pt x="8724900" y="2744024"/>
                  <a:pt x="8734425" y="2773234"/>
                </a:cubicBezTo>
                <a:cubicBezTo>
                  <a:pt x="8743315" y="2803079"/>
                  <a:pt x="8789670" y="2788474"/>
                  <a:pt x="8780145" y="2759264"/>
                </a:cubicBezTo>
                <a:close/>
                <a:moveTo>
                  <a:pt x="8807450" y="2531299"/>
                </a:moveTo>
                <a:cubicBezTo>
                  <a:pt x="8780780" y="2537649"/>
                  <a:pt x="8791575" y="2579559"/>
                  <a:pt x="8818245" y="2572574"/>
                </a:cubicBezTo>
                <a:cubicBezTo>
                  <a:pt x="8844280" y="2566224"/>
                  <a:pt x="8833485" y="2524314"/>
                  <a:pt x="8807450" y="2531299"/>
                </a:cubicBezTo>
                <a:close/>
                <a:moveTo>
                  <a:pt x="8837295" y="2739579"/>
                </a:moveTo>
                <a:cubicBezTo>
                  <a:pt x="8848090" y="2768789"/>
                  <a:pt x="8893810" y="2751009"/>
                  <a:pt x="8882380" y="2722434"/>
                </a:cubicBezTo>
                <a:cubicBezTo>
                  <a:pt x="8871585" y="2693224"/>
                  <a:pt x="8825865" y="2710369"/>
                  <a:pt x="8837295" y="2739579"/>
                </a:cubicBezTo>
                <a:close/>
                <a:moveTo>
                  <a:pt x="8898890" y="2786569"/>
                </a:moveTo>
                <a:cubicBezTo>
                  <a:pt x="8868410" y="2799904"/>
                  <a:pt x="8890635" y="2846894"/>
                  <a:pt x="8920480" y="2832924"/>
                </a:cubicBezTo>
                <a:cubicBezTo>
                  <a:pt x="8950325" y="2818954"/>
                  <a:pt x="8928100" y="2771964"/>
                  <a:pt x="8898890" y="2786569"/>
                </a:cubicBezTo>
                <a:close/>
                <a:moveTo>
                  <a:pt x="8133715" y="2918014"/>
                </a:moveTo>
                <a:cubicBezTo>
                  <a:pt x="8101331" y="2914204"/>
                  <a:pt x="8095615" y="2965639"/>
                  <a:pt x="8128000" y="2968814"/>
                </a:cubicBezTo>
                <a:cubicBezTo>
                  <a:pt x="8161020" y="2972623"/>
                  <a:pt x="8166735" y="2921189"/>
                  <a:pt x="8133715" y="2918014"/>
                </a:cubicBezTo>
                <a:close/>
                <a:moveTo>
                  <a:pt x="8156575" y="2677349"/>
                </a:moveTo>
                <a:cubicBezTo>
                  <a:pt x="8128000" y="2672904"/>
                  <a:pt x="8121015" y="2718624"/>
                  <a:pt x="8150225" y="2721799"/>
                </a:cubicBezTo>
                <a:cubicBezTo>
                  <a:pt x="8178800" y="2726879"/>
                  <a:pt x="8185785" y="2681159"/>
                  <a:pt x="8156575" y="2677349"/>
                </a:cubicBezTo>
                <a:close/>
                <a:moveTo>
                  <a:pt x="8207375" y="2357309"/>
                </a:moveTo>
                <a:cubicBezTo>
                  <a:pt x="8212456" y="2333814"/>
                  <a:pt x="8175625" y="2326829"/>
                  <a:pt x="8171181" y="2350324"/>
                </a:cubicBezTo>
                <a:cubicBezTo>
                  <a:pt x="8166100" y="2373184"/>
                  <a:pt x="8202931" y="2380804"/>
                  <a:pt x="8207375" y="2357309"/>
                </a:cubicBezTo>
                <a:close/>
                <a:moveTo>
                  <a:pt x="8244840" y="2829749"/>
                </a:moveTo>
                <a:cubicBezTo>
                  <a:pt x="8247381" y="2798634"/>
                  <a:pt x="8198485" y="2795459"/>
                  <a:pt x="8197215" y="2826574"/>
                </a:cubicBezTo>
                <a:cubicBezTo>
                  <a:pt x="8194675" y="2857689"/>
                  <a:pt x="8242935" y="2860864"/>
                  <a:pt x="8244840" y="2829749"/>
                </a:cubicBezTo>
                <a:close/>
                <a:moveTo>
                  <a:pt x="8102600" y="2118549"/>
                </a:moveTo>
                <a:cubicBezTo>
                  <a:pt x="8107681" y="2098864"/>
                  <a:pt x="8077200" y="2091244"/>
                  <a:pt x="8072120" y="2110929"/>
                </a:cubicBezTo>
                <a:cubicBezTo>
                  <a:pt x="8067040" y="2130614"/>
                  <a:pt x="8097520" y="2138234"/>
                  <a:pt x="8102600" y="2118549"/>
                </a:cubicBezTo>
                <a:close/>
                <a:moveTo>
                  <a:pt x="8070215" y="2423349"/>
                </a:moveTo>
                <a:cubicBezTo>
                  <a:pt x="8045450" y="2416999"/>
                  <a:pt x="8035925" y="2456369"/>
                  <a:pt x="8060690" y="2461449"/>
                </a:cubicBezTo>
                <a:cubicBezTo>
                  <a:pt x="8085456" y="2468434"/>
                  <a:pt x="8094981" y="2429064"/>
                  <a:pt x="8070215" y="2423349"/>
                </a:cubicBezTo>
                <a:close/>
                <a:moveTo>
                  <a:pt x="8245475" y="2925634"/>
                </a:moveTo>
                <a:cubicBezTo>
                  <a:pt x="8211820" y="2924364"/>
                  <a:pt x="8211185" y="2977069"/>
                  <a:pt x="8244840" y="2976434"/>
                </a:cubicBezTo>
                <a:cubicBezTo>
                  <a:pt x="8277225" y="2977069"/>
                  <a:pt x="8277860" y="2926269"/>
                  <a:pt x="8245475" y="2925634"/>
                </a:cubicBezTo>
                <a:close/>
                <a:moveTo>
                  <a:pt x="8100695" y="2353499"/>
                </a:moveTo>
                <a:cubicBezTo>
                  <a:pt x="8123556" y="2359214"/>
                  <a:pt x="8132445" y="2323019"/>
                  <a:pt x="8108950" y="2317939"/>
                </a:cubicBezTo>
                <a:cubicBezTo>
                  <a:pt x="8086090" y="2312224"/>
                  <a:pt x="8077200" y="2348419"/>
                  <a:pt x="8100695" y="2353499"/>
                </a:cubicBezTo>
                <a:close/>
                <a:moveTo>
                  <a:pt x="8116570" y="2792919"/>
                </a:moveTo>
                <a:cubicBezTo>
                  <a:pt x="8083550" y="2787839"/>
                  <a:pt x="8079740" y="2841179"/>
                  <a:pt x="8113395" y="2840544"/>
                </a:cubicBezTo>
                <a:cubicBezTo>
                  <a:pt x="8141970" y="2841179"/>
                  <a:pt x="8145781" y="2796094"/>
                  <a:pt x="8116570" y="2792919"/>
                </a:cubicBezTo>
                <a:close/>
                <a:moveTo>
                  <a:pt x="8416290" y="2061399"/>
                </a:moveTo>
                <a:cubicBezTo>
                  <a:pt x="8397240" y="2058859"/>
                  <a:pt x="8395335" y="2089974"/>
                  <a:pt x="8414385" y="2089338"/>
                </a:cubicBezTo>
                <a:cubicBezTo>
                  <a:pt x="8432165" y="2089974"/>
                  <a:pt x="8434070" y="2062669"/>
                  <a:pt x="8416290" y="2061399"/>
                </a:cubicBezTo>
                <a:close/>
                <a:moveTo>
                  <a:pt x="8382000" y="2256344"/>
                </a:moveTo>
                <a:cubicBezTo>
                  <a:pt x="8360410" y="2253804"/>
                  <a:pt x="8356600" y="2288094"/>
                  <a:pt x="8378190" y="2289999"/>
                </a:cubicBezTo>
                <a:cubicBezTo>
                  <a:pt x="8399780" y="2292539"/>
                  <a:pt x="8403590" y="2258249"/>
                  <a:pt x="8382000" y="2256344"/>
                </a:cubicBezTo>
                <a:close/>
                <a:moveTo>
                  <a:pt x="8462010" y="2825304"/>
                </a:moveTo>
                <a:cubicBezTo>
                  <a:pt x="8460105" y="2794189"/>
                  <a:pt x="8411210" y="2797999"/>
                  <a:pt x="8414385" y="2829114"/>
                </a:cubicBezTo>
                <a:cubicBezTo>
                  <a:pt x="8416290" y="2860229"/>
                  <a:pt x="8464550" y="2856419"/>
                  <a:pt x="8462010" y="2825304"/>
                </a:cubicBezTo>
                <a:close/>
                <a:moveTo>
                  <a:pt x="8357870" y="2924364"/>
                </a:moveTo>
                <a:cubicBezTo>
                  <a:pt x="8324850" y="2925634"/>
                  <a:pt x="8327390" y="2977069"/>
                  <a:pt x="8360410" y="2975164"/>
                </a:cubicBezTo>
                <a:cubicBezTo>
                  <a:pt x="8393430" y="2973894"/>
                  <a:pt x="8390890" y="2921823"/>
                  <a:pt x="8357870" y="2924364"/>
                </a:cubicBezTo>
                <a:close/>
                <a:moveTo>
                  <a:pt x="8448675" y="2602419"/>
                </a:moveTo>
                <a:cubicBezTo>
                  <a:pt x="8449310" y="2575114"/>
                  <a:pt x="8406130" y="2575114"/>
                  <a:pt x="8406130" y="2602419"/>
                </a:cubicBezTo>
                <a:cubicBezTo>
                  <a:pt x="8406130" y="2629724"/>
                  <a:pt x="8449310" y="2629724"/>
                  <a:pt x="8448675" y="2602419"/>
                </a:cubicBezTo>
                <a:close/>
                <a:moveTo>
                  <a:pt x="8256906" y="2688144"/>
                </a:moveTo>
                <a:cubicBezTo>
                  <a:pt x="8227695" y="2685604"/>
                  <a:pt x="8224520" y="2731324"/>
                  <a:pt x="8253731" y="2733229"/>
                </a:cubicBezTo>
                <a:cubicBezTo>
                  <a:pt x="8282940" y="2736404"/>
                  <a:pt x="8286115" y="2690049"/>
                  <a:pt x="8256906" y="2688144"/>
                </a:cubicBezTo>
                <a:close/>
                <a:moveTo>
                  <a:pt x="8353425" y="2831654"/>
                </a:moveTo>
                <a:cubicBezTo>
                  <a:pt x="8342631" y="2769424"/>
                  <a:pt x="8267700" y="2844989"/>
                  <a:pt x="8329295" y="2855784"/>
                </a:cubicBezTo>
                <a:cubicBezTo>
                  <a:pt x="8342631" y="2855784"/>
                  <a:pt x="8353425" y="2844989"/>
                  <a:pt x="8353425" y="2831654"/>
                </a:cubicBezTo>
                <a:close/>
                <a:moveTo>
                  <a:pt x="8276590" y="2349689"/>
                </a:moveTo>
                <a:cubicBezTo>
                  <a:pt x="8253095" y="2345879"/>
                  <a:pt x="8247381" y="2382709"/>
                  <a:pt x="8271510" y="2385884"/>
                </a:cubicBezTo>
                <a:cubicBezTo>
                  <a:pt x="8295006" y="2389694"/>
                  <a:pt x="8300085" y="2352864"/>
                  <a:pt x="8276590" y="2349689"/>
                </a:cubicBezTo>
                <a:close/>
                <a:moveTo>
                  <a:pt x="8317231" y="2265234"/>
                </a:moveTo>
                <a:cubicBezTo>
                  <a:pt x="8321040" y="2243644"/>
                  <a:pt x="8286750" y="2238564"/>
                  <a:pt x="8283575" y="2260154"/>
                </a:cubicBezTo>
                <a:cubicBezTo>
                  <a:pt x="8279765" y="2281744"/>
                  <a:pt x="8314056" y="2286824"/>
                  <a:pt x="8317231" y="2265234"/>
                </a:cubicBezTo>
                <a:close/>
                <a:moveTo>
                  <a:pt x="7112000" y="2468434"/>
                </a:moveTo>
                <a:cubicBezTo>
                  <a:pt x="7085965" y="2448749"/>
                  <a:pt x="7054850" y="2490024"/>
                  <a:pt x="7081520" y="2509074"/>
                </a:cubicBezTo>
                <a:cubicBezTo>
                  <a:pt x="7108190" y="2529394"/>
                  <a:pt x="7139306" y="2488119"/>
                  <a:pt x="7112000" y="2468434"/>
                </a:cubicBezTo>
                <a:close/>
                <a:moveTo>
                  <a:pt x="5510530" y="998409"/>
                </a:moveTo>
                <a:cubicBezTo>
                  <a:pt x="5492750" y="993963"/>
                  <a:pt x="5486400" y="1021904"/>
                  <a:pt x="5504180" y="1025713"/>
                </a:cubicBezTo>
                <a:cubicBezTo>
                  <a:pt x="5521960" y="1030794"/>
                  <a:pt x="5528945" y="1002219"/>
                  <a:pt x="5510530" y="998409"/>
                </a:cubicBezTo>
                <a:close/>
                <a:moveTo>
                  <a:pt x="5577840" y="1014919"/>
                </a:moveTo>
                <a:cubicBezTo>
                  <a:pt x="5560060" y="1010474"/>
                  <a:pt x="5553075" y="1037779"/>
                  <a:pt x="5570855" y="1042224"/>
                </a:cubicBezTo>
                <a:cubicBezTo>
                  <a:pt x="5588635" y="1047304"/>
                  <a:pt x="5596255" y="1019363"/>
                  <a:pt x="5577840" y="1014919"/>
                </a:cubicBezTo>
                <a:close/>
                <a:moveTo>
                  <a:pt x="5559425" y="1069529"/>
                </a:moveTo>
                <a:cubicBezTo>
                  <a:pt x="5543550" y="1065719"/>
                  <a:pt x="5537835" y="1091119"/>
                  <a:pt x="5553710" y="1094294"/>
                </a:cubicBezTo>
                <a:cubicBezTo>
                  <a:pt x="5570220" y="1098104"/>
                  <a:pt x="5575935" y="1072704"/>
                  <a:pt x="5559425" y="1069529"/>
                </a:cubicBezTo>
                <a:close/>
                <a:moveTo>
                  <a:pt x="5616575" y="895538"/>
                </a:moveTo>
                <a:cubicBezTo>
                  <a:pt x="5626100" y="879663"/>
                  <a:pt x="5608320" y="860613"/>
                  <a:pt x="5591810" y="867599"/>
                </a:cubicBezTo>
                <a:cubicBezTo>
                  <a:pt x="5593080" y="835213"/>
                  <a:pt x="5541010" y="842199"/>
                  <a:pt x="5550535" y="872679"/>
                </a:cubicBezTo>
                <a:cubicBezTo>
                  <a:pt x="5493385" y="861884"/>
                  <a:pt x="5528310" y="953324"/>
                  <a:pt x="5563870" y="907604"/>
                </a:cubicBezTo>
                <a:cubicBezTo>
                  <a:pt x="5565140" y="908874"/>
                  <a:pt x="5567045" y="910144"/>
                  <a:pt x="5569585" y="910144"/>
                </a:cubicBezTo>
                <a:cubicBezTo>
                  <a:pt x="5556885" y="911413"/>
                  <a:pt x="5549900" y="928559"/>
                  <a:pt x="5558790" y="937449"/>
                </a:cubicBezTo>
                <a:cubicBezTo>
                  <a:pt x="5516880" y="932369"/>
                  <a:pt x="5525135" y="1001584"/>
                  <a:pt x="5565140" y="985709"/>
                </a:cubicBezTo>
                <a:cubicBezTo>
                  <a:pt x="5583555" y="1002219"/>
                  <a:pt x="5603875" y="967929"/>
                  <a:pt x="5580380" y="959674"/>
                </a:cubicBezTo>
                <a:cubicBezTo>
                  <a:pt x="5579745" y="953959"/>
                  <a:pt x="5577205" y="947609"/>
                  <a:pt x="5572125" y="943163"/>
                </a:cubicBezTo>
                <a:cubicBezTo>
                  <a:pt x="5589905" y="943163"/>
                  <a:pt x="5594985" y="916494"/>
                  <a:pt x="5577840" y="910144"/>
                </a:cubicBezTo>
                <a:cubicBezTo>
                  <a:pt x="5583555" y="908874"/>
                  <a:pt x="5588635" y="906969"/>
                  <a:pt x="5593080" y="903159"/>
                </a:cubicBezTo>
                <a:cubicBezTo>
                  <a:pt x="5601335" y="907604"/>
                  <a:pt x="5612130" y="903794"/>
                  <a:pt x="5616575" y="895538"/>
                </a:cubicBezTo>
                <a:close/>
                <a:moveTo>
                  <a:pt x="5490210" y="916494"/>
                </a:moveTo>
                <a:cubicBezTo>
                  <a:pt x="5512435" y="924113"/>
                  <a:pt x="5521960" y="887919"/>
                  <a:pt x="5498465" y="884109"/>
                </a:cubicBezTo>
                <a:cubicBezTo>
                  <a:pt x="5498465" y="881569"/>
                  <a:pt x="5498465" y="879663"/>
                  <a:pt x="5497830" y="877124"/>
                </a:cubicBezTo>
                <a:cubicBezTo>
                  <a:pt x="5505450" y="876488"/>
                  <a:pt x="5513070" y="870138"/>
                  <a:pt x="5513705" y="861884"/>
                </a:cubicBezTo>
                <a:cubicBezTo>
                  <a:pt x="5535295" y="867599"/>
                  <a:pt x="5547360" y="834579"/>
                  <a:pt x="5527040" y="825054"/>
                </a:cubicBezTo>
                <a:cubicBezTo>
                  <a:pt x="5523865" y="823149"/>
                  <a:pt x="5520055" y="822513"/>
                  <a:pt x="5516880" y="823149"/>
                </a:cubicBezTo>
                <a:cubicBezTo>
                  <a:pt x="5516245" y="817434"/>
                  <a:pt x="5513070" y="812354"/>
                  <a:pt x="5507990" y="808544"/>
                </a:cubicBezTo>
                <a:cubicBezTo>
                  <a:pt x="5503545" y="792034"/>
                  <a:pt x="5478780" y="788859"/>
                  <a:pt x="5469890" y="804099"/>
                </a:cubicBezTo>
                <a:cubicBezTo>
                  <a:pt x="5465445" y="802194"/>
                  <a:pt x="5460365" y="801559"/>
                  <a:pt x="5455285" y="802194"/>
                </a:cubicBezTo>
                <a:cubicBezTo>
                  <a:pt x="5455285" y="771079"/>
                  <a:pt x="5405755" y="780604"/>
                  <a:pt x="5417185" y="809179"/>
                </a:cubicBezTo>
                <a:cubicBezTo>
                  <a:pt x="5415915" y="809179"/>
                  <a:pt x="5415280" y="809179"/>
                  <a:pt x="5414010" y="809179"/>
                </a:cubicBezTo>
                <a:cubicBezTo>
                  <a:pt x="5415280" y="802194"/>
                  <a:pt x="5413375" y="795209"/>
                  <a:pt x="5408930" y="789494"/>
                </a:cubicBezTo>
                <a:cubicBezTo>
                  <a:pt x="5448300" y="787588"/>
                  <a:pt x="5431155" y="730438"/>
                  <a:pt x="5396230" y="746313"/>
                </a:cubicBezTo>
                <a:cubicBezTo>
                  <a:pt x="5388610" y="730438"/>
                  <a:pt x="5364480" y="729169"/>
                  <a:pt x="5355590" y="744409"/>
                </a:cubicBezTo>
                <a:cubicBezTo>
                  <a:pt x="5318125" y="740599"/>
                  <a:pt x="5334000" y="800924"/>
                  <a:pt x="5365115" y="779334"/>
                </a:cubicBezTo>
                <a:cubicBezTo>
                  <a:pt x="5372100" y="783144"/>
                  <a:pt x="5380355" y="782509"/>
                  <a:pt x="5387340" y="778699"/>
                </a:cubicBezTo>
                <a:cubicBezTo>
                  <a:pt x="5387975" y="779334"/>
                  <a:pt x="5387975" y="779969"/>
                  <a:pt x="5388610" y="780604"/>
                </a:cubicBezTo>
                <a:cubicBezTo>
                  <a:pt x="5351145" y="781874"/>
                  <a:pt x="5361940" y="842199"/>
                  <a:pt x="5397500" y="830134"/>
                </a:cubicBezTo>
                <a:cubicBezTo>
                  <a:pt x="5400040" y="856804"/>
                  <a:pt x="5441950" y="847913"/>
                  <a:pt x="5433060" y="821879"/>
                </a:cubicBezTo>
                <a:cubicBezTo>
                  <a:pt x="5434330" y="821879"/>
                  <a:pt x="5435600" y="822513"/>
                  <a:pt x="5436870" y="821879"/>
                </a:cubicBezTo>
                <a:cubicBezTo>
                  <a:pt x="5431790" y="844104"/>
                  <a:pt x="5462905" y="859979"/>
                  <a:pt x="5478145" y="842199"/>
                </a:cubicBezTo>
                <a:cubicBezTo>
                  <a:pt x="5479415" y="844104"/>
                  <a:pt x="5481320" y="845374"/>
                  <a:pt x="5483860" y="846644"/>
                </a:cubicBezTo>
                <a:cubicBezTo>
                  <a:pt x="5480685" y="849819"/>
                  <a:pt x="5478145" y="854263"/>
                  <a:pt x="5478145" y="859344"/>
                </a:cubicBezTo>
                <a:cubicBezTo>
                  <a:pt x="5454650" y="854263"/>
                  <a:pt x="5437505" y="886013"/>
                  <a:pt x="5455920" y="902524"/>
                </a:cubicBezTo>
                <a:lnTo>
                  <a:pt x="5455920" y="902524"/>
                </a:lnTo>
                <a:cubicBezTo>
                  <a:pt x="5462905" y="908874"/>
                  <a:pt x="5471795" y="911413"/>
                  <a:pt x="5480685" y="908874"/>
                </a:cubicBezTo>
                <a:cubicBezTo>
                  <a:pt x="5481955" y="911413"/>
                  <a:pt x="5485765" y="915224"/>
                  <a:pt x="5490210" y="916494"/>
                </a:cubicBezTo>
                <a:close/>
                <a:moveTo>
                  <a:pt x="5497195" y="1055559"/>
                </a:moveTo>
                <a:cubicBezTo>
                  <a:pt x="5481320" y="1051749"/>
                  <a:pt x="5475605" y="1077149"/>
                  <a:pt x="5492115" y="1080324"/>
                </a:cubicBezTo>
                <a:cubicBezTo>
                  <a:pt x="5507990" y="1084769"/>
                  <a:pt x="5513705" y="1059369"/>
                  <a:pt x="5497195" y="1055559"/>
                </a:cubicBezTo>
                <a:close/>
                <a:moveTo>
                  <a:pt x="5621655" y="1083499"/>
                </a:moveTo>
                <a:cubicBezTo>
                  <a:pt x="5605780" y="1079688"/>
                  <a:pt x="5600065" y="1104454"/>
                  <a:pt x="5615940" y="1108263"/>
                </a:cubicBezTo>
                <a:lnTo>
                  <a:pt x="5615940" y="1108263"/>
                </a:lnTo>
                <a:cubicBezTo>
                  <a:pt x="5631815" y="1112074"/>
                  <a:pt x="5637530" y="1086674"/>
                  <a:pt x="5621655" y="1083499"/>
                </a:cubicBezTo>
                <a:close/>
                <a:moveTo>
                  <a:pt x="5434965" y="1042859"/>
                </a:moveTo>
                <a:cubicBezTo>
                  <a:pt x="5419090" y="1039684"/>
                  <a:pt x="5414010" y="1064449"/>
                  <a:pt x="5429885" y="1067624"/>
                </a:cubicBezTo>
                <a:cubicBezTo>
                  <a:pt x="5445760" y="1071434"/>
                  <a:pt x="5451475" y="1046034"/>
                  <a:pt x="5434965" y="1042859"/>
                </a:cubicBezTo>
                <a:close/>
                <a:moveTo>
                  <a:pt x="5507990" y="939354"/>
                </a:moveTo>
                <a:cubicBezTo>
                  <a:pt x="5488940" y="933638"/>
                  <a:pt x="5480050" y="964119"/>
                  <a:pt x="5499735" y="969199"/>
                </a:cubicBezTo>
                <a:cubicBezTo>
                  <a:pt x="5518785" y="974913"/>
                  <a:pt x="5527040" y="944434"/>
                  <a:pt x="5507990" y="939354"/>
                </a:cubicBezTo>
                <a:close/>
                <a:moveTo>
                  <a:pt x="5443220" y="982534"/>
                </a:moveTo>
                <a:cubicBezTo>
                  <a:pt x="5425440" y="978088"/>
                  <a:pt x="5419090" y="1006029"/>
                  <a:pt x="5436870" y="1009838"/>
                </a:cubicBezTo>
                <a:cubicBezTo>
                  <a:pt x="5454650" y="1014919"/>
                  <a:pt x="5461635" y="986344"/>
                  <a:pt x="5443220" y="982534"/>
                </a:cubicBezTo>
                <a:close/>
                <a:moveTo>
                  <a:pt x="5952490" y="1288604"/>
                </a:moveTo>
                <a:cubicBezTo>
                  <a:pt x="5974715" y="1267013"/>
                  <a:pt x="5940425" y="1232088"/>
                  <a:pt x="5918835" y="1254313"/>
                </a:cubicBezTo>
                <a:cubicBezTo>
                  <a:pt x="5895975" y="1275904"/>
                  <a:pt x="5930265" y="1310829"/>
                  <a:pt x="5952490" y="1288604"/>
                </a:cubicBezTo>
                <a:close/>
                <a:moveTo>
                  <a:pt x="5852160" y="1276538"/>
                </a:moveTo>
                <a:cubicBezTo>
                  <a:pt x="5827395" y="1298129"/>
                  <a:pt x="5862320" y="1336863"/>
                  <a:pt x="5886450" y="1314004"/>
                </a:cubicBezTo>
                <a:cubicBezTo>
                  <a:pt x="5911215" y="1292413"/>
                  <a:pt x="5875655" y="1254313"/>
                  <a:pt x="5852160" y="1276538"/>
                </a:cubicBezTo>
                <a:close/>
                <a:moveTo>
                  <a:pt x="5909945" y="1139379"/>
                </a:moveTo>
                <a:cubicBezTo>
                  <a:pt x="5942965" y="1121599"/>
                  <a:pt x="5885815" y="1093659"/>
                  <a:pt x="5892165" y="1130488"/>
                </a:cubicBezTo>
                <a:cubicBezTo>
                  <a:pt x="5882640" y="1129854"/>
                  <a:pt x="5872480" y="1137474"/>
                  <a:pt x="5870575" y="1146999"/>
                </a:cubicBezTo>
                <a:cubicBezTo>
                  <a:pt x="5855970" y="1139379"/>
                  <a:pt x="5844540" y="1162874"/>
                  <a:pt x="5859145" y="1169859"/>
                </a:cubicBezTo>
                <a:cubicBezTo>
                  <a:pt x="5770245" y="1215579"/>
                  <a:pt x="5937250" y="1240979"/>
                  <a:pt x="5865495" y="1171129"/>
                </a:cubicBezTo>
                <a:cubicBezTo>
                  <a:pt x="5868670" y="1171129"/>
                  <a:pt x="5871845" y="1169224"/>
                  <a:pt x="5873750" y="1166684"/>
                </a:cubicBezTo>
                <a:cubicBezTo>
                  <a:pt x="5892165" y="1190813"/>
                  <a:pt x="5928360" y="1162238"/>
                  <a:pt x="5909945" y="1139379"/>
                </a:cubicBezTo>
                <a:close/>
                <a:moveTo>
                  <a:pt x="5928995" y="1360994"/>
                </a:moveTo>
                <a:cubicBezTo>
                  <a:pt x="5904230" y="1382584"/>
                  <a:pt x="5939155" y="1421319"/>
                  <a:pt x="5963285" y="1398459"/>
                </a:cubicBezTo>
                <a:cubicBezTo>
                  <a:pt x="5988050" y="1376869"/>
                  <a:pt x="5953125" y="1338134"/>
                  <a:pt x="5928995" y="1360994"/>
                </a:cubicBezTo>
                <a:close/>
                <a:moveTo>
                  <a:pt x="5617845" y="1026349"/>
                </a:moveTo>
                <a:cubicBezTo>
                  <a:pt x="5593715" y="1048574"/>
                  <a:pt x="5629910" y="1086038"/>
                  <a:pt x="5653405" y="1063179"/>
                </a:cubicBezTo>
                <a:cubicBezTo>
                  <a:pt x="5676900" y="1040319"/>
                  <a:pt x="5640705" y="1002854"/>
                  <a:pt x="5617845" y="1026349"/>
                </a:cubicBezTo>
                <a:close/>
                <a:moveTo>
                  <a:pt x="5651500" y="982534"/>
                </a:moveTo>
                <a:cubicBezTo>
                  <a:pt x="5648960" y="981899"/>
                  <a:pt x="5646420" y="981899"/>
                  <a:pt x="5643245" y="981899"/>
                </a:cubicBezTo>
                <a:cubicBezTo>
                  <a:pt x="5645150" y="978724"/>
                  <a:pt x="5647055" y="975549"/>
                  <a:pt x="5647690" y="972374"/>
                </a:cubicBezTo>
                <a:cubicBezTo>
                  <a:pt x="5648325" y="972374"/>
                  <a:pt x="5648960" y="972374"/>
                  <a:pt x="5649595" y="972374"/>
                </a:cubicBezTo>
                <a:cubicBezTo>
                  <a:pt x="5663565" y="979359"/>
                  <a:pt x="5681980" y="966659"/>
                  <a:pt x="5680710" y="950784"/>
                </a:cubicBezTo>
                <a:cubicBezTo>
                  <a:pt x="5709920" y="948244"/>
                  <a:pt x="5699125" y="901888"/>
                  <a:pt x="5671820" y="913319"/>
                </a:cubicBezTo>
                <a:cubicBezTo>
                  <a:pt x="5655310" y="880299"/>
                  <a:pt x="5614035" y="915224"/>
                  <a:pt x="5638800" y="940624"/>
                </a:cubicBezTo>
                <a:cubicBezTo>
                  <a:pt x="5638800" y="940624"/>
                  <a:pt x="5638165" y="941259"/>
                  <a:pt x="5638165" y="941259"/>
                </a:cubicBezTo>
                <a:cubicBezTo>
                  <a:pt x="5636260" y="942529"/>
                  <a:pt x="5634355" y="943799"/>
                  <a:pt x="5633085" y="945704"/>
                </a:cubicBezTo>
                <a:cubicBezTo>
                  <a:pt x="5591175" y="931099"/>
                  <a:pt x="5590540" y="1004124"/>
                  <a:pt x="5633085" y="990154"/>
                </a:cubicBezTo>
                <a:cubicBezTo>
                  <a:pt x="5621020" y="1032063"/>
                  <a:pt x="5689600" y="1004124"/>
                  <a:pt x="5651500" y="982534"/>
                </a:cubicBezTo>
                <a:close/>
                <a:moveTo>
                  <a:pt x="5745480" y="1113979"/>
                </a:moveTo>
                <a:cubicBezTo>
                  <a:pt x="5742305" y="1113344"/>
                  <a:pt x="5739130" y="1113979"/>
                  <a:pt x="5735955" y="1115249"/>
                </a:cubicBezTo>
                <a:cubicBezTo>
                  <a:pt x="5727700" y="1098738"/>
                  <a:pt x="5702935" y="1098104"/>
                  <a:pt x="5692775" y="1113344"/>
                </a:cubicBezTo>
                <a:cubicBezTo>
                  <a:pt x="5682615" y="1065084"/>
                  <a:pt x="5645150" y="1140649"/>
                  <a:pt x="5689600" y="1119059"/>
                </a:cubicBezTo>
                <a:cubicBezTo>
                  <a:pt x="5678805" y="1148269"/>
                  <a:pt x="5724525" y="1167319"/>
                  <a:pt x="5736590" y="1137474"/>
                </a:cubicBezTo>
                <a:cubicBezTo>
                  <a:pt x="5753100" y="1145094"/>
                  <a:pt x="5762625" y="1117788"/>
                  <a:pt x="5745480" y="1113979"/>
                </a:cubicBezTo>
                <a:close/>
                <a:moveTo>
                  <a:pt x="5982970" y="1206688"/>
                </a:moveTo>
                <a:cubicBezTo>
                  <a:pt x="5982335" y="1206054"/>
                  <a:pt x="5981700" y="1206054"/>
                  <a:pt x="5981065" y="1205419"/>
                </a:cubicBezTo>
                <a:cubicBezTo>
                  <a:pt x="6033770" y="1203513"/>
                  <a:pt x="5959475" y="1153984"/>
                  <a:pt x="5977890" y="1203513"/>
                </a:cubicBezTo>
                <a:cubicBezTo>
                  <a:pt x="5883275" y="1202879"/>
                  <a:pt x="6014720" y="1296859"/>
                  <a:pt x="5982970" y="1206688"/>
                </a:cubicBezTo>
                <a:close/>
                <a:moveTo>
                  <a:pt x="5774690" y="1192719"/>
                </a:moveTo>
                <a:cubicBezTo>
                  <a:pt x="5749925" y="1214944"/>
                  <a:pt x="5785485" y="1252409"/>
                  <a:pt x="5808980" y="1230184"/>
                </a:cubicBezTo>
                <a:cubicBezTo>
                  <a:pt x="5833110" y="1207959"/>
                  <a:pt x="5798185" y="1169859"/>
                  <a:pt x="5774690" y="1192719"/>
                </a:cubicBezTo>
                <a:close/>
                <a:moveTo>
                  <a:pt x="5837555" y="1090484"/>
                </a:moveTo>
                <a:cubicBezTo>
                  <a:pt x="5835015" y="1030159"/>
                  <a:pt x="5784215" y="1075879"/>
                  <a:pt x="5795010" y="1096834"/>
                </a:cubicBezTo>
                <a:cubicBezTo>
                  <a:pt x="5791835" y="1094929"/>
                  <a:pt x="5788660" y="1093659"/>
                  <a:pt x="5784850" y="1093659"/>
                </a:cubicBezTo>
                <a:cubicBezTo>
                  <a:pt x="5805170" y="1056194"/>
                  <a:pt x="5734050" y="1072704"/>
                  <a:pt x="5769610" y="1097469"/>
                </a:cubicBezTo>
                <a:cubicBezTo>
                  <a:pt x="5745480" y="1112709"/>
                  <a:pt x="5765800" y="1150809"/>
                  <a:pt x="5791835" y="1140013"/>
                </a:cubicBezTo>
                <a:cubicBezTo>
                  <a:pt x="5792470" y="1177479"/>
                  <a:pt x="5840095" y="1135569"/>
                  <a:pt x="5803265" y="1129854"/>
                </a:cubicBezTo>
                <a:cubicBezTo>
                  <a:pt x="5808980" y="1121599"/>
                  <a:pt x="5807075" y="1110804"/>
                  <a:pt x="5801360" y="1103184"/>
                </a:cubicBezTo>
                <a:cubicBezTo>
                  <a:pt x="5806440" y="1105724"/>
                  <a:pt x="5814695" y="1106359"/>
                  <a:pt x="5826125" y="1105088"/>
                </a:cubicBezTo>
                <a:cubicBezTo>
                  <a:pt x="5826125" y="1112709"/>
                  <a:pt x="5832475" y="1119694"/>
                  <a:pt x="5840095" y="1119059"/>
                </a:cubicBezTo>
                <a:cubicBezTo>
                  <a:pt x="5859780" y="1119059"/>
                  <a:pt x="5857240" y="1086674"/>
                  <a:pt x="5837555" y="1090484"/>
                </a:cubicBezTo>
                <a:close/>
                <a:moveTo>
                  <a:pt x="5197475" y="882204"/>
                </a:moveTo>
                <a:cubicBezTo>
                  <a:pt x="5193030" y="901888"/>
                  <a:pt x="5224145" y="908238"/>
                  <a:pt x="5227955" y="887919"/>
                </a:cubicBezTo>
                <a:cubicBezTo>
                  <a:pt x="5231765" y="868234"/>
                  <a:pt x="5200650" y="862519"/>
                  <a:pt x="5197475" y="882204"/>
                </a:cubicBezTo>
                <a:close/>
                <a:moveTo>
                  <a:pt x="5239385" y="941894"/>
                </a:moveTo>
                <a:cubicBezTo>
                  <a:pt x="5219700" y="938084"/>
                  <a:pt x="5217160" y="969834"/>
                  <a:pt x="5236845" y="969834"/>
                </a:cubicBezTo>
                <a:cubicBezTo>
                  <a:pt x="5253990" y="970469"/>
                  <a:pt x="5256530" y="945069"/>
                  <a:pt x="5239385" y="941894"/>
                </a:cubicBezTo>
                <a:close/>
                <a:moveTo>
                  <a:pt x="5247005" y="1008569"/>
                </a:moveTo>
                <a:cubicBezTo>
                  <a:pt x="5230495" y="1005394"/>
                  <a:pt x="5226685" y="1031429"/>
                  <a:pt x="5242560" y="1033334"/>
                </a:cubicBezTo>
                <a:cubicBezTo>
                  <a:pt x="5259070" y="1036509"/>
                  <a:pt x="5263515" y="1011109"/>
                  <a:pt x="5247005" y="1008569"/>
                </a:cubicBezTo>
                <a:close/>
                <a:moveTo>
                  <a:pt x="5184775" y="998409"/>
                </a:moveTo>
                <a:cubicBezTo>
                  <a:pt x="5168265" y="995869"/>
                  <a:pt x="5164455" y="1021269"/>
                  <a:pt x="5180965" y="1023809"/>
                </a:cubicBezTo>
                <a:cubicBezTo>
                  <a:pt x="5196840" y="1026349"/>
                  <a:pt x="5200650" y="1000949"/>
                  <a:pt x="5184775" y="998409"/>
                </a:cubicBezTo>
                <a:close/>
                <a:moveTo>
                  <a:pt x="5182870" y="946974"/>
                </a:moveTo>
                <a:cubicBezTo>
                  <a:pt x="5186045" y="929194"/>
                  <a:pt x="5157470" y="924113"/>
                  <a:pt x="5154930" y="942529"/>
                </a:cubicBezTo>
                <a:cubicBezTo>
                  <a:pt x="5151755" y="960309"/>
                  <a:pt x="5180330" y="965388"/>
                  <a:pt x="5182870" y="946974"/>
                </a:cubicBezTo>
                <a:close/>
                <a:moveTo>
                  <a:pt x="5114925" y="936179"/>
                </a:moveTo>
                <a:cubicBezTo>
                  <a:pt x="5117465" y="918399"/>
                  <a:pt x="5089525" y="913954"/>
                  <a:pt x="5086985" y="932369"/>
                </a:cubicBezTo>
                <a:cubicBezTo>
                  <a:pt x="5083810" y="950149"/>
                  <a:pt x="5112385" y="954594"/>
                  <a:pt x="5114925" y="936179"/>
                </a:cubicBezTo>
                <a:close/>
                <a:moveTo>
                  <a:pt x="5121275" y="989519"/>
                </a:moveTo>
                <a:cubicBezTo>
                  <a:pt x="5104765" y="986979"/>
                  <a:pt x="5101590" y="1012379"/>
                  <a:pt x="5117465" y="1014919"/>
                </a:cubicBezTo>
                <a:cubicBezTo>
                  <a:pt x="5133975" y="1016824"/>
                  <a:pt x="5137785" y="991424"/>
                  <a:pt x="5121275" y="989519"/>
                </a:cubicBezTo>
                <a:close/>
                <a:moveTo>
                  <a:pt x="5141595" y="856169"/>
                </a:moveTo>
                <a:cubicBezTo>
                  <a:pt x="5121910" y="852359"/>
                  <a:pt x="5116195" y="883474"/>
                  <a:pt x="5136515" y="886649"/>
                </a:cubicBezTo>
                <a:cubicBezTo>
                  <a:pt x="5156200" y="890459"/>
                  <a:pt x="5161915" y="859344"/>
                  <a:pt x="5141595" y="856169"/>
                </a:cubicBezTo>
                <a:close/>
                <a:moveTo>
                  <a:pt x="5280660" y="836484"/>
                </a:moveTo>
                <a:cubicBezTo>
                  <a:pt x="5286375" y="815529"/>
                  <a:pt x="5252720" y="806638"/>
                  <a:pt x="5247640" y="828229"/>
                </a:cubicBezTo>
                <a:cubicBezTo>
                  <a:pt x="5242560" y="849184"/>
                  <a:pt x="5275580" y="857438"/>
                  <a:pt x="5280660" y="836484"/>
                </a:cubicBezTo>
                <a:close/>
                <a:moveTo>
                  <a:pt x="5358765" y="857438"/>
                </a:moveTo>
                <a:cubicBezTo>
                  <a:pt x="5365115" y="836484"/>
                  <a:pt x="5332095" y="826959"/>
                  <a:pt x="5326380" y="848549"/>
                </a:cubicBezTo>
                <a:cubicBezTo>
                  <a:pt x="5319395" y="869504"/>
                  <a:pt x="5353050" y="878394"/>
                  <a:pt x="5358765" y="857438"/>
                </a:cubicBezTo>
                <a:close/>
                <a:moveTo>
                  <a:pt x="5374005" y="920304"/>
                </a:moveTo>
                <a:cubicBezTo>
                  <a:pt x="5379085" y="900619"/>
                  <a:pt x="5347970" y="893634"/>
                  <a:pt x="5343525" y="913319"/>
                </a:cubicBezTo>
                <a:cubicBezTo>
                  <a:pt x="5338445" y="932369"/>
                  <a:pt x="5369560" y="939988"/>
                  <a:pt x="5374005" y="920304"/>
                </a:cubicBezTo>
                <a:close/>
                <a:moveTo>
                  <a:pt x="5372735" y="1030794"/>
                </a:moveTo>
                <a:cubicBezTo>
                  <a:pt x="5356860" y="1027619"/>
                  <a:pt x="5351780" y="1053019"/>
                  <a:pt x="5368290" y="1055559"/>
                </a:cubicBezTo>
                <a:cubicBezTo>
                  <a:pt x="5384165" y="1059369"/>
                  <a:pt x="5388610" y="1033969"/>
                  <a:pt x="5372735" y="1030794"/>
                </a:cubicBezTo>
                <a:close/>
                <a:moveTo>
                  <a:pt x="5375910" y="967929"/>
                </a:moveTo>
                <a:cubicBezTo>
                  <a:pt x="5358130" y="964119"/>
                  <a:pt x="5352415" y="992059"/>
                  <a:pt x="5370195" y="995869"/>
                </a:cubicBezTo>
                <a:cubicBezTo>
                  <a:pt x="5387975" y="999679"/>
                  <a:pt x="5393690" y="971738"/>
                  <a:pt x="5375910" y="967929"/>
                </a:cubicBezTo>
                <a:close/>
                <a:moveTo>
                  <a:pt x="5435600" y="880934"/>
                </a:moveTo>
                <a:cubicBezTo>
                  <a:pt x="5438140" y="872044"/>
                  <a:pt x="5433695" y="862519"/>
                  <a:pt x="5424170" y="859979"/>
                </a:cubicBezTo>
                <a:cubicBezTo>
                  <a:pt x="5380355" y="853629"/>
                  <a:pt x="5415280" y="920304"/>
                  <a:pt x="5435600" y="880934"/>
                </a:cubicBezTo>
                <a:close/>
                <a:moveTo>
                  <a:pt x="5431155" y="950149"/>
                </a:moveTo>
                <a:cubicBezTo>
                  <a:pt x="5448935" y="950784"/>
                  <a:pt x="5452110" y="923479"/>
                  <a:pt x="5434965" y="919669"/>
                </a:cubicBezTo>
                <a:cubicBezTo>
                  <a:pt x="5413375" y="913954"/>
                  <a:pt x="5408295" y="950149"/>
                  <a:pt x="5431155" y="950149"/>
                </a:cubicBezTo>
                <a:close/>
                <a:moveTo>
                  <a:pt x="5300980" y="903159"/>
                </a:moveTo>
                <a:cubicBezTo>
                  <a:pt x="5305425" y="883474"/>
                  <a:pt x="5274310" y="877124"/>
                  <a:pt x="5270500" y="896809"/>
                </a:cubicBezTo>
                <a:cubicBezTo>
                  <a:pt x="5266055" y="916494"/>
                  <a:pt x="5297170" y="923479"/>
                  <a:pt x="5300980" y="903159"/>
                </a:cubicBezTo>
                <a:close/>
                <a:moveTo>
                  <a:pt x="5305425" y="982534"/>
                </a:moveTo>
                <a:cubicBezTo>
                  <a:pt x="5321935" y="983169"/>
                  <a:pt x="5324475" y="957134"/>
                  <a:pt x="5307965" y="954594"/>
                </a:cubicBezTo>
                <a:cubicBezTo>
                  <a:pt x="5288280" y="950784"/>
                  <a:pt x="5285105" y="982534"/>
                  <a:pt x="5305425" y="982534"/>
                </a:cubicBezTo>
                <a:close/>
                <a:moveTo>
                  <a:pt x="5341620" y="779969"/>
                </a:moveTo>
                <a:cubicBezTo>
                  <a:pt x="5315585" y="771079"/>
                  <a:pt x="5307330" y="815529"/>
                  <a:pt x="5335270" y="815529"/>
                </a:cubicBezTo>
                <a:cubicBezTo>
                  <a:pt x="5355590" y="816799"/>
                  <a:pt x="5360670" y="786319"/>
                  <a:pt x="5341620" y="779969"/>
                </a:cubicBezTo>
                <a:close/>
                <a:moveTo>
                  <a:pt x="6725285" y="2016313"/>
                </a:moveTo>
                <a:cubicBezTo>
                  <a:pt x="6702425" y="1995359"/>
                  <a:pt x="6670040" y="2031554"/>
                  <a:pt x="6693535" y="2051874"/>
                </a:cubicBezTo>
                <a:cubicBezTo>
                  <a:pt x="6716395" y="2073463"/>
                  <a:pt x="6748781" y="2036634"/>
                  <a:pt x="6725285" y="2016313"/>
                </a:cubicBezTo>
                <a:close/>
                <a:moveTo>
                  <a:pt x="6645275" y="1943288"/>
                </a:moveTo>
                <a:cubicBezTo>
                  <a:pt x="6622415" y="1921699"/>
                  <a:pt x="6589395" y="1957894"/>
                  <a:pt x="6612890" y="1978849"/>
                </a:cubicBezTo>
                <a:cubicBezTo>
                  <a:pt x="6635115" y="1999804"/>
                  <a:pt x="6668770" y="1964244"/>
                  <a:pt x="6645275" y="1943288"/>
                </a:cubicBezTo>
                <a:close/>
                <a:moveTo>
                  <a:pt x="6624956" y="1749613"/>
                </a:moveTo>
                <a:cubicBezTo>
                  <a:pt x="6644006" y="1750249"/>
                  <a:pt x="6653531" y="1724213"/>
                  <a:pt x="6638290" y="1712149"/>
                </a:cubicBezTo>
                <a:cubicBezTo>
                  <a:pt x="6608445" y="1689288"/>
                  <a:pt x="6586856" y="1748344"/>
                  <a:pt x="6624956" y="1749613"/>
                </a:cubicBezTo>
                <a:close/>
                <a:moveTo>
                  <a:pt x="6641465" y="2103309"/>
                </a:moveTo>
                <a:cubicBezTo>
                  <a:pt x="6631940" y="2113469"/>
                  <a:pt x="6632575" y="2129344"/>
                  <a:pt x="6642735" y="2139504"/>
                </a:cubicBezTo>
                <a:lnTo>
                  <a:pt x="6642735" y="2139504"/>
                </a:lnTo>
                <a:cubicBezTo>
                  <a:pt x="6698615" y="2175699"/>
                  <a:pt x="6694806" y="2063304"/>
                  <a:pt x="6641465" y="2103309"/>
                </a:cubicBezTo>
                <a:close/>
                <a:moveTo>
                  <a:pt x="6713856" y="1774379"/>
                </a:moveTo>
                <a:cubicBezTo>
                  <a:pt x="6713220" y="1774379"/>
                  <a:pt x="6713220" y="1774379"/>
                  <a:pt x="6713856" y="1774379"/>
                </a:cubicBezTo>
                <a:cubicBezTo>
                  <a:pt x="6683375" y="1751519"/>
                  <a:pt x="6662420" y="1810574"/>
                  <a:pt x="6700520" y="1811844"/>
                </a:cubicBezTo>
                <a:cubicBezTo>
                  <a:pt x="6718935" y="1813113"/>
                  <a:pt x="6729095" y="1786444"/>
                  <a:pt x="6713856" y="1774379"/>
                </a:cubicBezTo>
                <a:close/>
                <a:moveTo>
                  <a:pt x="6565900" y="1868994"/>
                </a:moveTo>
                <a:cubicBezTo>
                  <a:pt x="6543675" y="1847404"/>
                  <a:pt x="6510020" y="1882963"/>
                  <a:pt x="6532881" y="1903919"/>
                </a:cubicBezTo>
                <a:cubicBezTo>
                  <a:pt x="6555106" y="1925509"/>
                  <a:pt x="6588760" y="1889949"/>
                  <a:pt x="6565900" y="1868994"/>
                </a:cubicBezTo>
                <a:close/>
                <a:moveTo>
                  <a:pt x="6536690" y="1495613"/>
                </a:moveTo>
                <a:cubicBezTo>
                  <a:pt x="6551295" y="1476563"/>
                  <a:pt x="6520815" y="1454338"/>
                  <a:pt x="6506845" y="1474024"/>
                </a:cubicBezTo>
                <a:cubicBezTo>
                  <a:pt x="6492875" y="1493074"/>
                  <a:pt x="6523356" y="1515299"/>
                  <a:pt x="6536690" y="1495613"/>
                </a:cubicBezTo>
                <a:close/>
                <a:moveTo>
                  <a:pt x="7098665" y="2070924"/>
                </a:moveTo>
                <a:cubicBezTo>
                  <a:pt x="7067550" y="2050604"/>
                  <a:pt x="7049770" y="2107754"/>
                  <a:pt x="7086600" y="2109024"/>
                </a:cubicBezTo>
                <a:cubicBezTo>
                  <a:pt x="7106285" y="2110294"/>
                  <a:pt x="7115175" y="2082354"/>
                  <a:pt x="7098665" y="2070924"/>
                </a:cubicBezTo>
                <a:close/>
                <a:moveTo>
                  <a:pt x="6558915" y="2023934"/>
                </a:moveTo>
                <a:cubicBezTo>
                  <a:pt x="6535420" y="2047429"/>
                  <a:pt x="6572885" y="2082988"/>
                  <a:pt x="6595745" y="2059494"/>
                </a:cubicBezTo>
                <a:cubicBezTo>
                  <a:pt x="6618606" y="2035999"/>
                  <a:pt x="6581775" y="1999804"/>
                  <a:pt x="6558915" y="2023934"/>
                </a:cubicBezTo>
                <a:close/>
                <a:moveTo>
                  <a:pt x="6602731" y="1520379"/>
                </a:moveTo>
                <a:cubicBezTo>
                  <a:pt x="6583681" y="1506409"/>
                  <a:pt x="6562090" y="1536888"/>
                  <a:pt x="6581140" y="1550224"/>
                </a:cubicBezTo>
                <a:cubicBezTo>
                  <a:pt x="6600190" y="1564829"/>
                  <a:pt x="6622415" y="1534349"/>
                  <a:pt x="6602731" y="1520379"/>
                </a:cubicBezTo>
                <a:close/>
                <a:moveTo>
                  <a:pt x="6513831" y="1943288"/>
                </a:moveTo>
                <a:cubicBezTo>
                  <a:pt x="6490970" y="1919794"/>
                  <a:pt x="6454140" y="1956624"/>
                  <a:pt x="6478270" y="1979484"/>
                </a:cubicBezTo>
                <a:lnTo>
                  <a:pt x="6478270" y="1979484"/>
                </a:lnTo>
                <a:cubicBezTo>
                  <a:pt x="6500495" y="2002979"/>
                  <a:pt x="6537325" y="1966149"/>
                  <a:pt x="6513831" y="1943288"/>
                </a:cubicBezTo>
                <a:cubicBezTo>
                  <a:pt x="6513831" y="1943288"/>
                  <a:pt x="6513831" y="1943288"/>
                  <a:pt x="6513831" y="1943288"/>
                </a:cubicBezTo>
                <a:close/>
                <a:moveTo>
                  <a:pt x="7021831" y="2399854"/>
                </a:moveTo>
                <a:cubicBezTo>
                  <a:pt x="6996431" y="2378899"/>
                  <a:pt x="6964045" y="2419539"/>
                  <a:pt x="6990715" y="2439859"/>
                </a:cubicBezTo>
                <a:cubicBezTo>
                  <a:pt x="7016115" y="2460814"/>
                  <a:pt x="7047865" y="2419539"/>
                  <a:pt x="7021831" y="2399854"/>
                </a:cubicBezTo>
                <a:close/>
                <a:moveTo>
                  <a:pt x="6972935" y="2227134"/>
                </a:moveTo>
                <a:cubicBezTo>
                  <a:pt x="6948806" y="2207449"/>
                  <a:pt x="6918325" y="2245549"/>
                  <a:pt x="6943090" y="2264599"/>
                </a:cubicBezTo>
                <a:cubicBezTo>
                  <a:pt x="6967220" y="2284284"/>
                  <a:pt x="6997700" y="2246184"/>
                  <a:pt x="6972935" y="2227134"/>
                </a:cubicBezTo>
                <a:close/>
                <a:moveTo>
                  <a:pt x="7058025" y="2293174"/>
                </a:moveTo>
                <a:cubicBezTo>
                  <a:pt x="7033260" y="2274124"/>
                  <a:pt x="7004050" y="2312859"/>
                  <a:pt x="7028815" y="2331274"/>
                </a:cubicBezTo>
                <a:cubicBezTo>
                  <a:pt x="7053581" y="2350959"/>
                  <a:pt x="7083425" y="2312224"/>
                  <a:pt x="7058025" y="2293174"/>
                </a:cubicBezTo>
                <a:close/>
                <a:moveTo>
                  <a:pt x="6897370" y="2331909"/>
                </a:moveTo>
                <a:cubicBezTo>
                  <a:pt x="6875781" y="2356674"/>
                  <a:pt x="6915785" y="2389694"/>
                  <a:pt x="6936740" y="2364294"/>
                </a:cubicBezTo>
                <a:cubicBezTo>
                  <a:pt x="6958331" y="2338894"/>
                  <a:pt x="6918325" y="2305874"/>
                  <a:pt x="6897370" y="2331909"/>
                </a:cubicBezTo>
                <a:close/>
                <a:moveTo>
                  <a:pt x="6811010" y="2257614"/>
                </a:moveTo>
                <a:cubicBezTo>
                  <a:pt x="6802120" y="2268409"/>
                  <a:pt x="6802756" y="2284284"/>
                  <a:pt x="6813550" y="2293174"/>
                </a:cubicBezTo>
                <a:lnTo>
                  <a:pt x="6813550" y="2293174"/>
                </a:lnTo>
                <a:cubicBezTo>
                  <a:pt x="6870700" y="2327464"/>
                  <a:pt x="6862445" y="2215069"/>
                  <a:pt x="6811010" y="2257614"/>
                </a:cubicBezTo>
                <a:close/>
                <a:moveTo>
                  <a:pt x="6806565" y="2088069"/>
                </a:moveTo>
                <a:cubicBezTo>
                  <a:pt x="6783070" y="2067113"/>
                  <a:pt x="6751320" y="2103944"/>
                  <a:pt x="6775450" y="2124264"/>
                </a:cubicBezTo>
                <a:cubicBezTo>
                  <a:pt x="6798310" y="2145219"/>
                  <a:pt x="6830695" y="2108389"/>
                  <a:pt x="6806565" y="2088069"/>
                </a:cubicBezTo>
                <a:close/>
                <a:moveTo>
                  <a:pt x="6725285" y="2181414"/>
                </a:moveTo>
                <a:cubicBezTo>
                  <a:pt x="6703060" y="2205544"/>
                  <a:pt x="6741160" y="2240469"/>
                  <a:pt x="6762750" y="2215704"/>
                </a:cubicBezTo>
                <a:cubicBezTo>
                  <a:pt x="6785610" y="2190939"/>
                  <a:pt x="6747510" y="2156649"/>
                  <a:pt x="6725285" y="2181414"/>
                </a:cubicBezTo>
                <a:close/>
                <a:moveTo>
                  <a:pt x="6889115" y="2158554"/>
                </a:moveTo>
                <a:cubicBezTo>
                  <a:pt x="6865620" y="2138234"/>
                  <a:pt x="6834506" y="2175699"/>
                  <a:pt x="6858635" y="2195384"/>
                </a:cubicBezTo>
                <a:cubicBezTo>
                  <a:pt x="6882131" y="2215704"/>
                  <a:pt x="6913881" y="2178239"/>
                  <a:pt x="6889115" y="2158554"/>
                </a:cubicBezTo>
                <a:close/>
                <a:moveTo>
                  <a:pt x="6410325" y="1752154"/>
                </a:moveTo>
                <a:cubicBezTo>
                  <a:pt x="6432550" y="1730563"/>
                  <a:pt x="6397625" y="1695638"/>
                  <a:pt x="6376035" y="1718499"/>
                </a:cubicBezTo>
                <a:cubicBezTo>
                  <a:pt x="6354445" y="1740724"/>
                  <a:pt x="6389370" y="1775013"/>
                  <a:pt x="6410325" y="1752154"/>
                </a:cubicBezTo>
                <a:close/>
                <a:moveTo>
                  <a:pt x="6161405" y="1613724"/>
                </a:moveTo>
                <a:cubicBezTo>
                  <a:pt x="6137275" y="1635949"/>
                  <a:pt x="6172200" y="1673413"/>
                  <a:pt x="6196330" y="1650554"/>
                </a:cubicBezTo>
                <a:cubicBezTo>
                  <a:pt x="6220460" y="1628963"/>
                  <a:pt x="6184900" y="1590863"/>
                  <a:pt x="6161405" y="1613724"/>
                </a:cubicBezTo>
                <a:close/>
                <a:moveTo>
                  <a:pt x="6133465" y="1348294"/>
                </a:moveTo>
                <a:cubicBezTo>
                  <a:pt x="6112510" y="1327974"/>
                  <a:pt x="6080760" y="1360994"/>
                  <a:pt x="6102350" y="1381313"/>
                </a:cubicBezTo>
                <a:cubicBezTo>
                  <a:pt x="6122670" y="1401634"/>
                  <a:pt x="6155055" y="1367979"/>
                  <a:pt x="6133465" y="1348294"/>
                </a:cubicBezTo>
                <a:close/>
                <a:moveTo>
                  <a:pt x="6180455" y="1521649"/>
                </a:moveTo>
                <a:cubicBezTo>
                  <a:pt x="6202680" y="1500059"/>
                  <a:pt x="6169025" y="1465134"/>
                  <a:pt x="6146800" y="1487359"/>
                </a:cubicBezTo>
                <a:cubicBezTo>
                  <a:pt x="6124575" y="1508949"/>
                  <a:pt x="6158230" y="1543874"/>
                  <a:pt x="6180455" y="1521649"/>
                </a:cubicBezTo>
                <a:close/>
                <a:moveTo>
                  <a:pt x="6176010" y="1420049"/>
                </a:moveTo>
                <a:cubicBezTo>
                  <a:pt x="6167755" y="1428938"/>
                  <a:pt x="6167755" y="1443544"/>
                  <a:pt x="6176645" y="1451799"/>
                </a:cubicBezTo>
                <a:lnTo>
                  <a:pt x="6176645" y="1451799"/>
                </a:lnTo>
                <a:cubicBezTo>
                  <a:pt x="6226175" y="1484819"/>
                  <a:pt x="6223635" y="1385124"/>
                  <a:pt x="6176010" y="1420049"/>
                </a:cubicBezTo>
                <a:close/>
                <a:moveTo>
                  <a:pt x="6058535" y="1277174"/>
                </a:moveTo>
                <a:cubicBezTo>
                  <a:pt x="6037580" y="1256854"/>
                  <a:pt x="6005830" y="1289874"/>
                  <a:pt x="6027420" y="1310194"/>
                </a:cubicBezTo>
                <a:cubicBezTo>
                  <a:pt x="6048375" y="1330513"/>
                  <a:pt x="6080125" y="1297494"/>
                  <a:pt x="6058535" y="1277174"/>
                </a:cubicBezTo>
                <a:close/>
                <a:moveTo>
                  <a:pt x="6006465" y="1445449"/>
                </a:moveTo>
                <a:cubicBezTo>
                  <a:pt x="5981700" y="1467038"/>
                  <a:pt x="6016625" y="1505774"/>
                  <a:pt x="6040755" y="1482913"/>
                </a:cubicBezTo>
                <a:cubicBezTo>
                  <a:pt x="6065520" y="1461324"/>
                  <a:pt x="6030595" y="1422588"/>
                  <a:pt x="6006465" y="1445449"/>
                </a:cubicBezTo>
                <a:close/>
                <a:moveTo>
                  <a:pt x="6256655" y="1599119"/>
                </a:moveTo>
                <a:cubicBezTo>
                  <a:pt x="6278880" y="1577529"/>
                  <a:pt x="6244590" y="1542604"/>
                  <a:pt x="6223000" y="1564829"/>
                </a:cubicBezTo>
                <a:cubicBezTo>
                  <a:pt x="6200775" y="1586419"/>
                  <a:pt x="6235065" y="1621344"/>
                  <a:pt x="6256655" y="1599119"/>
                </a:cubicBezTo>
                <a:close/>
                <a:moveTo>
                  <a:pt x="6104255" y="1444179"/>
                </a:moveTo>
                <a:cubicBezTo>
                  <a:pt x="6127115" y="1422588"/>
                  <a:pt x="6092825" y="1387663"/>
                  <a:pt x="6070600" y="1409888"/>
                </a:cubicBezTo>
                <a:cubicBezTo>
                  <a:pt x="6048375" y="1430844"/>
                  <a:pt x="6082665" y="1465769"/>
                  <a:pt x="6104255" y="1444179"/>
                </a:cubicBezTo>
                <a:close/>
                <a:moveTo>
                  <a:pt x="6083935" y="1529904"/>
                </a:moveTo>
                <a:cubicBezTo>
                  <a:pt x="6059170" y="1552129"/>
                  <a:pt x="6094730" y="1590229"/>
                  <a:pt x="6118225" y="1567369"/>
                </a:cubicBezTo>
                <a:cubicBezTo>
                  <a:pt x="6142990" y="1545144"/>
                  <a:pt x="6107430" y="1507044"/>
                  <a:pt x="6083935" y="1529904"/>
                </a:cubicBezTo>
                <a:close/>
                <a:moveTo>
                  <a:pt x="6488430" y="1828354"/>
                </a:moveTo>
                <a:cubicBezTo>
                  <a:pt x="6510656" y="1806129"/>
                  <a:pt x="6475095" y="1772474"/>
                  <a:pt x="6454140" y="1794699"/>
                </a:cubicBezTo>
                <a:cubicBezTo>
                  <a:pt x="6431915" y="1816924"/>
                  <a:pt x="6466840" y="1850579"/>
                  <a:pt x="6488430" y="1828354"/>
                </a:cubicBezTo>
                <a:close/>
                <a:moveTo>
                  <a:pt x="6028055" y="1366074"/>
                </a:moveTo>
                <a:cubicBezTo>
                  <a:pt x="6050915" y="1344484"/>
                  <a:pt x="6016625" y="1309559"/>
                  <a:pt x="5994400" y="1331784"/>
                </a:cubicBezTo>
                <a:cubicBezTo>
                  <a:pt x="5972175" y="1353374"/>
                  <a:pt x="6006465" y="1388299"/>
                  <a:pt x="6028055" y="1366074"/>
                </a:cubicBezTo>
                <a:close/>
                <a:moveTo>
                  <a:pt x="6358890" y="1399094"/>
                </a:moveTo>
                <a:cubicBezTo>
                  <a:pt x="6339205" y="1382584"/>
                  <a:pt x="6313805" y="1414334"/>
                  <a:pt x="6334125" y="1430209"/>
                </a:cubicBezTo>
                <a:cubicBezTo>
                  <a:pt x="6353810" y="1446719"/>
                  <a:pt x="6379210" y="1414969"/>
                  <a:pt x="6358890" y="1399094"/>
                </a:cubicBezTo>
                <a:close/>
                <a:moveTo>
                  <a:pt x="6325870" y="1561654"/>
                </a:moveTo>
                <a:cubicBezTo>
                  <a:pt x="6305550" y="1582609"/>
                  <a:pt x="6339205" y="1614359"/>
                  <a:pt x="6358890" y="1592769"/>
                </a:cubicBezTo>
                <a:cubicBezTo>
                  <a:pt x="6379210" y="1571813"/>
                  <a:pt x="6345555" y="1540063"/>
                  <a:pt x="6325870" y="1561654"/>
                </a:cubicBezTo>
                <a:close/>
                <a:moveTo>
                  <a:pt x="6397625" y="1862009"/>
                </a:moveTo>
                <a:cubicBezTo>
                  <a:pt x="6373495" y="1884869"/>
                  <a:pt x="6410325" y="1921699"/>
                  <a:pt x="6433185" y="1898204"/>
                </a:cubicBezTo>
                <a:cubicBezTo>
                  <a:pt x="6456680" y="1875979"/>
                  <a:pt x="6420485" y="1839149"/>
                  <a:pt x="6397625" y="1862009"/>
                </a:cubicBezTo>
                <a:close/>
                <a:moveTo>
                  <a:pt x="6250940" y="1491169"/>
                </a:moveTo>
                <a:cubicBezTo>
                  <a:pt x="6230620" y="1512124"/>
                  <a:pt x="6263640" y="1543874"/>
                  <a:pt x="6283960" y="1522284"/>
                </a:cubicBezTo>
                <a:cubicBezTo>
                  <a:pt x="6304280" y="1501329"/>
                  <a:pt x="6270625" y="1469579"/>
                  <a:pt x="6250940" y="1491169"/>
                </a:cubicBezTo>
                <a:close/>
                <a:moveTo>
                  <a:pt x="6239510" y="1697544"/>
                </a:moveTo>
                <a:cubicBezTo>
                  <a:pt x="6215380" y="1719769"/>
                  <a:pt x="6250940" y="1757234"/>
                  <a:pt x="6274435" y="1734374"/>
                </a:cubicBezTo>
                <a:cubicBezTo>
                  <a:pt x="6298565" y="1712149"/>
                  <a:pt x="6263005" y="1674049"/>
                  <a:pt x="6239510" y="1697544"/>
                </a:cubicBezTo>
                <a:close/>
                <a:moveTo>
                  <a:pt x="6333490" y="1675954"/>
                </a:moveTo>
                <a:cubicBezTo>
                  <a:pt x="6355715" y="1654363"/>
                  <a:pt x="6321425" y="1619438"/>
                  <a:pt x="6299835" y="1642299"/>
                </a:cubicBezTo>
                <a:cubicBezTo>
                  <a:pt x="6276975" y="1663888"/>
                  <a:pt x="6311900" y="1698179"/>
                  <a:pt x="6333490" y="1675954"/>
                </a:cubicBezTo>
                <a:close/>
                <a:moveTo>
                  <a:pt x="6318250" y="1780094"/>
                </a:moveTo>
                <a:cubicBezTo>
                  <a:pt x="6294120" y="1802319"/>
                  <a:pt x="6330315" y="1839784"/>
                  <a:pt x="6353175" y="1816924"/>
                </a:cubicBezTo>
                <a:cubicBezTo>
                  <a:pt x="6377305" y="1794063"/>
                  <a:pt x="6341745" y="1756599"/>
                  <a:pt x="6318250" y="1780094"/>
                </a:cubicBezTo>
                <a:close/>
                <a:moveTo>
                  <a:pt x="11677015" y="763459"/>
                </a:moveTo>
                <a:cubicBezTo>
                  <a:pt x="11657330" y="767269"/>
                  <a:pt x="11664315" y="798384"/>
                  <a:pt x="11683365" y="793938"/>
                </a:cubicBezTo>
                <a:cubicBezTo>
                  <a:pt x="11703050" y="790129"/>
                  <a:pt x="11696700" y="759013"/>
                  <a:pt x="11677015" y="763459"/>
                </a:cubicBezTo>
                <a:close/>
                <a:moveTo>
                  <a:pt x="11456670" y="669479"/>
                </a:moveTo>
                <a:cubicBezTo>
                  <a:pt x="11448415" y="647254"/>
                  <a:pt x="11413490" y="660588"/>
                  <a:pt x="11422380" y="682813"/>
                </a:cubicBezTo>
                <a:cubicBezTo>
                  <a:pt x="11431270" y="705038"/>
                  <a:pt x="11466195" y="691069"/>
                  <a:pt x="11456670" y="669479"/>
                </a:cubicBezTo>
                <a:close/>
                <a:moveTo>
                  <a:pt x="11421110" y="1004124"/>
                </a:moveTo>
                <a:cubicBezTo>
                  <a:pt x="11405235" y="1007934"/>
                  <a:pt x="11411585" y="1033334"/>
                  <a:pt x="11427460" y="1028888"/>
                </a:cubicBezTo>
                <a:cubicBezTo>
                  <a:pt x="11443335" y="1025079"/>
                  <a:pt x="11436985" y="1000313"/>
                  <a:pt x="11421110" y="1004124"/>
                </a:cubicBezTo>
                <a:close/>
                <a:moveTo>
                  <a:pt x="11315700" y="867599"/>
                </a:moveTo>
                <a:cubicBezTo>
                  <a:pt x="11296650" y="873949"/>
                  <a:pt x="11307445" y="903794"/>
                  <a:pt x="11326495" y="896809"/>
                </a:cubicBezTo>
                <a:cubicBezTo>
                  <a:pt x="11345545" y="889824"/>
                  <a:pt x="11334750" y="859979"/>
                  <a:pt x="11315700" y="867599"/>
                </a:cubicBezTo>
                <a:close/>
                <a:moveTo>
                  <a:pt x="11386820" y="842834"/>
                </a:moveTo>
                <a:cubicBezTo>
                  <a:pt x="11367770" y="848549"/>
                  <a:pt x="11377930" y="879029"/>
                  <a:pt x="11396345" y="872044"/>
                </a:cubicBezTo>
                <a:cubicBezTo>
                  <a:pt x="11416030" y="866329"/>
                  <a:pt x="11405870" y="835849"/>
                  <a:pt x="11386820" y="842834"/>
                </a:cubicBezTo>
                <a:close/>
                <a:moveTo>
                  <a:pt x="11367135" y="725359"/>
                </a:moveTo>
                <a:cubicBezTo>
                  <a:pt x="11389360" y="716469"/>
                  <a:pt x="11374755" y="682179"/>
                  <a:pt x="11352530" y="691704"/>
                </a:cubicBezTo>
                <a:cubicBezTo>
                  <a:pt x="11330940" y="700594"/>
                  <a:pt x="11346180" y="734884"/>
                  <a:pt x="11367135" y="725359"/>
                </a:cubicBezTo>
                <a:close/>
                <a:moveTo>
                  <a:pt x="1247775" y="2085529"/>
                </a:moveTo>
                <a:cubicBezTo>
                  <a:pt x="1226185" y="2088704"/>
                  <a:pt x="1231900" y="2122994"/>
                  <a:pt x="1253490" y="2118549"/>
                </a:cubicBezTo>
                <a:cubicBezTo>
                  <a:pt x="1275080" y="2115374"/>
                  <a:pt x="1269365" y="2081719"/>
                  <a:pt x="1247775" y="2085529"/>
                </a:cubicBezTo>
                <a:close/>
                <a:moveTo>
                  <a:pt x="11317605" y="786319"/>
                </a:moveTo>
                <a:cubicBezTo>
                  <a:pt x="11297285" y="793938"/>
                  <a:pt x="11309985" y="826324"/>
                  <a:pt x="11330305" y="817434"/>
                </a:cubicBezTo>
                <a:cubicBezTo>
                  <a:pt x="11350625" y="809813"/>
                  <a:pt x="11337925" y="778063"/>
                  <a:pt x="11317605" y="786319"/>
                </a:cubicBezTo>
                <a:close/>
                <a:moveTo>
                  <a:pt x="11359515" y="1020634"/>
                </a:moveTo>
                <a:cubicBezTo>
                  <a:pt x="11343640" y="1024444"/>
                  <a:pt x="11350625" y="1049844"/>
                  <a:pt x="11366500" y="1045399"/>
                </a:cubicBezTo>
                <a:cubicBezTo>
                  <a:pt x="11381740" y="1040954"/>
                  <a:pt x="11375390" y="1016188"/>
                  <a:pt x="11359515" y="1020634"/>
                </a:cubicBezTo>
                <a:close/>
                <a:moveTo>
                  <a:pt x="11383645" y="927924"/>
                </a:moveTo>
                <a:cubicBezTo>
                  <a:pt x="11365865" y="933004"/>
                  <a:pt x="11374120" y="960309"/>
                  <a:pt x="11391900" y="955229"/>
                </a:cubicBezTo>
                <a:cubicBezTo>
                  <a:pt x="11409045" y="950149"/>
                  <a:pt x="11400790" y="922844"/>
                  <a:pt x="11383645" y="927924"/>
                </a:cubicBezTo>
                <a:close/>
                <a:moveTo>
                  <a:pt x="11450320" y="908874"/>
                </a:moveTo>
                <a:cubicBezTo>
                  <a:pt x="11432540" y="913319"/>
                  <a:pt x="11440160" y="941259"/>
                  <a:pt x="11457940" y="936179"/>
                </a:cubicBezTo>
                <a:cubicBezTo>
                  <a:pt x="11475085" y="931734"/>
                  <a:pt x="11468100" y="903794"/>
                  <a:pt x="11450320" y="908874"/>
                </a:cubicBezTo>
                <a:close/>
                <a:moveTo>
                  <a:pt x="11546840" y="706309"/>
                </a:moveTo>
                <a:cubicBezTo>
                  <a:pt x="11525885" y="712659"/>
                  <a:pt x="11536045" y="745679"/>
                  <a:pt x="11556365" y="738694"/>
                </a:cubicBezTo>
                <a:cubicBezTo>
                  <a:pt x="11577320" y="732344"/>
                  <a:pt x="11567795" y="699324"/>
                  <a:pt x="11546840" y="706309"/>
                </a:cubicBezTo>
                <a:close/>
                <a:moveTo>
                  <a:pt x="11602085" y="886649"/>
                </a:moveTo>
                <a:cubicBezTo>
                  <a:pt x="11587480" y="852359"/>
                  <a:pt x="11554460" y="905699"/>
                  <a:pt x="11591290" y="903794"/>
                </a:cubicBezTo>
                <a:lnTo>
                  <a:pt x="11591290" y="903794"/>
                </a:lnTo>
                <a:cubicBezTo>
                  <a:pt x="11598910" y="901254"/>
                  <a:pt x="11603355" y="894269"/>
                  <a:pt x="11602085" y="886649"/>
                </a:cubicBezTo>
                <a:close/>
                <a:moveTo>
                  <a:pt x="11469370" y="475169"/>
                </a:moveTo>
                <a:cubicBezTo>
                  <a:pt x="11443970" y="485963"/>
                  <a:pt x="11462385" y="525334"/>
                  <a:pt x="11486515" y="513904"/>
                </a:cubicBezTo>
                <a:cubicBezTo>
                  <a:pt x="11511915" y="502474"/>
                  <a:pt x="11494135" y="463104"/>
                  <a:pt x="11469370" y="475169"/>
                </a:cubicBezTo>
                <a:close/>
                <a:moveTo>
                  <a:pt x="11603990" y="779969"/>
                </a:moveTo>
                <a:cubicBezTo>
                  <a:pt x="11584305" y="784413"/>
                  <a:pt x="11591925" y="815529"/>
                  <a:pt x="11611610" y="809813"/>
                </a:cubicBezTo>
                <a:cubicBezTo>
                  <a:pt x="11630660" y="806004"/>
                  <a:pt x="11623040" y="775524"/>
                  <a:pt x="11603990" y="779969"/>
                </a:cubicBezTo>
                <a:close/>
                <a:moveTo>
                  <a:pt x="11607800" y="963484"/>
                </a:moveTo>
                <a:cubicBezTo>
                  <a:pt x="11591290" y="966024"/>
                  <a:pt x="11596370" y="991424"/>
                  <a:pt x="11612880" y="988249"/>
                </a:cubicBezTo>
                <a:cubicBezTo>
                  <a:pt x="11628755" y="985074"/>
                  <a:pt x="11623675" y="959674"/>
                  <a:pt x="11607800" y="963484"/>
                </a:cubicBezTo>
                <a:close/>
                <a:moveTo>
                  <a:pt x="11526520" y="663129"/>
                </a:moveTo>
                <a:lnTo>
                  <a:pt x="11526520" y="663129"/>
                </a:lnTo>
                <a:cubicBezTo>
                  <a:pt x="11579225" y="608519"/>
                  <a:pt x="11452860" y="630109"/>
                  <a:pt x="11520170" y="664399"/>
                </a:cubicBezTo>
                <a:cubicBezTo>
                  <a:pt x="11522710" y="664399"/>
                  <a:pt x="11524615" y="663763"/>
                  <a:pt x="11526520" y="663129"/>
                </a:cubicBezTo>
                <a:close/>
                <a:moveTo>
                  <a:pt x="11520170" y="818069"/>
                </a:moveTo>
                <a:cubicBezTo>
                  <a:pt x="11525250" y="837754"/>
                  <a:pt x="11555730" y="828863"/>
                  <a:pt x="11550015" y="809813"/>
                </a:cubicBezTo>
                <a:cubicBezTo>
                  <a:pt x="11544935" y="790763"/>
                  <a:pt x="11514455" y="799019"/>
                  <a:pt x="11520170" y="818069"/>
                </a:cubicBezTo>
                <a:close/>
                <a:moveTo>
                  <a:pt x="11517630" y="891729"/>
                </a:moveTo>
                <a:cubicBezTo>
                  <a:pt x="11499850" y="895538"/>
                  <a:pt x="11506835" y="924113"/>
                  <a:pt x="11524615" y="919034"/>
                </a:cubicBezTo>
                <a:cubicBezTo>
                  <a:pt x="11542395" y="914588"/>
                  <a:pt x="11535410" y="886649"/>
                  <a:pt x="11517630" y="891729"/>
                </a:cubicBezTo>
                <a:close/>
                <a:moveTo>
                  <a:pt x="11544935" y="975549"/>
                </a:moveTo>
                <a:cubicBezTo>
                  <a:pt x="11528425" y="978724"/>
                  <a:pt x="11534140" y="1004124"/>
                  <a:pt x="11550015" y="1000313"/>
                </a:cubicBezTo>
                <a:cubicBezTo>
                  <a:pt x="11566525" y="997138"/>
                  <a:pt x="11561445" y="972374"/>
                  <a:pt x="11544935" y="975549"/>
                </a:cubicBezTo>
                <a:close/>
                <a:moveTo>
                  <a:pt x="11185525" y="993329"/>
                </a:moveTo>
                <a:cubicBezTo>
                  <a:pt x="11168380" y="999044"/>
                  <a:pt x="11178540" y="1026349"/>
                  <a:pt x="11195050" y="1019999"/>
                </a:cubicBezTo>
                <a:cubicBezTo>
                  <a:pt x="11212830" y="1014284"/>
                  <a:pt x="11202670" y="986979"/>
                  <a:pt x="11185525" y="993329"/>
                </a:cubicBezTo>
                <a:close/>
                <a:moveTo>
                  <a:pt x="11316970" y="948244"/>
                </a:moveTo>
                <a:cubicBezTo>
                  <a:pt x="11299190" y="953324"/>
                  <a:pt x="11308080" y="981263"/>
                  <a:pt x="11325225" y="974913"/>
                </a:cubicBezTo>
                <a:lnTo>
                  <a:pt x="11325225" y="974913"/>
                </a:lnTo>
                <a:cubicBezTo>
                  <a:pt x="11343005" y="969834"/>
                  <a:pt x="11334750" y="942529"/>
                  <a:pt x="11316970" y="948244"/>
                </a:cubicBezTo>
                <a:close/>
                <a:moveTo>
                  <a:pt x="11123295" y="733613"/>
                </a:moveTo>
                <a:cubicBezTo>
                  <a:pt x="11123295" y="733613"/>
                  <a:pt x="11123295" y="733613"/>
                  <a:pt x="11123295" y="733613"/>
                </a:cubicBezTo>
                <a:cubicBezTo>
                  <a:pt x="11101070" y="746313"/>
                  <a:pt x="11121390" y="780604"/>
                  <a:pt x="11143615" y="767269"/>
                </a:cubicBezTo>
                <a:cubicBezTo>
                  <a:pt x="11165840" y="754569"/>
                  <a:pt x="11145520" y="720279"/>
                  <a:pt x="11123295" y="733613"/>
                </a:cubicBezTo>
                <a:close/>
                <a:moveTo>
                  <a:pt x="11183620" y="881569"/>
                </a:moveTo>
                <a:cubicBezTo>
                  <a:pt x="11203940" y="872679"/>
                  <a:pt x="11188700" y="841563"/>
                  <a:pt x="11169015" y="851088"/>
                </a:cubicBezTo>
                <a:cubicBezTo>
                  <a:pt x="11149330" y="859979"/>
                  <a:pt x="11163935" y="891094"/>
                  <a:pt x="11183620" y="881569"/>
                </a:cubicBezTo>
                <a:close/>
                <a:moveTo>
                  <a:pt x="11119485" y="805369"/>
                </a:moveTo>
                <a:cubicBezTo>
                  <a:pt x="11098530" y="816163"/>
                  <a:pt x="11116310" y="849184"/>
                  <a:pt x="11137265" y="837754"/>
                </a:cubicBezTo>
                <a:cubicBezTo>
                  <a:pt x="11157585" y="826324"/>
                  <a:pt x="11139805" y="793304"/>
                  <a:pt x="11119485" y="805369"/>
                </a:cubicBezTo>
                <a:close/>
                <a:moveTo>
                  <a:pt x="11120755" y="1018094"/>
                </a:moveTo>
                <a:cubicBezTo>
                  <a:pt x="11103610" y="1024444"/>
                  <a:pt x="11114405" y="1051113"/>
                  <a:pt x="11130915" y="1044129"/>
                </a:cubicBezTo>
                <a:cubicBezTo>
                  <a:pt x="11148695" y="1038413"/>
                  <a:pt x="11137900" y="1011109"/>
                  <a:pt x="11120755" y="1018094"/>
                </a:cubicBezTo>
                <a:close/>
                <a:moveTo>
                  <a:pt x="11111865" y="916494"/>
                </a:moveTo>
                <a:cubicBezTo>
                  <a:pt x="11131550" y="906969"/>
                  <a:pt x="11116310" y="875854"/>
                  <a:pt x="11096625" y="886013"/>
                </a:cubicBezTo>
                <a:cubicBezTo>
                  <a:pt x="11076305" y="896174"/>
                  <a:pt x="11092180" y="926654"/>
                  <a:pt x="11111865" y="916494"/>
                </a:cubicBezTo>
                <a:close/>
                <a:moveTo>
                  <a:pt x="11119485" y="979994"/>
                </a:moveTo>
                <a:cubicBezTo>
                  <a:pt x="11137900" y="972374"/>
                  <a:pt x="11125200" y="943163"/>
                  <a:pt x="11106785" y="951419"/>
                </a:cubicBezTo>
                <a:cubicBezTo>
                  <a:pt x="11088370" y="959674"/>
                  <a:pt x="11101070" y="988249"/>
                  <a:pt x="11119485" y="979994"/>
                </a:cubicBezTo>
                <a:close/>
                <a:moveTo>
                  <a:pt x="11181715" y="951419"/>
                </a:moveTo>
                <a:cubicBezTo>
                  <a:pt x="11205845" y="950784"/>
                  <a:pt x="11198225" y="912684"/>
                  <a:pt x="11176000" y="921574"/>
                </a:cubicBezTo>
                <a:cubicBezTo>
                  <a:pt x="11160125" y="927924"/>
                  <a:pt x="11165840" y="952054"/>
                  <a:pt x="11181715" y="951419"/>
                </a:cubicBezTo>
                <a:close/>
                <a:moveTo>
                  <a:pt x="9165590" y="2393504"/>
                </a:moveTo>
                <a:cubicBezTo>
                  <a:pt x="9140825" y="2405569"/>
                  <a:pt x="9160510" y="2444304"/>
                  <a:pt x="9184640" y="2430969"/>
                </a:cubicBezTo>
                <a:cubicBezTo>
                  <a:pt x="9209405" y="2418904"/>
                  <a:pt x="9189720" y="2380804"/>
                  <a:pt x="9165590" y="2393504"/>
                </a:cubicBezTo>
                <a:close/>
                <a:moveTo>
                  <a:pt x="11125835" y="663129"/>
                </a:moveTo>
                <a:cubicBezTo>
                  <a:pt x="11102340" y="677734"/>
                  <a:pt x="11125835" y="713929"/>
                  <a:pt x="11148695" y="698688"/>
                </a:cubicBezTo>
                <a:cubicBezTo>
                  <a:pt x="11172190" y="684084"/>
                  <a:pt x="11148695" y="647888"/>
                  <a:pt x="11125835" y="663129"/>
                </a:cubicBezTo>
                <a:close/>
                <a:moveTo>
                  <a:pt x="11250930" y="970469"/>
                </a:moveTo>
                <a:cubicBezTo>
                  <a:pt x="11233785" y="976184"/>
                  <a:pt x="11243310" y="1003488"/>
                  <a:pt x="11260455" y="997138"/>
                </a:cubicBezTo>
                <a:cubicBezTo>
                  <a:pt x="11277600" y="991424"/>
                  <a:pt x="11268710" y="964119"/>
                  <a:pt x="11250930" y="970469"/>
                </a:cubicBezTo>
                <a:close/>
                <a:moveTo>
                  <a:pt x="11176635" y="1075244"/>
                </a:moveTo>
                <a:cubicBezTo>
                  <a:pt x="11160760" y="1080324"/>
                  <a:pt x="11169015" y="1104454"/>
                  <a:pt x="11184890" y="1099374"/>
                </a:cubicBezTo>
                <a:cubicBezTo>
                  <a:pt x="11200130" y="1094929"/>
                  <a:pt x="11191875" y="1070163"/>
                  <a:pt x="11176635" y="1075244"/>
                </a:cubicBezTo>
                <a:close/>
                <a:moveTo>
                  <a:pt x="11236960" y="1056194"/>
                </a:moveTo>
                <a:cubicBezTo>
                  <a:pt x="11221085" y="1060638"/>
                  <a:pt x="11228705" y="1085404"/>
                  <a:pt x="11244580" y="1080324"/>
                </a:cubicBezTo>
                <a:cubicBezTo>
                  <a:pt x="11260455" y="1075879"/>
                  <a:pt x="11252835" y="1051113"/>
                  <a:pt x="11236960" y="1056194"/>
                </a:cubicBezTo>
                <a:close/>
                <a:moveTo>
                  <a:pt x="11297920" y="1037779"/>
                </a:moveTo>
                <a:cubicBezTo>
                  <a:pt x="11282045" y="1042224"/>
                  <a:pt x="11289665" y="1066988"/>
                  <a:pt x="11304905" y="1061909"/>
                </a:cubicBezTo>
                <a:cubicBezTo>
                  <a:pt x="11320780" y="1057463"/>
                  <a:pt x="11313795" y="1032699"/>
                  <a:pt x="11297920" y="1037779"/>
                </a:cubicBezTo>
                <a:close/>
                <a:moveTo>
                  <a:pt x="11298555" y="736154"/>
                </a:moveTo>
                <a:cubicBezTo>
                  <a:pt x="11289030" y="714563"/>
                  <a:pt x="11254740" y="730438"/>
                  <a:pt x="11265535" y="751394"/>
                </a:cubicBezTo>
                <a:cubicBezTo>
                  <a:pt x="11275060" y="772984"/>
                  <a:pt x="11308715" y="757109"/>
                  <a:pt x="11298555" y="736154"/>
                </a:cubicBezTo>
                <a:close/>
                <a:moveTo>
                  <a:pt x="11645265" y="696149"/>
                </a:moveTo>
                <a:cubicBezTo>
                  <a:pt x="11640185" y="674559"/>
                  <a:pt x="11606530" y="683449"/>
                  <a:pt x="11612245" y="705038"/>
                </a:cubicBezTo>
                <a:cubicBezTo>
                  <a:pt x="11617960" y="725994"/>
                  <a:pt x="11650980" y="717104"/>
                  <a:pt x="11645265" y="696149"/>
                </a:cubicBezTo>
                <a:close/>
                <a:moveTo>
                  <a:pt x="11230610" y="695513"/>
                </a:moveTo>
                <a:cubicBezTo>
                  <a:pt x="11218545" y="672654"/>
                  <a:pt x="11182985" y="692338"/>
                  <a:pt x="11196320" y="714563"/>
                </a:cubicBezTo>
                <a:cubicBezTo>
                  <a:pt x="11207750" y="737424"/>
                  <a:pt x="11243310" y="717738"/>
                  <a:pt x="11230610" y="695513"/>
                </a:cubicBezTo>
                <a:close/>
                <a:moveTo>
                  <a:pt x="11195685" y="764729"/>
                </a:moveTo>
                <a:cubicBezTo>
                  <a:pt x="11174095" y="775524"/>
                  <a:pt x="11191240" y="808544"/>
                  <a:pt x="11212195" y="797749"/>
                </a:cubicBezTo>
                <a:cubicBezTo>
                  <a:pt x="11233785" y="787588"/>
                  <a:pt x="11217275" y="753934"/>
                  <a:pt x="11195685" y="764729"/>
                </a:cubicBezTo>
                <a:close/>
                <a:moveTo>
                  <a:pt x="11723370" y="677099"/>
                </a:moveTo>
                <a:cubicBezTo>
                  <a:pt x="11718925" y="655509"/>
                  <a:pt x="11685270" y="663129"/>
                  <a:pt x="11690350" y="684719"/>
                </a:cubicBezTo>
                <a:cubicBezTo>
                  <a:pt x="11695430" y="706309"/>
                  <a:pt x="11728450" y="698054"/>
                  <a:pt x="11723370" y="677099"/>
                </a:cubicBezTo>
                <a:close/>
                <a:moveTo>
                  <a:pt x="12066270" y="809179"/>
                </a:moveTo>
                <a:cubicBezTo>
                  <a:pt x="12047855" y="809813"/>
                  <a:pt x="12049760" y="839024"/>
                  <a:pt x="12067540" y="837119"/>
                </a:cubicBezTo>
                <a:lnTo>
                  <a:pt x="12067540" y="837119"/>
                </a:lnTo>
                <a:cubicBezTo>
                  <a:pt x="12085955" y="836484"/>
                  <a:pt x="12084685" y="807909"/>
                  <a:pt x="12066270" y="809179"/>
                </a:cubicBezTo>
                <a:close/>
                <a:moveTo>
                  <a:pt x="12103100" y="605979"/>
                </a:moveTo>
                <a:cubicBezTo>
                  <a:pt x="12080875" y="606613"/>
                  <a:pt x="12083415" y="641538"/>
                  <a:pt x="12105005" y="639634"/>
                </a:cubicBezTo>
                <a:cubicBezTo>
                  <a:pt x="12127230" y="638999"/>
                  <a:pt x="12125325" y="604074"/>
                  <a:pt x="12103100" y="605979"/>
                </a:cubicBezTo>
                <a:close/>
                <a:moveTo>
                  <a:pt x="12113895" y="907604"/>
                </a:moveTo>
                <a:cubicBezTo>
                  <a:pt x="12097385" y="907604"/>
                  <a:pt x="12098020" y="933638"/>
                  <a:pt x="12114530" y="933004"/>
                </a:cubicBezTo>
                <a:cubicBezTo>
                  <a:pt x="12131040" y="933004"/>
                  <a:pt x="12130405" y="906969"/>
                  <a:pt x="12113895" y="907604"/>
                </a:cubicBezTo>
                <a:close/>
                <a:moveTo>
                  <a:pt x="12050395" y="910144"/>
                </a:moveTo>
                <a:cubicBezTo>
                  <a:pt x="12033885" y="910779"/>
                  <a:pt x="12035155" y="936813"/>
                  <a:pt x="12051665" y="935544"/>
                </a:cubicBezTo>
                <a:cubicBezTo>
                  <a:pt x="12068175" y="934909"/>
                  <a:pt x="12066905" y="909509"/>
                  <a:pt x="12050395" y="910144"/>
                </a:cubicBezTo>
                <a:close/>
                <a:moveTo>
                  <a:pt x="12049760" y="741234"/>
                </a:moveTo>
                <a:cubicBezTo>
                  <a:pt x="12070715" y="741234"/>
                  <a:pt x="12069445" y="708213"/>
                  <a:pt x="12048490" y="710119"/>
                </a:cubicBezTo>
                <a:cubicBezTo>
                  <a:pt x="12029440" y="710754"/>
                  <a:pt x="12030710" y="741234"/>
                  <a:pt x="12049760" y="741234"/>
                </a:cubicBezTo>
                <a:close/>
                <a:moveTo>
                  <a:pt x="12135485" y="806004"/>
                </a:moveTo>
                <a:cubicBezTo>
                  <a:pt x="12117070" y="806638"/>
                  <a:pt x="12118340" y="835213"/>
                  <a:pt x="12136120" y="833944"/>
                </a:cubicBezTo>
                <a:cubicBezTo>
                  <a:pt x="12154535" y="833944"/>
                  <a:pt x="12153900" y="805369"/>
                  <a:pt x="12135485" y="806004"/>
                </a:cubicBezTo>
                <a:close/>
                <a:moveTo>
                  <a:pt x="11997055" y="813624"/>
                </a:moveTo>
                <a:cubicBezTo>
                  <a:pt x="11978640" y="814894"/>
                  <a:pt x="11981180" y="843469"/>
                  <a:pt x="11999595" y="841563"/>
                </a:cubicBezTo>
                <a:cubicBezTo>
                  <a:pt x="12017375" y="840929"/>
                  <a:pt x="12014835" y="812354"/>
                  <a:pt x="11997055" y="813624"/>
                </a:cubicBezTo>
                <a:close/>
                <a:moveTo>
                  <a:pt x="11669395" y="872679"/>
                </a:moveTo>
                <a:cubicBezTo>
                  <a:pt x="11666220" y="854899"/>
                  <a:pt x="11637645" y="859979"/>
                  <a:pt x="11641455" y="878394"/>
                </a:cubicBezTo>
                <a:cubicBezTo>
                  <a:pt x="11645265" y="896174"/>
                  <a:pt x="11673205" y="890459"/>
                  <a:pt x="11669395" y="872679"/>
                </a:cubicBezTo>
                <a:close/>
                <a:moveTo>
                  <a:pt x="12040870" y="627569"/>
                </a:moveTo>
                <a:cubicBezTo>
                  <a:pt x="12038965" y="605979"/>
                  <a:pt x="12004675" y="609154"/>
                  <a:pt x="12007215" y="630744"/>
                </a:cubicBezTo>
                <a:cubicBezTo>
                  <a:pt x="12009120" y="652969"/>
                  <a:pt x="12043410" y="649159"/>
                  <a:pt x="12040870" y="627569"/>
                </a:cubicBezTo>
                <a:close/>
                <a:moveTo>
                  <a:pt x="12192000" y="238949"/>
                </a:moveTo>
                <a:lnTo>
                  <a:pt x="12192000" y="198944"/>
                </a:lnTo>
                <a:cubicBezTo>
                  <a:pt x="12176760" y="207199"/>
                  <a:pt x="12177395" y="231329"/>
                  <a:pt x="12192000" y="238949"/>
                </a:cubicBezTo>
                <a:close/>
                <a:moveTo>
                  <a:pt x="12167235" y="619949"/>
                </a:moveTo>
                <a:cubicBezTo>
                  <a:pt x="12167235" y="633919"/>
                  <a:pt x="12181840" y="638999"/>
                  <a:pt x="12192000" y="634554"/>
                </a:cubicBezTo>
                <a:lnTo>
                  <a:pt x="12192000" y="604709"/>
                </a:lnTo>
                <a:cubicBezTo>
                  <a:pt x="12181840" y="600263"/>
                  <a:pt x="12167235" y="605344"/>
                  <a:pt x="12167235" y="619949"/>
                </a:cubicBezTo>
                <a:close/>
                <a:moveTo>
                  <a:pt x="11974195" y="716469"/>
                </a:moveTo>
                <a:cubicBezTo>
                  <a:pt x="11953875" y="718374"/>
                  <a:pt x="11957050" y="749488"/>
                  <a:pt x="11977370" y="747584"/>
                </a:cubicBezTo>
                <a:cubicBezTo>
                  <a:pt x="11997055" y="745679"/>
                  <a:pt x="11993880" y="713929"/>
                  <a:pt x="11974195" y="716469"/>
                </a:cubicBezTo>
                <a:close/>
                <a:moveTo>
                  <a:pt x="12192000" y="537399"/>
                </a:moveTo>
                <a:lnTo>
                  <a:pt x="12192000" y="501204"/>
                </a:lnTo>
                <a:cubicBezTo>
                  <a:pt x="12171045" y="503108"/>
                  <a:pt x="12171680" y="535494"/>
                  <a:pt x="12192000" y="537399"/>
                </a:cubicBezTo>
                <a:close/>
                <a:moveTo>
                  <a:pt x="12192000" y="143063"/>
                </a:moveTo>
                <a:lnTo>
                  <a:pt x="12192000" y="96074"/>
                </a:lnTo>
                <a:cubicBezTo>
                  <a:pt x="12167235" y="99883"/>
                  <a:pt x="12167870" y="138619"/>
                  <a:pt x="12192000" y="143063"/>
                </a:cubicBezTo>
                <a:close/>
                <a:moveTo>
                  <a:pt x="12192000" y="823149"/>
                </a:moveTo>
                <a:lnTo>
                  <a:pt x="12192000" y="814894"/>
                </a:lnTo>
                <a:cubicBezTo>
                  <a:pt x="12191365" y="817434"/>
                  <a:pt x="12191365" y="820609"/>
                  <a:pt x="12192000" y="823149"/>
                </a:cubicBezTo>
                <a:close/>
                <a:moveTo>
                  <a:pt x="12178030" y="906334"/>
                </a:moveTo>
                <a:cubicBezTo>
                  <a:pt x="12161520" y="906334"/>
                  <a:pt x="12161520" y="932369"/>
                  <a:pt x="12178665" y="931734"/>
                </a:cubicBezTo>
                <a:cubicBezTo>
                  <a:pt x="12194540" y="931734"/>
                  <a:pt x="12194540" y="905699"/>
                  <a:pt x="12178030" y="906334"/>
                </a:cubicBezTo>
                <a:close/>
                <a:moveTo>
                  <a:pt x="12170410" y="400238"/>
                </a:moveTo>
                <a:cubicBezTo>
                  <a:pt x="12145010" y="400874"/>
                  <a:pt x="12146915" y="441513"/>
                  <a:pt x="12172315" y="439608"/>
                </a:cubicBezTo>
                <a:cubicBezTo>
                  <a:pt x="12197715" y="438974"/>
                  <a:pt x="12195810" y="398969"/>
                  <a:pt x="12170410" y="400238"/>
                </a:cubicBezTo>
                <a:close/>
                <a:moveTo>
                  <a:pt x="12192000" y="732979"/>
                </a:moveTo>
                <a:lnTo>
                  <a:pt x="12192000" y="705038"/>
                </a:lnTo>
                <a:cubicBezTo>
                  <a:pt x="12181840" y="710754"/>
                  <a:pt x="12181840" y="727263"/>
                  <a:pt x="12192000" y="732979"/>
                </a:cubicBezTo>
                <a:close/>
                <a:moveTo>
                  <a:pt x="11986895" y="914588"/>
                </a:moveTo>
                <a:cubicBezTo>
                  <a:pt x="11970385" y="915224"/>
                  <a:pt x="11972290" y="941259"/>
                  <a:pt x="11988800" y="939988"/>
                </a:cubicBezTo>
                <a:cubicBezTo>
                  <a:pt x="12004675" y="938719"/>
                  <a:pt x="12003405" y="912684"/>
                  <a:pt x="11986895" y="914588"/>
                </a:cubicBezTo>
                <a:close/>
                <a:moveTo>
                  <a:pt x="11750675" y="748854"/>
                </a:moveTo>
                <a:cubicBezTo>
                  <a:pt x="11730990" y="752029"/>
                  <a:pt x="11736705" y="783144"/>
                  <a:pt x="11756390" y="779334"/>
                </a:cubicBezTo>
                <a:cubicBezTo>
                  <a:pt x="11776075" y="775524"/>
                  <a:pt x="11770360" y="744409"/>
                  <a:pt x="11750675" y="748854"/>
                </a:cubicBezTo>
                <a:close/>
                <a:moveTo>
                  <a:pt x="11788775" y="680274"/>
                </a:moveTo>
                <a:cubicBezTo>
                  <a:pt x="11810365" y="676463"/>
                  <a:pt x="11804015" y="642809"/>
                  <a:pt x="11782425" y="647254"/>
                </a:cubicBezTo>
                <a:cubicBezTo>
                  <a:pt x="11760200" y="651063"/>
                  <a:pt x="11767185" y="685354"/>
                  <a:pt x="11788775" y="680274"/>
                </a:cubicBezTo>
                <a:close/>
                <a:moveTo>
                  <a:pt x="11733530" y="941894"/>
                </a:moveTo>
                <a:cubicBezTo>
                  <a:pt x="11717020" y="943799"/>
                  <a:pt x="11721465" y="969834"/>
                  <a:pt x="11737340" y="967294"/>
                </a:cubicBezTo>
                <a:cubicBezTo>
                  <a:pt x="11753215" y="964754"/>
                  <a:pt x="11749405" y="939354"/>
                  <a:pt x="11733530" y="941894"/>
                </a:cubicBezTo>
                <a:close/>
                <a:moveTo>
                  <a:pt x="11793855" y="865694"/>
                </a:moveTo>
                <a:cubicBezTo>
                  <a:pt x="11812270" y="863154"/>
                  <a:pt x="11807825" y="834579"/>
                  <a:pt x="11789410" y="837754"/>
                </a:cubicBezTo>
                <a:cubicBezTo>
                  <a:pt x="11771630" y="840294"/>
                  <a:pt x="11776075" y="868869"/>
                  <a:pt x="11793855" y="865694"/>
                </a:cubicBezTo>
                <a:close/>
                <a:moveTo>
                  <a:pt x="11725910" y="876488"/>
                </a:moveTo>
                <a:cubicBezTo>
                  <a:pt x="11743690" y="873313"/>
                  <a:pt x="11739245" y="845374"/>
                  <a:pt x="11720830" y="848549"/>
                </a:cubicBezTo>
                <a:cubicBezTo>
                  <a:pt x="11703050" y="851724"/>
                  <a:pt x="11708130" y="879663"/>
                  <a:pt x="11725910" y="876488"/>
                </a:cubicBezTo>
                <a:close/>
                <a:moveTo>
                  <a:pt x="11670665" y="952054"/>
                </a:moveTo>
                <a:cubicBezTo>
                  <a:pt x="11654155" y="954594"/>
                  <a:pt x="11658600" y="979994"/>
                  <a:pt x="11675110" y="976819"/>
                </a:cubicBezTo>
                <a:cubicBezTo>
                  <a:pt x="11690985" y="974913"/>
                  <a:pt x="11686540" y="948879"/>
                  <a:pt x="11670665" y="952054"/>
                </a:cubicBezTo>
                <a:close/>
                <a:moveTo>
                  <a:pt x="11796395" y="933004"/>
                </a:moveTo>
                <a:cubicBezTo>
                  <a:pt x="11779885" y="934909"/>
                  <a:pt x="11783695" y="960309"/>
                  <a:pt x="11799570" y="958404"/>
                </a:cubicBezTo>
                <a:lnTo>
                  <a:pt x="11799570" y="958404"/>
                </a:lnTo>
                <a:cubicBezTo>
                  <a:pt x="11816080" y="956499"/>
                  <a:pt x="11812905" y="931099"/>
                  <a:pt x="11796395" y="933004"/>
                </a:cubicBezTo>
                <a:close/>
                <a:moveTo>
                  <a:pt x="5067300" y="844738"/>
                </a:moveTo>
                <a:cubicBezTo>
                  <a:pt x="5047615" y="841563"/>
                  <a:pt x="5042535" y="872679"/>
                  <a:pt x="5062855" y="875219"/>
                </a:cubicBezTo>
                <a:cubicBezTo>
                  <a:pt x="5082540" y="878394"/>
                  <a:pt x="5087620" y="847279"/>
                  <a:pt x="5067300" y="844738"/>
                </a:cubicBezTo>
                <a:close/>
                <a:moveTo>
                  <a:pt x="11088370" y="649159"/>
                </a:moveTo>
                <a:cubicBezTo>
                  <a:pt x="11045190" y="608519"/>
                  <a:pt x="11030585" y="707579"/>
                  <a:pt x="11083925" y="680909"/>
                </a:cubicBezTo>
                <a:lnTo>
                  <a:pt x="11083925" y="680909"/>
                </a:lnTo>
                <a:cubicBezTo>
                  <a:pt x="11093450" y="673288"/>
                  <a:pt x="11095990" y="658684"/>
                  <a:pt x="11088370" y="649159"/>
                </a:cubicBezTo>
                <a:close/>
                <a:moveTo>
                  <a:pt x="11960860" y="635824"/>
                </a:moveTo>
                <a:cubicBezTo>
                  <a:pt x="11958320" y="614234"/>
                  <a:pt x="11924030" y="618044"/>
                  <a:pt x="11927205" y="640269"/>
                </a:cubicBezTo>
                <a:cubicBezTo>
                  <a:pt x="11929745" y="661859"/>
                  <a:pt x="11964035" y="657413"/>
                  <a:pt x="11960860" y="635824"/>
                </a:cubicBezTo>
                <a:close/>
                <a:moveTo>
                  <a:pt x="11916410" y="738694"/>
                </a:moveTo>
                <a:cubicBezTo>
                  <a:pt x="11904345" y="699959"/>
                  <a:pt x="11862435" y="754569"/>
                  <a:pt x="11903075" y="755838"/>
                </a:cubicBezTo>
                <a:lnTo>
                  <a:pt x="11903075" y="755838"/>
                </a:lnTo>
                <a:cubicBezTo>
                  <a:pt x="11911965" y="754569"/>
                  <a:pt x="11917680" y="746949"/>
                  <a:pt x="11916410" y="738694"/>
                </a:cubicBezTo>
                <a:close/>
                <a:moveTo>
                  <a:pt x="11923395" y="919669"/>
                </a:moveTo>
                <a:cubicBezTo>
                  <a:pt x="11906885" y="920938"/>
                  <a:pt x="11909425" y="946974"/>
                  <a:pt x="11925935" y="945069"/>
                </a:cubicBezTo>
                <a:cubicBezTo>
                  <a:pt x="11941810" y="943163"/>
                  <a:pt x="11939905" y="917763"/>
                  <a:pt x="11923395" y="919669"/>
                </a:cubicBezTo>
                <a:close/>
                <a:moveTo>
                  <a:pt x="11927840" y="819974"/>
                </a:moveTo>
                <a:cubicBezTo>
                  <a:pt x="11909425" y="821244"/>
                  <a:pt x="11912600" y="850454"/>
                  <a:pt x="11931015" y="847913"/>
                </a:cubicBezTo>
                <a:cubicBezTo>
                  <a:pt x="11948795" y="846644"/>
                  <a:pt x="11945620" y="818069"/>
                  <a:pt x="11927840" y="819974"/>
                </a:cubicBezTo>
                <a:close/>
                <a:moveTo>
                  <a:pt x="11901805" y="471358"/>
                </a:moveTo>
                <a:lnTo>
                  <a:pt x="11901805" y="471358"/>
                </a:lnTo>
                <a:cubicBezTo>
                  <a:pt x="11927205" y="466913"/>
                  <a:pt x="11919585" y="427544"/>
                  <a:pt x="11894185" y="432624"/>
                </a:cubicBezTo>
                <a:cubicBezTo>
                  <a:pt x="11869420" y="437069"/>
                  <a:pt x="11877040" y="476438"/>
                  <a:pt x="11901805" y="471358"/>
                </a:cubicBezTo>
                <a:close/>
                <a:moveTo>
                  <a:pt x="11861800" y="633284"/>
                </a:moveTo>
                <a:cubicBezTo>
                  <a:pt x="11840210" y="636459"/>
                  <a:pt x="11845925" y="670749"/>
                  <a:pt x="11867515" y="666938"/>
                </a:cubicBezTo>
                <a:cubicBezTo>
                  <a:pt x="11889105" y="663129"/>
                  <a:pt x="11883390" y="628838"/>
                  <a:pt x="11861800" y="633284"/>
                </a:cubicBezTo>
                <a:close/>
                <a:moveTo>
                  <a:pt x="11824970" y="735519"/>
                </a:moveTo>
                <a:cubicBezTo>
                  <a:pt x="11804650" y="738059"/>
                  <a:pt x="11809730" y="769809"/>
                  <a:pt x="11830050" y="765999"/>
                </a:cubicBezTo>
                <a:cubicBezTo>
                  <a:pt x="11849735" y="763459"/>
                  <a:pt x="11844655" y="732344"/>
                  <a:pt x="11824970" y="735519"/>
                </a:cubicBezTo>
                <a:close/>
                <a:moveTo>
                  <a:pt x="11859895" y="925384"/>
                </a:moveTo>
                <a:cubicBezTo>
                  <a:pt x="11843385" y="926654"/>
                  <a:pt x="11846560" y="952688"/>
                  <a:pt x="11862435" y="950784"/>
                </a:cubicBezTo>
                <a:cubicBezTo>
                  <a:pt x="11878945" y="949513"/>
                  <a:pt x="11876405" y="923479"/>
                  <a:pt x="11859895" y="925384"/>
                </a:cubicBezTo>
                <a:close/>
                <a:moveTo>
                  <a:pt x="11858625" y="828229"/>
                </a:moveTo>
                <a:cubicBezTo>
                  <a:pt x="11840210" y="830134"/>
                  <a:pt x="11844020" y="858709"/>
                  <a:pt x="11862435" y="856169"/>
                </a:cubicBezTo>
                <a:cubicBezTo>
                  <a:pt x="11880215" y="854263"/>
                  <a:pt x="11877040" y="825688"/>
                  <a:pt x="11858625" y="828229"/>
                </a:cubicBezTo>
                <a:close/>
                <a:moveTo>
                  <a:pt x="11116310" y="1096199"/>
                </a:moveTo>
                <a:cubicBezTo>
                  <a:pt x="11100435" y="1101279"/>
                  <a:pt x="11109325" y="1126044"/>
                  <a:pt x="11124565" y="1120329"/>
                </a:cubicBezTo>
                <a:cubicBezTo>
                  <a:pt x="11140440" y="1114613"/>
                  <a:pt x="11131550" y="1090484"/>
                  <a:pt x="11116310" y="1096199"/>
                </a:cubicBezTo>
                <a:close/>
                <a:moveTo>
                  <a:pt x="9740900" y="2080449"/>
                </a:moveTo>
                <a:cubicBezTo>
                  <a:pt x="9748520" y="2020124"/>
                  <a:pt x="9658985" y="2070288"/>
                  <a:pt x="9714230" y="2095688"/>
                </a:cubicBezTo>
                <a:cubicBezTo>
                  <a:pt x="9703435" y="2162364"/>
                  <a:pt x="9803130" y="2106484"/>
                  <a:pt x="9740900" y="2080449"/>
                </a:cubicBezTo>
                <a:close/>
                <a:moveTo>
                  <a:pt x="9907270" y="1820734"/>
                </a:moveTo>
                <a:cubicBezTo>
                  <a:pt x="9890125" y="1801684"/>
                  <a:pt x="9860915" y="1829624"/>
                  <a:pt x="9878695" y="1848038"/>
                </a:cubicBezTo>
                <a:cubicBezTo>
                  <a:pt x="9896475" y="1866454"/>
                  <a:pt x="9925685" y="1839149"/>
                  <a:pt x="9907270" y="1820734"/>
                </a:cubicBezTo>
                <a:close/>
                <a:moveTo>
                  <a:pt x="9948545" y="1896299"/>
                </a:moveTo>
                <a:cubicBezTo>
                  <a:pt x="9922510" y="1875979"/>
                  <a:pt x="9891395" y="1916619"/>
                  <a:pt x="9917430" y="1936304"/>
                </a:cubicBezTo>
                <a:cubicBezTo>
                  <a:pt x="9942830" y="1957259"/>
                  <a:pt x="9974580" y="1916619"/>
                  <a:pt x="9948545" y="1896299"/>
                </a:cubicBezTo>
                <a:close/>
                <a:moveTo>
                  <a:pt x="10033635" y="1755329"/>
                </a:moveTo>
                <a:cubicBezTo>
                  <a:pt x="10031095" y="1753424"/>
                  <a:pt x="10027920" y="1751519"/>
                  <a:pt x="10024745" y="1750884"/>
                </a:cubicBezTo>
                <a:cubicBezTo>
                  <a:pt x="10030460" y="1736913"/>
                  <a:pt x="10016490" y="1720404"/>
                  <a:pt x="10001250" y="1723579"/>
                </a:cubicBezTo>
                <a:cubicBezTo>
                  <a:pt x="10000615" y="1720404"/>
                  <a:pt x="9999345" y="1717863"/>
                  <a:pt x="9997440" y="1715324"/>
                </a:cubicBezTo>
                <a:cubicBezTo>
                  <a:pt x="9999980" y="1715324"/>
                  <a:pt x="10003155" y="1714688"/>
                  <a:pt x="10005695" y="1712784"/>
                </a:cubicBezTo>
                <a:cubicBezTo>
                  <a:pt x="10039985" y="1759774"/>
                  <a:pt x="10063480" y="1664524"/>
                  <a:pt x="10011410" y="1689924"/>
                </a:cubicBezTo>
                <a:cubicBezTo>
                  <a:pt x="10009505" y="1686113"/>
                  <a:pt x="10005695" y="1683574"/>
                  <a:pt x="10001885" y="1682304"/>
                </a:cubicBezTo>
                <a:cubicBezTo>
                  <a:pt x="10001885" y="1657538"/>
                  <a:pt x="9968230" y="1657538"/>
                  <a:pt x="9973945" y="1683574"/>
                </a:cubicBezTo>
                <a:cubicBezTo>
                  <a:pt x="9966325" y="1691194"/>
                  <a:pt x="9969500" y="1705799"/>
                  <a:pt x="9979660" y="1708974"/>
                </a:cubicBezTo>
                <a:cubicBezTo>
                  <a:pt x="9958070" y="1712784"/>
                  <a:pt x="9961880" y="1746438"/>
                  <a:pt x="9983470" y="1745169"/>
                </a:cubicBezTo>
                <a:cubicBezTo>
                  <a:pt x="9983470" y="1748344"/>
                  <a:pt x="9984740" y="1752154"/>
                  <a:pt x="9986010" y="1754694"/>
                </a:cubicBezTo>
                <a:cubicBezTo>
                  <a:pt x="9982200" y="1757234"/>
                  <a:pt x="9979025" y="1761679"/>
                  <a:pt x="9977755" y="1766124"/>
                </a:cubicBezTo>
                <a:cubicBezTo>
                  <a:pt x="9975850" y="1754694"/>
                  <a:pt x="9961880" y="1747074"/>
                  <a:pt x="9951085" y="1751519"/>
                </a:cubicBezTo>
                <a:cubicBezTo>
                  <a:pt x="9952355" y="1743899"/>
                  <a:pt x="9946640" y="1735009"/>
                  <a:pt x="9938385" y="1733104"/>
                </a:cubicBezTo>
                <a:cubicBezTo>
                  <a:pt x="9937750" y="1731834"/>
                  <a:pt x="9937750" y="1731199"/>
                  <a:pt x="9937115" y="1730563"/>
                </a:cubicBezTo>
                <a:cubicBezTo>
                  <a:pt x="9942830" y="1726119"/>
                  <a:pt x="9944735" y="1717863"/>
                  <a:pt x="9940925" y="1711513"/>
                </a:cubicBezTo>
                <a:cubicBezTo>
                  <a:pt x="9947275" y="1701354"/>
                  <a:pt x="9934575" y="1688019"/>
                  <a:pt x="9923780" y="1694369"/>
                </a:cubicBezTo>
                <a:cubicBezTo>
                  <a:pt x="9918065" y="1696909"/>
                  <a:pt x="9915525" y="1704529"/>
                  <a:pt x="9918065" y="1710244"/>
                </a:cubicBezTo>
                <a:cubicBezTo>
                  <a:pt x="9914890" y="1714688"/>
                  <a:pt x="9914255" y="1720404"/>
                  <a:pt x="9916795" y="1725484"/>
                </a:cubicBezTo>
                <a:cubicBezTo>
                  <a:pt x="9906000" y="1731199"/>
                  <a:pt x="9907270" y="1748344"/>
                  <a:pt x="9918065" y="1752788"/>
                </a:cubicBezTo>
                <a:cubicBezTo>
                  <a:pt x="9919335" y="1762313"/>
                  <a:pt x="9930130" y="1768663"/>
                  <a:pt x="9939020" y="1765488"/>
                </a:cubicBezTo>
                <a:cubicBezTo>
                  <a:pt x="9933305" y="1788984"/>
                  <a:pt x="9970135" y="1799144"/>
                  <a:pt x="9977120" y="1775649"/>
                </a:cubicBezTo>
                <a:cubicBezTo>
                  <a:pt x="9978390" y="1788349"/>
                  <a:pt x="9992995" y="1797874"/>
                  <a:pt x="10005060" y="1794063"/>
                </a:cubicBezTo>
                <a:cubicBezTo>
                  <a:pt x="10030460" y="1811209"/>
                  <a:pt x="10057765" y="1773744"/>
                  <a:pt x="10033635" y="1755329"/>
                </a:cubicBezTo>
                <a:close/>
                <a:moveTo>
                  <a:pt x="10016490" y="1804859"/>
                </a:moveTo>
                <a:cubicBezTo>
                  <a:pt x="9990455" y="1785174"/>
                  <a:pt x="9959340" y="1826449"/>
                  <a:pt x="9986645" y="1845499"/>
                </a:cubicBezTo>
                <a:cubicBezTo>
                  <a:pt x="10012680" y="1865819"/>
                  <a:pt x="10043795" y="1823909"/>
                  <a:pt x="10016490" y="1804859"/>
                </a:cubicBezTo>
                <a:close/>
                <a:moveTo>
                  <a:pt x="9884410" y="1919159"/>
                </a:moveTo>
                <a:cubicBezTo>
                  <a:pt x="9882505" y="1914079"/>
                  <a:pt x="9878060" y="1908999"/>
                  <a:pt x="9872980" y="1907094"/>
                </a:cubicBezTo>
                <a:cubicBezTo>
                  <a:pt x="9944100" y="1868359"/>
                  <a:pt x="9807575" y="1844229"/>
                  <a:pt x="9860915" y="1905188"/>
                </a:cubicBezTo>
                <a:cubicBezTo>
                  <a:pt x="9836150" y="1907094"/>
                  <a:pt x="9833610" y="1945194"/>
                  <a:pt x="9858375" y="1949638"/>
                </a:cubicBezTo>
                <a:cubicBezTo>
                  <a:pt x="9877425" y="1999169"/>
                  <a:pt x="9937115" y="1931224"/>
                  <a:pt x="9884410" y="1919159"/>
                </a:cubicBezTo>
                <a:close/>
                <a:moveTo>
                  <a:pt x="9769475" y="2077909"/>
                </a:moveTo>
                <a:cubicBezTo>
                  <a:pt x="9747885" y="2102674"/>
                  <a:pt x="9787255" y="2136329"/>
                  <a:pt x="9808210" y="2110929"/>
                </a:cubicBezTo>
                <a:cubicBezTo>
                  <a:pt x="9829800" y="2086163"/>
                  <a:pt x="9790430" y="2052509"/>
                  <a:pt x="9769475" y="2077909"/>
                </a:cubicBezTo>
                <a:close/>
                <a:moveTo>
                  <a:pt x="9814560" y="2001074"/>
                </a:moveTo>
                <a:cubicBezTo>
                  <a:pt x="9807575" y="1949004"/>
                  <a:pt x="9737090" y="2002979"/>
                  <a:pt x="9785985" y="2023299"/>
                </a:cubicBezTo>
                <a:cubicBezTo>
                  <a:pt x="9791065" y="2082354"/>
                  <a:pt x="9870440" y="2021394"/>
                  <a:pt x="9814560" y="2001074"/>
                </a:cubicBezTo>
                <a:close/>
                <a:moveTo>
                  <a:pt x="9878060" y="1986469"/>
                </a:moveTo>
                <a:cubicBezTo>
                  <a:pt x="9852660" y="1965513"/>
                  <a:pt x="9820275" y="2005519"/>
                  <a:pt x="9846310" y="2025838"/>
                </a:cubicBezTo>
                <a:cubicBezTo>
                  <a:pt x="9871075" y="2047429"/>
                  <a:pt x="9904095" y="2006788"/>
                  <a:pt x="9878060" y="1986469"/>
                </a:cubicBezTo>
                <a:close/>
                <a:moveTo>
                  <a:pt x="9949180" y="1835338"/>
                </a:moveTo>
                <a:cubicBezTo>
                  <a:pt x="9949180" y="1834704"/>
                  <a:pt x="9948545" y="1834704"/>
                  <a:pt x="9948545" y="1834069"/>
                </a:cubicBezTo>
                <a:cubicBezTo>
                  <a:pt x="9950450" y="1832799"/>
                  <a:pt x="9952355" y="1831529"/>
                  <a:pt x="9954260" y="1830259"/>
                </a:cubicBezTo>
                <a:lnTo>
                  <a:pt x="9954260" y="1830259"/>
                </a:lnTo>
                <a:cubicBezTo>
                  <a:pt x="9968230" y="1816288"/>
                  <a:pt x="9954260" y="1790254"/>
                  <a:pt x="9935210" y="1794699"/>
                </a:cubicBezTo>
                <a:cubicBezTo>
                  <a:pt x="9952990" y="1733104"/>
                  <a:pt x="9859645" y="1790254"/>
                  <a:pt x="9922510" y="1802319"/>
                </a:cubicBezTo>
                <a:cubicBezTo>
                  <a:pt x="9916160" y="1810574"/>
                  <a:pt x="9916795" y="1822004"/>
                  <a:pt x="9923780" y="1829624"/>
                </a:cubicBezTo>
                <a:cubicBezTo>
                  <a:pt x="9902825" y="1838513"/>
                  <a:pt x="9909175" y="1872169"/>
                  <a:pt x="9932670" y="1872804"/>
                </a:cubicBezTo>
                <a:cubicBezTo>
                  <a:pt x="9963785" y="1912174"/>
                  <a:pt x="9999980" y="1835338"/>
                  <a:pt x="9949180" y="1835338"/>
                </a:cubicBezTo>
                <a:close/>
                <a:moveTo>
                  <a:pt x="10366375" y="1444179"/>
                </a:moveTo>
                <a:cubicBezTo>
                  <a:pt x="10351770" y="1451799"/>
                  <a:pt x="10364470" y="1474659"/>
                  <a:pt x="10379075" y="1466404"/>
                </a:cubicBezTo>
                <a:cubicBezTo>
                  <a:pt x="10393045" y="1458784"/>
                  <a:pt x="10380345" y="1435924"/>
                  <a:pt x="10366375" y="1444179"/>
                </a:cubicBezTo>
                <a:close/>
                <a:moveTo>
                  <a:pt x="10383520" y="1402269"/>
                </a:moveTo>
                <a:cubicBezTo>
                  <a:pt x="10367645" y="1411794"/>
                  <a:pt x="10383520" y="1435924"/>
                  <a:pt x="10398760" y="1425763"/>
                </a:cubicBezTo>
                <a:cubicBezTo>
                  <a:pt x="10414635" y="1416238"/>
                  <a:pt x="10398760" y="1392109"/>
                  <a:pt x="10383520" y="1402269"/>
                </a:cubicBezTo>
                <a:close/>
                <a:moveTo>
                  <a:pt x="10422255" y="1413699"/>
                </a:moveTo>
                <a:cubicBezTo>
                  <a:pt x="10407650" y="1421319"/>
                  <a:pt x="10420350" y="1444179"/>
                  <a:pt x="10434320" y="1435924"/>
                </a:cubicBezTo>
                <a:cubicBezTo>
                  <a:pt x="10448925" y="1428304"/>
                  <a:pt x="10436225" y="1405444"/>
                  <a:pt x="10422255" y="1413699"/>
                </a:cubicBezTo>
                <a:close/>
                <a:moveTo>
                  <a:pt x="10333990" y="1410524"/>
                </a:moveTo>
                <a:cubicBezTo>
                  <a:pt x="10317480" y="1421954"/>
                  <a:pt x="10336530" y="1447988"/>
                  <a:pt x="10352405" y="1435288"/>
                </a:cubicBezTo>
                <a:cubicBezTo>
                  <a:pt x="10368280" y="1424494"/>
                  <a:pt x="10349865" y="1398459"/>
                  <a:pt x="10333990" y="1410524"/>
                </a:cubicBezTo>
                <a:close/>
                <a:moveTo>
                  <a:pt x="10293350" y="1455609"/>
                </a:moveTo>
                <a:lnTo>
                  <a:pt x="10293350" y="1455609"/>
                </a:lnTo>
                <a:cubicBezTo>
                  <a:pt x="10293985" y="1454974"/>
                  <a:pt x="10295255" y="1453704"/>
                  <a:pt x="10295890" y="1453069"/>
                </a:cubicBezTo>
                <a:cubicBezTo>
                  <a:pt x="10325100" y="1464499"/>
                  <a:pt x="10327005" y="1421319"/>
                  <a:pt x="10302240" y="1414969"/>
                </a:cubicBezTo>
                <a:cubicBezTo>
                  <a:pt x="10290175" y="1395919"/>
                  <a:pt x="10258425" y="1405444"/>
                  <a:pt x="10259060" y="1427669"/>
                </a:cubicBezTo>
                <a:cubicBezTo>
                  <a:pt x="10230485" y="1435288"/>
                  <a:pt x="10236200" y="1482913"/>
                  <a:pt x="10268585" y="1477199"/>
                </a:cubicBezTo>
                <a:cubicBezTo>
                  <a:pt x="10240010" y="1500059"/>
                  <a:pt x="10299700" y="1517838"/>
                  <a:pt x="10287635" y="1482913"/>
                </a:cubicBezTo>
                <a:cubicBezTo>
                  <a:pt x="10299065" y="1479738"/>
                  <a:pt x="10302240" y="1463863"/>
                  <a:pt x="10293350" y="1456244"/>
                </a:cubicBezTo>
                <a:cubicBezTo>
                  <a:pt x="10293350" y="1455609"/>
                  <a:pt x="10293350" y="1455609"/>
                  <a:pt x="10293350" y="1455609"/>
                </a:cubicBezTo>
                <a:close/>
                <a:moveTo>
                  <a:pt x="10252710" y="1501963"/>
                </a:moveTo>
                <a:cubicBezTo>
                  <a:pt x="10278110" y="1476563"/>
                  <a:pt x="10221595" y="1456244"/>
                  <a:pt x="10215880" y="1486724"/>
                </a:cubicBezTo>
                <a:cubicBezTo>
                  <a:pt x="10205085" y="1485454"/>
                  <a:pt x="10197465" y="1494979"/>
                  <a:pt x="10194290" y="1504504"/>
                </a:cubicBezTo>
                <a:cubicBezTo>
                  <a:pt x="10184130" y="1506409"/>
                  <a:pt x="10179685" y="1515934"/>
                  <a:pt x="10175875" y="1524188"/>
                </a:cubicBezTo>
                <a:cubicBezTo>
                  <a:pt x="10172065" y="1524824"/>
                  <a:pt x="10168255" y="1527363"/>
                  <a:pt x="10166350" y="1531174"/>
                </a:cubicBezTo>
                <a:cubicBezTo>
                  <a:pt x="10160000" y="1532444"/>
                  <a:pt x="10154285" y="1538794"/>
                  <a:pt x="10153015" y="1545144"/>
                </a:cubicBezTo>
                <a:cubicBezTo>
                  <a:pt x="10150475" y="1547049"/>
                  <a:pt x="10149205" y="1549588"/>
                  <a:pt x="10147935" y="1552763"/>
                </a:cubicBezTo>
                <a:cubicBezTo>
                  <a:pt x="10136505" y="1554034"/>
                  <a:pt x="10128250" y="1566734"/>
                  <a:pt x="10132060" y="1577529"/>
                </a:cubicBezTo>
                <a:cubicBezTo>
                  <a:pt x="10130790" y="1577529"/>
                  <a:pt x="10128885" y="1578163"/>
                  <a:pt x="10127615" y="1578799"/>
                </a:cubicBezTo>
                <a:cubicBezTo>
                  <a:pt x="10121265" y="1575624"/>
                  <a:pt x="10113645" y="1575624"/>
                  <a:pt x="10107930" y="1580704"/>
                </a:cubicBezTo>
                <a:cubicBezTo>
                  <a:pt x="10107930" y="1580704"/>
                  <a:pt x="10107930" y="1580704"/>
                  <a:pt x="10107930" y="1580704"/>
                </a:cubicBezTo>
                <a:cubicBezTo>
                  <a:pt x="10105390" y="1582609"/>
                  <a:pt x="10104120" y="1585149"/>
                  <a:pt x="10102850" y="1587688"/>
                </a:cubicBezTo>
                <a:cubicBezTo>
                  <a:pt x="10094595" y="1587688"/>
                  <a:pt x="10087610" y="1595309"/>
                  <a:pt x="10088245" y="1602929"/>
                </a:cubicBezTo>
                <a:cubicBezTo>
                  <a:pt x="10083800" y="1606738"/>
                  <a:pt x="10082530" y="1613724"/>
                  <a:pt x="10085705" y="1618804"/>
                </a:cubicBezTo>
                <a:cubicBezTo>
                  <a:pt x="10081260" y="1619438"/>
                  <a:pt x="10076815" y="1621344"/>
                  <a:pt x="10073005" y="1624519"/>
                </a:cubicBezTo>
                <a:cubicBezTo>
                  <a:pt x="10073005" y="1624519"/>
                  <a:pt x="10073005" y="1624519"/>
                  <a:pt x="10073005" y="1624519"/>
                </a:cubicBezTo>
                <a:cubicBezTo>
                  <a:pt x="10071100" y="1627059"/>
                  <a:pt x="10069195" y="1629599"/>
                  <a:pt x="10068560" y="1632138"/>
                </a:cubicBezTo>
                <a:cubicBezTo>
                  <a:pt x="10063480" y="1628329"/>
                  <a:pt x="10057130" y="1627059"/>
                  <a:pt x="10051415" y="1629599"/>
                </a:cubicBezTo>
                <a:cubicBezTo>
                  <a:pt x="10036175" y="1622613"/>
                  <a:pt x="10022840" y="1642934"/>
                  <a:pt x="10031095" y="1656269"/>
                </a:cubicBezTo>
                <a:cubicBezTo>
                  <a:pt x="10022205" y="1667063"/>
                  <a:pt x="10031095" y="1684844"/>
                  <a:pt x="10044430" y="1685479"/>
                </a:cubicBezTo>
                <a:cubicBezTo>
                  <a:pt x="10041255" y="1695004"/>
                  <a:pt x="10044430" y="1706434"/>
                  <a:pt x="10053320" y="1711513"/>
                </a:cubicBezTo>
                <a:cubicBezTo>
                  <a:pt x="10003790" y="1769299"/>
                  <a:pt x="10133330" y="1768029"/>
                  <a:pt x="10082530" y="1710879"/>
                </a:cubicBezTo>
                <a:cubicBezTo>
                  <a:pt x="10111740" y="1714688"/>
                  <a:pt x="10118725" y="1668334"/>
                  <a:pt x="10088880" y="1663888"/>
                </a:cubicBezTo>
                <a:cubicBezTo>
                  <a:pt x="10088245" y="1661984"/>
                  <a:pt x="10086975" y="1659444"/>
                  <a:pt x="10085705" y="1657538"/>
                </a:cubicBezTo>
                <a:cubicBezTo>
                  <a:pt x="10102850" y="1659444"/>
                  <a:pt x="10113645" y="1636584"/>
                  <a:pt x="10100945" y="1624519"/>
                </a:cubicBezTo>
                <a:cubicBezTo>
                  <a:pt x="10104120" y="1625788"/>
                  <a:pt x="10107930" y="1626424"/>
                  <a:pt x="10111740" y="1625788"/>
                </a:cubicBezTo>
                <a:cubicBezTo>
                  <a:pt x="10089515" y="1675954"/>
                  <a:pt x="10180955" y="1672144"/>
                  <a:pt x="10154920" y="1623884"/>
                </a:cubicBezTo>
                <a:cubicBezTo>
                  <a:pt x="10160635" y="1622613"/>
                  <a:pt x="10165715" y="1620074"/>
                  <a:pt x="10169525" y="1614994"/>
                </a:cubicBezTo>
                <a:lnTo>
                  <a:pt x="10169525" y="1614994"/>
                </a:lnTo>
                <a:cubicBezTo>
                  <a:pt x="10177145" y="1605469"/>
                  <a:pt x="10175240" y="1591499"/>
                  <a:pt x="10166985" y="1583244"/>
                </a:cubicBezTo>
                <a:cubicBezTo>
                  <a:pt x="10168890" y="1580704"/>
                  <a:pt x="10170160" y="1576894"/>
                  <a:pt x="10170160" y="1573719"/>
                </a:cubicBezTo>
                <a:cubicBezTo>
                  <a:pt x="10171430" y="1571813"/>
                  <a:pt x="10172700" y="1570544"/>
                  <a:pt x="10172700" y="1568004"/>
                </a:cubicBezTo>
                <a:cubicBezTo>
                  <a:pt x="10173335" y="1567369"/>
                  <a:pt x="10173970" y="1566734"/>
                  <a:pt x="10174605" y="1565463"/>
                </a:cubicBezTo>
                <a:cubicBezTo>
                  <a:pt x="10177145" y="1564829"/>
                  <a:pt x="10179685" y="1563559"/>
                  <a:pt x="10181590" y="1562288"/>
                </a:cubicBezTo>
                <a:cubicBezTo>
                  <a:pt x="10198735" y="1580069"/>
                  <a:pt x="10229850" y="1561654"/>
                  <a:pt x="10223500" y="1538159"/>
                </a:cubicBezTo>
                <a:cubicBezTo>
                  <a:pt x="10233025" y="1531174"/>
                  <a:pt x="10242550" y="1519744"/>
                  <a:pt x="10238740" y="1506409"/>
                </a:cubicBezTo>
                <a:cubicBezTo>
                  <a:pt x="10243820" y="1505774"/>
                  <a:pt x="10248900" y="1505774"/>
                  <a:pt x="10252710" y="1501963"/>
                </a:cubicBezTo>
                <a:close/>
                <a:moveTo>
                  <a:pt x="10255885" y="1507044"/>
                </a:moveTo>
                <a:cubicBezTo>
                  <a:pt x="10241280" y="1514663"/>
                  <a:pt x="10254615" y="1537524"/>
                  <a:pt x="10268585" y="1529269"/>
                </a:cubicBezTo>
                <a:cubicBezTo>
                  <a:pt x="10282555" y="1521013"/>
                  <a:pt x="10269855" y="1498788"/>
                  <a:pt x="10255885" y="1507044"/>
                </a:cubicBezTo>
                <a:close/>
                <a:moveTo>
                  <a:pt x="10311130" y="1475294"/>
                </a:moveTo>
                <a:cubicBezTo>
                  <a:pt x="10296525" y="1483549"/>
                  <a:pt x="10309225" y="1505774"/>
                  <a:pt x="10323830" y="1497519"/>
                </a:cubicBezTo>
                <a:cubicBezTo>
                  <a:pt x="10337800" y="1489899"/>
                  <a:pt x="10325100" y="1467038"/>
                  <a:pt x="10311130" y="1475294"/>
                </a:cubicBezTo>
                <a:close/>
                <a:moveTo>
                  <a:pt x="10325100" y="1439734"/>
                </a:moveTo>
                <a:cubicBezTo>
                  <a:pt x="10325100" y="1439734"/>
                  <a:pt x="10325100" y="1439734"/>
                  <a:pt x="10325100" y="1439734"/>
                </a:cubicBezTo>
                <a:cubicBezTo>
                  <a:pt x="10298430" y="1497519"/>
                  <a:pt x="10389235" y="1439099"/>
                  <a:pt x="10325100" y="1439734"/>
                </a:cubicBezTo>
                <a:close/>
                <a:moveTo>
                  <a:pt x="10416540" y="1370519"/>
                </a:moveTo>
                <a:cubicBezTo>
                  <a:pt x="10405110" y="1354009"/>
                  <a:pt x="10379075" y="1372424"/>
                  <a:pt x="10391140" y="1388299"/>
                </a:cubicBezTo>
                <a:cubicBezTo>
                  <a:pt x="10402570" y="1405444"/>
                  <a:pt x="10427970" y="1387029"/>
                  <a:pt x="10416540" y="1370519"/>
                </a:cubicBezTo>
                <a:close/>
                <a:moveTo>
                  <a:pt x="9370695" y="2479864"/>
                </a:moveTo>
                <a:cubicBezTo>
                  <a:pt x="9345295" y="2500819"/>
                  <a:pt x="9378315" y="2540189"/>
                  <a:pt x="9403080" y="2518599"/>
                </a:cubicBezTo>
                <a:cubicBezTo>
                  <a:pt x="9428480" y="2497644"/>
                  <a:pt x="9395460" y="2458274"/>
                  <a:pt x="9370695" y="2479864"/>
                </a:cubicBezTo>
                <a:close/>
                <a:moveTo>
                  <a:pt x="9403080" y="2380804"/>
                </a:moveTo>
                <a:cubicBezTo>
                  <a:pt x="9378315" y="2399854"/>
                  <a:pt x="9409430" y="2437954"/>
                  <a:pt x="9432925" y="2418269"/>
                </a:cubicBezTo>
                <a:cubicBezTo>
                  <a:pt x="9457690" y="2399219"/>
                  <a:pt x="9427210" y="2361119"/>
                  <a:pt x="9403080" y="2380804"/>
                </a:cubicBezTo>
                <a:close/>
                <a:moveTo>
                  <a:pt x="9413240" y="2244914"/>
                </a:moveTo>
                <a:cubicBezTo>
                  <a:pt x="9390380" y="2260154"/>
                  <a:pt x="9415145" y="2295714"/>
                  <a:pt x="9437370" y="2279839"/>
                </a:cubicBezTo>
                <a:cubicBezTo>
                  <a:pt x="9460230" y="2264599"/>
                  <a:pt x="9436100" y="2229039"/>
                  <a:pt x="9413240" y="2244914"/>
                </a:cubicBezTo>
                <a:close/>
                <a:moveTo>
                  <a:pt x="9361805" y="2304604"/>
                </a:moveTo>
                <a:cubicBezTo>
                  <a:pt x="9347200" y="2281109"/>
                  <a:pt x="9311005" y="2303969"/>
                  <a:pt x="9325610" y="2327464"/>
                </a:cubicBezTo>
                <a:cubicBezTo>
                  <a:pt x="9340850" y="2350959"/>
                  <a:pt x="9377045" y="2327464"/>
                  <a:pt x="9361805" y="2304604"/>
                </a:cubicBezTo>
                <a:close/>
                <a:moveTo>
                  <a:pt x="9317990" y="2446844"/>
                </a:moveTo>
                <a:cubicBezTo>
                  <a:pt x="9292590" y="2465259"/>
                  <a:pt x="9321800" y="2504629"/>
                  <a:pt x="9346565" y="2485579"/>
                </a:cubicBezTo>
                <a:cubicBezTo>
                  <a:pt x="9371965" y="2467164"/>
                  <a:pt x="9342755" y="2427794"/>
                  <a:pt x="9317990" y="2446844"/>
                </a:cubicBezTo>
                <a:close/>
                <a:moveTo>
                  <a:pt x="9230360" y="2509074"/>
                </a:moveTo>
                <a:cubicBezTo>
                  <a:pt x="9204325" y="2526219"/>
                  <a:pt x="9231630" y="2566859"/>
                  <a:pt x="9257030" y="2549079"/>
                </a:cubicBezTo>
                <a:cubicBezTo>
                  <a:pt x="9283065" y="2531934"/>
                  <a:pt x="9255760" y="2491294"/>
                  <a:pt x="9230360" y="2509074"/>
                </a:cubicBezTo>
                <a:close/>
                <a:moveTo>
                  <a:pt x="9455785" y="2404934"/>
                </a:moveTo>
                <a:cubicBezTo>
                  <a:pt x="9431020" y="2426524"/>
                  <a:pt x="9465945" y="2465259"/>
                  <a:pt x="9490075" y="2442399"/>
                </a:cubicBezTo>
                <a:cubicBezTo>
                  <a:pt x="9514205" y="2420809"/>
                  <a:pt x="9479280" y="2382709"/>
                  <a:pt x="9455785" y="2404934"/>
                </a:cubicBezTo>
                <a:close/>
                <a:moveTo>
                  <a:pt x="9190990" y="2617024"/>
                </a:moveTo>
                <a:cubicBezTo>
                  <a:pt x="9163685" y="2635439"/>
                  <a:pt x="9193530" y="2677984"/>
                  <a:pt x="9220200" y="2658934"/>
                </a:cubicBezTo>
                <a:lnTo>
                  <a:pt x="9220200" y="2658934"/>
                </a:lnTo>
                <a:cubicBezTo>
                  <a:pt x="9247505" y="2640519"/>
                  <a:pt x="9217660" y="2597974"/>
                  <a:pt x="9190990" y="2617024"/>
                </a:cubicBezTo>
                <a:close/>
                <a:moveTo>
                  <a:pt x="9282430" y="2550349"/>
                </a:moveTo>
                <a:cubicBezTo>
                  <a:pt x="9255760" y="2570034"/>
                  <a:pt x="9287510" y="2611309"/>
                  <a:pt x="9313545" y="2590354"/>
                </a:cubicBezTo>
                <a:cubicBezTo>
                  <a:pt x="9339580" y="2571304"/>
                  <a:pt x="9307830" y="2530029"/>
                  <a:pt x="9282430" y="2550349"/>
                </a:cubicBezTo>
                <a:close/>
                <a:moveTo>
                  <a:pt x="9617710" y="2246184"/>
                </a:moveTo>
                <a:cubicBezTo>
                  <a:pt x="9594850" y="2269679"/>
                  <a:pt x="9632315" y="2305239"/>
                  <a:pt x="9654540" y="2281109"/>
                </a:cubicBezTo>
                <a:cubicBezTo>
                  <a:pt x="9677400" y="2258249"/>
                  <a:pt x="9639935" y="2222054"/>
                  <a:pt x="9617710" y="2246184"/>
                </a:cubicBezTo>
                <a:close/>
                <a:moveTo>
                  <a:pt x="9662160" y="2157919"/>
                </a:moveTo>
                <a:cubicBezTo>
                  <a:pt x="9688830" y="2089338"/>
                  <a:pt x="9573895" y="2139504"/>
                  <a:pt x="9641840" y="2166809"/>
                </a:cubicBezTo>
                <a:cubicBezTo>
                  <a:pt x="9611995" y="2241104"/>
                  <a:pt x="9736455" y="2186494"/>
                  <a:pt x="9662160" y="2157919"/>
                </a:cubicBezTo>
                <a:close/>
                <a:moveTo>
                  <a:pt x="9485630" y="2312224"/>
                </a:moveTo>
                <a:cubicBezTo>
                  <a:pt x="9461500" y="2332544"/>
                  <a:pt x="9493885" y="2369374"/>
                  <a:pt x="9517380" y="2348419"/>
                </a:cubicBezTo>
                <a:cubicBezTo>
                  <a:pt x="9540875" y="2328099"/>
                  <a:pt x="9509125" y="2291269"/>
                  <a:pt x="9485630" y="2312224"/>
                </a:cubicBezTo>
                <a:close/>
                <a:moveTo>
                  <a:pt x="9695180" y="2162999"/>
                </a:moveTo>
                <a:cubicBezTo>
                  <a:pt x="9672955" y="2187129"/>
                  <a:pt x="9711055" y="2222054"/>
                  <a:pt x="9732645" y="2196654"/>
                </a:cubicBezTo>
                <a:cubicBezTo>
                  <a:pt x="9754870" y="2173159"/>
                  <a:pt x="9716770" y="2138234"/>
                  <a:pt x="9695180" y="2162999"/>
                </a:cubicBezTo>
                <a:close/>
                <a:moveTo>
                  <a:pt x="9701530" y="2002979"/>
                </a:moveTo>
                <a:cubicBezTo>
                  <a:pt x="9694545" y="1994724"/>
                  <a:pt x="9682480" y="1992819"/>
                  <a:pt x="9673590" y="1999804"/>
                </a:cubicBezTo>
                <a:cubicBezTo>
                  <a:pt x="9673590" y="1999804"/>
                  <a:pt x="9673590" y="1999804"/>
                  <a:pt x="9673590" y="1999804"/>
                </a:cubicBezTo>
                <a:cubicBezTo>
                  <a:pt x="9639300" y="2038538"/>
                  <a:pt x="9726930" y="2048063"/>
                  <a:pt x="9701530" y="2002979"/>
                </a:cubicBezTo>
                <a:close/>
                <a:moveTo>
                  <a:pt x="9565640" y="2239834"/>
                </a:moveTo>
                <a:cubicBezTo>
                  <a:pt x="9542780" y="2260789"/>
                  <a:pt x="9575800" y="2296349"/>
                  <a:pt x="9598660" y="2274759"/>
                </a:cubicBezTo>
                <a:cubicBezTo>
                  <a:pt x="9621520" y="2253804"/>
                  <a:pt x="9588500" y="2218244"/>
                  <a:pt x="9565640" y="2239834"/>
                </a:cubicBezTo>
                <a:close/>
                <a:moveTo>
                  <a:pt x="9491980" y="2189034"/>
                </a:moveTo>
                <a:cubicBezTo>
                  <a:pt x="9469755" y="2204909"/>
                  <a:pt x="9495790" y="2239834"/>
                  <a:pt x="9517380" y="2222689"/>
                </a:cubicBezTo>
                <a:cubicBezTo>
                  <a:pt x="9539605" y="2206814"/>
                  <a:pt x="9513570" y="2171889"/>
                  <a:pt x="9491980" y="2189034"/>
                </a:cubicBezTo>
                <a:close/>
                <a:moveTo>
                  <a:pt x="9537700" y="2327464"/>
                </a:moveTo>
                <a:cubicBezTo>
                  <a:pt x="9513570" y="2350324"/>
                  <a:pt x="9550400" y="2387154"/>
                  <a:pt x="9573260" y="2363659"/>
                </a:cubicBezTo>
                <a:cubicBezTo>
                  <a:pt x="9597390" y="2340799"/>
                  <a:pt x="9561195" y="2303969"/>
                  <a:pt x="9537700" y="2327464"/>
                </a:cubicBezTo>
                <a:close/>
                <a:moveTo>
                  <a:pt x="9551035" y="2141409"/>
                </a:moveTo>
                <a:cubicBezTo>
                  <a:pt x="9571990" y="2126804"/>
                  <a:pt x="9549130" y="2093784"/>
                  <a:pt x="9528175" y="2109024"/>
                </a:cubicBezTo>
                <a:cubicBezTo>
                  <a:pt x="9507220" y="2123629"/>
                  <a:pt x="9530715" y="2156649"/>
                  <a:pt x="9551035" y="2141409"/>
                </a:cubicBezTo>
                <a:close/>
                <a:moveTo>
                  <a:pt x="10976610" y="968563"/>
                </a:moveTo>
                <a:cubicBezTo>
                  <a:pt x="10965815" y="949513"/>
                  <a:pt x="10935970" y="966024"/>
                  <a:pt x="10946765" y="985074"/>
                </a:cubicBezTo>
                <a:cubicBezTo>
                  <a:pt x="10957560" y="1004759"/>
                  <a:pt x="10987405" y="987613"/>
                  <a:pt x="10976610" y="968563"/>
                </a:cubicBezTo>
                <a:close/>
                <a:moveTo>
                  <a:pt x="10937240" y="1164144"/>
                </a:moveTo>
                <a:cubicBezTo>
                  <a:pt x="10922000" y="1170494"/>
                  <a:pt x="10931525" y="1193988"/>
                  <a:pt x="10946765" y="1187638"/>
                </a:cubicBezTo>
                <a:cubicBezTo>
                  <a:pt x="10962640" y="1181924"/>
                  <a:pt x="10952480" y="1157794"/>
                  <a:pt x="10937240" y="1164144"/>
                </a:cubicBezTo>
                <a:close/>
                <a:moveTo>
                  <a:pt x="10878820" y="1188909"/>
                </a:moveTo>
                <a:cubicBezTo>
                  <a:pt x="10863580" y="1195259"/>
                  <a:pt x="10873740" y="1218754"/>
                  <a:pt x="10888980" y="1212404"/>
                </a:cubicBezTo>
                <a:cubicBezTo>
                  <a:pt x="10904220" y="1206054"/>
                  <a:pt x="10894060" y="1181924"/>
                  <a:pt x="10878820" y="1188909"/>
                </a:cubicBezTo>
                <a:close/>
                <a:moveTo>
                  <a:pt x="10941050" y="1125409"/>
                </a:moveTo>
                <a:cubicBezTo>
                  <a:pt x="10957560" y="1117788"/>
                  <a:pt x="10945495" y="1091754"/>
                  <a:pt x="10928985" y="1100009"/>
                </a:cubicBezTo>
                <a:cubicBezTo>
                  <a:pt x="10912475" y="1106994"/>
                  <a:pt x="10924540" y="1133663"/>
                  <a:pt x="10941050" y="1125409"/>
                </a:cubicBezTo>
                <a:close/>
                <a:moveTo>
                  <a:pt x="10878820" y="1155254"/>
                </a:moveTo>
                <a:cubicBezTo>
                  <a:pt x="10895330" y="1147634"/>
                  <a:pt x="10882630" y="1121599"/>
                  <a:pt x="10866755" y="1129854"/>
                </a:cubicBezTo>
                <a:cubicBezTo>
                  <a:pt x="10850245" y="1137474"/>
                  <a:pt x="10862945" y="1163509"/>
                  <a:pt x="10878820" y="1155254"/>
                </a:cubicBezTo>
                <a:close/>
                <a:moveTo>
                  <a:pt x="10925175" y="1056194"/>
                </a:moveTo>
                <a:cubicBezTo>
                  <a:pt x="10915650" y="1038413"/>
                  <a:pt x="10888345" y="1053019"/>
                  <a:pt x="10897870" y="1070799"/>
                </a:cubicBezTo>
                <a:cubicBezTo>
                  <a:pt x="10906760" y="1088579"/>
                  <a:pt x="10934700" y="1073974"/>
                  <a:pt x="10925175" y="1056194"/>
                </a:cubicBezTo>
                <a:close/>
                <a:moveTo>
                  <a:pt x="10823575" y="1166684"/>
                </a:moveTo>
                <a:cubicBezTo>
                  <a:pt x="10815320" y="1150174"/>
                  <a:pt x="10789920" y="1162874"/>
                  <a:pt x="10798175" y="1179384"/>
                </a:cubicBezTo>
                <a:cubicBezTo>
                  <a:pt x="10806430" y="1195894"/>
                  <a:pt x="10831830" y="1183194"/>
                  <a:pt x="10823575" y="1166684"/>
                </a:cubicBezTo>
                <a:close/>
                <a:moveTo>
                  <a:pt x="10772775" y="1122234"/>
                </a:moveTo>
                <a:cubicBezTo>
                  <a:pt x="10754995" y="1131759"/>
                  <a:pt x="10770870" y="1159699"/>
                  <a:pt x="10788650" y="1148904"/>
                </a:cubicBezTo>
                <a:cubicBezTo>
                  <a:pt x="10805795" y="1139379"/>
                  <a:pt x="10789920" y="1112074"/>
                  <a:pt x="10772775" y="1122234"/>
                </a:cubicBezTo>
                <a:close/>
                <a:moveTo>
                  <a:pt x="10820400" y="1214309"/>
                </a:moveTo>
                <a:cubicBezTo>
                  <a:pt x="10805160" y="1220659"/>
                  <a:pt x="10815955" y="1244788"/>
                  <a:pt x="10830560" y="1237169"/>
                </a:cubicBezTo>
                <a:cubicBezTo>
                  <a:pt x="10845800" y="1230819"/>
                  <a:pt x="10835005" y="1207324"/>
                  <a:pt x="10820400" y="1214309"/>
                </a:cubicBezTo>
                <a:close/>
                <a:moveTo>
                  <a:pt x="10859135" y="1091754"/>
                </a:moveTo>
                <a:cubicBezTo>
                  <a:pt x="10849610" y="1073974"/>
                  <a:pt x="10821670" y="1089213"/>
                  <a:pt x="10831830" y="1106994"/>
                </a:cubicBezTo>
                <a:cubicBezTo>
                  <a:pt x="10841355" y="1124774"/>
                  <a:pt x="10869295" y="1108899"/>
                  <a:pt x="10859135" y="1091754"/>
                </a:cubicBezTo>
                <a:close/>
                <a:moveTo>
                  <a:pt x="11056620" y="1044129"/>
                </a:moveTo>
                <a:cubicBezTo>
                  <a:pt x="11039475" y="1051113"/>
                  <a:pt x="11050905" y="1077784"/>
                  <a:pt x="11067415" y="1070163"/>
                </a:cubicBezTo>
                <a:cubicBezTo>
                  <a:pt x="11084560" y="1063179"/>
                  <a:pt x="11073130" y="1037144"/>
                  <a:pt x="11056620" y="1044129"/>
                </a:cubicBezTo>
                <a:close/>
                <a:moveTo>
                  <a:pt x="11052175" y="1011109"/>
                </a:moveTo>
                <a:cubicBezTo>
                  <a:pt x="11070590" y="1002854"/>
                  <a:pt x="11057255" y="974279"/>
                  <a:pt x="11038840" y="983169"/>
                </a:cubicBezTo>
                <a:cubicBezTo>
                  <a:pt x="11020425" y="991424"/>
                  <a:pt x="11033760" y="1019999"/>
                  <a:pt x="11052175" y="1011109"/>
                </a:cubicBezTo>
                <a:lnTo>
                  <a:pt x="11052175" y="1011109"/>
                </a:lnTo>
                <a:close/>
                <a:moveTo>
                  <a:pt x="11055985" y="1117788"/>
                </a:moveTo>
                <a:cubicBezTo>
                  <a:pt x="11040745" y="1123504"/>
                  <a:pt x="11049635" y="1147634"/>
                  <a:pt x="11064875" y="1141284"/>
                </a:cubicBezTo>
                <a:cubicBezTo>
                  <a:pt x="11080750" y="1136204"/>
                  <a:pt x="11071225" y="1112074"/>
                  <a:pt x="11055985" y="1117788"/>
                </a:cubicBezTo>
                <a:close/>
                <a:moveTo>
                  <a:pt x="10762615" y="1240344"/>
                </a:moveTo>
                <a:cubicBezTo>
                  <a:pt x="10747375" y="1247329"/>
                  <a:pt x="10758805" y="1270824"/>
                  <a:pt x="10773410" y="1263204"/>
                </a:cubicBezTo>
                <a:cubicBezTo>
                  <a:pt x="10788015" y="1256854"/>
                  <a:pt x="10777220" y="1233359"/>
                  <a:pt x="10762615" y="1240344"/>
                </a:cubicBezTo>
                <a:close/>
                <a:moveTo>
                  <a:pt x="11044555" y="717738"/>
                </a:moveTo>
                <a:cubicBezTo>
                  <a:pt x="11021695" y="732979"/>
                  <a:pt x="11046460" y="768538"/>
                  <a:pt x="11068685" y="752663"/>
                </a:cubicBezTo>
                <a:cubicBezTo>
                  <a:pt x="11091545" y="736788"/>
                  <a:pt x="11066780" y="701863"/>
                  <a:pt x="11044555" y="717738"/>
                </a:cubicBezTo>
                <a:close/>
                <a:moveTo>
                  <a:pt x="11040745" y="953324"/>
                </a:moveTo>
                <a:cubicBezTo>
                  <a:pt x="11060430" y="943163"/>
                  <a:pt x="11043920" y="912684"/>
                  <a:pt x="11024870" y="923479"/>
                </a:cubicBezTo>
                <a:cubicBezTo>
                  <a:pt x="11005185" y="933638"/>
                  <a:pt x="11021060" y="964119"/>
                  <a:pt x="11040745" y="953324"/>
                </a:cubicBezTo>
                <a:close/>
                <a:moveTo>
                  <a:pt x="10996930" y="1140649"/>
                </a:moveTo>
                <a:cubicBezTo>
                  <a:pt x="10981690" y="1146363"/>
                  <a:pt x="10991215" y="1170494"/>
                  <a:pt x="11006455" y="1164144"/>
                </a:cubicBezTo>
                <a:cubicBezTo>
                  <a:pt x="11021060" y="1158429"/>
                  <a:pt x="11012170" y="1134299"/>
                  <a:pt x="10996930" y="1140649"/>
                </a:cubicBezTo>
                <a:close/>
                <a:moveTo>
                  <a:pt x="10991850" y="1022538"/>
                </a:moveTo>
                <a:cubicBezTo>
                  <a:pt x="10982960" y="1004124"/>
                  <a:pt x="10955020" y="1018729"/>
                  <a:pt x="10963910" y="1036509"/>
                </a:cubicBezTo>
                <a:cubicBezTo>
                  <a:pt x="10972800" y="1054924"/>
                  <a:pt x="11001375" y="1040319"/>
                  <a:pt x="10991850" y="1022538"/>
                </a:cubicBezTo>
                <a:close/>
                <a:moveTo>
                  <a:pt x="11003915" y="1097469"/>
                </a:moveTo>
                <a:cubicBezTo>
                  <a:pt x="11020425" y="1090484"/>
                  <a:pt x="11008995" y="1063813"/>
                  <a:pt x="10992485" y="1071434"/>
                </a:cubicBezTo>
                <a:cubicBezTo>
                  <a:pt x="10975975" y="1078419"/>
                  <a:pt x="10987405" y="1105088"/>
                  <a:pt x="11003915" y="1097469"/>
                </a:cubicBezTo>
                <a:close/>
                <a:moveTo>
                  <a:pt x="10534015" y="1353374"/>
                </a:moveTo>
                <a:cubicBezTo>
                  <a:pt x="10519410" y="1360994"/>
                  <a:pt x="10531475" y="1383854"/>
                  <a:pt x="10545445" y="1375599"/>
                </a:cubicBezTo>
                <a:cubicBezTo>
                  <a:pt x="10560685" y="1368613"/>
                  <a:pt x="10548620" y="1345754"/>
                  <a:pt x="10534015" y="1353374"/>
                </a:cubicBezTo>
                <a:close/>
                <a:moveTo>
                  <a:pt x="10442575" y="1365438"/>
                </a:moveTo>
                <a:cubicBezTo>
                  <a:pt x="10426700" y="1374963"/>
                  <a:pt x="10441940" y="1399094"/>
                  <a:pt x="10457180" y="1389569"/>
                </a:cubicBezTo>
                <a:cubicBezTo>
                  <a:pt x="10473055" y="1380044"/>
                  <a:pt x="10457815" y="1355279"/>
                  <a:pt x="10442575" y="1365438"/>
                </a:cubicBezTo>
                <a:close/>
                <a:moveTo>
                  <a:pt x="10590530" y="1324163"/>
                </a:moveTo>
                <a:cubicBezTo>
                  <a:pt x="10575925" y="1331784"/>
                  <a:pt x="10587355" y="1354644"/>
                  <a:pt x="10601960" y="1347024"/>
                </a:cubicBezTo>
                <a:cubicBezTo>
                  <a:pt x="10617200" y="1339404"/>
                  <a:pt x="10605135" y="1316544"/>
                  <a:pt x="10590530" y="1324163"/>
                </a:cubicBezTo>
                <a:close/>
                <a:moveTo>
                  <a:pt x="10561320" y="1293684"/>
                </a:moveTo>
                <a:cubicBezTo>
                  <a:pt x="10545445" y="1302574"/>
                  <a:pt x="10560050" y="1327338"/>
                  <a:pt x="10575290" y="1317813"/>
                </a:cubicBezTo>
                <a:lnTo>
                  <a:pt x="10575290" y="1317813"/>
                </a:lnTo>
                <a:cubicBezTo>
                  <a:pt x="10591165" y="1308924"/>
                  <a:pt x="10576560" y="1284159"/>
                  <a:pt x="10561320" y="1293684"/>
                </a:cubicBezTo>
                <a:close/>
                <a:moveTo>
                  <a:pt x="10632440" y="1206688"/>
                </a:moveTo>
                <a:cubicBezTo>
                  <a:pt x="10650855" y="1193988"/>
                  <a:pt x="10630535" y="1166049"/>
                  <a:pt x="10612755" y="1178749"/>
                </a:cubicBezTo>
                <a:cubicBezTo>
                  <a:pt x="10612755" y="1178749"/>
                  <a:pt x="10612755" y="1178749"/>
                  <a:pt x="10612755" y="1178749"/>
                </a:cubicBezTo>
                <a:cubicBezTo>
                  <a:pt x="10594975" y="1191449"/>
                  <a:pt x="10614660" y="1219388"/>
                  <a:pt x="10632440" y="1206688"/>
                </a:cubicBezTo>
                <a:close/>
                <a:moveTo>
                  <a:pt x="10473690" y="1349563"/>
                </a:moveTo>
                <a:cubicBezTo>
                  <a:pt x="10490200" y="1338134"/>
                  <a:pt x="10472420" y="1312099"/>
                  <a:pt x="10455910" y="1324163"/>
                </a:cubicBezTo>
                <a:cubicBezTo>
                  <a:pt x="10455910" y="1324163"/>
                  <a:pt x="10455910" y="1324163"/>
                  <a:pt x="10455910" y="1324163"/>
                </a:cubicBezTo>
                <a:cubicBezTo>
                  <a:pt x="10439400" y="1334959"/>
                  <a:pt x="10457815" y="1360994"/>
                  <a:pt x="10473690" y="1349563"/>
                </a:cubicBezTo>
                <a:lnTo>
                  <a:pt x="10473690" y="1349563"/>
                </a:lnTo>
                <a:close/>
                <a:moveTo>
                  <a:pt x="10539730" y="1286063"/>
                </a:moveTo>
                <a:cubicBezTo>
                  <a:pt x="10528935" y="1268919"/>
                  <a:pt x="10502265" y="1286699"/>
                  <a:pt x="10513695" y="1303209"/>
                </a:cubicBezTo>
                <a:cubicBezTo>
                  <a:pt x="10525125" y="1320354"/>
                  <a:pt x="10551160" y="1302574"/>
                  <a:pt x="10539730" y="1286063"/>
                </a:cubicBezTo>
                <a:close/>
                <a:moveTo>
                  <a:pt x="10640060" y="1264474"/>
                </a:moveTo>
                <a:cubicBezTo>
                  <a:pt x="10631170" y="1248599"/>
                  <a:pt x="10606405" y="1262569"/>
                  <a:pt x="10615295" y="1278444"/>
                </a:cubicBezTo>
                <a:cubicBezTo>
                  <a:pt x="10624820" y="1294319"/>
                  <a:pt x="10649585" y="1280349"/>
                  <a:pt x="10640060" y="1264474"/>
                </a:cubicBezTo>
                <a:close/>
                <a:moveTo>
                  <a:pt x="10761980" y="1198434"/>
                </a:moveTo>
                <a:cubicBezTo>
                  <a:pt x="10753725" y="1181924"/>
                  <a:pt x="10728325" y="1195259"/>
                  <a:pt x="10737215" y="1211769"/>
                </a:cubicBezTo>
                <a:cubicBezTo>
                  <a:pt x="10745470" y="1227644"/>
                  <a:pt x="10770870" y="1214309"/>
                  <a:pt x="10761980" y="1198434"/>
                </a:cubicBezTo>
                <a:close/>
                <a:moveTo>
                  <a:pt x="10501630" y="1329244"/>
                </a:moveTo>
                <a:cubicBezTo>
                  <a:pt x="10485755" y="1338769"/>
                  <a:pt x="10500995" y="1362899"/>
                  <a:pt x="10516235" y="1353374"/>
                </a:cubicBezTo>
                <a:cubicBezTo>
                  <a:pt x="10532110" y="1343849"/>
                  <a:pt x="10516870" y="1319719"/>
                  <a:pt x="10501630" y="1329244"/>
                </a:cubicBezTo>
                <a:close/>
                <a:moveTo>
                  <a:pt x="10478135" y="1383219"/>
                </a:moveTo>
                <a:cubicBezTo>
                  <a:pt x="10463530" y="1390838"/>
                  <a:pt x="10476230" y="1413699"/>
                  <a:pt x="10490200" y="1405444"/>
                </a:cubicBezTo>
                <a:cubicBezTo>
                  <a:pt x="10504805" y="1397824"/>
                  <a:pt x="10492105" y="1375599"/>
                  <a:pt x="10478135" y="1383219"/>
                </a:cubicBezTo>
                <a:close/>
                <a:moveTo>
                  <a:pt x="10704830" y="1267649"/>
                </a:moveTo>
                <a:cubicBezTo>
                  <a:pt x="10689590" y="1274634"/>
                  <a:pt x="10701020" y="1298129"/>
                  <a:pt x="10715625" y="1290509"/>
                </a:cubicBezTo>
                <a:cubicBezTo>
                  <a:pt x="10730865" y="1283524"/>
                  <a:pt x="10719435" y="1260663"/>
                  <a:pt x="10704830" y="1267649"/>
                </a:cubicBezTo>
                <a:close/>
                <a:moveTo>
                  <a:pt x="10647680" y="1295588"/>
                </a:moveTo>
                <a:cubicBezTo>
                  <a:pt x="10633075" y="1302574"/>
                  <a:pt x="10644505" y="1326069"/>
                  <a:pt x="10659110" y="1318449"/>
                </a:cubicBezTo>
                <a:cubicBezTo>
                  <a:pt x="10673715" y="1311463"/>
                  <a:pt x="10662285" y="1287969"/>
                  <a:pt x="10647680" y="1295588"/>
                </a:cubicBezTo>
                <a:close/>
                <a:moveTo>
                  <a:pt x="10701020" y="1230819"/>
                </a:moveTo>
                <a:cubicBezTo>
                  <a:pt x="10692765" y="1214309"/>
                  <a:pt x="10667365" y="1228279"/>
                  <a:pt x="10676255" y="1244154"/>
                </a:cubicBezTo>
                <a:cubicBezTo>
                  <a:pt x="10684510" y="1260663"/>
                  <a:pt x="10709910" y="1246694"/>
                  <a:pt x="10701020" y="1230819"/>
                </a:cubicBezTo>
                <a:close/>
                <a:moveTo>
                  <a:pt x="10744200" y="995869"/>
                </a:moveTo>
                <a:cubicBezTo>
                  <a:pt x="10706735" y="1052384"/>
                  <a:pt x="10819765" y="1025713"/>
                  <a:pt x="10760075" y="992059"/>
                </a:cubicBezTo>
                <a:cubicBezTo>
                  <a:pt x="10807700" y="931734"/>
                  <a:pt x="10678795" y="956499"/>
                  <a:pt x="10745470" y="994599"/>
                </a:cubicBezTo>
                <a:cubicBezTo>
                  <a:pt x="10744835" y="995234"/>
                  <a:pt x="10744835" y="995234"/>
                  <a:pt x="10744200" y="995869"/>
                </a:cubicBezTo>
                <a:close/>
                <a:moveTo>
                  <a:pt x="10708005" y="1160969"/>
                </a:moveTo>
                <a:cubicBezTo>
                  <a:pt x="10690860" y="1171129"/>
                  <a:pt x="10706735" y="1198434"/>
                  <a:pt x="10723880" y="1187638"/>
                </a:cubicBezTo>
                <a:cubicBezTo>
                  <a:pt x="10741660" y="1177479"/>
                  <a:pt x="10725150" y="1150174"/>
                  <a:pt x="10708005" y="1160969"/>
                </a:cubicBezTo>
                <a:close/>
                <a:moveTo>
                  <a:pt x="10643870" y="1199704"/>
                </a:moveTo>
                <a:cubicBezTo>
                  <a:pt x="10626725" y="1209863"/>
                  <a:pt x="10643870" y="1237169"/>
                  <a:pt x="10660380" y="1225738"/>
                </a:cubicBezTo>
                <a:cubicBezTo>
                  <a:pt x="10677525" y="1215579"/>
                  <a:pt x="10661015" y="1188909"/>
                  <a:pt x="10643870" y="1199704"/>
                </a:cubicBezTo>
                <a:close/>
                <a:moveTo>
                  <a:pt x="10688955" y="1164144"/>
                </a:moveTo>
                <a:cubicBezTo>
                  <a:pt x="10718165" y="1163509"/>
                  <a:pt x="10704195" y="1117788"/>
                  <a:pt x="10679430" y="1133029"/>
                </a:cubicBezTo>
                <a:cubicBezTo>
                  <a:pt x="10665460" y="1141919"/>
                  <a:pt x="10673080" y="1164779"/>
                  <a:pt x="10688955" y="1164144"/>
                </a:cubicBezTo>
                <a:close/>
                <a:moveTo>
                  <a:pt x="10679430" y="1112074"/>
                </a:moveTo>
                <a:cubicBezTo>
                  <a:pt x="10701020" y="1138109"/>
                  <a:pt x="10730230" y="1091119"/>
                  <a:pt x="10697845" y="1083499"/>
                </a:cubicBezTo>
                <a:cubicBezTo>
                  <a:pt x="10708005" y="1074609"/>
                  <a:pt x="10705465" y="1056829"/>
                  <a:pt x="10692765" y="1051113"/>
                </a:cubicBezTo>
                <a:cubicBezTo>
                  <a:pt x="10700385" y="1040954"/>
                  <a:pt x="10696575" y="1025079"/>
                  <a:pt x="10685145" y="1019999"/>
                </a:cubicBezTo>
                <a:cubicBezTo>
                  <a:pt x="10753090" y="972374"/>
                  <a:pt x="10612120" y="959674"/>
                  <a:pt x="10669905" y="1018729"/>
                </a:cubicBezTo>
                <a:cubicBezTo>
                  <a:pt x="10650855" y="1023174"/>
                  <a:pt x="10649585" y="1052384"/>
                  <a:pt x="10668000" y="1058734"/>
                </a:cubicBezTo>
                <a:cubicBezTo>
                  <a:pt x="10660380" y="1069529"/>
                  <a:pt x="10667365" y="1087309"/>
                  <a:pt x="10681335" y="1088579"/>
                </a:cubicBezTo>
                <a:cubicBezTo>
                  <a:pt x="10674985" y="1094929"/>
                  <a:pt x="10674350" y="1105088"/>
                  <a:pt x="10679430" y="1112074"/>
                </a:cubicBezTo>
                <a:close/>
                <a:moveTo>
                  <a:pt x="11482705" y="989519"/>
                </a:moveTo>
                <a:cubicBezTo>
                  <a:pt x="11466830" y="992694"/>
                  <a:pt x="11472545" y="1018094"/>
                  <a:pt x="11488420" y="1014284"/>
                </a:cubicBezTo>
                <a:cubicBezTo>
                  <a:pt x="11504930" y="1010474"/>
                  <a:pt x="11499215" y="985709"/>
                  <a:pt x="11482705" y="989519"/>
                </a:cubicBezTo>
                <a:close/>
                <a:moveTo>
                  <a:pt x="635" y="1256854"/>
                </a:moveTo>
                <a:cubicBezTo>
                  <a:pt x="0" y="1256854"/>
                  <a:pt x="0" y="1256854"/>
                  <a:pt x="635" y="1256854"/>
                </a:cubicBezTo>
                <a:lnTo>
                  <a:pt x="0" y="1293049"/>
                </a:lnTo>
                <a:cubicBezTo>
                  <a:pt x="18415" y="1289874"/>
                  <a:pt x="20955" y="1260029"/>
                  <a:pt x="635" y="1256854"/>
                </a:cubicBezTo>
                <a:close/>
                <a:moveTo>
                  <a:pt x="635" y="1186369"/>
                </a:moveTo>
                <a:cubicBezTo>
                  <a:pt x="0" y="1186369"/>
                  <a:pt x="0" y="1186369"/>
                  <a:pt x="635" y="1186369"/>
                </a:cubicBezTo>
                <a:lnTo>
                  <a:pt x="0" y="1223199"/>
                </a:lnTo>
                <a:cubicBezTo>
                  <a:pt x="18415" y="1220024"/>
                  <a:pt x="20320" y="1190179"/>
                  <a:pt x="635" y="1186369"/>
                </a:cubicBezTo>
                <a:close/>
                <a:moveTo>
                  <a:pt x="15240" y="1344484"/>
                </a:moveTo>
                <a:cubicBezTo>
                  <a:pt x="15240" y="1333054"/>
                  <a:pt x="8255" y="1327974"/>
                  <a:pt x="0" y="1326704"/>
                </a:cubicBezTo>
                <a:lnTo>
                  <a:pt x="0" y="1362263"/>
                </a:lnTo>
                <a:cubicBezTo>
                  <a:pt x="8255" y="1360994"/>
                  <a:pt x="15240" y="1354644"/>
                  <a:pt x="15240" y="1344484"/>
                </a:cubicBezTo>
                <a:close/>
                <a:moveTo>
                  <a:pt x="163830" y="1565463"/>
                </a:moveTo>
                <a:cubicBezTo>
                  <a:pt x="178435" y="1573084"/>
                  <a:pt x="189865" y="1549588"/>
                  <a:pt x="175260" y="1542604"/>
                </a:cubicBezTo>
                <a:cubicBezTo>
                  <a:pt x="160020" y="1534984"/>
                  <a:pt x="148590" y="1558479"/>
                  <a:pt x="163830" y="1565463"/>
                </a:cubicBezTo>
                <a:close/>
                <a:moveTo>
                  <a:pt x="132080" y="1957894"/>
                </a:moveTo>
                <a:cubicBezTo>
                  <a:pt x="123825" y="1978213"/>
                  <a:pt x="155575" y="1990913"/>
                  <a:pt x="163830" y="1970594"/>
                </a:cubicBezTo>
                <a:cubicBezTo>
                  <a:pt x="172085" y="1950274"/>
                  <a:pt x="139700" y="1937574"/>
                  <a:pt x="132080" y="1957894"/>
                </a:cubicBezTo>
                <a:close/>
                <a:moveTo>
                  <a:pt x="15240" y="1414334"/>
                </a:moveTo>
                <a:cubicBezTo>
                  <a:pt x="15240" y="1402904"/>
                  <a:pt x="8255" y="1397824"/>
                  <a:pt x="0" y="1396554"/>
                </a:cubicBezTo>
                <a:lnTo>
                  <a:pt x="0" y="1432113"/>
                </a:lnTo>
                <a:cubicBezTo>
                  <a:pt x="8255" y="1430844"/>
                  <a:pt x="15240" y="1424494"/>
                  <a:pt x="15240" y="1414334"/>
                </a:cubicBezTo>
                <a:close/>
                <a:moveTo>
                  <a:pt x="121285" y="1812479"/>
                </a:moveTo>
                <a:cubicBezTo>
                  <a:pt x="113030" y="1830894"/>
                  <a:pt x="141605" y="1843594"/>
                  <a:pt x="149860" y="1825179"/>
                </a:cubicBezTo>
                <a:cubicBezTo>
                  <a:pt x="158115" y="1806763"/>
                  <a:pt x="129540" y="1794063"/>
                  <a:pt x="121285" y="1812479"/>
                </a:cubicBezTo>
                <a:close/>
                <a:moveTo>
                  <a:pt x="111125" y="1666429"/>
                </a:moveTo>
                <a:cubicBezTo>
                  <a:pt x="107950" y="1673413"/>
                  <a:pt x="110490" y="1681669"/>
                  <a:pt x="117475" y="1685479"/>
                </a:cubicBezTo>
                <a:lnTo>
                  <a:pt x="117475" y="1685479"/>
                </a:lnTo>
                <a:cubicBezTo>
                  <a:pt x="153670" y="1695004"/>
                  <a:pt x="132715" y="1636584"/>
                  <a:pt x="111125" y="1666429"/>
                </a:cubicBezTo>
                <a:close/>
                <a:moveTo>
                  <a:pt x="106680" y="1536888"/>
                </a:moveTo>
                <a:cubicBezTo>
                  <a:pt x="121285" y="1544509"/>
                  <a:pt x="133350" y="1521649"/>
                  <a:pt x="118110" y="1514029"/>
                </a:cubicBezTo>
                <a:cubicBezTo>
                  <a:pt x="103505" y="1506409"/>
                  <a:pt x="92075" y="1529269"/>
                  <a:pt x="106680" y="1536888"/>
                </a:cubicBezTo>
                <a:close/>
                <a:moveTo>
                  <a:pt x="635" y="1116519"/>
                </a:moveTo>
                <a:cubicBezTo>
                  <a:pt x="0" y="1116519"/>
                  <a:pt x="0" y="1116519"/>
                  <a:pt x="635" y="1116519"/>
                </a:cubicBezTo>
                <a:lnTo>
                  <a:pt x="0" y="1152713"/>
                </a:lnTo>
                <a:cubicBezTo>
                  <a:pt x="18415" y="1150174"/>
                  <a:pt x="20955" y="1120329"/>
                  <a:pt x="635" y="1116519"/>
                </a:cubicBezTo>
                <a:close/>
                <a:moveTo>
                  <a:pt x="7620" y="2171254"/>
                </a:moveTo>
                <a:cubicBezTo>
                  <a:pt x="5080" y="2169984"/>
                  <a:pt x="2540" y="2169984"/>
                  <a:pt x="0" y="2169349"/>
                </a:cubicBezTo>
                <a:lnTo>
                  <a:pt x="0" y="2209354"/>
                </a:lnTo>
                <a:cubicBezTo>
                  <a:pt x="19050" y="2209989"/>
                  <a:pt x="28575" y="2179509"/>
                  <a:pt x="7620" y="2171254"/>
                </a:cubicBezTo>
                <a:close/>
                <a:moveTo>
                  <a:pt x="10795" y="1472754"/>
                </a:moveTo>
                <a:cubicBezTo>
                  <a:pt x="16510" y="1461959"/>
                  <a:pt x="8255" y="1454974"/>
                  <a:pt x="0" y="1454338"/>
                </a:cubicBezTo>
                <a:lnTo>
                  <a:pt x="0" y="1502599"/>
                </a:lnTo>
                <a:cubicBezTo>
                  <a:pt x="13335" y="1500694"/>
                  <a:pt x="20320" y="1482913"/>
                  <a:pt x="10795" y="1472754"/>
                </a:cubicBezTo>
                <a:close/>
                <a:moveTo>
                  <a:pt x="437515" y="1820734"/>
                </a:moveTo>
                <a:cubicBezTo>
                  <a:pt x="454660" y="1827084"/>
                  <a:pt x="464820" y="1800413"/>
                  <a:pt x="447040" y="1794063"/>
                </a:cubicBezTo>
                <a:cubicBezTo>
                  <a:pt x="429895" y="1787079"/>
                  <a:pt x="419735" y="1814384"/>
                  <a:pt x="437515" y="1820734"/>
                </a:cubicBezTo>
                <a:close/>
                <a:moveTo>
                  <a:pt x="7620" y="2457639"/>
                </a:moveTo>
                <a:cubicBezTo>
                  <a:pt x="5080" y="2457004"/>
                  <a:pt x="2540" y="2456369"/>
                  <a:pt x="0" y="2456369"/>
                </a:cubicBezTo>
                <a:lnTo>
                  <a:pt x="0" y="2501454"/>
                </a:lnTo>
                <a:cubicBezTo>
                  <a:pt x="22225" y="2502089"/>
                  <a:pt x="32385" y="2465894"/>
                  <a:pt x="7620" y="2457639"/>
                </a:cubicBezTo>
                <a:close/>
                <a:moveTo>
                  <a:pt x="7620" y="2028379"/>
                </a:moveTo>
                <a:cubicBezTo>
                  <a:pt x="5080" y="2027109"/>
                  <a:pt x="2540" y="2026474"/>
                  <a:pt x="0" y="2026474"/>
                </a:cubicBezTo>
                <a:lnTo>
                  <a:pt x="0" y="2063304"/>
                </a:lnTo>
                <a:cubicBezTo>
                  <a:pt x="17145" y="2063938"/>
                  <a:pt x="26670" y="2036634"/>
                  <a:pt x="7620" y="2028379"/>
                </a:cubicBezTo>
                <a:close/>
                <a:moveTo>
                  <a:pt x="13335" y="1616263"/>
                </a:moveTo>
                <a:cubicBezTo>
                  <a:pt x="17780" y="1605469"/>
                  <a:pt x="8890" y="1597849"/>
                  <a:pt x="0" y="1597849"/>
                </a:cubicBezTo>
                <a:lnTo>
                  <a:pt x="0" y="1642299"/>
                </a:lnTo>
                <a:cubicBezTo>
                  <a:pt x="10795" y="1639759"/>
                  <a:pt x="19685" y="1628963"/>
                  <a:pt x="13335" y="1616263"/>
                </a:cubicBezTo>
                <a:close/>
                <a:moveTo>
                  <a:pt x="635" y="1536254"/>
                </a:moveTo>
                <a:cubicBezTo>
                  <a:pt x="0" y="1536254"/>
                  <a:pt x="0" y="1536254"/>
                  <a:pt x="635" y="1536254"/>
                </a:cubicBezTo>
                <a:lnTo>
                  <a:pt x="0" y="1572449"/>
                </a:lnTo>
                <a:cubicBezTo>
                  <a:pt x="18415" y="1569909"/>
                  <a:pt x="20955" y="1540063"/>
                  <a:pt x="635" y="1536254"/>
                </a:cubicBezTo>
                <a:close/>
                <a:moveTo>
                  <a:pt x="6985" y="1741994"/>
                </a:moveTo>
                <a:cubicBezTo>
                  <a:pt x="4445" y="1740724"/>
                  <a:pt x="2540" y="1740088"/>
                  <a:pt x="0" y="1740088"/>
                </a:cubicBezTo>
                <a:lnTo>
                  <a:pt x="0" y="1771204"/>
                </a:lnTo>
                <a:cubicBezTo>
                  <a:pt x="13970" y="1771204"/>
                  <a:pt x="22860" y="1748979"/>
                  <a:pt x="6985" y="1741994"/>
                </a:cubicBezTo>
                <a:close/>
                <a:moveTo>
                  <a:pt x="635" y="1675954"/>
                </a:moveTo>
                <a:cubicBezTo>
                  <a:pt x="0" y="1675954"/>
                  <a:pt x="0" y="1675954"/>
                  <a:pt x="635" y="1675954"/>
                </a:cubicBezTo>
                <a:lnTo>
                  <a:pt x="0" y="1712149"/>
                </a:lnTo>
                <a:cubicBezTo>
                  <a:pt x="19050" y="1709609"/>
                  <a:pt x="20320" y="1679763"/>
                  <a:pt x="635" y="1675954"/>
                </a:cubicBezTo>
                <a:close/>
                <a:moveTo>
                  <a:pt x="6985" y="1884869"/>
                </a:moveTo>
                <a:cubicBezTo>
                  <a:pt x="4445" y="1883599"/>
                  <a:pt x="1905" y="1882963"/>
                  <a:pt x="0" y="1882963"/>
                </a:cubicBezTo>
                <a:lnTo>
                  <a:pt x="0" y="1917254"/>
                </a:lnTo>
                <a:cubicBezTo>
                  <a:pt x="15875" y="1917888"/>
                  <a:pt x="24765" y="1893124"/>
                  <a:pt x="6985" y="1884869"/>
                </a:cubicBezTo>
                <a:close/>
                <a:moveTo>
                  <a:pt x="307975" y="1769934"/>
                </a:moveTo>
                <a:cubicBezTo>
                  <a:pt x="324485" y="1777554"/>
                  <a:pt x="335915" y="1750884"/>
                  <a:pt x="318770" y="1743899"/>
                </a:cubicBezTo>
                <a:cubicBezTo>
                  <a:pt x="301625" y="1736913"/>
                  <a:pt x="290830" y="1762949"/>
                  <a:pt x="307975" y="1769934"/>
                </a:cubicBezTo>
                <a:close/>
                <a:moveTo>
                  <a:pt x="347345" y="2314129"/>
                </a:moveTo>
                <a:cubicBezTo>
                  <a:pt x="372110" y="2319209"/>
                  <a:pt x="380365" y="2279839"/>
                  <a:pt x="354965" y="2275394"/>
                </a:cubicBezTo>
                <a:cubicBezTo>
                  <a:pt x="329565" y="2270314"/>
                  <a:pt x="321945" y="2309684"/>
                  <a:pt x="347345" y="2314129"/>
                </a:cubicBezTo>
                <a:close/>
                <a:moveTo>
                  <a:pt x="173355" y="1695638"/>
                </a:moveTo>
                <a:cubicBezTo>
                  <a:pt x="165735" y="1712149"/>
                  <a:pt x="191770" y="1724213"/>
                  <a:pt x="198755" y="1707069"/>
                </a:cubicBezTo>
                <a:cubicBezTo>
                  <a:pt x="207010" y="1691194"/>
                  <a:pt x="180975" y="1679129"/>
                  <a:pt x="173355" y="1695638"/>
                </a:cubicBezTo>
                <a:close/>
                <a:moveTo>
                  <a:pt x="338455" y="1916619"/>
                </a:moveTo>
                <a:cubicBezTo>
                  <a:pt x="357505" y="1923604"/>
                  <a:pt x="368300" y="1893759"/>
                  <a:pt x="348615" y="1887409"/>
                </a:cubicBezTo>
                <a:cubicBezTo>
                  <a:pt x="330200" y="1879788"/>
                  <a:pt x="320040" y="1909634"/>
                  <a:pt x="338455" y="1916619"/>
                </a:cubicBezTo>
                <a:close/>
                <a:moveTo>
                  <a:pt x="336550" y="1646744"/>
                </a:moveTo>
                <a:cubicBezTo>
                  <a:pt x="351155" y="1653729"/>
                  <a:pt x="361950" y="1630234"/>
                  <a:pt x="346710" y="1623884"/>
                </a:cubicBezTo>
                <a:cubicBezTo>
                  <a:pt x="331470" y="1616899"/>
                  <a:pt x="321310" y="1640394"/>
                  <a:pt x="336550" y="1646744"/>
                </a:cubicBezTo>
                <a:close/>
                <a:moveTo>
                  <a:pt x="400050" y="1921063"/>
                </a:moveTo>
                <a:cubicBezTo>
                  <a:pt x="393700" y="1940113"/>
                  <a:pt x="423545" y="1950274"/>
                  <a:pt x="429260" y="1930588"/>
                </a:cubicBezTo>
                <a:cubicBezTo>
                  <a:pt x="436245" y="1911538"/>
                  <a:pt x="405765" y="1902013"/>
                  <a:pt x="400050" y="1921063"/>
                </a:cubicBezTo>
                <a:close/>
                <a:moveTo>
                  <a:pt x="375920" y="2059494"/>
                </a:moveTo>
                <a:cubicBezTo>
                  <a:pt x="394970" y="2060129"/>
                  <a:pt x="399415" y="2030919"/>
                  <a:pt x="380365" y="2026474"/>
                </a:cubicBezTo>
                <a:cubicBezTo>
                  <a:pt x="356235" y="2019488"/>
                  <a:pt x="350520" y="2059494"/>
                  <a:pt x="375920" y="2059494"/>
                </a:cubicBezTo>
                <a:close/>
                <a:moveTo>
                  <a:pt x="394335" y="1672144"/>
                </a:moveTo>
                <a:cubicBezTo>
                  <a:pt x="408940" y="1679129"/>
                  <a:pt x="419735" y="1654999"/>
                  <a:pt x="404495" y="1648649"/>
                </a:cubicBezTo>
                <a:cubicBezTo>
                  <a:pt x="389890" y="1642299"/>
                  <a:pt x="379095" y="1665794"/>
                  <a:pt x="394335" y="1672144"/>
                </a:cubicBezTo>
                <a:close/>
                <a:moveTo>
                  <a:pt x="372110" y="1795969"/>
                </a:moveTo>
                <a:cubicBezTo>
                  <a:pt x="388620" y="1802954"/>
                  <a:pt x="399415" y="1776284"/>
                  <a:pt x="382270" y="1769934"/>
                </a:cubicBezTo>
                <a:cubicBezTo>
                  <a:pt x="365760" y="1762949"/>
                  <a:pt x="354965" y="1789619"/>
                  <a:pt x="372110" y="1795969"/>
                </a:cubicBezTo>
                <a:close/>
                <a:moveTo>
                  <a:pt x="342265" y="2163634"/>
                </a:moveTo>
                <a:cubicBezTo>
                  <a:pt x="348615" y="2140774"/>
                  <a:pt x="312420" y="2131249"/>
                  <a:pt x="306705" y="2154109"/>
                </a:cubicBezTo>
                <a:cubicBezTo>
                  <a:pt x="300355" y="2176969"/>
                  <a:pt x="336550" y="2186494"/>
                  <a:pt x="342265" y="2163634"/>
                </a:cubicBezTo>
                <a:close/>
                <a:moveTo>
                  <a:pt x="278130" y="1620074"/>
                </a:moveTo>
                <a:cubicBezTo>
                  <a:pt x="292735" y="1627059"/>
                  <a:pt x="304165" y="1603563"/>
                  <a:pt x="288925" y="1597213"/>
                </a:cubicBezTo>
                <a:cubicBezTo>
                  <a:pt x="274320" y="1590229"/>
                  <a:pt x="263525" y="1613724"/>
                  <a:pt x="278130" y="1620074"/>
                </a:cubicBezTo>
                <a:close/>
                <a:moveTo>
                  <a:pt x="243840" y="1742629"/>
                </a:moveTo>
                <a:cubicBezTo>
                  <a:pt x="260350" y="1750249"/>
                  <a:pt x="271780" y="1723579"/>
                  <a:pt x="255270" y="1716594"/>
                </a:cubicBezTo>
                <a:cubicBezTo>
                  <a:pt x="238760" y="1709609"/>
                  <a:pt x="227330" y="1735644"/>
                  <a:pt x="243840" y="1742629"/>
                </a:cubicBezTo>
                <a:close/>
                <a:moveTo>
                  <a:pt x="220980" y="1593404"/>
                </a:moveTo>
                <a:cubicBezTo>
                  <a:pt x="235585" y="1601024"/>
                  <a:pt x="247015" y="1577529"/>
                  <a:pt x="231775" y="1570544"/>
                </a:cubicBezTo>
                <a:cubicBezTo>
                  <a:pt x="217170" y="1562924"/>
                  <a:pt x="205740" y="1586419"/>
                  <a:pt x="220980" y="1593404"/>
                </a:cubicBezTo>
                <a:close/>
                <a:moveTo>
                  <a:pt x="189865" y="1842324"/>
                </a:moveTo>
                <a:cubicBezTo>
                  <a:pt x="181610" y="1860738"/>
                  <a:pt x="210820" y="1872804"/>
                  <a:pt x="218440" y="1854388"/>
                </a:cubicBezTo>
                <a:cubicBezTo>
                  <a:pt x="226695" y="1835338"/>
                  <a:pt x="197485" y="1823274"/>
                  <a:pt x="189865" y="1842324"/>
                </a:cubicBezTo>
                <a:close/>
                <a:moveTo>
                  <a:pt x="282575" y="2013774"/>
                </a:moveTo>
                <a:cubicBezTo>
                  <a:pt x="275590" y="2034729"/>
                  <a:pt x="307975" y="2045524"/>
                  <a:pt x="314960" y="2024569"/>
                </a:cubicBezTo>
                <a:cubicBezTo>
                  <a:pt x="321945" y="2003613"/>
                  <a:pt x="289560" y="1992819"/>
                  <a:pt x="282575" y="2013774"/>
                </a:cubicBezTo>
                <a:close/>
                <a:moveTo>
                  <a:pt x="236220" y="2152839"/>
                </a:moveTo>
                <a:cubicBezTo>
                  <a:pt x="258445" y="2160459"/>
                  <a:pt x="269875" y="2124264"/>
                  <a:pt x="247015" y="2117914"/>
                </a:cubicBezTo>
                <a:cubicBezTo>
                  <a:pt x="224790" y="2110294"/>
                  <a:pt x="213360" y="2145854"/>
                  <a:pt x="236220" y="2152839"/>
                </a:cubicBezTo>
                <a:close/>
                <a:moveTo>
                  <a:pt x="267970" y="1890584"/>
                </a:moveTo>
                <a:cubicBezTo>
                  <a:pt x="286385" y="1898204"/>
                  <a:pt x="298450" y="1868359"/>
                  <a:pt x="278765" y="1861374"/>
                </a:cubicBezTo>
                <a:cubicBezTo>
                  <a:pt x="260985" y="1853754"/>
                  <a:pt x="249555" y="1883599"/>
                  <a:pt x="267970" y="1890584"/>
                </a:cubicBezTo>
                <a:close/>
                <a:moveTo>
                  <a:pt x="238760" y="1998534"/>
                </a:moveTo>
                <a:cubicBezTo>
                  <a:pt x="246380" y="1978213"/>
                  <a:pt x="213995" y="1966149"/>
                  <a:pt x="207010" y="1987104"/>
                </a:cubicBezTo>
                <a:cubicBezTo>
                  <a:pt x="199390" y="2007424"/>
                  <a:pt x="231140" y="2019488"/>
                  <a:pt x="238760" y="1998534"/>
                </a:cubicBezTo>
                <a:close/>
                <a:moveTo>
                  <a:pt x="7620" y="2314129"/>
                </a:moveTo>
                <a:cubicBezTo>
                  <a:pt x="5080" y="2312859"/>
                  <a:pt x="2540" y="2312859"/>
                  <a:pt x="0" y="2312859"/>
                </a:cubicBezTo>
                <a:lnTo>
                  <a:pt x="0" y="2355404"/>
                </a:lnTo>
                <a:cubicBezTo>
                  <a:pt x="20320" y="2356039"/>
                  <a:pt x="30480" y="2323019"/>
                  <a:pt x="7620" y="2314129"/>
                </a:cubicBezTo>
                <a:close/>
                <a:moveTo>
                  <a:pt x="302260" y="2415729"/>
                </a:moveTo>
                <a:cubicBezTo>
                  <a:pt x="307340" y="2389059"/>
                  <a:pt x="264795" y="2381439"/>
                  <a:pt x="260350" y="2408109"/>
                </a:cubicBezTo>
                <a:cubicBezTo>
                  <a:pt x="255270" y="2435414"/>
                  <a:pt x="297815" y="2443034"/>
                  <a:pt x="302260" y="2415729"/>
                </a:cubicBezTo>
                <a:close/>
                <a:moveTo>
                  <a:pt x="426720" y="2552254"/>
                </a:moveTo>
                <a:cubicBezTo>
                  <a:pt x="427990" y="2523044"/>
                  <a:pt x="381635" y="2521774"/>
                  <a:pt x="381635" y="2550984"/>
                </a:cubicBezTo>
                <a:cubicBezTo>
                  <a:pt x="380365" y="2580829"/>
                  <a:pt x="426085" y="2582099"/>
                  <a:pt x="426720" y="2552254"/>
                </a:cubicBezTo>
                <a:close/>
                <a:moveTo>
                  <a:pt x="448945" y="2761169"/>
                </a:moveTo>
                <a:cubicBezTo>
                  <a:pt x="415925" y="2766249"/>
                  <a:pt x="424815" y="2817049"/>
                  <a:pt x="457200" y="2811334"/>
                </a:cubicBezTo>
                <a:cubicBezTo>
                  <a:pt x="489585" y="2806889"/>
                  <a:pt x="481330" y="2755454"/>
                  <a:pt x="448945" y="2761169"/>
                </a:cubicBezTo>
                <a:close/>
                <a:moveTo>
                  <a:pt x="529590" y="2549714"/>
                </a:moveTo>
                <a:cubicBezTo>
                  <a:pt x="528320" y="2520504"/>
                  <a:pt x="482600" y="2522409"/>
                  <a:pt x="484505" y="2551619"/>
                </a:cubicBezTo>
                <a:cubicBezTo>
                  <a:pt x="485140" y="2581464"/>
                  <a:pt x="531495" y="2578924"/>
                  <a:pt x="529590" y="2549714"/>
                </a:cubicBezTo>
                <a:close/>
                <a:moveTo>
                  <a:pt x="561340" y="2657029"/>
                </a:moveTo>
                <a:cubicBezTo>
                  <a:pt x="556895" y="2625914"/>
                  <a:pt x="508635" y="2633534"/>
                  <a:pt x="513715" y="2664014"/>
                </a:cubicBezTo>
                <a:cubicBezTo>
                  <a:pt x="518160" y="2695129"/>
                  <a:pt x="566420" y="2687509"/>
                  <a:pt x="561340" y="2657029"/>
                </a:cubicBezTo>
                <a:close/>
                <a:moveTo>
                  <a:pt x="398780" y="2428429"/>
                </a:moveTo>
                <a:cubicBezTo>
                  <a:pt x="402590" y="2401124"/>
                  <a:pt x="359410" y="2396679"/>
                  <a:pt x="356870" y="2423984"/>
                </a:cubicBezTo>
                <a:cubicBezTo>
                  <a:pt x="353060" y="2450654"/>
                  <a:pt x="395605" y="2455734"/>
                  <a:pt x="398780" y="2428429"/>
                </a:cubicBezTo>
                <a:close/>
                <a:moveTo>
                  <a:pt x="321310" y="2650679"/>
                </a:moveTo>
                <a:cubicBezTo>
                  <a:pt x="290195" y="2649409"/>
                  <a:pt x="289560" y="2698939"/>
                  <a:pt x="320675" y="2698939"/>
                </a:cubicBezTo>
                <a:cubicBezTo>
                  <a:pt x="351790" y="2699574"/>
                  <a:pt x="352425" y="2650679"/>
                  <a:pt x="321310" y="2650679"/>
                </a:cubicBezTo>
                <a:close/>
                <a:moveTo>
                  <a:pt x="303530" y="2523044"/>
                </a:moveTo>
                <a:cubicBezTo>
                  <a:pt x="273050" y="2519869"/>
                  <a:pt x="270510" y="2568129"/>
                  <a:pt x="300990" y="2568129"/>
                </a:cubicBezTo>
                <a:cubicBezTo>
                  <a:pt x="328930" y="2568764"/>
                  <a:pt x="331470" y="2524949"/>
                  <a:pt x="303530" y="2523044"/>
                </a:cubicBezTo>
                <a:close/>
                <a:moveTo>
                  <a:pt x="337820" y="2774504"/>
                </a:moveTo>
                <a:cubicBezTo>
                  <a:pt x="304800" y="2776409"/>
                  <a:pt x="308610" y="2827844"/>
                  <a:pt x="341630" y="2825304"/>
                </a:cubicBezTo>
                <a:cubicBezTo>
                  <a:pt x="374650" y="2823399"/>
                  <a:pt x="370840" y="2771964"/>
                  <a:pt x="337820" y="2774504"/>
                </a:cubicBezTo>
                <a:close/>
                <a:moveTo>
                  <a:pt x="427990" y="2648139"/>
                </a:moveTo>
                <a:cubicBezTo>
                  <a:pt x="396875" y="2650044"/>
                  <a:pt x="400050" y="2698304"/>
                  <a:pt x="431165" y="2695764"/>
                </a:cubicBezTo>
                <a:cubicBezTo>
                  <a:pt x="462280" y="2694494"/>
                  <a:pt x="459105" y="2645599"/>
                  <a:pt x="427990" y="2648139"/>
                </a:cubicBezTo>
                <a:close/>
                <a:moveTo>
                  <a:pt x="833755" y="2500184"/>
                </a:moveTo>
                <a:cubicBezTo>
                  <a:pt x="827405" y="2471609"/>
                  <a:pt x="782320" y="2482404"/>
                  <a:pt x="789940" y="2510979"/>
                </a:cubicBezTo>
                <a:cubicBezTo>
                  <a:pt x="796925" y="2539554"/>
                  <a:pt x="841375" y="2528124"/>
                  <a:pt x="833755" y="2500184"/>
                </a:cubicBezTo>
                <a:close/>
                <a:moveTo>
                  <a:pt x="772160" y="2667824"/>
                </a:moveTo>
                <a:cubicBezTo>
                  <a:pt x="741045" y="2679889"/>
                  <a:pt x="760730" y="2727514"/>
                  <a:pt x="791210" y="2714814"/>
                </a:cubicBezTo>
                <a:cubicBezTo>
                  <a:pt x="822325" y="2702749"/>
                  <a:pt x="802640" y="2655124"/>
                  <a:pt x="772160" y="2667824"/>
                </a:cubicBezTo>
                <a:close/>
                <a:moveTo>
                  <a:pt x="875030" y="2571939"/>
                </a:moveTo>
                <a:cubicBezTo>
                  <a:pt x="864870" y="2542729"/>
                  <a:pt x="819150" y="2559239"/>
                  <a:pt x="829945" y="2588449"/>
                </a:cubicBezTo>
                <a:cubicBezTo>
                  <a:pt x="840105" y="2617659"/>
                  <a:pt x="885825" y="2600514"/>
                  <a:pt x="875030" y="2571939"/>
                </a:cubicBezTo>
                <a:close/>
                <a:moveTo>
                  <a:pt x="558800" y="2738309"/>
                </a:moveTo>
                <a:cubicBezTo>
                  <a:pt x="526415" y="2745929"/>
                  <a:pt x="539750" y="2796094"/>
                  <a:pt x="571500" y="2787839"/>
                </a:cubicBezTo>
                <a:cubicBezTo>
                  <a:pt x="603250" y="2780219"/>
                  <a:pt x="590550" y="2730054"/>
                  <a:pt x="558800" y="2738309"/>
                </a:cubicBezTo>
                <a:close/>
                <a:moveTo>
                  <a:pt x="772160" y="2606864"/>
                </a:moveTo>
                <a:cubicBezTo>
                  <a:pt x="763905" y="2577019"/>
                  <a:pt x="716915" y="2590354"/>
                  <a:pt x="725805" y="2620199"/>
                </a:cubicBezTo>
                <a:cubicBezTo>
                  <a:pt x="734695" y="2650044"/>
                  <a:pt x="781685" y="2636074"/>
                  <a:pt x="772160" y="2606864"/>
                </a:cubicBezTo>
                <a:close/>
                <a:moveTo>
                  <a:pt x="6985" y="2600514"/>
                </a:moveTo>
                <a:cubicBezTo>
                  <a:pt x="4445" y="2599879"/>
                  <a:pt x="1905" y="2599244"/>
                  <a:pt x="0" y="2599244"/>
                </a:cubicBezTo>
                <a:lnTo>
                  <a:pt x="0" y="2647504"/>
                </a:lnTo>
                <a:cubicBezTo>
                  <a:pt x="24130" y="2648139"/>
                  <a:pt x="34290" y="2608769"/>
                  <a:pt x="6985" y="2600514"/>
                </a:cubicBezTo>
                <a:close/>
                <a:moveTo>
                  <a:pt x="733425" y="2523044"/>
                </a:moveTo>
                <a:cubicBezTo>
                  <a:pt x="728345" y="2493834"/>
                  <a:pt x="683260" y="2502724"/>
                  <a:pt x="688975" y="2531299"/>
                </a:cubicBezTo>
                <a:cubicBezTo>
                  <a:pt x="694055" y="2559874"/>
                  <a:pt x="739140" y="2551619"/>
                  <a:pt x="733425" y="2523044"/>
                </a:cubicBezTo>
                <a:close/>
                <a:moveTo>
                  <a:pt x="631825" y="2539554"/>
                </a:moveTo>
                <a:cubicBezTo>
                  <a:pt x="628650" y="2510344"/>
                  <a:pt x="582930" y="2515424"/>
                  <a:pt x="586740" y="2544634"/>
                </a:cubicBezTo>
                <a:cubicBezTo>
                  <a:pt x="589915" y="2574479"/>
                  <a:pt x="635635" y="2568764"/>
                  <a:pt x="631825" y="2539554"/>
                </a:cubicBezTo>
                <a:close/>
                <a:moveTo>
                  <a:pt x="666750" y="2706559"/>
                </a:moveTo>
                <a:cubicBezTo>
                  <a:pt x="635000" y="2716719"/>
                  <a:pt x="652145" y="2765614"/>
                  <a:pt x="682625" y="2754819"/>
                </a:cubicBezTo>
                <a:cubicBezTo>
                  <a:pt x="713740" y="2745294"/>
                  <a:pt x="697865" y="2695764"/>
                  <a:pt x="666750" y="2706559"/>
                </a:cubicBezTo>
                <a:close/>
                <a:moveTo>
                  <a:pt x="667385" y="2635439"/>
                </a:moveTo>
                <a:cubicBezTo>
                  <a:pt x="661035" y="2604959"/>
                  <a:pt x="613410" y="2615754"/>
                  <a:pt x="620395" y="2646234"/>
                </a:cubicBezTo>
                <a:cubicBezTo>
                  <a:pt x="627380" y="2676714"/>
                  <a:pt x="675005" y="2665919"/>
                  <a:pt x="667385" y="2635439"/>
                </a:cubicBezTo>
                <a:close/>
                <a:moveTo>
                  <a:pt x="86360" y="2060763"/>
                </a:moveTo>
                <a:cubicBezTo>
                  <a:pt x="64135" y="2051874"/>
                  <a:pt x="50800" y="2086163"/>
                  <a:pt x="73025" y="2095054"/>
                </a:cubicBezTo>
                <a:cubicBezTo>
                  <a:pt x="94615" y="2104579"/>
                  <a:pt x="108585" y="2069654"/>
                  <a:pt x="86360" y="2060763"/>
                </a:cubicBezTo>
                <a:close/>
                <a:moveTo>
                  <a:pt x="92710" y="2530664"/>
                </a:moveTo>
                <a:cubicBezTo>
                  <a:pt x="120650" y="2538919"/>
                  <a:pt x="132715" y="2493834"/>
                  <a:pt x="104140" y="2486849"/>
                </a:cubicBezTo>
                <a:cubicBezTo>
                  <a:pt x="76200" y="2479229"/>
                  <a:pt x="64135" y="2523679"/>
                  <a:pt x="92710" y="2530664"/>
                </a:cubicBezTo>
                <a:close/>
                <a:moveTo>
                  <a:pt x="80010" y="1917888"/>
                </a:moveTo>
                <a:cubicBezTo>
                  <a:pt x="59690" y="1908999"/>
                  <a:pt x="46355" y="1940749"/>
                  <a:pt x="66675" y="1949004"/>
                </a:cubicBezTo>
                <a:cubicBezTo>
                  <a:pt x="86360" y="1957894"/>
                  <a:pt x="100330" y="1926144"/>
                  <a:pt x="80010" y="1917888"/>
                </a:cubicBezTo>
                <a:close/>
                <a:moveTo>
                  <a:pt x="85725" y="2385884"/>
                </a:moveTo>
                <a:cubicBezTo>
                  <a:pt x="111760" y="2394774"/>
                  <a:pt x="124460" y="2353499"/>
                  <a:pt x="98425" y="2345244"/>
                </a:cubicBezTo>
                <a:cubicBezTo>
                  <a:pt x="72390" y="2336989"/>
                  <a:pt x="59690" y="2378264"/>
                  <a:pt x="85725" y="2385884"/>
                </a:cubicBezTo>
                <a:close/>
                <a:moveTo>
                  <a:pt x="79375" y="2241104"/>
                </a:moveTo>
                <a:cubicBezTo>
                  <a:pt x="102870" y="2249994"/>
                  <a:pt x="116840" y="2211894"/>
                  <a:pt x="92710" y="2203639"/>
                </a:cubicBezTo>
                <a:cubicBezTo>
                  <a:pt x="67945" y="2194749"/>
                  <a:pt x="54610" y="2232849"/>
                  <a:pt x="79375" y="2241104"/>
                </a:cubicBezTo>
                <a:close/>
                <a:moveTo>
                  <a:pt x="260985" y="2295079"/>
                </a:moveTo>
                <a:cubicBezTo>
                  <a:pt x="334010" y="2255074"/>
                  <a:pt x="194945" y="2237929"/>
                  <a:pt x="255905" y="2294444"/>
                </a:cubicBezTo>
                <a:lnTo>
                  <a:pt x="255905" y="2294444"/>
                </a:lnTo>
                <a:cubicBezTo>
                  <a:pt x="257810" y="2294444"/>
                  <a:pt x="259715" y="2295079"/>
                  <a:pt x="260985" y="2295079"/>
                </a:cubicBezTo>
                <a:close/>
                <a:moveTo>
                  <a:pt x="6350" y="2743389"/>
                </a:moveTo>
                <a:cubicBezTo>
                  <a:pt x="3810" y="2742754"/>
                  <a:pt x="1905" y="2742754"/>
                  <a:pt x="0" y="2742119"/>
                </a:cubicBezTo>
                <a:lnTo>
                  <a:pt x="0" y="2792919"/>
                </a:lnTo>
                <a:cubicBezTo>
                  <a:pt x="26670" y="2794824"/>
                  <a:pt x="36195" y="2751009"/>
                  <a:pt x="6350" y="2743389"/>
                </a:cubicBezTo>
                <a:close/>
                <a:moveTo>
                  <a:pt x="62230" y="1484819"/>
                </a:moveTo>
                <a:cubicBezTo>
                  <a:pt x="43815" y="1475294"/>
                  <a:pt x="35560" y="1508313"/>
                  <a:pt x="56515" y="1508949"/>
                </a:cubicBezTo>
                <a:cubicBezTo>
                  <a:pt x="68580" y="1509584"/>
                  <a:pt x="73660" y="1490534"/>
                  <a:pt x="62230" y="1484819"/>
                </a:cubicBezTo>
                <a:close/>
                <a:moveTo>
                  <a:pt x="67945" y="1629599"/>
                </a:moveTo>
                <a:cubicBezTo>
                  <a:pt x="46990" y="1620074"/>
                  <a:pt x="38735" y="1655634"/>
                  <a:pt x="61595" y="1656269"/>
                </a:cubicBezTo>
                <a:cubicBezTo>
                  <a:pt x="76200" y="1656904"/>
                  <a:pt x="81280" y="1635949"/>
                  <a:pt x="67945" y="1629599"/>
                </a:cubicBezTo>
                <a:close/>
                <a:moveTo>
                  <a:pt x="67310" y="1803588"/>
                </a:moveTo>
                <a:cubicBezTo>
                  <a:pt x="83185" y="1804224"/>
                  <a:pt x="88900" y="1780094"/>
                  <a:pt x="73660" y="1773744"/>
                </a:cubicBezTo>
                <a:cubicBezTo>
                  <a:pt x="51435" y="1763584"/>
                  <a:pt x="42545" y="1802954"/>
                  <a:pt x="67310" y="1803588"/>
                </a:cubicBezTo>
                <a:close/>
                <a:moveTo>
                  <a:pt x="203200" y="2508439"/>
                </a:moveTo>
                <a:cubicBezTo>
                  <a:pt x="172085" y="2502724"/>
                  <a:pt x="167005" y="2553524"/>
                  <a:pt x="199390" y="2553524"/>
                </a:cubicBezTo>
                <a:cubicBezTo>
                  <a:pt x="225425" y="2554159"/>
                  <a:pt x="229870" y="2512884"/>
                  <a:pt x="203200" y="2508439"/>
                </a:cubicBezTo>
                <a:close/>
                <a:moveTo>
                  <a:pt x="209550" y="2691319"/>
                </a:moveTo>
                <a:cubicBezTo>
                  <a:pt x="240030" y="2695129"/>
                  <a:pt x="245745" y="2646869"/>
                  <a:pt x="214630" y="2643694"/>
                </a:cubicBezTo>
                <a:cubicBezTo>
                  <a:pt x="184150" y="2639884"/>
                  <a:pt x="179070" y="2688779"/>
                  <a:pt x="209550" y="2691319"/>
                </a:cubicBezTo>
                <a:lnTo>
                  <a:pt x="209550" y="2691319"/>
                </a:lnTo>
                <a:close/>
                <a:moveTo>
                  <a:pt x="100330" y="2674174"/>
                </a:moveTo>
                <a:cubicBezTo>
                  <a:pt x="130810" y="2681159"/>
                  <a:pt x="140970" y="2632899"/>
                  <a:pt x="109855" y="2627184"/>
                </a:cubicBezTo>
                <a:cubicBezTo>
                  <a:pt x="79375" y="2620199"/>
                  <a:pt x="69850" y="2668459"/>
                  <a:pt x="100330" y="2674174"/>
                </a:cubicBezTo>
                <a:close/>
                <a:moveTo>
                  <a:pt x="191135" y="2371279"/>
                </a:moveTo>
                <a:cubicBezTo>
                  <a:pt x="161290" y="2363659"/>
                  <a:pt x="154940" y="2413189"/>
                  <a:pt x="186055" y="2413189"/>
                </a:cubicBezTo>
                <a:cubicBezTo>
                  <a:pt x="210185" y="2413824"/>
                  <a:pt x="214630" y="2376359"/>
                  <a:pt x="191135" y="2371279"/>
                </a:cubicBezTo>
                <a:close/>
                <a:moveTo>
                  <a:pt x="226695" y="2776409"/>
                </a:moveTo>
                <a:cubicBezTo>
                  <a:pt x="193675" y="2774504"/>
                  <a:pt x="191770" y="2826574"/>
                  <a:pt x="224790" y="2827209"/>
                </a:cubicBezTo>
                <a:cubicBezTo>
                  <a:pt x="257175" y="2829114"/>
                  <a:pt x="259715" y="2777044"/>
                  <a:pt x="226695" y="2776409"/>
                </a:cubicBezTo>
                <a:close/>
                <a:moveTo>
                  <a:pt x="178435" y="2232214"/>
                </a:moveTo>
                <a:cubicBezTo>
                  <a:pt x="149860" y="2223959"/>
                  <a:pt x="143510" y="2270949"/>
                  <a:pt x="172720" y="2270949"/>
                </a:cubicBezTo>
                <a:cubicBezTo>
                  <a:pt x="194945" y="2271584"/>
                  <a:pt x="200025" y="2237929"/>
                  <a:pt x="178435" y="2232214"/>
                </a:cubicBezTo>
                <a:close/>
                <a:moveTo>
                  <a:pt x="115570" y="2766249"/>
                </a:moveTo>
                <a:cubicBezTo>
                  <a:pt x="83185" y="2761169"/>
                  <a:pt x="75565" y="2811969"/>
                  <a:pt x="107950" y="2816414"/>
                </a:cubicBezTo>
                <a:cubicBezTo>
                  <a:pt x="140335" y="2822129"/>
                  <a:pt x="148590" y="2770694"/>
                  <a:pt x="115570" y="2766249"/>
                </a:cubicBezTo>
                <a:close/>
                <a:moveTo>
                  <a:pt x="166370" y="2090609"/>
                </a:moveTo>
                <a:cubicBezTo>
                  <a:pt x="139700" y="2081719"/>
                  <a:pt x="132080" y="2126169"/>
                  <a:pt x="160020" y="2126169"/>
                </a:cubicBezTo>
                <a:cubicBezTo>
                  <a:pt x="179705" y="2127439"/>
                  <a:pt x="185420" y="2096959"/>
                  <a:pt x="166370" y="2090609"/>
                </a:cubicBezTo>
                <a:close/>
                <a:moveTo>
                  <a:pt x="1195070" y="2180779"/>
                </a:moveTo>
                <a:cubicBezTo>
                  <a:pt x="1190625" y="2157284"/>
                  <a:pt x="1153795" y="2164904"/>
                  <a:pt x="1158875" y="2188399"/>
                </a:cubicBezTo>
                <a:cubicBezTo>
                  <a:pt x="1163955" y="2211894"/>
                  <a:pt x="1200150" y="2203639"/>
                  <a:pt x="1195070" y="2180779"/>
                </a:cubicBezTo>
                <a:close/>
                <a:moveTo>
                  <a:pt x="936625" y="2389059"/>
                </a:moveTo>
                <a:cubicBezTo>
                  <a:pt x="942975" y="2415729"/>
                  <a:pt x="984885" y="2405569"/>
                  <a:pt x="977900" y="2378899"/>
                </a:cubicBezTo>
                <a:cubicBezTo>
                  <a:pt x="971550" y="2352229"/>
                  <a:pt x="929640" y="2363024"/>
                  <a:pt x="936625" y="2389059"/>
                </a:cubicBezTo>
                <a:close/>
                <a:moveTo>
                  <a:pt x="974725" y="1958529"/>
                </a:moveTo>
                <a:cubicBezTo>
                  <a:pt x="992505" y="1961069"/>
                  <a:pt x="996950" y="1932494"/>
                  <a:pt x="978535" y="1930588"/>
                </a:cubicBezTo>
                <a:cubicBezTo>
                  <a:pt x="960755" y="1927413"/>
                  <a:pt x="956945" y="1955988"/>
                  <a:pt x="974725" y="1958529"/>
                </a:cubicBezTo>
                <a:close/>
                <a:moveTo>
                  <a:pt x="835660" y="2240469"/>
                </a:moveTo>
                <a:cubicBezTo>
                  <a:pt x="859790" y="2240469"/>
                  <a:pt x="859155" y="2203004"/>
                  <a:pt x="835025" y="2203639"/>
                </a:cubicBezTo>
                <a:cubicBezTo>
                  <a:pt x="811530" y="2203639"/>
                  <a:pt x="812165" y="2241104"/>
                  <a:pt x="835660" y="2240469"/>
                </a:cubicBezTo>
                <a:close/>
                <a:moveTo>
                  <a:pt x="1000760" y="1866454"/>
                </a:moveTo>
                <a:cubicBezTo>
                  <a:pt x="1016635" y="1870263"/>
                  <a:pt x="1021715" y="1844229"/>
                  <a:pt x="1005840" y="1841688"/>
                </a:cubicBezTo>
                <a:cubicBezTo>
                  <a:pt x="989330" y="1837879"/>
                  <a:pt x="984250" y="1863279"/>
                  <a:pt x="1000760" y="1866454"/>
                </a:cubicBezTo>
                <a:close/>
                <a:moveTo>
                  <a:pt x="1001395" y="2023299"/>
                </a:moveTo>
                <a:cubicBezTo>
                  <a:pt x="981075" y="2022029"/>
                  <a:pt x="979805" y="2053779"/>
                  <a:pt x="1000125" y="2054413"/>
                </a:cubicBezTo>
                <a:cubicBezTo>
                  <a:pt x="1019810" y="2055049"/>
                  <a:pt x="1021080" y="2023934"/>
                  <a:pt x="1001395" y="2023299"/>
                </a:cubicBezTo>
                <a:close/>
                <a:moveTo>
                  <a:pt x="993775" y="2126804"/>
                </a:moveTo>
                <a:cubicBezTo>
                  <a:pt x="994410" y="2149029"/>
                  <a:pt x="1028700" y="2147759"/>
                  <a:pt x="1027430" y="2125534"/>
                </a:cubicBezTo>
                <a:cubicBezTo>
                  <a:pt x="1027430" y="2103944"/>
                  <a:pt x="993140" y="2105214"/>
                  <a:pt x="993775" y="2126804"/>
                </a:cubicBezTo>
                <a:close/>
                <a:moveTo>
                  <a:pt x="1025525" y="2209354"/>
                </a:moveTo>
                <a:cubicBezTo>
                  <a:pt x="1023620" y="2185859"/>
                  <a:pt x="986155" y="2189669"/>
                  <a:pt x="989330" y="2213164"/>
                </a:cubicBezTo>
                <a:cubicBezTo>
                  <a:pt x="991235" y="2237294"/>
                  <a:pt x="1028700" y="2232849"/>
                  <a:pt x="1025525" y="2209354"/>
                </a:cubicBezTo>
                <a:close/>
                <a:moveTo>
                  <a:pt x="985520" y="2276664"/>
                </a:moveTo>
                <a:cubicBezTo>
                  <a:pt x="960120" y="2281109"/>
                  <a:pt x="967740" y="2320479"/>
                  <a:pt x="992505" y="2315399"/>
                </a:cubicBezTo>
                <a:cubicBezTo>
                  <a:pt x="1017905" y="2311589"/>
                  <a:pt x="1010920" y="2271584"/>
                  <a:pt x="985520" y="2276664"/>
                </a:cubicBezTo>
                <a:close/>
                <a:moveTo>
                  <a:pt x="848995" y="2142044"/>
                </a:moveTo>
                <a:cubicBezTo>
                  <a:pt x="871220" y="2143314"/>
                  <a:pt x="872490" y="2109024"/>
                  <a:pt x="850900" y="2108389"/>
                </a:cubicBezTo>
                <a:cubicBezTo>
                  <a:pt x="829310" y="2106484"/>
                  <a:pt x="827405" y="2140774"/>
                  <a:pt x="848995" y="2142044"/>
                </a:cubicBezTo>
                <a:close/>
                <a:moveTo>
                  <a:pt x="906145" y="1947734"/>
                </a:moveTo>
                <a:cubicBezTo>
                  <a:pt x="923925" y="1950909"/>
                  <a:pt x="929005" y="1922969"/>
                  <a:pt x="910590" y="1919794"/>
                </a:cubicBezTo>
                <a:cubicBezTo>
                  <a:pt x="892810" y="1916619"/>
                  <a:pt x="888365" y="1945194"/>
                  <a:pt x="906145" y="1947734"/>
                </a:cubicBezTo>
                <a:close/>
                <a:moveTo>
                  <a:pt x="1050925" y="2379534"/>
                </a:moveTo>
                <a:cubicBezTo>
                  <a:pt x="1082675" y="2379534"/>
                  <a:pt x="1075055" y="2329369"/>
                  <a:pt x="1044575" y="2338259"/>
                </a:cubicBezTo>
                <a:cubicBezTo>
                  <a:pt x="1021715" y="2344609"/>
                  <a:pt x="1027430" y="2380169"/>
                  <a:pt x="1050925" y="2379534"/>
                </a:cubicBezTo>
                <a:close/>
                <a:moveTo>
                  <a:pt x="876300" y="1838513"/>
                </a:moveTo>
                <a:cubicBezTo>
                  <a:pt x="892175" y="1842959"/>
                  <a:pt x="898525" y="1817559"/>
                  <a:pt x="882650" y="1813749"/>
                </a:cubicBezTo>
                <a:cubicBezTo>
                  <a:pt x="866775" y="1809938"/>
                  <a:pt x="860425" y="1834704"/>
                  <a:pt x="876300" y="1838513"/>
                </a:cubicBezTo>
                <a:close/>
                <a:moveTo>
                  <a:pt x="862330" y="2426524"/>
                </a:moveTo>
                <a:cubicBezTo>
                  <a:pt x="892175" y="2426524"/>
                  <a:pt x="887730" y="2378899"/>
                  <a:pt x="858520" y="2384614"/>
                </a:cubicBezTo>
                <a:cubicBezTo>
                  <a:pt x="833120" y="2388424"/>
                  <a:pt x="837565" y="2427159"/>
                  <a:pt x="862330" y="2426524"/>
                </a:cubicBezTo>
                <a:close/>
                <a:moveTo>
                  <a:pt x="910590" y="2032188"/>
                </a:moveTo>
                <a:cubicBezTo>
                  <a:pt x="908685" y="2052509"/>
                  <a:pt x="939800" y="2055049"/>
                  <a:pt x="941705" y="2034729"/>
                </a:cubicBezTo>
                <a:cubicBezTo>
                  <a:pt x="943610" y="2015044"/>
                  <a:pt x="911860" y="2011869"/>
                  <a:pt x="910590" y="2032188"/>
                </a:cubicBezTo>
                <a:close/>
                <a:moveTo>
                  <a:pt x="836295" y="2023299"/>
                </a:moveTo>
                <a:cubicBezTo>
                  <a:pt x="833755" y="2042984"/>
                  <a:pt x="864870" y="2047429"/>
                  <a:pt x="867410" y="2027109"/>
                </a:cubicBezTo>
                <a:cubicBezTo>
                  <a:pt x="869950" y="2007424"/>
                  <a:pt x="838200" y="2003613"/>
                  <a:pt x="836295" y="2023299"/>
                </a:cubicBezTo>
                <a:close/>
                <a:moveTo>
                  <a:pt x="920115" y="2200464"/>
                </a:moveTo>
                <a:cubicBezTo>
                  <a:pt x="896620" y="2201734"/>
                  <a:pt x="898525" y="2239199"/>
                  <a:pt x="922655" y="2237294"/>
                </a:cubicBezTo>
                <a:cubicBezTo>
                  <a:pt x="946150" y="2236024"/>
                  <a:pt x="944245" y="2198559"/>
                  <a:pt x="920115" y="2200464"/>
                </a:cubicBezTo>
                <a:close/>
                <a:moveTo>
                  <a:pt x="898525" y="2330004"/>
                </a:moveTo>
                <a:cubicBezTo>
                  <a:pt x="925830" y="2330004"/>
                  <a:pt x="923290" y="2286824"/>
                  <a:pt x="895985" y="2290634"/>
                </a:cubicBezTo>
                <a:cubicBezTo>
                  <a:pt x="871855" y="2293174"/>
                  <a:pt x="875030" y="2330639"/>
                  <a:pt x="898525" y="2330004"/>
                </a:cubicBezTo>
                <a:close/>
                <a:moveTo>
                  <a:pt x="938530" y="1853119"/>
                </a:moveTo>
                <a:cubicBezTo>
                  <a:pt x="954405" y="1856929"/>
                  <a:pt x="960120" y="1831529"/>
                  <a:pt x="944245" y="1828354"/>
                </a:cubicBezTo>
                <a:cubicBezTo>
                  <a:pt x="927735" y="1824544"/>
                  <a:pt x="922020" y="1849944"/>
                  <a:pt x="938530" y="1853119"/>
                </a:cubicBezTo>
                <a:close/>
                <a:moveTo>
                  <a:pt x="930910" y="2110294"/>
                </a:moveTo>
                <a:cubicBezTo>
                  <a:pt x="908685" y="2109659"/>
                  <a:pt x="908685" y="2144584"/>
                  <a:pt x="930910" y="2143949"/>
                </a:cubicBezTo>
                <a:cubicBezTo>
                  <a:pt x="952500" y="2144584"/>
                  <a:pt x="952500" y="2110294"/>
                  <a:pt x="930910" y="2110294"/>
                </a:cubicBezTo>
                <a:close/>
                <a:moveTo>
                  <a:pt x="1134745" y="2040444"/>
                </a:moveTo>
                <a:cubicBezTo>
                  <a:pt x="1135380" y="2060763"/>
                  <a:pt x="1166495" y="2059494"/>
                  <a:pt x="1165860" y="2039174"/>
                </a:cubicBezTo>
                <a:cubicBezTo>
                  <a:pt x="1165225" y="2019488"/>
                  <a:pt x="1133475" y="2020124"/>
                  <a:pt x="1134745" y="2040444"/>
                </a:cubicBezTo>
                <a:close/>
                <a:moveTo>
                  <a:pt x="1173480" y="2273489"/>
                </a:moveTo>
                <a:cubicBezTo>
                  <a:pt x="1198245" y="2267139"/>
                  <a:pt x="1187450" y="2227769"/>
                  <a:pt x="1162685" y="2235389"/>
                </a:cubicBezTo>
                <a:cubicBezTo>
                  <a:pt x="1137285" y="2242374"/>
                  <a:pt x="1148715" y="2281109"/>
                  <a:pt x="1173480" y="2273489"/>
                </a:cubicBezTo>
                <a:close/>
                <a:moveTo>
                  <a:pt x="1136650" y="2308414"/>
                </a:moveTo>
                <a:cubicBezTo>
                  <a:pt x="1110615" y="2317304"/>
                  <a:pt x="1125220" y="2357944"/>
                  <a:pt x="1150620" y="2348419"/>
                </a:cubicBezTo>
                <a:cubicBezTo>
                  <a:pt x="1176655" y="2339529"/>
                  <a:pt x="1162050" y="2298889"/>
                  <a:pt x="1136650" y="2308414"/>
                </a:cubicBezTo>
                <a:close/>
                <a:moveTo>
                  <a:pt x="1188085" y="2112199"/>
                </a:moveTo>
                <a:cubicBezTo>
                  <a:pt x="1185545" y="2089974"/>
                  <a:pt x="1151255" y="2094419"/>
                  <a:pt x="1154430" y="2116644"/>
                </a:cubicBezTo>
                <a:cubicBezTo>
                  <a:pt x="1156970" y="2138234"/>
                  <a:pt x="1191260" y="2133789"/>
                  <a:pt x="1188085" y="2112199"/>
                </a:cubicBezTo>
                <a:close/>
                <a:moveTo>
                  <a:pt x="1183005" y="1975038"/>
                </a:moveTo>
                <a:cubicBezTo>
                  <a:pt x="1201420" y="1975674"/>
                  <a:pt x="1202055" y="1947099"/>
                  <a:pt x="1183640" y="1947099"/>
                </a:cubicBezTo>
                <a:cubicBezTo>
                  <a:pt x="1165225" y="1946463"/>
                  <a:pt x="1164590" y="1975038"/>
                  <a:pt x="1183005" y="1975038"/>
                </a:cubicBezTo>
                <a:close/>
                <a:moveTo>
                  <a:pt x="875665" y="2622739"/>
                </a:moveTo>
                <a:cubicBezTo>
                  <a:pt x="845185" y="2636074"/>
                  <a:pt x="867410" y="2683064"/>
                  <a:pt x="897255" y="2668459"/>
                </a:cubicBezTo>
                <a:cubicBezTo>
                  <a:pt x="927735" y="2655124"/>
                  <a:pt x="905510" y="2608134"/>
                  <a:pt x="875665" y="2622739"/>
                </a:cubicBezTo>
                <a:close/>
                <a:moveTo>
                  <a:pt x="1252855" y="1975674"/>
                </a:moveTo>
                <a:lnTo>
                  <a:pt x="1252855" y="1975674"/>
                </a:lnTo>
                <a:lnTo>
                  <a:pt x="1252855" y="1975674"/>
                </a:lnTo>
                <a:cubicBezTo>
                  <a:pt x="1271270" y="1975674"/>
                  <a:pt x="1270635" y="1947099"/>
                  <a:pt x="1252855" y="1947099"/>
                </a:cubicBezTo>
                <a:cubicBezTo>
                  <a:pt x="1234440" y="1947734"/>
                  <a:pt x="1234440" y="1976309"/>
                  <a:pt x="1252855" y="1975674"/>
                </a:cubicBezTo>
                <a:close/>
                <a:moveTo>
                  <a:pt x="1190625" y="1894394"/>
                </a:moveTo>
                <a:cubicBezTo>
                  <a:pt x="1207135" y="1896299"/>
                  <a:pt x="1209675" y="1870263"/>
                  <a:pt x="1193165" y="1868994"/>
                </a:cubicBezTo>
                <a:cubicBezTo>
                  <a:pt x="1176655" y="1867088"/>
                  <a:pt x="1174115" y="1893124"/>
                  <a:pt x="1190625" y="1894394"/>
                </a:cubicBezTo>
                <a:close/>
                <a:moveTo>
                  <a:pt x="1043940" y="1966784"/>
                </a:moveTo>
                <a:cubicBezTo>
                  <a:pt x="1061720" y="1968688"/>
                  <a:pt x="1064895" y="1940113"/>
                  <a:pt x="1046480" y="1938844"/>
                </a:cubicBezTo>
                <a:cubicBezTo>
                  <a:pt x="1028700" y="1936304"/>
                  <a:pt x="1025525" y="1964879"/>
                  <a:pt x="1043940" y="1966784"/>
                </a:cubicBezTo>
                <a:close/>
                <a:moveTo>
                  <a:pt x="1224915" y="2051238"/>
                </a:moveTo>
                <a:cubicBezTo>
                  <a:pt x="1245870" y="2051238"/>
                  <a:pt x="1244600" y="2018219"/>
                  <a:pt x="1223645" y="2020124"/>
                </a:cubicBezTo>
                <a:cubicBezTo>
                  <a:pt x="1203960" y="2021394"/>
                  <a:pt x="1205230" y="2051874"/>
                  <a:pt x="1224915" y="2051238"/>
                </a:cubicBezTo>
                <a:close/>
                <a:moveTo>
                  <a:pt x="1254125" y="1899474"/>
                </a:moveTo>
                <a:cubicBezTo>
                  <a:pt x="1270635" y="1900744"/>
                  <a:pt x="1271905" y="1874709"/>
                  <a:pt x="1255395" y="1874074"/>
                </a:cubicBezTo>
                <a:cubicBezTo>
                  <a:pt x="1238885" y="1872804"/>
                  <a:pt x="1237615" y="1898204"/>
                  <a:pt x="1254125" y="1899474"/>
                </a:cubicBezTo>
                <a:close/>
                <a:moveTo>
                  <a:pt x="1059815" y="2040444"/>
                </a:moveTo>
                <a:cubicBezTo>
                  <a:pt x="1059180" y="2060763"/>
                  <a:pt x="1090930" y="2060763"/>
                  <a:pt x="1090930" y="2040444"/>
                </a:cubicBezTo>
                <a:cubicBezTo>
                  <a:pt x="1091565" y="2020759"/>
                  <a:pt x="1059815" y="2020124"/>
                  <a:pt x="1059815" y="2040444"/>
                </a:cubicBezTo>
                <a:close/>
                <a:moveTo>
                  <a:pt x="5058410" y="980629"/>
                </a:moveTo>
                <a:cubicBezTo>
                  <a:pt x="5041900" y="978088"/>
                  <a:pt x="5038725" y="1004124"/>
                  <a:pt x="5055235" y="1006029"/>
                </a:cubicBezTo>
                <a:cubicBezTo>
                  <a:pt x="5071745" y="1007934"/>
                  <a:pt x="5074920" y="982534"/>
                  <a:pt x="5058410" y="980629"/>
                </a:cubicBezTo>
                <a:close/>
                <a:moveTo>
                  <a:pt x="837565" y="1935034"/>
                </a:moveTo>
                <a:cubicBezTo>
                  <a:pt x="855345" y="1938844"/>
                  <a:pt x="861060" y="1910904"/>
                  <a:pt x="843280" y="1907094"/>
                </a:cubicBezTo>
                <a:cubicBezTo>
                  <a:pt x="825500" y="1903919"/>
                  <a:pt x="819785" y="1931859"/>
                  <a:pt x="837565" y="1935034"/>
                </a:cubicBezTo>
                <a:close/>
                <a:moveTo>
                  <a:pt x="1074420" y="2258249"/>
                </a:moveTo>
                <a:cubicBezTo>
                  <a:pt x="1049020" y="2263964"/>
                  <a:pt x="1058545" y="2303334"/>
                  <a:pt x="1083310" y="2296349"/>
                </a:cubicBezTo>
                <a:cubicBezTo>
                  <a:pt x="1108710" y="2291269"/>
                  <a:pt x="1099185" y="2252534"/>
                  <a:pt x="1074420" y="2258249"/>
                </a:cubicBezTo>
                <a:close/>
                <a:moveTo>
                  <a:pt x="1063625" y="1877884"/>
                </a:moveTo>
                <a:cubicBezTo>
                  <a:pt x="1079500" y="1880424"/>
                  <a:pt x="1083945" y="1855024"/>
                  <a:pt x="1067435" y="1852484"/>
                </a:cubicBezTo>
                <a:cubicBezTo>
                  <a:pt x="1051560" y="1849944"/>
                  <a:pt x="1047115" y="1875344"/>
                  <a:pt x="1063625" y="1877884"/>
                </a:cubicBezTo>
                <a:close/>
                <a:moveTo>
                  <a:pt x="1110615" y="2196654"/>
                </a:moveTo>
                <a:cubicBezTo>
                  <a:pt x="1107440" y="2173159"/>
                  <a:pt x="1069975" y="2178874"/>
                  <a:pt x="1074420" y="2202369"/>
                </a:cubicBezTo>
                <a:cubicBezTo>
                  <a:pt x="1078230" y="2226499"/>
                  <a:pt x="1114425" y="2220149"/>
                  <a:pt x="1110615" y="2196654"/>
                </a:cubicBezTo>
                <a:close/>
                <a:moveTo>
                  <a:pt x="1127125" y="1886774"/>
                </a:moveTo>
                <a:cubicBezTo>
                  <a:pt x="1143635" y="1889313"/>
                  <a:pt x="1146810" y="1863279"/>
                  <a:pt x="1130300" y="1861374"/>
                </a:cubicBezTo>
                <a:cubicBezTo>
                  <a:pt x="1113790" y="1859469"/>
                  <a:pt x="1110615" y="1884869"/>
                  <a:pt x="1127125" y="1886774"/>
                </a:cubicBezTo>
                <a:close/>
                <a:moveTo>
                  <a:pt x="1113155" y="1971863"/>
                </a:moveTo>
                <a:cubicBezTo>
                  <a:pt x="1131570" y="1973769"/>
                  <a:pt x="1133475" y="1944559"/>
                  <a:pt x="1115060" y="1943924"/>
                </a:cubicBezTo>
                <a:cubicBezTo>
                  <a:pt x="1097280" y="1942654"/>
                  <a:pt x="1095375" y="1971229"/>
                  <a:pt x="1113155" y="1971863"/>
                </a:cubicBezTo>
                <a:close/>
                <a:moveTo>
                  <a:pt x="808990" y="2339529"/>
                </a:moveTo>
                <a:cubicBezTo>
                  <a:pt x="834390" y="2338259"/>
                  <a:pt x="831215" y="2297619"/>
                  <a:pt x="805815" y="2300159"/>
                </a:cubicBezTo>
                <a:cubicBezTo>
                  <a:pt x="780415" y="2302064"/>
                  <a:pt x="783590" y="2342069"/>
                  <a:pt x="808990" y="2339529"/>
                </a:cubicBezTo>
                <a:close/>
                <a:moveTo>
                  <a:pt x="554355" y="1983294"/>
                </a:moveTo>
                <a:cubicBezTo>
                  <a:pt x="573405" y="1989009"/>
                  <a:pt x="581660" y="1957894"/>
                  <a:pt x="561975" y="1953449"/>
                </a:cubicBezTo>
                <a:cubicBezTo>
                  <a:pt x="542925" y="1947734"/>
                  <a:pt x="534670" y="1978213"/>
                  <a:pt x="554355" y="1983294"/>
                </a:cubicBezTo>
                <a:close/>
                <a:moveTo>
                  <a:pt x="568960" y="1865184"/>
                </a:moveTo>
                <a:cubicBezTo>
                  <a:pt x="586105" y="1870899"/>
                  <a:pt x="594995" y="1843594"/>
                  <a:pt x="577215" y="1838513"/>
                </a:cubicBezTo>
                <a:cubicBezTo>
                  <a:pt x="560070" y="1832799"/>
                  <a:pt x="551180" y="1860104"/>
                  <a:pt x="568960" y="1865184"/>
                </a:cubicBezTo>
                <a:close/>
                <a:moveTo>
                  <a:pt x="514985" y="2078544"/>
                </a:moveTo>
                <a:cubicBezTo>
                  <a:pt x="509905" y="2100134"/>
                  <a:pt x="543560" y="2107119"/>
                  <a:pt x="548005" y="2085529"/>
                </a:cubicBezTo>
                <a:cubicBezTo>
                  <a:pt x="553085" y="2063938"/>
                  <a:pt x="519430" y="2056954"/>
                  <a:pt x="514985" y="2078544"/>
                </a:cubicBezTo>
                <a:close/>
                <a:moveTo>
                  <a:pt x="572135" y="1743263"/>
                </a:moveTo>
                <a:cubicBezTo>
                  <a:pt x="587375" y="1748979"/>
                  <a:pt x="596265" y="1724849"/>
                  <a:pt x="581025" y="1719134"/>
                </a:cubicBezTo>
                <a:cubicBezTo>
                  <a:pt x="565785" y="1713419"/>
                  <a:pt x="556260" y="1737549"/>
                  <a:pt x="572135" y="1743263"/>
                </a:cubicBezTo>
                <a:close/>
                <a:moveTo>
                  <a:pt x="607695" y="2114104"/>
                </a:moveTo>
                <a:cubicBezTo>
                  <a:pt x="629285" y="2118549"/>
                  <a:pt x="635000" y="2084259"/>
                  <a:pt x="613410" y="2080449"/>
                </a:cubicBezTo>
                <a:cubicBezTo>
                  <a:pt x="591820" y="2076638"/>
                  <a:pt x="586105" y="2110929"/>
                  <a:pt x="607695" y="2114104"/>
                </a:cubicBezTo>
                <a:close/>
                <a:moveTo>
                  <a:pt x="534035" y="2299524"/>
                </a:moveTo>
                <a:cubicBezTo>
                  <a:pt x="508635" y="2296984"/>
                  <a:pt x="505460" y="2336989"/>
                  <a:pt x="530860" y="2338894"/>
                </a:cubicBezTo>
                <a:cubicBezTo>
                  <a:pt x="556260" y="2341434"/>
                  <a:pt x="560070" y="2301429"/>
                  <a:pt x="534035" y="2299524"/>
                </a:cubicBezTo>
                <a:close/>
                <a:moveTo>
                  <a:pt x="512445" y="1720404"/>
                </a:moveTo>
                <a:cubicBezTo>
                  <a:pt x="568960" y="1709609"/>
                  <a:pt x="478155" y="1674684"/>
                  <a:pt x="512445" y="1720404"/>
                </a:cubicBezTo>
                <a:lnTo>
                  <a:pt x="512445" y="1720404"/>
                </a:lnTo>
                <a:close/>
                <a:moveTo>
                  <a:pt x="559435" y="2205544"/>
                </a:moveTo>
                <a:cubicBezTo>
                  <a:pt x="556260" y="2229039"/>
                  <a:pt x="593090" y="2234119"/>
                  <a:pt x="595630" y="2209989"/>
                </a:cubicBezTo>
                <a:cubicBezTo>
                  <a:pt x="599440" y="2186494"/>
                  <a:pt x="561975" y="2182049"/>
                  <a:pt x="559435" y="2205544"/>
                </a:cubicBezTo>
                <a:close/>
                <a:moveTo>
                  <a:pt x="624840" y="2304604"/>
                </a:moveTo>
                <a:cubicBezTo>
                  <a:pt x="599440" y="2303334"/>
                  <a:pt x="598170" y="2343974"/>
                  <a:pt x="623570" y="2343974"/>
                </a:cubicBezTo>
                <a:cubicBezTo>
                  <a:pt x="648970" y="2345244"/>
                  <a:pt x="650240" y="2305239"/>
                  <a:pt x="624840" y="2304604"/>
                </a:cubicBezTo>
                <a:close/>
                <a:moveTo>
                  <a:pt x="572135" y="2456369"/>
                </a:moveTo>
                <a:cubicBezTo>
                  <a:pt x="600075" y="2457004"/>
                  <a:pt x="599440" y="2413189"/>
                  <a:pt x="571500" y="2413824"/>
                </a:cubicBezTo>
                <a:cubicBezTo>
                  <a:pt x="544195" y="2413824"/>
                  <a:pt x="544830" y="2457004"/>
                  <a:pt x="572135" y="2456369"/>
                </a:cubicBezTo>
                <a:close/>
                <a:moveTo>
                  <a:pt x="448945" y="2079813"/>
                </a:moveTo>
                <a:cubicBezTo>
                  <a:pt x="469900" y="2085529"/>
                  <a:pt x="478790" y="2051874"/>
                  <a:pt x="457200" y="2046794"/>
                </a:cubicBezTo>
                <a:cubicBezTo>
                  <a:pt x="436245" y="2041713"/>
                  <a:pt x="427990" y="2075369"/>
                  <a:pt x="448945" y="2079813"/>
                </a:cubicBezTo>
                <a:close/>
                <a:moveTo>
                  <a:pt x="814705" y="1822004"/>
                </a:moveTo>
                <a:cubicBezTo>
                  <a:pt x="830580" y="1827084"/>
                  <a:pt x="837565" y="1801684"/>
                  <a:pt x="821690" y="1797238"/>
                </a:cubicBezTo>
                <a:cubicBezTo>
                  <a:pt x="805180" y="1793429"/>
                  <a:pt x="798830" y="1818194"/>
                  <a:pt x="814705" y="1822004"/>
                </a:cubicBezTo>
                <a:close/>
                <a:moveTo>
                  <a:pt x="473710" y="2454464"/>
                </a:moveTo>
                <a:cubicBezTo>
                  <a:pt x="501015" y="2456369"/>
                  <a:pt x="503555" y="2413189"/>
                  <a:pt x="475615" y="2412554"/>
                </a:cubicBezTo>
                <a:cubicBezTo>
                  <a:pt x="448310" y="2410649"/>
                  <a:pt x="446405" y="2453829"/>
                  <a:pt x="473710" y="2454464"/>
                </a:cubicBezTo>
                <a:close/>
                <a:moveTo>
                  <a:pt x="481965" y="1962974"/>
                </a:moveTo>
                <a:cubicBezTo>
                  <a:pt x="501015" y="1968688"/>
                  <a:pt x="510540" y="1938844"/>
                  <a:pt x="490855" y="1933129"/>
                </a:cubicBezTo>
                <a:cubicBezTo>
                  <a:pt x="471170" y="1927413"/>
                  <a:pt x="462280" y="1957259"/>
                  <a:pt x="481965" y="1962974"/>
                </a:cubicBezTo>
                <a:close/>
                <a:moveTo>
                  <a:pt x="412115" y="2161094"/>
                </a:moveTo>
                <a:cubicBezTo>
                  <a:pt x="389255" y="2155379"/>
                  <a:pt x="381000" y="2192209"/>
                  <a:pt x="404495" y="2196654"/>
                </a:cubicBezTo>
                <a:cubicBezTo>
                  <a:pt x="427355" y="2202369"/>
                  <a:pt x="435610" y="2165539"/>
                  <a:pt x="412115" y="2161094"/>
                </a:cubicBezTo>
                <a:close/>
                <a:moveTo>
                  <a:pt x="502920" y="1843594"/>
                </a:moveTo>
                <a:cubicBezTo>
                  <a:pt x="520065" y="1849944"/>
                  <a:pt x="529590" y="1822638"/>
                  <a:pt x="511810" y="1816924"/>
                </a:cubicBezTo>
                <a:cubicBezTo>
                  <a:pt x="494665" y="1810574"/>
                  <a:pt x="485140" y="1837879"/>
                  <a:pt x="502920" y="1843594"/>
                </a:cubicBezTo>
                <a:close/>
                <a:moveTo>
                  <a:pt x="438785" y="2328734"/>
                </a:moveTo>
                <a:cubicBezTo>
                  <a:pt x="464185" y="2332544"/>
                  <a:pt x="469900" y="2292539"/>
                  <a:pt x="443865" y="2289364"/>
                </a:cubicBezTo>
                <a:cubicBezTo>
                  <a:pt x="418465" y="2286189"/>
                  <a:pt x="413385" y="2326194"/>
                  <a:pt x="438785" y="2328734"/>
                </a:cubicBezTo>
                <a:close/>
                <a:moveTo>
                  <a:pt x="512445" y="1720404"/>
                </a:moveTo>
                <a:cubicBezTo>
                  <a:pt x="512445" y="1720404"/>
                  <a:pt x="512445" y="1720404"/>
                  <a:pt x="512445" y="1720404"/>
                </a:cubicBezTo>
                <a:cubicBezTo>
                  <a:pt x="512445" y="1720404"/>
                  <a:pt x="512445" y="1720404"/>
                  <a:pt x="512445" y="1720404"/>
                </a:cubicBezTo>
                <a:lnTo>
                  <a:pt x="512445" y="1720404"/>
                </a:lnTo>
                <a:close/>
                <a:moveTo>
                  <a:pt x="510540" y="2198559"/>
                </a:moveTo>
                <a:cubicBezTo>
                  <a:pt x="514985" y="2175064"/>
                  <a:pt x="478155" y="2168714"/>
                  <a:pt x="474345" y="2192209"/>
                </a:cubicBezTo>
                <a:cubicBezTo>
                  <a:pt x="470535" y="2215704"/>
                  <a:pt x="506730" y="2222054"/>
                  <a:pt x="510540" y="2198559"/>
                </a:cubicBezTo>
                <a:close/>
                <a:moveTo>
                  <a:pt x="753110" y="1804224"/>
                </a:moveTo>
                <a:cubicBezTo>
                  <a:pt x="768350" y="1809304"/>
                  <a:pt x="776605" y="1784538"/>
                  <a:pt x="760730" y="1780094"/>
                </a:cubicBezTo>
                <a:cubicBezTo>
                  <a:pt x="744855" y="1775013"/>
                  <a:pt x="737235" y="1799779"/>
                  <a:pt x="753110" y="1804224"/>
                </a:cubicBezTo>
                <a:close/>
                <a:moveTo>
                  <a:pt x="759460" y="1903284"/>
                </a:moveTo>
                <a:cubicBezTo>
                  <a:pt x="755015" y="1921063"/>
                  <a:pt x="782955" y="1927413"/>
                  <a:pt x="786765" y="1909634"/>
                </a:cubicBezTo>
                <a:cubicBezTo>
                  <a:pt x="791210" y="1891854"/>
                  <a:pt x="763270" y="1885504"/>
                  <a:pt x="759460" y="1903284"/>
                </a:cubicBezTo>
                <a:close/>
                <a:moveTo>
                  <a:pt x="748665" y="2239834"/>
                </a:moveTo>
                <a:cubicBezTo>
                  <a:pt x="748665" y="2239834"/>
                  <a:pt x="748665" y="2239834"/>
                  <a:pt x="748665" y="2239834"/>
                </a:cubicBezTo>
                <a:cubicBezTo>
                  <a:pt x="748665" y="2239834"/>
                  <a:pt x="748665" y="2239834"/>
                  <a:pt x="748665" y="2239834"/>
                </a:cubicBezTo>
                <a:lnTo>
                  <a:pt x="748665" y="2239834"/>
                </a:lnTo>
                <a:close/>
                <a:moveTo>
                  <a:pt x="748665" y="2239834"/>
                </a:moveTo>
                <a:cubicBezTo>
                  <a:pt x="772160" y="2241104"/>
                  <a:pt x="773430" y="2203639"/>
                  <a:pt x="749935" y="2203004"/>
                </a:cubicBezTo>
                <a:cubicBezTo>
                  <a:pt x="726440" y="2201734"/>
                  <a:pt x="725170" y="2239199"/>
                  <a:pt x="748665" y="2239834"/>
                </a:cubicBezTo>
                <a:close/>
                <a:moveTo>
                  <a:pt x="453390" y="1696909"/>
                </a:moveTo>
                <a:cubicBezTo>
                  <a:pt x="468630" y="1703259"/>
                  <a:pt x="478155" y="1679129"/>
                  <a:pt x="462915" y="1673413"/>
                </a:cubicBezTo>
                <a:cubicBezTo>
                  <a:pt x="447675" y="1667063"/>
                  <a:pt x="438150" y="1691194"/>
                  <a:pt x="453390" y="1696909"/>
                </a:cubicBezTo>
                <a:close/>
                <a:moveTo>
                  <a:pt x="695960" y="2324924"/>
                </a:moveTo>
                <a:cubicBezTo>
                  <a:pt x="695960" y="2350324"/>
                  <a:pt x="736600" y="2349689"/>
                  <a:pt x="735330" y="2323654"/>
                </a:cubicBezTo>
                <a:cubicBezTo>
                  <a:pt x="735330" y="2298889"/>
                  <a:pt x="695325" y="2299524"/>
                  <a:pt x="695960" y="2324924"/>
                </a:cubicBezTo>
                <a:close/>
                <a:moveTo>
                  <a:pt x="762000" y="2012504"/>
                </a:moveTo>
                <a:cubicBezTo>
                  <a:pt x="758190" y="2032188"/>
                  <a:pt x="789940" y="2037269"/>
                  <a:pt x="792480" y="2017584"/>
                </a:cubicBezTo>
                <a:cubicBezTo>
                  <a:pt x="796290" y="1997263"/>
                  <a:pt x="765175" y="1992184"/>
                  <a:pt x="762000" y="2012504"/>
                </a:cubicBezTo>
                <a:close/>
                <a:moveTo>
                  <a:pt x="763270" y="2399854"/>
                </a:moveTo>
                <a:cubicBezTo>
                  <a:pt x="735965" y="2403029"/>
                  <a:pt x="741680" y="2445574"/>
                  <a:pt x="768985" y="2441764"/>
                </a:cubicBezTo>
                <a:cubicBezTo>
                  <a:pt x="796290" y="2438589"/>
                  <a:pt x="790575" y="2396044"/>
                  <a:pt x="763270" y="2399854"/>
                </a:cubicBezTo>
                <a:close/>
                <a:moveTo>
                  <a:pt x="753110" y="2117279"/>
                </a:moveTo>
                <a:cubicBezTo>
                  <a:pt x="750570" y="2138869"/>
                  <a:pt x="784860" y="2142679"/>
                  <a:pt x="786765" y="2120454"/>
                </a:cubicBezTo>
                <a:cubicBezTo>
                  <a:pt x="789305" y="2098864"/>
                  <a:pt x="755015" y="2095688"/>
                  <a:pt x="753110" y="2117279"/>
                </a:cubicBezTo>
                <a:close/>
                <a:moveTo>
                  <a:pt x="706755" y="1986469"/>
                </a:moveTo>
                <a:cubicBezTo>
                  <a:pt x="687070" y="1982024"/>
                  <a:pt x="680720" y="2013138"/>
                  <a:pt x="701040" y="2016949"/>
                </a:cubicBezTo>
                <a:cubicBezTo>
                  <a:pt x="720725" y="2021394"/>
                  <a:pt x="727075" y="1990279"/>
                  <a:pt x="706755" y="1986469"/>
                </a:cubicBezTo>
                <a:close/>
                <a:moveTo>
                  <a:pt x="667385" y="2410014"/>
                </a:moveTo>
                <a:cubicBezTo>
                  <a:pt x="640080" y="2411284"/>
                  <a:pt x="643255" y="2454464"/>
                  <a:pt x="670560" y="2451924"/>
                </a:cubicBezTo>
                <a:cubicBezTo>
                  <a:pt x="698500" y="2450654"/>
                  <a:pt x="694690" y="2407474"/>
                  <a:pt x="667385" y="2410014"/>
                </a:cubicBezTo>
                <a:close/>
                <a:moveTo>
                  <a:pt x="625475" y="1867724"/>
                </a:moveTo>
                <a:cubicBezTo>
                  <a:pt x="620395" y="1884869"/>
                  <a:pt x="647700" y="1893124"/>
                  <a:pt x="652780" y="1875344"/>
                </a:cubicBezTo>
                <a:cubicBezTo>
                  <a:pt x="657860" y="1858199"/>
                  <a:pt x="630555" y="1849944"/>
                  <a:pt x="625475" y="1867724"/>
                </a:cubicBezTo>
                <a:close/>
                <a:moveTo>
                  <a:pt x="645160" y="2215069"/>
                </a:moveTo>
                <a:cubicBezTo>
                  <a:pt x="642620" y="2238564"/>
                  <a:pt x="680085" y="2241739"/>
                  <a:pt x="681990" y="2217609"/>
                </a:cubicBezTo>
                <a:cubicBezTo>
                  <a:pt x="683895" y="2194749"/>
                  <a:pt x="647065" y="2191574"/>
                  <a:pt x="645160" y="2215069"/>
                </a:cubicBezTo>
                <a:close/>
                <a:moveTo>
                  <a:pt x="631825" y="1764854"/>
                </a:moveTo>
                <a:cubicBezTo>
                  <a:pt x="647065" y="1770569"/>
                  <a:pt x="655955" y="1745804"/>
                  <a:pt x="640080" y="1740724"/>
                </a:cubicBezTo>
                <a:cubicBezTo>
                  <a:pt x="624840" y="1735009"/>
                  <a:pt x="616585" y="1759774"/>
                  <a:pt x="631825" y="1764854"/>
                </a:cubicBezTo>
                <a:close/>
                <a:moveTo>
                  <a:pt x="627380" y="2001074"/>
                </a:moveTo>
                <a:cubicBezTo>
                  <a:pt x="647065" y="2006154"/>
                  <a:pt x="654050" y="1975038"/>
                  <a:pt x="634365" y="1970594"/>
                </a:cubicBezTo>
                <a:cubicBezTo>
                  <a:pt x="614680" y="1966149"/>
                  <a:pt x="607695" y="1996629"/>
                  <a:pt x="627380" y="2001074"/>
                </a:cubicBezTo>
                <a:close/>
                <a:moveTo>
                  <a:pt x="692150" y="1886774"/>
                </a:moveTo>
                <a:cubicBezTo>
                  <a:pt x="688975" y="1923604"/>
                  <a:pt x="742950" y="1891854"/>
                  <a:pt x="709295" y="1876613"/>
                </a:cubicBezTo>
                <a:cubicBezTo>
                  <a:pt x="702310" y="1874709"/>
                  <a:pt x="694055" y="1879154"/>
                  <a:pt x="692150" y="1886774"/>
                </a:cubicBezTo>
                <a:close/>
                <a:moveTo>
                  <a:pt x="692150" y="1785174"/>
                </a:moveTo>
                <a:cubicBezTo>
                  <a:pt x="707390" y="1790254"/>
                  <a:pt x="715645" y="1766124"/>
                  <a:pt x="699770" y="1761044"/>
                </a:cubicBezTo>
                <a:cubicBezTo>
                  <a:pt x="684530" y="1755963"/>
                  <a:pt x="676910" y="1780729"/>
                  <a:pt x="692150" y="1785174"/>
                </a:cubicBezTo>
                <a:close/>
                <a:moveTo>
                  <a:pt x="687705" y="2126804"/>
                </a:moveTo>
                <a:cubicBezTo>
                  <a:pt x="709295" y="2129979"/>
                  <a:pt x="714375" y="2095688"/>
                  <a:pt x="692150" y="2093149"/>
                </a:cubicBezTo>
                <a:cubicBezTo>
                  <a:pt x="670560" y="2089974"/>
                  <a:pt x="666115" y="2124264"/>
                  <a:pt x="687705" y="2126804"/>
                </a:cubicBezTo>
                <a:close/>
                <a:moveTo>
                  <a:pt x="1092835" y="2138869"/>
                </a:moveTo>
                <a:cubicBezTo>
                  <a:pt x="1115060" y="2137599"/>
                  <a:pt x="1111885" y="2103309"/>
                  <a:pt x="1090295" y="2105214"/>
                </a:cubicBezTo>
                <a:cubicBezTo>
                  <a:pt x="1068070" y="2106484"/>
                  <a:pt x="1070610" y="2140774"/>
                  <a:pt x="1092835" y="2138869"/>
                </a:cubicBezTo>
                <a:close/>
                <a:moveTo>
                  <a:pt x="4357370" y="893634"/>
                </a:moveTo>
                <a:cubicBezTo>
                  <a:pt x="4356735" y="875219"/>
                  <a:pt x="4328160" y="876488"/>
                  <a:pt x="4328795" y="894904"/>
                </a:cubicBezTo>
                <a:cubicBezTo>
                  <a:pt x="4329430" y="912684"/>
                  <a:pt x="4358005" y="911413"/>
                  <a:pt x="4357370" y="893634"/>
                </a:cubicBezTo>
                <a:close/>
                <a:moveTo>
                  <a:pt x="4335780" y="827594"/>
                </a:moveTo>
                <a:cubicBezTo>
                  <a:pt x="4335145" y="807274"/>
                  <a:pt x="4303395" y="809813"/>
                  <a:pt x="4304665" y="829499"/>
                </a:cubicBezTo>
                <a:cubicBezTo>
                  <a:pt x="4305935" y="849819"/>
                  <a:pt x="4337685" y="847913"/>
                  <a:pt x="4335780" y="827594"/>
                </a:cubicBezTo>
                <a:close/>
                <a:moveTo>
                  <a:pt x="4297045" y="937449"/>
                </a:moveTo>
                <a:cubicBezTo>
                  <a:pt x="4280535" y="937449"/>
                  <a:pt x="4281170" y="963484"/>
                  <a:pt x="4297680" y="962849"/>
                </a:cubicBezTo>
                <a:cubicBezTo>
                  <a:pt x="4314190" y="962849"/>
                  <a:pt x="4313555" y="936813"/>
                  <a:pt x="4297045" y="937449"/>
                </a:cubicBezTo>
                <a:close/>
                <a:moveTo>
                  <a:pt x="4360545" y="936813"/>
                </a:moveTo>
                <a:cubicBezTo>
                  <a:pt x="4344035" y="936813"/>
                  <a:pt x="4344035" y="962213"/>
                  <a:pt x="4360545" y="962213"/>
                </a:cubicBezTo>
                <a:cubicBezTo>
                  <a:pt x="4377055" y="962213"/>
                  <a:pt x="4377055" y="936179"/>
                  <a:pt x="4360545" y="936813"/>
                </a:cubicBezTo>
                <a:close/>
                <a:moveTo>
                  <a:pt x="4387215" y="729804"/>
                </a:moveTo>
                <a:cubicBezTo>
                  <a:pt x="4364990" y="731074"/>
                  <a:pt x="4367530" y="765363"/>
                  <a:pt x="4389120" y="763459"/>
                </a:cubicBezTo>
                <a:cubicBezTo>
                  <a:pt x="4410710" y="762824"/>
                  <a:pt x="4408805" y="728534"/>
                  <a:pt x="4387215" y="729804"/>
                </a:cubicBezTo>
                <a:close/>
                <a:moveTo>
                  <a:pt x="4204335" y="887284"/>
                </a:moveTo>
                <a:cubicBezTo>
                  <a:pt x="4185920" y="888554"/>
                  <a:pt x="4188460" y="917129"/>
                  <a:pt x="4206240" y="915224"/>
                </a:cubicBezTo>
                <a:cubicBezTo>
                  <a:pt x="4224655" y="914588"/>
                  <a:pt x="4222115" y="886013"/>
                  <a:pt x="4204335" y="887284"/>
                </a:cubicBezTo>
                <a:close/>
                <a:moveTo>
                  <a:pt x="4233545" y="939354"/>
                </a:moveTo>
                <a:cubicBezTo>
                  <a:pt x="4217035" y="939988"/>
                  <a:pt x="4218305" y="965388"/>
                  <a:pt x="4234180" y="964754"/>
                </a:cubicBezTo>
                <a:cubicBezTo>
                  <a:pt x="4250690" y="964119"/>
                  <a:pt x="4250055" y="938719"/>
                  <a:pt x="4233545" y="939354"/>
                </a:cubicBezTo>
                <a:close/>
                <a:moveTo>
                  <a:pt x="4260215" y="898079"/>
                </a:moveTo>
                <a:cubicBezTo>
                  <a:pt x="4260850" y="916494"/>
                  <a:pt x="4289425" y="914588"/>
                  <a:pt x="4288155" y="896809"/>
                </a:cubicBezTo>
                <a:cubicBezTo>
                  <a:pt x="4287520" y="877759"/>
                  <a:pt x="4258945" y="879663"/>
                  <a:pt x="4260215" y="898079"/>
                </a:cubicBezTo>
                <a:close/>
                <a:moveTo>
                  <a:pt x="3859530" y="926654"/>
                </a:moveTo>
                <a:cubicBezTo>
                  <a:pt x="3841115" y="929194"/>
                  <a:pt x="3846195" y="957769"/>
                  <a:pt x="3863975" y="954594"/>
                </a:cubicBezTo>
                <a:cubicBezTo>
                  <a:pt x="3882390" y="952054"/>
                  <a:pt x="3877945" y="923479"/>
                  <a:pt x="3859530" y="926654"/>
                </a:cubicBezTo>
                <a:close/>
                <a:moveTo>
                  <a:pt x="4411980" y="877759"/>
                </a:moveTo>
                <a:cubicBezTo>
                  <a:pt x="4393565" y="877759"/>
                  <a:pt x="4394200" y="906969"/>
                  <a:pt x="4412615" y="906334"/>
                </a:cubicBezTo>
                <a:cubicBezTo>
                  <a:pt x="4431030" y="905699"/>
                  <a:pt x="4430395" y="877124"/>
                  <a:pt x="4411980" y="877759"/>
                </a:cubicBezTo>
                <a:close/>
                <a:moveTo>
                  <a:pt x="4464685" y="471994"/>
                </a:moveTo>
                <a:cubicBezTo>
                  <a:pt x="4462780" y="499299"/>
                  <a:pt x="4505960" y="501838"/>
                  <a:pt x="4507230" y="473899"/>
                </a:cubicBezTo>
                <a:cubicBezTo>
                  <a:pt x="4508500" y="447229"/>
                  <a:pt x="4465320" y="444688"/>
                  <a:pt x="4464685" y="471994"/>
                </a:cubicBezTo>
                <a:close/>
                <a:moveTo>
                  <a:pt x="4410710" y="823784"/>
                </a:moveTo>
                <a:cubicBezTo>
                  <a:pt x="4410075" y="803463"/>
                  <a:pt x="4378325" y="805369"/>
                  <a:pt x="4379595" y="825054"/>
                </a:cubicBezTo>
                <a:cubicBezTo>
                  <a:pt x="4380230" y="845374"/>
                  <a:pt x="4411980" y="844104"/>
                  <a:pt x="4410710" y="823784"/>
                </a:cubicBezTo>
                <a:close/>
                <a:moveTo>
                  <a:pt x="4464685" y="545654"/>
                </a:moveTo>
                <a:cubicBezTo>
                  <a:pt x="4439285" y="545654"/>
                  <a:pt x="4439285" y="585659"/>
                  <a:pt x="4464685" y="585024"/>
                </a:cubicBezTo>
                <a:cubicBezTo>
                  <a:pt x="4490720" y="585659"/>
                  <a:pt x="4490085" y="545654"/>
                  <a:pt x="4464685" y="545654"/>
                </a:cubicBezTo>
                <a:close/>
                <a:moveTo>
                  <a:pt x="4481195" y="877124"/>
                </a:moveTo>
                <a:cubicBezTo>
                  <a:pt x="4462780" y="877124"/>
                  <a:pt x="4462780" y="905699"/>
                  <a:pt x="4481195" y="905063"/>
                </a:cubicBezTo>
                <a:cubicBezTo>
                  <a:pt x="4499610" y="905063"/>
                  <a:pt x="4499610" y="876488"/>
                  <a:pt x="4481195" y="877124"/>
                </a:cubicBezTo>
                <a:close/>
                <a:moveTo>
                  <a:pt x="4467860" y="760284"/>
                </a:moveTo>
                <a:cubicBezTo>
                  <a:pt x="4490085" y="760284"/>
                  <a:pt x="4489450" y="725359"/>
                  <a:pt x="4467225" y="726629"/>
                </a:cubicBezTo>
                <a:cubicBezTo>
                  <a:pt x="4445635" y="726629"/>
                  <a:pt x="4446270" y="760919"/>
                  <a:pt x="4467860" y="760284"/>
                </a:cubicBezTo>
                <a:close/>
                <a:moveTo>
                  <a:pt x="4464685" y="404049"/>
                </a:moveTo>
                <a:cubicBezTo>
                  <a:pt x="4493895" y="407858"/>
                  <a:pt x="4498975" y="361504"/>
                  <a:pt x="4469130" y="358963"/>
                </a:cubicBezTo>
                <a:cubicBezTo>
                  <a:pt x="4440555" y="355154"/>
                  <a:pt x="4435475" y="401508"/>
                  <a:pt x="4464685" y="404049"/>
                </a:cubicBezTo>
                <a:close/>
                <a:moveTo>
                  <a:pt x="4210050" y="583119"/>
                </a:moveTo>
                <a:cubicBezTo>
                  <a:pt x="4206875" y="557719"/>
                  <a:pt x="4166870" y="563434"/>
                  <a:pt x="4170680" y="588834"/>
                </a:cubicBezTo>
                <a:cubicBezTo>
                  <a:pt x="4174490" y="614234"/>
                  <a:pt x="4214495" y="608519"/>
                  <a:pt x="4210050" y="583119"/>
                </a:cubicBezTo>
                <a:close/>
                <a:moveTo>
                  <a:pt x="4424045" y="936813"/>
                </a:moveTo>
                <a:cubicBezTo>
                  <a:pt x="4407535" y="936179"/>
                  <a:pt x="4407535" y="962213"/>
                  <a:pt x="4424045" y="962213"/>
                </a:cubicBezTo>
                <a:cubicBezTo>
                  <a:pt x="4440555" y="962213"/>
                  <a:pt x="4440555" y="936179"/>
                  <a:pt x="4424045" y="936813"/>
                </a:cubicBezTo>
                <a:close/>
                <a:moveTo>
                  <a:pt x="4432300" y="186879"/>
                </a:moveTo>
                <a:cubicBezTo>
                  <a:pt x="4400550" y="177988"/>
                  <a:pt x="4387215" y="228154"/>
                  <a:pt x="4419600" y="235774"/>
                </a:cubicBezTo>
                <a:cubicBezTo>
                  <a:pt x="4450715" y="245299"/>
                  <a:pt x="4464685" y="195133"/>
                  <a:pt x="4432300" y="186879"/>
                </a:cubicBezTo>
                <a:close/>
                <a:moveTo>
                  <a:pt x="4469130" y="806638"/>
                </a:moveTo>
                <a:cubicBezTo>
                  <a:pt x="4448810" y="806638"/>
                  <a:pt x="4449445" y="838388"/>
                  <a:pt x="4469765" y="837754"/>
                </a:cubicBezTo>
                <a:cubicBezTo>
                  <a:pt x="4490085" y="837119"/>
                  <a:pt x="4489450" y="805369"/>
                  <a:pt x="4469130" y="806638"/>
                </a:cubicBezTo>
                <a:close/>
                <a:moveTo>
                  <a:pt x="3983990" y="737424"/>
                </a:moveTo>
                <a:cubicBezTo>
                  <a:pt x="4007485" y="732344"/>
                  <a:pt x="3998595" y="696149"/>
                  <a:pt x="3975735" y="701863"/>
                </a:cubicBezTo>
                <a:cubicBezTo>
                  <a:pt x="3952875" y="706944"/>
                  <a:pt x="3961130" y="743138"/>
                  <a:pt x="3983990" y="737424"/>
                </a:cubicBezTo>
                <a:close/>
                <a:moveTo>
                  <a:pt x="3947160" y="858074"/>
                </a:moveTo>
                <a:cubicBezTo>
                  <a:pt x="3927475" y="861249"/>
                  <a:pt x="3932555" y="892363"/>
                  <a:pt x="3952240" y="888554"/>
                </a:cubicBezTo>
                <a:cubicBezTo>
                  <a:pt x="3971925" y="885379"/>
                  <a:pt x="3966845" y="854263"/>
                  <a:pt x="3947160" y="858074"/>
                </a:cubicBezTo>
                <a:close/>
                <a:moveTo>
                  <a:pt x="3979545" y="955229"/>
                </a:moveTo>
                <a:cubicBezTo>
                  <a:pt x="3963035" y="956499"/>
                  <a:pt x="3965575" y="982534"/>
                  <a:pt x="3982085" y="980629"/>
                </a:cubicBezTo>
                <a:cubicBezTo>
                  <a:pt x="3997960" y="979359"/>
                  <a:pt x="3996055" y="953324"/>
                  <a:pt x="3979545" y="955229"/>
                </a:cubicBezTo>
                <a:close/>
                <a:moveTo>
                  <a:pt x="3997325" y="907604"/>
                </a:moveTo>
                <a:cubicBezTo>
                  <a:pt x="3978910" y="909509"/>
                  <a:pt x="3982720" y="938084"/>
                  <a:pt x="4001135" y="935544"/>
                </a:cubicBezTo>
                <a:cubicBezTo>
                  <a:pt x="4018915" y="933638"/>
                  <a:pt x="4015105" y="905063"/>
                  <a:pt x="3997325" y="907604"/>
                </a:cubicBezTo>
                <a:close/>
                <a:moveTo>
                  <a:pt x="3914775" y="831404"/>
                </a:moveTo>
                <a:cubicBezTo>
                  <a:pt x="3936365" y="826959"/>
                  <a:pt x="3928745" y="793304"/>
                  <a:pt x="3907155" y="798384"/>
                </a:cubicBezTo>
                <a:cubicBezTo>
                  <a:pt x="3886200" y="802829"/>
                  <a:pt x="3893820" y="836484"/>
                  <a:pt x="3914775" y="831404"/>
                </a:cubicBezTo>
                <a:close/>
                <a:moveTo>
                  <a:pt x="3873500" y="871409"/>
                </a:moveTo>
                <a:cubicBezTo>
                  <a:pt x="3853815" y="874584"/>
                  <a:pt x="3860165" y="906334"/>
                  <a:pt x="3879215" y="901888"/>
                </a:cubicBezTo>
                <a:cubicBezTo>
                  <a:pt x="3898900" y="898713"/>
                  <a:pt x="3892550" y="867599"/>
                  <a:pt x="3873500" y="871409"/>
                </a:cubicBezTo>
                <a:close/>
                <a:moveTo>
                  <a:pt x="3928110" y="916494"/>
                </a:moveTo>
                <a:cubicBezTo>
                  <a:pt x="3909695" y="919034"/>
                  <a:pt x="3914140" y="946974"/>
                  <a:pt x="3931920" y="944434"/>
                </a:cubicBezTo>
                <a:cubicBezTo>
                  <a:pt x="3950335" y="941894"/>
                  <a:pt x="3946525" y="913954"/>
                  <a:pt x="3928110" y="916494"/>
                </a:cubicBezTo>
                <a:close/>
                <a:moveTo>
                  <a:pt x="4038600" y="858709"/>
                </a:moveTo>
                <a:cubicBezTo>
                  <a:pt x="4037330" y="850454"/>
                  <a:pt x="4029075" y="844738"/>
                  <a:pt x="4020820" y="846009"/>
                </a:cubicBezTo>
                <a:cubicBezTo>
                  <a:pt x="3982720" y="858709"/>
                  <a:pt x="4037965" y="899984"/>
                  <a:pt x="4038600" y="858709"/>
                </a:cubicBezTo>
                <a:close/>
                <a:moveTo>
                  <a:pt x="3916045" y="961579"/>
                </a:moveTo>
                <a:cubicBezTo>
                  <a:pt x="3899535" y="962849"/>
                  <a:pt x="3902710" y="988884"/>
                  <a:pt x="3918585" y="986979"/>
                </a:cubicBezTo>
                <a:cubicBezTo>
                  <a:pt x="3935095" y="985074"/>
                  <a:pt x="3932555" y="959674"/>
                  <a:pt x="3916045" y="961579"/>
                </a:cubicBezTo>
                <a:close/>
                <a:moveTo>
                  <a:pt x="4170045" y="826324"/>
                </a:moveTo>
                <a:cubicBezTo>
                  <a:pt x="4149725" y="828229"/>
                  <a:pt x="4153535" y="859979"/>
                  <a:pt x="4173220" y="857438"/>
                </a:cubicBezTo>
                <a:cubicBezTo>
                  <a:pt x="4193540" y="855534"/>
                  <a:pt x="4189730" y="823784"/>
                  <a:pt x="4170045" y="826324"/>
                </a:cubicBezTo>
                <a:close/>
                <a:moveTo>
                  <a:pt x="4097020" y="581849"/>
                </a:moveTo>
                <a:cubicBezTo>
                  <a:pt x="4071620" y="586294"/>
                  <a:pt x="4079240" y="625663"/>
                  <a:pt x="4104640" y="620584"/>
                </a:cubicBezTo>
                <a:cubicBezTo>
                  <a:pt x="4129405" y="616138"/>
                  <a:pt x="4121785" y="576769"/>
                  <a:pt x="4097020" y="581849"/>
                </a:cubicBezTo>
                <a:close/>
                <a:moveTo>
                  <a:pt x="4106545" y="945704"/>
                </a:moveTo>
                <a:cubicBezTo>
                  <a:pt x="4090035" y="946338"/>
                  <a:pt x="4091940" y="972374"/>
                  <a:pt x="4108450" y="971104"/>
                </a:cubicBezTo>
                <a:cubicBezTo>
                  <a:pt x="4124325" y="969834"/>
                  <a:pt x="4123055" y="944434"/>
                  <a:pt x="4106545" y="945704"/>
                </a:cubicBezTo>
                <a:close/>
                <a:moveTo>
                  <a:pt x="4135120" y="892999"/>
                </a:moveTo>
                <a:cubicBezTo>
                  <a:pt x="4116705" y="894269"/>
                  <a:pt x="4119245" y="922844"/>
                  <a:pt x="4137660" y="920938"/>
                </a:cubicBezTo>
                <a:cubicBezTo>
                  <a:pt x="4156075" y="919669"/>
                  <a:pt x="4153535" y="891094"/>
                  <a:pt x="4135120" y="892999"/>
                </a:cubicBezTo>
                <a:close/>
                <a:moveTo>
                  <a:pt x="4170045" y="941894"/>
                </a:moveTo>
                <a:cubicBezTo>
                  <a:pt x="4153535" y="942529"/>
                  <a:pt x="4154805" y="968563"/>
                  <a:pt x="4171315" y="967294"/>
                </a:cubicBezTo>
                <a:cubicBezTo>
                  <a:pt x="4187825" y="966659"/>
                  <a:pt x="4186555" y="940624"/>
                  <a:pt x="4170045" y="941894"/>
                </a:cubicBezTo>
                <a:close/>
                <a:moveTo>
                  <a:pt x="4065905" y="766634"/>
                </a:moveTo>
                <a:cubicBezTo>
                  <a:pt x="4044315" y="769809"/>
                  <a:pt x="4050030" y="804099"/>
                  <a:pt x="4071620" y="800288"/>
                </a:cubicBezTo>
                <a:cubicBezTo>
                  <a:pt x="4093845" y="797113"/>
                  <a:pt x="4087495" y="762824"/>
                  <a:pt x="4065905" y="766634"/>
                </a:cubicBezTo>
                <a:close/>
                <a:moveTo>
                  <a:pt x="4099560" y="866329"/>
                </a:moveTo>
                <a:cubicBezTo>
                  <a:pt x="4119245" y="863788"/>
                  <a:pt x="4115435" y="832674"/>
                  <a:pt x="4095750" y="835213"/>
                </a:cubicBezTo>
                <a:cubicBezTo>
                  <a:pt x="4075430" y="837754"/>
                  <a:pt x="4079875" y="868869"/>
                  <a:pt x="4099560" y="866329"/>
                </a:cubicBezTo>
                <a:close/>
                <a:moveTo>
                  <a:pt x="4065905" y="899349"/>
                </a:moveTo>
                <a:cubicBezTo>
                  <a:pt x="4047490" y="900619"/>
                  <a:pt x="4050665" y="929829"/>
                  <a:pt x="4069080" y="927288"/>
                </a:cubicBezTo>
                <a:cubicBezTo>
                  <a:pt x="4087495" y="926019"/>
                  <a:pt x="4084320" y="897444"/>
                  <a:pt x="4065905" y="899349"/>
                </a:cubicBezTo>
                <a:close/>
                <a:moveTo>
                  <a:pt x="4043045" y="949513"/>
                </a:moveTo>
                <a:cubicBezTo>
                  <a:pt x="4026535" y="950784"/>
                  <a:pt x="4028440" y="976184"/>
                  <a:pt x="4044950" y="974913"/>
                </a:cubicBezTo>
                <a:cubicBezTo>
                  <a:pt x="4061460" y="974279"/>
                  <a:pt x="4059555" y="948244"/>
                  <a:pt x="4043045" y="949513"/>
                </a:cubicBezTo>
                <a:close/>
                <a:moveTo>
                  <a:pt x="4244340" y="818704"/>
                </a:moveTo>
                <a:cubicBezTo>
                  <a:pt x="4224020" y="819974"/>
                  <a:pt x="4227195" y="851724"/>
                  <a:pt x="4246880" y="849819"/>
                </a:cubicBezTo>
                <a:cubicBezTo>
                  <a:pt x="4267200" y="848549"/>
                  <a:pt x="4264660" y="816799"/>
                  <a:pt x="4244340" y="818704"/>
                </a:cubicBezTo>
                <a:close/>
                <a:moveTo>
                  <a:pt x="4827270" y="889824"/>
                </a:moveTo>
                <a:cubicBezTo>
                  <a:pt x="4808855" y="887919"/>
                  <a:pt x="4806950" y="917129"/>
                  <a:pt x="4825365" y="917763"/>
                </a:cubicBezTo>
                <a:cubicBezTo>
                  <a:pt x="4843145" y="919669"/>
                  <a:pt x="4845685" y="891094"/>
                  <a:pt x="4827270" y="889824"/>
                </a:cubicBezTo>
                <a:close/>
                <a:moveTo>
                  <a:pt x="4869180" y="959038"/>
                </a:moveTo>
                <a:cubicBezTo>
                  <a:pt x="4852670" y="957134"/>
                  <a:pt x="4850130" y="983169"/>
                  <a:pt x="4866640" y="984438"/>
                </a:cubicBezTo>
                <a:cubicBezTo>
                  <a:pt x="4882515" y="986344"/>
                  <a:pt x="4885055" y="960944"/>
                  <a:pt x="4869180" y="959038"/>
                </a:cubicBezTo>
                <a:close/>
                <a:moveTo>
                  <a:pt x="4843780" y="818069"/>
                </a:moveTo>
                <a:cubicBezTo>
                  <a:pt x="4824095" y="816163"/>
                  <a:pt x="4820920" y="847279"/>
                  <a:pt x="4841240" y="849184"/>
                </a:cubicBezTo>
                <a:cubicBezTo>
                  <a:pt x="4861560" y="851088"/>
                  <a:pt x="4864100" y="819338"/>
                  <a:pt x="4843780" y="818069"/>
                </a:cubicBezTo>
                <a:close/>
                <a:moveTo>
                  <a:pt x="4871085" y="742504"/>
                </a:moveTo>
                <a:cubicBezTo>
                  <a:pt x="4849495" y="739963"/>
                  <a:pt x="4845685" y="774254"/>
                  <a:pt x="4867275" y="776159"/>
                </a:cubicBezTo>
                <a:cubicBezTo>
                  <a:pt x="4888865" y="779334"/>
                  <a:pt x="4893310" y="745044"/>
                  <a:pt x="4871085" y="742504"/>
                </a:cubicBezTo>
                <a:close/>
                <a:moveTo>
                  <a:pt x="4806315" y="753299"/>
                </a:moveTo>
                <a:cubicBezTo>
                  <a:pt x="4808220" y="731709"/>
                  <a:pt x="4773930" y="728534"/>
                  <a:pt x="4772660" y="750759"/>
                </a:cubicBezTo>
                <a:cubicBezTo>
                  <a:pt x="4770120" y="772349"/>
                  <a:pt x="4804410" y="774888"/>
                  <a:pt x="4806315" y="753299"/>
                </a:cubicBezTo>
                <a:close/>
                <a:moveTo>
                  <a:pt x="4758055" y="884744"/>
                </a:moveTo>
                <a:cubicBezTo>
                  <a:pt x="4739005" y="883474"/>
                  <a:pt x="4738370" y="913319"/>
                  <a:pt x="4757420" y="912684"/>
                </a:cubicBezTo>
                <a:cubicBezTo>
                  <a:pt x="4775200" y="913319"/>
                  <a:pt x="4775835" y="886013"/>
                  <a:pt x="4758055" y="884744"/>
                </a:cubicBezTo>
                <a:close/>
                <a:moveTo>
                  <a:pt x="4805680" y="953959"/>
                </a:moveTo>
                <a:cubicBezTo>
                  <a:pt x="4788535" y="952688"/>
                  <a:pt x="4787265" y="979359"/>
                  <a:pt x="4804410" y="979359"/>
                </a:cubicBezTo>
                <a:cubicBezTo>
                  <a:pt x="4820285" y="979359"/>
                  <a:pt x="4821555" y="954594"/>
                  <a:pt x="4805680" y="953959"/>
                </a:cubicBezTo>
                <a:close/>
                <a:moveTo>
                  <a:pt x="4769485" y="812354"/>
                </a:moveTo>
                <a:cubicBezTo>
                  <a:pt x="4749165" y="811084"/>
                  <a:pt x="4747260" y="842199"/>
                  <a:pt x="4767580" y="843469"/>
                </a:cubicBezTo>
                <a:cubicBezTo>
                  <a:pt x="4787265" y="845374"/>
                  <a:pt x="4789805" y="813624"/>
                  <a:pt x="4769485" y="812354"/>
                </a:cubicBezTo>
                <a:close/>
                <a:moveTo>
                  <a:pt x="4742180" y="948879"/>
                </a:moveTo>
                <a:cubicBezTo>
                  <a:pt x="4725035" y="947609"/>
                  <a:pt x="4724400" y="974279"/>
                  <a:pt x="4741545" y="974279"/>
                </a:cubicBezTo>
                <a:cubicBezTo>
                  <a:pt x="4757420" y="974279"/>
                  <a:pt x="4758055" y="949513"/>
                  <a:pt x="4742180" y="948879"/>
                </a:cubicBezTo>
                <a:close/>
                <a:moveTo>
                  <a:pt x="4896485" y="896174"/>
                </a:moveTo>
                <a:cubicBezTo>
                  <a:pt x="4878070" y="894269"/>
                  <a:pt x="4875530" y="922844"/>
                  <a:pt x="4893945" y="924113"/>
                </a:cubicBezTo>
                <a:cubicBezTo>
                  <a:pt x="4911725" y="926019"/>
                  <a:pt x="4914900" y="897444"/>
                  <a:pt x="4896485" y="896174"/>
                </a:cubicBezTo>
                <a:close/>
                <a:moveTo>
                  <a:pt x="4995545" y="973009"/>
                </a:moveTo>
                <a:cubicBezTo>
                  <a:pt x="4979035" y="971104"/>
                  <a:pt x="4975860" y="996504"/>
                  <a:pt x="4992370" y="998409"/>
                </a:cubicBezTo>
                <a:cubicBezTo>
                  <a:pt x="5008880" y="1000313"/>
                  <a:pt x="5012055" y="974279"/>
                  <a:pt x="4995545" y="973009"/>
                </a:cubicBezTo>
                <a:close/>
                <a:moveTo>
                  <a:pt x="5031105" y="765363"/>
                </a:moveTo>
                <a:cubicBezTo>
                  <a:pt x="5007610" y="760919"/>
                  <a:pt x="5004435" y="799019"/>
                  <a:pt x="5028565" y="799019"/>
                </a:cubicBezTo>
                <a:cubicBezTo>
                  <a:pt x="5048885" y="799654"/>
                  <a:pt x="5051425" y="768538"/>
                  <a:pt x="5031105" y="765363"/>
                </a:cubicBezTo>
                <a:close/>
                <a:moveTo>
                  <a:pt x="4993005" y="833944"/>
                </a:moveTo>
                <a:cubicBezTo>
                  <a:pt x="4973320" y="831404"/>
                  <a:pt x="4968875" y="862519"/>
                  <a:pt x="4989195" y="865059"/>
                </a:cubicBezTo>
                <a:cubicBezTo>
                  <a:pt x="5008880" y="867599"/>
                  <a:pt x="5013325" y="836484"/>
                  <a:pt x="4993005" y="833944"/>
                </a:cubicBezTo>
                <a:close/>
                <a:moveTo>
                  <a:pt x="5034280" y="911413"/>
                </a:moveTo>
                <a:cubicBezTo>
                  <a:pt x="5016500" y="908874"/>
                  <a:pt x="5012690" y="937449"/>
                  <a:pt x="5030470" y="939354"/>
                </a:cubicBezTo>
                <a:cubicBezTo>
                  <a:pt x="5048885" y="941894"/>
                  <a:pt x="5052695" y="913319"/>
                  <a:pt x="5034280" y="911413"/>
                </a:cubicBezTo>
                <a:close/>
                <a:moveTo>
                  <a:pt x="4932045" y="966024"/>
                </a:moveTo>
                <a:cubicBezTo>
                  <a:pt x="4915535" y="964119"/>
                  <a:pt x="4912995" y="989519"/>
                  <a:pt x="4929505" y="991424"/>
                </a:cubicBezTo>
                <a:cubicBezTo>
                  <a:pt x="4946015" y="992694"/>
                  <a:pt x="4948555" y="967294"/>
                  <a:pt x="4932045" y="966024"/>
                </a:cubicBezTo>
                <a:close/>
                <a:moveTo>
                  <a:pt x="4932680" y="842199"/>
                </a:moveTo>
                <a:cubicBezTo>
                  <a:pt x="4935220" y="822513"/>
                  <a:pt x="4903470" y="818704"/>
                  <a:pt x="4901565" y="839024"/>
                </a:cubicBezTo>
                <a:cubicBezTo>
                  <a:pt x="4899025" y="859344"/>
                  <a:pt x="4930775" y="862519"/>
                  <a:pt x="4932680" y="842199"/>
                </a:cubicBezTo>
                <a:close/>
                <a:moveTo>
                  <a:pt x="4965700" y="903159"/>
                </a:moveTo>
                <a:cubicBezTo>
                  <a:pt x="4947285" y="900619"/>
                  <a:pt x="4944110" y="929829"/>
                  <a:pt x="4962525" y="931099"/>
                </a:cubicBezTo>
                <a:cubicBezTo>
                  <a:pt x="4980305" y="933004"/>
                  <a:pt x="4983480" y="905063"/>
                  <a:pt x="4965700" y="903159"/>
                </a:cubicBezTo>
                <a:close/>
                <a:moveTo>
                  <a:pt x="4965700" y="772349"/>
                </a:moveTo>
                <a:cubicBezTo>
                  <a:pt x="4968875" y="750759"/>
                  <a:pt x="4934585" y="745679"/>
                  <a:pt x="4932045" y="767904"/>
                </a:cubicBezTo>
                <a:cubicBezTo>
                  <a:pt x="4928870" y="788859"/>
                  <a:pt x="4963160" y="793938"/>
                  <a:pt x="4965700" y="772349"/>
                </a:cubicBezTo>
                <a:close/>
                <a:moveTo>
                  <a:pt x="4619625" y="879029"/>
                </a:moveTo>
                <a:cubicBezTo>
                  <a:pt x="4601210" y="878394"/>
                  <a:pt x="4600575" y="906969"/>
                  <a:pt x="4618990" y="906969"/>
                </a:cubicBezTo>
                <a:cubicBezTo>
                  <a:pt x="4637405" y="907604"/>
                  <a:pt x="4638040" y="879029"/>
                  <a:pt x="4619625" y="879029"/>
                </a:cubicBezTo>
                <a:close/>
                <a:moveTo>
                  <a:pt x="4577715" y="638363"/>
                </a:moveTo>
                <a:cubicBezTo>
                  <a:pt x="4553585" y="637729"/>
                  <a:pt x="4553585" y="675194"/>
                  <a:pt x="4577080" y="675194"/>
                </a:cubicBezTo>
                <a:cubicBezTo>
                  <a:pt x="4600575" y="675829"/>
                  <a:pt x="4601210" y="638999"/>
                  <a:pt x="4577715" y="638363"/>
                </a:cubicBezTo>
                <a:close/>
                <a:moveTo>
                  <a:pt x="4615180" y="941259"/>
                </a:moveTo>
                <a:cubicBezTo>
                  <a:pt x="4598670" y="939988"/>
                  <a:pt x="4597400" y="966024"/>
                  <a:pt x="4613910" y="966659"/>
                </a:cubicBezTo>
                <a:cubicBezTo>
                  <a:pt x="4630420" y="967929"/>
                  <a:pt x="4631690" y="941894"/>
                  <a:pt x="4615180" y="941259"/>
                </a:cubicBezTo>
                <a:close/>
                <a:moveTo>
                  <a:pt x="4548505" y="725359"/>
                </a:moveTo>
                <a:cubicBezTo>
                  <a:pt x="4526280" y="725359"/>
                  <a:pt x="4526915" y="759649"/>
                  <a:pt x="4548505" y="759013"/>
                </a:cubicBezTo>
                <a:cubicBezTo>
                  <a:pt x="4570730" y="759013"/>
                  <a:pt x="4570730" y="724724"/>
                  <a:pt x="4548505" y="725359"/>
                </a:cubicBezTo>
                <a:close/>
                <a:moveTo>
                  <a:pt x="4741545" y="564704"/>
                </a:moveTo>
                <a:cubicBezTo>
                  <a:pt x="4730750" y="563434"/>
                  <a:pt x="4720590" y="570419"/>
                  <a:pt x="4719320" y="581849"/>
                </a:cubicBezTo>
                <a:cubicBezTo>
                  <a:pt x="4721225" y="633284"/>
                  <a:pt x="4791075" y="579944"/>
                  <a:pt x="4741545" y="564704"/>
                </a:cubicBezTo>
                <a:close/>
                <a:moveTo>
                  <a:pt x="4550410" y="877124"/>
                </a:moveTo>
                <a:cubicBezTo>
                  <a:pt x="4531995" y="876488"/>
                  <a:pt x="4531995" y="905699"/>
                  <a:pt x="4550410" y="905699"/>
                </a:cubicBezTo>
                <a:cubicBezTo>
                  <a:pt x="4568825" y="905699"/>
                  <a:pt x="4568825" y="877124"/>
                  <a:pt x="4550410" y="877124"/>
                </a:cubicBezTo>
                <a:close/>
                <a:moveTo>
                  <a:pt x="4540250" y="312608"/>
                </a:moveTo>
                <a:cubicBezTo>
                  <a:pt x="4547870" y="282129"/>
                  <a:pt x="4500245" y="271333"/>
                  <a:pt x="4493260" y="301813"/>
                </a:cubicBezTo>
                <a:cubicBezTo>
                  <a:pt x="4485640" y="332294"/>
                  <a:pt x="4533265" y="343088"/>
                  <a:pt x="4540250" y="312608"/>
                </a:cubicBezTo>
                <a:close/>
                <a:moveTo>
                  <a:pt x="4490720" y="638363"/>
                </a:moveTo>
                <a:cubicBezTo>
                  <a:pt x="4466590" y="638363"/>
                  <a:pt x="4467225" y="675829"/>
                  <a:pt x="4491355" y="675194"/>
                </a:cubicBezTo>
                <a:cubicBezTo>
                  <a:pt x="4514850" y="675194"/>
                  <a:pt x="4514850" y="637729"/>
                  <a:pt x="4490720" y="638363"/>
                </a:cubicBezTo>
                <a:close/>
                <a:moveTo>
                  <a:pt x="4551680" y="939354"/>
                </a:moveTo>
                <a:cubicBezTo>
                  <a:pt x="4535170" y="938719"/>
                  <a:pt x="4534535" y="964754"/>
                  <a:pt x="4551045" y="964754"/>
                </a:cubicBezTo>
                <a:cubicBezTo>
                  <a:pt x="4567555" y="964754"/>
                  <a:pt x="4567555" y="939354"/>
                  <a:pt x="4551680" y="939354"/>
                </a:cubicBezTo>
                <a:close/>
                <a:moveTo>
                  <a:pt x="4559935" y="821244"/>
                </a:moveTo>
                <a:cubicBezTo>
                  <a:pt x="4559935" y="800924"/>
                  <a:pt x="4528820" y="800924"/>
                  <a:pt x="4528820" y="821244"/>
                </a:cubicBezTo>
                <a:cubicBezTo>
                  <a:pt x="4528820" y="841563"/>
                  <a:pt x="4559935" y="840929"/>
                  <a:pt x="4559935" y="821244"/>
                </a:cubicBezTo>
                <a:close/>
                <a:moveTo>
                  <a:pt x="4584700" y="459929"/>
                </a:moveTo>
                <a:cubicBezTo>
                  <a:pt x="4557395" y="456754"/>
                  <a:pt x="4552950" y="499299"/>
                  <a:pt x="4580255" y="501838"/>
                </a:cubicBezTo>
                <a:cubicBezTo>
                  <a:pt x="4607560" y="505649"/>
                  <a:pt x="4612640" y="462469"/>
                  <a:pt x="4584700" y="459929"/>
                </a:cubicBezTo>
                <a:close/>
                <a:moveTo>
                  <a:pt x="4678680" y="945069"/>
                </a:moveTo>
                <a:cubicBezTo>
                  <a:pt x="4662170" y="943799"/>
                  <a:pt x="4660900" y="969834"/>
                  <a:pt x="4677410" y="970469"/>
                </a:cubicBezTo>
                <a:cubicBezTo>
                  <a:pt x="4693285" y="971738"/>
                  <a:pt x="4695190" y="945704"/>
                  <a:pt x="4678680" y="945069"/>
                </a:cubicBezTo>
                <a:close/>
                <a:moveTo>
                  <a:pt x="4688840" y="881569"/>
                </a:moveTo>
                <a:cubicBezTo>
                  <a:pt x="4670425" y="880299"/>
                  <a:pt x="4669155" y="909509"/>
                  <a:pt x="4687570" y="909509"/>
                </a:cubicBezTo>
                <a:cubicBezTo>
                  <a:pt x="4705985" y="910779"/>
                  <a:pt x="4707255" y="882204"/>
                  <a:pt x="4688840" y="881569"/>
                </a:cubicBezTo>
                <a:close/>
                <a:moveTo>
                  <a:pt x="4694555" y="808544"/>
                </a:moveTo>
                <a:cubicBezTo>
                  <a:pt x="4674235" y="807274"/>
                  <a:pt x="4672965" y="839659"/>
                  <a:pt x="4693920" y="839659"/>
                </a:cubicBezTo>
                <a:cubicBezTo>
                  <a:pt x="4713605" y="840294"/>
                  <a:pt x="4714240" y="809179"/>
                  <a:pt x="4694555" y="808544"/>
                </a:cubicBezTo>
                <a:close/>
                <a:moveTo>
                  <a:pt x="4709795" y="729169"/>
                </a:moveTo>
                <a:cubicBezTo>
                  <a:pt x="4687570" y="727899"/>
                  <a:pt x="4686300" y="762188"/>
                  <a:pt x="4707890" y="762824"/>
                </a:cubicBezTo>
                <a:cubicBezTo>
                  <a:pt x="4730115" y="764729"/>
                  <a:pt x="4732020" y="730438"/>
                  <a:pt x="4709795" y="729169"/>
                </a:cubicBezTo>
                <a:close/>
                <a:moveTo>
                  <a:pt x="4681220" y="661224"/>
                </a:moveTo>
                <a:cubicBezTo>
                  <a:pt x="4683125" y="637729"/>
                  <a:pt x="4645660" y="635188"/>
                  <a:pt x="4644390" y="659319"/>
                </a:cubicBezTo>
                <a:cubicBezTo>
                  <a:pt x="4643120" y="682813"/>
                  <a:pt x="4680585" y="685354"/>
                  <a:pt x="4681220" y="661224"/>
                </a:cubicBezTo>
                <a:close/>
                <a:moveTo>
                  <a:pt x="4619625" y="806004"/>
                </a:moveTo>
                <a:cubicBezTo>
                  <a:pt x="4599305" y="805369"/>
                  <a:pt x="4598670" y="837119"/>
                  <a:pt x="4618990" y="837119"/>
                </a:cubicBezTo>
                <a:cubicBezTo>
                  <a:pt x="4638675" y="837754"/>
                  <a:pt x="4639310" y="806638"/>
                  <a:pt x="4619625" y="806004"/>
                </a:cubicBezTo>
                <a:close/>
                <a:moveTo>
                  <a:pt x="4629150" y="725994"/>
                </a:moveTo>
                <a:cubicBezTo>
                  <a:pt x="4606925" y="725359"/>
                  <a:pt x="4606290" y="760284"/>
                  <a:pt x="4628515" y="759649"/>
                </a:cubicBezTo>
                <a:cubicBezTo>
                  <a:pt x="4650105" y="760284"/>
                  <a:pt x="4650740" y="726629"/>
                  <a:pt x="4629150" y="725994"/>
                </a:cubicBezTo>
                <a:close/>
                <a:moveTo>
                  <a:pt x="4488180" y="937449"/>
                </a:moveTo>
                <a:cubicBezTo>
                  <a:pt x="4471670" y="936813"/>
                  <a:pt x="4471035" y="962849"/>
                  <a:pt x="4487545" y="962849"/>
                </a:cubicBezTo>
                <a:cubicBezTo>
                  <a:pt x="4504055" y="963484"/>
                  <a:pt x="4504690" y="937449"/>
                  <a:pt x="4488180" y="937449"/>
                </a:cubicBezTo>
                <a:close/>
                <a:moveTo>
                  <a:pt x="1173480" y="2458909"/>
                </a:moveTo>
                <a:cubicBezTo>
                  <a:pt x="1172210" y="2459544"/>
                  <a:pt x="1170940" y="2460814"/>
                  <a:pt x="1169670" y="2462084"/>
                </a:cubicBezTo>
                <a:cubicBezTo>
                  <a:pt x="1189355" y="2368739"/>
                  <a:pt x="1066165" y="2473514"/>
                  <a:pt x="1162050" y="2469069"/>
                </a:cubicBezTo>
                <a:lnTo>
                  <a:pt x="1162050" y="2469069"/>
                </a:lnTo>
                <a:cubicBezTo>
                  <a:pt x="1164590" y="2467799"/>
                  <a:pt x="1166495" y="2465894"/>
                  <a:pt x="1168400" y="2463989"/>
                </a:cubicBezTo>
                <a:cubicBezTo>
                  <a:pt x="1144270" y="2566859"/>
                  <a:pt x="1278255" y="2450654"/>
                  <a:pt x="1173480" y="2458909"/>
                </a:cubicBezTo>
                <a:close/>
                <a:moveTo>
                  <a:pt x="3246120" y="971738"/>
                </a:moveTo>
                <a:cubicBezTo>
                  <a:pt x="3224530" y="981899"/>
                  <a:pt x="3241675" y="1015554"/>
                  <a:pt x="3262630" y="1004759"/>
                </a:cubicBezTo>
                <a:cubicBezTo>
                  <a:pt x="3284220" y="994599"/>
                  <a:pt x="3267710" y="960944"/>
                  <a:pt x="3246120" y="971738"/>
                </a:cubicBezTo>
                <a:close/>
                <a:moveTo>
                  <a:pt x="2949575" y="1176209"/>
                </a:moveTo>
                <a:cubicBezTo>
                  <a:pt x="2936240" y="1156524"/>
                  <a:pt x="2907030" y="1180019"/>
                  <a:pt x="2923540" y="1197163"/>
                </a:cubicBezTo>
                <a:cubicBezTo>
                  <a:pt x="2905760" y="1218754"/>
                  <a:pt x="2950845" y="1232088"/>
                  <a:pt x="2947670" y="1204149"/>
                </a:cubicBezTo>
                <a:cubicBezTo>
                  <a:pt x="2973705" y="1216849"/>
                  <a:pt x="2977515" y="1168588"/>
                  <a:pt x="2949575" y="1176209"/>
                </a:cubicBezTo>
                <a:close/>
                <a:moveTo>
                  <a:pt x="2893060" y="1209229"/>
                </a:moveTo>
                <a:cubicBezTo>
                  <a:pt x="2901315" y="1199704"/>
                  <a:pt x="2895600" y="1182559"/>
                  <a:pt x="2882900" y="1180019"/>
                </a:cubicBezTo>
                <a:cubicBezTo>
                  <a:pt x="2875915" y="1131124"/>
                  <a:pt x="2813050" y="1185099"/>
                  <a:pt x="2860675" y="1199069"/>
                </a:cubicBezTo>
                <a:cubicBezTo>
                  <a:pt x="2860675" y="1201609"/>
                  <a:pt x="2861945" y="1204784"/>
                  <a:pt x="2863215" y="1207324"/>
                </a:cubicBezTo>
                <a:cubicBezTo>
                  <a:pt x="2846705" y="1207959"/>
                  <a:pt x="2842260" y="1232088"/>
                  <a:pt x="2856865" y="1239074"/>
                </a:cubicBezTo>
                <a:cubicBezTo>
                  <a:pt x="2860675" y="1252409"/>
                  <a:pt x="2880995" y="1251138"/>
                  <a:pt x="2883535" y="1238438"/>
                </a:cubicBezTo>
                <a:cubicBezTo>
                  <a:pt x="2901315" y="1242884"/>
                  <a:pt x="2909570" y="1215579"/>
                  <a:pt x="2893060" y="1209229"/>
                </a:cubicBezTo>
                <a:close/>
                <a:moveTo>
                  <a:pt x="2957195" y="1135569"/>
                </a:moveTo>
                <a:cubicBezTo>
                  <a:pt x="2967355" y="1080324"/>
                  <a:pt x="2883535" y="1124774"/>
                  <a:pt x="2934970" y="1146999"/>
                </a:cubicBezTo>
                <a:cubicBezTo>
                  <a:pt x="2927985" y="1195894"/>
                  <a:pt x="3001645" y="1157159"/>
                  <a:pt x="2957195" y="1135569"/>
                </a:cubicBezTo>
                <a:close/>
                <a:moveTo>
                  <a:pt x="2991485" y="1043494"/>
                </a:moveTo>
                <a:cubicBezTo>
                  <a:pt x="2975610" y="1021269"/>
                  <a:pt x="2940685" y="1047304"/>
                  <a:pt x="2957830" y="1068894"/>
                </a:cubicBezTo>
                <a:cubicBezTo>
                  <a:pt x="2973705" y="1091119"/>
                  <a:pt x="3007995" y="1065084"/>
                  <a:pt x="2991485" y="1043494"/>
                </a:cubicBezTo>
                <a:close/>
                <a:moveTo>
                  <a:pt x="2806700" y="1158429"/>
                </a:moveTo>
                <a:cubicBezTo>
                  <a:pt x="2785110" y="1174938"/>
                  <a:pt x="2811780" y="1209229"/>
                  <a:pt x="2832735" y="1191449"/>
                </a:cubicBezTo>
                <a:cubicBezTo>
                  <a:pt x="2854960" y="1174938"/>
                  <a:pt x="2828290" y="1140649"/>
                  <a:pt x="2806700" y="1158429"/>
                </a:cubicBezTo>
                <a:close/>
                <a:moveTo>
                  <a:pt x="2767330" y="1275269"/>
                </a:moveTo>
                <a:cubicBezTo>
                  <a:pt x="2763520" y="1265744"/>
                  <a:pt x="2748915" y="1265109"/>
                  <a:pt x="2744470" y="1274634"/>
                </a:cubicBezTo>
                <a:cubicBezTo>
                  <a:pt x="2740025" y="1270824"/>
                  <a:pt x="2733040" y="1269554"/>
                  <a:pt x="2727325" y="1270824"/>
                </a:cubicBezTo>
                <a:cubicBezTo>
                  <a:pt x="2720340" y="1263838"/>
                  <a:pt x="2709545" y="1262569"/>
                  <a:pt x="2701925" y="1268919"/>
                </a:cubicBezTo>
                <a:cubicBezTo>
                  <a:pt x="2701925" y="1268919"/>
                  <a:pt x="2701925" y="1268919"/>
                  <a:pt x="2701925" y="1268919"/>
                </a:cubicBezTo>
                <a:cubicBezTo>
                  <a:pt x="2693670" y="1274634"/>
                  <a:pt x="2691765" y="1286063"/>
                  <a:pt x="2696210" y="1294319"/>
                </a:cubicBezTo>
                <a:cubicBezTo>
                  <a:pt x="2693670" y="1294954"/>
                  <a:pt x="2691130" y="1296224"/>
                  <a:pt x="2689225" y="1298129"/>
                </a:cubicBezTo>
                <a:cubicBezTo>
                  <a:pt x="2689860" y="1291144"/>
                  <a:pt x="2686685" y="1283524"/>
                  <a:pt x="2680335" y="1279079"/>
                </a:cubicBezTo>
                <a:cubicBezTo>
                  <a:pt x="2701925" y="1275904"/>
                  <a:pt x="2705735" y="1244788"/>
                  <a:pt x="2685415" y="1236534"/>
                </a:cubicBezTo>
                <a:cubicBezTo>
                  <a:pt x="2696845" y="1220659"/>
                  <a:pt x="2681605" y="1195894"/>
                  <a:pt x="2661920" y="1199704"/>
                </a:cubicBezTo>
                <a:cubicBezTo>
                  <a:pt x="2649855" y="1127949"/>
                  <a:pt x="2568575" y="1221294"/>
                  <a:pt x="2641600" y="1223834"/>
                </a:cubicBezTo>
                <a:cubicBezTo>
                  <a:pt x="2641600" y="1233359"/>
                  <a:pt x="2647950" y="1242884"/>
                  <a:pt x="2656840" y="1246059"/>
                </a:cubicBezTo>
                <a:cubicBezTo>
                  <a:pt x="2651125" y="1255584"/>
                  <a:pt x="2653665" y="1269554"/>
                  <a:pt x="2663825" y="1275904"/>
                </a:cubicBezTo>
                <a:cubicBezTo>
                  <a:pt x="2638425" y="1280349"/>
                  <a:pt x="2644140" y="1320354"/>
                  <a:pt x="2670175" y="1317813"/>
                </a:cubicBezTo>
                <a:cubicBezTo>
                  <a:pt x="2669540" y="1318449"/>
                  <a:pt x="2669540" y="1319719"/>
                  <a:pt x="2668905" y="1320354"/>
                </a:cubicBezTo>
                <a:cubicBezTo>
                  <a:pt x="2662555" y="1317179"/>
                  <a:pt x="2654300" y="1317813"/>
                  <a:pt x="2648585" y="1322894"/>
                </a:cubicBezTo>
                <a:cubicBezTo>
                  <a:pt x="2640330" y="1317813"/>
                  <a:pt x="2627630" y="1320354"/>
                  <a:pt x="2622550" y="1329244"/>
                </a:cubicBezTo>
                <a:cubicBezTo>
                  <a:pt x="2623185" y="1321624"/>
                  <a:pt x="2619375" y="1312734"/>
                  <a:pt x="2612390" y="1308288"/>
                </a:cubicBezTo>
                <a:cubicBezTo>
                  <a:pt x="2617470" y="1292413"/>
                  <a:pt x="2602230" y="1275269"/>
                  <a:pt x="2585720" y="1278444"/>
                </a:cubicBezTo>
                <a:cubicBezTo>
                  <a:pt x="2557145" y="1220659"/>
                  <a:pt x="2502535" y="1314004"/>
                  <a:pt x="2566670" y="1310829"/>
                </a:cubicBezTo>
                <a:cubicBezTo>
                  <a:pt x="2568575" y="1315909"/>
                  <a:pt x="2572385" y="1320354"/>
                  <a:pt x="2577465" y="1322894"/>
                </a:cubicBezTo>
                <a:cubicBezTo>
                  <a:pt x="2576195" y="1328609"/>
                  <a:pt x="2577465" y="1334959"/>
                  <a:pt x="2581275" y="1340674"/>
                </a:cubicBezTo>
                <a:cubicBezTo>
                  <a:pt x="2570480" y="1346388"/>
                  <a:pt x="2567305" y="1363534"/>
                  <a:pt x="2574290" y="1373059"/>
                </a:cubicBezTo>
                <a:cubicBezTo>
                  <a:pt x="2573020" y="1374329"/>
                  <a:pt x="2572385" y="1375599"/>
                  <a:pt x="2571750" y="1376869"/>
                </a:cubicBezTo>
                <a:cubicBezTo>
                  <a:pt x="2561590" y="1373059"/>
                  <a:pt x="2545080" y="1376234"/>
                  <a:pt x="2545080" y="1389569"/>
                </a:cubicBezTo>
                <a:cubicBezTo>
                  <a:pt x="2545080" y="1389569"/>
                  <a:pt x="2544445" y="1390204"/>
                  <a:pt x="2544445" y="1390204"/>
                </a:cubicBezTo>
                <a:cubicBezTo>
                  <a:pt x="2543175" y="1385759"/>
                  <a:pt x="2540000" y="1381313"/>
                  <a:pt x="2536190" y="1378774"/>
                </a:cubicBezTo>
                <a:cubicBezTo>
                  <a:pt x="2536190" y="1364169"/>
                  <a:pt x="2519680" y="1352104"/>
                  <a:pt x="2505710" y="1357184"/>
                </a:cubicBezTo>
                <a:cubicBezTo>
                  <a:pt x="2464435" y="1314638"/>
                  <a:pt x="2437130" y="1410524"/>
                  <a:pt x="2494280" y="1395919"/>
                </a:cubicBezTo>
                <a:cubicBezTo>
                  <a:pt x="2496185" y="1397824"/>
                  <a:pt x="2498090" y="1399729"/>
                  <a:pt x="2500630" y="1400999"/>
                </a:cubicBezTo>
                <a:cubicBezTo>
                  <a:pt x="2500630" y="1402269"/>
                  <a:pt x="2501265" y="1404174"/>
                  <a:pt x="2501900" y="1405444"/>
                </a:cubicBezTo>
                <a:cubicBezTo>
                  <a:pt x="2500630" y="1406713"/>
                  <a:pt x="2499360" y="1407984"/>
                  <a:pt x="2498725" y="1409888"/>
                </a:cubicBezTo>
                <a:cubicBezTo>
                  <a:pt x="2490470" y="1409888"/>
                  <a:pt x="2483485" y="1418144"/>
                  <a:pt x="2484755" y="1425763"/>
                </a:cubicBezTo>
                <a:cubicBezTo>
                  <a:pt x="2484755" y="1425763"/>
                  <a:pt x="2484120" y="1425763"/>
                  <a:pt x="2484120" y="1426399"/>
                </a:cubicBezTo>
                <a:cubicBezTo>
                  <a:pt x="2476500" y="1387029"/>
                  <a:pt x="2436495" y="1442274"/>
                  <a:pt x="2475865" y="1437194"/>
                </a:cubicBezTo>
                <a:cubicBezTo>
                  <a:pt x="2475865" y="1437194"/>
                  <a:pt x="2475865" y="1437194"/>
                  <a:pt x="2475865" y="1437194"/>
                </a:cubicBezTo>
                <a:cubicBezTo>
                  <a:pt x="2452370" y="1464499"/>
                  <a:pt x="2507615" y="1486724"/>
                  <a:pt x="2510155" y="1451163"/>
                </a:cubicBezTo>
                <a:cubicBezTo>
                  <a:pt x="2522220" y="1456879"/>
                  <a:pt x="2536825" y="1444813"/>
                  <a:pt x="2534920" y="1432113"/>
                </a:cubicBezTo>
                <a:cubicBezTo>
                  <a:pt x="2537460" y="1427034"/>
                  <a:pt x="2538095" y="1421319"/>
                  <a:pt x="2536825" y="1415604"/>
                </a:cubicBezTo>
                <a:cubicBezTo>
                  <a:pt x="2539365" y="1414334"/>
                  <a:pt x="2541270" y="1411794"/>
                  <a:pt x="2542540" y="1409254"/>
                </a:cubicBezTo>
                <a:cubicBezTo>
                  <a:pt x="2546985" y="1416238"/>
                  <a:pt x="2555875" y="1418779"/>
                  <a:pt x="2563495" y="1414969"/>
                </a:cubicBezTo>
                <a:cubicBezTo>
                  <a:pt x="2570480" y="1415604"/>
                  <a:pt x="2578735" y="1411159"/>
                  <a:pt x="2581910" y="1404809"/>
                </a:cubicBezTo>
                <a:cubicBezTo>
                  <a:pt x="2586355" y="1406079"/>
                  <a:pt x="2590800" y="1405444"/>
                  <a:pt x="2594610" y="1402904"/>
                </a:cubicBezTo>
                <a:lnTo>
                  <a:pt x="2594610" y="1402904"/>
                </a:lnTo>
                <a:cubicBezTo>
                  <a:pt x="2604770" y="1399094"/>
                  <a:pt x="2609850" y="1386394"/>
                  <a:pt x="2604135" y="1376869"/>
                </a:cubicBezTo>
                <a:cubicBezTo>
                  <a:pt x="2606040" y="1375599"/>
                  <a:pt x="2607310" y="1374329"/>
                  <a:pt x="2607945" y="1373059"/>
                </a:cubicBezTo>
                <a:cubicBezTo>
                  <a:pt x="2612390" y="1379409"/>
                  <a:pt x="2621280" y="1381313"/>
                  <a:pt x="2628265" y="1377504"/>
                </a:cubicBezTo>
                <a:lnTo>
                  <a:pt x="2628265" y="1377504"/>
                </a:lnTo>
                <a:cubicBezTo>
                  <a:pt x="2634615" y="1373694"/>
                  <a:pt x="2637155" y="1366709"/>
                  <a:pt x="2635885" y="1360359"/>
                </a:cubicBezTo>
                <a:cubicBezTo>
                  <a:pt x="2638425" y="1360994"/>
                  <a:pt x="2641600" y="1360359"/>
                  <a:pt x="2644140" y="1359724"/>
                </a:cubicBezTo>
                <a:cubicBezTo>
                  <a:pt x="2652395" y="1366709"/>
                  <a:pt x="2665730" y="1362899"/>
                  <a:pt x="2669540" y="1352738"/>
                </a:cubicBezTo>
                <a:cubicBezTo>
                  <a:pt x="2673985" y="1349563"/>
                  <a:pt x="2676525" y="1345119"/>
                  <a:pt x="2677795" y="1340674"/>
                </a:cubicBezTo>
                <a:cubicBezTo>
                  <a:pt x="2690495" y="1349563"/>
                  <a:pt x="2707005" y="1334324"/>
                  <a:pt x="2700020" y="1320988"/>
                </a:cubicBezTo>
                <a:cubicBezTo>
                  <a:pt x="2703830" y="1320354"/>
                  <a:pt x="2707640" y="1317179"/>
                  <a:pt x="2708910" y="1313369"/>
                </a:cubicBezTo>
                <a:cubicBezTo>
                  <a:pt x="2716530" y="1326704"/>
                  <a:pt x="2738120" y="1322259"/>
                  <a:pt x="2740025" y="1307654"/>
                </a:cubicBezTo>
                <a:cubicBezTo>
                  <a:pt x="2743200" y="1308288"/>
                  <a:pt x="2746375" y="1308288"/>
                  <a:pt x="2748915" y="1307019"/>
                </a:cubicBezTo>
                <a:cubicBezTo>
                  <a:pt x="2760345" y="1310194"/>
                  <a:pt x="2770505" y="1297494"/>
                  <a:pt x="2766695" y="1286699"/>
                </a:cubicBezTo>
                <a:cubicBezTo>
                  <a:pt x="2768600" y="1282254"/>
                  <a:pt x="2769235" y="1279079"/>
                  <a:pt x="2767330" y="1275269"/>
                </a:cubicBezTo>
                <a:close/>
                <a:moveTo>
                  <a:pt x="2615565" y="1342579"/>
                </a:moveTo>
                <a:cubicBezTo>
                  <a:pt x="2616835" y="1341309"/>
                  <a:pt x="2618105" y="1340038"/>
                  <a:pt x="2618740" y="1338134"/>
                </a:cubicBezTo>
                <a:cubicBezTo>
                  <a:pt x="2618740" y="1339404"/>
                  <a:pt x="2618740" y="1340674"/>
                  <a:pt x="2618740" y="1341309"/>
                </a:cubicBezTo>
                <a:cubicBezTo>
                  <a:pt x="2618105" y="1341944"/>
                  <a:pt x="2616835" y="1341944"/>
                  <a:pt x="2615565" y="1342579"/>
                </a:cubicBezTo>
                <a:close/>
                <a:moveTo>
                  <a:pt x="2684145" y="1310194"/>
                </a:moveTo>
                <a:cubicBezTo>
                  <a:pt x="2684780" y="1309559"/>
                  <a:pt x="2684780" y="1308924"/>
                  <a:pt x="2685415" y="1308924"/>
                </a:cubicBezTo>
                <a:cubicBezTo>
                  <a:pt x="2685415" y="1309559"/>
                  <a:pt x="2685415" y="1310194"/>
                  <a:pt x="2685415" y="1310829"/>
                </a:cubicBezTo>
                <a:cubicBezTo>
                  <a:pt x="2685415" y="1310194"/>
                  <a:pt x="2684780" y="1310194"/>
                  <a:pt x="2684145" y="1310194"/>
                </a:cubicBezTo>
                <a:close/>
                <a:moveTo>
                  <a:pt x="2458085" y="1446084"/>
                </a:moveTo>
                <a:cubicBezTo>
                  <a:pt x="2452370" y="1433384"/>
                  <a:pt x="2435860" y="1428938"/>
                  <a:pt x="2424430" y="1435924"/>
                </a:cubicBezTo>
                <a:cubicBezTo>
                  <a:pt x="2385060" y="1411794"/>
                  <a:pt x="2367280" y="1485454"/>
                  <a:pt x="2413000" y="1482279"/>
                </a:cubicBezTo>
                <a:cubicBezTo>
                  <a:pt x="2413000" y="1483549"/>
                  <a:pt x="2413635" y="1484184"/>
                  <a:pt x="2414270" y="1485454"/>
                </a:cubicBezTo>
                <a:cubicBezTo>
                  <a:pt x="2366645" y="1501329"/>
                  <a:pt x="2433320" y="1552763"/>
                  <a:pt x="2437130" y="1503234"/>
                </a:cubicBezTo>
                <a:cubicBezTo>
                  <a:pt x="2444115" y="1504504"/>
                  <a:pt x="2451735" y="1502599"/>
                  <a:pt x="2456815" y="1496884"/>
                </a:cubicBezTo>
                <a:lnTo>
                  <a:pt x="2456815" y="1496884"/>
                </a:lnTo>
                <a:cubicBezTo>
                  <a:pt x="2468880" y="1484184"/>
                  <a:pt x="2477770" y="1456244"/>
                  <a:pt x="2458085" y="1446084"/>
                </a:cubicBezTo>
                <a:close/>
                <a:moveTo>
                  <a:pt x="2823845" y="1241613"/>
                </a:moveTo>
                <a:cubicBezTo>
                  <a:pt x="2823845" y="1232724"/>
                  <a:pt x="2814955" y="1224469"/>
                  <a:pt x="2806700" y="1224469"/>
                </a:cubicBezTo>
                <a:cubicBezTo>
                  <a:pt x="2789555" y="1189544"/>
                  <a:pt x="2746375" y="1237804"/>
                  <a:pt x="2783205" y="1251138"/>
                </a:cubicBezTo>
                <a:cubicBezTo>
                  <a:pt x="2767965" y="1264474"/>
                  <a:pt x="2788285" y="1289874"/>
                  <a:pt x="2804795" y="1277174"/>
                </a:cubicBezTo>
                <a:cubicBezTo>
                  <a:pt x="2809875" y="1278444"/>
                  <a:pt x="2815590" y="1275904"/>
                  <a:pt x="2818765" y="1272094"/>
                </a:cubicBezTo>
                <a:cubicBezTo>
                  <a:pt x="2836545" y="1274634"/>
                  <a:pt x="2841625" y="1245424"/>
                  <a:pt x="2823845" y="1241613"/>
                </a:cubicBezTo>
                <a:close/>
                <a:moveTo>
                  <a:pt x="3187065" y="1094294"/>
                </a:moveTo>
                <a:cubicBezTo>
                  <a:pt x="3178810" y="1096834"/>
                  <a:pt x="3175000" y="1106994"/>
                  <a:pt x="3179445" y="1113979"/>
                </a:cubicBezTo>
                <a:cubicBezTo>
                  <a:pt x="3176905" y="1112074"/>
                  <a:pt x="3174365" y="1111438"/>
                  <a:pt x="3171190" y="1111438"/>
                </a:cubicBezTo>
                <a:cubicBezTo>
                  <a:pt x="3178810" y="1104454"/>
                  <a:pt x="3175635" y="1090484"/>
                  <a:pt x="3166110" y="1086674"/>
                </a:cubicBezTo>
                <a:cubicBezTo>
                  <a:pt x="3181985" y="1040954"/>
                  <a:pt x="3104515" y="1068894"/>
                  <a:pt x="3146425" y="1093659"/>
                </a:cubicBezTo>
                <a:cubicBezTo>
                  <a:pt x="3140075" y="1103819"/>
                  <a:pt x="3150235" y="1118424"/>
                  <a:pt x="3161665" y="1115884"/>
                </a:cubicBezTo>
                <a:cubicBezTo>
                  <a:pt x="3146425" y="1139379"/>
                  <a:pt x="3192780" y="1143824"/>
                  <a:pt x="3183255" y="1118424"/>
                </a:cubicBezTo>
                <a:cubicBezTo>
                  <a:pt x="3207385" y="1134934"/>
                  <a:pt x="3215005" y="1087309"/>
                  <a:pt x="3187065" y="1094294"/>
                </a:cubicBezTo>
                <a:close/>
                <a:moveTo>
                  <a:pt x="2390775" y="1503234"/>
                </a:moveTo>
                <a:cubicBezTo>
                  <a:pt x="2402205" y="1491804"/>
                  <a:pt x="2386330" y="1472754"/>
                  <a:pt x="2372995" y="1481644"/>
                </a:cubicBezTo>
                <a:cubicBezTo>
                  <a:pt x="2352040" y="1457513"/>
                  <a:pt x="2337435" y="1509584"/>
                  <a:pt x="2367915" y="1500059"/>
                </a:cubicBezTo>
                <a:cubicBezTo>
                  <a:pt x="2368550" y="1501329"/>
                  <a:pt x="2369185" y="1502599"/>
                  <a:pt x="2370455" y="1503869"/>
                </a:cubicBezTo>
                <a:cubicBezTo>
                  <a:pt x="2363470" y="1500694"/>
                  <a:pt x="2353945" y="1503869"/>
                  <a:pt x="2350770" y="1511488"/>
                </a:cubicBezTo>
                <a:cubicBezTo>
                  <a:pt x="2347595" y="1512759"/>
                  <a:pt x="2343785" y="1515299"/>
                  <a:pt x="2341245" y="1517838"/>
                </a:cubicBezTo>
                <a:cubicBezTo>
                  <a:pt x="2336165" y="1515934"/>
                  <a:pt x="2331085" y="1515934"/>
                  <a:pt x="2326005" y="1517838"/>
                </a:cubicBezTo>
                <a:cubicBezTo>
                  <a:pt x="2324100" y="1517204"/>
                  <a:pt x="2321560" y="1516569"/>
                  <a:pt x="2319655" y="1517204"/>
                </a:cubicBezTo>
                <a:cubicBezTo>
                  <a:pt x="2316480" y="1510219"/>
                  <a:pt x="2307590" y="1508313"/>
                  <a:pt x="2301240" y="1512124"/>
                </a:cubicBezTo>
                <a:cubicBezTo>
                  <a:pt x="2301240" y="1512124"/>
                  <a:pt x="2301240" y="1512124"/>
                  <a:pt x="2301240" y="1512124"/>
                </a:cubicBezTo>
                <a:cubicBezTo>
                  <a:pt x="2290445" y="1518474"/>
                  <a:pt x="2296160" y="1535619"/>
                  <a:pt x="2308225" y="1535619"/>
                </a:cubicBezTo>
                <a:cubicBezTo>
                  <a:pt x="2308225" y="1536254"/>
                  <a:pt x="2308225" y="1536254"/>
                  <a:pt x="2308860" y="1536888"/>
                </a:cubicBezTo>
                <a:cubicBezTo>
                  <a:pt x="2308225" y="1540063"/>
                  <a:pt x="2308225" y="1542604"/>
                  <a:pt x="2308860" y="1545779"/>
                </a:cubicBezTo>
                <a:cubicBezTo>
                  <a:pt x="2293620" y="1538159"/>
                  <a:pt x="2279015" y="1559749"/>
                  <a:pt x="2291715" y="1571179"/>
                </a:cubicBezTo>
                <a:cubicBezTo>
                  <a:pt x="2289175" y="1574354"/>
                  <a:pt x="2287905" y="1578799"/>
                  <a:pt x="2287905" y="1582609"/>
                </a:cubicBezTo>
                <a:cubicBezTo>
                  <a:pt x="2285365" y="1583244"/>
                  <a:pt x="2283460" y="1584513"/>
                  <a:pt x="2281555" y="1585784"/>
                </a:cubicBezTo>
                <a:cubicBezTo>
                  <a:pt x="2273935" y="1585784"/>
                  <a:pt x="2266315" y="1590229"/>
                  <a:pt x="2262505" y="1597213"/>
                </a:cubicBezTo>
                <a:cubicBezTo>
                  <a:pt x="2259965" y="1594674"/>
                  <a:pt x="2257425" y="1593404"/>
                  <a:pt x="2254250" y="1592769"/>
                </a:cubicBezTo>
                <a:cubicBezTo>
                  <a:pt x="2249805" y="1585149"/>
                  <a:pt x="2239645" y="1583244"/>
                  <a:pt x="2232660" y="1588324"/>
                </a:cubicBezTo>
                <a:cubicBezTo>
                  <a:pt x="2232660" y="1588324"/>
                  <a:pt x="2232660" y="1588324"/>
                  <a:pt x="2232660" y="1588324"/>
                </a:cubicBezTo>
                <a:cubicBezTo>
                  <a:pt x="2223135" y="1594674"/>
                  <a:pt x="2223770" y="1609279"/>
                  <a:pt x="2233930" y="1614359"/>
                </a:cubicBezTo>
                <a:cubicBezTo>
                  <a:pt x="2206625" y="1620074"/>
                  <a:pt x="2223135" y="1662619"/>
                  <a:pt x="2247265" y="1648013"/>
                </a:cubicBezTo>
                <a:cubicBezTo>
                  <a:pt x="2259965" y="1654363"/>
                  <a:pt x="2277110" y="1647379"/>
                  <a:pt x="2281555" y="1634044"/>
                </a:cubicBezTo>
                <a:cubicBezTo>
                  <a:pt x="2282190" y="1634044"/>
                  <a:pt x="2282825" y="1633409"/>
                  <a:pt x="2283460" y="1633409"/>
                </a:cubicBezTo>
                <a:cubicBezTo>
                  <a:pt x="2290445" y="1634044"/>
                  <a:pt x="2297430" y="1630869"/>
                  <a:pt x="2301875" y="1625788"/>
                </a:cubicBezTo>
                <a:cubicBezTo>
                  <a:pt x="2313940" y="1623249"/>
                  <a:pt x="2321560" y="1609279"/>
                  <a:pt x="2317750" y="1597849"/>
                </a:cubicBezTo>
                <a:cubicBezTo>
                  <a:pt x="2324100" y="1594038"/>
                  <a:pt x="2327275" y="1586419"/>
                  <a:pt x="2326005" y="1579434"/>
                </a:cubicBezTo>
                <a:cubicBezTo>
                  <a:pt x="2328545" y="1578163"/>
                  <a:pt x="2330450" y="1576259"/>
                  <a:pt x="2332355" y="1573719"/>
                </a:cubicBezTo>
                <a:cubicBezTo>
                  <a:pt x="2341880" y="1585784"/>
                  <a:pt x="2362835" y="1580704"/>
                  <a:pt x="2366010" y="1565463"/>
                </a:cubicBezTo>
                <a:cubicBezTo>
                  <a:pt x="2383790" y="1568004"/>
                  <a:pt x="2395855" y="1546413"/>
                  <a:pt x="2396490" y="1531174"/>
                </a:cubicBezTo>
                <a:cubicBezTo>
                  <a:pt x="2402840" y="1523554"/>
                  <a:pt x="2400935" y="1508313"/>
                  <a:pt x="2390775" y="1503234"/>
                </a:cubicBezTo>
                <a:close/>
                <a:moveTo>
                  <a:pt x="3235325" y="1088579"/>
                </a:moveTo>
                <a:cubicBezTo>
                  <a:pt x="3248660" y="1084134"/>
                  <a:pt x="3248025" y="1063179"/>
                  <a:pt x="3234055" y="1059369"/>
                </a:cubicBezTo>
                <a:cubicBezTo>
                  <a:pt x="3270885" y="1013013"/>
                  <a:pt x="3171190" y="1028888"/>
                  <a:pt x="3220720" y="1061274"/>
                </a:cubicBezTo>
                <a:cubicBezTo>
                  <a:pt x="3206115" y="1070799"/>
                  <a:pt x="3219450" y="1094929"/>
                  <a:pt x="3235325" y="1088579"/>
                </a:cubicBezTo>
                <a:close/>
                <a:moveTo>
                  <a:pt x="3228975" y="1094294"/>
                </a:moveTo>
                <a:cubicBezTo>
                  <a:pt x="3213100" y="1098738"/>
                  <a:pt x="3220085" y="1123504"/>
                  <a:pt x="3235960" y="1118424"/>
                </a:cubicBezTo>
                <a:cubicBezTo>
                  <a:pt x="3252470" y="1114613"/>
                  <a:pt x="3244850" y="1089213"/>
                  <a:pt x="3228975" y="1094294"/>
                </a:cubicBezTo>
                <a:close/>
                <a:moveTo>
                  <a:pt x="3253105" y="1072704"/>
                </a:moveTo>
                <a:cubicBezTo>
                  <a:pt x="3235325" y="1077784"/>
                  <a:pt x="3244850" y="1105724"/>
                  <a:pt x="3261995" y="1099374"/>
                </a:cubicBezTo>
                <a:cubicBezTo>
                  <a:pt x="3279140" y="1093659"/>
                  <a:pt x="3270250" y="1066354"/>
                  <a:pt x="3253105" y="1072704"/>
                </a:cubicBezTo>
                <a:close/>
                <a:moveTo>
                  <a:pt x="2992120" y="1167319"/>
                </a:moveTo>
                <a:cubicBezTo>
                  <a:pt x="2988945" y="1168588"/>
                  <a:pt x="2986405" y="1171129"/>
                  <a:pt x="2985135" y="1174304"/>
                </a:cubicBezTo>
                <a:cubicBezTo>
                  <a:pt x="2969260" y="1183829"/>
                  <a:pt x="2987040" y="1207324"/>
                  <a:pt x="3000375" y="1194624"/>
                </a:cubicBezTo>
                <a:cubicBezTo>
                  <a:pt x="3020060" y="1190813"/>
                  <a:pt x="3010535" y="1159699"/>
                  <a:pt x="2992120" y="1167319"/>
                </a:cubicBezTo>
                <a:close/>
                <a:moveTo>
                  <a:pt x="3023235" y="1144459"/>
                </a:moveTo>
                <a:cubicBezTo>
                  <a:pt x="3007360" y="1106359"/>
                  <a:pt x="2967355" y="1162874"/>
                  <a:pt x="3007995" y="1165413"/>
                </a:cubicBezTo>
                <a:cubicBezTo>
                  <a:pt x="3023870" y="1195894"/>
                  <a:pt x="3056890" y="1149538"/>
                  <a:pt x="3023235" y="1144459"/>
                </a:cubicBezTo>
                <a:close/>
                <a:moveTo>
                  <a:pt x="3028950" y="1091754"/>
                </a:moveTo>
                <a:cubicBezTo>
                  <a:pt x="3061970" y="1030794"/>
                  <a:pt x="2950210" y="1070163"/>
                  <a:pt x="3013710" y="1096834"/>
                </a:cubicBezTo>
                <a:cubicBezTo>
                  <a:pt x="3007995" y="1102549"/>
                  <a:pt x="3006090" y="1111438"/>
                  <a:pt x="3010535" y="1119059"/>
                </a:cubicBezTo>
                <a:cubicBezTo>
                  <a:pt x="3031490" y="1149538"/>
                  <a:pt x="3065145" y="1098738"/>
                  <a:pt x="3028950" y="1091754"/>
                </a:cubicBezTo>
                <a:close/>
                <a:moveTo>
                  <a:pt x="3056890" y="1141919"/>
                </a:moveTo>
                <a:cubicBezTo>
                  <a:pt x="3052445" y="1143824"/>
                  <a:pt x="3049270" y="1146999"/>
                  <a:pt x="3048000" y="1151444"/>
                </a:cubicBezTo>
                <a:cubicBezTo>
                  <a:pt x="3023870" y="1159063"/>
                  <a:pt x="3050540" y="1190813"/>
                  <a:pt x="3062605" y="1169224"/>
                </a:cubicBezTo>
                <a:cubicBezTo>
                  <a:pt x="3083560" y="1167954"/>
                  <a:pt x="3076575" y="1134299"/>
                  <a:pt x="3056890" y="1141919"/>
                </a:cubicBezTo>
                <a:close/>
                <a:moveTo>
                  <a:pt x="3121660" y="1117788"/>
                </a:moveTo>
                <a:cubicBezTo>
                  <a:pt x="3115945" y="1119694"/>
                  <a:pt x="3112135" y="1125409"/>
                  <a:pt x="3112135" y="1131124"/>
                </a:cubicBezTo>
                <a:cubicBezTo>
                  <a:pt x="3110230" y="1131124"/>
                  <a:pt x="3107690" y="1131124"/>
                  <a:pt x="3105785" y="1132394"/>
                </a:cubicBezTo>
                <a:cubicBezTo>
                  <a:pt x="3107055" y="1125409"/>
                  <a:pt x="3101975" y="1117788"/>
                  <a:pt x="3094990" y="1115884"/>
                </a:cubicBezTo>
                <a:cubicBezTo>
                  <a:pt x="3097530" y="1103184"/>
                  <a:pt x="3082290" y="1092388"/>
                  <a:pt x="3070860" y="1098104"/>
                </a:cubicBezTo>
                <a:cubicBezTo>
                  <a:pt x="3056890" y="1104454"/>
                  <a:pt x="3059430" y="1127313"/>
                  <a:pt x="3074670" y="1129854"/>
                </a:cubicBezTo>
                <a:cubicBezTo>
                  <a:pt x="3074035" y="1141919"/>
                  <a:pt x="3088005" y="1150174"/>
                  <a:pt x="3097530" y="1143824"/>
                </a:cubicBezTo>
                <a:cubicBezTo>
                  <a:pt x="3096895" y="1160334"/>
                  <a:pt x="3122295" y="1160969"/>
                  <a:pt x="3122930" y="1145094"/>
                </a:cubicBezTo>
                <a:cubicBezTo>
                  <a:pt x="3147060" y="1148904"/>
                  <a:pt x="3144520" y="1110169"/>
                  <a:pt x="3121660" y="1117788"/>
                </a:cubicBezTo>
                <a:close/>
                <a:moveTo>
                  <a:pt x="2884170" y="1098104"/>
                </a:moveTo>
                <a:cubicBezTo>
                  <a:pt x="2861945" y="1114613"/>
                  <a:pt x="2888615" y="1148904"/>
                  <a:pt x="2910205" y="1131759"/>
                </a:cubicBezTo>
                <a:cubicBezTo>
                  <a:pt x="2931795" y="1115249"/>
                  <a:pt x="2905760" y="1080959"/>
                  <a:pt x="2884170" y="1098104"/>
                </a:cubicBezTo>
                <a:close/>
                <a:moveTo>
                  <a:pt x="2200910" y="1651824"/>
                </a:moveTo>
                <a:cubicBezTo>
                  <a:pt x="2200910" y="1651824"/>
                  <a:pt x="2200275" y="1651824"/>
                  <a:pt x="2200275" y="1651824"/>
                </a:cubicBezTo>
                <a:cubicBezTo>
                  <a:pt x="2199640" y="1648013"/>
                  <a:pt x="2197100" y="1644204"/>
                  <a:pt x="2193290" y="1641663"/>
                </a:cubicBezTo>
                <a:cubicBezTo>
                  <a:pt x="2191385" y="1623249"/>
                  <a:pt x="2163445" y="1623884"/>
                  <a:pt x="2162810" y="1642299"/>
                </a:cubicBezTo>
                <a:cubicBezTo>
                  <a:pt x="2162175" y="1641029"/>
                  <a:pt x="2161540" y="1639124"/>
                  <a:pt x="2160270" y="1637854"/>
                </a:cubicBezTo>
                <a:cubicBezTo>
                  <a:pt x="2176780" y="1613088"/>
                  <a:pt x="2126615" y="1609913"/>
                  <a:pt x="2139950" y="1636584"/>
                </a:cubicBezTo>
                <a:cubicBezTo>
                  <a:pt x="2121535" y="1654999"/>
                  <a:pt x="2159635" y="1674049"/>
                  <a:pt x="2163445" y="1648649"/>
                </a:cubicBezTo>
                <a:cubicBezTo>
                  <a:pt x="2164080" y="1650554"/>
                  <a:pt x="2165350" y="1652459"/>
                  <a:pt x="2166620" y="1654363"/>
                </a:cubicBezTo>
                <a:cubicBezTo>
                  <a:pt x="2165985" y="1658174"/>
                  <a:pt x="2167255" y="1661984"/>
                  <a:pt x="2169795" y="1665159"/>
                </a:cubicBezTo>
                <a:cubicBezTo>
                  <a:pt x="2152650" y="1660713"/>
                  <a:pt x="2139950" y="1684209"/>
                  <a:pt x="2153285" y="1695638"/>
                </a:cubicBezTo>
                <a:cubicBezTo>
                  <a:pt x="2150745" y="1700084"/>
                  <a:pt x="2150110" y="1705163"/>
                  <a:pt x="2150745" y="1710244"/>
                </a:cubicBezTo>
                <a:cubicBezTo>
                  <a:pt x="2145665" y="1707069"/>
                  <a:pt x="2139950" y="1705799"/>
                  <a:pt x="2134235" y="1707069"/>
                </a:cubicBezTo>
                <a:cubicBezTo>
                  <a:pt x="2135505" y="1701988"/>
                  <a:pt x="2134870" y="1696274"/>
                  <a:pt x="2131695" y="1691829"/>
                </a:cubicBezTo>
                <a:cubicBezTo>
                  <a:pt x="2136775" y="1678494"/>
                  <a:pt x="2120265" y="1665159"/>
                  <a:pt x="2108835" y="1673413"/>
                </a:cubicBezTo>
                <a:cubicBezTo>
                  <a:pt x="2124075" y="1646744"/>
                  <a:pt x="2072640" y="1648013"/>
                  <a:pt x="2089150" y="1674049"/>
                </a:cubicBezTo>
                <a:cubicBezTo>
                  <a:pt x="2087880" y="1674684"/>
                  <a:pt x="2086610" y="1675319"/>
                  <a:pt x="2085340" y="1675954"/>
                </a:cubicBezTo>
                <a:cubicBezTo>
                  <a:pt x="2085340" y="1675954"/>
                  <a:pt x="2085340" y="1675954"/>
                  <a:pt x="2085340" y="1675954"/>
                </a:cubicBezTo>
                <a:cubicBezTo>
                  <a:pt x="2070100" y="1686749"/>
                  <a:pt x="2087245" y="1709609"/>
                  <a:pt x="2101850" y="1698813"/>
                </a:cubicBezTo>
                <a:cubicBezTo>
                  <a:pt x="2100580" y="1705163"/>
                  <a:pt x="2103120" y="1712149"/>
                  <a:pt x="2108835" y="1715959"/>
                </a:cubicBezTo>
                <a:cubicBezTo>
                  <a:pt x="2108200" y="1716594"/>
                  <a:pt x="2107565" y="1717863"/>
                  <a:pt x="2107565" y="1719134"/>
                </a:cubicBezTo>
                <a:cubicBezTo>
                  <a:pt x="2078355" y="1700084"/>
                  <a:pt x="2065655" y="1755963"/>
                  <a:pt x="2099945" y="1752154"/>
                </a:cubicBezTo>
                <a:cubicBezTo>
                  <a:pt x="2099310" y="1755329"/>
                  <a:pt x="2099310" y="1758504"/>
                  <a:pt x="2099945" y="1761679"/>
                </a:cubicBezTo>
                <a:cubicBezTo>
                  <a:pt x="2091055" y="1759774"/>
                  <a:pt x="2080895" y="1762949"/>
                  <a:pt x="2074545" y="1770569"/>
                </a:cubicBezTo>
                <a:cubicBezTo>
                  <a:pt x="2072005" y="1768663"/>
                  <a:pt x="2068195" y="1767394"/>
                  <a:pt x="2065020" y="1766759"/>
                </a:cubicBezTo>
                <a:cubicBezTo>
                  <a:pt x="2063750" y="1765488"/>
                  <a:pt x="2062480" y="1764854"/>
                  <a:pt x="2061210" y="1764219"/>
                </a:cubicBezTo>
                <a:cubicBezTo>
                  <a:pt x="2069465" y="1759774"/>
                  <a:pt x="2072005" y="1748979"/>
                  <a:pt x="2067560" y="1741359"/>
                </a:cubicBezTo>
                <a:cubicBezTo>
                  <a:pt x="2080260" y="1728659"/>
                  <a:pt x="2061845" y="1707069"/>
                  <a:pt x="2047240" y="1717863"/>
                </a:cubicBezTo>
                <a:cubicBezTo>
                  <a:pt x="2026285" y="1694369"/>
                  <a:pt x="2007870" y="1743899"/>
                  <a:pt x="2038985" y="1740088"/>
                </a:cubicBezTo>
                <a:cubicBezTo>
                  <a:pt x="2033270" y="1747709"/>
                  <a:pt x="2035175" y="1759138"/>
                  <a:pt x="2043430" y="1764219"/>
                </a:cubicBezTo>
                <a:cubicBezTo>
                  <a:pt x="2040890" y="1765488"/>
                  <a:pt x="2038350" y="1767394"/>
                  <a:pt x="2036445" y="1769934"/>
                </a:cubicBezTo>
                <a:cubicBezTo>
                  <a:pt x="2001520" y="1752154"/>
                  <a:pt x="2000250" y="1817559"/>
                  <a:pt x="2035810" y="1801049"/>
                </a:cubicBezTo>
                <a:cubicBezTo>
                  <a:pt x="2035810" y="1802319"/>
                  <a:pt x="2035810" y="1803588"/>
                  <a:pt x="2035810" y="1804859"/>
                </a:cubicBezTo>
                <a:cubicBezTo>
                  <a:pt x="2019935" y="1807399"/>
                  <a:pt x="2011680" y="1827719"/>
                  <a:pt x="2020570" y="1841054"/>
                </a:cubicBezTo>
                <a:cubicBezTo>
                  <a:pt x="2015490" y="1838513"/>
                  <a:pt x="2009775" y="1837879"/>
                  <a:pt x="2004695" y="1839149"/>
                </a:cubicBezTo>
                <a:cubicBezTo>
                  <a:pt x="2003425" y="1835338"/>
                  <a:pt x="2000250" y="1832163"/>
                  <a:pt x="1996440" y="1829624"/>
                </a:cubicBezTo>
                <a:cubicBezTo>
                  <a:pt x="1991995" y="1818194"/>
                  <a:pt x="1977390" y="1813749"/>
                  <a:pt x="1967230" y="1820734"/>
                </a:cubicBezTo>
                <a:cubicBezTo>
                  <a:pt x="1938020" y="1802954"/>
                  <a:pt x="1925955" y="1858199"/>
                  <a:pt x="1960245" y="1853754"/>
                </a:cubicBezTo>
                <a:cubicBezTo>
                  <a:pt x="1955800" y="1859469"/>
                  <a:pt x="1954530" y="1867088"/>
                  <a:pt x="1956435" y="1873438"/>
                </a:cubicBezTo>
                <a:cubicBezTo>
                  <a:pt x="1888490" y="1891854"/>
                  <a:pt x="1986915" y="1959799"/>
                  <a:pt x="1979930" y="1889949"/>
                </a:cubicBezTo>
                <a:cubicBezTo>
                  <a:pt x="1985010" y="1889313"/>
                  <a:pt x="1990090" y="1887409"/>
                  <a:pt x="1993900" y="1883599"/>
                </a:cubicBezTo>
                <a:cubicBezTo>
                  <a:pt x="2015490" y="1902013"/>
                  <a:pt x="2047240" y="1872804"/>
                  <a:pt x="2030730" y="1849944"/>
                </a:cubicBezTo>
                <a:cubicBezTo>
                  <a:pt x="2047240" y="1858199"/>
                  <a:pt x="2067560" y="1842959"/>
                  <a:pt x="2064385" y="1825179"/>
                </a:cubicBezTo>
                <a:cubicBezTo>
                  <a:pt x="2072005" y="1823274"/>
                  <a:pt x="2078990" y="1815654"/>
                  <a:pt x="2080260" y="1808034"/>
                </a:cubicBezTo>
                <a:cubicBezTo>
                  <a:pt x="2098675" y="1820734"/>
                  <a:pt x="2124710" y="1801049"/>
                  <a:pt x="2117725" y="1780094"/>
                </a:cubicBezTo>
                <a:cubicBezTo>
                  <a:pt x="2131060" y="1783269"/>
                  <a:pt x="2145665" y="1771838"/>
                  <a:pt x="2146300" y="1758504"/>
                </a:cubicBezTo>
                <a:cubicBezTo>
                  <a:pt x="2160270" y="1753424"/>
                  <a:pt x="2160270" y="1738819"/>
                  <a:pt x="2159635" y="1726754"/>
                </a:cubicBezTo>
                <a:cubicBezTo>
                  <a:pt x="2174875" y="1740088"/>
                  <a:pt x="2200910" y="1727388"/>
                  <a:pt x="2200275" y="1707704"/>
                </a:cubicBezTo>
                <a:cubicBezTo>
                  <a:pt x="2210435" y="1708974"/>
                  <a:pt x="2221865" y="1701988"/>
                  <a:pt x="2224405" y="1691829"/>
                </a:cubicBezTo>
                <a:cubicBezTo>
                  <a:pt x="2238375" y="1686113"/>
                  <a:pt x="2242185" y="1667063"/>
                  <a:pt x="2232025" y="1656269"/>
                </a:cubicBezTo>
                <a:cubicBezTo>
                  <a:pt x="2226945" y="1644838"/>
                  <a:pt x="2210435" y="1642934"/>
                  <a:pt x="2200910" y="1651824"/>
                </a:cubicBezTo>
                <a:close/>
                <a:moveTo>
                  <a:pt x="2104390" y="1679129"/>
                </a:moveTo>
                <a:cubicBezTo>
                  <a:pt x="2104390" y="1679129"/>
                  <a:pt x="2103755" y="1678494"/>
                  <a:pt x="2103755" y="1678494"/>
                </a:cubicBezTo>
                <a:cubicBezTo>
                  <a:pt x="2104390" y="1678494"/>
                  <a:pt x="2105025" y="1677859"/>
                  <a:pt x="2105660" y="1677859"/>
                </a:cubicBezTo>
                <a:cubicBezTo>
                  <a:pt x="2105025" y="1677859"/>
                  <a:pt x="2105025" y="1678494"/>
                  <a:pt x="2104390" y="1679129"/>
                </a:cubicBezTo>
                <a:close/>
                <a:moveTo>
                  <a:pt x="932815" y="2471609"/>
                </a:moveTo>
                <a:cubicBezTo>
                  <a:pt x="905510" y="2418904"/>
                  <a:pt x="859155" y="2507169"/>
                  <a:pt x="917575" y="2499549"/>
                </a:cubicBezTo>
                <a:lnTo>
                  <a:pt x="917575" y="2499549"/>
                </a:lnTo>
                <a:cubicBezTo>
                  <a:pt x="929640" y="2495739"/>
                  <a:pt x="936625" y="2483039"/>
                  <a:pt x="932815" y="2471609"/>
                </a:cubicBezTo>
                <a:close/>
                <a:moveTo>
                  <a:pt x="1178560" y="2376359"/>
                </a:moveTo>
                <a:cubicBezTo>
                  <a:pt x="1190625" y="2403029"/>
                  <a:pt x="1232535" y="2383344"/>
                  <a:pt x="1219200" y="2357309"/>
                </a:cubicBezTo>
                <a:cubicBezTo>
                  <a:pt x="1207770" y="2330004"/>
                  <a:pt x="1166495" y="2349689"/>
                  <a:pt x="1178560" y="2376359"/>
                </a:cubicBezTo>
                <a:close/>
                <a:moveTo>
                  <a:pt x="1076325" y="2517329"/>
                </a:moveTo>
                <a:cubicBezTo>
                  <a:pt x="1047750" y="2533204"/>
                  <a:pt x="1073785" y="2578289"/>
                  <a:pt x="1101725" y="2561144"/>
                </a:cubicBezTo>
                <a:cubicBezTo>
                  <a:pt x="1130300" y="2545269"/>
                  <a:pt x="1104900" y="2500819"/>
                  <a:pt x="1076325" y="2517329"/>
                </a:cubicBezTo>
                <a:close/>
                <a:moveTo>
                  <a:pt x="1075055" y="2486214"/>
                </a:moveTo>
                <a:cubicBezTo>
                  <a:pt x="1062355" y="2457639"/>
                  <a:pt x="1017905" y="2478594"/>
                  <a:pt x="1031875" y="2506534"/>
                </a:cubicBezTo>
                <a:cubicBezTo>
                  <a:pt x="1044575" y="2535109"/>
                  <a:pt x="1088390" y="2514154"/>
                  <a:pt x="1075055" y="2486214"/>
                </a:cubicBezTo>
                <a:close/>
                <a:moveTo>
                  <a:pt x="975995" y="2531299"/>
                </a:moveTo>
                <a:cubicBezTo>
                  <a:pt x="964565" y="2502724"/>
                  <a:pt x="919480" y="2521139"/>
                  <a:pt x="931545" y="2549714"/>
                </a:cubicBezTo>
                <a:cubicBezTo>
                  <a:pt x="943610" y="2578924"/>
                  <a:pt x="988695" y="2559874"/>
                  <a:pt x="975995" y="2531299"/>
                </a:cubicBezTo>
                <a:close/>
                <a:moveTo>
                  <a:pt x="977265" y="2572574"/>
                </a:moveTo>
                <a:cubicBezTo>
                  <a:pt x="948055" y="2587814"/>
                  <a:pt x="972185" y="2633534"/>
                  <a:pt x="1000760" y="2617659"/>
                </a:cubicBezTo>
                <a:cubicBezTo>
                  <a:pt x="1029970" y="2602419"/>
                  <a:pt x="1005840" y="2556699"/>
                  <a:pt x="977265" y="2572574"/>
                </a:cubicBezTo>
                <a:close/>
                <a:moveTo>
                  <a:pt x="1029970" y="2437954"/>
                </a:moveTo>
                <a:cubicBezTo>
                  <a:pt x="1020445" y="2410014"/>
                  <a:pt x="977265" y="2425889"/>
                  <a:pt x="987425" y="2453194"/>
                </a:cubicBezTo>
                <a:cubicBezTo>
                  <a:pt x="997585" y="2481134"/>
                  <a:pt x="1040765" y="2465259"/>
                  <a:pt x="1029970" y="2437954"/>
                </a:cubicBezTo>
                <a:close/>
                <a:moveTo>
                  <a:pt x="1269365" y="2397314"/>
                </a:moveTo>
                <a:cubicBezTo>
                  <a:pt x="1250950" y="2319844"/>
                  <a:pt x="1180465" y="2435414"/>
                  <a:pt x="1257935" y="2416364"/>
                </a:cubicBezTo>
                <a:cubicBezTo>
                  <a:pt x="1275715" y="2500184"/>
                  <a:pt x="1352550" y="2375089"/>
                  <a:pt x="1269365" y="2397314"/>
                </a:cubicBezTo>
                <a:close/>
                <a:moveTo>
                  <a:pt x="1125855" y="2399219"/>
                </a:moveTo>
                <a:cubicBezTo>
                  <a:pt x="1115060" y="2371914"/>
                  <a:pt x="1072515" y="2389694"/>
                  <a:pt x="1083945" y="2416364"/>
                </a:cubicBezTo>
                <a:cubicBezTo>
                  <a:pt x="1095375" y="2444304"/>
                  <a:pt x="1137285" y="2425889"/>
                  <a:pt x="1125855" y="2399219"/>
                </a:cubicBezTo>
                <a:close/>
                <a:moveTo>
                  <a:pt x="1488440" y="2150934"/>
                </a:moveTo>
                <a:cubicBezTo>
                  <a:pt x="1464310" y="2163634"/>
                  <a:pt x="1484630" y="2201734"/>
                  <a:pt x="1508760" y="2188399"/>
                </a:cubicBezTo>
                <a:cubicBezTo>
                  <a:pt x="1532890" y="2175064"/>
                  <a:pt x="1512570" y="2136964"/>
                  <a:pt x="1488440" y="2150934"/>
                </a:cubicBezTo>
                <a:close/>
                <a:moveTo>
                  <a:pt x="1546860" y="2199194"/>
                </a:moveTo>
                <a:cubicBezTo>
                  <a:pt x="1546860" y="2199194"/>
                  <a:pt x="1546860" y="2199194"/>
                  <a:pt x="1546860" y="2199194"/>
                </a:cubicBezTo>
                <a:cubicBezTo>
                  <a:pt x="1543685" y="2201099"/>
                  <a:pt x="1541780" y="2204274"/>
                  <a:pt x="1539875" y="2206814"/>
                </a:cubicBezTo>
                <a:cubicBezTo>
                  <a:pt x="1482725" y="2162999"/>
                  <a:pt x="1490980" y="2284919"/>
                  <a:pt x="1541780" y="2234119"/>
                </a:cubicBezTo>
                <a:cubicBezTo>
                  <a:pt x="1550035" y="2245549"/>
                  <a:pt x="1565910" y="2247454"/>
                  <a:pt x="1577340" y="2239199"/>
                </a:cubicBezTo>
                <a:lnTo>
                  <a:pt x="1577340" y="2239199"/>
                </a:lnTo>
                <a:cubicBezTo>
                  <a:pt x="1604010" y="2220149"/>
                  <a:pt x="1572895" y="2178874"/>
                  <a:pt x="1546860" y="2199194"/>
                </a:cubicBezTo>
                <a:close/>
                <a:moveTo>
                  <a:pt x="1662430" y="2126169"/>
                </a:moveTo>
                <a:cubicBezTo>
                  <a:pt x="1696720" y="2067749"/>
                  <a:pt x="1583690" y="2089338"/>
                  <a:pt x="1636395" y="2131249"/>
                </a:cubicBezTo>
                <a:cubicBezTo>
                  <a:pt x="1632585" y="2135059"/>
                  <a:pt x="1630045" y="2139504"/>
                  <a:pt x="1628775" y="2143949"/>
                </a:cubicBezTo>
                <a:cubicBezTo>
                  <a:pt x="1616710" y="2136329"/>
                  <a:pt x="1607820" y="2134424"/>
                  <a:pt x="1601470" y="2135694"/>
                </a:cubicBezTo>
                <a:cubicBezTo>
                  <a:pt x="1607820" y="2130614"/>
                  <a:pt x="1607820" y="2120454"/>
                  <a:pt x="1593850" y="2102674"/>
                </a:cubicBezTo>
                <a:cubicBezTo>
                  <a:pt x="1616075" y="2102039"/>
                  <a:pt x="1618615" y="2068384"/>
                  <a:pt x="1597660" y="2063938"/>
                </a:cubicBezTo>
                <a:cubicBezTo>
                  <a:pt x="1630045" y="2013774"/>
                  <a:pt x="1530350" y="2034729"/>
                  <a:pt x="1580515" y="2067749"/>
                </a:cubicBezTo>
                <a:cubicBezTo>
                  <a:pt x="1569720" y="2076004"/>
                  <a:pt x="1570990" y="2093784"/>
                  <a:pt x="1583055" y="2100134"/>
                </a:cubicBezTo>
                <a:cubicBezTo>
                  <a:pt x="1534795" y="2122994"/>
                  <a:pt x="1576705" y="2143949"/>
                  <a:pt x="1596390" y="2138234"/>
                </a:cubicBezTo>
                <a:cubicBezTo>
                  <a:pt x="1577975" y="2153474"/>
                  <a:pt x="1602740" y="2216339"/>
                  <a:pt x="1634490" y="2165539"/>
                </a:cubicBezTo>
                <a:cubicBezTo>
                  <a:pt x="1661795" y="2198559"/>
                  <a:pt x="1701165" y="2142044"/>
                  <a:pt x="1662430" y="2126169"/>
                </a:cubicBezTo>
                <a:close/>
                <a:moveTo>
                  <a:pt x="1281430" y="2301429"/>
                </a:moveTo>
                <a:cubicBezTo>
                  <a:pt x="1254760" y="2314764"/>
                  <a:pt x="1276350" y="2355404"/>
                  <a:pt x="1301750" y="2341434"/>
                </a:cubicBezTo>
                <a:lnTo>
                  <a:pt x="1301750" y="2341434"/>
                </a:lnTo>
                <a:cubicBezTo>
                  <a:pt x="1328420" y="2328099"/>
                  <a:pt x="1307465" y="2287459"/>
                  <a:pt x="1281430" y="2301429"/>
                </a:cubicBezTo>
                <a:close/>
                <a:moveTo>
                  <a:pt x="1927860" y="1914079"/>
                </a:moveTo>
                <a:cubicBezTo>
                  <a:pt x="1930400" y="1907094"/>
                  <a:pt x="1929765" y="1898838"/>
                  <a:pt x="1924685" y="1893124"/>
                </a:cubicBezTo>
                <a:cubicBezTo>
                  <a:pt x="1926590" y="1880424"/>
                  <a:pt x="1912620" y="1868994"/>
                  <a:pt x="1900555" y="1872169"/>
                </a:cubicBezTo>
                <a:cubicBezTo>
                  <a:pt x="1891665" y="1861374"/>
                  <a:pt x="1871980" y="1866454"/>
                  <a:pt x="1869440" y="1880424"/>
                </a:cubicBezTo>
                <a:cubicBezTo>
                  <a:pt x="1831340" y="1823909"/>
                  <a:pt x="1826260" y="1940749"/>
                  <a:pt x="1869440" y="1887409"/>
                </a:cubicBezTo>
                <a:cubicBezTo>
                  <a:pt x="1870710" y="1896299"/>
                  <a:pt x="1879600" y="1903284"/>
                  <a:pt x="1887855" y="1902649"/>
                </a:cubicBezTo>
                <a:cubicBezTo>
                  <a:pt x="1887220" y="1905188"/>
                  <a:pt x="1887220" y="1907729"/>
                  <a:pt x="1887855" y="1910269"/>
                </a:cubicBezTo>
                <a:cubicBezTo>
                  <a:pt x="1876425" y="1915984"/>
                  <a:pt x="1871980" y="1930588"/>
                  <a:pt x="1878330" y="1941384"/>
                </a:cubicBezTo>
                <a:cubicBezTo>
                  <a:pt x="1866900" y="1938209"/>
                  <a:pt x="1852930" y="1945829"/>
                  <a:pt x="1850390" y="1957894"/>
                </a:cubicBezTo>
                <a:cubicBezTo>
                  <a:pt x="1849755" y="1955354"/>
                  <a:pt x="1849120" y="1953449"/>
                  <a:pt x="1847850" y="1951544"/>
                </a:cubicBezTo>
                <a:cubicBezTo>
                  <a:pt x="1854200" y="1940113"/>
                  <a:pt x="1845310" y="1923604"/>
                  <a:pt x="1831975" y="1923604"/>
                </a:cubicBezTo>
                <a:cubicBezTo>
                  <a:pt x="1826895" y="1910269"/>
                  <a:pt x="1807210" y="1907729"/>
                  <a:pt x="1799590" y="1920429"/>
                </a:cubicBezTo>
                <a:cubicBezTo>
                  <a:pt x="1772285" y="1865184"/>
                  <a:pt x="1746250" y="1967419"/>
                  <a:pt x="1796415" y="1931859"/>
                </a:cubicBezTo>
                <a:cubicBezTo>
                  <a:pt x="1797050" y="1939479"/>
                  <a:pt x="1803400" y="1947099"/>
                  <a:pt x="1811020" y="1948369"/>
                </a:cubicBezTo>
                <a:cubicBezTo>
                  <a:pt x="1811020" y="1949638"/>
                  <a:pt x="1811655" y="1950909"/>
                  <a:pt x="1812290" y="1952179"/>
                </a:cubicBezTo>
                <a:cubicBezTo>
                  <a:pt x="1808480" y="1957894"/>
                  <a:pt x="1807845" y="1964244"/>
                  <a:pt x="1810385" y="1970594"/>
                </a:cubicBezTo>
                <a:cubicBezTo>
                  <a:pt x="1791335" y="1974404"/>
                  <a:pt x="1788795" y="1999169"/>
                  <a:pt x="1801495" y="2009963"/>
                </a:cubicBezTo>
                <a:cubicBezTo>
                  <a:pt x="1795780" y="2006788"/>
                  <a:pt x="1786255" y="2006788"/>
                  <a:pt x="1772920" y="2011869"/>
                </a:cubicBezTo>
                <a:cubicBezTo>
                  <a:pt x="1772285" y="2012504"/>
                  <a:pt x="1771650" y="2013138"/>
                  <a:pt x="1771015" y="2013774"/>
                </a:cubicBezTo>
                <a:cubicBezTo>
                  <a:pt x="1770380" y="2011234"/>
                  <a:pt x="1769745" y="2008694"/>
                  <a:pt x="1767840" y="2006154"/>
                </a:cubicBezTo>
                <a:cubicBezTo>
                  <a:pt x="1778000" y="1996629"/>
                  <a:pt x="1772920" y="1976944"/>
                  <a:pt x="1759585" y="1973769"/>
                </a:cubicBezTo>
                <a:cubicBezTo>
                  <a:pt x="1760855" y="1957894"/>
                  <a:pt x="1739900" y="1948369"/>
                  <a:pt x="1728470" y="1960434"/>
                </a:cubicBezTo>
                <a:cubicBezTo>
                  <a:pt x="1720215" y="1905188"/>
                  <a:pt x="1663700" y="1981388"/>
                  <a:pt x="1718945" y="1973134"/>
                </a:cubicBezTo>
                <a:lnTo>
                  <a:pt x="1718945" y="1973134"/>
                </a:lnTo>
                <a:cubicBezTo>
                  <a:pt x="1720850" y="1972499"/>
                  <a:pt x="1722120" y="1971229"/>
                  <a:pt x="1723390" y="1969959"/>
                </a:cubicBezTo>
                <a:cubicBezTo>
                  <a:pt x="1721485" y="1978213"/>
                  <a:pt x="1726565" y="1987104"/>
                  <a:pt x="1734185" y="1990279"/>
                </a:cubicBezTo>
                <a:cubicBezTo>
                  <a:pt x="1733550" y="1994724"/>
                  <a:pt x="1734185" y="1998534"/>
                  <a:pt x="1736725" y="2002344"/>
                </a:cubicBezTo>
                <a:cubicBezTo>
                  <a:pt x="1729105" y="2009329"/>
                  <a:pt x="1727200" y="2020759"/>
                  <a:pt x="1732915" y="2029649"/>
                </a:cubicBezTo>
                <a:cubicBezTo>
                  <a:pt x="1710690" y="2028379"/>
                  <a:pt x="1701800" y="2061399"/>
                  <a:pt x="1721485" y="2071559"/>
                </a:cubicBezTo>
                <a:cubicBezTo>
                  <a:pt x="1720215" y="2074734"/>
                  <a:pt x="1720215" y="2078544"/>
                  <a:pt x="1720215" y="2082354"/>
                </a:cubicBezTo>
                <a:cubicBezTo>
                  <a:pt x="1713865" y="2072194"/>
                  <a:pt x="1699895" y="2069019"/>
                  <a:pt x="1689100" y="2074734"/>
                </a:cubicBezTo>
                <a:cubicBezTo>
                  <a:pt x="1690370" y="2068384"/>
                  <a:pt x="1688465" y="2061399"/>
                  <a:pt x="1684020" y="2056954"/>
                </a:cubicBezTo>
                <a:cubicBezTo>
                  <a:pt x="1698625" y="2049969"/>
                  <a:pt x="1696720" y="2026474"/>
                  <a:pt x="1681480" y="2021394"/>
                </a:cubicBezTo>
                <a:cubicBezTo>
                  <a:pt x="1693545" y="1975038"/>
                  <a:pt x="1617345" y="2003613"/>
                  <a:pt x="1657350" y="2030284"/>
                </a:cubicBezTo>
                <a:cubicBezTo>
                  <a:pt x="1653540" y="2036634"/>
                  <a:pt x="1654175" y="2046159"/>
                  <a:pt x="1659890" y="2051874"/>
                </a:cubicBezTo>
                <a:cubicBezTo>
                  <a:pt x="1635125" y="2062669"/>
                  <a:pt x="1652905" y="2102039"/>
                  <a:pt x="1677670" y="2090609"/>
                </a:cubicBezTo>
                <a:cubicBezTo>
                  <a:pt x="1669415" y="2126169"/>
                  <a:pt x="1727835" y="2129979"/>
                  <a:pt x="1724660" y="2093784"/>
                </a:cubicBezTo>
                <a:cubicBezTo>
                  <a:pt x="1749425" y="2130614"/>
                  <a:pt x="1795780" y="2073463"/>
                  <a:pt x="1755140" y="2056319"/>
                </a:cubicBezTo>
                <a:cubicBezTo>
                  <a:pt x="1756410" y="2050604"/>
                  <a:pt x="1755140" y="2044254"/>
                  <a:pt x="1751330" y="2039174"/>
                </a:cubicBezTo>
                <a:cubicBezTo>
                  <a:pt x="1755775" y="2039174"/>
                  <a:pt x="1760855" y="2037269"/>
                  <a:pt x="1764030" y="2034094"/>
                </a:cubicBezTo>
                <a:cubicBezTo>
                  <a:pt x="1788160" y="2088069"/>
                  <a:pt x="1823085" y="2028379"/>
                  <a:pt x="1804670" y="2011234"/>
                </a:cubicBezTo>
                <a:cubicBezTo>
                  <a:pt x="1806575" y="2012504"/>
                  <a:pt x="1808480" y="2013138"/>
                  <a:pt x="1811020" y="2013774"/>
                </a:cubicBezTo>
                <a:cubicBezTo>
                  <a:pt x="1828800" y="2072194"/>
                  <a:pt x="1897380" y="1995994"/>
                  <a:pt x="1837690" y="1984563"/>
                </a:cubicBezTo>
                <a:cubicBezTo>
                  <a:pt x="1837690" y="1983929"/>
                  <a:pt x="1837690" y="1983929"/>
                  <a:pt x="1837055" y="1983294"/>
                </a:cubicBezTo>
                <a:cubicBezTo>
                  <a:pt x="1843405" y="1981388"/>
                  <a:pt x="1849120" y="1975674"/>
                  <a:pt x="1851025" y="1969959"/>
                </a:cubicBezTo>
                <a:cubicBezTo>
                  <a:pt x="1858645" y="2006154"/>
                  <a:pt x="1913890" y="1983929"/>
                  <a:pt x="1894840" y="1952813"/>
                </a:cubicBezTo>
                <a:cubicBezTo>
                  <a:pt x="1898015" y="1953449"/>
                  <a:pt x="1901190" y="1953449"/>
                  <a:pt x="1904365" y="1952813"/>
                </a:cubicBezTo>
                <a:cubicBezTo>
                  <a:pt x="1931035" y="1992184"/>
                  <a:pt x="1975485" y="1924874"/>
                  <a:pt x="1927860" y="1914079"/>
                </a:cubicBezTo>
                <a:close/>
                <a:moveTo>
                  <a:pt x="1362710" y="2333179"/>
                </a:moveTo>
                <a:cubicBezTo>
                  <a:pt x="1362710" y="2333179"/>
                  <a:pt x="1362075" y="2333814"/>
                  <a:pt x="1362075" y="2333814"/>
                </a:cubicBezTo>
                <a:cubicBezTo>
                  <a:pt x="1327150" y="2270949"/>
                  <a:pt x="1285875" y="2385884"/>
                  <a:pt x="1352550" y="2359849"/>
                </a:cubicBezTo>
                <a:cubicBezTo>
                  <a:pt x="1388745" y="2428429"/>
                  <a:pt x="1435100" y="2305239"/>
                  <a:pt x="1362710" y="2333179"/>
                </a:cubicBezTo>
                <a:close/>
                <a:moveTo>
                  <a:pt x="1455420" y="2267139"/>
                </a:moveTo>
                <a:cubicBezTo>
                  <a:pt x="1454150" y="2268409"/>
                  <a:pt x="1452880" y="2269044"/>
                  <a:pt x="1451610" y="2270314"/>
                </a:cubicBezTo>
                <a:cubicBezTo>
                  <a:pt x="1404620" y="2219514"/>
                  <a:pt x="1388745" y="2336354"/>
                  <a:pt x="1447800" y="2299524"/>
                </a:cubicBezTo>
                <a:cubicBezTo>
                  <a:pt x="1454785" y="2313494"/>
                  <a:pt x="1473200" y="2317304"/>
                  <a:pt x="1485265" y="2308414"/>
                </a:cubicBezTo>
                <a:lnTo>
                  <a:pt x="1485265" y="2308414"/>
                </a:lnTo>
                <a:cubicBezTo>
                  <a:pt x="1512570" y="2288729"/>
                  <a:pt x="1482090" y="2247454"/>
                  <a:pt x="1455420" y="2267139"/>
                </a:cubicBezTo>
                <a:close/>
                <a:moveTo>
                  <a:pt x="1371600" y="2253169"/>
                </a:moveTo>
                <a:cubicBezTo>
                  <a:pt x="1345565" y="2267139"/>
                  <a:pt x="1368425" y="2307144"/>
                  <a:pt x="1393825" y="2292539"/>
                </a:cubicBezTo>
                <a:cubicBezTo>
                  <a:pt x="1419860" y="2278569"/>
                  <a:pt x="1397000" y="2238564"/>
                  <a:pt x="1371600" y="2253169"/>
                </a:cubicBezTo>
                <a:close/>
                <a:moveTo>
                  <a:pt x="3589020" y="971104"/>
                </a:moveTo>
                <a:cubicBezTo>
                  <a:pt x="3608705" y="966024"/>
                  <a:pt x="3599815" y="935544"/>
                  <a:pt x="3580765" y="941259"/>
                </a:cubicBezTo>
                <a:cubicBezTo>
                  <a:pt x="3561080" y="946338"/>
                  <a:pt x="3569970" y="976819"/>
                  <a:pt x="3589020" y="971104"/>
                </a:cubicBezTo>
                <a:close/>
                <a:moveTo>
                  <a:pt x="3660775" y="382458"/>
                </a:moveTo>
                <a:cubicBezTo>
                  <a:pt x="3632200" y="395158"/>
                  <a:pt x="3653790" y="439608"/>
                  <a:pt x="3681095" y="425638"/>
                </a:cubicBezTo>
                <a:cubicBezTo>
                  <a:pt x="3709670" y="412938"/>
                  <a:pt x="3688715" y="369124"/>
                  <a:pt x="3660775" y="382458"/>
                </a:cubicBezTo>
                <a:close/>
                <a:moveTo>
                  <a:pt x="3728720" y="978724"/>
                </a:moveTo>
                <a:cubicBezTo>
                  <a:pt x="3746500" y="975549"/>
                  <a:pt x="3741420" y="946974"/>
                  <a:pt x="3723005" y="950784"/>
                </a:cubicBezTo>
                <a:cubicBezTo>
                  <a:pt x="3705225" y="953959"/>
                  <a:pt x="3710940" y="982534"/>
                  <a:pt x="3728720" y="978724"/>
                </a:cubicBezTo>
                <a:close/>
                <a:moveTo>
                  <a:pt x="3733800" y="629474"/>
                </a:moveTo>
                <a:cubicBezTo>
                  <a:pt x="3759200" y="619313"/>
                  <a:pt x="3743325" y="579309"/>
                  <a:pt x="3717925" y="590104"/>
                </a:cubicBezTo>
                <a:cubicBezTo>
                  <a:pt x="3691890" y="600263"/>
                  <a:pt x="3709035" y="640269"/>
                  <a:pt x="3733800" y="629474"/>
                </a:cubicBezTo>
                <a:close/>
                <a:moveTo>
                  <a:pt x="3725545" y="771713"/>
                </a:moveTo>
                <a:cubicBezTo>
                  <a:pt x="3702685" y="778699"/>
                  <a:pt x="3714750" y="814259"/>
                  <a:pt x="3736975" y="806638"/>
                </a:cubicBezTo>
                <a:cubicBezTo>
                  <a:pt x="3759835" y="799654"/>
                  <a:pt x="3748405" y="764094"/>
                  <a:pt x="3725545" y="771713"/>
                </a:cubicBezTo>
                <a:close/>
                <a:moveTo>
                  <a:pt x="3766185" y="692338"/>
                </a:moveTo>
                <a:cubicBezTo>
                  <a:pt x="3757930" y="668209"/>
                  <a:pt x="3719830" y="682179"/>
                  <a:pt x="3729355" y="705674"/>
                </a:cubicBezTo>
                <a:cubicBezTo>
                  <a:pt x="3737610" y="730438"/>
                  <a:pt x="3775075" y="716469"/>
                  <a:pt x="3766185" y="692338"/>
                </a:cubicBezTo>
                <a:close/>
                <a:moveTo>
                  <a:pt x="3660775" y="992059"/>
                </a:moveTo>
                <a:cubicBezTo>
                  <a:pt x="3678555" y="988249"/>
                  <a:pt x="3672840" y="960309"/>
                  <a:pt x="3655060" y="964119"/>
                </a:cubicBezTo>
                <a:cubicBezTo>
                  <a:pt x="3637280" y="968563"/>
                  <a:pt x="3642995" y="996504"/>
                  <a:pt x="3660775" y="992059"/>
                </a:cubicBezTo>
                <a:close/>
                <a:moveTo>
                  <a:pt x="3657600" y="952054"/>
                </a:moveTo>
                <a:cubicBezTo>
                  <a:pt x="3680460" y="952054"/>
                  <a:pt x="3676015" y="915859"/>
                  <a:pt x="3653790" y="921574"/>
                </a:cubicBezTo>
                <a:cubicBezTo>
                  <a:pt x="3636010" y="925384"/>
                  <a:pt x="3639820" y="952688"/>
                  <a:pt x="3657600" y="952054"/>
                </a:cubicBezTo>
                <a:close/>
                <a:moveTo>
                  <a:pt x="3663950" y="995869"/>
                </a:moveTo>
                <a:cubicBezTo>
                  <a:pt x="3647440" y="998409"/>
                  <a:pt x="3651885" y="1023809"/>
                  <a:pt x="3668395" y="1020634"/>
                </a:cubicBezTo>
                <a:cubicBezTo>
                  <a:pt x="3684270" y="1018729"/>
                  <a:pt x="3679825" y="992694"/>
                  <a:pt x="3663950" y="995869"/>
                </a:cubicBezTo>
                <a:close/>
                <a:moveTo>
                  <a:pt x="3305810" y="852994"/>
                </a:moveTo>
                <a:cubicBezTo>
                  <a:pt x="3329305" y="839024"/>
                  <a:pt x="3306445" y="802194"/>
                  <a:pt x="3283585" y="817434"/>
                </a:cubicBezTo>
                <a:cubicBezTo>
                  <a:pt x="3260090" y="831404"/>
                  <a:pt x="3282950" y="867599"/>
                  <a:pt x="3305810" y="852994"/>
                </a:cubicBezTo>
                <a:close/>
                <a:moveTo>
                  <a:pt x="3656330" y="834579"/>
                </a:moveTo>
                <a:cubicBezTo>
                  <a:pt x="3678555" y="826959"/>
                  <a:pt x="3665855" y="791399"/>
                  <a:pt x="3643630" y="800288"/>
                </a:cubicBezTo>
                <a:cubicBezTo>
                  <a:pt x="3621405" y="807909"/>
                  <a:pt x="3634105" y="842834"/>
                  <a:pt x="3656330" y="834579"/>
                </a:cubicBezTo>
                <a:close/>
                <a:moveTo>
                  <a:pt x="3791585" y="938084"/>
                </a:moveTo>
                <a:cubicBezTo>
                  <a:pt x="3773170" y="940624"/>
                  <a:pt x="3778885" y="969199"/>
                  <a:pt x="3796665" y="966024"/>
                </a:cubicBezTo>
                <a:cubicBezTo>
                  <a:pt x="3814445" y="963484"/>
                  <a:pt x="3809365" y="934909"/>
                  <a:pt x="3791585" y="938084"/>
                </a:cubicBezTo>
                <a:close/>
                <a:moveTo>
                  <a:pt x="3789680" y="976819"/>
                </a:moveTo>
                <a:cubicBezTo>
                  <a:pt x="3773170" y="978724"/>
                  <a:pt x="3776980" y="1004124"/>
                  <a:pt x="3792855" y="1002219"/>
                </a:cubicBezTo>
                <a:cubicBezTo>
                  <a:pt x="3809365" y="999679"/>
                  <a:pt x="3806190" y="974279"/>
                  <a:pt x="3789680" y="976819"/>
                </a:cubicBezTo>
                <a:close/>
                <a:moveTo>
                  <a:pt x="3799840" y="886649"/>
                </a:moveTo>
                <a:cubicBezTo>
                  <a:pt x="3780155" y="890459"/>
                  <a:pt x="3787140" y="921574"/>
                  <a:pt x="3806190" y="917129"/>
                </a:cubicBezTo>
                <a:cubicBezTo>
                  <a:pt x="3825875" y="913319"/>
                  <a:pt x="3818890" y="882204"/>
                  <a:pt x="3799840" y="886649"/>
                </a:cubicBezTo>
                <a:close/>
                <a:moveTo>
                  <a:pt x="3849370" y="828863"/>
                </a:moveTo>
                <a:cubicBezTo>
                  <a:pt x="3844290" y="807274"/>
                  <a:pt x="3810635" y="816163"/>
                  <a:pt x="3816350" y="837119"/>
                </a:cubicBezTo>
                <a:cubicBezTo>
                  <a:pt x="3821430" y="858709"/>
                  <a:pt x="3855085" y="850454"/>
                  <a:pt x="3849370" y="828863"/>
                </a:cubicBezTo>
                <a:close/>
                <a:moveTo>
                  <a:pt x="3750945" y="837119"/>
                </a:moveTo>
                <a:cubicBezTo>
                  <a:pt x="3729355" y="842834"/>
                  <a:pt x="3738880" y="875854"/>
                  <a:pt x="3759835" y="869504"/>
                </a:cubicBezTo>
                <a:cubicBezTo>
                  <a:pt x="3780790" y="864424"/>
                  <a:pt x="3771900" y="831404"/>
                  <a:pt x="3750945" y="837119"/>
                </a:cubicBezTo>
                <a:close/>
                <a:moveTo>
                  <a:pt x="3782695" y="476438"/>
                </a:moveTo>
                <a:cubicBezTo>
                  <a:pt x="3771900" y="449133"/>
                  <a:pt x="3729355" y="466279"/>
                  <a:pt x="3740785" y="493583"/>
                </a:cubicBezTo>
                <a:cubicBezTo>
                  <a:pt x="3751580" y="520888"/>
                  <a:pt x="3794125" y="503744"/>
                  <a:pt x="3782695" y="476438"/>
                </a:cubicBezTo>
                <a:close/>
                <a:moveTo>
                  <a:pt x="3726180" y="903159"/>
                </a:moveTo>
                <a:cubicBezTo>
                  <a:pt x="3706495" y="907604"/>
                  <a:pt x="3714115" y="938084"/>
                  <a:pt x="3733165" y="933638"/>
                </a:cubicBezTo>
                <a:cubicBezTo>
                  <a:pt x="3752850" y="929194"/>
                  <a:pt x="3745865" y="898713"/>
                  <a:pt x="3726180" y="903159"/>
                </a:cubicBezTo>
                <a:close/>
                <a:moveTo>
                  <a:pt x="3726815" y="985709"/>
                </a:moveTo>
                <a:cubicBezTo>
                  <a:pt x="3710305" y="987613"/>
                  <a:pt x="3714115" y="1013649"/>
                  <a:pt x="3730625" y="1011109"/>
                </a:cubicBezTo>
                <a:cubicBezTo>
                  <a:pt x="3747135" y="1008569"/>
                  <a:pt x="3742690" y="983169"/>
                  <a:pt x="3726815" y="985709"/>
                </a:cubicBezTo>
                <a:close/>
                <a:moveTo>
                  <a:pt x="3672840" y="859979"/>
                </a:moveTo>
                <a:cubicBezTo>
                  <a:pt x="3651885" y="865694"/>
                  <a:pt x="3662045" y="899349"/>
                  <a:pt x="3682365" y="892363"/>
                </a:cubicBezTo>
                <a:cubicBezTo>
                  <a:pt x="3703955" y="886013"/>
                  <a:pt x="3693795" y="852994"/>
                  <a:pt x="3672840" y="859979"/>
                </a:cubicBezTo>
                <a:close/>
                <a:moveTo>
                  <a:pt x="3414395" y="1046034"/>
                </a:moveTo>
                <a:cubicBezTo>
                  <a:pt x="3398520" y="1049844"/>
                  <a:pt x="3404235" y="1074609"/>
                  <a:pt x="3420110" y="1070799"/>
                </a:cubicBezTo>
                <a:cubicBezTo>
                  <a:pt x="3435985" y="1066988"/>
                  <a:pt x="3430270" y="1042224"/>
                  <a:pt x="3414395" y="1046034"/>
                </a:cubicBezTo>
                <a:close/>
                <a:moveTo>
                  <a:pt x="3476625" y="1032063"/>
                </a:moveTo>
                <a:cubicBezTo>
                  <a:pt x="3460115" y="1035238"/>
                  <a:pt x="3465830" y="1060638"/>
                  <a:pt x="3481705" y="1056829"/>
                </a:cubicBezTo>
                <a:cubicBezTo>
                  <a:pt x="3497580" y="1053654"/>
                  <a:pt x="3492500" y="1028254"/>
                  <a:pt x="3476625" y="1032063"/>
                </a:cubicBezTo>
                <a:close/>
                <a:moveTo>
                  <a:pt x="3645535" y="667574"/>
                </a:moveTo>
                <a:cubicBezTo>
                  <a:pt x="3670935" y="656779"/>
                  <a:pt x="3652520" y="617409"/>
                  <a:pt x="3627755" y="628838"/>
                </a:cubicBezTo>
                <a:cubicBezTo>
                  <a:pt x="3602355" y="640269"/>
                  <a:pt x="3620770" y="679638"/>
                  <a:pt x="3645535" y="667574"/>
                </a:cubicBezTo>
                <a:close/>
                <a:moveTo>
                  <a:pt x="3385820" y="1032063"/>
                </a:moveTo>
                <a:cubicBezTo>
                  <a:pt x="3368040" y="1037144"/>
                  <a:pt x="3376295" y="1064449"/>
                  <a:pt x="3393440" y="1059369"/>
                </a:cubicBezTo>
                <a:cubicBezTo>
                  <a:pt x="3411220" y="1054288"/>
                  <a:pt x="3403600" y="1026349"/>
                  <a:pt x="3385820" y="1032063"/>
                </a:cubicBezTo>
                <a:close/>
                <a:moveTo>
                  <a:pt x="3456305" y="994599"/>
                </a:moveTo>
                <a:cubicBezTo>
                  <a:pt x="3450590" y="975549"/>
                  <a:pt x="3420110" y="985074"/>
                  <a:pt x="3426460" y="1004124"/>
                </a:cubicBezTo>
                <a:cubicBezTo>
                  <a:pt x="3432810" y="1023174"/>
                  <a:pt x="3463290" y="1013649"/>
                  <a:pt x="3456305" y="994599"/>
                </a:cubicBezTo>
                <a:close/>
                <a:moveTo>
                  <a:pt x="3385185" y="1017459"/>
                </a:moveTo>
                <a:cubicBezTo>
                  <a:pt x="3378835" y="998409"/>
                  <a:pt x="3348990" y="1008569"/>
                  <a:pt x="3355975" y="1027619"/>
                </a:cubicBezTo>
                <a:cubicBezTo>
                  <a:pt x="3362325" y="1046669"/>
                  <a:pt x="3392170" y="1036509"/>
                  <a:pt x="3385185" y="1017459"/>
                </a:cubicBezTo>
                <a:close/>
                <a:moveTo>
                  <a:pt x="3319145" y="1051749"/>
                </a:moveTo>
                <a:cubicBezTo>
                  <a:pt x="3317240" y="1052384"/>
                  <a:pt x="3315335" y="1053654"/>
                  <a:pt x="3313430" y="1054924"/>
                </a:cubicBezTo>
                <a:cubicBezTo>
                  <a:pt x="3314700" y="990788"/>
                  <a:pt x="3249295" y="1077149"/>
                  <a:pt x="3310255" y="1058734"/>
                </a:cubicBezTo>
                <a:cubicBezTo>
                  <a:pt x="3304540" y="1108263"/>
                  <a:pt x="3368675" y="1053019"/>
                  <a:pt x="3319145" y="1051749"/>
                </a:cubicBezTo>
                <a:close/>
                <a:moveTo>
                  <a:pt x="3290570" y="1077149"/>
                </a:moveTo>
                <a:cubicBezTo>
                  <a:pt x="3274695" y="1080959"/>
                  <a:pt x="3281680" y="1106359"/>
                  <a:pt x="3296920" y="1101913"/>
                </a:cubicBezTo>
                <a:cubicBezTo>
                  <a:pt x="3313430" y="1097469"/>
                  <a:pt x="3306445" y="1072704"/>
                  <a:pt x="3290570" y="1077149"/>
                </a:cubicBezTo>
                <a:close/>
                <a:moveTo>
                  <a:pt x="3352165" y="1061274"/>
                </a:moveTo>
                <a:cubicBezTo>
                  <a:pt x="3336290" y="1065084"/>
                  <a:pt x="3342640" y="1090484"/>
                  <a:pt x="3358515" y="1086038"/>
                </a:cubicBezTo>
                <a:cubicBezTo>
                  <a:pt x="3374390" y="1081594"/>
                  <a:pt x="3368040" y="1056829"/>
                  <a:pt x="3352165" y="1061274"/>
                </a:cubicBezTo>
                <a:close/>
                <a:moveTo>
                  <a:pt x="3470275" y="1023174"/>
                </a:moveTo>
                <a:cubicBezTo>
                  <a:pt x="3465830" y="1005394"/>
                  <a:pt x="3437890" y="1013013"/>
                  <a:pt x="3442970" y="1030794"/>
                </a:cubicBezTo>
                <a:cubicBezTo>
                  <a:pt x="3447415" y="1048574"/>
                  <a:pt x="3474720" y="1040954"/>
                  <a:pt x="3470275" y="1023174"/>
                </a:cubicBezTo>
                <a:close/>
                <a:moveTo>
                  <a:pt x="3604260" y="990154"/>
                </a:moveTo>
                <a:cubicBezTo>
                  <a:pt x="3600450" y="972374"/>
                  <a:pt x="3572510" y="978724"/>
                  <a:pt x="3576955" y="996504"/>
                </a:cubicBezTo>
                <a:cubicBezTo>
                  <a:pt x="3580765" y="1014919"/>
                  <a:pt x="3608705" y="1007934"/>
                  <a:pt x="3604260" y="990154"/>
                </a:cubicBezTo>
                <a:close/>
                <a:moveTo>
                  <a:pt x="3601085" y="1006663"/>
                </a:moveTo>
                <a:cubicBezTo>
                  <a:pt x="3584575" y="1009204"/>
                  <a:pt x="3589655" y="1034604"/>
                  <a:pt x="3605530" y="1031429"/>
                </a:cubicBezTo>
                <a:cubicBezTo>
                  <a:pt x="3622040" y="1028888"/>
                  <a:pt x="3617595" y="1003488"/>
                  <a:pt x="3601085" y="1006663"/>
                </a:cubicBezTo>
                <a:close/>
                <a:moveTo>
                  <a:pt x="3853180" y="968563"/>
                </a:moveTo>
                <a:cubicBezTo>
                  <a:pt x="3836670" y="970469"/>
                  <a:pt x="3839845" y="995869"/>
                  <a:pt x="3856355" y="993963"/>
                </a:cubicBezTo>
                <a:cubicBezTo>
                  <a:pt x="3872230" y="992059"/>
                  <a:pt x="3869055" y="966659"/>
                  <a:pt x="3853180" y="968563"/>
                </a:cubicBezTo>
                <a:close/>
                <a:moveTo>
                  <a:pt x="3596005" y="884109"/>
                </a:moveTo>
                <a:cubicBezTo>
                  <a:pt x="3575050" y="890459"/>
                  <a:pt x="3585845" y="923479"/>
                  <a:pt x="3606800" y="916494"/>
                </a:cubicBezTo>
                <a:cubicBezTo>
                  <a:pt x="3627120" y="909509"/>
                  <a:pt x="3616325" y="876488"/>
                  <a:pt x="3596005" y="884109"/>
                </a:cubicBezTo>
                <a:close/>
                <a:moveTo>
                  <a:pt x="3536950" y="1006029"/>
                </a:moveTo>
                <a:cubicBezTo>
                  <a:pt x="3532505" y="988249"/>
                  <a:pt x="3505200" y="995234"/>
                  <a:pt x="3509645" y="1013013"/>
                </a:cubicBezTo>
                <a:cubicBezTo>
                  <a:pt x="3514090" y="1030794"/>
                  <a:pt x="3541395" y="1023809"/>
                  <a:pt x="3536950" y="1006029"/>
                </a:cubicBezTo>
                <a:close/>
                <a:moveTo>
                  <a:pt x="3586480" y="840929"/>
                </a:moveTo>
                <a:cubicBezTo>
                  <a:pt x="3578225" y="818704"/>
                  <a:pt x="3543300" y="832038"/>
                  <a:pt x="3552190" y="854263"/>
                </a:cubicBezTo>
                <a:cubicBezTo>
                  <a:pt x="3560445" y="876488"/>
                  <a:pt x="3595370" y="863154"/>
                  <a:pt x="3586480" y="840929"/>
                </a:cubicBezTo>
                <a:close/>
                <a:moveTo>
                  <a:pt x="3517900" y="991424"/>
                </a:moveTo>
                <a:cubicBezTo>
                  <a:pt x="3537585" y="985709"/>
                  <a:pt x="3528060" y="955863"/>
                  <a:pt x="3509010" y="961579"/>
                </a:cubicBezTo>
                <a:cubicBezTo>
                  <a:pt x="3489325" y="967294"/>
                  <a:pt x="3498850" y="997774"/>
                  <a:pt x="3517900" y="991424"/>
                </a:cubicBezTo>
                <a:close/>
                <a:moveTo>
                  <a:pt x="3538855" y="1018729"/>
                </a:moveTo>
                <a:cubicBezTo>
                  <a:pt x="3522345" y="1021904"/>
                  <a:pt x="3528060" y="1047304"/>
                  <a:pt x="3543935" y="1043494"/>
                </a:cubicBezTo>
                <a:cubicBezTo>
                  <a:pt x="3559810" y="1040954"/>
                  <a:pt x="3554730" y="1015554"/>
                  <a:pt x="3538855" y="1018729"/>
                </a:cubicBezTo>
                <a:close/>
              </a:path>
            </a:pathLst>
          </a:custGeom>
          <a:solidFill>
            <a:srgbClr val="0072D1">
              <a:alpha val="15639"/>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Calibri"/>
              <a:ea typeface="Calibri"/>
              <a:cs typeface="Calibri"/>
              <a:sym typeface="Calibri"/>
            </a:endParaRPr>
          </a:p>
        </p:txBody>
      </p:sp>
      <p:sp>
        <p:nvSpPr>
          <p:cNvPr id="49" name="Google Shape;49;p10"/>
          <p:cNvSpPr txBox="1">
            <a:spLocks noGrp="1"/>
          </p:cNvSpPr>
          <p:nvPr>
            <p:ph type="sldNum" idx="12"/>
          </p:nvPr>
        </p:nvSpPr>
        <p:spPr>
          <a:xfrm>
            <a:off x="8328184" y="45974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9525" cy="9525"/>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
        <p:nvSpPr>
          <p:cNvPr id="2" name="Title 1"/>
          <p:cNvSpPr>
            <a:spLocks noGrp="1"/>
          </p:cNvSpPr>
          <p:nvPr>
            <p:ph type="title"/>
          </p:nvPr>
        </p:nvSpPr>
        <p:spPr>
          <a:xfrm>
            <a:off x="457200" y="205978"/>
            <a:ext cx="8229600" cy="529568"/>
          </a:xfrm>
          <a:noFill/>
          <a:ln>
            <a:noFill/>
          </a:ln>
        </p:spPr>
        <p:txBody>
          <a:bodyPr>
            <a:normAutofit/>
          </a:bodyPr>
          <a:lstStyle>
            <a:lvl1pPr algn="l">
              <a:defRPr sz="2400">
                <a:solidFill>
                  <a:srgbClr val="FF0000"/>
                </a:solidFill>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457200" y="789552"/>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68099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242647" y="254632"/>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35512596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gradFill>
          <a:gsLst>
            <a:gs pos="0">
              <a:schemeClr val="lt1"/>
            </a:gs>
            <a:gs pos="50000">
              <a:schemeClr val="lt1"/>
            </a:gs>
            <a:gs pos="100000">
              <a:schemeClr val="lt2"/>
            </a:gs>
          </a:gsLst>
          <a:lin ang="2700006" scaled="0"/>
        </a:gra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037875" y="836000"/>
            <a:ext cx="7068300" cy="396300"/>
          </a:xfrm>
          <a:prstGeom prst="rect">
            <a:avLst/>
          </a:prstGeom>
          <a:noFill/>
          <a:ln>
            <a:noFill/>
          </a:ln>
        </p:spPr>
        <p:txBody>
          <a:bodyPr spcFirstLastPara="1" wrap="square" lIns="0" tIns="0" rIns="0" bIns="0" anchor="b" anchorCtr="0">
            <a:noAutofit/>
          </a:bodyPr>
          <a:lstStyle>
            <a:lvl1pPr lvl="0" rtl="0">
              <a:lnSpc>
                <a:spcPct val="90000"/>
              </a:lnSpc>
              <a:spcBef>
                <a:spcPts val="0"/>
              </a:spcBef>
              <a:spcAft>
                <a:spcPts val="0"/>
              </a:spcAft>
              <a:buClr>
                <a:schemeClr val="accent1"/>
              </a:buClr>
              <a:buSzPts val="3200"/>
              <a:buFont typeface="Inter-Regular"/>
              <a:buNone/>
              <a:defRPr sz="3200">
                <a:solidFill>
                  <a:schemeClr val="accent1"/>
                </a:solidFill>
                <a:latin typeface="Inter-Regular"/>
                <a:ea typeface="Inter-Regular"/>
                <a:cs typeface="Inter-Regular"/>
                <a:sym typeface="Inter-Regular"/>
              </a:defRPr>
            </a:lvl1pPr>
            <a:lvl2pPr lvl="1" rtl="0">
              <a:lnSpc>
                <a:spcPct val="90000"/>
              </a:lnSpc>
              <a:spcBef>
                <a:spcPts val="0"/>
              </a:spcBef>
              <a:spcAft>
                <a:spcPts val="0"/>
              </a:spcAft>
              <a:buClr>
                <a:schemeClr val="accent1"/>
              </a:buClr>
              <a:buSzPts val="3200"/>
              <a:buFont typeface="Inter-Regular"/>
              <a:buNone/>
              <a:defRPr sz="3200">
                <a:solidFill>
                  <a:schemeClr val="accent1"/>
                </a:solidFill>
                <a:latin typeface="Inter-Regular"/>
                <a:ea typeface="Inter-Regular"/>
                <a:cs typeface="Inter-Regular"/>
                <a:sym typeface="Inter-Regular"/>
              </a:defRPr>
            </a:lvl2pPr>
            <a:lvl3pPr lvl="2" rtl="0">
              <a:lnSpc>
                <a:spcPct val="90000"/>
              </a:lnSpc>
              <a:spcBef>
                <a:spcPts val="0"/>
              </a:spcBef>
              <a:spcAft>
                <a:spcPts val="0"/>
              </a:spcAft>
              <a:buClr>
                <a:schemeClr val="accent1"/>
              </a:buClr>
              <a:buSzPts val="3200"/>
              <a:buFont typeface="Inter-Regular"/>
              <a:buNone/>
              <a:defRPr sz="3200">
                <a:solidFill>
                  <a:schemeClr val="accent1"/>
                </a:solidFill>
                <a:latin typeface="Inter-Regular"/>
                <a:ea typeface="Inter-Regular"/>
                <a:cs typeface="Inter-Regular"/>
                <a:sym typeface="Inter-Regular"/>
              </a:defRPr>
            </a:lvl3pPr>
            <a:lvl4pPr lvl="3" rtl="0">
              <a:lnSpc>
                <a:spcPct val="90000"/>
              </a:lnSpc>
              <a:spcBef>
                <a:spcPts val="0"/>
              </a:spcBef>
              <a:spcAft>
                <a:spcPts val="0"/>
              </a:spcAft>
              <a:buClr>
                <a:schemeClr val="accent1"/>
              </a:buClr>
              <a:buSzPts val="3200"/>
              <a:buFont typeface="Inter-Regular"/>
              <a:buNone/>
              <a:defRPr sz="3200">
                <a:solidFill>
                  <a:schemeClr val="accent1"/>
                </a:solidFill>
                <a:latin typeface="Inter-Regular"/>
                <a:ea typeface="Inter-Regular"/>
                <a:cs typeface="Inter-Regular"/>
                <a:sym typeface="Inter-Regular"/>
              </a:defRPr>
            </a:lvl4pPr>
            <a:lvl5pPr lvl="4" rtl="0">
              <a:lnSpc>
                <a:spcPct val="90000"/>
              </a:lnSpc>
              <a:spcBef>
                <a:spcPts val="0"/>
              </a:spcBef>
              <a:spcAft>
                <a:spcPts val="0"/>
              </a:spcAft>
              <a:buClr>
                <a:schemeClr val="accent1"/>
              </a:buClr>
              <a:buSzPts val="3200"/>
              <a:buFont typeface="Inter-Regular"/>
              <a:buNone/>
              <a:defRPr sz="3200">
                <a:solidFill>
                  <a:schemeClr val="accent1"/>
                </a:solidFill>
                <a:latin typeface="Inter-Regular"/>
                <a:ea typeface="Inter-Regular"/>
                <a:cs typeface="Inter-Regular"/>
                <a:sym typeface="Inter-Regular"/>
              </a:defRPr>
            </a:lvl5pPr>
            <a:lvl6pPr lvl="5" rtl="0">
              <a:lnSpc>
                <a:spcPct val="90000"/>
              </a:lnSpc>
              <a:spcBef>
                <a:spcPts val="0"/>
              </a:spcBef>
              <a:spcAft>
                <a:spcPts val="0"/>
              </a:spcAft>
              <a:buClr>
                <a:schemeClr val="accent1"/>
              </a:buClr>
              <a:buSzPts val="3200"/>
              <a:buFont typeface="Inter-Regular"/>
              <a:buNone/>
              <a:defRPr sz="3200">
                <a:solidFill>
                  <a:schemeClr val="accent1"/>
                </a:solidFill>
                <a:latin typeface="Inter-Regular"/>
                <a:ea typeface="Inter-Regular"/>
                <a:cs typeface="Inter-Regular"/>
                <a:sym typeface="Inter-Regular"/>
              </a:defRPr>
            </a:lvl6pPr>
            <a:lvl7pPr lvl="6" rtl="0">
              <a:lnSpc>
                <a:spcPct val="90000"/>
              </a:lnSpc>
              <a:spcBef>
                <a:spcPts val="0"/>
              </a:spcBef>
              <a:spcAft>
                <a:spcPts val="0"/>
              </a:spcAft>
              <a:buClr>
                <a:schemeClr val="accent1"/>
              </a:buClr>
              <a:buSzPts val="3200"/>
              <a:buFont typeface="Inter-Regular"/>
              <a:buNone/>
              <a:defRPr sz="3200">
                <a:solidFill>
                  <a:schemeClr val="accent1"/>
                </a:solidFill>
                <a:latin typeface="Inter-Regular"/>
                <a:ea typeface="Inter-Regular"/>
                <a:cs typeface="Inter-Regular"/>
                <a:sym typeface="Inter-Regular"/>
              </a:defRPr>
            </a:lvl7pPr>
            <a:lvl8pPr lvl="7" rtl="0">
              <a:lnSpc>
                <a:spcPct val="90000"/>
              </a:lnSpc>
              <a:spcBef>
                <a:spcPts val="0"/>
              </a:spcBef>
              <a:spcAft>
                <a:spcPts val="0"/>
              </a:spcAft>
              <a:buClr>
                <a:schemeClr val="accent1"/>
              </a:buClr>
              <a:buSzPts val="3200"/>
              <a:buFont typeface="Inter-Regular"/>
              <a:buNone/>
              <a:defRPr sz="3200">
                <a:solidFill>
                  <a:schemeClr val="accent1"/>
                </a:solidFill>
                <a:latin typeface="Inter-Regular"/>
                <a:ea typeface="Inter-Regular"/>
                <a:cs typeface="Inter-Regular"/>
                <a:sym typeface="Inter-Regular"/>
              </a:defRPr>
            </a:lvl8pPr>
            <a:lvl9pPr lvl="8" rtl="0">
              <a:lnSpc>
                <a:spcPct val="90000"/>
              </a:lnSpc>
              <a:spcBef>
                <a:spcPts val="0"/>
              </a:spcBef>
              <a:spcAft>
                <a:spcPts val="0"/>
              </a:spcAft>
              <a:buClr>
                <a:schemeClr val="accent1"/>
              </a:buClr>
              <a:buSzPts val="3200"/>
              <a:buFont typeface="Inter-Regular"/>
              <a:buNone/>
              <a:defRPr sz="3200">
                <a:solidFill>
                  <a:schemeClr val="accent1"/>
                </a:solidFill>
                <a:latin typeface="Inter-Regular"/>
                <a:ea typeface="Inter-Regular"/>
                <a:cs typeface="Inter-Regular"/>
                <a:sym typeface="Inter-Regular"/>
              </a:defRPr>
            </a:lvl9pPr>
          </a:lstStyle>
          <a:p>
            <a:endParaRPr/>
          </a:p>
        </p:txBody>
      </p:sp>
      <p:sp>
        <p:nvSpPr>
          <p:cNvPr id="7" name="Google Shape;7;p1"/>
          <p:cNvSpPr txBox="1">
            <a:spLocks noGrp="1"/>
          </p:cNvSpPr>
          <p:nvPr>
            <p:ph type="body" idx="1"/>
          </p:nvPr>
        </p:nvSpPr>
        <p:spPr>
          <a:xfrm>
            <a:off x="1037875" y="1353948"/>
            <a:ext cx="7068300" cy="3033900"/>
          </a:xfrm>
          <a:prstGeom prst="rect">
            <a:avLst/>
          </a:prstGeom>
          <a:noFill/>
          <a:ln>
            <a:noFill/>
          </a:ln>
        </p:spPr>
        <p:txBody>
          <a:bodyPr spcFirstLastPara="1" wrap="square" lIns="0" tIns="0" rIns="0" bIns="0" anchor="t" anchorCtr="0">
            <a:noAutofit/>
          </a:bodyPr>
          <a:lstStyle>
            <a:lvl1pPr marL="457200" lvl="0" indent="-381000" rtl="0">
              <a:lnSpc>
                <a:spcPct val="115000"/>
              </a:lnSpc>
              <a:spcBef>
                <a:spcPts val="600"/>
              </a:spcBef>
              <a:spcAft>
                <a:spcPts val="0"/>
              </a:spcAft>
              <a:buClr>
                <a:schemeClr val="accent1"/>
              </a:buClr>
              <a:buSzPts val="2400"/>
              <a:buFont typeface="Inter-Regular"/>
              <a:buChar char="●"/>
              <a:defRPr sz="2400">
                <a:solidFill>
                  <a:schemeClr val="dk1"/>
                </a:solidFill>
                <a:latin typeface="Inter-Regular"/>
                <a:ea typeface="Inter-Regular"/>
                <a:cs typeface="Inter-Regular"/>
                <a:sym typeface="Inter-Regular"/>
              </a:defRPr>
            </a:lvl1pPr>
            <a:lvl2pPr marL="914400" lvl="1" indent="-381000" rtl="0">
              <a:lnSpc>
                <a:spcPct val="115000"/>
              </a:lnSpc>
              <a:spcBef>
                <a:spcPts val="0"/>
              </a:spcBef>
              <a:spcAft>
                <a:spcPts val="0"/>
              </a:spcAft>
              <a:buClr>
                <a:schemeClr val="accent1"/>
              </a:buClr>
              <a:buSzPts val="2400"/>
              <a:buFont typeface="Inter-Regular"/>
              <a:buChar char="○"/>
              <a:defRPr sz="2400">
                <a:solidFill>
                  <a:schemeClr val="dk1"/>
                </a:solidFill>
                <a:latin typeface="Inter-Regular"/>
                <a:ea typeface="Inter-Regular"/>
                <a:cs typeface="Inter-Regular"/>
                <a:sym typeface="Inter-Regular"/>
              </a:defRPr>
            </a:lvl2pPr>
            <a:lvl3pPr marL="1371600" lvl="2" indent="-381000" rtl="0">
              <a:lnSpc>
                <a:spcPct val="115000"/>
              </a:lnSpc>
              <a:spcBef>
                <a:spcPts val="0"/>
              </a:spcBef>
              <a:spcAft>
                <a:spcPts val="0"/>
              </a:spcAft>
              <a:buClr>
                <a:schemeClr val="lt2"/>
              </a:buClr>
              <a:buSzPts val="2400"/>
              <a:buFont typeface="Inter-Regular"/>
              <a:buChar char="■"/>
              <a:defRPr sz="2400">
                <a:solidFill>
                  <a:schemeClr val="dk1"/>
                </a:solidFill>
                <a:latin typeface="Inter-Regular"/>
                <a:ea typeface="Inter-Regular"/>
                <a:cs typeface="Inter-Regular"/>
                <a:sym typeface="Inter-Regular"/>
              </a:defRPr>
            </a:lvl3pPr>
            <a:lvl4pPr marL="1828800" lvl="3" indent="-381000" rtl="0">
              <a:lnSpc>
                <a:spcPct val="115000"/>
              </a:lnSpc>
              <a:spcBef>
                <a:spcPts val="0"/>
              </a:spcBef>
              <a:spcAft>
                <a:spcPts val="0"/>
              </a:spcAft>
              <a:buClr>
                <a:schemeClr val="dk1"/>
              </a:buClr>
              <a:buSzPts val="2400"/>
              <a:buFont typeface="Inter-Regular"/>
              <a:buChar char="●"/>
              <a:defRPr sz="2400">
                <a:solidFill>
                  <a:schemeClr val="dk1"/>
                </a:solidFill>
                <a:latin typeface="Inter-Regular"/>
                <a:ea typeface="Inter-Regular"/>
                <a:cs typeface="Inter-Regular"/>
                <a:sym typeface="Inter-Regular"/>
              </a:defRPr>
            </a:lvl4pPr>
            <a:lvl5pPr marL="2286000" lvl="4" indent="-381000" rtl="0">
              <a:lnSpc>
                <a:spcPct val="115000"/>
              </a:lnSpc>
              <a:spcBef>
                <a:spcPts val="0"/>
              </a:spcBef>
              <a:spcAft>
                <a:spcPts val="0"/>
              </a:spcAft>
              <a:buClr>
                <a:schemeClr val="dk1"/>
              </a:buClr>
              <a:buSzPts val="2400"/>
              <a:buFont typeface="Inter-Regular"/>
              <a:buChar char="○"/>
              <a:defRPr sz="2400">
                <a:solidFill>
                  <a:schemeClr val="dk1"/>
                </a:solidFill>
                <a:latin typeface="Inter-Regular"/>
                <a:ea typeface="Inter-Regular"/>
                <a:cs typeface="Inter-Regular"/>
                <a:sym typeface="Inter-Regular"/>
              </a:defRPr>
            </a:lvl5pPr>
            <a:lvl6pPr marL="2743200" lvl="5" indent="-381000" rtl="0">
              <a:lnSpc>
                <a:spcPct val="115000"/>
              </a:lnSpc>
              <a:spcBef>
                <a:spcPts val="0"/>
              </a:spcBef>
              <a:spcAft>
                <a:spcPts val="0"/>
              </a:spcAft>
              <a:buClr>
                <a:schemeClr val="dk1"/>
              </a:buClr>
              <a:buSzPts val="2400"/>
              <a:buFont typeface="Inter-Regular"/>
              <a:buChar char="■"/>
              <a:defRPr sz="2400">
                <a:solidFill>
                  <a:schemeClr val="dk1"/>
                </a:solidFill>
                <a:latin typeface="Inter-Regular"/>
                <a:ea typeface="Inter-Regular"/>
                <a:cs typeface="Inter-Regular"/>
                <a:sym typeface="Inter-Regular"/>
              </a:defRPr>
            </a:lvl6pPr>
            <a:lvl7pPr marL="3200400" lvl="6" indent="-381000" rtl="0">
              <a:lnSpc>
                <a:spcPct val="115000"/>
              </a:lnSpc>
              <a:spcBef>
                <a:spcPts val="0"/>
              </a:spcBef>
              <a:spcAft>
                <a:spcPts val="0"/>
              </a:spcAft>
              <a:buClr>
                <a:schemeClr val="dk1"/>
              </a:buClr>
              <a:buSzPts val="2400"/>
              <a:buFont typeface="Inter-Regular"/>
              <a:buChar char="●"/>
              <a:defRPr sz="2400">
                <a:solidFill>
                  <a:schemeClr val="dk1"/>
                </a:solidFill>
                <a:latin typeface="Inter-Regular"/>
                <a:ea typeface="Inter-Regular"/>
                <a:cs typeface="Inter-Regular"/>
                <a:sym typeface="Inter-Regular"/>
              </a:defRPr>
            </a:lvl7pPr>
            <a:lvl8pPr marL="3657600" lvl="7" indent="-381000" rtl="0">
              <a:lnSpc>
                <a:spcPct val="115000"/>
              </a:lnSpc>
              <a:spcBef>
                <a:spcPts val="0"/>
              </a:spcBef>
              <a:spcAft>
                <a:spcPts val="0"/>
              </a:spcAft>
              <a:buClr>
                <a:schemeClr val="dk1"/>
              </a:buClr>
              <a:buSzPts val="2400"/>
              <a:buFont typeface="Inter-Regular"/>
              <a:buChar char="○"/>
              <a:defRPr sz="2400">
                <a:solidFill>
                  <a:schemeClr val="dk1"/>
                </a:solidFill>
                <a:latin typeface="Inter-Regular"/>
                <a:ea typeface="Inter-Regular"/>
                <a:cs typeface="Inter-Regular"/>
                <a:sym typeface="Inter-Regular"/>
              </a:defRPr>
            </a:lvl8pPr>
            <a:lvl9pPr marL="4114800" lvl="8" indent="-381000" rtl="0">
              <a:lnSpc>
                <a:spcPct val="115000"/>
              </a:lnSpc>
              <a:spcBef>
                <a:spcPts val="0"/>
              </a:spcBef>
              <a:spcAft>
                <a:spcPts val="0"/>
              </a:spcAft>
              <a:buClr>
                <a:schemeClr val="dk1"/>
              </a:buClr>
              <a:buSzPts val="2400"/>
              <a:buFont typeface="Inter-Regular"/>
              <a:buChar char="■"/>
              <a:defRPr sz="2400">
                <a:solidFill>
                  <a:schemeClr val="dk1"/>
                </a:solidFill>
                <a:latin typeface="Inter-Regular"/>
                <a:ea typeface="Inter-Regular"/>
                <a:cs typeface="Inter-Regular"/>
                <a:sym typeface="Inter-Regular"/>
              </a:defRPr>
            </a:lvl9pPr>
          </a:lstStyle>
          <a:p>
            <a:endParaRPr/>
          </a:p>
        </p:txBody>
      </p:sp>
      <p:sp>
        <p:nvSpPr>
          <p:cNvPr id="8" name="Google Shape;8;p1"/>
          <p:cNvSpPr txBox="1">
            <a:spLocks noGrp="1"/>
          </p:cNvSpPr>
          <p:nvPr>
            <p:ph type="sldNum" idx="12"/>
          </p:nvPr>
        </p:nvSpPr>
        <p:spPr>
          <a:xfrm>
            <a:off x="8328184" y="4597451"/>
            <a:ext cx="548700" cy="393600"/>
          </a:xfrm>
          <a:prstGeom prst="rect">
            <a:avLst/>
          </a:prstGeom>
          <a:noFill/>
          <a:ln>
            <a:noFill/>
          </a:ln>
        </p:spPr>
        <p:txBody>
          <a:bodyPr spcFirstLastPara="1" wrap="square" lIns="0" tIns="0" rIns="0" bIns="0" anchor="ctr" anchorCtr="0">
            <a:noAutofit/>
          </a:bodyPr>
          <a:lstStyle>
            <a:lvl1pPr lvl="0" algn="r" rtl="0">
              <a:buNone/>
              <a:defRPr sz="1300">
                <a:solidFill>
                  <a:schemeClr val="accent1"/>
                </a:solidFill>
                <a:latin typeface="Inter-Regular"/>
                <a:ea typeface="Inter-Regular"/>
                <a:cs typeface="Inter-Regular"/>
                <a:sym typeface="Inter-Regular"/>
              </a:defRPr>
            </a:lvl1pPr>
            <a:lvl2pPr lvl="1" algn="r" rtl="0">
              <a:buNone/>
              <a:defRPr sz="1300">
                <a:solidFill>
                  <a:schemeClr val="accent1"/>
                </a:solidFill>
                <a:latin typeface="Inter-Regular"/>
                <a:ea typeface="Inter-Regular"/>
                <a:cs typeface="Inter-Regular"/>
                <a:sym typeface="Inter-Regular"/>
              </a:defRPr>
            </a:lvl2pPr>
            <a:lvl3pPr lvl="2" algn="r" rtl="0">
              <a:buNone/>
              <a:defRPr sz="1300">
                <a:solidFill>
                  <a:schemeClr val="accent1"/>
                </a:solidFill>
                <a:latin typeface="Inter-Regular"/>
                <a:ea typeface="Inter-Regular"/>
                <a:cs typeface="Inter-Regular"/>
                <a:sym typeface="Inter-Regular"/>
              </a:defRPr>
            </a:lvl3pPr>
            <a:lvl4pPr lvl="3" algn="r" rtl="0">
              <a:buNone/>
              <a:defRPr sz="1300">
                <a:solidFill>
                  <a:schemeClr val="accent1"/>
                </a:solidFill>
                <a:latin typeface="Inter-Regular"/>
                <a:ea typeface="Inter-Regular"/>
                <a:cs typeface="Inter-Regular"/>
                <a:sym typeface="Inter-Regular"/>
              </a:defRPr>
            </a:lvl4pPr>
            <a:lvl5pPr lvl="4" algn="r" rtl="0">
              <a:buNone/>
              <a:defRPr sz="1300">
                <a:solidFill>
                  <a:schemeClr val="accent1"/>
                </a:solidFill>
                <a:latin typeface="Inter-Regular"/>
                <a:ea typeface="Inter-Regular"/>
                <a:cs typeface="Inter-Regular"/>
                <a:sym typeface="Inter-Regular"/>
              </a:defRPr>
            </a:lvl5pPr>
            <a:lvl6pPr lvl="5" algn="r" rtl="0">
              <a:buNone/>
              <a:defRPr sz="1300">
                <a:solidFill>
                  <a:schemeClr val="accent1"/>
                </a:solidFill>
                <a:latin typeface="Inter-Regular"/>
                <a:ea typeface="Inter-Regular"/>
                <a:cs typeface="Inter-Regular"/>
                <a:sym typeface="Inter-Regular"/>
              </a:defRPr>
            </a:lvl6pPr>
            <a:lvl7pPr lvl="6" algn="r" rtl="0">
              <a:buNone/>
              <a:defRPr sz="1300">
                <a:solidFill>
                  <a:schemeClr val="accent1"/>
                </a:solidFill>
                <a:latin typeface="Inter-Regular"/>
                <a:ea typeface="Inter-Regular"/>
                <a:cs typeface="Inter-Regular"/>
                <a:sym typeface="Inter-Regular"/>
              </a:defRPr>
            </a:lvl7pPr>
            <a:lvl8pPr lvl="7" algn="r" rtl="0">
              <a:buNone/>
              <a:defRPr sz="1300">
                <a:solidFill>
                  <a:schemeClr val="accent1"/>
                </a:solidFill>
                <a:latin typeface="Inter-Regular"/>
                <a:ea typeface="Inter-Regular"/>
                <a:cs typeface="Inter-Regular"/>
                <a:sym typeface="Inter-Regular"/>
              </a:defRPr>
            </a:lvl8pPr>
            <a:lvl9pPr lvl="8" algn="r" rtl="0">
              <a:buNone/>
              <a:defRPr sz="1300">
                <a:solidFill>
                  <a:schemeClr val="accent1"/>
                </a:solidFill>
                <a:latin typeface="Inter-Regular"/>
                <a:ea typeface="Inter-Regular"/>
                <a:cs typeface="Inter-Regular"/>
                <a:sym typeface="Inter-Regular"/>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51" r:id="rId2"/>
    <p:sldLayoutId id="2147483652" r:id="rId3"/>
    <p:sldLayoutId id="2147483654" r:id="rId4"/>
    <p:sldLayoutId id="2147483656" r:id="rId5"/>
    <p:sldLayoutId id="2147483659" r:id="rId6"/>
    <p:sldLayoutId id="2147483660" r:id="rId7"/>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6.png"/><Relationship Id="rId3" Type="http://schemas.openxmlformats.org/officeDocument/2006/relationships/image" Target="../media/image1.jpg"/><Relationship Id="rId7" Type="http://schemas.openxmlformats.org/officeDocument/2006/relationships/image" Target="../media/image3.png"/><Relationship Id="rId12" Type="http://schemas.openxmlformats.org/officeDocument/2006/relationships/customXml" Target="../ink/ink5.xml"/><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customXml" Target="../ink/ink2.xml"/><Relationship Id="rId11" Type="http://schemas.openxmlformats.org/officeDocument/2006/relationships/image" Target="../media/image5.png"/><Relationship Id="rId5" Type="http://schemas.openxmlformats.org/officeDocument/2006/relationships/image" Target="../media/image2.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6.xml"/><Relationship Id="rId5" Type="http://schemas.openxmlformats.org/officeDocument/2006/relationships/slideLayout" Target="../slideLayouts/slideLayout4.xml"/><Relationship Id="rId4" Type="http://schemas.openxmlformats.org/officeDocument/2006/relationships/tags" Target="../tags/tag8.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5" Type="http://schemas.openxmlformats.org/officeDocument/2006/relationships/chart" Target="../charts/chart6.xml"/><Relationship Id="rId4" Type="http://schemas.openxmlformats.org/officeDocument/2006/relationships/chart" Target="../charts/chart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customXml" Target="../ink/ink11.xml"/><Relationship Id="rId18" Type="http://schemas.openxmlformats.org/officeDocument/2006/relationships/image" Target="../media/image8.png"/><Relationship Id="rId3" Type="http://schemas.openxmlformats.org/officeDocument/2006/relationships/customXml" Target="../ink/ink6.xml"/><Relationship Id="rId7" Type="http://schemas.openxmlformats.org/officeDocument/2006/relationships/customXml" Target="../ink/ink8.xml"/><Relationship Id="rId12" Type="http://schemas.openxmlformats.org/officeDocument/2006/relationships/image" Target="../media/image50.png"/><Relationship Id="rId17" Type="http://schemas.openxmlformats.org/officeDocument/2006/relationships/customXml" Target="../ink/ink13.xml"/><Relationship Id="rId2" Type="http://schemas.openxmlformats.org/officeDocument/2006/relationships/notesSlide" Target="../notesSlides/notesSlide4.xml"/><Relationship Id="rId16" Type="http://schemas.openxmlformats.org/officeDocument/2006/relationships/image" Target="../media/image70.pn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customXml" Target="../ink/ink10.xml"/><Relationship Id="rId5" Type="http://schemas.openxmlformats.org/officeDocument/2006/relationships/customXml" Target="../ink/ink7.xml"/><Relationship Id="rId15" Type="http://schemas.openxmlformats.org/officeDocument/2006/relationships/customXml" Target="../ink/ink12.xml"/><Relationship Id="rId10" Type="http://schemas.openxmlformats.org/officeDocument/2006/relationships/image" Target="../media/image40.png"/><Relationship Id="rId4" Type="http://schemas.openxmlformats.org/officeDocument/2006/relationships/image" Target="../media/image1.png"/><Relationship Id="rId9" Type="http://schemas.openxmlformats.org/officeDocument/2006/relationships/customXml" Target="../ink/ink9.xml"/><Relationship Id="rId14" Type="http://schemas.openxmlformats.org/officeDocument/2006/relationships/image" Target="../media/image60.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chemeClr val="bg1"/>
            </a:gs>
            <a:gs pos="50000">
              <a:schemeClr val="lt1"/>
            </a:gs>
            <a:gs pos="100000">
              <a:schemeClr val="lt2"/>
            </a:gs>
          </a:gsLst>
          <a:lin ang="2400000" scaled="0"/>
        </a:gradFill>
        <a:effectLst/>
      </p:bgPr>
    </p:bg>
    <p:spTree>
      <p:nvGrpSpPr>
        <p:cNvPr id="1" name="Shape 56"/>
        <p:cNvGrpSpPr/>
        <p:nvPr/>
      </p:nvGrpSpPr>
      <p:grpSpPr>
        <a:xfrm>
          <a:off x="0" y="0"/>
          <a:ext cx="0" cy="0"/>
          <a:chOff x="0" y="0"/>
          <a:chExt cx="0" cy="0"/>
        </a:xfrm>
      </p:grpSpPr>
      <p:sp>
        <p:nvSpPr>
          <p:cNvPr id="57" name="Google Shape;57;p12"/>
          <p:cNvSpPr txBox="1">
            <a:spLocks noGrp="1"/>
          </p:cNvSpPr>
          <p:nvPr>
            <p:ph type="ctrTitle" idx="4294967295"/>
          </p:nvPr>
        </p:nvSpPr>
        <p:spPr>
          <a:xfrm>
            <a:off x="590138" y="152361"/>
            <a:ext cx="7702656" cy="2126097"/>
          </a:xfrm>
          <a:prstGeom prst="rect">
            <a:avLst/>
          </a:prstGeom>
        </p:spPr>
        <p:txBody>
          <a:bodyPr spcFirstLastPara="1" wrap="square" lIns="0" tIns="0" rIns="0" bIns="0" anchor="ctr" anchorCtr="0">
            <a:noAutofit/>
          </a:bodyPr>
          <a:lstStyle/>
          <a:p>
            <a:pPr marL="0" lvl="0" indent="0" algn="ctr" rtl="0">
              <a:spcBef>
                <a:spcPts val="0"/>
              </a:spcBef>
              <a:spcAft>
                <a:spcPts val="0"/>
              </a:spcAft>
              <a:buNone/>
            </a:pPr>
            <a:r>
              <a:rPr lang="en-US" sz="6000" dirty="0">
                <a:solidFill>
                  <a:srgbClr val="0070C0"/>
                </a:solidFill>
              </a:rPr>
              <a:t>Role Of Women in </a:t>
            </a:r>
            <a:br>
              <a:rPr lang="en-US" sz="6000" dirty="0">
                <a:solidFill>
                  <a:srgbClr val="0070C0"/>
                </a:solidFill>
              </a:rPr>
            </a:br>
            <a:r>
              <a:rPr lang="en-US" sz="6000" dirty="0">
                <a:solidFill>
                  <a:srgbClr val="0070C0"/>
                </a:solidFill>
              </a:rPr>
              <a:t>Economy</a:t>
            </a:r>
          </a:p>
        </p:txBody>
      </p:sp>
      <p:pic>
        <p:nvPicPr>
          <p:cNvPr id="7" name="Picture 6">
            <a:extLst>
              <a:ext uri="{FF2B5EF4-FFF2-40B4-BE49-F238E27FC236}">
                <a16:creationId xmlns:a16="http://schemas.microsoft.com/office/drawing/2014/main" id="{1C029A98-CBF1-4C4E-ADB0-6AA1BE739D01}"/>
              </a:ext>
            </a:extLst>
          </p:cNvPr>
          <p:cNvPicPr>
            <a:picLocks noChangeAspect="1"/>
          </p:cNvPicPr>
          <p:nvPr/>
        </p:nvPicPr>
        <p:blipFill>
          <a:blip r:embed="rId3"/>
          <a:stretch>
            <a:fillRect/>
          </a:stretch>
        </p:blipFill>
        <p:spPr>
          <a:xfrm>
            <a:off x="0" y="2721586"/>
            <a:ext cx="9144000" cy="2421914"/>
          </a:xfrm>
          <a:prstGeom prst="rect">
            <a:avLst/>
          </a:prstGeom>
        </p:spPr>
      </p:pic>
      <mc:AlternateContent xmlns:mc="http://schemas.openxmlformats.org/markup-compatibility/2006" xmlns:p14="http://schemas.microsoft.com/office/powerpoint/2010/main" xmlns:aink="http://schemas.microsoft.com/office/drawing/2016/ink">
        <mc:Choice Requires="p14 aink">
          <p:contentPart p14:bwMode="auto" r:id="rId4">
            <p14:nvContentPartPr>
              <p14:cNvPr id="2" name="Ink 1">
                <a:extLst>
                  <a:ext uri="{FF2B5EF4-FFF2-40B4-BE49-F238E27FC236}">
                    <a16:creationId xmlns:a16="http://schemas.microsoft.com/office/drawing/2014/main" id="{169A98AC-1A28-4C6E-92BA-24C4A4296DD2}"/>
                  </a:ext>
                </a:extLst>
              </p14:cNvPr>
              <p14:cNvContentPartPr/>
              <p14:nvPr/>
            </p14:nvContentPartPr>
            <p14:xfrm>
              <a:off x="7747513" y="2721586"/>
              <a:ext cx="35280" cy="192240"/>
            </p14:xfrm>
          </p:contentPart>
        </mc:Choice>
        <mc:Fallback xmlns="">
          <p:pic>
            <p:nvPicPr>
              <p:cNvPr id="2" name="Ink 1">
                <a:extLst>
                  <a:ext uri="{FF2B5EF4-FFF2-40B4-BE49-F238E27FC236}">
                    <a16:creationId xmlns:a16="http://schemas.microsoft.com/office/drawing/2014/main" id="{169A98AC-1A28-4C6E-92BA-24C4A4296DD2}"/>
                  </a:ext>
                </a:extLst>
              </p:cNvPr>
              <p:cNvPicPr/>
              <p:nvPr/>
            </p:nvPicPr>
            <p:blipFill>
              <a:blip r:embed="rId5"/>
              <a:stretch>
                <a:fillRect/>
              </a:stretch>
            </p:blipFill>
            <p:spPr>
              <a:xfrm>
                <a:off x="7729513" y="2613946"/>
                <a:ext cx="70920" cy="407880"/>
              </a:xfrm>
              <a:prstGeom prst="rect">
                <a:avLst/>
              </a:prstGeom>
            </p:spPr>
          </p:pic>
        </mc:Fallback>
      </mc:AlternateContent>
      <p:grpSp>
        <p:nvGrpSpPr>
          <p:cNvPr id="8" name="Group 7">
            <a:extLst>
              <a:ext uri="{FF2B5EF4-FFF2-40B4-BE49-F238E27FC236}">
                <a16:creationId xmlns:a16="http://schemas.microsoft.com/office/drawing/2014/main" id="{876B9019-C627-46B6-890C-F62685467D78}"/>
              </a:ext>
            </a:extLst>
          </p:cNvPr>
          <p:cNvGrpSpPr/>
          <p:nvPr/>
        </p:nvGrpSpPr>
        <p:grpSpPr>
          <a:xfrm>
            <a:off x="7352233" y="2678026"/>
            <a:ext cx="748440" cy="552240"/>
            <a:chOff x="7352233" y="2678026"/>
            <a:chExt cx="748440" cy="552240"/>
          </a:xfrm>
        </p:grpSpPr>
        <mc:AlternateContent xmlns:mc="http://schemas.openxmlformats.org/markup-compatibility/2006" xmlns:p14="http://schemas.microsoft.com/office/powerpoint/2010/main" xmlns:aink="http://schemas.microsoft.com/office/drawing/2016/ink">
          <mc:Choice Requires="p14 aink">
            <p:contentPart p14:bwMode="auto" r:id="rId6">
              <p14:nvContentPartPr>
                <p14:cNvPr id="3" name="Ink 2">
                  <a:extLst>
                    <a:ext uri="{FF2B5EF4-FFF2-40B4-BE49-F238E27FC236}">
                      <a16:creationId xmlns:a16="http://schemas.microsoft.com/office/drawing/2014/main" id="{FFB379E4-F6EF-4E56-B86C-AFAFD6A7CA4A}"/>
                    </a:ext>
                  </a:extLst>
                </p14:cNvPr>
                <p14:cNvContentPartPr/>
                <p14:nvPr/>
              </p14:nvContentPartPr>
              <p14:xfrm>
                <a:off x="7384993" y="2688466"/>
                <a:ext cx="490320" cy="462960"/>
              </p14:xfrm>
            </p:contentPart>
          </mc:Choice>
          <mc:Fallback xmlns="">
            <p:pic>
              <p:nvPicPr>
                <p:cNvPr id="3" name="Ink 2">
                  <a:extLst>
                    <a:ext uri="{FF2B5EF4-FFF2-40B4-BE49-F238E27FC236}">
                      <a16:creationId xmlns:a16="http://schemas.microsoft.com/office/drawing/2014/main" id="{FFB379E4-F6EF-4E56-B86C-AFAFD6A7CA4A}"/>
                    </a:ext>
                  </a:extLst>
                </p:cNvPr>
                <p:cNvPicPr/>
                <p:nvPr/>
              </p:nvPicPr>
              <p:blipFill>
                <a:blip r:embed="rId7"/>
                <a:stretch>
                  <a:fillRect/>
                </a:stretch>
              </p:blipFill>
              <p:spPr>
                <a:xfrm>
                  <a:off x="7367353" y="2580466"/>
                  <a:ext cx="525960" cy="6786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8">
              <p14:nvContentPartPr>
                <p14:cNvPr id="4" name="Ink 3">
                  <a:extLst>
                    <a:ext uri="{FF2B5EF4-FFF2-40B4-BE49-F238E27FC236}">
                      <a16:creationId xmlns:a16="http://schemas.microsoft.com/office/drawing/2014/main" id="{9379A7F8-E54B-44AD-8EB9-EE8A296E361D}"/>
                    </a:ext>
                  </a:extLst>
                </p14:cNvPr>
                <p14:cNvContentPartPr/>
                <p14:nvPr/>
              </p14:nvContentPartPr>
              <p14:xfrm>
                <a:off x="7352233" y="2813386"/>
                <a:ext cx="581760" cy="322920"/>
              </p14:xfrm>
            </p:contentPart>
          </mc:Choice>
          <mc:Fallback xmlns="">
            <p:pic>
              <p:nvPicPr>
                <p:cNvPr id="4" name="Ink 3">
                  <a:extLst>
                    <a:ext uri="{FF2B5EF4-FFF2-40B4-BE49-F238E27FC236}">
                      <a16:creationId xmlns:a16="http://schemas.microsoft.com/office/drawing/2014/main" id="{9379A7F8-E54B-44AD-8EB9-EE8A296E361D}"/>
                    </a:ext>
                  </a:extLst>
                </p:cNvPr>
                <p:cNvPicPr/>
                <p:nvPr/>
              </p:nvPicPr>
              <p:blipFill>
                <a:blip r:embed="rId9"/>
                <a:stretch>
                  <a:fillRect/>
                </a:stretch>
              </p:blipFill>
              <p:spPr>
                <a:xfrm>
                  <a:off x="7334233" y="2705386"/>
                  <a:ext cx="617400" cy="53856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0">
              <p14:nvContentPartPr>
                <p14:cNvPr id="6" name="Ink 5">
                  <a:extLst>
                    <a:ext uri="{FF2B5EF4-FFF2-40B4-BE49-F238E27FC236}">
                      <a16:creationId xmlns:a16="http://schemas.microsoft.com/office/drawing/2014/main" id="{FD2F5A3D-EC74-4260-AB2F-1334FB6928DB}"/>
                    </a:ext>
                  </a:extLst>
                </p14:cNvPr>
                <p14:cNvContentPartPr/>
                <p14:nvPr/>
              </p14:nvContentPartPr>
              <p14:xfrm>
                <a:off x="7391833" y="2678026"/>
                <a:ext cx="708840" cy="552240"/>
              </p14:xfrm>
            </p:contentPart>
          </mc:Choice>
          <mc:Fallback xmlns="">
            <p:pic>
              <p:nvPicPr>
                <p:cNvPr id="6" name="Ink 5">
                  <a:extLst>
                    <a:ext uri="{FF2B5EF4-FFF2-40B4-BE49-F238E27FC236}">
                      <a16:creationId xmlns:a16="http://schemas.microsoft.com/office/drawing/2014/main" id="{FD2F5A3D-EC74-4260-AB2F-1334FB6928DB}"/>
                    </a:ext>
                  </a:extLst>
                </p:cNvPr>
                <p:cNvPicPr/>
                <p:nvPr/>
              </p:nvPicPr>
              <p:blipFill>
                <a:blip r:embed="rId11"/>
                <a:stretch>
                  <a:fillRect/>
                </a:stretch>
              </p:blipFill>
              <p:spPr>
                <a:xfrm>
                  <a:off x="7329193" y="2300026"/>
                  <a:ext cx="834480" cy="13078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2">
            <p14:nvContentPartPr>
              <p14:cNvPr id="11" name="Ink 10">
                <a:extLst>
                  <a:ext uri="{FF2B5EF4-FFF2-40B4-BE49-F238E27FC236}">
                    <a16:creationId xmlns:a16="http://schemas.microsoft.com/office/drawing/2014/main" id="{FF093E82-E1B2-42FE-A90D-63463277AD14}"/>
                  </a:ext>
                </a:extLst>
              </p14:cNvPr>
              <p14:cNvContentPartPr/>
              <p14:nvPr/>
            </p14:nvContentPartPr>
            <p14:xfrm>
              <a:off x="-694847" y="1034626"/>
              <a:ext cx="360" cy="360"/>
            </p14:xfrm>
          </p:contentPart>
        </mc:Choice>
        <mc:Fallback xmlns="">
          <p:pic>
            <p:nvPicPr>
              <p:cNvPr id="11" name="Ink 10">
                <a:extLst>
                  <a:ext uri="{FF2B5EF4-FFF2-40B4-BE49-F238E27FC236}">
                    <a16:creationId xmlns:a16="http://schemas.microsoft.com/office/drawing/2014/main" id="{FF093E82-E1B2-42FE-A90D-63463277AD14}"/>
                  </a:ext>
                </a:extLst>
              </p:cNvPr>
              <p:cNvPicPr/>
              <p:nvPr/>
            </p:nvPicPr>
            <p:blipFill>
              <a:blip r:embed="rId13"/>
              <a:stretch>
                <a:fillRect/>
              </a:stretch>
            </p:blipFill>
            <p:spPr>
              <a:xfrm>
                <a:off x="-748847" y="926626"/>
                <a:ext cx="108000" cy="216000"/>
              </a:xfrm>
              <a:prstGeom prst="rect">
                <a:avLst/>
              </a:prstGeom>
            </p:spPr>
          </p:pic>
        </mc:Fallback>
      </mc:AlternateContent>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Shape 219"/>
        <p:cNvGrpSpPr/>
        <p:nvPr/>
      </p:nvGrpSpPr>
      <p:grpSpPr>
        <a:xfrm>
          <a:off x="0" y="0"/>
          <a:ext cx="0" cy="0"/>
          <a:chOff x="0" y="0"/>
          <a:chExt cx="0" cy="0"/>
        </a:xfrm>
      </p:grpSpPr>
      <p:sp>
        <p:nvSpPr>
          <p:cNvPr id="220" name="Google Shape;220;p28"/>
          <p:cNvSpPr txBox="1">
            <a:spLocks noGrp="1"/>
          </p:cNvSpPr>
          <p:nvPr>
            <p:ph type="title" idx="4294967295"/>
          </p:nvPr>
        </p:nvSpPr>
        <p:spPr>
          <a:xfrm>
            <a:off x="924460" y="95942"/>
            <a:ext cx="7068300" cy="396300"/>
          </a:xfrm>
          <a:prstGeom prst="rect">
            <a:avLst/>
          </a:prstGeom>
        </p:spPr>
        <p:txBody>
          <a:bodyPr spcFirstLastPara="1" wrap="square" lIns="0" tIns="0" rIns="0" bIns="0" anchor="b" anchorCtr="0">
            <a:noAutofit/>
          </a:bodyPr>
          <a:lstStyle/>
          <a:p>
            <a:pPr marL="0" lvl="0" indent="0" algn="ctr" rtl="0">
              <a:spcBef>
                <a:spcPts val="0"/>
              </a:spcBef>
              <a:spcAft>
                <a:spcPts val="0"/>
              </a:spcAft>
              <a:buNone/>
            </a:pPr>
            <a:r>
              <a:rPr lang="en-US" sz="2400" dirty="0">
                <a:solidFill>
                  <a:srgbClr val="0070C0"/>
                </a:solidFill>
              </a:rPr>
              <a:t>Share of India's Female Labour Force by Sector</a:t>
            </a:r>
          </a:p>
        </p:txBody>
      </p:sp>
      <p:graphicFrame>
        <p:nvGraphicFramePr>
          <p:cNvPr id="29" name="Chart 28">
            <a:extLst>
              <a:ext uri="{FF2B5EF4-FFF2-40B4-BE49-F238E27FC236}">
                <a16:creationId xmlns:a16="http://schemas.microsoft.com/office/drawing/2014/main" id="{614B6F50-8F7F-4B6A-8E92-E5530B19C8B2}"/>
              </a:ext>
            </a:extLst>
          </p:cNvPr>
          <p:cNvGraphicFramePr>
            <a:graphicFrameLocks/>
          </p:cNvGraphicFramePr>
          <p:nvPr>
            <p:extLst>
              <p:ext uri="{D42A27DB-BD31-4B8C-83A1-F6EECF244321}">
                <p14:modId xmlns:p14="http://schemas.microsoft.com/office/powerpoint/2010/main" val="776505153"/>
              </p:ext>
            </p:extLst>
          </p:nvPr>
        </p:nvGraphicFramePr>
        <p:xfrm>
          <a:off x="-374532" y="962941"/>
          <a:ext cx="4634644" cy="3701208"/>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968717FA-0156-4547-84A2-4E2178AF08DF}"/>
              </a:ext>
            </a:extLst>
          </p:cNvPr>
          <p:cNvSpPr txBox="1"/>
          <p:nvPr/>
        </p:nvSpPr>
        <p:spPr>
          <a:xfrm>
            <a:off x="3593804" y="608522"/>
            <a:ext cx="5401339" cy="4439036"/>
          </a:xfrm>
          <a:prstGeom prst="rect">
            <a:avLst/>
          </a:prstGeom>
          <a:noFill/>
        </p:spPr>
        <p:txBody>
          <a:bodyPr wrap="square" rtlCol="0">
            <a:spAutoFit/>
          </a:bodyPr>
          <a:lstStyle/>
          <a:p>
            <a:pPr marL="171450" indent="-171450">
              <a:lnSpc>
                <a:spcPct val="115000"/>
              </a:lnSpc>
              <a:spcAft>
                <a:spcPts val="1000"/>
              </a:spcAft>
              <a:buFont typeface="Arial" panose="020B0604020202020204" pitchFamily="34" charset="0"/>
              <a:buChar char="•"/>
            </a:pPr>
            <a:r>
              <a:rPr lang="en-IN" sz="1050" dirty="0">
                <a:effectLst/>
                <a:latin typeface="Calibri" panose="020F0502020204030204" pitchFamily="34" charset="0"/>
                <a:ea typeface="Calibri" panose="020F0502020204030204" pitchFamily="34" charset="0"/>
                <a:cs typeface="Mangal" panose="02040503050203030202" pitchFamily="18" charset="0"/>
              </a:rPr>
              <a:t>In the year 2018-19 about 20.7% of women were involved in labour force across in India. The female labour force is an important indicator that reflects the economy active work force.</a:t>
            </a:r>
          </a:p>
          <a:p>
            <a:pPr marL="171450" indent="-171450">
              <a:lnSpc>
                <a:spcPct val="115000"/>
              </a:lnSpc>
              <a:spcAft>
                <a:spcPts val="1000"/>
              </a:spcAft>
              <a:buFont typeface="Arial" panose="020B0604020202020204" pitchFamily="34" charset="0"/>
              <a:buChar char="•"/>
            </a:pPr>
            <a:r>
              <a:rPr lang="en-IN" sz="1050" dirty="0">
                <a:effectLst/>
                <a:latin typeface="Calibri" panose="020F0502020204030204" pitchFamily="34" charset="0"/>
                <a:ea typeface="Calibri" panose="020F0502020204030204" pitchFamily="34" charset="0"/>
                <a:cs typeface="Mangal" panose="02040503050203030202" pitchFamily="18" charset="0"/>
              </a:rPr>
              <a:t> Overall 63% of the population in India is merged in agricultural activities . agriculture is the engine of growth &amp; poverty reduction. As per the data given by world bank about 17.5% of </a:t>
            </a:r>
            <a:r>
              <a:rPr lang="en-IN" sz="1050" dirty="0">
                <a:latin typeface="Calibri" panose="020F0502020204030204" pitchFamily="34" charset="0"/>
                <a:ea typeface="Calibri" panose="020F0502020204030204" pitchFamily="34" charset="0"/>
                <a:cs typeface="Mangal" panose="02040503050203030202" pitchFamily="18" charset="0"/>
              </a:rPr>
              <a:t>I</a:t>
            </a:r>
            <a:r>
              <a:rPr lang="en-IN" sz="1050" dirty="0">
                <a:effectLst/>
                <a:latin typeface="Calibri" panose="020F0502020204030204" pitchFamily="34" charset="0"/>
                <a:ea typeface="Calibri" panose="020F0502020204030204" pitchFamily="34" charset="0"/>
                <a:cs typeface="Mangal" panose="02040503050203030202" pitchFamily="18" charset="0"/>
              </a:rPr>
              <a:t>ndia GDP is accounted by means of agricultural production. So their percentage become high in both rural and urban area.</a:t>
            </a:r>
          </a:p>
          <a:p>
            <a:pPr marL="171450" indent="-171450">
              <a:lnSpc>
                <a:spcPct val="115000"/>
              </a:lnSpc>
              <a:spcAft>
                <a:spcPts val="1000"/>
              </a:spcAft>
              <a:buFont typeface="Arial" panose="020B0604020202020204" pitchFamily="34" charset="0"/>
              <a:buChar char="•"/>
            </a:pPr>
            <a:r>
              <a:rPr lang="en-IN" sz="1050" dirty="0">
                <a:effectLst/>
                <a:latin typeface="Calibri" panose="020F0502020204030204" pitchFamily="34" charset="0"/>
                <a:ea typeface="Calibri" panose="020F0502020204030204" pitchFamily="34" charset="0"/>
                <a:cs typeface="Mangal" panose="02040503050203030202" pitchFamily="18" charset="0"/>
              </a:rPr>
              <a:t>Participation of women in manufacturing sector in only 13% . It is observed that there  is unawareness among women about the job opportunity in this sector. This leads to condition for women participation in this sector have worsened significantly.</a:t>
            </a:r>
          </a:p>
          <a:p>
            <a:pPr marL="171450" indent="-171450">
              <a:lnSpc>
                <a:spcPct val="115000"/>
              </a:lnSpc>
              <a:spcAft>
                <a:spcPts val="1000"/>
              </a:spcAft>
              <a:buFont typeface="Arial" panose="020B0604020202020204" pitchFamily="34" charset="0"/>
              <a:buChar char="•"/>
            </a:pPr>
            <a:r>
              <a:rPr lang="en-IN" sz="1050" dirty="0">
                <a:effectLst/>
                <a:latin typeface="Calibri" panose="020F0502020204030204" pitchFamily="34" charset="0"/>
                <a:ea typeface="Calibri" panose="020F0502020204030204" pitchFamily="34" charset="0"/>
                <a:cs typeface="Mangal" panose="02040503050203030202" pitchFamily="18" charset="0"/>
              </a:rPr>
              <a:t>Construction is the second largest industry in  India after agriculture.  However involvement of manpower is not so significant. Still this sector adds to GDP as well as generates an employment in  significant terms .women still don’t try to seek for the  jobs in this sector due to environmental &amp; cultural barriers. Hence their percentage is low(6%).</a:t>
            </a:r>
          </a:p>
          <a:p>
            <a:pPr marL="171450" indent="-171450">
              <a:lnSpc>
                <a:spcPct val="115000"/>
              </a:lnSpc>
              <a:spcAft>
                <a:spcPts val="1000"/>
              </a:spcAft>
              <a:buFont typeface="Arial" panose="020B0604020202020204" pitchFamily="34" charset="0"/>
              <a:buChar char="•"/>
            </a:pPr>
            <a:r>
              <a:rPr lang="en-IN" sz="1050" dirty="0">
                <a:effectLst/>
                <a:latin typeface="Calibri" panose="020F0502020204030204" pitchFamily="34" charset="0"/>
                <a:ea typeface="Calibri" panose="020F0502020204030204" pitchFamily="34" charset="0"/>
                <a:cs typeface="Mangal" panose="02040503050203030202" pitchFamily="18" charset="0"/>
              </a:rPr>
              <a:t>A more skilled women would have more potential to increase their earning resulting in an increase in labour participation, via education. But graph shows us that only 4% share of women in education sector. This may be due to the fact that this sector requires most of its employed to be skilled.</a:t>
            </a:r>
          </a:p>
          <a:p>
            <a:pPr marL="171450" indent="-171450">
              <a:lnSpc>
                <a:spcPct val="115000"/>
              </a:lnSpc>
              <a:spcAft>
                <a:spcPts val="1000"/>
              </a:spcAft>
              <a:buFont typeface="Arial" panose="020B0604020202020204" pitchFamily="34" charset="0"/>
              <a:buChar char="•"/>
            </a:pPr>
            <a:r>
              <a:rPr lang="en-IN" sz="1050" dirty="0">
                <a:effectLst/>
                <a:latin typeface="Calibri" panose="020F0502020204030204" pitchFamily="34" charset="0"/>
                <a:ea typeface="Calibri" panose="020F0502020204030204" pitchFamily="34" charset="0"/>
                <a:cs typeface="Mangal" panose="02040503050203030202" pitchFamily="18" charset="0"/>
              </a:rPr>
              <a:t>The retail and wholesale sector is very important in terms of both economic size and social impact. Share of the women in this sector is only 4% due to the  broad cluster of trends such as demographic structure , economic trend , environmental challenges etc.</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735F7F3-C1B5-4B60-A00A-4EB618DDFB5A}"/>
              </a:ext>
            </a:extLst>
          </p:cNvPr>
          <p:cNvSpPr>
            <a:spLocks noGrp="1"/>
          </p:cNvSpPr>
          <p:nvPr>
            <p:ph type="body" sz="quarter" idx="10"/>
          </p:nvPr>
        </p:nvSpPr>
        <p:spPr>
          <a:xfrm>
            <a:off x="232051" y="126581"/>
            <a:ext cx="8679898" cy="543185"/>
          </a:xfrm>
        </p:spPr>
        <p:txBody>
          <a:bodyPr/>
          <a:lstStyle/>
          <a:p>
            <a:r>
              <a:rPr lang="en-US" b="1" dirty="0">
                <a:solidFill>
                  <a:srgbClr val="0070C0"/>
                </a:solidFill>
              </a:rPr>
              <a:t>Factors Affecting FLPR</a:t>
            </a:r>
          </a:p>
        </p:txBody>
      </p:sp>
      <p:sp>
        <p:nvSpPr>
          <p:cNvPr id="3" name="Freeform 87">
            <a:extLst>
              <a:ext uri="{FF2B5EF4-FFF2-40B4-BE49-F238E27FC236}">
                <a16:creationId xmlns:a16="http://schemas.microsoft.com/office/drawing/2014/main" id="{A968D45B-890B-41AB-BFA8-A865A841BD4D}"/>
              </a:ext>
            </a:extLst>
          </p:cNvPr>
          <p:cNvSpPr/>
          <p:nvPr/>
        </p:nvSpPr>
        <p:spPr>
          <a:xfrm>
            <a:off x="3873412" y="2740172"/>
            <a:ext cx="1275848" cy="2217719"/>
          </a:xfrm>
          <a:custGeom>
            <a:avLst/>
            <a:gdLst>
              <a:gd name="connsiteX0" fmla="*/ 1847850 w 3571875"/>
              <a:gd name="connsiteY0" fmla="*/ 6791325 h 6791325"/>
              <a:gd name="connsiteX1" fmla="*/ 3571875 w 3571875"/>
              <a:gd name="connsiteY1" fmla="*/ 6781800 h 6791325"/>
              <a:gd name="connsiteX2" fmla="*/ 2514600 w 3571875"/>
              <a:gd name="connsiteY2" fmla="*/ 3819525 h 6791325"/>
              <a:gd name="connsiteX3" fmla="*/ 2390775 w 3571875"/>
              <a:gd name="connsiteY3" fmla="*/ 3267075 h 6791325"/>
              <a:gd name="connsiteX4" fmla="*/ 2752725 w 3571875"/>
              <a:gd name="connsiteY4" fmla="*/ 2162175 h 6791325"/>
              <a:gd name="connsiteX5" fmla="*/ 3390900 w 3571875"/>
              <a:gd name="connsiteY5" fmla="*/ 1247775 h 6791325"/>
              <a:gd name="connsiteX6" fmla="*/ 3209925 w 3571875"/>
              <a:gd name="connsiteY6" fmla="*/ 1133475 h 6791325"/>
              <a:gd name="connsiteX7" fmla="*/ 2543175 w 3571875"/>
              <a:gd name="connsiteY7" fmla="*/ 1857375 h 6791325"/>
              <a:gd name="connsiteX8" fmla="*/ 2371725 w 3571875"/>
              <a:gd name="connsiteY8" fmla="*/ 1752600 h 6791325"/>
              <a:gd name="connsiteX9" fmla="*/ 2771775 w 3571875"/>
              <a:gd name="connsiteY9" fmla="*/ 390525 h 6791325"/>
              <a:gd name="connsiteX10" fmla="*/ 2486025 w 3571875"/>
              <a:gd name="connsiteY10" fmla="*/ 295275 h 6791325"/>
              <a:gd name="connsiteX11" fmla="*/ 2124075 w 3571875"/>
              <a:gd name="connsiteY11" fmla="*/ 1609725 h 6791325"/>
              <a:gd name="connsiteX12" fmla="*/ 1971675 w 3571875"/>
              <a:gd name="connsiteY12" fmla="*/ 1495425 h 6791325"/>
              <a:gd name="connsiteX13" fmla="*/ 1990725 w 3571875"/>
              <a:gd name="connsiteY13" fmla="*/ 0 h 6791325"/>
              <a:gd name="connsiteX14" fmla="*/ 1790700 w 3571875"/>
              <a:gd name="connsiteY14" fmla="*/ 66675 h 6791325"/>
              <a:gd name="connsiteX15" fmla="*/ 1724025 w 3571875"/>
              <a:gd name="connsiteY15" fmla="*/ 1514475 h 6791325"/>
              <a:gd name="connsiteX16" fmla="*/ 1524000 w 3571875"/>
              <a:gd name="connsiteY16" fmla="*/ 1504950 h 6791325"/>
              <a:gd name="connsiteX17" fmla="*/ 1352550 w 3571875"/>
              <a:gd name="connsiteY17" fmla="*/ 123825 h 6791325"/>
              <a:gd name="connsiteX18" fmla="*/ 1171575 w 3571875"/>
              <a:gd name="connsiteY18" fmla="*/ 123825 h 6791325"/>
              <a:gd name="connsiteX19" fmla="*/ 1219200 w 3571875"/>
              <a:gd name="connsiteY19" fmla="*/ 1638300 h 6791325"/>
              <a:gd name="connsiteX20" fmla="*/ 1057275 w 3571875"/>
              <a:gd name="connsiteY20" fmla="*/ 2190750 h 6791325"/>
              <a:gd name="connsiteX21" fmla="*/ 800100 w 3571875"/>
              <a:gd name="connsiteY21" fmla="*/ 2247900 h 6791325"/>
              <a:gd name="connsiteX22" fmla="*/ 85725 w 3571875"/>
              <a:gd name="connsiteY22" fmla="*/ 1733550 h 6791325"/>
              <a:gd name="connsiteX23" fmla="*/ 0 w 3571875"/>
              <a:gd name="connsiteY23" fmla="*/ 2038350 h 6791325"/>
              <a:gd name="connsiteX24" fmla="*/ 609600 w 3571875"/>
              <a:gd name="connsiteY24" fmla="*/ 2743200 h 6791325"/>
              <a:gd name="connsiteX25" fmla="*/ 1238250 w 3571875"/>
              <a:gd name="connsiteY25" fmla="*/ 3476625 h 6791325"/>
              <a:gd name="connsiteX26" fmla="*/ 1457325 w 3571875"/>
              <a:gd name="connsiteY26" fmla="*/ 4010025 h 6791325"/>
              <a:gd name="connsiteX27" fmla="*/ 1847850 w 3571875"/>
              <a:gd name="connsiteY27" fmla="*/ 6791325 h 6791325"/>
              <a:gd name="connsiteX0" fmla="*/ 1889034 w 3613059"/>
              <a:gd name="connsiteY0" fmla="*/ 6791325 h 6791325"/>
              <a:gd name="connsiteX1" fmla="*/ 3613059 w 3613059"/>
              <a:gd name="connsiteY1" fmla="*/ 6781800 h 6791325"/>
              <a:gd name="connsiteX2" fmla="*/ 2555784 w 3613059"/>
              <a:gd name="connsiteY2" fmla="*/ 3819525 h 6791325"/>
              <a:gd name="connsiteX3" fmla="*/ 2431959 w 3613059"/>
              <a:gd name="connsiteY3" fmla="*/ 3267075 h 6791325"/>
              <a:gd name="connsiteX4" fmla="*/ 2793909 w 3613059"/>
              <a:gd name="connsiteY4" fmla="*/ 2162175 h 6791325"/>
              <a:gd name="connsiteX5" fmla="*/ 3432084 w 3613059"/>
              <a:gd name="connsiteY5" fmla="*/ 1247775 h 6791325"/>
              <a:gd name="connsiteX6" fmla="*/ 3251109 w 3613059"/>
              <a:gd name="connsiteY6" fmla="*/ 1133475 h 6791325"/>
              <a:gd name="connsiteX7" fmla="*/ 2584359 w 3613059"/>
              <a:gd name="connsiteY7" fmla="*/ 1857375 h 6791325"/>
              <a:gd name="connsiteX8" fmla="*/ 2412909 w 3613059"/>
              <a:gd name="connsiteY8" fmla="*/ 1752600 h 6791325"/>
              <a:gd name="connsiteX9" fmla="*/ 2812959 w 3613059"/>
              <a:gd name="connsiteY9" fmla="*/ 390525 h 6791325"/>
              <a:gd name="connsiteX10" fmla="*/ 2527209 w 3613059"/>
              <a:gd name="connsiteY10" fmla="*/ 295275 h 6791325"/>
              <a:gd name="connsiteX11" fmla="*/ 2165259 w 3613059"/>
              <a:gd name="connsiteY11" fmla="*/ 1609725 h 6791325"/>
              <a:gd name="connsiteX12" fmla="*/ 2012859 w 3613059"/>
              <a:gd name="connsiteY12" fmla="*/ 1495425 h 6791325"/>
              <a:gd name="connsiteX13" fmla="*/ 2031909 w 3613059"/>
              <a:gd name="connsiteY13" fmla="*/ 0 h 6791325"/>
              <a:gd name="connsiteX14" fmla="*/ 1831884 w 3613059"/>
              <a:gd name="connsiteY14" fmla="*/ 66675 h 6791325"/>
              <a:gd name="connsiteX15" fmla="*/ 1765209 w 3613059"/>
              <a:gd name="connsiteY15" fmla="*/ 1514475 h 6791325"/>
              <a:gd name="connsiteX16" fmla="*/ 1565184 w 3613059"/>
              <a:gd name="connsiteY16" fmla="*/ 1504950 h 6791325"/>
              <a:gd name="connsiteX17" fmla="*/ 1393734 w 3613059"/>
              <a:gd name="connsiteY17" fmla="*/ 123825 h 6791325"/>
              <a:gd name="connsiteX18" fmla="*/ 1212759 w 3613059"/>
              <a:gd name="connsiteY18" fmla="*/ 123825 h 6791325"/>
              <a:gd name="connsiteX19" fmla="*/ 1260384 w 3613059"/>
              <a:gd name="connsiteY19" fmla="*/ 1638300 h 6791325"/>
              <a:gd name="connsiteX20" fmla="*/ 1098459 w 3613059"/>
              <a:gd name="connsiteY20" fmla="*/ 2190750 h 6791325"/>
              <a:gd name="connsiteX21" fmla="*/ 841284 w 3613059"/>
              <a:gd name="connsiteY21" fmla="*/ 2247900 h 6791325"/>
              <a:gd name="connsiteX22" fmla="*/ 126909 w 3613059"/>
              <a:gd name="connsiteY22" fmla="*/ 1733550 h 6791325"/>
              <a:gd name="connsiteX23" fmla="*/ 41184 w 3613059"/>
              <a:gd name="connsiteY23" fmla="*/ 2038350 h 6791325"/>
              <a:gd name="connsiteX24" fmla="*/ 650784 w 3613059"/>
              <a:gd name="connsiteY24" fmla="*/ 2743200 h 6791325"/>
              <a:gd name="connsiteX25" fmla="*/ 1279434 w 3613059"/>
              <a:gd name="connsiteY25" fmla="*/ 3476625 h 6791325"/>
              <a:gd name="connsiteX26" fmla="*/ 1498509 w 3613059"/>
              <a:gd name="connsiteY26" fmla="*/ 4010025 h 6791325"/>
              <a:gd name="connsiteX27" fmla="*/ 1889034 w 3613059"/>
              <a:gd name="connsiteY27" fmla="*/ 6791325 h 6791325"/>
              <a:gd name="connsiteX0" fmla="*/ 1872461 w 3596486"/>
              <a:gd name="connsiteY0" fmla="*/ 6791325 h 6791325"/>
              <a:gd name="connsiteX1" fmla="*/ 3596486 w 3596486"/>
              <a:gd name="connsiteY1" fmla="*/ 6781800 h 6791325"/>
              <a:gd name="connsiteX2" fmla="*/ 2539211 w 3596486"/>
              <a:gd name="connsiteY2" fmla="*/ 3819525 h 6791325"/>
              <a:gd name="connsiteX3" fmla="*/ 2415386 w 3596486"/>
              <a:gd name="connsiteY3" fmla="*/ 3267075 h 6791325"/>
              <a:gd name="connsiteX4" fmla="*/ 2777336 w 3596486"/>
              <a:gd name="connsiteY4" fmla="*/ 2162175 h 6791325"/>
              <a:gd name="connsiteX5" fmla="*/ 3415511 w 3596486"/>
              <a:gd name="connsiteY5" fmla="*/ 1247775 h 6791325"/>
              <a:gd name="connsiteX6" fmla="*/ 3234536 w 3596486"/>
              <a:gd name="connsiteY6" fmla="*/ 1133475 h 6791325"/>
              <a:gd name="connsiteX7" fmla="*/ 2567786 w 3596486"/>
              <a:gd name="connsiteY7" fmla="*/ 1857375 h 6791325"/>
              <a:gd name="connsiteX8" fmla="*/ 2396336 w 3596486"/>
              <a:gd name="connsiteY8" fmla="*/ 1752600 h 6791325"/>
              <a:gd name="connsiteX9" fmla="*/ 2796386 w 3596486"/>
              <a:gd name="connsiteY9" fmla="*/ 390525 h 6791325"/>
              <a:gd name="connsiteX10" fmla="*/ 2510636 w 3596486"/>
              <a:gd name="connsiteY10" fmla="*/ 295275 h 6791325"/>
              <a:gd name="connsiteX11" fmla="*/ 2148686 w 3596486"/>
              <a:gd name="connsiteY11" fmla="*/ 1609725 h 6791325"/>
              <a:gd name="connsiteX12" fmla="*/ 1996286 w 3596486"/>
              <a:gd name="connsiteY12" fmla="*/ 1495425 h 6791325"/>
              <a:gd name="connsiteX13" fmla="*/ 2015336 w 3596486"/>
              <a:gd name="connsiteY13" fmla="*/ 0 h 6791325"/>
              <a:gd name="connsiteX14" fmla="*/ 1815311 w 3596486"/>
              <a:gd name="connsiteY14" fmla="*/ 66675 h 6791325"/>
              <a:gd name="connsiteX15" fmla="*/ 1748636 w 3596486"/>
              <a:gd name="connsiteY15" fmla="*/ 1514475 h 6791325"/>
              <a:gd name="connsiteX16" fmla="*/ 1548611 w 3596486"/>
              <a:gd name="connsiteY16" fmla="*/ 1504950 h 6791325"/>
              <a:gd name="connsiteX17" fmla="*/ 1377161 w 3596486"/>
              <a:gd name="connsiteY17" fmla="*/ 123825 h 6791325"/>
              <a:gd name="connsiteX18" fmla="*/ 1196186 w 3596486"/>
              <a:gd name="connsiteY18" fmla="*/ 123825 h 6791325"/>
              <a:gd name="connsiteX19" fmla="*/ 1243811 w 3596486"/>
              <a:gd name="connsiteY19" fmla="*/ 1638300 h 6791325"/>
              <a:gd name="connsiteX20" fmla="*/ 1081886 w 3596486"/>
              <a:gd name="connsiteY20" fmla="*/ 2190750 h 6791325"/>
              <a:gd name="connsiteX21" fmla="*/ 824711 w 3596486"/>
              <a:gd name="connsiteY21" fmla="*/ 2247900 h 6791325"/>
              <a:gd name="connsiteX22" fmla="*/ 110336 w 3596486"/>
              <a:gd name="connsiteY22" fmla="*/ 1733550 h 6791325"/>
              <a:gd name="connsiteX23" fmla="*/ 76998 w 3596486"/>
              <a:gd name="connsiteY23" fmla="*/ 2038350 h 6791325"/>
              <a:gd name="connsiteX24" fmla="*/ 634211 w 3596486"/>
              <a:gd name="connsiteY24" fmla="*/ 2743200 h 6791325"/>
              <a:gd name="connsiteX25" fmla="*/ 1262861 w 3596486"/>
              <a:gd name="connsiteY25" fmla="*/ 3476625 h 6791325"/>
              <a:gd name="connsiteX26" fmla="*/ 1481936 w 3596486"/>
              <a:gd name="connsiteY26" fmla="*/ 4010025 h 6791325"/>
              <a:gd name="connsiteX27" fmla="*/ 1872461 w 3596486"/>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178884 w 3693484"/>
              <a:gd name="connsiteY20" fmla="*/ 2190750 h 6791325"/>
              <a:gd name="connsiteX21" fmla="*/ 92170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178884 w 3693484"/>
              <a:gd name="connsiteY20" fmla="*/ 2190750 h 6791325"/>
              <a:gd name="connsiteX21" fmla="*/ 92170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178884 w 3693484"/>
              <a:gd name="connsiteY20" fmla="*/ 2190750 h 6791325"/>
              <a:gd name="connsiteX21" fmla="*/ 874084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178884 w 3693484"/>
              <a:gd name="connsiteY20" fmla="*/ 2190750 h 6791325"/>
              <a:gd name="connsiteX21" fmla="*/ 874084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178884 w 3693484"/>
              <a:gd name="connsiteY20" fmla="*/ 2190750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178884 w 3693484"/>
              <a:gd name="connsiteY20" fmla="*/ 2190750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902659 w 3693484"/>
              <a:gd name="connsiteY20" fmla="*/ 2247900 h 6791325"/>
              <a:gd name="connsiteX21" fmla="*/ 207334 w 3693484"/>
              <a:gd name="connsiteY21" fmla="*/ 1733550 h 6791325"/>
              <a:gd name="connsiteX22" fmla="*/ 173996 w 3693484"/>
              <a:gd name="connsiteY22" fmla="*/ 2038350 h 6791325"/>
              <a:gd name="connsiteX23" fmla="*/ 731209 w 3693484"/>
              <a:gd name="connsiteY23" fmla="*/ 2743200 h 6791325"/>
              <a:gd name="connsiteX24" fmla="*/ 1359859 w 3693484"/>
              <a:gd name="connsiteY24" fmla="*/ 3476625 h 6791325"/>
              <a:gd name="connsiteX25" fmla="*/ 1578934 w 3693484"/>
              <a:gd name="connsiteY25" fmla="*/ 4010025 h 6791325"/>
              <a:gd name="connsiteX26" fmla="*/ 1969459 w 3693484"/>
              <a:gd name="connsiteY26"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902659 w 3693484"/>
              <a:gd name="connsiteY20" fmla="*/ 2247900 h 6791325"/>
              <a:gd name="connsiteX21" fmla="*/ 207334 w 3693484"/>
              <a:gd name="connsiteY21" fmla="*/ 1733550 h 6791325"/>
              <a:gd name="connsiteX22" fmla="*/ 173996 w 3693484"/>
              <a:gd name="connsiteY22" fmla="*/ 2038350 h 6791325"/>
              <a:gd name="connsiteX23" fmla="*/ 731209 w 3693484"/>
              <a:gd name="connsiteY23" fmla="*/ 2743200 h 6791325"/>
              <a:gd name="connsiteX24" fmla="*/ 1359859 w 3693484"/>
              <a:gd name="connsiteY24" fmla="*/ 3476625 h 6791325"/>
              <a:gd name="connsiteX25" fmla="*/ 1578934 w 3693484"/>
              <a:gd name="connsiteY25" fmla="*/ 4010025 h 6791325"/>
              <a:gd name="connsiteX26" fmla="*/ 1969459 w 3693484"/>
              <a:gd name="connsiteY26"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902659 w 3693484"/>
              <a:gd name="connsiteY20" fmla="*/ 2247900 h 6791325"/>
              <a:gd name="connsiteX21" fmla="*/ 207334 w 3693484"/>
              <a:gd name="connsiteY21" fmla="*/ 1733550 h 6791325"/>
              <a:gd name="connsiteX22" fmla="*/ 173996 w 3693484"/>
              <a:gd name="connsiteY22" fmla="*/ 2038350 h 6791325"/>
              <a:gd name="connsiteX23" fmla="*/ 731209 w 3693484"/>
              <a:gd name="connsiteY23" fmla="*/ 2743200 h 6791325"/>
              <a:gd name="connsiteX24" fmla="*/ 1359859 w 3693484"/>
              <a:gd name="connsiteY24" fmla="*/ 3476625 h 6791325"/>
              <a:gd name="connsiteX25" fmla="*/ 1578934 w 3693484"/>
              <a:gd name="connsiteY25" fmla="*/ 4010025 h 6791325"/>
              <a:gd name="connsiteX26" fmla="*/ 1969459 w 3693484"/>
              <a:gd name="connsiteY26"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274133 w 3693484"/>
              <a:gd name="connsiteY20" fmla="*/ 1924050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274133 w 3693484"/>
              <a:gd name="connsiteY20" fmla="*/ 1924050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40809 w 3693484"/>
              <a:gd name="connsiteY19" fmla="*/ 163830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474159 w 3693484"/>
              <a:gd name="connsiteY17" fmla="*/ 123825 h 6791325"/>
              <a:gd name="connsiteX18" fmla="*/ 1293184 w 3693484"/>
              <a:gd name="connsiteY18" fmla="*/ 1238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588459 w 3693484"/>
              <a:gd name="connsiteY17" fmla="*/ 400050 h 6791325"/>
              <a:gd name="connsiteX18" fmla="*/ 1293184 w 3693484"/>
              <a:gd name="connsiteY18" fmla="*/ 1238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588459 w 3693484"/>
              <a:gd name="connsiteY17" fmla="*/ 4000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588459 w 3693484"/>
              <a:gd name="connsiteY17" fmla="*/ 4000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45609 w 3693484"/>
              <a:gd name="connsiteY16" fmla="*/ 1504950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717047 w 3693484"/>
              <a:gd name="connsiteY16" fmla="*/ 1547812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717047 w 3693484"/>
              <a:gd name="connsiteY16" fmla="*/ 1547812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88472 w 3693484"/>
              <a:gd name="connsiteY16" fmla="*/ 15430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88472 w 3693484"/>
              <a:gd name="connsiteY16" fmla="*/ 15430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88472 w 3693484"/>
              <a:gd name="connsiteY16" fmla="*/ 15430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845634 w 3693484"/>
              <a:gd name="connsiteY15" fmla="*/ 1514475 h 6791325"/>
              <a:gd name="connsiteX16" fmla="*/ 1688472 w 3693484"/>
              <a:gd name="connsiteY16" fmla="*/ 15430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14475 h 6791325"/>
              <a:gd name="connsiteX16" fmla="*/ 1688472 w 3693484"/>
              <a:gd name="connsiteY16" fmla="*/ 15430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14475 h 6791325"/>
              <a:gd name="connsiteX16" fmla="*/ 1688472 w 3693484"/>
              <a:gd name="connsiteY16" fmla="*/ 15430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14475 h 6791325"/>
              <a:gd name="connsiteX16" fmla="*/ 1688472 w 3693484"/>
              <a:gd name="connsiteY16" fmla="*/ 15430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14475 h 6791325"/>
              <a:gd name="connsiteX16" fmla="*/ 1674184 w 3693484"/>
              <a:gd name="connsiteY16" fmla="*/ 15049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00188 h 6791325"/>
              <a:gd name="connsiteX16" fmla="*/ 1674184 w 3693484"/>
              <a:gd name="connsiteY16" fmla="*/ 15049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00188 h 6791325"/>
              <a:gd name="connsiteX16" fmla="*/ 1674184 w 3693484"/>
              <a:gd name="connsiteY16" fmla="*/ 15049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00188 h 6791325"/>
              <a:gd name="connsiteX16" fmla="*/ 1674184 w 3693484"/>
              <a:gd name="connsiteY16" fmla="*/ 15049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00188 h 6791325"/>
              <a:gd name="connsiteX16" fmla="*/ 1674184 w 3693484"/>
              <a:gd name="connsiteY16" fmla="*/ 15049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00188 h 6791325"/>
              <a:gd name="connsiteX16" fmla="*/ 1674184 w 3693484"/>
              <a:gd name="connsiteY16" fmla="*/ 15049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912309 w 3693484"/>
              <a:gd name="connsiteY14" fmla="*/ 66675 h 6791325"/>
              <a:gd name="connsiteX15" fmla="*/ 1798009 w 3693484"/>
              <a:gd name="connsiteY15" fmla="*/ 1500188 h 6791325"/>
              <a:gd name="connsiteX16" fmla="*/ 1674184 w 3693484"/>
              <a:gd name="connsiteY16" fmla="*/ 15049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878971 w 3693484"/>
              <a:gd name="connsiteY14" fmla="*/ 109538 h 6791325"/>
              <a:gd name="connsiteX15" fmla="*/ 1798009 w 3693484"/>
              <a:gd name="connsiteY15" fmla="*/ 1500188 h 6791325"/>
              <a:gd name="connsiteX16" fmla="*/ 1674184 w 3693484"/>
              <a:gd name="connsiteY16" fmla="*/ 15049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791325 h 6791325"/>
              <a:gd name="connsiteX1" fmla="*/ 3693484 w 3693484"/>
              <a:gd name="connsiteY1" fmla="*/ 6781800 h 6791325"/>
              <a:gd name="connsiteX2" fmla="*/ 2636209 w 3693484"/>
              <a:gd name="connsiteY2" fmla="*/ 3819525 h 6791325"/>
              <a:gd name="connsiteX3" fmla="*/ 2512384 w 3693484"/>
              <a:gd name="connsiteY3" fmla="*/ 3267075 h 6791325"/>
              <a:gd name="connsiteX4" fmla="*/ 2874334 w 3693484"/>
              <a:gd name="connsiteY4" fmla="*/ 2162175 h 6791325"/>
              <a:gd name="connsiteX5" fmla="*/ 3512509 w 3693484"/>
              <a:gd name="connsiteY5" fmla="*/ 1247775 h 6791325"/>
              <a:gd name="connsiteX6" fmla="*/ 3331534 w 3693484"/>
              <a:gd name="connsiteY6" fmla="*/ 1133475 h 6791325"/>
              <a:gd name="connsiteX7" fmla="*/ 2664784 w 3693484"/>
              <a:gd name="connsiteY7" fmla="*/ 1857375 h 6791325"/>
              <a:gd name="connsiteX8" fmla="*/ 2493334 w 3693484"/>
              <a:gd name="connsiteY8" fmla="*/ 1752600 h 6791325"/>
              <a:gd name="connsiteX9" fmla="*/ 2893384 w 3693484"/>
              <a:gd name="connsiteY9" fmla="*/ 390525 h 6791325"/>
              <a:gd name="connsiteX10" fmla="*/ 2607634 w 3693484"/>
              <a:gd name="connsiteY10" fmla="*/ 295275 h 6791325"/>
              <a:gd name="connsiteX11" fmla="*/ 2245684 w 3693484"/>
              <a:gd name="connsiteY11" fmla="*/ 1609725 h 6791325"/>
              <a:gd name="connsiteX12" fmla="*/ 2093284 w 3693484"/>
              <a:gd name="connsiteY12" fmla="*/ 1495425 h 6791325"/>
              <a:gd name="connsiteX13" fmla="*/ 2112334 w 3693484"/>
              <a:gd name="connsiteY13" fmla="*/ 0 h 6791325"/>
              <a:gd name="connsiteX14" fmla="*/ 1878971 w 3693484"/>
              <a:gd name="connsiteY14" fmla="*/ 109538 h 6791325"/>
              <a:gd name="connsiteX15" fmla="*/ 1798009 w 3693484"/>
              <a:gd name="connsiteY15" fmla="*/ 1500188 h 6791325"/>
              <a:gd name="connsiteX16" fmla="*/ 1674184 w 3693484"/>
              <a:gd name="connsiteY16" fmla="*/ 1504949 h 6791325"/>
              <a:gd name="connsiteX17" fmla="*/ 1593221 w 3693484"/>
              <a:gd name="connsiteY17" fmla="*/ 323850 h 6791325"/>
              <a:gd name="connsiteX18" fmla="*/ 1307472 w 3693484"/>
              <a:gd name="connsiteY18" fmla="*/ 314325 h 6791325"/>
              <a:gd name="connsiteX19" fmla="*/ 1312234 w 3693484"/>
              <a:gd name="connsiteY19" fmla="*/ 1581150 h 6791325"/>
              <a:gd name="connsiteX20" fmla="*/ 1259846 w 3693484"/>
              <a:gd name="connsiteY20" fmla="*/ 1971675 h 6791325"/>
              <a:gd name="connsiteX21" fmla="*/ 902659 w 3693484"/>
              <a:gd name="connsiteY21" fmla="*/ 2247900 h 6791325"/>
              <a:gd name="connsiteX22" fmla="*/ 207334 w 3693484"/>
              <a:gd name="connsiteY22" fmla="*/ 1733550 h 6791325"/>
              <a:gd name="connsiteX23" fmla="*/ 173996 w 3693484"/>
              <a:gd name="connsiteY23" fmla="*/ 2038350 h 6791325"/>
              <a:gd name="connsiteX24" fmla="*/ 731209 w 3693484"/>
              <a:gd name="connsiteY24" fmla="*/ 2743200 h 6791325"/>
              <a:gd name="connsiteX25" fmla="*/ 1359859 w 3693484"/>
              <a:gd name="connsiteY25" fmla="*/ 3476625 h 6791325"/>
              <a:gd name="connsiteX26" fmla="*/ 1578934 w 3693484"/>
              <a:gd name="connsiteY26" fmla="*/ 4010025 h 6791325"/>
              <a:gd name="connsiteX27" fmla="*/ 1969459 w 3693484"/>
              <a:gd name="connsiteY27" fmla="*/ 6791325 h 6791325"/>
              <a:gd name="connsiteX0" fmla="*/ 1969459 w 3693484"/>
              <a:gd name="connsiteY0" fmla="*/ 6691313 h 6691313"/>
              <a:gd name="connsiteX1" fmla="*/ 3693484 w 3693484"/>
              <a:gd name="connsiteY1" fmla="*/ 6681788 h 6691313"/>
              <a:gd name="connsiteX2" fmla="*/ 2636209 w 3693484"/>
              <a:gd name="connsiteY2" fmla="*/ 3719513 h 6691313"/>
              <a:gd name="connsiteX3" fmla="*/ 2512384 w 3693484"/>
              <a:gd name="connsiteY3" fmla="*/ 3167063 h 6691313"/>
              <a:gd name="connsiteX4" fmla="*/ 2874334 w 3693484"/>
              <a:gd name="connsiteY4" fmla="*/ 2062163 h 6691313"/>
              <a:gd name="connsiteX5" fmla="*/ 3512509 w 3693484"/>
              <a:gd name="connsiteY5" fmla="*/ 1147763 h 6691313"/>
              <a:gd name="connsiteX6" fmla="*/ 3331534 w 3693484"/>
              <a:gd name="connsiteY6" fmla="*/ 1033463 h 6691313"/>
              <a:gd name="connsiteX7" fmla="*/ 2664784 w 3693484"/>
              <a:gd name="connsiteY7" fmla="*/ 1757363 h 6691313"/>
              <a:gd name="connsiteX8" fmla="*/ 2493334 w 3693484"/>
              <a:gd name="connsiteY8" fmla="*/ 1652588 h 6691313"/>
              <a:gd name="connsiteX9" fmla="*/ 2893384 w 3693484"/>
              <a:gd name="connsiteY9" fmla="*/ 290513 h 6691313"/>
              <a:gd name="connsiteX10" fmla="*/ 2607634 w 3693484"/>
              <a:gd name="connsiteY10" fmla="*/ 195263 h 6691313"/>
              <a:gd name="connsiteX11" fmla="*/ 2245684 w 3693484"/>
              <a:gd name="connsiteY11" fmla="*/ 1509713 h 6691313"/>
              <a:gd name="connsiteX12" fmla="*/ 2093284 w 3693484"/>
              <a:gd name="connsiteY12" fmla="*/ 1395413 h 6691313"/>
              <a:gd name="connsiteX13" fmla="*/ 2179009 w 3693484"/>
              <a:gd name="connsiteY13" fmla="*/ 0 h 6691313"/>
              <a:gd name="connsiteX14" fmla="*/ 1878971 w 3693484"/>
              <a:gd name="connsiteY14" fmla="*/ 9526 h 6691313"/>
              <a:gd name="connsiteX15" fmla="*/ 1798009 w 3693484"/>
              <a:gd name="connsiteY15" fmla="*/ 1400176 h 6691313"/>
              <a:gd name="connsiteX16" fmla="*/ 1674184 w 3693484"/>
              <a:gd name="connsiteY16" fmla="*/ 1404937 h 6691313"/>
              <a:gd name="connsiteX17" fmla="*/ 1593221 w 3693484"/>
              <a:gd name="connsiteY17" fmla="*/ 223838 h 6691313"/>
              <a:gd name="connsiteX18" fmla="*/ 1307472 w 3693484"/>
              <a:gd name="connsiteY18" fmla="*/ 214313 h 6691313"/>
              <a:gd name="connsiteX19" fmla="*/ 1312234 w 3693484"/>
              <a:gd name="connsiteY19" fmla="*/ 1481138 h 6691313"/>
              <a:gd name="connsiteX20" fmla="*/ 1259846 w 3693484"/>
              <a:gd name="connsiteY20" fmla="*/ 1871663 h 6691313"/>
              <a:gd name="connsiteX21" fmla="*/ 902659 w 3693484"/>
              <a:gd name="connsiteY21" fmla="*/ 2147888 h 6691313"/>
              <a:gd name="connsiteX22" fmla="*/ 207334 w 3693484"/>
              <a:gd name="connsiteY22" fmla="*/ 1633538 h 6691313"/>
              <a:gd name="connsiteX23" fmla="*/ 173996 w 3693484"/>
              <a:gd name="connsiteY23" fmla="*/ 1938338 h 6691313"/>
              <a:gd name="connsiteX24" fmla="*/ 731209 w 3693484"/>
              <a:gd name="connsiteY24" fmla="*/ 2643188 h 6691313"/>
              <a:gd name="connsiteX25" fmla="*/ 1359859 w 3693484"/>
              <a:gd name="connsiteY25" fmla="*/ 3376613 h 6691313"/>
              <a:gd name="connsiteX26" fmla="*/ 1578934 w 3693484"/>
              <a:gd name="connsiteY26" fmla="*/ 3910013 h 6691313"/>
              <a:gd name="connsiteX27" fmla="*/ 1969459 w 3693484"/>
              <a:gd name="connsiteY27" fmla="*/ 6691313 h 6691313"/>
              <a:gd name="connsiteX0" fmla="*/ 1969459 w 3693484"/>
              <a:gd name="connsiteY0" fmla="*/ 6691313 h 6691313"/>
              <a:gd name="connsiteX1" fmla="*/ 3693484 w 3693484"/>
              <a:gd name="connsiteY1" fmla="*/ 6681788 h 6691313"/>
              <a:gd name="connsiteX2" fmla="*/ 2636209 w 3693484"/>
              <a:gd name="connsiteY2" fmla="*/ 3719513 h 6691313"/>
              <a:gd name="connsiteX3" fmla="*/ 2512384 w 3693484"/>
              <a:gd name="connsiteY3" fmla="*/ 3167063 h 6691313"/>
              <a:gd name="connsiteX4" fmla="*/ 2874334 w 3693484"/>
              <a:gd name="connsiteY4" fmla="*/ 2062163 h 6691313"/>
              <a:gd name="connsiteX5" fmla="*/ 3512509 w 3693484"/>
              <a:gd name="connsiteY5" fmla="*/ 1147763 h 6691313"/>
              <a:gd name="connsiteX6" fmla="*/ 3331534 w 3693484"/>
              <a:gd name="connsiteY6" fmla="*/ 1033463 h 6691313"/>
              <a:gd name="connsiteX7" fmla="*/ 2664784 w 3693484"/>
              <a:gd name="connsiteY7" fmla="*/ 1757363 h 6691313"/>
              <a:gd name="connsiteX8" fmla="*/ 2493334 w 3693484"/>
              <a:gd name="connsiteY8" fmla="*/ 1652588 h 6691313"/>
              <a:gd name="connsiteX9" fmla="*/ 2893384 w 3693484"/>
              <a:gd name="connsiteY9" fmla="*/ 290513 h 6691313"/>
              <a:gd name="connsiteX10" fmla="*/ 2607634 w 3693484"/>
              <a:gd name="connsiteY10" fmla="*/ 195263 h 6691313"/>
              <a:gd name="connsiteX11" fmla="*/ 2245684 w 3693484"/>
              <a:gd name="connsiteY11" fmla="*/ 1509713 h 6691313"/>
              <a:gd name="connsiteX12" fmla="*/ 2093284 w 3693484"/>
              <a:gd name="connsiteY12" fmla="*/ 1395413 h 6691313"/>
              <a:gd name="connsiteX13" fmla="*/ 2179009 w 3693484"/>
              <a:gd name="connsiteY13" fmla="*/ 0 h 6691313"/>
              <a:gd name="connsiteX14" fmla="*/ 1878971 w 3693484"/>
              <a:gd name="connsiteY14" fmla="*/ 9526 h 6691313"/>
              <a:gd name="connsiteX15" fmla="*/ 1798009 w 3693484"/>
              <a:gd name="connsiteY15" fmla="*/ 1400176 h 6691313"/>
              <a:gd name="connsiteX16" fmla="*/ 1674184 w 3693484"/>
              <a:gd name="connsiteY16" fmla="*/ 1404937 h 6691313"/>
              <a:gd name="connsiteX17" fmla="*/ 1593221 w 3693484"/>
              <a:gd name="connsiteY17" fmla="*/ 223838 h 6691313"/>
              <a:gd name="connsiteX18" fmla="*/ 1307472 w 3693484"/>
              <a:gd name="connsiteY18" fmla="*/ 214313 h 6691313"/>
              <a:gd name="connsiteX19" fmla="*/ 1312234 w 3693484"/>
              <a:gd name="connsiteY19" fmla="*/ 1481138 h 6691313"/>
              <a:gd name="connsiteX20" fmla="*/ 1259846 w 3693484"/>
              <a:gd name="connsiteY20" fmla="*/ 1871663 h 6691313"/>
              <a:gd name="connsiteX21" fmla="*/ 902659 w 3693484"/>
              <a:gd name="connsiteY21" fmla="*/ 2147888 h 6691313"/>
              <a:gd name="connsiteX22" fmla="*/ 207334 w 3693484"/>
              <a:gd name="connsiteY22" fmla="*/ 1633538 h 6691313"/>
              <a:gd name="connsiteX23" fmla="*/ 173996 w 3693484"/>
              <a:gd name="connsiteY23" fmla="*/ 1938338 h 6691313"/>
              <a:gd name="connsiteX24" fmla="*/ 731209 w 3693484"/>
              <a:gd name="connsiteY24" fmla="*/ 2643188 h 6691313"/>
              <a:gd name="connsiteX25" fmla="*/ 1359859 w 3693484"/>
              <a:gd name="connsiteY25" fmla="*/ 3376613 h 6691313"/>
              <a:gd name="connsiteX26" fmla="*/ 1578934 w 3693484"/>
              <a:gd name="connsiteY26" fmla="*/ 3910013 h 6691313"/>
              <a:gd name="connsiteX27" fmla="*/ 1969459 w 3693484"/>
              <a:gd name="connsiteY27" fmla="*/ 6691313 h 6691313"/>
              <a:gd name="connsiteX0" fmla="*/ 1969459 w 3693484"/>
              <a:gd name="connsiteY0" fmla="*/ 6691313 h 6691313"/>
              <a:gd name="connsiteX1" fmla="*/ 3693484 w 3693484"/>
              <a:gd name="connsiteY1" fmla="*/ 6681788 h 6691313"/>
              <a:gd name="connsiteX2" fmla="*/ 2636209 w 3693484"/>
              <a:gd name="connsiteY2" fmla="*/ 3719513 h 6691313"/>
              <a:gd name="connsiteX3" fmla="*/ 2512384 w 3693484"/>
              <a:gd name="connsiteY3" fmla="*/ 3167063 h 6691313"/>
              <a:gd name="connsiteX4" fmla="*/ 2874334 w 3693484"/>
              <a:gd name="connsiteY4" fmla="*/ 2062163 h 6691313"/>
              <a:gd name="connsiteX5" fmla="*/ 3512509 w 3693484"/>
              <a:gd name="connsiteY5" fmla="*/ 1147763 h 6691313"/>
              <a:gd name="connsiteX6" fmla="*/ 3331534 w 3693484"/>
              <a:gd name="connsiteY6" fmla="*/ 1033463 h 6691313"/>
              <a:gd name="connsiteX7" fmla="*/ 2664784 w 3693484"/>
              <a:gd name="connsiteY7" fmla="*/ 1757363 h 6691313"/>
              <a:gd name="connsiteX8" fmla="*/ 2493334 w 3693484"/>
              <a:gd name="connsiteY8" fmla="*/ 1652588 h 6691313"/>
              <a:gd name="connsiteX9" fmla="*/ 2893384 w 3693484"/>
              <a:gd name="connsiteY9" fmla="*/ 290513 h 6691313"/>
              <a:gd name="connsiteX10" fmla="*/ 2607634 w 3693484"/>
              <a:gd name="connsiteY10" fmla="*/ 195263 h 6691313"/>
              <a:gd name="connsiteX11" fmla="*/ 2245684 w 3693484"/>
              <a:gd name="connsiteY11" fmla="*/ 1509713 h 6691313"/>
              <a:gd name="connsiteX12" fmla="*/ 2131384 w 3693484"/>
              <a:gd name="connsiteY12" fmla="*/ 1443038 h 6691313"/>
              <a:gd name="connsiteX13" fmla="*/ 2179009 w 3693484"/>
              <a:gd name="connsiteY13" fmla="*/ 0 h 6691313"/>
              <a:gd name="connsiteX14" fmla="*/ 1878971 w 3693484"/>
              <a:gd name="connsiteY14" fmla="*/ 9526 h 6691313"/>
              <a:gd name="connsiteX15" fmla="*/ 1798009 w 3693484"/>
              <a:gd name="connsiteY15" fmla="*/ 1400176 h 6691313"/>
              <a:gd name="connsiteX16" fmla="*/ 1674184 w 3693484"/>
              <a:gd name="connsiteY16" fmla="*/ 1404937 h 6691313"/>
              <a:gd name="connsiteX17" fmla="*/ 1593221 w 3693484"/>
              <a:gd name="connsiteY17" fmla="*/ 223838 h 6691313"/>
              <a:gd name="connsiteX18" fmla="*/ 1307472 w 3693484"/>
              <a:gd name="connsiteY18" fmla="*/ 214313 h 6691313"/>
              <a:gd name="connsiteX19" fmla="*/ 1312234 w 3693484"/>
              <a:gd name="connsiteY19" fmla="*/ 1481138 h 6691313"/>
              <a:gd name="connsiteX20" fmla="*/ 1259846 w 3693484"/>
              <a:gd name="connsiteY20" fmla="*/ 1871663 h 6691313"/>
              <a:gd name="connsiteX21" fmla="*/ 902659 w 3693484"/>
              <a:gd name="connsiteY21" fmla="*/ 2147888 h 6691313"/>
              <a:gd name="connsiteX22" fmla="*/ 207334 w 3693484"/>
              <a:gd name="connsiteY22" fmla="*/ 1633538 h 6691313"/>
              <a:gd name="connsiteX23" fmla="*/ 173996 w 3693484"/>
              <a:gd name="connsiteY23" fmla="*/ 1938338 h 6691313"/>
              <a:gd name="connsiteX24" fmla="*/ 731209 w 3693484"/>
              <a:gd name="connsiteY24" fmla="*/ 2643188 h 6691313"/>
              <a:gd name="connsiteX25" fmla="*/ 1359859 w 3693484"/>
              <a:gd name="connsiteY25" fmla="*/ 3376613 h 6691313"/>
              <a:gd name="connsiteX26" fmla="*/ 1578934 w 3693484"/>
              <a:gd name="connsiteY26" fmla="*/ 3910013 h 6691313"/>
              <a:gd name="connsiteX27" fmla="*/ 1969459 w 3693484"/>
              <a:gd name="connsiteY27" fmla="*/ 6691313 h 6691313"/>
              <a:gd name="connsiteX0" fmla="*/ 1969459 w 3693484"/>
              <a:gd name="connsiteY0" fmla="*/ 6691313 h 6691313"/>
              <a:gd name="connsiteX1" fmla="*/ 3693484 w 3693484"/>
              <a:gd name="connsiteY1" fmla="*/ 6681788 h 6691313"/>
              <a:gd name="connsiteX2" fmla="*/ 2636209 w 3693484"/>
              <a:gd name="connsiteY2" fmla="*/ 3719513 h 6691313"/>
              <a:gd name="connsiteX3" fmla="*/ 2512384 w 3693484"/>
              <a:gd name="connsiteY3" fmla="*/ 3167063 h 6691313"/>
              <a:gd name="connsiteX4" fmla="*/ 2874334 w 3693484"/>
              <a:gd name="connsiteY4" fmla="*/ 2062163 h 6691313"/>
              <a:gd name="connsiteX5" fmla="*/ 3512509 w 3693484"/>
              <a:gd name="connsiteY5" fmla="*/ 1147763 h 6691313"/>
              <a:gd name="connsiteX6" fmla="*/ 3331534 w 3693484"/>
              <a:gd name="connsiteY6" fmla="*/ 1033463 h 6691313"/>
              <a:gd name="connsiteX7" fmla="*/ 2664784 w 3693484"/>
              <a:gd name="connsiteY7" fmla="*/ 1757363 h 6691313"/>
              <a:gd name="connsiteX8" fmla="*/ 2493334 w 3693484"/>
              <a:gd name="connsiteY8" fmla="*/ 1652588 h 6691313"/>
              <a:gd name="connsiteX9" fmla="*/ 2893384 w 3693484"/>
              <a:gd name="connsiteY9" fmla="*/ 290513 h 6691313"/>
              <a:gd name="connsiteX10" fmla="*/ 2607634 w 3693484"/>
              <a:gd name="connsiteY10" fmla="*/ 195263 h 6691313"/>
              <a:gd name="connsiteX11" fmla="*/ 2245684 w 3693484"/>
              <a:gd name="connsiteY11" fmla="*/ 1509713 h 6691313"/>
              <a:gd name="connsiteX12" fmla="*/ 2131384 w 3693484"/>
              <a:gd name="connsiteY12" fmla="*/ 1443038 h 6691313"/>
              <a:gd name="connsiteX13" fmla="*/ 2179009 w 3693484"/>
              <a:gd name="connsiteY13" fmla="*/ 0 h 6691313"/>
              <a:gd name="connsiteX14" fmla="*/ 1878971 w 3693484"/>
              <a:gd name="connsiteY14" fmla="*/ 9526 h 6691313"/>
              <a:gd name="connsiteX15" fmla="*/ 1798009 w 3693484"/>
              <a:gd name="connsiteY15" fmla="*/ 1400176 h 6691313"/>
              <a:gd name="connsiteX16" fmla="*/ 1674184 w 3693484"/>
              <a:gd name="connsiteY16" fmla="*/ 1404937 h 6691313"/>
              <a:gd name="connsiteX17" fmla="*/ 1593221 w 3693484"/>
              <a:gd name="connsiteY17" fmla="*/ 223838 h 6691313"/>
              <a:gd name="connsiteX18" fmla="*/ 1307472 w 3693484"/>
              <a:gd name="connsiteY18" fmla="*/ 214313 h 6691313"/>
              <a:gd name="connsiteX19" fmla="*/ 1312234 w 3693484"/>
              <a:gd name="connsiteY19" fmla="*/ 1481138 h 6691313"/>
              <a:gd name="connsiteX20" fmla="*/ 1259846 w 3693484"/>
              <a:gd name="connsiteY20" fmla="*/ 1871663 h 6691313"/>
              <a:gd name="connsiteX21" fmla="*/ 902659 w 3693484"/>
              <a:gd name="connsiteY21" fmla="*/ 2147888 h 6691313"/>
              <a:gd name="connsiteX22" fmla="*/ 207334 w 3693484"/>
              <a:gd name="connsiteY22" fmla="*/ 1633538 h 6691313"/>
              <a:gd name="connsiteX23" fmla="*/ 173996 w 3693484"/>
              <a:gd name="connsiteY23" fmla="*/ 1938338 h 6691313"/>
              <a:gd name="connsiteX24" fmla="*/ 731209 w 3693484"/>
              <a:gd name="connsiteY24" fmla="*/ 2643188 h 6691313"/>
              <a:gd name="connsiteX25" fmla="*/ 1359859 w 3693484"/>
              <a:gd name="connsiteY25" fmla="*/ 3376613 h 6691313"/>
              <a:gd name="connsiteX26" fmla="*/ 1578934 w 3693484"/>
              <a:gd name="connsiteY26" fmla="*/ 3910013 h 6691313"/>
              <a:gd name="connsiteX27" fmla="*/ 1969459 w 3693484"/>
              <a:gd name="connsiteY27" fmla="*/ 6691313 h 6691313"/>
              <a:gd name="connsiteX0" fmla="*/ 1969459 w 3693484"/>
              <a:gd name="connsiteY0" fmla="*/ 6691313 h 6691313"/>
              <a:gd name="connsiteX1" fmla="*/ 3693484 w 3693484"/>
              <a:gd name="connsiteY1" fmla="*/ 6681788 h 6691313"/>
              <a:gd name="connsiteX2" fmla="*/ 2636209 w 3693484"/>
              <a:gd name="connsiteY2" fmla="*/ 3719513 h 6691313"/>
              <a:gd name="connsiteX3" fmla="*/ 2512384 w 3693484"/>
              <a:gd name="connsiteY3" fmla="*/ 3167063 h 6691313"/>
              <a:gd name="connsiteX4" fmla="*/ 2874334 w 3693484"/>
              <a:gd name="connsiteY4" fmla="*/ 2062163 h 6691313"/>
              <a:gd name="connsiteX5" fmla="*/ 3512509 w 3693484"/>
              <a:gd name="connsiteY5" fmla="*/ 1147763 h 6691313"/>
              <a:gd name="connsiteX6" fmla="*/ 3331534 w 3693484"/>
              <a:gd name="connsiteY6" fmla="*/ 1033463 h 6691313"/>
              <a:gd name="connsiteX7" fmla="*/ 2664784 w 3693484"/>
              <a:gd name="connsiteY7" fmla="*/ 1757363 h 6691313"/>
              <a:gd name="connsiteX8" fmla="*/ 2493334 w 3693484"/>
              <a:gd name="connsiteY8" fmla="*/ 1652588 h 6691313"/>
              <a:gd name="connsiteX9" fmla="*/ 2893384 w 3693484"/>
              <a:gd name="connsiteY9" fmla="*/ 290513 h 6691313"/>
              <a:gd name="connsiteX10" fmla="*/ 2607634 w 3693484"/>
              <a:gd name="connsiteY10" fmla="*/ 195263 h 6691313"/>
              <a:gd name="connsiteX11" fmla="*/ 2245684 w 3693484"/>
              <a:gd name="connsiteY11" fmla="*/ 1509713 h 6691313"/>
              <a:gd name="connsiteX12" fmla="*/ 2131384 w 3693484"/>
              <a:gd name="connsiteY12" fmla="*/ 1443038 h 6691313"/>
              <a:gd name="connsiteX13" fmla="*/ 2193297 w 3693484"/>
              <a:gd name="connsiteY13" fmla="*/ 0 h 6691313"/>
              <a:gd name="connsiteX14" fmla="*/ 1878971 w 3693484"/>
              <a:gd name="connsiteY14" fmla="*/ 9526 h 6691313"/>
              <a:gd name="connsiteX15" fmla="*/ 1798009 w 3693484"/>
              <a:gd name="connsiteY15" fmla="*/ 1400176 h 6691313"/>
              <a:gd name="connsiteX16" fmla="*/ 1674184 w 3693484"/>
              <a:gd name="connsiteY16" fmla="*/ 1404937 h 6691313"/>
              <a:gd name="connsiteX17" fmla="*/ 1593221 w 3693484"/>
              <a:gd name="connsiteY17" fmla="*/ 223838 h 6691313"/>
              <a:gd name="connsiteX18" fmla="*/ 1307472 w 3693484"/>
              <a:gd name="connsiteY18" fmla="*/ 214313 h 6691313"/>
              <a:gd name="connsiteX19" fmla="*/ 1312234 w 3693484"/>
              <a:gd name="connsiteY19" fmla="*/ 1481138 h 6691313"/>
              <a:gd name="connsiteX20" fmla="*/ 1259846 w 3693484"/>
              <a:gd name="connsiteY20" fmla="*/ 1871663 h 6691313"/>
              <a:gd name="connsiteX21" fmla="*/ 902659 w 3693484"/>
              <a:gd name="connsiteY21" fmla="*/ 2147888 h 6691313"/>
              <a:gd name="connsiteX22" fmla="*/ 207334 w 3693484"/>
              <a:gd name="connsiteY22" fmla="*/ 1633538 h 6691313"/>
              <a:gd name="connsiteX23" fmla="*/ 173996 w 3693484"/>
              <a:gd name="connsiteY23" fmla="*/ 1938338 h 6691313"/>
              <a:gd name="connsiteX24" fmla="*/ 731209 w 3693484"/>
              <a:gd name="connsiteY24" fmla="*/ 2643188 h 6691313"/>
              <a:gd name="connsiteX25" fmla="*/ 1359859 w 3693484"/>
              <a:gd name="connsiteY25" fmla="*/ 3376613 h 6691313"/>
              <a:gd name="connsiteX26" fmla="*/ 1578934 w 3693484"/>
              <a:gd name="connsiteY26" fmla="*/ 3910013 h 6691313"/>
              <a:gd name="connsiteX27" fmla="*/ 1969459 w 3693484"/>
              <a:gd name="connsiteY27" fmla="*/ 6691313 h 6691313"/>
              <a:gd name="connsiteX0" fmla="*/ 1969459 w 3693484"/>
              <a:gd name="connsiteY0" fmla="*/ 6814105 h 6814105"/>
              <a:gd name="connsiteX1" fmla="*/ 3693484 w 3693484"/>
              <a:gd name="connsiteY1" fmla="*/ 6804580 h 6814105"/>
              <a:gd name="connsiteX2" fmla="*/ 2636209 w 3693484"/>
              <a:gd name="connsiteY2" fmla="*/ 3842305 h 6814105"/>
              <a:gd name="connsiteX3" fmla="*/ 2512384 w 3693484"/>
              <a:gd name="connsiteY3" fmla="*/ 3289855 h 6814105"/>
              <a:gd name="connsiteX4" fmla="*/ 2874334 w 3693484"/>
              <a:gd name="connsiteY4" fmla="*/ 2184955 h 6814105"/>
              <a:gd name="connsiteX5" fmla="*/ 3512509 w 3693484"/>
              <a:gd name="connsiteY5" fmla="*/ 1270555 h 6814105"/>
              <a:gd name="connsiteX6" fmla="*/ 3331534 w 3693484"/>
              <a:gd name="connsiteY6" fmla="*/ 1156255 h 6814105"/>
              <a:gd name="connsiteX7" fmla="*/ 2664784 w 3693484"/>
              <a:gd name="connsiteY7" fmla="*/ 1880155 h 6814105"/>
              <a:gd name="connsiteX8" fmla="*/ 2493334 w 3693484"/>
              <a:gd name="connsiteY8" fmla="*/ 1775380 h 6814105"/>
              <a:gd name="connsiteX9" fmla="*/ 2893384 w 3693484"/>
              <a:gd name="connsiteY9" fmla="*/ 413305 h 6814105"/>
              <a:gd name="connsiteX10" fmla="*/ 2607634 w 3693484"/>
              <a:gd name="connsiteY10" fmla="*/ 318055 h 6814105"/>
              <a:gd name="connsiteX11" fmla="*/ 2245684 w 3693484"/>
              <a:gd name="connsiteY11" fmla="*/ 1632505 h 6814105"/>
              <a:gd name="connsiteX12" fmla="*/ 2131384 w 3693484"/>
              <a:gd name="connsiteY12" fmla="*/ 1565830 h 6814105"/>
              <a:gd name="connsiteX13" fmla="*/ 2193297 w 3693484"/>
              <a:gd name="connsiteY13" fmla="*/ 122792 h 6814105"/>
              <a:gd name="connsiteX14" fmla="*/ 1878971 w 3693484"/>
              <a:gd name="connsiteY14" fmla="*/ 132318 h 6814105"/>
              <a:gd name="connsiteX15" fmla="*/ 1798009 w 3693484"/>
              <a:gd name="connsiteY15" fmla="*/ 1522968 h 6814105"/>
              <a:gd name="connsiteX16" fmla="*/ 1674184 w 3693484"/>
              <a:gd name="connsiteY16" fmla="*/ 1527729 h 6814105"/>
              <a:gd name="connsiteX17" fmla="*/ 1593221 w 3693484"/>
              <a:gd name="connsiteY17" fmla="*/ 346630 h 6814105"/>
              <a:gd name="connsiteX18" fmla="*/ 1307472 w 3693484"/>
              <a:gd name="connsiteY18" fmla="*/ 337105 h 6814105"/>
              <a:gd name="connsiteX19" fmla="*/ 1312234 w 3693484"/>
              <a:gd name="connsiteY19" fmla="*/ 1603930 h 6814105"/>
              <a:gd name="connsiteX20" fmla="*/ 1259846 w 3693484"/>
              <a:gd name="connsiteY20" fmla="*/ 1994455 h 6814105"/>
              <a:gd name="connsiteX21" fmla="*/ 902659 w 3693484"/>
              <a:gd name="connsiteY21" fmla="*/ 2270680 h 6814105"/>
              <a:gd name="connsiteX22" fmla="*/ 207334 w 3693484"/>
              <a:gd name="connsiteY22" fmla="*/ 1756330 h 6814105"/>
              <a:gd name="connsiteX23" fmla="*/ 173996 w 3693484"/>
              <a:gd name="connsiteY23" fmla="*/ 2061130 h 6814105"/>
              <a:gd name="connsiteX24" fmla="*/ 731209 w 3693484"/>
              <a:gd name="connsiteY24" fmla="*/ 2765980 h 6814105"/>
              <a:gd name="connsiteX25" fmla="*/ 1359859 w 3693484"/>
              <a:gd name="connsiteY25" fmla="*/ 3499405 h 6814105"/>
              <a:gd name="connsiteX26" fmla="*/ 1578934 w 3693484"/>
              <a:gd name="connsiteY26" fmla="*/ 4032805 h 6814105"/>
              <a:gd name="connsiteX27" fmla="*/ 1969459 w 3693484"/>
              <a:gd name="connsiteY27" fmla="*/ 6814105 h 6814105"/>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93384 w 3693484"/>
              <a:gd name="connsiteY9" fmla="*/ 444710 h 6845510"/>
              <a:gd name="connsiteX10" fmla="*/ 2607634 w 3693484"/>
              <a:gd name="connsiteY10" fmla="*/ 349460 h 6845510"/>
              <a:gd name="connsiteX11" fmla="*/ 2245684 w 3693484"/>
              <a:gd name="connsiteY11" fmla="*/ 1663910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93384 w 3693484"/>
              <a:gd name="connsiteY9" fmla="*/ 444710 h 6845510"/>
              <a:gd name="connsiteX10" fmla="*/ 2607634 w 3693484"/>
              <a:gd name="connsiteY10" fmla="*/ 349460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93384 w 3693484"/>
              <a:gd name="connsiteY9" fmla="*/ 444710 h 6845510"/>
              <a:gd name="connsiteX10" fmla="*/ 2607634 w 3693484"/>
              <a:gd name="connsiteY10" fmla="*/ 349460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93384 w 3693484"/>
              <a:gd name="connsiteY9" fmla="*/ 444710 h 6845510"/>
              <a:gd name="connsiteX10" fmla="*/ 2607634 w 3693484"/>
              <a:gd name="connsiteY10" fmla="*/ 349460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93384 w 3693484"/>
              <a:gd name="connsiteY9" fmla="*/ 444710 h 6845510"/>
              <a:gd name="connsiteX10" fmla="*/ 2621922 w 3693484"/>
              <a:gd name="connsiteY10" fmla="*/ 401847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93384 w 3693484"/>
              <a:gd name="connsiteY9" fmla="*/ 444710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93384 w 3693484"/>
              <a:gd name="connsiteY9" fmla="*/ 444710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493334 w 3693484"/>
              <a:gd name="connsiteY8" fmla="*/ 1806785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521909 w 3693484"/>
              <a:gd name="connsiteY8" fmla="*/ 1792497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64784 w 3693484"/>
              <a:gd name="connsiteY7" fmla="*/ 1911560 h 6845510"/>
              <a:gd name="connsiteX8" fmla="*/ 2521909 w 3693484"/>
              <a:gd name="connsiteY8" fmla="*/ 1792497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598109 w 3693484"/>
              <a:gd name="connsiteY7" fmla="*/ 1849647 h 6845510"/>
              <a:gd name="connsiteX8" fmla="*/ 2521909 w 3693484"/>
              <a:gd name="connsiteY8" fmla="*/ 1792497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07634 w 3693484"/>
              <a:gd name="connsiteY7" fmla="*/ 1925847 h 6845510"/>
              <a:gd name="connsiteX8" fmla="*/ 2521909 w 3693484"/>
              <a:gd name="connsiteY8" fmla="*/ 1792497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07634 w 3693484"/>
              <a:gd name="connsiteY7" fmla="*/ 1925847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331534 w 3693484"/>
              <a:gd name="connsiteY6" fmla="*/ 1187660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74334 w 3693484"/>
              <a:gd name="connsiteY4" fmla="*/ 221636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64809 w 3693484"/>
              <a:gd name="connsiteY4" fmla="*/ 2197310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883859 w 3693484"/>
              <a:gd name="connsiteY4" fmla="*/ 2092535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921959 w 3693484"/>
              <a:gd name="connsiteY4" fmla="*/ 2097298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902909 w 3693484"/>
              <a:gd name="connsiteY4" fmla="*/ 2092536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902909 w 3693484"/>
              <a:gd name="connsiteY4" fmla="*/ 2092536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902909 w 3693484"/>
              <a:gd name="connsiteY4" fmla="*/ 2092536 h 6845510"/>
              <a:gd name="connsiteX5" fmla="*/ 3512509 w 3693484"/>
              <a:gd name="connsiteY5" fmla="*/ 1301960 h 6845510"/>
              <a:gd name="connsiteX6" fmla="*/ 3298197 w 3693484"/>
              <a:gd name="connsiteY6" fmla="*/ 1178135 h 6845510"/>
              <a:gd name="connsiteX7" fmla="*/ 2607634 w 3693484"/>
              <a:gd name="connsiteY7" fmla="*/ 1878222 h 6845510"/>
              <a:gd name="connsiteX8" fmla="*/ 2531434 w 3693484"/>
              <a:gd name="connsiteY8" fmla="*/ 1821072 h 6845510"/>
              <a:gd name="connsiteX9" fmla="*/ 2874334 w 3693484"/>
              <a:gd name="connsiteY9" fmla="*/ 563772 h 6845510"/>
              <a:gd name="connsiteX10" fmla="*/ 2598109 w 3693484"/>
              <a:gd name="connsiteY10" fmla="*/ 397084 h 6845510"/>
              <a:gd name="connsiteX11" fmla="*/ 2207584 w 3693484"/>
              <a:gd name="connsiteY11" fmla="*/ 1659147 h 6845510"/>
              <a:gd name="connsiteX12" fmla="*/ 2131384 w 3693484"/>
              <a:gd name="connsiteY12" fmla="*/ 1597235 h 6845510"/>
              <a:gd name="connsiteX13" fmla="*/ 2193297 w 3693484"/>
              <a:gd name="connsiteY13" fmla="*/ 154197 h 6845510"/>
              <a:gd name="connsiteX14" fmla="*/ 1878971 w 3693484"/>
              <a:gd name="connsiteY14" fmla="*/ 163723 h 6845510"/>
              <a:gd name="connsiteX15" fmla="*/ 1798009 w 3693484"/>
              <a:gd name="connsiteY15" fmla="*/ 1554373 h 6845510"/>
              <a:gd name="connsiteX16" fmla="*/ 1674184 w 3693484"/>
              <a:gd name="connsiteY16" fmla="*/ 1559134 h 6845510"/>
              <a:gd name="connsiteX17" fmla="*/ 1593221 w 3693484"/>
              <a:gd name="connsiteY17" fmla="*/ 378035 h 6845510"/>
              <a:gd name="connsiteX18" fmla="*/ 1307472 w 3693484"/>
              <a:gd name="connsiteY18" fmla="*/ 368510 h 6845510"/>
              <a:gd name="connsiteX19" fmla="*/ 1312234 w 3693484"/>
              <a:gd name="connsiteY19" fmla="*/ 1635335 h 6845510"/>
              <a:gd name="connsiteX20" fmla="*/ 1259846 w 3693484"/>
              <a:gd name="connsiteY20" fmla="*/ 2025860 h 6845510"/>
              <a:gd name="connsiteX21" fmla="*/ 902659 w 3693484"/>
              <a:gd name="connsiteY21" fmla="*/ 2302085 h 6845510"/>
              <a:gd name="connsiteX22" fmla="*/ 207334 w 3693484"/>
              <a:gd name="connsiteY22" fmla="*/ 1787735 h 6845510"/>
              <a:gd name="connsiteX23" fmla="*/ 173996 w 3693484"/>
              <a:gd name="connsiteY23" fmla="*/ 2092535 h 6845510"/>
              <a:gd name="connsiteX24" fmla="*/ 731209 w 3693484"/>
              <a:gd name="connsiteY24" fmla="*/ 2797385 h 6845510"/>
              <a:gd name="connsiteX25" fmla="*/ 1359859 w 3693484"/>
              <a:gd name="connsiteY25" fmla="*/ 3530810 h 6845510"/>
              <a:gd name="connsiteX26" fmla="*/ 1578934 w 3693484"/>
              <a:gd name="connsiteY26" fmla="*/ 4064210 h 6845510"/>
              <a:gd name="connsiteX27" fmla="*/ 1969459 w 3693484"/>
              <a:gd name="connsiteY27"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750508 w 3693484"/>
              <a:gd name="connsiteY4" fmla="*/ 2764048 h 6845510"/>
              <a:gd name="connsiteX5" fmla="*/ 2902909 w 3693484"/>
              <a:gd name="connsiteY5" fmla="*/ 2092536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750508 w 3693484"/>
              <a:gd name="connsiteY4" fmla="*/ 2764048 h 6845510"/>
              <a:gd name="connsiteX5" fmla="*/ 2902909 w 3693484"/>
              <a:gd name="connsiteY5" fmla="*/ 2092536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2384 w 3693484"/>
              <a:gd name="connsiteY3" fmla="*/ 3321260 h 6845510"/>
              <a:gd name="connsiteX4" fmla="*/ 2750508 w 3693484"/>
              <a:gd name="connsiteY4" fmla="*/ 2764048 h 6845510"/>
              <a:gd name="connsiteX5" fmla="*/ 2902909 w 3693484"/>
              <a:gd name="connsiteY5" fmla="*/ 2092536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55247 w 3693484"/>
              <a:gd name="connsiteY3" fmla="*/ 3373648 h 6845510"/>
              <a:gd name="connsiteX4" fmla="*/ 2750508 w 3693484"/>
              <a:gd name="connsiteY4" fmla="*/ 2764048 h 6845510"/>
              <a:gd name="connsiteX5" fmla="*/ 2902909 w 3693484"/>
              <a:gd name="connsiteY5" fmla="*/ 2092536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55247 w 3693484"/>
              <a:gd name="connsiteY3" fmla="*/ 3373648 h 6845510"/>
              <a:gd name="connsiteX4" fmla="*/ 2750508 w 3693484"/>
              <a:gd name="connsiteY4" fmla="*/ 2764048 h 6845510"/>
              <a:gd name="connsiteX5" fmla="*/ 2902909 w 3693484"/>
              <a:gd name="connsiteY5" fmla="*/ 2092536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55247 w 3693484"/>
              <a:gd name="connsiteY3" fmla="*/ 3373648 h 6845510"/>
              <a:gd name="connsiteX4" fmla="*/ 2750508 w 3693484"/>
              <a:gd name="connsiteY4" fmla="*/ 2764048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55247 w 3693484"/>
              <a:gd name="connsiteY3" fmla="*/ 3373648 h 6845510"/>
              <a:gd name="connsiteX4" fmla="*/ 2750508 w 3693484"/>
              <a:gd name="connsiteY4" fmla="*/ 2764048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55247 w 3693484"/>
              <a:gd name="connsiteY3" fmla="*/ 3373648 h 6845510"/>
              <a:gd name="connsiteX4" fmla="*/ 2750508 w 3693484"/>
              <a:gd name="connsiteY4" fmla="*/ 2764048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7147 w 3693484"/>
              <a:gd name="connsiteY3" fmla="*/ 3354598 h 6845510"/>
              <a:gd name="connsiteX4" fmla="*/ 2750508 w 3693484"/>
              <a:gd name="connsiteY4" fmla="*/ 2764048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7147 w 3693484"/>
              <a:gd name="connsiteY3" fmla="*/ 3354598 h 6845510"/>
              <a:gd name="connsiteX4" fmla="*/ 2731458 w 3693484"/>
              <a:gd name="connsiteY4" fmla="*/ 27354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7147 w 3693484"/>
              <a:gd name="connsiteY3" fmla="*/ 3354598 h 6845510"/>
              <a:gd name="connsiteX4" fmla="*/ 2731458 w 3693484"/>
              <a:gd name="connsiteY4" fmla="*/ 27354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7147 w 3693484"/>
              <a:gd name="connsiteY3" fmla="*/ 3354598 h 6845510"/>
              <a:gd name="connsiteX4" fmla="*/ 2731458 w 3693484"/>
              <a:gd name="connsiteY4" fmla="*/ 27354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50484 w 3693484"/>
              <a:gd name="connsiteY3" fmla="*/ 3354598 h 6845510"/>
              <a:gd name="connsiteX4" fmla="*/ 2731458 w 3693484"/>
              <a:gd name="connsiteY4" fmla="*/ 27354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50484 w 3693484"/>
              <a:gd name="connsiteY3" fmla="*/ 3354598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50484 w 3693484"/>
              <a:gd name="connsiteY3" fmla="*/ 3354598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50484 w 3693484"/>
              <a:gd name="connsiteY3" fmla="*/ 3354598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36209 w 3693484"/>
              <a:gd name="connsiteY2" fmla="*/ 3873710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31209 w 3693484"/>
              <a:gd name="connsiteY25" fmla="*/ 2797385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21684 w 3693484"/>
              <a:gd name="connsiteY25" fmla="*/ 2787860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21684 w 3693484"/>
              <a:gd name="connsiteY25" fmla="*/ 2787860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21684 w 3693484"/>
              <a:gd name="connsiteY25" fmla="*/ 2787860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69309 w 3693484"/>
              <a:gd name="connsiteY25" fmla="*/ 2802147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69309 w 3693484"/>
              <a:gd name="connsiteY25" fmla="*/ 2802147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388433 w 3693484"/>
              <a:gd name="connsiteY26" fmla="*/ 3516523 h 6845510"/>
              <a:gd name="connsiteX27" fmla="*/ 1359859 w 3693484"/>
              <a:gd name="connsiteY27" fmla="*/ 3530810 h 6845510"/>
              <a:gd name="connsiteX28" fmla="*/ 1578934 w 3693484"/>
              <a:gd name="connsiteY28" fmla="*/ 4064210 h 6845510"/>
              <a:gd name="connsiteX29" fmla="*/ 1969459 w 3693484"/>
              <a:gd name="connsiteY29"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359859 w 3693484"/>
              <a:gd name="connsiteY26" fmla="*/ 3530810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12247 w 3693484"/>
              <a:gd name="connsiteY26" fmla="*/ 3554623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12247 w 3693484"/>
              <a:gd name="connsiteY26" fmla="*/ 3554623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12247 w 3693484"/>
              <a:gd name="connsiteY26" fmla="*/ 3554623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40822 w 3693484"/>
              <a:gd name="connsiteY26" fmla="*/ 3583198 h 6845510"/>
              <a:gd name="connsiteX27" fmla="*/ 1578934 w 3693484"/>
              <a:gd name="connsiteY27" fmla="*/ 4064210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40822 w 3693484"/>
              <a:gd name="connsiteY26" fmla="*/ 3583198 h 6845510"/>
              <a:gd name="connsiteX27" fmla="*/ 1617034 w 3693484"/>
              <a:gd name="connsiteY27" fmla="*/ 4107073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40822 w 3693484"/>
              <a:gd name="connsiteY26" fmla="*/ 3583198 h 6845510"/>
              <a:gd name="connsiteX27" fmla="*/ 1617034 w 3693484"/>
              <a:gd name="connsiteY27" fmla="*/ 4107073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40822 w 3693484"/>
              <a:gd name="connsiteY26" fmla="*/ 3583198 h 6845510"/>
              <a:gd name="connsiteX27" fmla="*/ 1617034 w 3693484"/>
              <a:gd name="connsiteY27" fmla="*/ 4107073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40822 w 3693484"/>
              <a:gd name="connsiteY26" fmla="*/ 3583198 h 6845510"/>
              <a:gd name="connsiteX27" fmla="*/ 1617034 w 3693484"/>
              <a:gd name="connsiteY27" fmla="*/ 4107073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55259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40822 w 3693484"/>
              <a:gd name="connsiteY26" fmla="*/ 3583198 h 6845510"/>
              <a:gd name="connsiteX27" fmla="*/ 1617034 w 3693484"/>
              <a:gd name="connsiteY27" fmla="*/ 4107073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40971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40822 w 3693484"/>
              <a:gd name="connsiteY26" fmla="*/ 3583198 h 6845510"/>
              <a:gd name="connsiteX27" fmla="*/ 1617034 w 3693484"/>
              <a:gd name="connsiteY27" fmla="*/ 4107073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40971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40822 w 3693484"/>
              <a:gd name="connsiteY26" fmla="*/ 3583198 h 6845510"/>
              <a:gd name="connsiteX27" fmla="*/ 1617034 w 3693484"/>
              <a:gd name="connsiteY27" fmla="*/ 4107073 h 6845510"/>
              <a:gd name="connsiteX28" fmla="*/ 1969459 w 3693484"/>
              <a:gd name="connsiteY28" fmla="*/ 6845510 h 6845510"/>
              <a:gd name="connsiteX0" fmla="*/ 1969459 w 3693484"/>
              <a:gd name="connsiteY0" fmla="*/ 6845510 h 6845510"/>
              <a:gd name="connsiteX1" fmla="*/ 3693484 w 3693484"/>
              <a:gd name="connsiteY1" fmla="*/ 6835985 h 6845510"/>
              <a:gd name="connsiteX2" fmla="*/ 2640971 w 3693484"/>
              <a:gd name="connsiteY2" fmla="*/ 3878472 h 6845510"/>
              <a:gd name="connsiteX3" fmla="*/ 2517146 w 3693484"/>
              <a:gd name="connsiteY3" fmla="*/ 3345073 h 6845510"/>
              <a:gd name="connsiteX4" fmla="*/ 2755270 w 3693484"/>
              <a:gd name="connsiteY4" fmla="*/ 2811673 h 6845510"/>
              <a:gd name="connsiteX5" fmla="*/ 2864809 w 3693484"/>
              <a:gd name="connsiteY5" fmla="*/ 2192548 h 6845510"/>
              <a:gd name="connsiteX6" fmla="*/ 3512509 w 3693484"/>
              <a:gd name="connsiteY6" fmla="*/ 1301960 h 6845510"/>
              <a:gd name="connsiteX7" fmla="*/ 3298197 w 3693484"/>
              <a:gd name="connsiteY7" fmla="*/ 1178135 h 6845510"/>
              <a:gd name="connsiteX8" fmla="*/ 2607634 w 3693484"/>
              <a:gd name="connsiteY8" fmla="*/ 1878222 h 6845510"/>
              <a:gd name="connsiteX9" fmla="*/ 2531434 w 3693484"/>
              <a:gd name="connsiteY9" fmla="*/ 1821072 h 6845510"/>
              <a:gd name="connsiteX10" fmla="*/ 2874334 w 3693484"/>
              <a:gd name="connsiteY10" fmla="*/ 563772 h 6845510"/>
              <a:gd name="connsiteX11" fmla="*/ 2598109 w 3693484"/>
              <a:gd name="connsiteY11" fmla="*/ 397084 h 6845510"/>
              <a:gd name="connsiteX12" fmla="*/ 2207584 w 3693484"/>
              <a:gd name="connsiteY12" fmla="*/ 1659147 h 6845510"/>
              <a:gd name="connsiteX13" fmla="*/ 2131384 w 3693484"/>
              <a:gd name="connsiteY13" fmla="*/ 1597235 h 6845510"/>
              <a:gd name="connsiteX14" fmla="*/ 2193297 w 3693484"/>
              <a:gd name="connsiteY14" fmla="*/ 154197 h 6845510"/>
              <a:gd name="connsiteX15" fmla="*/ 1878971 w 3693484"/>
              <a:gd name="connsiteY15" fmla="*/ 163723 h 6845510"/>
              <a:gd name="connsiteX16" fmla="*/ 1798009 w 3693484"/>
              <a:gd name="connsiteY16" fmla="*/ 1554373 h 6845510"/>
              <a:gd name="connsiteX17" fmla="*/ 1674184 w 3693484"/>
              <a:gd name="connsiteY17" fmla="*/ 1559134 h 6845510"/>
              <a:gd name="connsiteX18" fmla="*/ 1593221 w 3693484"/>
              <a:gd name="connsiteY18" fmla="*/ 378035 h 6845510"/>
              <a:gd name="connsiteX19" fmla="*/ 1307472 w 3693484"/>
              <a:gd name="connsiteY19" fmla="*/ 368510 h 6845510"/>
              <a:gd name="connsiteX20" fmla="*/ 1312234 w 3693484"/>
              <a:gd name="connsiteY20" fmla="*/ 1635335 h 6845510"/>
              <a:gd name="connsiteX21" fmla="*/ 1259846 w 3693484"/>
              <a:gd name="connsiteY21" fmla="*/ 2025860 h 6845510"/>
              <a:gd name="connsiteX22" fmla="*/ 902659 w 3693484"/>
              <a:gd name="connsiteY22" fmla="*/ 2302085 h 6845510"/>
              <a:gd name="connsiteX23" fmla="*/ 207334 w 3693484"/>
              <a:gd name="connsiteY23" fmla="*/ 1787735 h 6845510"/>
              <a:gd name="connsiteX24" fmla="*/ 173996 w 3693484"/>
              <a:gd name="connsiteY24" fmla="*/ 2092535 h 6845510"/>
              <a:gd name="connsiteX25" fmla="*/ 745496 w 3693484"/>
              <a:gd name="connsiteY25" fmla="*/ 2806910 h 6845510"/>
              <a:gd name="connsiteX26" fmla="*/ 1440822 w 3693484"/>
              <a:gd name="connsiteY26" fmla="*/ 3583198 h 6845510"/>
              <a:gd name="connsiteX27" fmla="*/ 1617034 w 3693484"/>
              <a:gd name="connsiteY27" fmla="*/ 4107073 h 6845510"/>
              <a:gd name="connsiteX28" fmla="*/ 1969459 w 3693484"/>
              <a:gd name="connsiteY28" fmla="*/ 6845510 h 6845510"/>
              <a:gd name="connsiteX0" fmla="*/ 1959934 w 3693484"/>
              <a:gd name="connsiteY0" fmla="*/ 6707398 h 6835985"/>
              <a:gd name="connsiteX1" fmla="*/ 3693484 w 3693484"/>
              <a:gd name="connsiteY1" fmla="*/ 6835985 h 6835985"/>
              <a:gd name="connsiteX2" fmla="*/ 2640971 w 3693484"/>
              <a:gd name="connsiteY2" fmla="*/ 3878472 h 6835985"/>
              <a:gd name="connsiteX3" fmla="*/ 2517146 w 3693484"/>
              <a:gd name="connsiteY3" fmla="*/ 3345073 h 6835985"/>
              <a:gd name="connsiteX4" fmla="*/ 2755270 w 3693484"/>
              <a:gd name="connsiteY4" fmla="*/ 2811673 h 6835985"/>
              <a:gd name="connsiteX5" fmla="*/ 2864809 w 3693484"/>
              <a:gd name="connsiteY5" fmla="*/ 2192548 h 6835985"/>
              <a:gd name="connsiteX6" fmla="*/ 3512509 w 3693484"/>
              <a:gd name="connsiteY6" fmla="*/ 1301960 h 6835985"/>
              <a:gd name="connsiteX7" fmla="*/ 3298197 w 3693484"/>
              <a:gd name="connsiteY7" fmla="*/ 1178135 h 6835985"/>
              <a:gd name="connsiteX8" fmla="*/ 2607634 w 3693484"/>
              <a:gd name="connsiteY8" fmla="*/ 1878222 h 6835985"/>
              <a:gd name="connsiteX9" fmla="*/ 2531434 w 3693484"/>
              <a:gd name="connsiteY9" fmla="*/ 1821072 h 6835985"/>
              <a:gd name="connsiteX10" fmla="*/ 2874334 w 3693484"/>
              <a:gd name="connsiteY10" fmla="*/ 563772 h 6835985"/>
              <a:gd name="connsiteX11" fmla="*/ 2598109 w 3693484"/>
              <a:gd name="connsiteY11" fmla="*/ 397084 h 6835985"/>
              <a:gd name="connsiteX12" fmla="*/ 2207584 w 3693484"/>
              <a:gd name="connsiteY12" fmla="*/ 1659147 h 6835985"/>
              <a:gd name="connsiteX13" fmla="*/ 2131384 w 3693484"/>
              <a:gd name="connsiteY13" fmla="*/ 1597235 h 6835985"/>
              <a:gd name="connsiteX14" fmla="*/ 2193297 w 3693484"/>
              <a:gd name="connsiteY14" fmla="*/ 154197 h 6835985"/>
              <a:gd name="connsiteX15" fmla="*/ 1878971 w 3693484"/>
              <a:gd name="connsiteY15" fmla="*/ 163723 h 6835985"/>
              <a:gd name="connsiteX16" fmla="*/ 1798009 w 3693484"/>
              <a:gd name="connsiteY16" fmla="*/ 1554373 h 6835985"/>
              <a:gd name="connsiteX17" fmla="*/ 1674184 w 3693484"/>
              <a:gd name="connsiteY17" fmla="*/ 1559134 h 6835985"/>
              <a:gd name="connsiteX18" fmla="*/ 1593221 w 3693484"/>
              <a:gd name="connsiteY18" fmla="*/ 378035 h 6835985"/>
              <a:gd name="connsiteX19" fmla="*/ 1307472 w 3693484"/>
              <a:gd name="connsiteY19" fmla="*/ 368510 h 6835985"/>
              <a:gd name="connsiteX20" fmla="*/ 1312234 w 3693484"/>
              <a:gd name="connsiteY20" fmla="*/ 1635335 h 6835985"/>
              <a:gd name="connsiteX21" fmla="*/ 1259846 w 3693484"/>
              <a:gd name="connsiteY21" fmla="*/ 2025860 h 6835985"/>
              <a:gd name="connsiteX22" fmla="*/ 902659 w 3693484"/>
              <a:gd name="connsiteY22" fmla="*/ 2302085 h 6835985"/>
              <a:gd name="connsiteX23" fmla="*/ 207334 w 3693484"/>
              <a:gd name="connsiteY23" fmla="*/ 1787735 h 6835985"/>
              <a:gd name="connsiteX24" fmla="*/ 173996 w 3693484"/>
              <a:gd name="connsiteY24" fmla="*/ 2092535 h 6835985"/>
              <a:gd name="connsiteX25" fmla="*/ 745496 w 3693484"/>
              <a:gd name="connsiteY25" fmla="*/ 2806910 h 6835985"/>
              <a:gd name="connsiteX26" fmla="*/ 1440822 w 3693484"/>
              <a:gd name="connsiteY26" fmla="*/ 3583198 h 6835985"/>
              <a:gd name="connsiteX27" fmla="*/ 1617034 w 3693484"/>
              <a:gd name="connsiteY27" fmla="*/ 4107073 h 6835985"/>
              <a:gd name="connsiteX28" fmla="*/ 1959934 w 3693484"/>
              <a:gd name="connsiteY28" fmla="*/ 6707398 h 6835985"/>
              <a:gd name="connsiteX0" fmla="*/ 1959934 w 3664909"/>
              <a:gd name="connsiteY0" fmla="*/ 6707398 h 6712160"/>
              <a:gd name="connsiteX1" fmla="*/ 3664909 w 3664909"/>
              <a:gd name="connsiteY1" fmla="*/ 6712160 h 6712160"/>
              <a:gd name="connsiteX2" fmla="*/ 2640971 w 3664909"/>
              <a:gd name="connsiteY2" fmla="*/ 3878472 h 6712160"/>
              <a:gd name="connsiteX3" fmla="*/ 2517146 w 3664909"/>
              <a:gd name="connsiteY3" fmla="*/ 3345073 h 6712160"/>
              <a:gd name="connsiteX4" fmla="*/ 2755270 w 3664909"/>
              <a:gd name="connsiteY4" fmla="*/ 2811673 h 6712160"/>
              <a:gd name="connsiteX5" fmla="*/ 2864809 w 3664909"/>
              <a:gd name="connsiteY5" fmla="*/ 2192548 h 6712160"/>
              <a:gd name="connsiteX6" fmla="*/ 3512509 w 3664909"/>
              <a:gd name="connsiteY6" fmla="*/ 1301960 h 6712160"/>
              <a:gd name="connsiteX7" fmla="*/ 3298197 w 3664909"/>
              <a:gd name="connsiteY7" fmla="*/ 1178135 h 6712160"/>
              <a:gd name="connsiteX8" fmla="*/ 2607634 w 3664909"/>
              <a:gd name="connsiteY8" fmla="*/ 1878222 h 6712160"/>
              <a:gd name="connsiteX9" fmla="*/ 2531434 w 3664909"/>
              <a:gd name="connsiteY9" fmla="*/ 1821072 h 6712160"/>
              <a:gd name="connsiteX10" fmla="*/ 2874334 w 3664909"/>
              <a:gd name="connsiteY10" fmla="*/ 563772 h 6712160"/>
              <a:gd name="connsiteX11" fmla="*/ 2598109 w 3664909"/>
              <a:gd name="connsiteY11" fmla="*/ 397084 h 6712160"/>
              <a:gd name="connsiteX12" fmla="*/ 2207584 w 3664909"/>
              <a:gd name="connsiteY12" fmla="*/ 1659147 h 6712160"/>
              <a:gd name="connsiteX13" fmla="*/ 2131384 w 3664909"/>
              <a:gd name="connsiteY13" fmla="*/ 1597235 h 6712160"/>
              <a:gd name="connsiteX14" fmla="*/ 2193297 w 3664909"/>
              <a:gd name="connsiteY14" fmla="*/ 154197 h 6712160"/>
              <a:gd name="connsiteX15" fmla="*/ 1878971 w 3664909"/>
              <a:gd name="connsiteY15" fmla="*/ 163723 h 6712160"/>
              <a:gd name="connsiteX16" fmla="*/ 1798009 w 3664909"/>
              <a:gd name="connsiteY16" fmla="*/ 1554373 h 6712160"/>
              <a:gd name="connsiteX17" fmla="*/ 1674184 w 3664909"/>
              <a:gd name="connsiteY17" fmla="*/ 1559134 h 6712160"/>
              <a:gd name="connsiteX18" fmla="*/ 1593221 w 3664909"/>
              <a:gd name="connsiteY18" fmla="*/ 378035 h 6712160"/>
              <a:gd name="connsiteX19" fmla="*/ 1307472 w 3664909"/>
              <a:gd name="connsiteY19" fmla="*/ 368510 h 6712160"/>
              <a:gd name="connsiteX20" fmla="*/ 1312234 w 3664909"/>
              <a:gd name="connsiteY20" fmla="*/ 1635335 h 6712160"/>
              <a:gd name="connsiteX21" fmla="*/ 1259846 w 3664909"/>
              <a:gd name="connsiteY21" fmla="*/ 2025860 h 6712160"/>
              <a:gd name="connsiteX22" fmla="*/ 902659 w 3664909"/>
              <a:gd name="connsiteY22" fmla="*/ 2302085 h 6712160"/>
              <a:gd name="connsiteX23" fmla="*/ 207334 w 3664909"/>
              <a:gd name="connsiteY23" fmla="*/ 1787735 h 6712160"/>
              <a:gd name="connsiteX24" fmla="*/ 173996 w 3664909"/>
              <a:gd name="connsiteY24" fmla="*/ 2092535 h 6712160"/>
              <a:gd name="connsiteX25" fmla="*/ 745496 w 3664909"/>
              <a:gd name="connsiteY25" fmla="*/ 2806910 h 6712160"/>
              <a:gd name="connsiteX26" fmla="*/ 1440822 w 3664909"/>
              <a:gd name="connsiteY26" fmla="*/ 3583198 h 6712160"/>
              <a:gd name="connsiteX27" fmla="*/ 1617034 w 3664909"/>
              <a:gd name="connsiteY27" fmla="*/ 4107073 h 6712160"/>
              <a:gd name="connsiteX28" fmla="*/ 1959934 w 3664909"/>
              <a:gd name="connsiteY28" fmla="*/ 6707398 h 6712160"/>
              <a:gd name="connsiteX0" fmla="*/ 1959934 w 3650621"/>
              <a:gd name="connsiteY0" fmla="*/ 6707398 h 6707398"/>
              <a:gd name="connsiteX1" fmla="*/ 3650621 w 3650621"/>
              <a:gd name="connsiteY1" fmla="*/ 6702635 h 6707398"/>
              <a:gd name="connsiteX2" fmla="*/ 2640971 w 3650621"/>
              <a:gd name="connsiteY2" fmla="*/ 3878472 h 6707398"/>
              <a:gd name="connsiteX3" fmla="*/ 2517146 w 3650621"/>
              <a:gd name="connsiteY3" fmla="*/ 3345073 h 6707398"/>
              <a:gd name="connsiteX4" fmla="*/ 2755270 w 3650621"/>
              <a:gd name="connsiteY4" fmla="*/ 2811673 h 6707398"/>
              <a:gd name="connsiteX5" fmla="*/ 2864809 w 3650621"/>
              <a:gd name="connsiteY5" fmla="*/ 2192548 h 6707398"/>
              <a:gd name="connsiteX6" fmla="*/ 3512509 w 3650621"/>
              <a:gd name="connsiteY6" fmla="*/ 1301960 h 6707398"/>
              <a:gd name="connsiteX7" fmla="*/ 3298197 w 3650621"/>
              <a:gd name="connsiteY7" fmla="*/ 1178135 h 6707398"/>
              <a:gd name="connsiteX8" fmla="*/ 2607634 w 3650621"/>
              <a:gd name="connsiteY8" fmla="*/ 1878222 h 6707398"/>
              <a:gd name="connsiteX9" fmla="*/ 2531434 w 3650621"/>
              <a:gd name="connsiteY9" fmla="*/ 1821072 h 6707398"/>
              <a:gd name="connsiteX10" fmla="*/ 2874334 w 3650621"/>
              <a:gd name="connsiteY10" fmla="*/ 563772 h 6707398"/>
              <a:gd name="connsiteX11" fmla="*/ 2598109 w 3650621"/>
              <a:gd name="connsiteY11" fmla="*/ 397084 h 6707398"/>
              <a:gd name="connsiteX12" fmla="*/ 2207584 w 3650621"/>
              <a:gd name="connsiteY12" fmla="*/ 1659147 h 6707398"/>
              <a:gd name="connsiteX13" fmla="*/ 2131384 w 3650621"/>
              <a:gd name="connsiteY13" fmla="*/ 1597235 h 6707398"/>
              <a:gd name="connsiteX14" fmla="*/ 2193297 w 3650621"/>
              <a:gd name="connsiteY14" fmla="*/ 154197 h 6707398"/>
              <a:gd name="connsiteX15" fmla="*/ 1878971 w 3650621"/>
              <a:gd name="connsiteY15" fmla="*/ 163723 h 6707398"/>
              <a:gd name="connsiteX16" fmla="*/ 1798009 w 3650621"/>
              <a:gd name="connsiteY16" fmla="*/ 1554373 h 6707398"/>
              <a:gd name="connsiteX17" fmla="*/ 1674184 w 3650621"/>
              <a:gd name="connsiteY17" fmla="*/ 1559134 h 6707398"/>
              <a:gd name="connsiteX18" fmla="*/ 1593221 w 3650621"/>
              <a:gd name="connsiteY18" fmla="*/ 378035 h 6707398"/>
              <a:gd name="connsiteX19" fmla="*/ 1307472 w 3650621"/>
              <a:gd name="connsiteY19" fmla="*/ 368510 h 6707398"/>
              <a:gd name="connsiteX20" fmla="*/ 1312234 w 3650621"/>
              <a:gd name="connsiteY20" fmla="*/ 1635335 h 6707398"/>
              <a:gd name="connsiteX21" fmla="*/ 1259846 w 3650621"/>
              <a:gd name="connsiteY21" fmla="*/ 2025860 h 6707398"/>
              <a:gd name="connsiteX22" fmla="*/ 902659 w 3650621"/>
              <a:gd name="connsiteY22" fmla="*/ 2302085 h 6707398"/>
              <a:gd name="connsiteX23" fmla="*/ 207334 w 3650621"/>
              <a:gd name="connsiteY23" fmla="*/ 1787735 h 6707398"/>
              <a:gd name="connsiteX24" fmla="*/ 173996 w 3650621"/>
              <a:gd name="connsiteY24" fmla="*/ 2092535 h 6707398"/>
              <a:gd name="connsiteX25" fmla="*/ 745496 w 3650621"/>
              <a:gd name="connsiteY25" fmla="*/ 2806910 h 6707398"/>
              <a:gd name="connsiteX26" fmla="*/ 1440822 w 3650621"/>
              <a:gd name="connsiteY26" fmla="*/ 3583198 h 6707398"/>
              <a:gd name="connsiteX27" fmla="*/ 1617034 w 3650621"/>
              <a:gd name="connsiteY27" fmla="*/ 4107073 h 6707398"/>
              <a:gd name="connsiteX28" fmla="*/ 1959934 w 3650621"/>
              <a:gd name="connsiteY28" fmla="*/ 6707398 h 6707398"/>
              <a:gd name="connsiteX0" fmla="*/ 1959934 w 3650621"/>
              <a:gd name="connsiteY0" fmla="*/ 6707398 h 6707398"/>
              <a:gd name="connsiteX1" fmla="*/ 3650621 w 3650621"/>
              <a:gd name="connsiteY1" fmla="*/ 6702635 h 6707398"/>
              <a:gd name="connsiteX2" fmla="*/ 2640971 w 3650621"/>
              <a:gd name="connsiteY2" fmla="*/ 3878472 h 6707398"/>
              <a:gd name="connsiteX3" fmla="*/ 2539547 w 3650621"/>
              <a:gd name="connsiteY3" fmla="*/ 3373073 h 6707398"/>
              <a:gd name="connsiteX4" fmla="*/ 2755270 w 3650621"/>
              <a:gd name="connsiteY4" fmla="*/ 2811673 h 6707398"/>
              <a:gd name="connsiteX5" fmla="*/ 2864809 w 3650621"/>
              <a:gd name="connsiteY5" fmla="*/ 2192548 h 6707398"/>
              <a:gd name="connsiteX6" fmla="*/ 3512509 w 3650621"/>
              <a:gd name="connsiteY6" fmla="*/ 1301960 h 6707398"/>
              <a:gd name="connsiteX7" fmla="*/ 3298197 w 3650621"/>
              <a:gd name="connsiteY7" fmla="*/ 1178135 h 6707398"/>
              <a:gd name="connsiteX8" fmla="*/ 2607634 w 3650621"/>
              <a:gd name="connsiteY8" fmla="*/ 1878222 h 6707398"/>
              <a:gd name="connsiteX9" fmla="*/ 2531434 w 3650621"/>
              <a:gd name="connsiteY9" fmla="*/ 1821072 h 6707398"/>
              <a:gd name="connsiteX10" fmla="*/ 2874334 w 3650621"/>
              <a:gd name="connsiteY10" fmla="*/ 563772 h 6707398"/>
              <a:gd name="connsiteX11" fmla="*/ 2598109 w 3650621"/>
              <a:gd name="connsiteY11" fmla="*/ 397084 h 6707398"/>
              <a:gd name="connsiteX12" fmla="*/ 2207584 w 3650621"/>
              <a:gd name="connsiteY12" fmla="*/ 1659147 h 6707398"/>
              <a:gd name="connsiteX13" fmla="*/ 2131384 w 3650621"/>
              <a:gd name="connsiteY13" fmla="*/ 1597235 h 6707398"/>
              <a:gd name="connsiteX14" fmla="*/ 2193297 w 3650621"/>
              <a:gd name="connsiteY14" fmla="*/ 154197 h 6707398"/>
              <a:gd name="connsiteX15" fmla="*/ 1878971 w 3650621"/>
              <a:gd name="connsiteY15" fmla="*/ 163723 h 6707398"/>
              <a:gd name="connsiteX16" fmla="*/ 1798009 w 3650621"/>
              <a:gd name="connsiteY16" fmla="*/ 1554373 h 6707398"/>
              <a:gd name="connsiteX17" fmla="*/ 1674184 w 3650621"/>
              <a:gd name="connsiteY17" fmla="*/ 1559134 h 6707398"/>
              <a:gd name="connsiteX18" fmla="*/ 1593221 w 3650621"/>
              <a:gd name="connsiteY18" fmla="*/ 378035 h 6707398"/>
              <a:gd name="connsiteX19" fmla="*/ 1307472 w 3650621"/>
              <a:gd name="connsiteY19" fmla="*/ 368510 h 6707398"/>
              <a:gd name="connsiteX20" fmla="*/ 1312234 w 3650621"/>
              <a:gd name="connsiteY20" fmla="*/ 1635335 h 6707398"/>
              <a:gd name="connsiteX21" fmla="*/ 1259846 w 3650621"/>
              <a:gd name="connsiteY21" fmla="*/ 2025860 h 6707398"/>
              <a:gd name="connsiteX22" fmla="*/ 902659 w 3650621"/>
              <a:gd name="connsiteY22" fmla="*/ 2302085 h 6707398"/>
              <a:gd name="connsiteX23" fmla="*/ 207334 w 3650621"/>
              <a:gd name="connsiteY23" fmla="*/ 1787735 h 6707398"/>
              <a:gd name="connsiteX24" fmla="*/ 173996 w 3650621"/>
              <a:gd name="connsiteY24" fmla="*/ 2092535 h 6707398"/>
              <a:gd name="connsiteX25" fmla="*/ 745496 w 3650621"/>
              <a:gd name="connsiteY25" fmla="*/ 2806910 h 6707398"/>
              <a:gd name="connsiteX26" fmla="*/ 1440822 w 3650621"/>
              <a:gd name="connsiteY26" fmla="*/ 3583198 h 6707398"/>
              <a:gd name="connsiteX27" fmla="*/ 1617034 w 3650621"/>
              <a:gd name="connsiteY27" fmla="*/ 4107073 h 6707398"/>
              <a:gd name="connsiteX28" fmla="*/ 1959934 w 3650621"/>
              <a:gd name="connsiteY28" fmla="*/ 6707398 h 6707398"/>
              <a:gd name="connsiteX0" fmla="*/ 1959934 w 3650621"/>
              <a:gd name="connsiteY0" fmla="*/ 6707398 h 6707398"/>
              <a:gd name="connsiteX1" fmla="*/ 3650621 w 3650621"/>
              <a:gd name="connsiteY1" fmla="*/ 6702635 h 6707398"/>
              <a:gd name="connsiteX2" fmla="*/ 2640971 w 3650621"/>
              <a:gd name="connsiteY2" fmla="*/ 3878472 h 6707398"/>
              <a:gd name="connsiteX3" fmla="*/ 2539547 w 3650621"/>
              <a:gd name="connsiteY3" fmla="*/ 3373073 h 6707398"/>
              <a:gd name="connsiteX4" fmla="*/ 2755270 w 3650621"/>
              <a:gd name="connsiteY4" fmla="*/ 2811673 h 6707398"/>
              <a:gd name="connsiteX5" fmla="*/ 2864809 w 3650621"/>
              <a:gd name="connsiteY5" fmla="*/ 2192548 h 6707398"/>
              <a:gd name="connsiteX6" fmla="*/ 3512509 w 3650621"/>
              <a:gd name="connsiteY6" fmla="*/ 1301960 h 6707398"/>
              <a:gd name="connsiteX7" fmla="*/ 3298197 w 3650621"/>
              <a:gd name="connsiteY7" fmla="*/ 1178135 h 6707398"/>
              <a:gd name="connsiteX8" fmla="*/ 2607634 w 3650621"/>
              <a:gd name="connsiteY8" fmla="*/ 1878222 h 6707398"/>
              <a:gd name="connsiteX9" fmla="*/ 2531434 w 3650621"/>
              <a:gd name="connsiteY9" fmla="*/ 1821072 h 6707398"/>
              <a:gd name="connsiteX10" fmla="*/ 2874334 w 3650621"/>
              <a:gd name="connsiteY10" fmla="*/ 563772 h 6707398"/>
              <a:gd name="connsiteX11" fmla="*/ 2598109 w 3650621"/>
              <a:gd name="connsiteY11" fmla="*/ 397084 h 6707398"/>
              <a:gd name="connsiteX12" fmla="*/ 2207584 w 3650621"/>
              <a:gd name="connsiteY12" fmla="*/ 1659147 h 6707398"/>
              <a:gd name="connsiteX13" fmla="*/ 2131384 w 3650621"/>
              <a:gd name="connsiteY13" fmla="*/ 1597235 h 6707398"/>
              <a:gd name="connsiteX14" fmla="*/ 2193297 w 3650621"/>
              <a:gd name="connsiteY14" fmla="*/ 154197 h 6707398"/>
              <a:gd name="connsiteX15" fmla="*/ 1878971 w 3650621"/>
              <a:gd name="connsiteY15" fmla="*/ 163723 h 6707398"/>
              <a:gd name="connsiteX16" fmla="*/ 1798009 w 3650621"/>
              <a:gd name="connsiteY16" fmla="*/ 1554373 h 6707398"/>
              <a:gd name="connsiteX17" fmla="*/ 1674184 w 3650621"/>
              <a:gd name="connsiteY17" fmla="*/ 1559134 h 6707398"/>
              <a:gd name="connsiteX18" fmla="*/ 1593221 w 3650621"/>
              <a:gd name="connsiteY18" fmla="*/ 378035 h 6707398"/>
              <a:gd name="connsiteX19" fmla="*/ 1307472 w 3650621"/>
              <a:gd name="connsiteY19" fmla="*/ 368510 h 6707398"/>
              <a:gd name="connsiteX20" fmla="*/ 1312234 w 3650621"/>
              <a:gd name="connsiteY20" fmla="*/ 1635335 h 6707398"/>
              <a:gd name="connsiteX21" fmla="*/ 1259846 w 3650621"/>
              <a:gd name="connsiteY21" fmla="*/ 2025860 h 6707398"/>
              <a:gd name="connsiteX22" fmla="*/ 902659 w 3650621"/>
              <a:gd name="connsiteY22" fmla="*/ 2302085 h 6707398"/>
              <a:gd name="connsiteX23" fmla="*/ 207334 w 3650621"/>
              <a:gd name="connsiteY23" fmla="*/ 1787735 h 6707398"/>
              <a:gd name="connsiteX24" fmla="*/ 173996 w 3650621"/>
              <a:gd name="connsiteY24" fmla="*/ 2092535 h 6707398"/>
              <a:gd name="connsiteX25" fmla="*/ 745496 w 3650621"/>
              <a:gd name="connsiteY25" fmla="*/ 2806910 h 6707398"/>
              <a:gd name="connsiteX26" fmla="*/ 1440822 w 3650621"/>
              <a:gd name="connsiteY26" fmla="*/ 3583198 h 6707398"/>
              <a:gd name="connsiteX27" fmla="*/ 1617034 w 3650621"/>
              <a:gd name="connsiteY27" fmla="*/ 4107073 h 6707398"/>
              <a:gd name="connsiteX28" fmla="*/ 1959934 w 3650621"/>
              <a:gd name="connsiteY28" fmla="*/ 6707398 h 6707398"/>
              <a:gd name="connsiteX0" fmla="*/ 1959934 w 3650621"/>
              <a:gd name="connsiteY0" fmla="*/ 6707398 h 6707398"/>
              <a:gd name="connsiteX1" fmla="*/ 3650621 w 3650621"/>
              <a:gd name="connsiteY1" fmla="*/ 6702635 h 6707398"/>
              <a:gd name="connsiteX2" fmla="*/ 2640971 w 3650621"/>
              <a:gd name="connsiteY2" fmla="*/ 3878472 h 6707398"/>
              <a:gd name="connsiteX3" fmla="*/ 2539547 w 3650621"/>
              <a:gd name="connsiteY3" fmla="*/ 3373073 h 6707398"/>
              <a:gd name="connsiteX4" fmla="*/ 2755270 w 3650621"/>
              <a:gd name="connsiteY4" fmla="*/ 2811673 h 6707398"/>
              <a:gd name="connsiteX5" fmla="*/ 2864809 w 3650621"/>
              <a:gd name="connsiteY5" fmla="*/ 2192548 h 6707398"/>
              <a:gd name="connsiteX6" fmla="*/ 3512509 w 3650621"/>
              <a:gd name="connsiteY6" fmla="*/ 1301960 h 6707398"/>
              <a:gd name="connsiteX7" fmla="*/ 3298197 w 3650621"/>
              <a:gd name="connsiteY7" fmla="*/ 1178135 h 6707398"/>
              <a:gd name="connsiteX8" fmla="*/ 2607634 w 3650621"/>
              <a:gd name="connsiteY8" fmla="*/ 1878222 h 6707398"/>
              <a:gd name="connsiteX9" fmla="*/ 2531434 w 3650621"/>
              <a:gd name="connsiteY9" fmla="*/ 1821072 h 6707398"/>
              <a:gd name="connsiteX10" fmla="*/ 2874334 w 3650621"/>
              <a:gd name="connsiteY10" fmla="*/ 563772 h 6707398"/>
              <a:gd name="connsiteX11" fmla="*/ 2598109 w 3650621"/>
              <a:gd name="connsiteY11" fmla="*/ 397084 h 6707398"/>
              <a:gd name="connsiteX12" fmla="*/ 2207584 w 3650621"/>
              <a:gd name="connsiteY12" fmla="*/ 1659147 h 6707398"/>
              <a:gd name="connsiteX13" fmla="*/ 2131384 w 3650621"/>
              <a:gd name="connsiteY13" fmla="*/ 1597235 h 6707398"/>
              <a:gd name="connsiteX14" fmla="*/ 2193297 w 3650621"/>
              <a:gd name="connsiteY14" fmla="*/ 154197 h 6707398"/>
              <a:gd name="connsiteX15" fmla="*/ 1878971 w 3650621"/>
              <a:gd name="connsiteY15" fmla="*/ 163723 h 6707398"/>
              <a:gd name="connsiteX16" fmla="*/ 1798009 w 3650621"/>
              <a:gd name="connsiteY16" fmla="*/ 1554373 h 6707398"/>
              <a:gd name="connsiteX17" fmla="*/ 1674184 w 3650621"/>
              <a:gd name="connsiteY17" fmla="*/ 1559134 h 6707398"/>
              <a:gd name="connsiteX18" fmla="*/ 1593221 w 3650621"/>
              <a:gd name="connsiteY18" fmla="*/ 378035 h 6707398"/>
              <a:gd name="connsiteX19" fmla="*/ 1307472 w 3650621"/>
              <a:gd name="connsiteY19" fmla="*/ 368510 h 6707398"/>
              <a:gd name="connsiteX20" fmla="*/ 1312234 w 3650621"/>
              <a:gd name="connsiteY20" fmla="*/ 1635335 h 6707398"/>
              <a:gd name="connsiteX21" fmla="*/ 1259846 w 3650621"/>
              <a:gd name="connsiteY21" fmla="*/ 2025860 h 6707398"/>
              <a:gd name="connsiteX22" fmla="*/ 902659 w 3650621"/>
              <a:gd name="connsiteY22" fmla="*/ 2302085 h 6707398"/>
              <a:gd name="connsiteX23" fmla="*/ 207334 w 3650621"/>
              <a:gd name="connsiteY23" fmla="*/ 1787735 h 6707398"/>
              <a:gd name="connsiteX24" fmla="*/ 173996 w 3650621"/>
              <a:gd name="connsiteY24" fmla="*/ 2092535 h 6707398"/>
              <a:gd name="connsiteX25" fmla="*/ 745496 w 3650621"/>
              <a:gd name="connsiteY25" fmla="*/ 2806910 h 6707398"/>
              <a:gd name="connsiteX26" fmla="*/ 1440822 w 3650621"/>
              <a:gd name="connsiteY26" fmla="*/ 3583198 h 6707398"/>
              <a:gd name="connsiteX27" fmla="*/ 1617034 w 3650621"/>
              <a:gd name="connsiteY27" fmla="*/ 4107073 h 6707398"/>
              <a:gd name="connsiteX28" fmla="*/ 1959934 w 3650621"/>
              <a:gd name="connsiteY28" fmla="*/ 6707398 h 6707398"/>
              <a:gd name="connsiteX0" fmla="*/ 1938429 w 3650621"/>
              <a:gd name="connsiteY0" fmla="*/ 6169762 h 6702638"/>
              <a:gd name="connsiteX1" fmla="*/ 3650621 w 3650621"/>
              <a:gd name="connsiteY1" fmla="*/ 6702635 h 6702638"/>
              <a:gd name="connsiteX2" fmla="*/ 2640971 w 3650621"/>
              <a:gd name="connsiteY2" fmla="*/ 3878472 h 6702638"/>
              <a:gd name="connsiteX3" fmla="*/ 2539547 w 3650621"/>
              <a:gd name="connsiteY3" fmla="*/ 3373073 h 6702638"/>
              <a:gd name="connsiteX4" fmla="*/ 2755270 w 3650621"/>
              <a:gd name="connsiteY4" fmla="*/ 2811673 h 6702638"/>
              <a:gd name="connsiteX5" fmla="*/ 2864809 w 3650621"/>
              <a:gd name="connsiteY5" fmla="*/ 2192548 h 6702638"/>
              <a:gd name="connsiteX6" fmla="*/ 3512509 w 3650621"/>
              <a:gd name="connsiteY6" fmla="*/ 1301960 h 6702638"/>
              <a:gd name="connsiteX7" fmla="*/ 3298197 w 3650621"/>
              <a:gd name="connsiteY7" fmla="*/ 1178135 h 6702638"/>
              <a:gd name="connsiteX8" fmla="*/ 2607634 w 3650621"/>
              <a:gd name="connsiteY8" fmla="*/ 1878222 h 6702638"/>
              <a:gd name="connsiteX9" fmla="*/ 2531434 w 3650621"/>
              <a:gd name="connsiteY9" fmla="*/ 1821072 h 6702638"/>
              <a:gd name="connsiteX10" fmla="*/ 2874334 w 3650621"/>
              <a:gd name="connsiteY10" fmla="*/ 563772 h 6702638"/>
              <a:gd name="connsiteX11" fmla="*/ 2598109 w 3650621"/>
              <a:gd name="connsiteY11" fmla="*/ 397084 h 6702638"/>
              <a:gd name="connsiteX12" fmla="*/ 2207584 w 3650621"/>
              <a:gd name="connsiteY12" fmla="*/ 1659147 h 6702638"/>
              <a:gd name="connsiteX13" fmla="*/ 2131384 w 3650621"/>
              <a:gd name="connsiteY13" fmla="*/ 1597235 h 6702638"/>
              <a:gd name="connsiteX14" fmla="*/ 2193297 w 3650621"/>
              <a:gd name="connsiteY14" fmla="*/ 154197 h 6702638"/>
              <a:gd name="connsiteX15" fmla="*/ 1878971 w 3650621"/>
              <a:gd name="connsiteY15" fmla="*/ 163723 h 6702638"/>
              <a:gd name="connsiteX16" fmla="*/ 1798009 w 3650621"/>
              <a:gd name="connsiteY16" fmla="*/ 1554373 h 6702638"/>
              <a:gd name="connsiteX17" fmla="*/ 1674184 w 3650621"/>
              <a:gd name="connsiteY17" fmla="*/ 1559134 h 6702638"/>
              <a:gd name="connsiteX18" fmla="*/ 1593221 w 3650621"/>
              <a:gd name="connsiteY18" fmla="*/ 378035 h 6702638"/>
              <a:gd name="connsiteX19" fmla="*/ 1307472 w 3650621"/>
              <a:gd name="connsiteY19" fmla="*/ 368510 h 6702638"/>
              <a:gd name="connsiteX20" fmla="*/ 1312234 w 3650621"/>
              <a:gd name="connsiteY20" fmla="*/ 1635335 h 6702638"/>
              <a:gd name="connsiteX21" fmla="*/ 1259846 w 3650621"/>
              <a:gd name="connsiteY21" fmla="*/ 2025860 h 6702638"/>
              <a:gd name="connsiteX22" fmla="*/ 902659 w 3650621"/>
              <a:gd name="connsiteY22" fmla="*/ 2302085 h 6702638"/>
              <a:gd name="connsiteX23" fmla="*/ 207334 w 3650621"/>
              <a:gd name="connsiteY23" fmla="*/ 1787735 h 6702638"/>
              <a:gd name="connsiteX24" fmla="*/ 173996 w 3650621"/>
              <a:gd name="connsiteY24" fmla="*/ 2092535 h 6702638"/>
              <a:gd name="connsiteX25" fmla="*/ 745496 w 3650621"/>
              <a:gd name="connsiteY25" fmla="*/ 2806910 h 6702638"/>
              <a:gd name="connsiteX26" fmla="*/ 1440822 w 3650621"/>
              <a:gd name="connsiteY26" fmla="*/ 3583198 h 6702638"/>
              <a:gd name="connsiteX27" fmla="*/ 1617034 w 3650621"/>
              <a:gd name="connsiteY27" fmla="*/ 4107073 h 6702638"/>
              <a:gd name="connsiteX28" fmla="*/ 1938429 w 3650621"/>
              <a:gd name="connsiteY28" fmla="*/ 6169762 h 6702638"/>
              <a:gd name="connsiteX0" fmla="*/ 1938429 w 3560732"/>
              <a:gd name="connsiteY0" fmla="*/ 6169762 h 6186505"/>
              <a:gd name="connsiteX1" fmla="*/ 3478578 w 3560732"/>
              <a:gd name="connsiteY1" fmla="*/ 6186505 h 6186505"/>
              <a:gd name="connsiteX2" fmla="*/ 2640971 w 3560732"/>
              <a:gd name="connsiteY2" fmla="*/ 3878472 h 6186505"/>
              <a:gd name="connsiteX3" fmla="*/ 2539547 w 3560732"/>
              <a:gd name="connsiteY3" fmla="*/ 3373073 h 6186505"/>
              <a:gd name="connsiteX4" fmla="*/ 2755270 w 3560732"/>
              <a:gd name="connsiteY4" fmla="*/ 2811673 h 6186505"/>
              <a:gd name="connsiteX5" fmla="*/ 2864809 w 3560732"/>
              <a:gd name="connsiteY5" fmla="*/ 2192548 h 6186505"/>
              <a:gd name="connsiteX6" fmla="*/ 3512509 w 3560732"/>
              <a:gd name="connsiteY6" fmla="*/ 1301960 h 6186505"/>
              <a:gd name="connsiteX7" fmla="*/ 3298197 w 3560732"/>
              <a:gd name="connsiteY7" fmla="*/ 1178135 h 6186505"/>
              <a:gd name="connsiteX8" fmla="*/ 2607634 w 3560732"/>
              <a:gd name="connsiteY8" fmla="*/ 1878222 h 6186505"/>
              <a:gd name="connsiteX9" fmla="*/ 2531434 w 3560732"/>
              <a:gd name="connsiteY9" fmla="*/ 1821072 h 6186505"/>
              <a:gd name="connsiteX10" fmla="*/ 2874334 w 3560732"/>
              <a:gd name="connsiteY10" fmla="*/ 563772 h 6186505"/>
              <a:gd name="connsiteX11" fmla="*/ 2598109 w 3560732"/>
              <a:gd name="connsiteY11" fmla="*/ 397084 h 6186505"/>
              <a:gd name="connsiteX12" fmla="*/ 2207584 w 3560732"/>
              <a:gd name="connsiteY12" fmla="*/ 1659147 h 6186505"/>
              <a:gd name="connsiteX13" fmla="*/ 2131384 w 3560732"/>
              <a:gd name="connsiteY13" fmla="*/ 1597235 h 6186505"/>
              <a:gd name="connsiteX14" fmla="*/ 2193297 w 3560732"/>
              <a:gd name="connsiteY14" fmla="*/ 154197 h 6186505"/>
              <a:gd name="connsiteX15" fmla="*/ 1878971 w 3560732"/>
              <a:gd name="connsiteY15" fmla="*/ 163723 h 6186505"/>
              <a:gd name="connsiteX16" fmla="*/ 1798009 w 3560732"/>
              <a:gd name="connsiteY16" fmla="*/ 1554373 h 6186505"/>
              <a:gd name="connsiteX17" fmla="*/ 1674184 w 3560732"/>
              <a:gd name="connsiteY17" fmla="*/ 1559134 h 6186505"/>
              <a:gd name="connsiteX18" fmla="*/ 1593221 w 3560732"/>
              <a:gd name="connsiteY18" fmla="*/ 378035 h 6186505"/>
              <a:gd name="connsiteX19" fmla="*/ 1307472 w 3560732"/>
              <a:gd name="connsiteY19" fmla="*/ 368510 h 6186505"/>
              <a:gd name="connsiteX20" fmla="*/ 1312234 w 3560732"/>
              <a:gd name="connsiteY20" fmla="*/ 1635335 h 6186505"/>
              <a:gd name="connsiteX21" fmla="*/ 1259846 w 3560732"/>
              <a:gd name="connsiteY21" fmla="*/ 2025860 h 6186505"/>
              <a:gd name="connsiteX22" fmla="*/ 902659 w 3560732"/>
              <a:gd name="connsiteY22" fmla="*/ 2302085 h 6186505"/>
              <a:gd name="connsiteX23" fmla="*/ 207334 w 3560732"/>
              <a:gd name="connsiteY23" fmla="*/ 1787735 h 6186505"/>
              <a:gd name="connsiteX24" fmla="*/ 173996 w 3560732"/>
              <a:gd name="connsiteY24" fmla="*/ 2092535 h 6186505"/>
              <a:gd name="connsiteX25" fmla="*/ 745496 w 3560732"/>
              <a:gd name="connsiteY25" fmla="*/ 2806910 h 6186505"/>
              <a:gd name="connsiteX26" fmla="*/ 1440822 w 3560732"/>
              <a:gd name="connsiteY26" fmla="*/ 3583198 h 6186505"/>
              <a:gd name="connsiteX27" fmla="*/ 1617034 w 3560732"/>
              <a:gd name="connsiteY27" fmla="*/ 4107073 h 6186505"/>
              <a:gd name="connsiteX28" fmla="*/ 1938429 w 3560732"/>
              <a:gd name="connsiteY28" fmla="*/ 6169762 h 6186505"/>
              <a:gd name="connsiteX0" fmla="*/ 1938429 w 3560732"/>
              <a:gd name="connsiteY0" fmla="*/ 6169762 h 6186505"/>
              <a:gd name="connsiteX1" fmla="*/ 3478578 w 3560732"/>
              <a:gd name="connsiteY1" fmla="*/ 6186505 h 6186505"/>
              <a:gd name="connsiteX2" fmla="*/ 2640971 w 3560732"/>
              <a:gd name="connsiteY2" fmla="*/ 3878472 h 6186505"/>
              <a:gd name="connsiteX3" fmla="*/ 2539547 w 3560732"/>
              <a:gd name="connsiteY3" fmla="*/ 3373073 h 6186505"/>
              <a:gd name="connsiteX4" fmla="*/ 2755270 w 3560732"/>
              <a:gd name="connsiteY4" fmla="*/ 2811673 h 6186505"/>
              <a:gd name="connsiteX5" fmla="*/ 2864809 w 3560732"/>
              <a:gd name="connsiteY5" fmla="*/ 2192548 h 6186505"/>
              <a:gd name="connsiteX6" fmla="*/ 3512509 w 3560732"/>
              <a:gd name="connsiteY6" fmla="*/ 1301960 h 6186505"/>
              <a:gd name="connsiteX7" fmla="*/ 3298197 w 3560732"/>
              <a:gd name="connsiteY7" fmla="*/ 1178135 h 6186505"/>
              <a:gd name="connsiteX8" fmla="*/ 2607634 w 3560732"/>
              <a:gd name="connsiteY8" fmla="*/ 1878222 h 6186505"/>
              <a:gd name="connsiteX9" fmla="*/ 2531434 w 3560732"/>
              <a:gd name="connsiteY9" fmla="*/ 1821072 h 6186505"/>
              <a:gd name="connsiteX10" fmla="*/ 2874334 w 3560732"/>
              <a:gd name="connsiteY10" fmla="*/ 563772 h 6186505"/>
              <a:gd name="connsiteX11" fmla="*/ 2598109 w 3560732"/>
              <a:gd name="connsiteY11" fmla="*/ 397084 h 6186505"/>
              <a:gd name="connsiteX12" fmla="*/ 2207584 w 3560732"/>
              <a:gd name="connsiteY12" fmla="*/ 1659147 h 6186505"/>
              <a:gd name="connsiteX13" fmla="*/ 2131384 w 3560732"/>
              <a:gd name="connsiteY13" fmla="*/ 1597235 h 6186505"/>
              <a:gd name="connsiteX14" fmla="*/ 2193297 w 3560732"/>
              <a:gd name="connsiteY14" fmla="*/ 154197 h 6186505"/>
              <a:gd name="connsiteX15" fmla="*/ 1878971 w 3560732"/>
              <a:gd name="connsiteY15" fmla="*/ 163723 h 6186505"/>
              <a:gd name="connsiteX16" fmla="*/ 1798009 w 3560732"/>
              <a:gd name="connsiteY16" fmla="*/ 1554373 h 6186505"/>
              <a:gd name="connsiteX17" fmla="*/ 1674184 w 3560732"/>
              <a:gd name="connsiteY17" fmla="*/ 1559134 h 6186505"/>
              <a:gd name="connsiteX18" fmla="*/ 1593221 w 3560732"/>
              <a:gd name="connsiteY18" fmla="*/ 378035 h 6186505"/>
              <a:gd name="connsiteX19" fmla="*/ 1307472 w 3560732"/>
              <a:gd name="connsiteY19" fmla="*/ 368510 h 6186505"/>
              <a:gd name="connsiteX20" fmla="*/ 1312234 w 3560732"/>
              <a:gd name="connsiteY20" fmla="*/ 1635335 h 6186505"/>
              <a:gd name="connsiteX21" fmla="*/ 1259846 w 3560732"/>
              <a:gd name="connsiteY21" fmla="*/ 2025860 h 6186505"/>
              <a:gd name="connsiteX22" fmla="*/ 902659 w 3560732"/>
              <a:gd name="connsiteY22" fmla="*/ 2302085 h 6186505"/>
              <a:gd name="connsiteX23" fmla="*/ 207334 w 3560732"/>
              <a:gd name="connsiteY23" fmla="*/ 1787735 h 6186505"/>
              <a:gd name="connsiteX24" fmla="*/ 173996 w 3560732"/>
              <a:gd name="connsiteY24" fmla="*/ 2092535 h 6186505"/>
              <a:gd name="connsiteX25" fmla="*/ 745496 w 3560732"/>
              <a:gd name="connsiteY25" fmla="*/ 2806910 h 6186505"/>
              <a:gd name="connsiteX26" fmla="*/ 1440822 w 3560732"/>
              <a:gd name="connsiteY26" fmla="*/ 3583198 h 6186505"/>
              <a:gd name="connsiteX27" fmla="*/ 1617034 w 3560732"/>
              <a:gd name="connsiteY27" fmla="*/ 4107073 h 6186505"/>
              <a:gd name="connsiteX28" fmla="*/ 1938429 w 3560732"/>
              <a:gd name="connsiteY28" fmla="*/ 6169762 h 6186505"/>
              <a:gd name="connsiteX0" fmla="*/ 1938429 w 3560732"/>
              <a:gd name="connsiteY0" fmla="*/ 6226614 h 6226614"/>
              <a:gd name="connsiteX1" fmla="*/ 3478578 w 3560732"/>
              <a:gd name="connsiteY1" fmla="*/ 6186505 h 6226614"/>
              <a:gd name="connsiteX2" fmla="*/ 2640971 w 3560732"/>
              <a:gd name="connsiteY2" fmla="*/ 3878472 h 6226614"/>
              <a:gd name="connsiteX3" fmla="*/ 2539547 w 3560732"/>
              <a:gd name="connsiteY3" fmla="*/ 3373073 h 6226614"/>
              <a:gd name="connsiteX4" fmla="*/ 2755270 w 3560732"/>
              <a:gd name="connsiteY4" fmla="*/ 2811673 h 6226614"/>
              <a:gd name="connsiteX5" fmla="*/ 2864809 w 3560732"/>
              <a:gd name="connsiteY5" fmla="*/ 2192548 h 6226614"/>
              <a:gd name="connsiteX6" fmla="*/ 3512509 w 3560732"/>
              <a:gd name="connsiteY6" fmla="*/ 1301960 h 6226614"/>
              <a:gd name="connsiteX7" fmla="*/ 3298197 w 3560732"/>
              <a:gd name="connsiteY7" fmla="*/ 1178135 h 6226614"/>
              <a:gd name="connsiteX8" fmla="*/ 2607634 w 3560732"/>
              <a:gd name="connsiteY8" fmla="*/ 1878222 h 6226614"/>
              <a:gd name="connsiteX9" fmla="*/ 2531434 w 3560732"/>
              <a:gd name="connsiteY9" fmla="*/ 1821072 h 6226614"/>
              <a:gd name="connsiteX10" fmla="*/ 2874334 w 3560732"/>
              <a:gd name="connsiteY10" fmla="*/ 563772 h 6226614"/>
              <a:gd name="connsiteX11" fmla="*/ 2598109 w 3560732"/>
              <a:gd name="connsiteY11" fmla="*/ 397084 h 6226614"/>
              <a:gd name="connsiteX12" fmla="*/ 2207584 w 3560732"/>
              <a:gd name="connsiteY12" fmla="*/ 1659147 h 6226614"/>
              <a:gd name="connsiteX13" fmla="*/ 2131384 w 3560732"/>
              <a:gd name="connsiteY13" fmla="*/ 1597235 h 6226614"/>
              <a:gd name="connsiteX14" fmla="*/ 2193297 w 3560732"/>
              <a:gd name="connsiteY14" fmla="*/ 154197 h 6226614"/>
              <a:gd name="connsiteX15" fmla="*/ 1878971 w 3560732"/>
              <a:gd name="connsiteY15" fmla="*/ 163723 h 6226614"/>
              <a:gd name="connsiteX16" fmla="*/ 1798009 w 3560732"/>
              <a:gd name="connsiteY16" fmla="*/ 1554373 h 6226614"/>
              <a:gd name="connsiteX17" fmla="*/ 1674184 w 3560732"/>
              <a:gd name="connsiteY17" fmla="*/ 1559134 h 6226614"/>
              <a:gd name="connsiteX18" fmla="*/ 1593221 w 3560732"/>
              <a:gd name="connsiteY18" fmla="*/ 378035 h 6226614"/>
              <a:gd name="connsiteX19" fmla="*/ 1307472 w 3560732"/>
              <a:gd name="connsiteY19" fmla="*/ 368510 h 6226614"/>
              <a:gd name="connsiteX20" fmla="*/ 1312234 w 3560732"/>
              <a:gd name="connsiteY20" fmla="*/ 1635335 h 6226614"/>
              <a:gd name="connsiteX21" fmla="*/ 1259846 w 3560732"/>
              <a:gd name="connsiteY21" fmla="*/ 2025860 h 6226614"/>
              <a:gd name="connsiteX22" fmla="*/ 902659 w 3560732"/>
              <a:gd name="connsiteY22" fmla="*/ 2302085 h 6226614"/>
              <a:gd name="connsiteX23" fmla="*/ 207334 w 3560732"/>
              <a:gd name="connsiteY23" fmla="*/ 1787735 h 6226614"/>
              <a:gd name="connsiteX24" fmla="*/ 173996 w 3560732"/>
              <a:gd name="connsiteY24" fmla="*/ 2092535 h 6226614"/>
              <a:gd name="connsiteX25" fmla="*/ 745496 w 3560732"/>
              <a:gd name="connsiteY25" fmla="*/ 2806910 h 6226614"/>
              <a:gd name="connsiteX26" fmla="*/ 1440822 w 3560732"/>
              <a:gd name="connsiteY26" fmla="*/ 3583198 h 6226614"/>
              <a:gd name="connsiteX27" fmla="*/ 1617034 w 3560732"/>
              <a:gd name="connsiteY27" fmla="*/ 4107073 h 6226614"/>
              <a:gd name="connsiteX28" fmla="*/ 1938429 w 3560732"/>
              <a:gd name="connsiteY28" fmla="*/ 6226614 h 6226614"/>
              <a:gd name="connsiteX0" fmla="*/ 1938429 w 3560732"/>
              <a:gd name="connsiteY0" fmla="*/ 6189377 h 6189377"/>
              <a:gd name="connsiteX1" fmla="*/ 3478578 w 3560732"/>
              <a:gd name="connsiteY1" fmla="*/ 6186505 h 6189377"/>
              <a:gd name="connsiteX2" fmla="*/ 2640971 w 3560732"/>
              <a:gd name="connsiteY2" fmla="*/ 3878472 h 6189377"/>
              <a:gd name="connsiteX3" fmla="*/ 2539547 w 3560732"/>
              <a:gd name="connsiteY3" fmla="*/ 3373073 h 6189377"/>
              <a:gd name="connsiteX4" fmla="*/ 2755270 w 3560732"/>
              <a:gd name="connsiteY4" fmla="*/ 2811673 h 6189377"/>
              <a:gd name="connsiteX5" fmla="*/ 2864809 w 3560732"/>
              <a:gd name="connsiteY5" fmla="*/ 2192548 h 6189377"/>
              <a:gd name="connsiteX6" fmla="*/ 3512509 w 3560732"/>
              <a:gd name="connsiteY6" fmla="*/ 1301960 h 6189377"/>
              <a:gd name="connsiteX7" fmla="*/ 3298197 w 3560732"/>
              <a:gd name="connsiteY7" fmla="*/ 1178135 h 6189377"/>
              <a:gd name="connsiteX8" fmla="*/ 2607634 w 3560732"/>
              <a:gd name="connsiteY8" fmla="*/ 1878222 h 6189377"/>
              <a:gd name="connsiteX9" fmla="*/ 2531434 w 3560732"/>
              <a:gd name="connsiteY9" fmla="*/ 1821072 h 6189377"/>
              <a:gd name="connsiteX10" fmla="*/ 2874334 w 3560732"/>
              <a:gd name="connsiteY10" fmla="*/ 563772 h 6189377"/>
              <a:gd name="connsiteX11" fmla="*/ 2598109 w 3560732"/>
              <a:gd name="connsiteY11" fmla="*/ 397084 h 6189377"/>
              <a:gd name="connsiteX12" fmla="*/ 2207584 w 3560732"/>
              <a:gd name="connsiteY12" fmla="*/ 1659147 h 6189377"/>
              <a:gd name="connsiteX13" fmla="*/ 2131384 w 3560732"/>
              <a:gd name="connsiteY13" fmla="*/ 1597235 h 6189377"/>
              <a:gd name="connsiteX14" fmla="*/ 2193297 w 3560732"/>
              <a:gd name="connsiteY14" fmla="*/ 154197 h 6189377"/>
              <a:gd name="connsiteX15" fmla="*/ 1878971 w 3560732"/>
              <a:gd name="connsiteY15" fmla="*/ 163723 h 6189377"/>
              <a:gd name="connsiteX16" fmla="*/ 1798009 w 3560732"/>
              <a:gd name="connsiteY16" fmla="*/ 1554373 h 6189377"/>
              <a:gd name="connsiteX17" fmla="*/ 1674184 w 3560732"/>
              <a:gd name="connsiteY17" fmla="*/ 1559134 h 6189377"/>
              <a:gd name="connsiteX18" fmla="*/ 1593221 w 3560732"/>
              <a:gd name="connsiteY18" fmla="*/ 378035 h 6189377"/>
              <a:gd name="connsiteX19" fmla="*/ 1307472 w 3560732"/>
              <a:gd name="connsiteY19" fmla="*/ 368510 h 6189377"/>
              <a:gd name="connsiteX20" fmla="*/ 1312234 w 3560732"/>
              <a:gd name="connsiteY20" fmla="*/ 1635335 h 6189377"/>
              <a:gd name="connsiteX21" fmla="*/ 1259846 w 3560732"/>
              <a:gd name="connsiteY21" fmla="*/ 2025860 h 6189377"/>
              <a:gd name="connsiteX22" fmla="*/ 902659 w 3560732"/>
              <a:gd name="connsiteY22" fmla="*/ 2302085 h 6189377"/>
              <a:gd name="connsiteX23" fmla="*/ 207334 w 3560732"/>
              <a:gd name="connsiteY23" fmla="*/ 1787735 h 6189377"/>
              <a:gd name="connsiteX24" fmla="*/ 173996 w 3560732"/>
              <a:gd name="connsiteY24" fmla="*/ 2092535 h 6189377"/>
              <a:gd name="connsiteX25" fmla="*/ 745496 w 3560732"/>
              <a:gd name="connsiteY25" fmla="*/ 2806910 h 6189377"/>
              <a:gd name="connsiteX26" fmla="*/ 1440822 w 3560732"/>
              <a:gd name="connsiteY26" fmla="*/ 3583198 h 6189377"/>
              <a:gd name="connsiteX27" fmla="*/ 1617034 w 3560732"/>
              <a:gd name="connsiteY27" fmla="*/ 4107073 h 6189377"/>
              <a:gd name="connsiteX28" fmla="*/ 1938429 w 3560732"/>
              <a:gd name="connsiteY28" fmla="*/ 6189377 h 618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60732" h="6189377">
                <a:moveTo>
                  <a:pt x="1938429" y="6189377"/>
                </a:moveTo>
                <a:lnTo>
                  <a:pt x="3478578" y="6186505"/>
                </a:lnTo>
                <a:cubicBezTo>
                  <a:pt x="3127740" y="5200667"/>
                  <a:pt x="2915609" y="4930985"/>
                  <a:pt x="2640971" y="3878472"/>
                </a:cubicBezTo>
                <a:cubicBezTo>
                  <a:pt x="2607163" y="3710006"/>
                  <a:pt x="2567756" y="3575139"/>
                  <a:pt x="2539547" y="3373073"/>
                </a:cubicBezTo>
                <a:cubicBezTo>
                  <a:pt x="2626772" y="3150473"/>
                  <a:pt x="2694946" y="3073610"/>
                  <a:pt x="2755270" y="2811673"/>
                </a:cubicBezTo>
                <a:cubicBezTo>
                  <a:pt x="2820357" y="2578311"/>
                  <a:pt x="2807658" y="2538622"/>
                  <a:pt x="2864809" y="2192548"/>
                </a:cubicBezTo>
                <a:cubicBezTo>
                  <a:pt x="3048959" y="1868698"/>
                  <a:pt x="3314071" y="1630573"/>
                  <a:pt x="3512509" y="1301960"/>
                </a:cubicBezTo>
                <a:cubicBezTo>
                  <a:pt x="3645859" y="1165436"/>
                  <a:pt x="3479171" y="928897"/>
                  <a:pt x="3298197" y="1178135"/>
                </a:cubicBezTo>
                <a:cubicBezTo>
                  <a:pt x="3096584" y="1449597"/>
                  <a:pt x="2837822" y="1644860"/>
                  <a:pt x="2607634" y="1878222"/>
                </a:cubicBezTo>
                <a:cubicBezTo>
                  <a:pt x="2525084" y="1873460"/>
                  <a:pt x="2556834" y="1840122"/>
                  <a:pt x="2531434" y="1821072"/>
                </a:cubicBezTo>
                <a:cubicBezTo>
                  <a:pt x="2658434" y="1401971"/>
                  <a:pt x="2775909" y="992397"/>
                  <a:pt x="2874334" y="563772"/>
                </a:cubicBezTo>
                <a:cubicBezTo>
                  <a:pt x="2923546" y="314534"/>
                  <a:pt x="2706059" y="208171"/>
                  <a:pt x="2598109" y="397084"/>
                </a:cubicBezTo>
                <a:cubicBezTo>
                  <a:pt x="2464759" y="833646"/>
                  <a:pt x="2340934" y="1155910"/>
                  <a:pt x="2207584" y="1659147"/>
                </a:cubicBezTo>
                <a:cubicBezTo>
                  <a:pt x="2182184" y="1638510"/>
                  <a:pt x="2118684" y="1660735"/>
                  <a:pt x="2131384" y="1597235"/>
                </a:cubicBezTo>
                <a:cubicBezTo>
                  <a:pt x="2188534" y="1146384"/>
                  <a:pt x="2188534" y="628860"/>
                  <a:pt x="2193297" y="154197"/>
                </a:cubicBezTo>
                <a:cubicBezTo>
                  <a:pt x="2193297" y="38309"/>
                  <a:pt x="1945646" y="-129965"/>
                  <a:pt x="1878971" y="163723"/>
                </a:cubicBezTo>
                <a:cubicBezTo>
                  <a:pt x="1821821" y="641561"/>
                  <a:pt x="1802771" y="943185"/>
                  <a:pt x="1798009" y="1554373"/>
                </a:cubicBezTo>
                <a:cubicBezTo>
                  <a:pt x="1802772" y="1606761"/>
                  <a:pt x="1678946" y="1644859"/>
                  <a:pt x="1674184" y="1559134"/>
                </a:cubicBezTo>
                <a:cubicBezTo>
                  <a:pt x="1647195" y="1136859"/>
                  <a:pt x="1615446" y="766972"/>
                  <a:pt x="1593221" y="378035"/>
                </a:cubicBezTo>
                <a:cubicBezTo>
                  <a:pt x="1564646" y="84347"/>
                  <a:pt x="1331284" y="133560"/>
                  <a:pt x="1307472" y="368510"/>
                </a:cubicBezTo>
                <a:cubicBezTo>
                  <a:pt x="1247147" y="844760"/>
                  <a:pt x="1286834" y="1182897"/>
                  <a:pt x="1312234" y="1635335"/>
                </a:cubicBezTo>
                <a:cubicBezTo>
                  <a:pt x="1305883" y="1801229"/>
                  <a:pt x="1290008" y="1900448"/>
                  <a:pt x="1259846" y="2025860"/>
                </a:cubicBezTo>
                <a:cubicBezTo>
                  <a:pt x="1163009" y="2332247"/>
                  <a:pt x="1082046" y="2337804"/>
                  <a:pt x="902659" y="2302085"/>
                </a:cubicBezTo>
                <a:cubicBezTo>
                  <a:pt x="712159" y="2102060"/>
                  <a:pt x="597859" y="1868697"/>
                  <a:pt x="207334" y="1787735"/>
                </a:cubicBezTo>
                <a:cubicBezTo>
                  <a:pt x="-35554" y="1760748"/>
                  <a:pt x="-87942" y="1948073"/>
                  <a:pt x="173996" y="2092535"/>
                </a:cubicBezTo>
                <a:cubicBezTo>
                  <a:pt x="359734" y="2327485"/>
                  <a:pt x="640468" y="2556506"/>
                  <a:pt x="745496" y="2806910"/>
                </a:cubicBezTo>
                <a:cubicBezTo>
                  <a:pt x="914565" y="3070435"/>
                  <a:pt x="1268579" y="3402223"/>
                  <a:pt x="1440822" y="3583198"/>
                </a:cubicBezTo>
                <a:lnTo>
                  <a:pt x="1617034" y="4107073"/>
                </a:lnTo>
                <a:cubicBezTo>
                  <a:pt x="1829759" y="4896060"/>
                  <a:pt x="1820954" y="5276565"/>
                  <a:pt x="1938429" y="6189377"/>
                </a:cubicBezTo>
                <a:close/>
              </a:path>
            </a:pathLst>
          </a:custGeom>
          <a:solidFill>
            <a:srgbClr val="FDCBA3"/>
          </a:solidFill>
          <a:ln w="9525" cap="flat">
            <a:noFill/>
            <a:prstDash val="solid"/>
            <a:miter/>
          </a:ln>
        </p:spPr>
        <p:txBody>
          <a:bodyPr rtlCol="0" anchor="ctr"/>
          <a:lstStyle/>
          <a:p>
            <a:pPr defTabSz="685800">
              <a:buClrTx/>
              <a:defRPr/>
            </a:pPr>
            <a:endParaRPr lang="ko-KR" altLang="en-US" sz="1350" kern="1200">
              <a:solidFill>
                <a:prstClr val="black"/>
              </a:solidFill>
              <a:cs typeface="+mn-cs"/>
            </a:endParaRPr>
          </a:p>
        </p:txBody>
      </p:sp>
      <p:grpSp>
        <p:nvGrpSpPr>
          <p:cNvPr id="4" name="Group 88">
            <a:extLst>
              <a:ext uri="{FF2B5EF4-FFF2-40B4-BE49-F238E27FC236}">
                <a16:creationId xmlns:a16="http://schemas.microsoft.com/office/drawing/2014/main" id="{E1E86A5E-5CB2-4081-9298-20B59B03A63E}"/>
              </a:ext>
            </a:extLst>
          </p:cNvPr>
          <p:cNvGrpSpPr/>
          <p:nvPr/>
        </p:nvGrpSpPr>
        <p:grpSpPr>
          <a:xfrm>
            <a:off x="2969011" y="1784570"/>
            <a:ext cx="3282098" cy="2703110"/>
            <a:chOff x="2241333" y="2017415"/>
            <a:chExt cx="4653973" cy="3832975"/>
          </a:xfrm>
        </p:grpSpPr>
        <p:sp>
          <p:nvSpPr>
            <p:cNvPr id="5" name="Teardrop 3">
              <a:extLst>
                <a:ext uri="{FF2B5EF4-FFF2-40B4-BE49-F238E27FC236}">
                  <a16:creationId xmlns:a16="http://schemas.microsoft.com/office/drawing/2014/main" id="{A6F4E40B-FF82-457C-8C23-74FA2F9B90EB}"/>
                </a:ext>
              </a:extLst>
            </p:cNvPr>
            <p:cNvSpPr/>
            <p:nvPr/>
          </p:nvSpPr>
          <p:spPr>
            <a:xfrm rot="20980906">
              <a:off x="4835322" y="2017415"/>
              <a:ext cx="1188132" cy="1188133"/>
            </a:xfrm>
            <a:custGeom>
              <a:avLst/>
              <a:gdLst/>
              <a:ahLst/>
              <a:cxnLst/>
              <a:rect l="l" t="t" r="r" b="b"/>
              <a:pathLst>
                <a:path w="1490464" h="1490465">
                  <a:moveTo>
                    <a:pt x="745232" y="0"/>
                  </a:moveTo>
                  <a:lnTo>
                    <a:pt x="1490464" y="0"/>
                  </a:lnTo>
                  <a:lnTo>
                    <a:pt x="1490464" y="745232"/>
                  </a:lnTo>
                  <a:lnTo>
                    <a:pt x="1490464" y="745233"/>
                  </a:lnTo>
                  <a:lnTo>
                    <a:pt x="1490464" y="745233"/>
                  </a:lnTo>
                  <a:cubicBezTo>
                    <a:pt x="1490464" y="1156813"/>
                    <a:pt x="1156812" y="1490465"/>
                    <a:pt x="745232" y="1490465"/>
                  </a:cubicBezTo>
                  <a:lnTo>
                    <a:pt x="0" y="1490465"/>
                  </a:lnTo>
                  <a:lnTo>
                    <a:pt x="0" y="745233"/>
                  </a:lnTo>
                  <a:lnTo>
                    <a:pt x="0" y="745233"/>
                  </a:lnTo>
                  <a:cubicBezTo>
                    <a:pt x="0" y="333652"/>
                    <a:pt x="333652" y="0"/>
                    <a:pt x="74523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ko-KR" altLang="en-US" sz="2026" kern="1200" dirty="0">
                <a:solidFill>
                  <a:prstClr val="white"/>
                </a:solidFill>
                <a:latin typeface="Arial"/>
              </a:endParaRPr>
            </a:p>
          </p:txBody>
        </p:sp>
        <p:sp>
          <p:nvSpPr>
            <p:cNvPr id="6" name="Teardrop 3">
              <a:extLst>
                <a:ext uri="{FF2B5EF4-FFF2-40B4-BE49-F238E27FC236}">
                  <a16:creationId xmlns:a16="http://schemas.microsoft.com/office/drawing/2014/main" id="{F86204A4-27CA-43E6-985C-46545EAD987C}"/>
                </a:ext>
              </a:extLst>
            </p:cNvPr>
            <p:cNvSpPr/>
            <p:nvPr/>
          </p:nvSpPr>
          <p:spPr>
            <a:xfrm rot="2236334">
              <a:off x="5707174" y="3189761"/>
              <a:ext cx="1188132" cy="1188133"/>
            </a:xfrm>
            <a:custGeom>
              <a:avLst/>
              <a:gdLst/>
              <a:ahLst/>
              <a:cxnLst/>
              <a:rect l="l" t="t" r="r" b="b"/>
              <a:pathLst>
                <a:path w="1490464" h="1490465">
                  <a:moveTo>
                    <a:pt x="745232" y="0"/>
                  </a:moveTo>
                  <a:lnTo>
                    <a:pt x="1490464" y="0"/>
                  </a:lnTo>
                  <a:lnTo>
                    <a:pt x="1490464" y="745232"/>
                  </a:lnTo>
                  <a:lnTo>
                    <a:pt x="1490464" y="745233"/>
                  </a:lnTo>
                  <a:lnTo>
                    <a:pt x="1490464" y="745233"/>
                  </a:lnTo>
                  <a:cubicBezTo>
                    <a:pt x="1490464" y="1156813"/>
                    <a:pt x="1156812" y="1490465"/>
                    <a:pt x="745232" y="1490465"/>
                  </a:cubicBezTo>
                  <a:lnTo>
                    <a:pt x="0" y="1490465"/>
                  </a:lnTo>
                  <a:lnTo>
                    <a:pt x="0" y="745233"/>
                  </a:lnTo>
                  <a:lnTo>
                    <a:pt x="0" y="745233"/>
                  </a:lnTo>
                  <a:cubicBezTo>
                    <a:pt x="0" y="333652"/>
                    <a:pt x="333652" y="0"/>
                    <a:pt x="745232"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ko-KR" altLang="en-US" sz="2026" kern="1200">
                <a:solidFill>
                  <a:prstClr val="white"/>
                </a:solidFill>
                <a:latin typeface="Arial"/>
              </a:endParaRPr>
            </a:p>
          </p:txBody>
        </p:sp>
        <p:sp>
          <p:nvSpPr>
            <p:cNvPr id="7" name="Teardrop 3">
              <a:extLst>
                <a:ext uri="{FF2B5EF4-FFF2-40B4-BE49-F238E27FC236}">
                  <a16:creationId xmlns:a16="http://schemas.microsoft.com/office/drawing/2014/main" id="{981CD3D7-5BD4-4A1B-9871-7300C55B95F8}"/>
                </a:ext>
              </a:extLst>
            </p:cNvPr>
            <p:cNvSpPr/>
            <p:nvPr/>
          </p:nvSpPr>
          <p:spPr>
            <a:xfrm rot="4500000">
              <a:off x="5494960" y="4662257"/>
              <a:ext cx="1188133" cy="1188134"/>
            </a:xfrm>
            <a:custGeom>
              <a:avLst/>
              <a:gdLst/>
              <a:ahLst/>
              <a:cxnLst/>
              <a:rect l="l" t="t" r="r" b="b"/>
              <a:pathLst>
                <a:path w="1490464" h="1490465">
                  <a:moveTo>
                    <a:pt x="745232" y="0"/>
                  </a:moveTo>
                  <a:lnTo>
                    <a:pt x="1490464" y="0"/>
                  </a:lnTo>
                  <a:lnTo>
                    <a:pt x="1490464" y="745232"/>
                  </a:lnTo>
                  <a:lnTo>
                    <a:pt x="1490464" y="745233"/>
                  </a:lnTo>
                  <a:lnTo>
                    <a:pt x="1490464" y="745233"/>
                  </a:lnTo>
                  <a:cubicBezTo>
                    <a:pt x="1490464" y="1156813"/>
                    <a:pt x="1156812" y="1490465"/>
                    <a:pt x="745232" y="1490465"/>
                  </a:cubicBezTo>
                  <a:lnTo>
                    <a:pt x="0" y="1490465"/>
                  </a:lnTo>
                  <a:lnTo>
                    <a:pt x="0" y="745233"/>
                  </a:lnTo>
                  <a:lnTo>
                    <a:pt x="0" y="745233"/>
                  </a:lnTo>
                  <a:cubicBezTo>
                    <a:pt x="0" y="333652"/>
                    <a:pt x="333652" y="0"/>
                    <a:pt x="7452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ko-KR" altLang="en-US" sz="2026" kern="1200" dirty="0">
                <a:solidFill>
                  <a:prstClr val="white"/>
                </a:solidFill>
                <a:latin typeface="Arial"/>
              </a:endParaRPr>
            </a:p>
          </p:txBody>
        </p:sp>
        <p:sp>
          <p:nvSpPr>
            <p:cNvPr id="8" name="Teardrop 3">
              <a:extLst>
                <a:ext uri="{FF2B5EF4-FFF2-40B4-BE49-F238E27FC236}">
                  <a16:creationId xmlns:a16="http://schemas.microsoft.com/office/drawing/2014/main" id="{8BD1278F-D846-49A3-8644-C571F4394EBC}"/>
                </a:ext>
              </a:extLst>
            </p:cNvPr>
            <p:cNvSpPr/>
            <p:nvPr/>
          </p:nvSpPr>
          <p:spPr>
            <a:xfrm rot="619094" flipH="1">
              <a:off x="3113185" y="2017415"/>
              <a:ext cx="1188132" cy="1188133"/>
            </a:xfrm>
            <a:custGeom>
              <a:avLst/>
              <a:gdLst/>
              <a:ahLst/>
              <a:cxnLst/>
              <a:rect l="l" t="t" r="r" b="b"/>
              <a:pathLst>
                <a:path w="1490464" h="1490465">
                  <a:moveTo>
                    <a:pt x="745232" y="0"/>
                  </a:moveTo>
                  <a:lnTo>
                    <a:pt x="1490464" y="0"/>
                  </a:lnTo>
                  <a:lnTo>
                    <a:pt x="1490464" y="745232"/>
                  </a:lnTo>
                  <a:lnTo>
                    <a:pt x="1490464" y="745233"/>
                  </a:lnTo>
                  <a:lnTo>
                    <a:pt x="1490464" y="745233"/>
                  </a:lnTo>
                  <a:cubicBezTo>
                    <a:pt x="1490464" y="1156813"/>
                    <a:pt x="1156812" y="1490465"/>
                    <a:pt x="745232" y="1490465"/>
                  </a:cubicBezTo>
                  <a:lnTo>
                    <a:pt x="0" y="1490465"/>
                  </a:lnTo>
                  <a:lnTo>
                    <a:pt x="0" y="745233"/>
                  </a:lnTo>
                  <a:lnTo>
                    <a:pt x="0" y="745233"/>
                  </a:lnTo>
                  <a:cubicBezTo>
                    <a:pt x="0" y="333652"/>
                    <a:pt x="333652" y="0"/>
                    <a:pt x="74523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ko-KR" altLang="en-US" sz="2026" kern="1200" dirty="0">
                <a:solidFill>
                  <a:prstClr val="white"/>
                </a:solidFill>
                <a:latin typeface="Arial"/>
              </a:endParaRPr>
            </a:p>
          </p:txBody>
        </p:sp>
        <p:sp>
          <p:nvSpPr>
            <p:cNvPr id="9" name="Teardrop 3">
              <a:extLst>
                <a:ext uri="{FF2B5EF4-FFF2-40B4-BE49-F238E27FC236}">
                  <a16:creationId xmlns:a16="http://schemas.microsoft.com/office/drawing/2014/main" id="{79DA2639-11DF-4499-B793-8B7BF909C7D3}"/>
                </a:ext>
              </a:extLst>
            </p:cNvPr>
            <p:cNvSpPr/>
            <p:nvPr/>
          </p:nvSpPr>
          <p:spPr>
            <a:xfrm rot="19363666" flipH="1">
              <a:off x="2241333" y="3189761"/>
              <a:ext cx="1188132" cy="1188133"/>
            </a:xfrm>
            <a:custGeom>
              <a:avLst/>
              <a:gdLst/>
              <a:ahLst/>
              <a:cxnLst/>
              <a:rect l="l" t="t" r="r" b="b"/>
              <a:pathLst>
                <a:path w="1490464" h="1490465">
                  <a:moveTo>
                    <a:pt x="745232" y="0"/>
                  </a:moveTo>
                  <a:lnTo>
                    <a:pt x="1490464" y="0"/>
                  </a:lnTo>
                  <a:lnTo>
                    <a:pt x="1490464" y="745232"/>
                  </a:lnTo>
                  <a:lnTo>
                    <a:pt x="1490464" y="745233"/>
                  </a:lnTo>
                  <a:lnTo>
                    <a:pt x="1490464" y="745233"/>
                  </a:lnTo>
                  <a:cubicBezTo>
                    <a:pt x="1490464" y="1156813"/>
                    <a:pt x="1156812" y="1490465"/>
                    <a:pt x="745232" y="1490465"/>
                  </a:cubicBezTo>
                  <a:lnTo>
                    <a:pt x="0" y="1490465"/>
                  </a:lnTo>
                  <a:lnTo>
                    <a:pt x="0" y="745233"/>
                  </a:lnTo>
                  <a:lnTo>
                    <a:pt x="0" y="745233"/>
                  </a:lnTo>
                  <a:cubicBezTo>
                    <a:pt x="0" y="333652"/>
                    <a:pt x="333652" y="0"/>
                    <a:pt x="745232"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ko-KR" altLang="en-US" sz="2026" kern="1200">
                <a:solidFill>
                  <a:prstClr val="white"/>
                </a:solidFill>
                <a:latin typeface="Arial"/>
              </a:endParaRPr>
            </a:p>
          </p:txBody>
        </p:sp>
        <p:sp>
          <p:nvSpPr>
            <p:cNvPr id="10" name="Teardrop 3">
              <a:extLst>
                <a:ext uri="{FF2B5EF4-FFF2-40B4-BE49-F238E27FC236}">
                  <a16:creationId xmlns:a16="http://schemas.microsoft.com/office/drawing/2014/main" id="{7EC38273-08FD-4D05-8CE1-592DA1C3DF29}"/>
                </a:ext>
              </a:extLst>
            </p:cNvPr>
            <p:cNvSpPr/>
            <p:nvPr/>
          </p:nvSpPr>
          <p:spPr>
            <a:xfrm rot="17100000" flipH="1">
              <a:off x="2453548" y="4651912"/>
              <a:ext cx="1188132" cy="1188133"/>
            </a:xfrm>
            <a:custGeom>
              <a:avLst/>
              <a:gdLst/>
              <a:ahLst/>
              <a:cxnLst/>
              <a:rect l="l" t="t" r="r" b="b"/>
              <a:pathLst>
                <a:path w="1490464" h="1490465">
                  <a:moveTo>
                    <a:pt x="745232" y="0"/>
                  </a:moveTo>
                  <a:lnTo>
                    <a:pt x="1490464" y="0"/>
                  </a:lnTo>
                  <a:lnTo>
                    <a:pt x="1490464" y="745232"/>
                  </a:lnTo>
                  <a:lnTo>
                    <a:pt x="1490464" y="745233"/>
                  </a:lnTo>
                  <a:lnTo>
                    <a:pt x="1490464" y="745233"/>
                  </a:lnTo>
                  <a:cubicBezTo>
                    <a:pt x="1490464" y="1156813"/>
                    <a:pt x="1156812" y="1490465"/>
                    <a:pt x="745232" y="1490465"/>
                  </a:cubicBezTo>
                  <a:lnTo>
                    <a:pt x="0" y="1490465"/>
                  </a:lnTo>
                  <a:lnTo>
                    <a:pt x="0" y="745233"/>
                  </a:lnTo>
                  <a:lnTo>
                    <a:pt x="0" y="745233"/>
                  </a:lnTo>
                  <a:cubicBezTo>
                    <a:pt x="0" y="333652"/>
                    <a:pt x="333652" y="0"/>
                    <a:pt x="74523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ko-KR" altLang="en-US" sz="2026" kern="1200" dirty="0">
                <a:solidFill>
                  <a:prstClr val="white"/>
                </a:solidFill>
                <a:latin typeface="Arial"/>
              </a:endParaRPr>
            </a:p>
          </p:txBody>
        </p:sp>
      </p:grpSp>
      <p:grpSp>
        <p:nvGrpSpPr>
          <p:cNvPr id="17" name="Group 101">
            <a:extLst>
              <a:ext uri="{FF2B5EF4-FFF2-40B4-BE49-F238E27FC236}">
                <a16:creationId xmlns:a16="http://schemas.microsoft.com/office/drawing/2014/main" id="{522541E3-2B9B-438A-AB7C-C8152A272E4B}"/>
              </a:ext>
            </a:extLst>
          </p:cNvPr>
          <p:cNvGrpSpPr/>
          <p:nvPr/>
        </p:nvGrpSpPr>
        <p:grpSpPr>
          <a:xfrm>
            <a:off x="6481972" y="2605240"/>
            <a:ext cx="2093924" cy="829328"/>
            <a:chOff x="2079598" y="4257726"/>
            <a:chExt cx="2262901" cy="1105771"/>
          </a:xfrm>
        </p:grpSpPr>
        <p:sp>
          <p:nvSpPr>
            <p:cNvPr id="18" name="TextBox 17">
              <a:extLst>
                <a:ext uri="{FF2B5EF4-FFF2-40B4-BE49-F238E27FC236}">
                  <a16:creationId xmlns:a16="http://schemas.microsoft.com/office/drawing/2014/main" id="{0B8AC86E-7241-46E4-8C6F-6B950FF9F742}"/>
                </a:ext>
              </a:extLst>
            </p:cNvPr>
            <p:cNvSpPr txBox="1"/>
            <p:nvPr/>
          </p:nvSpPr>
          <p:spPr>
            <a:xfrm>
              <a:off x="2079598" y="4501722"/>
              <a:ext cx="2262901" cy="861775"/>
            </a:xfrm>
            <a:prstGeom prst="rect">
              <a:avLst/>
            </a:prstGeom>
            <a:noFill/>
          </p:spPr>
          <p:txBody>
            <a:bodyPr wrap="square" rtlCol="0">
              <a:spAutoFit/>
            </a:bodyPr>
            <a:lstStyle/>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Social Poverty</a:t>
              </a:r>
            </a:p>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Burden on Women</a:t>
              </a:r>
            </a:p>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Income Poverty</a:t>
              </a:r>
            </a:p>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No scope for Progress.</a:t>
              </a:r>
            </a:p>
          </p:txBody>
        </p:sp>
        <p:sp>
          <p:nvSpPr>
            <p:cNvPr id="19" name="TextBox 18">
              <a:extLst>
                <a:ext uri="{FF2B5EF4-FFF2-40B4-BE49-F238E27FC236}">
                  <a16:creationId xmlns:a16="http://schemas.microsoft.com/office/drawing/2014/main" id="{3230BB9B-EA0A-4164-8D00-ADF4848C97CF}"/>
                </a:ext>
              </a:extLst>
            </p:cNvPr>
            <p:cNvSpPr txBox="1"/>
            <p:nvPr/>
          </p:nvSpPr>
          <p:spPr>
            <a:xfrm>
              <a:off x="2079598" y="4257726"/>
              <a:ext cx="2262901" cy="338555"/>
            </a:xfrm>
            <a:prstGeom prst="rect">
              <a:avLst/>
            </a:prstGeom>
            <a:noFill/>
          </p:spPr>
          <p:txBody>
            <a:bodyPr wrap="square" rtlCol="0">
              <a:spAutoFit/>
            </a:bodyPr>
            <a:lstStyle/>
            <a:p>
              <a:pPr defTabSz="685800">
                <a:buClrTx/>
                <a:defRPr/>
              </a:pPr>
              <a:r>
                <a:rPr lang="en-IN" altLang="ko-KR" sz="1050" b="1" kern="1200" dirty="0">
                  <a:solidFill>
                    <a:prstClr val="black">
                      <a:lumMod val="75000"/>
                      <a:lumOff val="25000"/>
                    </a:prstClr>
                  </a:solidFill>
                  <a:latin typeface="Arial" pitchFamily="34" charset="0"/>
                  <a:cs typeface="Arial" pitchFamily="34" charset="0"/>
                </a:rPr>
                <a:t>Social Exploitation</a:t>
              </a:r>
              <a:endParaRPr lang="ko-KR" altLang="en-US" sz="1050" b="1" kern="1200" dirty="0">
                <a:solidFill>
                  <a:prstClr val="black">
                    <a:lumMod val="75000"/>
                    <a:lumOff val="25000"/>
                  </a:prstClr>
                </a:solidFill>
                <a:latin typeface="Arial" pitchFamily="34" charset="0"/>
                <a:cs typeface="Arial" pitchFamily="34" charset="0"/>
              </a:endParaRPr>
            </a:p>
          </p:txBody>
        </p:sp>
      </p:grpSp>
      <p:grpSp>
        <p:nvGrpSpPr>
          <p:cNvPr id="20" name="Group 104">
            <a:extLst>
              <a:ext uri="{FF2B5EF4-FFF2-40B4-BE49-F238E27FC236}">
                <a16:creationId xmlns:a16="http://schemas.microsoft.com/office/drawing/2014/main" id="{420D2928-457A-4772-B66F-DD1B2A631217}"/>
              </a:ext>
            </a:extLst>
          </p:cNvPr>
          <p:cNvGrpSpPr/>
          <p:nvPr/>
        </p:nvGrpSpPr>
        <p:grpSpPr>
          <a:xfrm>
            <a:off x="6251109" y="3895902"/>
            <a:ext cx="2093924" cy="829328"/>
            <a:chOff x="2079598" y="4257726"/>
            <a:chExt cx="2262901" cy="1105771"/>
          </a:xfrm>
        </p:grpSpPr>
        <p:sp>
          <p:nvSpPr>
            <p:cNvPr id="21" name="TextBox 20">
              <a:extLst>
                <a:ext uri="{FF2B5EF4-FFF2-40B4-BE49-F238E27FC236}">
                  <a16:creationId xmlns:a16="http://schemas.microsoft.com/office/drawing/2014/main" id="{DC3971EA-EFC8-4E27-831E-A1C94BB2CFBB}"/>
                </a:ext>
              </a:extLst>
            </p:cNvPr>
            <p:cNvSpPr txBox="1"/>
            <p:nvPr/>
          </p:nvSpPr>
          <p:spPr>
            <a:xfrm>
              <a:off x="2079598" y="4501722"/>
              <a:ext cx="2262901" cy="861775"/>
            </a:xfrm>
            <a:prstGeom prst="rect">
              <a:avLst/>
            </a:prstGeom>
            <a:noFill/>
          </p:spPr>
          <p:txBody>
            <a:bodyPr wrap="square" rtlCol="0">
              <a:spAutoFit/>
            </a:bodyPr>
            <a:lstStyle/>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Office Environment </a:t>
              </a:r>
            </a:p>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Inappropriate Behavior </a:t>
              </a:r>
            </a:p>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Abusement</a:t>
              </a:r>
            </a:p>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Violence</a:t>
              </a:r>
            </a:p>
          </p:txBody>
        </p:sp>
        <p:sp>
          <p:nvSpPr>
            <p:cNvPr id="22" name="TextBox 21">
              <a:extLst>
                <a:ext uri="{FF2B5EF4-FFF2-40B4-BE49-F238E27FC236}">
                  <a16:creationId xmlns:a16="http://schemas.microsoft.com/office/drawing/2014/main" id="{4FB0FBD9-4D0E-46E7-9085-3444A49AD2CA}"/>
                </a:ext>
              </a:extLst>
            </p:cNvPr>
            <p:cNvSpPr txBox="1"/>
            <p:nvPr/>
          </p:nvSpPr>
          <p:spPr>
            <a:xfrm>
              <a:off x="2079598" y="4257726"/>
              <a:ext cx="2262901" cy="338555"/>
            </a:xfrm>
            <a:prstGeom prst="rect">
              <a:avLst/>
            </a:prstGeom>
            <a:noFill/>
          </p:spPr>
          <p:txBody>
            <a:bodyPr wrap="square" rtlCol="0">
              <a:spAutoFit/>
            </a:bodyPr>
            <a:lstStyle/>
            <a:p>
              <a:pPr defTabSz="685800">
                <a:buClrTx/>
                <a:defRPr/>
              </a:pPr>
              <a:r>
                <a:rPr lang="en-IN" altLang="ko-KR" sz="1050" b="1" kern="1200" dirty="0">
                  <a:solidFill>
                    <a:prstClr val="black">
                      <a:lumMod val="75000"/>
                      <a:lumOff val="25000"/>
                    </a:prstClr>
                  </a:solidFill>
                  <a:latin typeface="Arial" pitchFamily="34" charset="0"/>
                  <a:cs typeface="Arial" pitchFamily="34" charset="0"/>
                </a:rPr>
                <a:t>Security</a:t>
              </a:r>
              <a:endParaRPr lang="ko-KR" altLang="en-US" sz="1050" b="1" kern="1200" dirty="0">
                <a:solidFill>
                  <a:prstClr val="black">
                    <a:lumMod val="75000"/>
                    <a:lumOff val="25000"/>
                  </a:prstClr>
                </a:solidFill>
                <a:latin typeface="Arial" pitchFamily="34" charset="0"/>
                <a:cs typeface="Arial" pitchFamily="34" charset="0"/>
              </a:endParaRPr>
            </a:p>
          </p:txBody>
        </p:sp>
      </p:grpSp>
      <p:grpSp>
        <p:nvGrpSpPr>
          <p:cNvPr id="23" name="Group 107">
            <a:extLst>
              <a:ext uri="{FF2B5EF4-FFF2-40B4-BE49-F238E27FC236}">
                <a16:creationId xmlns:a16="http://schemas.microsoft.com/office/drawing/2014/main" id="{58A7BC29-1963-49D2-830E-777ECDA7A4A5}"/>
              </a:ext>
            </a:extLst>
          </p:cNvPr>
          <p:cNvGrpSpPr/>
          <p:nvPr/>
        </p:nvGrpSpPr>
        <p:grpSpPr>
          <a:xfrm>
            <a:off x="5650336" y="1350038"/>
            <a:ext cx="2107871" cy="690828"/>
            <a:chOff x="2079598" y="4257726"/>
            <a:chExt cx="2277974" cy="921104"/>
          </a:xfrm>
        </p:grpSpPr>
        <p:sp>
          <p:nvSpPr>
            <p:cNvPr id="24" name="TextBox 23">
              <a:extLst>
                <a:ext uri="{FF2B5EF4-FFF2-40B4-BE49-F238E27FC236}">
                  <a16:creationId xmlns:a16="http://schemas.microsoft.com/office/drawing/2014/main" id="{1D55EAC7-1BF6-4782-9A93-E4354A68B3BD}"/>
                </a:ext>
              </a:extLst>
            </p:cNvPr>
            <p:cNvSpPr txBox="1"/>
            <p:nvPr/>
          </p:nvSpPr>
          <p:spPr>
            <a:xfrm>
              <a:off x="2079598" y="4501722"/>
              <a:ext cx="2262901" cy="677108"/>
            </a:xfrm>
            <a:prstGeom prst="rect">
              <a:avLst/>
            </a:prstGeom>
            <a:noFill/>
          </p:spPr>
          <p:txBody>
            <a:bodyPr wrap="square" rtlCol="0">
              <a:spAutoFit/>
            </a:bodyPr>
            <a:lstStyle/>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Male Dominance</a:t>
              </a:r>
            </a:p>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Restriction on Women’s Employment.</a:t>
              </a:r>
            </a:p>
          </p:txBody>
        </p:sp>
        <p:sp>
          <p:nvSpPr>
            <p:cNvPr id="25" name="TextBox 24">
              <a:extLst>
                <a:ext uri="{FF2B5EF4-FFF2-40B4-BE49-F238E27FC236}">
                  <a16:creationId xmlns:a16="http://schemas.microsoft.com/office/drawing/2014/main" id="{A263B2FC-DE9F-42BF-9132-F8C6179ECCB5}"/>
                </a:ext>
              </a:extLst>
            </p:cNvPr>
            <p:cNvSpPr txBox="1"/>
            <p:nvPr/>
          </p:nvSpPr>
          <p:spPr>
            <a:xfrm>
              <a:off x="2094671" y="4257726"/>
              <a:ext cx="2262901" cy="338555"/>
            </a:xfrm>
            <a:prstGeom prst="rect">
              <a:avLst/>
            </a:prstGeom>
            <a:noFill/>
          </p:spPr>
          <p:txBody>
            <a:bodyPr wrap="square" rtlCol="0">
              <a:spAutoFit/>
            </a:bodyPr>
            <a:lstStyle/>
            <a:p>
              <a:pPr defTabSz="685800">
                <a:buClrTx/>
                <a:defRPr/>
              </a:pPr>
              <a:r>
                <a:rPr lang="en-US" altLang="ko-KR" sz="1050" b="1" kern="1200" dirty="0">
                  <a:solidFill>
                    <a:prstClr val="black">
                      <a:lumMod val="75000"/>
                      <a:lumOff val="25000"/>
                    </a:prstClr>
                  </a:solidFill>
                  <a:latin typeface="Arial" pitchFamily="34" charset="0"/>
                  <a:cs typeface="Arial" pitchFamily="34" charset="0"/>
                </a:rPr>
                <a:t>Gender Gap</a:t>
              </a:r>
              <a:endParaRPr lang="ko-KR" altLang="en-US" sz="1050" b="1" kern="1200" dirty="0">
                <a:solidFill>
                  <a:prstClr val="black">
                    <a:lumMod val="75000"/>
                    <a:lumOff val="25000"/>
                  </a:prstClr>
                </a:solidFill>
                <a:latin typeface="Arial" pitchFamily="34" charset="0"/>
                <a:cs typeface="Arial" pitchFamily="34" charset="0"/>
              </a:endParaRPr>
            </a:p>
          </p:txBody>
        </p:sp>
      </p:grpSp>
      <p:grpSp>
        <p:nvGrpSpPr>
          <p:cNvPr id="26" name="Group 110">
            <a:extLst>
              <a:ext uri="{FF2B5EF4-FFF2-40B4-BE49-F238E27FC236}">
                <a16:creationId xmlns:a16="http://schemas.microsoft.com/office/drawing/2014/main" id="{85441188-279B-4707-AFE4-F078F09B0736}"/>
              </a:ext>
            </a:extLst>
          </p:cNvPr>
          <p:cNvGrpSpPr/>
          <p:nvPr/>
        </p:nvGrpSpPr>
        <p:grpSpPr>
          <a:xfrm>
            <a:off x="618849" y="3854130"/>
            <a:ext cx="2292438" cy="786466"/>
            <a:chOff x="1876068" y="4202024"/>
            <a:chExt cx="2466431" cy="1048620"/>
          </a:xfrm>
        </p:grpSpPr>
        <p:sp>
          <p:nvSpPr>
            <p:cNvPr id="27" name="TextBox 26">
              <a:extLst>
                <a:ext uri="{FF2B5EF4-FFF2-40B4-BE49-F238E27FC236}">
                  <a16:creationId xmlns:a16="http://schemas.microsoft.com/office/drawing/2014/main" id="{BE764EAE-2D09-45B6-A9BD-9F80A4803C31}"/>
                </a:ext>
              </a:extLst>
            </p:cNvPr>
            <p:cNvSpPr txBox="1"/>
            <p:nvPr/>
          </p:nvSpPr>
          <p:spPr>
            <a:xfrm>
              <a:off x="2079598" y="4501722"/>
              <a:ext cx="2262901" cy="748922"/>
            </a:xfrm>
            <a:prstGeom prst="rect">
              <a:avLst/>
            </a:prstGeom>
            <a:noFill/>
          </p:spPr>
          <p:txBody>
            <a:bodyPr wrap="square" rtlCol="0">
              <a:spAutoFit/>
            </a:bodyPr>
            <a:lstStyle/>
            <a:p>
              <a:pPr marL="171450" indent="-171450" defTabSz="685800">
                <a:buClrTx/>
                <a:buFont typeface="Arial" panose="020B0604020202020204" pitchFamily="34" charset="0"/>
                <a:buChar char="•"/>
                <a:defRPr/>
              </a:pPr>
              <a:r>
                <a:rPr lang="en-US" altLang="ko-KR" sz="900" kern="1200" dirty="0">
                  <a:solidFill>
                    <a:prstClr val="black">
                      <a:lumMod val="75000"/>
                      <a:lumOff val="25000"/>
                    </a:prstClr>
                  </a:solidFill>
                  <a:latin typeface="Arial" pitchFamily="34" charset="0"/>
                  <a:cs typeface="Arial" pitchFamily="34" charset="0"/>
                </a:rPr>
                <a:t>.</a:t>
              </a:r>
              <a:r>
                <a:rPr lang="en-US" sz="1050" b="1" i="0" dirty="0">
                  <a:solidFill>
                    <a:srgbClr val="202124"/>
                  </a:solidFill>
                  <a:effectLst/>
                  <a:latin typeface="arial" panose="020B0604020202020204" pitchFamily="34" charset="0"/>
                </a:rPr>
                <a:t> </a:t>
              </a:r>
              <a:r>
                <a:rPr lang="en-US" sz="1000" i="0" dirty="0">
                  <a:solidFill>
                    <a:srgbClr val="202124"/>
                  </a:solidFill>
                  <a:effectLst/>
                  <a:latin typeface="arial" panose="020B0604020202020204" pitchFamily="34" charset="0"/>
                </a:rPr>
                <a:t>Maternal mortality</a:t>
              </a:r>
              <a:r>
                <a:rPr lang="en-US" sz="1000" b="0" i="0" dirty="0">
                  <a:solidFill>
                    <a:srgbClr val="202124"/>
                  </a:solidFill>
                  <a:effectLst/>
                  <a:latin typeface="arial" panose="020B0604020202020204" pitchFamily="34" charset="0"/>
                </a:rPr>
                <a:t> refers to </a:t>
              </a:r>
              <a:r>
                <a:rPr lang="en-US" sz="1000" i="0" dirty="0">
                  <a:solidFill>
                    <a:srgbClr val="202124"/>
                  </a:solidFill>
                  <a:effectLst/>
                  <a:latin typeface="arial" panose="020B0604020202020204" pitchFamily="34" charset="0"/>
                </a:rPr>
                <a:t>deaths </a:t>
              </a:r>
              <a:r>
                <a:rPr lang="en-US" sz="1000" b="0" i="0" dirty="0">
                  <a:solidFill>
                    <a:srgbClr val="202124"/>
                  </a:solidFill>
                  <a:effectLst/>
                  <a:latin typeface="arial" panose="020B0604020202020204" pitchFamily="34" charset="0"/>
                </a:rPr>
                <a:t>due to complications from pregnancy or childbirth.</a:t>
              </a:r>
              <a:endParaRPr lang="en-US" altLang="ko-KR" sz="900" kern="1200" dirty="0">
                <a:solidFill>
                  <a:prstClr val="black">
                    <a:lumMod val="75000"/>
                    <a:lumOff val="25000"/>
                  </a:prstClr>
                </a:solidFill>
                <a:latin typeface="Arial" pitchFamily="34" charset="0"/>
                <a:cs typeface="Arial" pitchFamily="34" charset="0"/>
              </a:endParaRPr>
            </a:p>
          </p:txBody>
        </p:sp>
        <p:sp>
          <p:nvSpPr>
            <p:cNvPr id="28" name="TextBox 27">
              <a:extLst>
                <a:ext uri="{FF2B5EF4-FFF2-40B4-BE49-F238E27FC236}">
                  <a16:creationId xmlns:a16="http://schemas.microsoft.com/office/drawing/2014/main" id="{61D51CD7-B4DD-43F0-A314-E36C12B7B739}"/>
                </a:ext>
              </a:extLst>
            </p:cNvPr>
            <p:cNvSpPr txBox="1"/>
            <p:nvPr/>
          </p:nvSpPr>
          <p:spPr>
            <a:xfrm>
              <a:off x="1876068" y="4202024"/>
              <a:ext cx="2262901" cy="338554"/>
            </a:xfrm>
            <a:prstGeom prst="rect">
              <a:avLst/>
            </a:prstGeom>
            <a:noFill/>
          </p:spPr>
          <p:txBody>
            <a:bodyPr wrap="square" rtlCol="0">
              <a:spAutoFit/>
            </a:bodyPr>
            <a:lstStyle/>
            <a:p>
              <a:pPr algn="r" defTabSz="685800">
                <a:buClrTx/>
                <a:defRPr/>
              </a:pPr>
              <a:r>
                <a:rPr lang="en-IN" altLang="ko-KR" sz="1050" b="1" kern="1200" dirty="0">
                  <a:solidFill>
                    <a:prstClr val="black">
                      <a:lumMod val="75000"/>
                      <a:lumOff val="25000"/>
                    </a:prstClr>
                  </a:solidFill>
                  <a:latin typeface="Arial" pitchFamily="34" charset="0"/>
                  <a:cs typeface="Arial" pitchFamily="34" charset="0"/>
                </a:rPr>
                <a:t>Maternal Mortality Rate </a:t>
              </a:r>
              <a:endParaRPr lang="ko-KR" altLang="en-US" sz="1050" b="1" kern="1200" dirty="0">
                <a:solidFill>
                  <a:prstClr val="black">
                    <a:lumMod val="75000"/>
                    <a:lumOff val="25000"/>
                  </a:prstClr>
                </a:solidFill>
                <a:latin typeface="Arial" pitchFamily="34" charset="0"/>
                <a:cs typeface="Arial" pitchFamily="34" charset="0"/>
              </a:endParaRPr>
            </a:p>
          </p:txBody>
        </p:sp>
      </p:grpSp>
      <p:grpSp>
        <p:nvGrpSpPr>
          <p:cNvPr id="29" name="Group 113">
            <a:extLst>
              <a:ext uri="{FF2B5EF4-FFF2-40B4-BE49-F238E27FC236}">
                <a16:creationId xmlns:a16="http://schemas.microsoft.com/office/drawing/2014/main" id="{9F756EA5-2DB9-42D6-BE1D-8C8F3E6D4297}"/>
              </a:ext>
            </a:extLst>
          </p:cNvPr>
          <p:cNvGrpSpPr/>
          <p:nvPr/>
        </p:nvGrpSpPr>
        <p:grpSpPr>
          <a:xfrm>
            <a:off x="714656" y="2585223"/>
            <a:ext cx="2469084" cy="739499"/>
            <a:chOff x="2172991" y="4254307"/>
            <a:chExt cx="2656484" cy="516442"/>
          </a:xfrm>
        </p:grpSpPr>
        <p:sp>
          <p:nvSpPr>
            <p:cNvPr id="30" name="TextBox 29">
              <a:extLst>
                <a:ext uri="{FF2B5EF4-FFF2-40B4-BE49-F238E27FC236}">
                  <a16:creationId xmlns:a16="http://schemas.microsoft.com/office/drawing/2014/main" id="{1EC89F0D-C2D3-4B89-99C6-BFF9D95C33EE}"/>
                </a:ext>
              </a:extLst>
            </p:cNvPr>
            <p:cNvSpPr txBox="1"/>
            <p:nvPr/>
          </p:nvSpPr>
          <p:spPr>
            <a:xfrm>
              <a:off x="2566574" y="4502072"/>
              <a:ext cx="2262901" cy="268677"/>
            </a:xfrm>
            <a:prstGeom prst="rect">
              <a:avLst/>
            </a:prstGeom>
            <a:noFill/>
          </p:spPr>
          <p:txBody>
            <a:bodyPr wrap="square" rtlCol="0">
              <a:spAutoFit/>
            </a:bodyPr>
            <a:lstStyle/>
            <a:p>
              <a:pPr marL="171450" indent="-171450" defTabSz="685800">
                <a:buClrTx/>
                <a:buFont typeface="Arial" panose="020B0604020202020204" pitchFamily="34" charset="0"/>
                <a:buChar char="•"/>
                <a:defRPr/>
              </a:pPr>
              <a:r>
                <a:rPr lang="en-US" altLang="ko-KR" sz="1000" kern="1200" dirty="0">
                  <a:solidFill>
                    <a:prstClr val="black">
                      <a:lumMod val="75000"/>
                      <a:lumOff val="25000"/>
                    </a:prstClr>
                  </a:solidFill>
                  <a:latin typeface="Arial" pitchFamily="34" charset="0"/>
                  <a:cs typeface="Arial" pitchFamily="34" charset="0"/>
                </a:rPr>
                <a:t>Quality Education </a:t>
              </a:r>
            </a:p>
            <a:p>
              <a:pPr marL="171450" indent="-171450" defTabSz="685800">
                <a:buClrTx/>
                <a:buFont typeface="Arial" panose="020B0604020202020204" pitchFamily="34" charset="0"/>
                <a:buChar char="•"/>
                <a:defRPr/>
              </a:pPr>
              <a:endParaRPr lang="en-US" altLang="ko-KR" sz="900" kern="1200" dirty="0">
                <a:solidFill>
                  <a:prstClr val="black">
                    <a:lumMod val="75000"/>
                    <a:lumOff val="25000"/>
                  </a:prstClr>
                </a:solidFill>
                <a:latin typeface="Arial" pitchFamily="34" charset="0"/>
                <a:cs typeface="Arial" pitchFamily="34" charset="0"/>
              </a:endParaRPr>
            </a:p>
          </p:txBody>
        </p:sp>
        <p:sp>
          <p:nvSpPr>
            <p:cNvPr id="31" name="TextBox 30">
              <a:extLst>
                <a:ext uri="{FF2B5EF4-FFF2-40B4-BE49-F238E27FC236}">
                  <a16:creationId xmlns:a16="http://schemas.microsoft.com/office/drawing/2014/main" id="{278D92C8-1C7F-461E-B83F-D8619490F4D2}"/>
                </a:ext>
              </a:extLst>
            </p:cNvPr>
            <p:cNvSpPr txBox="1"/>
            <p:nvPr/>
          </p:nvSpPr>
          <p:spPr>
            <a:xfrm>
              <a:off x="2172991" y="4254307"/>
              <a:ext cx="2262901" cy="338555"/>
            </a:xfrm>
            <a:prstGeom prst="rect">
              <a:avLst/>
            </a:prstGeom>
            <a:noFill/>
          </p:spPr>
          <p:txBody>
            <a:bodyPr wrap="square" rtlCol="0">
              <a:spAutoFit/>
            </a:bodyPr>
            <a:lstStyle/>
            <a:p>
              <a:pPr algn="ctr" defTabSz="685800">
                <a:buClrTx/>
                <a:defRPr/>
              </a:pPr>
              <a:r>
                <a:rPr lang="en-IN" altLang="ko-KR" sz="1050" b="1" kern="1200" dirty="0">
                  <a:solidFill>
                    <a:prstClr val="black">
                      <a:lumMod val="75000"/>
                      <a:lumOff val="25000"/>
                    </a:prstClr>
                  </a:solidFill>
                  <a:latin typeface="Arial" pitchFamily="34" charset="0"/>
                  <a:cs typeface="Arial" pitchFamily="34" charset="0"/>
                </a:rPr>
                <a:t>Literacy Rate</a:t>
              </a:r>
              <a:endParaRPr lang="ko-KR" altLang="en-US" sz="1050" b="1" kern="1200" dirty="0">
                <a:solidFill>
                  <a:prstClr val="black">
                    <a:lumMod val="75000"/>
                    <a:lumOff val="25000"/>
                  </a:prstClr>
                </a:solidFill>
                <a:latin typeface="Arial" pitchFamily="34" charset="0"/>
                <a:cs typeface="Arial" pitchFamily="34" charset="0"/>
              </a:endParaRPr>
            </a:p>
          </p:txBody>
        </p:sp>
      </p:grpSp>
      <p:grpSp>
        <p:nvGrpSpPr>
          <p:cNvPr id="32" name="Group 116">
            <a:extLst>
              <a:ext uri="{FF2B5EF4-FFF2-40B4-BE49-F238E27FC236}">
                <a16:creationId xmlns:a16="http://schemas.microsoft.com/office/drawing/2014/main" id="{5288F1B6-FFC5-409F-862A-7FEBCB107ADA}"/>
              </a:ext>
            </a:extLst>
          </p:cNvPr>
          <p:cNvGrpSpPr/>
          <p:nvPr/>
        </p:nvGrpSpPr>
        <p:grpSpPr>
          <a:xfrm>
            <a:off x="1713930" y="1380218"/>
            <a:ext cx="2275528" cy="806488"/>
            <a:chOff x="1894262" y="4165069"/>
            <a:chExt cx="2448237" cy="1075317"/>
          </a:xfrm>
        </p:grpSpPr>
        <p:sp>
          <p:nvSpPr>
            <p:cNvPr id="33" name="TextBox 32">
              <a:extLst>
                <a:ext uri="{FF2B5EF4-FFF2-40B4-BE49-F238E27FC236}">
                  <a16:creationId xmlns:a16="http://schemas.microsoft.com/office/drawing/2014/main" id="{C926EFFC-2746-46A1-A198-C8078A655D92}"/>
                </a:ext>
              </a:extLst>
            </p:cNvPr>
            <p:cNvSpPr txBox="1"/>
            <p:nvPr/>
          </p:nvSpPr>
          <p:spPr>
            <a:xfrm>
              <a:off x="2079598" y="4501722"/>
              <a:ext cx="2262901" cy="738664"/>
            </a:xfrm>
            <a:prstGeom prst="rect">
              <a:avLst/>
            </a:prstGeom>
            <a:noFill/>
          </p:spPr>
          <p:txBody>
            <a:bodyPr wrap="square" rtlCol="0">
              <a:spAutoFit/>
            </a:bodyPr>
            <a:lstStyle/>
            <a:p>
              <a:pPr marL="171450" indent="-171450" defTabSz="685800">
                <a:buClrTx/>
                <a:buFont typeface="Arial" panose="020B0604020202020204" pitchFamily="34" charset="0"/>
                <a:buChar char="•"/>
                <a:defRPr/>
              </a:pPr>
              <a:r>
                <a:rPr lang="en-US" altLang="ko-KR" sz="1000" kern="1200" dirty="0">
                  <a:solidFill>
                    <a:prstClr val="black">
                      <a:lumMod val="75000"/>
                      <a:lumOff val="25000"/>
                    </a:prstClr>
                  </a:solidFill>
                  <a:latin typeface="Arial" pitchFamily="34" charset="0"/>
                  <a:cs typeface="Arial" pitchFamily="34" charset="0"/>
                </a:rPr>
                <a:t>Frequent Pregnancies</a:t>
              </a:r>
            </a:p>
            <a:p>
              <a:pPr marL="171450" indent="-171450" defTabSz="685800">
                <a:buClrTx/>
                <a:buFont typeface="Arial" panose="020B0604020202020204" pitchFamily="34" charset="0"/>
                <a:buChar char="•"/>
                <a:defRPr/>
              </a:pPr>
              <a:r>
                <a:rPr lang="en-US" altLang="ko-KR" sz="1000" kern="1200" dirty="0">
                  <a:solidFill>
                    <a:prstClr val="black">
                      <a:lumMod val="75000"/>
                      <a:lumOff val="25000"/>
                    </a:prstClr>
                  </a:solidFill>
                  <a:latin typeface="Arial" pitchFamily="34" charset="0"/>
                  <a:cs typeface="Arial" pitchFamily="34" charset="0"/>
                </a:rPr>
                <a:t>Maternity Leave</a:t>
              </a:r>
            </a:p>
            <a:p>
              <a:pPr marL="171450" indent="-171450" defTabSz="685800">
                <a:buClrTx/>
                <a:buFont typeface="Arial" panose="020B0604020202020204" pitchFamily="34" charset="0"/>
                <a:buChar char="•"/>
                <a:defRPr/>
              </a:pPr>
              <a:r>
                <a:rPr lang="en-US" altLang="ko-KR" sz="1000" kern="1200" dirty="0">
                  <a:solidFill>
                    <a:prstClr val="black">
                      <a:lumMod val="75000"/>
                      <a:lumOff val="25000"/>
                    </a:prstClr>
                  </a:solidFill>
                  <a:latin typeface="Arial" pitchFamily="34" charset="0"/>
                  <a:cs typeface="Arial" pitchFamily="34" charset="0"/>
                </a:rPr>
                <a:t>Disruption of life</a:t>
              </a:r>
            </a:p>
          </p:txBody>
        </p:sp>
        <p:sp>
          <p:nvSpPr>
            <p:cNvPr id="34" name="TextBox 33">
              <a:extLst>
                <a:ext uri="{FF2B5EF4-FFF2-40B4-BE49-F238E27FC236}">
                  <a16:creationId xmlns:a16="http://schemas.microsoft.com/office/drawing/2014/main" id="{E6E1D780-EE5A-4BFA-917D-37F06CC0D5C1}"/>
                </a:ext>
              </a:extLst>
            </p:cNvPr>
            <p:cNvSpPr txBox="1"/>
            <p:nvPr/>
          </p:nvSpPr>
          <p:spPr>
            <a:xfrm>
              <a:off x="1894262" y="4165069"/>
              <a:ext cx="2262901" cy="348813"/>
            </a:xfrm>
            <a:prstGeom prst="rect">
              <a:avLst/>
            </a:prstGeom>
            <a:noFill/>
          </p:spPr>
          <p:txBody>
            <a:bodyPr wrap="square" rtlCol="0">
              <a:spAutoFit/>
            </a:bodyPr>
            <a:lstStyle/>
            <a:p>
              <a:pPr algn="ctr" defTabSz="685800">
                <a:buClrTx/>
                <a:defRPr/>
              </a:pPr>
              <a:r>
                <a:rPr lang="en-IN" altLang="ko-KR" sz="1100" b="1" kern="1200" dirty="0">
                  <a:solidFill>
                    <a:prstClr val="black">
                      <a:lumMod val="75000"/>
                      <a:lumOff val="25000"/>
                    </a:prstClr>
                  </a:solidFill>
                  <a:latin typeface="Arial" pitchFamily="34" charset="0"/>
                  <a:cs typeface="Arial" pitchFamily="34" charset="0"/>
                </a:rPr>
                <a:t>Fertility Rate</a:t>
              </a:r>
              <a:endParaRPr lang="ko-KR" altLang="en-US" sz="1100" b="1" kern="1200" dirty="0">
                <a:solidFill>
                  <a:prstClr val="black">
                    <a:lumMod val="75000"/>
                    <a:lumOff val="25000"/>
                  </a:prstClr>
                </a:solidFill>
                <a:latin typeface="Arial" pitchFamily="34" charset="0"/>
                <a:cs typeface="Arial" pitchFamily="34" charset="0"/>
              </a:endParaRPr>
            </a:p>
          </p:txBody>
        </p:sp>
      </p:grpSp>
      <p:grpSp>
        <p:nvGrpSpPr>
          <p:cNvPr id="35" name="Group 34">
            <a:extLst>
              <a:ext uri="{FF2B5EF4-FFF2-40B4-BE49-F238E27FC236}">
                <a16:creationId xmlns:a16="http://schemas.microsoft.com/office/drawing/2014/main" id="{E6E79D0D-31F3-4EA0-9E22-8208FF8B581E}"/>
              </a:ext>
            </a:extLst>
          </p:cNvPr>
          <p:cNvGrpSpPr/>
          <p:nvPr/>
        </p:nvGrpSpPr>
        <p:grpSpPr>
          <a:xfrm>
            <a:off x="3143939" y="2786976"/>
            <a:ext cx="496638" cy="393970"/>
            <a:chOff x="3366914" y="2916559"/>
            <a:chExt cx="2424286" cy="1655441"/>
          </a:xfrm>
        </p:grpSpPr>
        <p:sp>
          <p:nvSpPr>
            <p:cNvPr id="36" name="Rectangle 35">
              <a:extLst>
                <a:ext uri="{FF2B5EF4-FFF2-40B4-BE49-F238E27FC236}">
                  <a16:creationId xmlns:a16="http://schemas.microsoft.com/office/drawing/2014/main" id="{1073768B-D1CD-4B52-AA7D-DFC6C9C4DE68}"/>
                </a:ext>
              </a:extLst>
            </p:cNvPr>
            <p:cNvSpPr/>
            <p:nvPr/>
          </p:nvSpPr>
          <p:spPr>
            <a:xfrm>
              <a:off x="3366914" y="3203451"/>
              <a:ext cx="2424286" cy="1296143"/>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ko-KR" altLang="en-US" sz="2025" kern="1200">
                <a:solidFill>
                  <a:prstClr val="white"/>
                </a:solidFill>
                <a:latin typeface="Arial"/>
              </a:endParaRPr>
            </a:p>
          </p:txBody>
        </p:sp>
        <p:sp>
          <p:nvSpPr>
            <p:cNvPr id="37" name="Rectangle 36">
              <a:extLst>
                <a:ext uri="{FF2B5EF4-FFF2-40B4-BE49-F238E27FC236}">
                  <a16:creationId xmlns:a16="http://schemas.microsoft.com/office/drawing/2014/main" id="{D8433EFF-2E80-406C-99D5-F8C86757979A}"/>
                </a:ext>
              </a:extLst>
            </p:cNvPr>
            <p:cNvSpPr/>
            <p:nvPr/>
          </p:nvSpPr>
          <p:spPr>
            <a:xfrm>
              <a:off x="3419872" y="3140968"/>
              <a:ext cx="2304256" cy="1296143"/>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ko-KR" altLang="en-US" sz="2025" kern="1200">
                <a:solidFill>
                  <a:prstClr val="white"/>
                </a:solidFill>
                <a:latin typeface="Arial"/>
              </a:endParaRPr>
            </a:p>
          </p:txBody>
        </p:sp>
        <p:sp>
          <p:nvSpPr>
            <p:cNvPr id="38" name="Rectangle 3">
              <a:extLst>
                <a:ext uri="{FF2B5EF4-FFF2-40B4-BE49-F238E27FC236}">
                  <a16:creationId xmlns:a16="http://schemas.microsoft.com/office/drawing/2014/main" id="{D2E9102E-951F-4702-9674-F3E5392938E3}"/>
                </a:ext>
              </a:extLst>
            </p:cNvPr>
            <p:cNvSpPr/>
            <p:nvPr/>
          </p:nvSpPr>
          <p:spPr>
            <a:xfrm>
              <a:off x="4572000" y="2916559"/>
              <a:ext cx="1080120" cy="1520552"/>
            </a:xfrm>
            <a:custGeom>
              <a:avLst/>
              <a:gdLst>
                <a:gd name="connsiteX0" fmla="*/ 0 w 1080120"/>
                <a:gd name="connsiteY0" fmla="*/ 0 h 1368152"/>
                <a:gd name="connsiteX1" fmla="*/ 1080120 w 1080120"/>
                <a:gd name="connsiteY1" fmla="*/ 0 h 1368152"/>
                <a:gd name="connsiteX2" fmla="*/ 1080120 w 1080120"/>
                <a:gd name="connsiteY2" fmla="*/ 1368152 h 1368152"/>
                <a:gd name="connsiteX3" fmla="*/ 0 w 1080120"/>
                <a:gd name="connsiteY3" fmla="*/ 1368152 h 1368152"/>
                <a:gd name="connsiteX4" fmla="*/ 0 w 1080120"/>
                <a:gd name="connsiteY4" fmla="*/ 0 h 1368152"/>
                <a:gd name="connsiteX0" fmla="*/ 0 w 1080120"/>
                <a:gd name="connsiteY0" fmla="*/ 95250 h 1463402"/>
                <a:gd name="connsiteX1" fmla="*/ 1080120 w 1080120"/>
                <a:gd name="connsiteY1" fmla="*/ 0 h 1463402"/>
                <a:gd name="connsiteX2" fmla="*/ 1080120 w 1080120"/>
                <a:gd name="connsiteY2" fmla="*/ 1463402 h 1463402"/>
                <a:gd name="connsiteX3" fmla="*/ 0 w 1080120"/>
                <a:gd name="connsiteY3" fmla="*/ 1463402 h 1463402"/>
                <a:gd name="connsiteX4" fmla="*/ 0 w 1080120"/>
                <a:gd name="connsiteY4" fmla="*/ 95250 h 1463402"/>
                <a:gd name="connsiteX0" fmla="*/ 0 w 1080120"/>
                <a:gd name="connsiteY0" fmla="*/ 131815 h 1499967"/>
                <a:gd name="connsiteX1" fmla="*/ 1080120 w 1080120"/>
                <a:gd name="connsiteY1" fmla="*/ 36565 h 1499967"/>
                <a:gd name="connsiteX2" fmla="*/ 1080120 w 1080120"/>
                <a:gd name="connsiteY2" fmla="*/ 1499967 h 1499967"/>
                <a:gd name="connsiteX3" fmla="*/ 0 w 1080120"/>
                <a:gd name="connsiteY3" fmla="*/ 1499967 h 1499967"/>
                <a:gd name="connsiteX4" fmla="*/ 0 w 1080120"/>
                <a:gd name="connsiteY4" fmla="*/ 131815 h 1499967"/>
                <a:gd name="connsiteX0" fmla="*/ 0 w 1080120"/>
                <a:gd name="connsiteY0" fmla="*/ 152612 h 1520764"/>
                <a:gd name="connsiteX1" fmla="*/ 1080120 w 1080120"/>
                <a:gd name="connsiteY1" fmla="*/ 57362 h 1520764"/>
                <a:gd name="connsiteX2" fmla="*/ 1080120 w 1080120"/>
                <a:gd name="connsiteY2" fmla="*/ 1520764 h 1520764"/>
                <a:gd name="connsiteX3" fmla="*/ 0 w 1080120"/>
                <a:gd name="connsiteY3" fmla="*/ 1520764 h 1520764"/>
                <a:gd name="connsiteX4" fmla="*/ 0 w 1080120"/>
                <a:gd name="connsiteY4" fmla="*/ 152612 h 1520764"/>
                <a:gd name="connsiteX0" fmla="*/ 0 w 1080120"/>
                <a:gd name="connsiteY0" fmla="*/ 123156 h 1491308"/>
                <a:gd name="connsiteX1" fmla="*/ 1080120 w 1080120"/>
                <a:gd name="connsiteY1" fmla="*/ 27906 h 1491308"/>
                <a:gd name="connsiteX2" fmla="*/ 1080120 w 1080120"/>
                <a:gd name="connsiteY2" fmla="*/ 1491308 h 1491308"/>
                <a:gd name="connsiteX3" fmla="*/ 0 w 1080120"/>
                <a:gd name="connsiteY3" fmla="*/ 1491308 h 1491308"/>
                <a:gd name="connsiteX4" fmla="*/ 0 w 1080120"/>
                <a:gd name="connsiteY4" fmla="*/ 123156 h 1491308"/>
                <a:gd name="connsiteX0" fmla="*/ 0 w 1080120"/>
                <a:gd name="connsiteY0" fmla="*/ 152400 h 1520552"/>
                <a:gd name="connsiteX1" fmla="*/ 1080120 w 1080120"/>
                <a:gd name="connsiteY1" fmla="*/ 0 h 1520552"/>
                <a:gd name="connsiteX2" fmla="*/ 1080120 w 1080120"/>
                <a:gd name="connsiteY2" fmla="*/ 1520552 h 1520552"/>
                <a:gd name="connsiteX3" fmla="*/ 0 w 1080120"/>
                <a:gd name="connsiteY3" fmla="*/ 1520552 h 1520552"/>
                <a:gd name="connsiteX4" fmla="*/ 0 w 1080120"/>
                <a:gd name="connsiteY4" fmla="*/ 152400 h 1520552"/>
                <a:gd name="connsiteX0" fmla="*/ 0 w 1080120"/>
                <a:gd name="connsiteY0" fmla="*/ 152400 h 1520552"/>
                <a:gd name="connsiteX1" fmla="*/ 1080120 w 1080120"/>
                <a:gd name="connsiteY1" fmla="*/ 0 h 1520552"/>
                <a:gd name="connsiteX2" fmla="*/ 1070595 w 1080120"/>
                <a:gd name="connsiteY2" fmla="*/ 1349102 h 1520552"/>
                <a:gd name="connsiteX3" fmla="*/ 0 w 1080120"/>
                <a:gd name="connsiteY3" fmla="*/ 1520552 h 1520552"/>
                <a:gd name="connsiteX4" fmla="*/ 0 w 1080120"/>
                <a:gd name="connsiteY4" fmla="*/ 152400 h 1520552"/>
                <a:gd name="connsiteX0" fmla="*/ 0 w 1080120"/>
                <a:gd name="connsiteY0" fmla="*/ 152400 h 1520552"/>
                <a:gd name="connsiteX1" fmla="*/ 1080120 w 1080120"/>
                <a:gd name="connsiteY1" fmla="*/ 0 h 1520552"/>
                <a:gd name="connsiteX2" fmla="*/ 1070595 w 1080120"/>
                <a:gd name="connsiteY2" fmla="*/ 1349102 h 1520552"/>
                <a:gd name="connsiteX3" fmla="*/ 0 w 1080120"/>
                <a:gd name="connsiteY3" fmla="*/ 1520552 h 1520552"/>
                <a:gd name="connsiteX4" fmla="*/ 0 w 1080120"/>
                <a:gd name="connsiteY4" fmla="*/ 152400 h 1520552"/>
                <a:gd name="connsiteX0" fmla="*/ 0 w 1080120"/>
                <a:gd name="connsiteY0" fmla="*/ 152400 h 1520552"/>
                <a:gd name="connsiteX1" fmla="*/ 1080120 w 1080120"/>
                <a:gd name="connsiteY1" fmla="*/ 0 h 1520552"/>
                <a:gd name="connsiteX2" fmla="*/ 1070595 w 1080120"/>
                <a:gd name="connsiteY2" fmla="*/ 1349102 h 1520552"/>
                <a:gd name="connsiteX3" fmla="*/ 0 w 1080120"/>
                <a:gd name="connsiteY3" fmla="*/ 1520552 h 1520552"/>
                <a:gd name="connsiteX4" fmla="*/ 0 w 1080120"/>
                <a:gd name="connsiteY4" fmla="*/ 152400 h 1520552"/>
                <a:gd name="connsiteX0" fmla="*/ 0 w 1080120"/>
                <a:gd name="connsiteY0" fmla="*/ 152400 h 1520552"/>
                <a:gd name="connsiteX1" fmla="*/ 1080120 w 1080120"/>
                <a:gd name="connsiteY1" fmla="*/ 0 h 1520552"/>
                <a:gd name="connsiteX2" fmla="*/ 1070595 w 1080120"/>
                <a:gd name="connsiteY2" fmla="*/ 1349102 h 1520552"/>
                <a:gd name="connsiteX3" fmla="*/ 0 w 1080120"/>
                <a:gd name="connsiteY3" fmla="*/ 1520552 h 1520552"/>
                <a:gd name="connsiteX4" fmla="*/ 0 w 1080120"/>
                <a:gd name="connsiteY4" fmla="*/ 152400 h 1520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20" h="1520552">
                  <a:moveTo>
                    <a:pt x="0" y="152400"/>
                  </a:moveTo>
                  <a:cubicBezTo>
                    <a:pt x="369565" y="6350"/>
                    <a:pt x="653405" y="-44450"/>
                    <a:pt x="1080120" y="0"/>
                  </a:cubicBezTo>
                  <a:lnTo>
                    <a:pt x="1070595" y="1349102"/>
                  </a:lnTo>
                  <a:cubicBezTo>
                    <a:pt x="694680" y="1311002"/>
                    <a:pt x="309240" y="1358627"/>
                    <a:pt x="0" y="1520552"/>
                  </a:cubicBezTo>
                  <a:lnTo>
                    <a:pt x="0" y="152400"/>
                  </a:lnTo>
                  <a:close/>
                </a:path>
              </a:pathLst>
            </a:cu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ko-KR" altLang="en-US" sz="2025" kern="1200">
                <a:solidFill>
                  <a:prstClr val="white"/>
                </a:solidFill>
                <a:latin typeface="Arial"/>
              </a:endParaRPr>
            </a:p>
          </p:txBody>
        </p:sp>
        <p:sp>
          <p:nvSpPr>
            <p:cNvPr id="39" name="Rectangle 3">
              <a:extLst>
                <a:ext uri="{FF2B5EF4-FFF2-40B4-BE49-F238E27FC236}">
                  <a16:creationId xmlns:a16="http://schemas.microsoft.com/office/drawing/2014/main" id="{36C3361E-8304-4C0F-95BB-A4B5E5846CE2}"/>
                </a:ext>
              </a:extLst>
            </p:cNvPr>
            <p:cNvSpPr/>
            <p:nvPr/>
          </p:nvSpPr>
          <p:spPr>
            <a:xfrm flipH="1">
              <a:off x="3491880" y="2916559"/>
              <a:ext cx="1080120" cy="1520552"/>
            </a:xfrm>
            <a:custGeom>
              <a:avLst/>
              <a:gdLst>
                <a:gd name="connsiteX0" fmla="*/ 0 w 1080120"/>
                <a:gd name="connsiteY0" fmla="*/ 0 h 1368152"/>
                <a:gd name="connsiteX1" fmla="*/ 1080120 w 1080120"/>
                <a:gd name="connsiteY1" fmla="*/ 0 h 1368152"/>
                <a:gd name="connsiteX2" fmla="*/ 1080120 w 1080120"/>
                <a:gd name="connsiteY2" fmla="*/ 1368152 h 1368152"/>
                <a:gd name="connsiteX3" fmla="*/ 0 w 1080120"/>
                <a:gd name="connsiteY3" fmla="*/ 1368152 h 1368152"/>
                <a:gd name="connsiteX4" fmla="*/ 0 w 1080120"/>
                <a:gd name="connsiteY4" fmla="*/ 0 h 1368152"/>
                <a:gd name="connsiteX0" fmla="*/ 0 w 1080120"/>
                <a:gd name="connsiteY0" fmla="*/ 95250 h 1463402"/>
                <a:gd name="connsiteX1" fmla="*/ 1080120 w 1080120"/>
                <a:gd name="connsiteY1" fmla="*/ 0 h 1463402"/>
                <a:gd name="connsiteX2" fmla="*/ 1080120 w 1080120"/>
                <a:gd name="connsiteY2" fmla="*/ 1463402 h 1463402"/>
                <a:gd name="connsiteX3" fmla="*/ 0 w 1080120"/>
                <a:gd name="connsiteY3" fmla="*/ 1463402 h 1463402"/>
                <a:gd name="connsiteX4" fmla="*/ 0 w 1080120"/>
                <a:gd name="connsiteY4" fmla="*/ 95250 h 1463402"/>
                <a:gd name="connsiteX0" fmla="*/ 0 w 1080120"/>
                <a:gd name="connsiteY0" fmla="*/ 131815 h 1499967"/>
                <a:gd name="connsiteX1" fmla="*/ 1080120 w 1080120"/>
                <a:gd name="connsiteY1" fmla="*/ 36565 h 1499967"/>
                <a:gd name="connsiteX2" fmla="*/ 1080120 w 1080120"/>
                <a:gd name="connsiteY2" fmla="*/ 1499967 h 1499967"/>
                <a:gd name="connsiteX3" fmla="*/ 0 w 1080120"/>
                <a:gd name="connsiteY3" fmla="*/ 1499967 h 1499967"/>
                <a:gd name="connsiteX4" fmla="*/ 0 w 1080120"/>
                <a:gd name="connsiteY4" fmla="*/ 131815 h 1499967"/>
                <a:gd name="connsiteX0" fmla="*/ 0 w 1080120"/>
                <a:gd name="connsiteY0" fmla="*/ 152612 h 1520764"/>
                <a:gd name="connsiteX1" fmla="*/ 1080120 w 1080120"/>
                <a:gd name="connsiteY1" fmla="*/ 57362 h 1520764"/>
                <a:gd name="connsiteX2" fmla="*/ 1080120 w 1080120"/>
                <a:gd name="connsiteY2" fmla="*/ 1520764 h 1520764"/>
                <a:gd name="connsiteX3" fmla="*/ 0 w 1080120"/>
                <a:gd name="connsiteY3" fmla="*/ 1520764 h 1520764"/>
                <a:gd name="connsiteX4" fmla="*/ 0 w 1080120"/>
                <a:gd name="connsiteY4" fmla="*/ 152612 h 1520764"/>
                <a:gd name="connsiteX0" fmla="*/ 0 w 1080120"/>
                <a:gd name="connsiteY0" fmla="*/ 123156 h 1491308"/>
                <a:gd name="connsiteX1" fmla="*/ 1080120 w 1080120"/>
                <a:gd name="connsiteY1" fmla="*/ 27906 h 1491308"/>
                <a:gd name="connsiteX2" fmla="*/ 1080120 w 1080120"/>
                <a:gd name="connsiteY2" fmla="*/ 1491308 h 1491308"/>
                <a:gd name="connsiteX3" fmla="*/ 0 w 1080120"/>
                <a:gd name="connsiteY3" fmla="*/ 1491308 h 1491308"/>
                <a:gd name="connsiteX4" fmla="*/ 0 w 1080120"/>
                <a:gd name="connsiteY4" fmla="*/ 123156 h 1491308"/>
                <a:gd name="connsiteX0" fmla="*/ 0 w 1080120"/>
                <a:gd name="connsiteY0" fmla="*/ 152400 h 1520552"/>
                <a:gd name="connsiteX1" fmla="*/ 1080120 w 1080120"/>
                <a:gd name="connsiteY1" fmla="*/ 0 h 1520552"/>
                <a:gd name="connsiteX2" fmla="*/ 1080120 w 1080120"/>
                <a:gd name="connsiteY2" fmla="*/ 1520552 h 1520552"/>
                <a:gd name="connsiteX3" fmla="*/ 0 w 1080120"/>
                <a:gd name="connsiteY3" fmla="*/ 1520552 h 1520552"/>
                <a:gd name="connsiteX4" fmla="*/ 0 w 1080120"/>
                <a:gd name="connsiteY4" fmla="*/ 152400 h 1520552"/>
                <a:gd name="connsiteX0" fmla="*/ 0 w 1080120"/>
                <a:gd name="connsiteY0" fmla="*/ 152400 h 1520552"/>
                <a:gd name="connsiteX1" fmla="*/ 1080120 w 1080120"/>
                <a:gd name="connsiteY1" fmla="*/ 0 h 1520552"/>
                <a:gd name="connsiteX2" fmla="*/ 1070595 w 1080120"/>
                <a:gd name="connsiteY2" fmla="*/ 1349102 h 1520552"/>
                <a:gd name="connsiteX3" fmla="*/ 0 w 1080120"/>
                <a:gd name="connsiteY3" fmla="*/ 1520552 h 1520552"/>
                <a:gd name="connsiteX4" fmla="*/ 0 w 1080120"/>
                <a:gd name="connsiteY4" fmla="*/ 152400 h 1520552"/>
                <a:gd name="connsiteX0" fmla="*/ 0 w 1080120"/>
                <a:gd name="connsiteY0" fmla="*/ 152400 h 1520552"/>
                <a:gd name="connsiteX1" fmla="*/ 1080120 w 1080120"/>
                <a:gd name="connsiteY1" fmla="*/ 0 h 1520552"/>
                <a:gd name="connsiteX2" fmla="*/ 1070595 w 1080120"/>
                <a:gd name="connsiteY2" fmla="*/ 1349102 h 1520552"/>
                <a:gd name="connsiteX3" fmla="*/ 0 w 1080120"/>
                <a:gd name="connsiteY3" fmla="*/ 1520552 h 1520552"/>
                <a:gd name="connsiteX4" fmla="*/ 0 w 1080120"/>
                <a:gd name="connsiteY4" fmla="*/ 152400 h 1520552"/>
                <a:gd name="connsiteX0" fmla="*/ 0 w 1080120"/>
                <a:gd name="connsiteY0" fmla="*/ 152400 h 1520552"/>
                <a:gd name="connsiteX1" fmla="*/ 1080120 w 1080120"/>
                <a:gd name="connsiteY1" fmla="*/ 0 h 1520552"/>
                <a:gd name="connsiteX2" fmla="*/ 1070595 w 1080120"/>
                <a:gd name="connsiteY2" fmla="*/ 1349102 h 1520552"/>
                <a:gd name="connsiteX3" fmla="*/ 0 w 1080120"/>
                <a:gd name="connsiteY3" fmla="*/ 1520552 h 1520552"/>
                <a:gd name="connsiteX4" fmla="*/ 0 w 1080120"/>
                <a:gd name="connsiteY4" fmla="*/ 152400 h 1520552"/>
                <a:gd name="connsiteX0" fmla="*/ 0 w 1080120"/>
                <a:gd name="connsiteY0" fmla="*/ 152400 h 1520552"/>
                <a:gd name="connsiteX1" fmla="*/ 1080120 w 1080120"/>
                <a:gd name="connsiteY1" fmla="*/ 0 h 1520552"/>
                <a:gd name="connsiteX2" fmla="*/ 1070595 w 1080120"/>
                <a:gd name="connsiteY2" fmla="*/ 1349102 h 1520552"/>
                <a:gd name="connsiteX3" fmla="*/ 0 w 1080120"/>
                <a:gd name="connsiteY3" fmla="*/ 1520552 h 1520552"/>
                <a:gd name="connsiteX4" fmla="*/ 0 w 1080120"/>
                <a:gd name="connsiteY4" fmla="*/ 152400 h 1520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20" h="1520552">
                  <a:moveTo>
                    <a:pt x="0" y="152400"/>
                  </a:moveTo>
                  <a:cubicBezTo>
                    <a:pt x="369565" y="6350"/>
                    <a:pt x="653405" y="-44450"/>
                    <a:pt x="1080120" y="0"/>
                  </a:cubicBezTo>
                  <a:lnTo>
                    <a:pt x="1070595" y="1349102"/>
                  </a:lnTo>
                  <a:cubicBezTo>
                    <a:pt x="694680" y="1311002"/>
                    <a:pt x="309240" y="1358627"/>
                    <a:pt x="0" y="1520552"/>
                  </a:cubicBezTo>
                  <a:lnTo>
                    <a:pt x="0" y="152400"/>
                  </a:lnTo>
                  <a:close/>
                </a:path>
              </a:pathLst>
            </a:cu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ko-KR" altLang="en-US" sz="2025" kern="1200">
                <a:solidFill>
                  <a:prstClr val="white"/>
                </a:solidFill>
                <a:latin typeface="Arial"/>
              </a:endParaRPr>
            </a:p>
          </p:txBody>
        </p:sp>
        <p:sp>
          <p:nvSpPr>
            <p:cNvPr id="40" name="Oval 7">
              <a:extLst>
                <a:ext uri="{FF2B5EF4-FFF2-40B4-BE49-F238E27FC236}">
                  <a16:creationId xmlns:a16="http://schemas.microsoft.com/office/drawing/2014/main" id="{4CB6A701-A2D5-445B-8262-2EA590250372}"/>
                </a:ext>
              </a:extLst>
            </p:cNvPr>
            <p:cNvSpPr/>
            <p:nvPr/>
          </p:nvSpPr>
          <p:spPr>
            <a:xfrm>
              <a:off x="4439051" y="4449847"/>
              <a:ext cx="257915" cy="122153"/>
            </a:xfrm>
            <a:custGeom>
              <a:avLst/>
              <a:gdLst/>
              <a:ahLst/>
              <a:cxnLst/>
              <a:rect l="l" t="t" r="r" b="b"/>
              <a:pathLst>
                <a:path w="900094" h="360040">
                  <a:moveTo>
                    <a:pt x="0" y="0"/>
                  </a:moveTo>
                  <a:lnTo>
                    <a:pt x="900094" y="0"/>
                  </a:lnTo>
                  <a:cubicBezTo>
                    <a:pt x="900094" y="198845"/>
                    <a:pt x="698601" y="360040"/>
                    <a:pt x="450047" y="360040"/>
                  </a:cubicBezTo>
                  <a:cubicBezTo>
                    <a:pt x="201493" y="360040"/>
                    <a:pt x="0" y="198845"/>
                    <a:pt x="0" y="0"/>
                  </a:cubicBezTo>
                  <a:close/>
                </a:path>
              </a:pathLst>
            </a:custGeom>
            <a:solidFill>
              <a:schemeClr val="accent4"/>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ko-KR" altLang="en-US" sz="2025" kern="1200">
                <a:solidFill>
                  <a:prstClr val="white"/>
                </a:solidFill>
                <a:latin typeface="Arial"/>
              </a:endParaRPr>
            </a:p>
          </p:txBody>
        </p:sp>
      </p:grpSp>
      <p:sp>
        <p:nvSpPr>
          <p:cNvPr id="42" name="Donut 90">
            <a:extLst>
              <a:ext uri="{FF2B5EF4-FFF2-40B4-BE49-F238E27FC236}">
                <a16:creationId xmlns:a16="http://schemas.microsoft.com/office/drawing/2014/main" id="{D2C6B137-4F51-4BDA-95E5-BE1C0EDF3EF5}"/>
              </a:ext>
            </a:extLst>
          </p:cNvPr>
          <p:cNvSpPr/>
          <p:nvPr/>
        </p:nvSpPr>
        <p:spPr>
          <a:xfrm rot="11619108">
            <a:off x="3329190" y="3831355"/>
            <a:ext cx="399039" cy="407818"/>
          </a:xfrm>
          <a:custGeom>
            <a:avLst/>
            <a:gdLst/>
            <a:ahLst/>
            <a:cxnLst/>
            <a:rect l="l" t="t" r="r" b="b"/>
            <a:pathLst>
              <a:path w="373598" h="381817">
                <a:moveTo>
                  <a:pt x="229573" y="45391"/>
                </a:moveTo>
                <a:cubicBezTo>
                  <a:pt x="175099" y="45391"/>
                  <a:pt x="130939" y="89551"/>
                  <a:pt x="130939" y="144025"/>
                </a:cubicBezTo>
                <a:cubicBezTo>
                  <a:pt x="130939" y="198499"/>
                  <a:pt x="175099" y="242659"/>
                  <a:pt x="229573" y="242659"/>
                </a:cubicBezTo>
                <a:cubicBezTo>
                  <a:pt x="284047" y="242659"/>
                  <a:pt x="328207" y="198499"/>
                  <a:pt x="328207" y="144025"/>
                </a:cubicBezTo>
                <a:cubicBezTo>
                  <a:pt x="328207" y="89551"/>
                  <a:pt x="284047" y="45391"/>
                  <a:pt x="229573" y="45391"/>
                </a:cubicBezTo>
                <a:close/>
                <a:moveTo>
                  <a:pt x="229573" y="0"/>
                </a:moveTo>
                <a:cubicBezTo>
                  <a:pt x="309116" y="0"/>
                  <a:pt x="373598" y="64482"/>
                  <a:pt x="373598" y="144025"/>
                </a:cubicBezTo>
                <a:cubicBezTo>
                  <a:pt x="373598" y="223568"/>
                  <a:pt x="309116" y="288050"/>
                  <a:pt x="229573" y="288050"/>
                </a:cubicBezTo>
                <a:cubicBezTo>
                  <a:pt x="202172" y="288050"/>
                  <a:pt x="176558" y="280398"/>
                  <a:pt x="156060" y="264966"/>
                </a:cubicBezTo>
                <a:lnTo>
                  <a:pt x="128993" y="292033"/>
                </a:lnTo>
                <a:lnTo>
                  <a:pt x="160228" y="323268"/>
                </a:lnTo>
                <a:cubicBezTo>
                  <a:pt x="171055" y="334095"/>
                  <a:pt x="171055" y="351650"/>
                  <a:pt x="160228" y="362477"/>
                </a:cubicBezTo>
                <a:cubicBezTo>
                  <a:pt x="149401" y="373304"/>
                  <a:pt x="131846" y="373304"/>
                  <a:pt x="121019" y="362477"/>
                </a:cubicBezTo>
                <a:lnTo>
                  <a:pt x="89784" y="331242"/>
                </a:lnTo>
                <a:lnTo>
                  <a:pt x="39209" y="381817"/>
                </a:lnTo>
                <a:cubicBezTo>
                  <a:pt x="28381" y="392644"/>
                  <a:pt x="10827" y="392644"/>
                  <a:pt x="0" y="381817"/>
                </a:cubicBezTo>
                <a:cubicBezTo>
                  <a:pt x="-10828" y="370989"/>
                  <a:pt x="-10828" y="353435"/>
                  <a:pt x="0" y="342608"/>
                </a:cubicBezTo>
                <a:lnTo>
                  <a:pt x="50575" y="292033"/>
                </a:lnTo>
                <a:lnTo>
                  <a:pt x="16166" y="257624"/>
                </a:lnTo>
                <a:cubicBezTo>
                  <a:pt x="5339" y="246797"/>
                  <a:pt x="5339" y="229242"/>
                  <a:pt x="16166" y="218415"/>
                </a:cubicBezTo>
                <a:cubicBezTo>
                  <a:pt x="26993" y="207588"/>
                  <a:pt x="44548" y="207588"/>
                  <a:pt x="55375" y="218415"/>
                </a:cubicBezTo>
                <a:lnTo>
                  <a:pt x="89784" y="252824"/>
                </a:lnTo>
                <a:lnTo>
                  <a:pt x="115252" y="227356"/>
                </a:lnTo>
                <a:cubicBezTo>
                  <a:pt x="95803" y="205073"/>
                  <a:pt x="85548" y="175747"/>
                  <a:pt x="85548" y="144025"/>
                </a:cubicBezTo>
                <a:cubicBezTo>
                  <a:pt x="85548" y="64482"/>
                  <a:pt x="150030" y="0"/>
                  <a:pt x="22957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ko-KR" altLang="en-US" sz="2025" kern="1200">
              <a:solidFill>
                <a:prstClr val="black"/>
              </a:solidFill>
              <a:latin typeface="Arial"/>
            </a:endParaRPr>
          </a:p>
        </p:txBody>
      </p:sp>
      <p:sp>
        <p:nvSpPr>
          <p:cNvPr id="43" name="Freeform 97">
            <a:extLst>
              <a:ext uri="{FF2B5EF4-FFF2-40B4-BE49-F238E27FC236}">
                <a16:creationId xmlns:a16="http://schemas.microsoft.com/office/drawing/2014/main" id="{2543658A-F395-4D21-90C1-69F04F86F462}"/>
              </a:ext>
            </a:extLst>
          </p:cNvPr>
          <p:cNvSpPr>
            <a:spLocks noChangeAspect="1"/>
          </p:cNvSpPr>
          <p:nvPr/>
        </p:nvSpPr>
        <p:spPr>
          <a:xfrm>
            <a:off x="3776392" y="2012039"/>
            <a:ext cx="464330" cy="346977"/>
          </a:xfrm>
          <a:custGeom>
            <a:avLst/>
            <a:gdLst/>
            <a:ahLst/>
            <a:cxnLst/>
            <a:rect l="l" t="t" r="r" b="b"/>
            <a:pathLst>
              <a:path w="3246245" h="2425805">
                <a:moveTo>
                  <a:pt x="2545666" y="706851"/>
                </a:moveTo>
                <a:cubicBezTo>
                  <a:pt x="2704742" y="706851"/>
                  <a:pt x="2833698" y="835807"/>
                  <a:pt x="2833698" y="994883"/>
                </a:cubicBezTo>
                <a:cubicBezTo>
                  <a:pt x="2833698" y="1153959"/>
                  <a:pt x="2704742" y="1282915"/>
                  <a:pt x="2545666" y="1282915"/>
                </a:cubicBezTo>
                <a:cubicBezTo>
                  <a:pt x="2386590" y="1282915"/>
                  <a:pt x="2257634" y="1153959"/>
                  <a:pt x="2257634" y="994883"/>
                </a:cubicBezTo>
                <a:cubicBezTo>
                  <a:pt x="2257634" y="835807"/>
                  <a:pt x="2386590" y="706851"/>
                  <a:pt x="2545666" y="706851"/>
                </a:cubicBezTo>
                <a:close/>
                <a:moveTo>
                  <a:pt x="700580" y="706851"/>
                </a:moveTo>
                <a:cubicBezTo>
                  <a:pt x="859656" y="706851"/>
                  <a:pt x="988612" y="835807"/>
                  <a:pt x="988612" y="994883"/>
                </a:cubicBezTo>
                <a:cubicBezTo>
                  <a:pt x="988612" y="1153959"/>
                  <a:pt x="859656" y="1282915"/>
                  <a:pt x="700580" y="1282915"/>
                </a:cubicBezTo>
                <a:cubicBezTo>
                  <a:pt x="541504" y="1282915"/>
                  <a:pt x="412548" y="1153959"/>
                  <a:pt x="412548" y="994883"/>
                </a:cubicBezTo>
                <a:cubicBezTo>
                  <a:pt x="412548" y="835807"/>
                  <a:pt x="541504" y="706851"/>
                  <a:pt x="700580" y="706851"/>
                </a:cubicBezTo>
                <a:close/>
                <a:moveTo>
                  <a:pt x="1619971" y="0"/>
                </a:moveTo>
                <a:cubicBezTo>
                  <a:pt x="1621025" y="5"/>
                  <a:pt x="1622076" y="12"/>
                  <a:pt x="1623123" y="141"/>
                </a:cubicBezTo>
                <a:cubicBezTo>
                  <a:pt x="1624170" y="12"/>
                  <a:pt x="1625221" y="5"/>
                  <a:pt x="1626275" y="0"/>
                </a:cubicBezTo>
                <a:lnTo>
                  <a:pt x="1626274" y="282"/>
                </a:lnTo>
                <a:cubicBezTo>
                  <a:pt x="1966825" y="4283"/>
                  <a:pt x="1974816" y="220494"/>
                  <a:pt x="2177568" y="171426"/>
                </a:cubicBezTo>
                <a:cubicBezTo>
                  <a:pt x="2600959" y="50212"/>
                  <a:pt x="2963165" y="85364"/>
                  <a:pt x="3172404" y="310875"/>
                </a:cubicBezTo>
                <a:cubicBezTo>
                  <a:pt x="3300075" y="473051"/>
                  <a:pt x="3301971" y="794993"/>
                  <a:pt x="2851767" y="1164523"/>
                </a:cubicBezTo>
                <a:cubicBezTo>
                  <a:pt x="2918303" y="1029844"/>
                  <a:pt x="2927052" y="857771"/>
                  <a:pt x="2799829" y="746887"/>
                </a:cubicBezTo>
                <a:cubicBezTo>
                  <a:pt x="3115459" y="786295"/>
                  <a:pt x="3165949" y="533368"/>
                  <a:pt x="3049873" y="419809"/>
                </a:cubicBezTo>
                <a:cubicBezTo>
                  <a:pt x="2811516" y="207658"/>
                  <a:pt x="2338612" y="298041"/>
                  <a:pt x="2253222" y="493802"/>
                </a:cubicBezTo>
                <a:cubicBezTo>
                  <a:pt x="2139861" y="783555"/>
                  <a:pt x="2165869" y="1185485"/>
                  <a:pt x="2076302" y="1369861"/>
                </a:cubicBezTo>
                <a:cubicBezTo>
                  <a:pt x="1906668" y="1634081"/>
                  <a:pt x="1716639" y="1881305"/>
                  <a:pt x="1713569" y="2080938"/>
                </a:cubicBezTo>
                <a:cubicBezTo>
                  <a:pt x="1706472" y="2158984"/>
                  <a:pt x="1709123" y="2405980"/>
                  <a:pt x="1625847" y="2423204"/>
                </a:cubicBezTo>
                <a:cubicBezTo>
                  <a:pt x="1625847" y="2424071"/>
                  <a:pt x="1625843" y="2424938"/>
                  <a:pt x="1625839" y="2425805"/>
                </a:cubicBezTo>
                <a:lnTo>
                  <a:pt x="1623123" y="2424507"/>
                </a:lnTo>
                <a:lnTo>
                  <a:pt x="1620407" y="2425805"/>
                </a:lnTo>
                <a:cubicBezTo>
                  <a:pt x="1620403" y="2424938"/>
                  <a:pt x="1620399" y="2424071"/>
                  <a:pt x="1620399" y="2423204"/>
                </a:cubicBezTo>
                <a:cubicBezTo>
                  <a:pt x="1537123" y="2405980"/>
                  <a:pt x="1539774" y="2158984"/>
                  <a:pt x="1532677" y="2080938"/>
                </a:cubicBezTo>
                <a:cubicBezTo>
                  <a:pt x="1529607" y="1881305"/>
                  <a:pt x="1339578" y="1634081"/>
                  <a:pt x="1169944" y="1369861"/>
                </a:cubicBezTo>
                <a:cubicBezTo>
                  <a:pt x="1080377" y="1185485"/>
                  <a:pt x="1106385" y="783555"/>
                  <a:pt x="993024" y="493802"/>
                </a:cubicBezTo>
                <a:cubicBezTo>
                  <a:pt x="907634" y="298041"/>
                  <a:pt x="434730" y="207658"/>
                  <a:pt x="196373" y="419809"/>
                </a:cubicBezTo>
                <a:cubicBezTo>
                  <a:pt x="80297" y="533368"/>
                  <a:pt x="130787" y="786295"/>
                  <a:pt x="446417" y="746887"/>
                </a:cubicBezTo>
                <a:cubicBezTo>
                  <a:pt x="319194" y="857771"/>
                  <a:pt x="327943" y="1029844"/>
                  <a:pt x="394479" y="1164523"/>
                </a:cubicBezTo>
                <a:cubicBezTo>
                  <a:pt x="-55725" y="794993"/>
                  <a:pt x="-53829" y="473051"/>
                  <a:pt x="73842" y="310875"/>
                </a:cubicBezTo>
                <a:cubicBezTo>
                  <a:pt x="283081" y="85364"/>
                  <a:pt x="645287" y="50212"/>
                  <a:pt x="1068678" y="171426"/>
                </a:cubicBezTo>
                <a:cubicBezTo>
                  <a:pt x="1271430" y="220494"/>
                  <a:pt x="1279421" y="4283"/>
                  <a:pt x="1619972" y="28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ko-KR" altLang="en-US" sz="2025" kern="1200">
              <a:solidFill>
                <a:prstClr val="white"/>
              </a:solidFill>
              <a:latin typeface="Arial"/>
            </a:endParaRPr>
          </a:p>
        </p:txBody>
      </p:sp>
      <p:grpSp>
        <p:nvGrpSpPr>
          <p:cNvPr id="45" name="Gender_equality" descr="{&quot;Key&quot;:&quot;POWER_USER_SHAPE_ICON&quot;,&quot;Value&quot;:&quot;POWER_USER_SHAPE_ICON_STYLE_1&quot;}">
            <a:extLst>
              <a:ext uri="{FF2B5EF4-FFF2-40B4-BE49-F238E27FC236}">
                <a16:creationId xmlns:a16="http://schemas.microsoft.com/office/drawing/2014/main" id="{BD81F41E-0AA7-402B-B51D-BFBA11183AB3}"/>
              </a:ext>
            </a:extLst>
          </p:cNvPr>
          <p:cNvGrpSpPr>
            <a:grpSpLocks noChangeAspect="1"/>
          </p:cNvGrpSpPr>
          <p:nvPr>
            <p:custDataLst>
              <p:tags r:id="rId1"/>
            </p:custDataLst>
          </p:nvPr>
        </p:nvGrpSpPr>
        <p:grpSpPr bwMode="auto">
          <a:xfrm>
            <a:off x="4931925" y="1864748"/>
            <a:ext cx="556930" cy="535553"/>
            <a:chOff x="4387" y="2716"/>
            <a:chExt cx="990" cy="952"/>
          </a:xfrm>
          <a:solidFill>
            <a:schemeClr val="bg1"/>
          </a:solidFill>
        </p:grpSpPr>
        <p:sp>
          <p:nvSpPr>
            <p:cNvPr id="46" name="Freeform 171">
              <a:extLst>
                <a:ext uri="{FF2B5EF4-FFF2-40B4-BE49-F238E27FC236}">
                  <a16:creationId xmlns:a16="http://schemas.microsoft.com/office/drawing/2014/main" id="{62B53B2C-8FFE-4C47-9913-43FA34D1A1A6}"/>
                </a:ext>
              </a:extLst>
            </p:cNvPr>
            <p:cNvSpPr>
              <a:spLocks/>
            </p:cNvSpPr>
            <p:nvPr/>
          </p:nvSpPr>
          <p:spPr bwMode="auto">
            <a:xfrm>
              <a:off x="4562" y="2912"/>
              <a:ext cx="628" cy="26"/>
            </a:xfrm>
            <a:custGeom>
              <a:avLst/>
              <a:gdLst>
                <a:gd name="T0" fmla="*/ 12963 w 13244"/>
                <a:gd name="T1" fmla="*/ 561 h 561"/>
                <a:gd name="T2" fmla="*/ 281 w 13244"/>
                <a:gd name="T3" fmla="*/ 561 h 561"/>
                <a:gd name="T4" fmla="*/ 0 w 13244"/>
                <a:gd name="T5" fmla="*/ 280 h 561"/>
                <a:gd name="T6" fmla="*/ 281 w 13244"/>
                <a:gd name="T7" fmla="*/ 0 h 561"/>
                <a:gd name="T8" fmla="*/ 12963 w 13244"/>
                <a:gd name="T9" fmla="*/ 0 h 561"/>
                <a:gd name="T10" fmla="*/ 13244 w 13244"/>
                <a:gd name="T11" fmla="*/ 280 h 561"/>
                <a:gd name="T12" fmla="*/ 12963 w 13244"/>
                <a:gd name="T13" fmla="*/ 561 h 561"/>
              </a:gdLst>
              <a:ahLst/>
              <a:cxnLst>
                <a:cxn ang="0">
                  <a:pos x="T0" y="T1"/>
                </a:cxn>
                <a:cxn ang="0">
                  <a:pos x="T2" y="T3"/>
                </a:cxn>
                <a:cxn ang="0">
                  <a:pos x="T4" y="T5"/>
                </a:cxn>
                <a:cxn ang="0">
                  <a:pos x="T6" y="T7"/>
                </a:cxn>
                <a:cxn ang="0">
                  <a:pos x="T8" y="T9"/>
                </a:cxn>
                <a:cxn ang="0">
                  <a:pos x="T10" y="T11"/>
                </a:cxn>
                <a:cxn ang="0">
                  <a:pos x="T12" y="T13"/>
                </a:cxn>
              </a:cxnLst>
              <a:rect l="0" t="0" r="r" b="b"/>
              <a:pathLst>
                <a:path w="13244" h="561">
                  <a:moveTo>
                    <a:pt x="12963" y="561"/>
                  </a:moveTo>
                  <a:lnTo>
                    <a:pt x="281" y="561"/>
                  </a:lnTo>
                  <a:cubicBezTo>
                    <a:pt x="125" y="561"/>
                    <a:pt x="0" y="436"/>
                    <a:pt x="0" y="280"/>
                  </a:cubicBezTo>
                  <a:cubicBezTo>
                    <a:pt x="0" y="125"/>
                    <a:pt x="125" y="0"/>
                    <a:pt x="281" y="0"/>
                  </a:cubicBezTo>
                  <a:lnTo>
                    <a:pt x="12963" y="0"/>
                  </a:lnTo>
                  <a:cubicBezTo>
                    <a:pt x="13118" y="0"/>
                    <a:pt x="13244" y="125"/>
                    <a:pt x="13244" y="280"/>
                  </a:cubicBezTo>
                  <a:cubicBezTo>
                    <a:pt x="13244" y="436"/>
                    <a:pt x="13118" y="561"/>
                    <a:pt x="12963" y="561"/>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47" name="Freeform 172">
              <a:extLst>
                <a:ext uri="{FF2B5EF4-FFF2-40B4-BE49-F238E27FC236}">
                  <a16:creationId xmlns:a16="http://schemas.microsoft.com/office/drawing/2014/main" id="{2510D37E-85BF-4CBD-B59E-2D3ACAE40DD0}"/>
                </a:ext>
              </a:extLst>
            </p:cNvPr>
            <p:cNvSpPr>
              <a:spLocks noEditPoints="1"/>
            </p:cNvSpPr>
            <p:nvPr/>
          </p:nvSpPr>
          <p:spPr bwMode="auto">
            <a:xfrm>
              <a:off x="4789" y="2839"/>
              <a:ext cx="172" cy="172"/>
            </a:xfrm>
            <a:custGeom>
              <a:avLst/>
              <a:gdLst>
                <a:gd name="T0" fmla="*/ 1811 w 3622"/>
                <a:gd name="T1" fmla="*/ 3623 h 3623"/>
                <a:gd name="T2" fmla="*/ 0 w 3622"/>
                <a:gd name="T3" fmla="*/ 1811 h 3623"/>
                <a:gd name="T4" fmla="*/ 1811 w 3622"/>
                <a:gd name="T5" fmla="*/ 0 h 3623"/>
                <a:gd name="T6" fmla="*/ 3622 w 3622"/>
                <a:gd name="T7" fmla="*/ 1811 h 3623"/>
                <a:gd name="T8" fmla="*/ 1811 w 3622"/>
                <a:gd name="T9" fmla="*/ 3623 h 3623"/>
                <a:gd name="T10" fmla="*/ 1811 w 3622"/>
                <a:gd name="T11" fmla="*/ 498 h 3623"/>
                <a:gd name="T12" fmla="*/ 498 w 3622"/>
                <a:gd name="T13" fmla="*/ 1811 h 3623"/>
                <a:gd name="T14" fmla="*/ 1811 w 3622"/>
                <a:gd name="T15" fmla="*/ 3125 h 3623"/>
                <a:gd name="T16" fmla="*/ 3124 w 3622"/>
                <a:gd name="T17" fmla="*/ 1811 h 3623"/>
                <a:gd name="T18" fmla="*/ 1811 w 3622"/>
                <a:gd name="T19" fmla="*/ 498 h 3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2" h="3623">
                  <a:moveTo>
                    <a:pt x="1811" y="3623"/>
                  </a:moveTo>
                  <a:cubicBezTo>
                    <a:pt x="812" y="3623"/>
                    <a:pt x="0" y="2810"/>
                    <a:pt x="0" y="1811"/>
                  </a:cubicBezTo>
                  <a:cubicBezTo>
                    <a:pt x="0" y="813"/>
                    <a:pt x="812" y="0"/>
                    <a:pt x="1811" y="0"/>
                  </a:cubicBezTo>
                  <a:cubicBezTo>
                    <a:pt x="2810" y="0"/>
                    <a:pt x="3622" y="813"/>
                    <a:pt x="3622" y="1811"/>
                  </a:cubicBezTo>
                  <a:cubicBezTo>
                    <a:pt x="3622" y="2810"/>
                    <a:pt x="2810" y="3623"/>
                    <a:pt x="1811" y="3623"/>
                  </a:cubicBezTo>
                  <a:close/>
                  <a:moveTo>
                    <a:pt x="1811" y="498"/>
                  </a:moveTo>
                  <a:cubicBezTo>
                    <a:pt x="1087" y="498"/>
                    <a:pt x="498" y="1087"/>
                    <a:pt x="498" y="1811"/>
                  </a:cubicBezTo>
                  <a:cubicBezTo>
                    <a:pt x="498" y="2536"/>
                    <a:pt x="1087" y="3125"/>
                    <a:pt x="1811" y="3125"/>
                  </a:cubicBezTo>
                  <a:cubicBezTo>
                    <a:pt x="2535" y="3125"/>
                    <a:pt x="3124" y="2536"/>
                    <a:pt x="3124" y="1811"/>
                  </a:cubicBezTo>
                  <a:cubicBezTo>
                    <a:pt x="3124" y="1087"/>
                    <a:pt x="2535" y="498"/>
                    <a:pt x="1811" y="498"/>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48" name="Freeform 173">
              <a:extLst>
                <a:ext uri="{FF2B5EF4-FFF2-40B4-BE49-F238E27FC236}">
                  <a16:creationId xmlns:a16="http://schemas.microsoft.com/office/drawing/2014/main" id="{D0ECDFB5-D64C-48E5-858F-A24137E6B453}"/>
                </a:ext>
              </a:extLst>
            </p:cNvPr>
            <p:cNvSpPr>
              <a:spLocks noEditPoints="1"/>
            </p:cNvSpPr>
            <p:nvPr/>
          </p:nvSpPr>
          <p:spPr bwMode="auto">
            <a:xfrm>
              <a:off x="4840" y="3065"/>
              <a:ext cx="74" cy="454"/>
            </a:xfrm>
            <a:custGeom>
              <a:avLst/>
              <a:gdLst>
                <a:gd name="T0" fmla="*/ 0 w 1567"/>
                <a:gd name="T1" fmla="*/ 0 h 9557"/>
                <a:gd name="T2" fmla="*/ 0 w 1567"/>
                <a:gd name="T3" fmla="*/ 9557 h 9557"/>
                <a:gd name="T4" fmla="*/ 1567 w 1567"/>
                <a:gd name="T5" fmla="*/ 9557 h 9557"/>
                <a:gd name="T6" fmla="*/ 1567 w 1567"/>
                <a:gd name="T7" fmla="*/ 0 h 9557"/>
                <a:gd name="T8" fmla="*/ 0 w 1567"/>
                <a:gd name="T9" fmla="*/ 0 h 9557"/>
                <a:gd name="T10" fmla="*/ 913 w 1567"/>
                <a:gd name="T11" fmla="*/ 5300 h 9557"/>
                <a:gd name="T12" fmla="*/ 747 w 1567"/>
                <a:gd name="T13" fmla="*/ 5466 h 9557"/>
                <a:gd name="T14" fmla="*/ 581 w 1567"/>
                <a:gd name="T15" fmla="*/ 5300 h 9557"/>
                <a:gd name="T16" fmla="*/ 581 w 1567"/>
                <a:gd name="T17" fmla="*/ 242 h 9557"/>
                <a:gd name="T18" fmla="*/ 747 w 1567"/>
                <a:gd name="T19" fmla="*/ 76 h 9557"/>
                <a:gd name="T20" fmla="*/ 913 w 1567"/>
                <a:gd name="T21" fmla="*/ 242 h 9557"/>
                <a:gd name="T22" fmla="*/ 913 w 1567"/>
                <a:gd name="T23" fmla="*/ 5300 h 9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7" h="9557">
                  <a:moveTo>
                    <a:pt x="0" y="0"/>
                  </a:moveTo>
                  <a:lnTo>
                    <a:pt x="0" y="9557"/>
                  </a:lnTo>
                  <a:lnTo>
                    <a:pt x="1567" y="9557"/>
                  </a:lnTo>
                  <a:lnTo>
                    <a:pt x="1567" y="0"/>
                  </a:lnTo>
                  <a:lnTo>
                    <a:pt x="0" y="0"/>
                  </a:lnTo>
                  <a:close/>
                  <a:moveTo>
                    <a:pt x="913" y="5300"/>
                  </a:moveTo>
                  <a:cubicBezTo>
                    <a:pt x="913" y="5392"/>
                    <a:pt x="839" y="5466"/>
                    <a:pt x="747" y="5466"/>
                  </a:cubicBezTo>
                  <a:cubicBezTo>
                    <a:pt x="655" y="5466"/>
                    <a:pt x="581" y="5392"/>
                    <a:pt x="581" y="5300"/>
                  </a:cubicBezTo>
                  <a:lnTo>
                    <a:pt x="581" y="242"/>
                  </a:lnTo>
                  <a:cubicBezTo>
                    <a:pt x="581" y="150"/>
                    <a:pt x="655" y="76"/>
                    <a:pt x="747" y="76"/>
                  </a:cubicBezTo>
                  <a:cubicBezTo>
                    <a:pt x="839" y="76"/>
                    <a:pt x="913" y="150"/>
                    <a:pt x="913" y="242"/>
                  </a:cubicBezTo>
                  <a:lnTo>
                    <a:pt x="913" y="530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49" name="Freeform 174">
              <a:extLst>
                <a:ext uri="{FF2B5EF4-FFF2-40B4-BE49-F238E27FC236}">
                  <a16:creationId xmlns:a16="http://schemas.microsoft.com/office/drawing/2014/main" id="{316A4A65-5F5D-4431-B28B-7E7E6871568C}"/>
                </a:ext>
              </a:extLst>
            </p:cNvPr>
            <p:cNvSpPr>
              <a:spLocks/>
            </p:cNvSpPr>
            <p:nvPr/>
          </p:nvSpPr>
          <p:spPr bwMode="auto">
            <a:xfrm>
              <a:off x="4798" y="3533"/>
              <a:ext cx="154" cy="36"/>
            </a:xfrm>
            <a:custGeom>
              <a:avLst/>
              <a:gdLst>
                <a:gd name="T0" fmla="*/ 2872 w 3254"/>
                <a:gd name="T1" fmla="*/ 764 h 764"/>
                <a:gd name="T2" fmla="*/ 382 w 3254"/>
                <a:gd name="T3" fmla="*/ 764 h 764"/>
                <a:gd name="T4" fmla="*/ 0 w 3254"/>
                <a:gd name="T5" fmla="*/ 382 h 764"/>
                <a:gd name="T6" fmla="*/ 382 w 3254"/>
                <a:gd name="T7" fmla="*/ 0 h 764"/>
                <a:gd name="T8" fmla="*/ 2872 w 3254"/>
                <a:gd name="T9" fmla="*/ 0 h 764"/>
                <a:gd name="T10" fmla="*/ 3254 w 3254"/>
                <a:gd name="T11" fmla="*/ 382 h 764"/>
                <a:gd name="T12" fmla="*/ 2872 w 3254"/>
                <a:gd name="T13" fmla="*/ 764 h 764"/>
              </a:gdLst>
              <a:ahLst/>
              <a:cxnLst>
                <a:cxn ang="0">
                  <a:pos x="T0" y="T1"/>
                </a:cxn>
                <a:cxn ang="0">
                  <a:pos x="T2" y="T3"/>
                </a:cxn>
                <a:cxn ang="0">
                  <a:pos x="T4" y="T5"/>
                </a:cxn>
                <a:cxn ang="0">
                  <a:pos x="T6" y="T7"/>
                </a:cxn>
                <a:cxn ang="0">
                  <a:pos x="T8" y="T9"/>
                </a:cxn>
                <a:cxn ang="0">
                  <a:pos x="T10" y="T11"/>
                </a:cxn>
                <a:cxn ang="0">
                  <a:pos x="T12" y="T13"/>
                </a:cxn>
              </a:cxnLst>
              <a:rect l="0" t="0" r="r" b="b"/>
              <a:pathLst>
                <a:path w="3254" h="764">
                  <a:moveTo>
                    <a:pt x="2872" y="764"/>
                  </a:moveTo>
                  <a:lnTo>
                    <a:pt x="382" y="764"/>
                  </a:lnTo>
                  <a:cubicBezTo>
                    <a:pt x="171" y="764"/>
                    <a:pt x="0" y="593"/>
                    <a:pt x="0" y="382"/>
                  </a:cubicBezTo>
                  <a:cubicBezTo>
                    <a:pt x="0" y="171"/>
                    <a:pt x="171" y="0"/>
                    <a:pt x="382" y="0"/>
                  </a:cubicBezTo>
                  <a:lnTo>
                    <a:pt x="2872" y="0"/>
                  </a:lnTo>
                  <a:cubicBezTo>
                    <a:pt x="3083" y="0"/>
                    <a:pt x="3254" y="171"/>
                    <a:pt x="3254" y="382"/>
                  </a:cubicBezTo>
                  <a:cubicBezTo>
                    <a:pt x="3254" y="593"/>
                    <a:pt x="3083" y="764"/>
                    <a:pt x="2872" y="76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0" name="Freeform 175">
              <a:extLst>
                <a:ext uri="{FF2B5EF4-FFF2-40B4-BE49-F238E27FC236}">
                  <a16:creationId xmlns:a16="http://schemas.microsoft.com/office/drawing/2014/main" id="{07AB547F-5801-4926-9605-36139C4C8BE8}"/>
                </a:ext>
              </a:extLst>
            </p:cNvPr>
            <p:cNvSpPr>
              <a:spLocks/>
            </p:cNvSpPr>
            <p:nvPr/>
          </p:nvSpPr>
          <p:spPr bwMode="auto">
            <a:xfrm>
              <a:off x="4726" y="3581"/>
              <a:ext cx="298" cy="36"/>
            </a:xfrm>
            <a:custGeom>
              <a:avLst/>
              <a:gdLst>
                <a:gd name="T0" fmla="*/ 5882 w 6264"/>
                <a:gd name="T1" fmla="*/ 764 h 764"/>
                <a:gd name="T2" fmla="*/ 382 w 6264"/>
                <a:gd name="T3" fmla="*/ 764 h 764"/>
                <a:gd name="T4" fmla="*/ 0 w 6264"/>
                <a:gd name="T5" fmla="*/ 382 h 764"/>
                <a:gd name="T6" fmla="*/ 382 w 6264"/>
                <a:gd name="T7" fmla="*/ 0 h 764"/>
                <a:gd name="T8" fmla="*/ 5882 w 6264"/>
                <a:gd name="T9" fmla="*/ 0 h 764"/>
                <a:gd name="T10" fmla="*/ 6264 w 6264"/>
                <a:gd name="T11" fmla="*/ 382 h 764"/>
                <a:gd name="T12" fmla="*/ 5882 w 6264"/>
                <a:gd name="T13" fmla="*/ 764 h 764"/>
              </a:gdLst>
              <a:ahLst/>
              <a:cxnLst>
                <a:cxn ang="0">
                  <a:pos x="T0" y="T1"/>
                </a:cxn>
                <a:cxn ang="0">
                  <a:pos x="T2" y="T3"/>
                </a:cxn>
                <a:cxn ang="0">
                  <a:pos x="T4" y="T5"/>
                </a:cxn>
                <a:cxn ang="0">
                  <a:pos x="T6" y="T7"/>
                </a:cxn>
                <a:cxn ang="0">
                  <a:pos x="T8" y="T9"/>
                </a:cxn>
                <a:cxn ang="0">
                  <a:pos x="T10" y="T11"/>
                </a:cxn>
                <a:cxn ang="0">
                  <a:pos x="T12" y="T13"/>
                </a:cxn>
              </a:cxnLst>
              <a:rect l="0" t="0" r="r" b="b"/>
              <a:pathLst>
                <a:path w="6264" h="764">
                  <a:moveTo>
                    <a:pt x="5882" y="764"/>
                  </a:moveTo>
                  <a:lnTo>
                    <a:pt x="382" y="764"/>
                  </a:lnTo>
                  <a:cubicBezTo>
                    <a:pt x="171" y="764"/>
                    <a:pt x="0" y="593"/>
                    <a:pt x="0" y="382"/>
                  </a:cubicBezTo>
                  <a:cubicBezTo>
                    <a:pt x="0" y="171"/>
                    <a:pt x="171" y="0"/>
                    <a:pt x="382" y="0"/>
                  </a:cubicBezTo>
                  <a:lnTo>
                    <a:pt x="5882" y="0"/>
                  </a:lnTo>
                  <a:cubicBezTo>
                    <a:pt x="6093" y="0"/>
                    <a:pt x="6264" y="171"/>
                    <a:pt x="6264" y="382"/>
                  </a:cubicBezTo>
                  <a:cubicBezTo>
                    <a:pt x="6264" y="593"/>
                    <a:pt x="6093" y="764"/>
                    <a:pt x="5882" y="76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1" name="Freeform 176">
              <a:extLst>
                <a:ext uri="{FF2B5EF4-FFF2-40B4-BE49-F238E27FC236}">
                  <a16:creationId xmlns:a16="http://schemas.microsoft.com/office/drawing/2014/main" id="{DE5F569E-17EB-499F-81F7-2BD0B1EE3069}"/>
                </a:ext>
              </a:extLst>
            </p:cNvPr>
            <p:cNvSpPr>
              <a:spLocks/>
            </p:cNvSpPr>
            <p:nvPr/>
          </p:nvSpPr>
          <p:spPr bwMode="auto">
            <a:xfrm>
              <a:off x="4638" y="3631"/>
              <a:ext cx="474" cy="37"/>
            </a:xfrm>
            <a:custGeom>
              <a:avLst/>
              <a:gdLst>
                <a:gd name="T0" fmla="*/ 9601 w 9983"/>
                <a:gd name="T1" fmla="*/ 764 h 764"/>
                <a:gd name="T2" fmla="*/ 381 w 9983"/>
                <a:gd name="T3" fmla="*/ 764 h 764"/>
                <a:gd name="T4" fmla="*/ 0 w 9983"/>
                <a:gd name="T5" fmla="*/ 382 h 764"/>
                <a:gd name="T6" fmla="*/ 381 w 9983"/>
                <a:gd name="T7" fmla="*/ 0 h 764"/>
                <a:gd name="T8" fmla="*/ 9601 w 9983"/>
                <a:gd name="T9" fmla="*/ 0 h 764"/>
                <a:gd name="T10" fmla="*/ 9983 w 9983"/>
                <a:gd name="T11" fmla="*/ 382 h 764"/>
                <a:gd name="T12" fmla="*/ 9601 w 9983"/>
                <a:gd name="T13" fmla="*/ 764 h 764"/>
              </a:gdLst>
              <a:ahLst/>
              <a:cxnLst>
                <a:cxn ang="0">
                  <a:pos x="T0" y="T1"/>
                </a:cxn>
                <a:cxn ang="0">
                  <a:pos x="T2" y="T3"/>
                </a:cxn>
                <a:cxn ang="0">
                  <a:pos x="T4" y="T5"/>
                </a:cxn>
                <a:cxn ang="0">
                  <a:pos x="T6" y="T7"/>
                </a:cxn>
                <a:cxn ang="0">
                  <a:pos x="T8" y="T9"/>
                </a:cxn>
                <a:cxn ang="0">
                  <a:pos x="T10" y="T11"/>
                </a:cxn>
                <a:cxn ang="0">
                  <a:pos x="T12" y="T13"/>
                </a:cxn>
              </a:cxnLst>
              <a:rect l="0" t="0" r="r" b="b"/>
              <a:pathLst>
                <a:path w="9983" h="764">
                  <a:moveTo>
                    <a:pt x="9601" y="764"/>
                  </a:moveTo>
                  <a:lnTo>
                    <a:pt x="381" y="764"/>
                  </a:lnTo>
                  <a:cubicBezTo>
                    <a:pt x="171" y="764"/>
                    <a:pt x="0" y="593"/>
                    <a:pt x="0" y="382"/>
                  </a:cubicBezTo>
                  <a:cubicBezTo>
                    <a:pt x="0" y="171"/>
                    <a:pt x="171" y="0"/>
                    <a:pt x="381" y="0"/>
                  </a:cubicBezTo>
                  <a:lnTo>
                    <a:pt x="9601" y="0"/>
                  </a:lnTo>
                  <a:cubicBezTo>
                    <a:pt x="9812" y="0"/>
                    <a:pt x="9983" y="171"/>
                    <a:pt x="9983" y="382"/>
                  </a:cubicBezTo>
                  <a:cubicBezTo>
                    <a:pt x="9983" y="593"/>
                    <a:pt x="9812" y="764"/>
                    <a:pt x="9601" y="76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2" name="Freeform 177">
              <a:extLst>
                <a:ext uri="{FF2B5EF4-FFF2-40B4-BE49-F238E27FC236}">
                  <a16:creationId xmlns:a16="http://schemas.microsoft.com/office/drawing/2014/main" id="{FB59CFF8-ED71-49B2-9AE4-424B12447E07}"/>
                </a:ext>
              </a:extLst>
            </p:cNvPr>
            <p:cNvSpPr>
              <a:spLocks/>
            </p:cNvSpPr>
            <p:nvPr/>
          </p:nvSpPr>
          <p:spPr bwMode="auto">
            <a:xfrm>
              <a:off x="4420" y="2970"/>
              <a:ext cx="323" cy="351"/>
            </a:xfrm>
            <a:custGeom>
              <a:avLst/>
              <a:gdLst>
                <a:gd name="T0" fmla="*/ 3400 w 6800"/>
                <a:gd name="T1" fmla="*/ 0 h 7371"/>
                <a:gd name="T2" fmla="*/ 0 w 6800"/>
                <a:gd name="T3" fmla="*/ 7371 h 7371"/>
                <a:gd name="T4" fmla="*/ 649 w 6800"/>
                <a:gd name="T5" fmla="*/ 7371 h 7371"/>
                <a:gd name="T6" fmla="*/ 3400 w 6800"/>
                <a:gd name="T7" fmla="*/ 1474 h 7371"/>
                <a:gd name="T8" fmla="*/ 6152 w 6800"/>
                <a:gd name="T9" fmla="*/ 7371 h 7371"/>
                <a:gd name="T10" fmla="*/ 6800 w 6800"/>
                <a:gd name="T11" fmla="*/ 7371 h 7371"/>
                <a:gd name="T12" fmla="*/ 3400 w 6800"/>
                <a:gd name="T13" fmla="*/ 0 h 7371"/>
              </a:gdLst>
              <a:ahLst/>
              <a:cxnLst>
                <a:cxn ang="0">
                  <a:pos x="T0" y="T1"/>
                </a:cxn>
                <a:cxn ang="0">
                  <a:pos x="T2" y="T3"/>
                </a:cxn>
                <a:cxn ang="0">
                  <a:pos x="T4" y="T5"/>
                </a:cxn>
                <a:cxn ang="0">
                  <a:pos x="T6" y="T7"/>
                </a:cxn>
                <a:cxn ang="0">
                  <a:pos x="T8" y="T9"/>
                </a:cxn>
                <a:cxn ang="0">
                  <a:pos x="T10" y="T11"/>
                </a:cxn>
                <a:cxn ang="0">
                  <a:pos x="T12" y="T13"/>
                </a:cxn>
              </a:cxnLst>
              <a:rect l="0" t="0" r="r" b="b"/>
              <a:pathLst>
                <a:path w="6800" h="7371">
                  <a:moveTo>
                    <a:pt x="3400" y="0"/>
                  </a:moveTo>
                  <a:lnTo>
                    <a:pt x="0" y="7371"/>
                  </a:lnTo>
                  <a:lnTo>
                    <a:pt x="649" y="7371"/>
                  </a:lnTo>
                  <a:lnTo>
                    <a:pt x="3400" y="1474"/>
                  </a:lnTo>
                  <a:lnTo>
                    <a:pt x="6152" y="7371"/>
                  </a:lnTo>
                  <a:lnTo>
                    <a:pt x="6800" y="7371"/>
                  </a:lnTo>
                  <a:lnTo>
                    <a:pt x="340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3" name="Freeform 178">
              <a:extLst>
                <a:ext uri="{FF2B5EF4-FFF2-40B4-BE49-F238E27FC236}">
                  <a16:creationId xmlns:a16="http://schemas.microsoft.com/office/drawing/2014/main" id="{A384428B-0AC0-44F4-AE51-FA214F7C8CAB}"/>
                </a:ext>
              </a:extLst>
            </p:cNvPr>
            <p:cNvSpPr>
              <a:spLocks/>
            </p:cNvSpPr>
            <p:nvPr/>
          </p:nvSpPr>
          <p:spPr bwMode="auto">
            <a:xfrm>
              <a:off x="4387" y="3336"/>
              <a:ext cx="389" cy="31"/>
            </a:xfrm>
            <a:custGeom>
              <a:avLst/>
              <a:gdLst>
                <a:gd name="T0" fmla="*/ 7852 w 8184"/>
                <a:gd name="T1" fmla="*/ 664 h 664"/>
                <a:gd name="T2" fmla="*/ 332 w 8184"/>
                <a:gd name="T3" fmla="*/ 664 h 664"/>
                <a:gd name="T4" fmla="*/ 0 w 8184"/>
                <a:gd name="T5" fmla="*/ 332 h 664"/>
                <a:gd name="T6" fmla="*/ 332 w 8184"/>
                <a:gd name="T7" fmla="*/ 0 h 664"/>
                <a:gd name="T8" fmla="*/ 7852 w 8184"/>
                <a:gd name="T9" fmla="*/ 0 h 664"/>
                <a:gd name="T10" fmla="*/ 8184 w 8184"/>
                <a:gd name="T11" fmla="*/ 332 h 664"/>
                <a:gd name="T12" fmla="*/ 7852 w 8184"/>
                <a:gd name="T13" fmla="*/ 664 h 664"/>
              </a:gdLst>
              <a:ahLst/>
              <a:cxnLst>
                <a:cxn ang="0">
                  <a:pos x="T0" y="T1"/>
                </a:cxn>
                <a:cxn ang="0">
                  <a:pos x="T2" y="T3"/>
                </a:cxn>
                <a:cxn ang="0">
                  <a:pos x="T4" y="T5"/>
                </a:cxn>
                <a:cxn ang="0">
                  <a:pos x="T6" y="T7"/>
                </a:cxn>
                <a:cxn ang="0">
                  <a:pos x="T8" y="T9"/>
                </a:cxn>
                <a:cxn ang="0">
                  <a:pos x="T10" y="T11"/>
                </a:cxn>
                <a:cxn ang="0">
                  <a:pos x="T12" y="T13"/>
                </a:cxn>
              </a:cxnLst>
              <a:rect l="0" t="0" r="r" b="b"/>
              <a:pathLst>
                <a:path w="8184" h="664">
                  <a:moveTo>
                    <a:pt x="7852" y="664"/>
                  </a:moveTo>
                  <a:lnTo>
                    <a:pt x="332" y="664"/>
                  </a:lnTo>
                  <a:cubicBezTo>
                    <a:pt x="148" y="664"/>
                    <a:pt x="0" y="515"/>
                    <a:pt x="0" y="332"/>
                  </a:cubicBezTo>
                  <a:cubicBezTo>
                    <a:pt x="0" y="148"/>
                    <a:pt x="148" y="0"/>
                    <a:pt x="332" y="0"/>
                  </a:cubicBezTo>
                  <a:lnTo>
                    <a:pt x="7852" y="0"/>
                  </a:lnTo>
                  <a:cubicBezTo>
                    <a:pt x="8035" y="0"/>
                    <a:pt x="8184" y="148"/>
                    <a:pt x="8184" y="332"/>
                  </a:cubicBezTo>
                  <a:cubicBezTo>
                    <a:pt x="8184" y="515"/>
                    <a:pt x="8035" y="664"/>
                    <a:pt x="7852" y="66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4" name="Freeform 179">
              <a:extLst>
                <a:ext uri="{FF2B5EF4-FFF2-40B4-BE49-F238E27FC236}">
                  <a16:creationId xmlns:a16="http://schemas.microsoft.com/office/drawing/2014/main" id="{2291F00A-752F-4B0E-BA34-0FB107CD4BB3}"/>
                </a:ext>
              </a:extLst>
            </p:cNvPr>
            <p:cNvSpPr>
              <a:spLocks/>
            </p:cNvSpPr>
            <p:nvPr/>
          </p:nvSpPr>
          <p:spPr bwMode="auto">
            <a:xfrm>
              <a:off x="4425" y="3379"/>
              <a:ext cx="312" cy="118"/>
            </a:xfrm>
            <a:custGeom>
              <a:avLst/>
              <a:gdLst>
                <a:gd name="T0" fmla="*/ 0 w 6567"/>
                <a:gd name="T1" fmla="*/ 0 h 2495"/>
                <a:gd name="T2" fmla="*/ 3283 w 6567"/>
                <a:gd name="T3" fmla="*/ 2495 h 2495"/>
                <a:gd name="T4" fmla="*/ 6567 w 6567"/>
                <a:gd name="T5" fmla="*/ 0 h 2495"/>
                <a:gd name="T6" fmla="*/ 0 w 6567"/>
                <a:gd name="T7" fmla="*/ 0 h 2495"/>
              </a:gdLst>
              <a:ahLst/>
              <a:cxnLst>
                <a:cxn ang="0">
                  <a:pos x="T0" y="T1"/>
                </a:cxn>
                <a:cxn ang="0">
                  <a:pos x="T2" y="T3"/>
                </a:cxn>
                <a:cxn ang="0">
                  <a:pos x="T4" y="T5"/>
                </a:cxn>
                <a:cxn ang="0">
                  <a:pos x="T6" y="T7"/>
                </a:cxn>
              </a:cxnLst>
              <a:rect l="0" t="0" r="r" b="b"/>
              <a:pathLst>
                <a:path w="6567" h="2495">
                  <a:moveTo>
                    <a:pt x="0" y="0"/>
                  </a:moveTo>
                  <a:cubicBezTo>
                    <a:pt x="398" y="1439"/>
                    <a:pt x="1717" y="2495"/>
                    <a:pt x="3283" y="2495"/>
                  </a:cubicBezTo>
                  <a:cubicBezTo>
                    <a:pt x="4849" y="2495"/>
                    <a:pt x="6168" y="1439"/>
                    <a:pt x="6567" y="0"/>
                  </a:cubicBez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5" name="Freeform 180">
              <a:extLst>
                <a:ext uri="{FF2B5EF4-FFF2-40B4-BE49-F238E27FC236}">
                  <a16:creationId xmlns:a16="http://schemas.microsoft.com/office/drawing/2014/main" id="{E86856CE-C11A-414D-BD1C-B501BF76F0AC}"/>
                </a:ext>
              </a:extLst>
            </p:cNvPr>
            <p:cNvSpPr>
              <a:spLocks/>
            </p:cNvSpPr>
            <p:nvPr/>
          </p:nvSpPr>
          <p:spPr bwMode="auto">
            <a:xfrm>
              <a:off x="5008" y="2970"/>
              <a:ext cx="323" cy="351"/>
            </a:xfrm>
            <a:custGeom>
              <a:avLst/>
              <a:gdLst>
                <a:gd name="T0" fmla="*/ 3401 w 6801"/>
                <a:gd name="T1" fmla="*/ 0 h 7371"/>
                <a:gd name="T2" fmla="*/ 6801 w 6801"/>
                <a:gd name="T3" fmla="*/ 7371 h 7371"/>
                <a:gd name="T4" fmla="*/ 6152 w 6801"/>
                <a:gd name="T5" fmla="*/ 7371 h 7371"/>
                <a:gd name="T6" fmla="*/ 3401 w 6801"/>
                <a:gd name="T7" fmla="*/ 1474 h 7371"/>
                <a:gd name="T8" fmla="*/ 649 w 6801"/>
                <a:gd name="T9" fmla="*/ 7371 h 7371"/>
                <a:gd name="T10" fmla="*/ 0 w 6801"/>
                <a:gd name="T11" fmla="*/ 7371 h 7371"/>
                <a:gd name="T12" fmla="*/ 3401 w 6801"/>
                <a:gd name="T13" fmla="*/ 0 h 7371"/>
              </a:gdLst>
              <a:ahLst/>
              <a:cxnLst>
                <a:cxn ang="0">
                  <a:pos x="T0" y="T1"/>
                </a:cxn>
                <a:cxn ang="0">
                  <a:pos x="T2" y="T3"/>
                </a:cxn>
                <a:cxn ang="0">
                  <a:pos x="T4" y="T5"/>
                </a:cxn>
                <a:cxn ang="0">
                  <a:pos x="T6" y="T7"/>
                </a:cxn>
                <a:cxn ang="0">
                  <a:pos x="T8" y="T9"/>
                </a:cxn>
                <a:cxn ang="0">
                  <a:pos x="T10" y="T11"/>
                </a:cxn>
                <a:cxn ang="0">
                  <a:pos x="T12" y="T13"/>
                </a:cxn>
              </a:cxnLst>
              <a:rect l="0" t="0" r="r" b="b"/>
              <a:pathLst>
                <a:path w="6801" h="7371">
                  <a:moveTo>
                    <a:pt x="3401" y="0"/>
                  </a:moveTo>
                  <a:lnTo>
                    <a:pt x="6801" y="7371"/>
                  </a:lnTo>
                  <a:lnTo>
                    <a:pt x="6152" y="7371"/>
                  </a:lnTo>
                  <a:lnTo>
                    <a:pt x="3401" y="1474"/>
                  </a:lnTo>
                  <a:lnTo>
                    <a:pt x="649" y="7371"/>
                  </a:lnTo>
                  <a:lnTo>
                    <a:pt x="0" y="7371"/>
                  </a:lnTo>
                  <a:lnTo>
                    <a:pt x="340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6" name="Freeform 181">
              <a:extLst>
                <a:ext uri="{FF2B5EF4-FFF2-40B4-BE49-F238E27FC236}">
                  <a16:creationId xmlns:a16="http://schemas.microsoft.com/office/drawing/2014/main" id="{05A19BD8-872F-4E46-B854-D997958CB40E}"/>
                </a:ext>
              </a:extLst>
            </p:cNvPr>
            <p:cNvSpPr>
              <a:spLocks/>
            </p:cNvSpPr>
            <p:nvPr/>
          </p:nvSpPr>
          <p:spPr bwMode="auto">
            <a:xfrm>
              <a:off x="4988" y="3336"/>
              <a:ext cx="389" cy="31"/>
            </a:xfrm>
            <a:custGeom>
              <a:avLst/>
              <a:gdLst>
                <a:gd name="T0" fmla="*/ 7852 w 8184"/>
                <a:gd name="T1" fmla="*/ 664 h 664"/>
                <a:gd name="T2" fmla="*/ 332 w 8184"/>
                <a:gd name="T3" fmla="*/ 664 h 664"/>
                <a:gd name="T4" fmla="*/ 0 w 8184"/>
                <a:gd name="T5" fmla="*/ 332 h 664"/>
                <a:gd name="T6" fmla="*/ 332 w 8184"/>
                <a:gd name="T7" fmla="*/ 0 h 664"/>
                <a:gd name="T8" fmla="*/ 7852 w 8184"/>
                <a:gd name="T9" fmla="*/ 0 h 664"/>
                <a:gd name="T10" fmla="*/ 8184 w 8184"/>
                <a:gd name="T11" fmla="*/ 332 h 664"/>
                <a:gd name="T12" fmla="*/ 7852 w 8184"/>
                <a:gd name="T13" fmla="*/ 664 h 664"/>
              </a:gdLst>
              <a:ahLst/>
              <a:cxnLst>
                <a:cxn ang="0">
                  <a:pos x="T0" y="T1"/>
                </a:cxn>
                <a:cxn ang="0">
                  <a:pos x="T2" y="T3"/>
                </a:cxn>
                <a:cxn ang="0">
                  <a:pos x="T4" y="T5"/>
                </a:cxn>
                <a:cxn ang="0">
                  <a:pos x="T6" y="T7"/>
                </a:cxn>
                <a:cxn ang="0">
                  <a:pos x="T8" y="T9"/>
                </a:cxn>
                <a:cxn ang="0">
                  <a:pos x="T10" y="T11"/>
                </a:cxn>
                <a:cxn ang="0">
                  <a:pos x="T12" y="T13"/>
                </a:cxn>
              </a:cxnLst>
              <a:rect l="0" t="0" r="r" b="b"/>
              <a:pathLst>
                <a:path w="8184" h="664">
                  <a:moveTo>
                    <a:pt x="7852" y="664"/>
                  </a:moveTo>
                  <a:lnTo>
                    <a:pt x="332" y="664"/>
                  </a:lnTo>
                  <a:cubicBezTo>
                    <a:pt x="148" y="664"/>
                    <a:pt x="0" y="515"/>
                    <a:pt x="0" y="332"/>
                  </a:cubicBezTo>
                  <a:cubicBezTo>
                    <a:pt x="0" y="148"/>
                    <a:pt x="148" y="0"/>
                    <a:pt x="332" y="0"/>
                  </a:cubicBezTo>
                  <a:lnTo>
                    <a:pt x="7852" y="0"/>
                  </a:lnTo>
                  <a:cubicBezTo>
                    <a:pt x="8036" y="0"/>
                    <a:pt x="8184" y="148"/>
                    <a:pt x="8184" y="332"/>
                  </a:cubicBezTo>
                  <a:cubicBezTo>
                    <a:pt x="8184" y="515"/>
                    <a:pt x="8036" y="664"/>
                    <a:pt x="7852" y="66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7" name="Freeform 182">
              <a:extLst>
                <a:ext uri="{FF2B5EF4-FFF2-40B4-BE49-F238E27FC236}">
                  <a16:creationId xmlns:a16="http://schemas.microsoft.com/office/drawing/2014/main" id="{67845B8D-174E-4588-83E9-EBB1C535F850}"/>
                </a:ext>
              </a:extLst>
            </p:cNvPr>
            <p:cNvSpPr>
              <a:spLocks/>
            </p:cNvSpPr>
            <p:nvPr/>
          </p:nvSpPr>
          <p:spPr bwMode="auto">
            <a:xfrm>
              <a:off x="5014" y="3379"/>
              <a:ext cx="312" cy="118"/>
            </a:xfrm>
            <a:custGeom>
              <a:avLst/>
              <a:gdLst>
                <a:gd name="T0" fmla="*/ 6567 w 6567"/>
                <a:gd name="T1" fmla="*/ 0 h 2495"/>
                <a:gd name="T2" fmla="*/ 3284 w 6567"/>
                <a:gd name="T3" fmla="*/ 2495 h 2495"/>
                <a:gd name="T4" fmla="*/ 0 w 6567"/>
                <a:gd name="T5" fmla="*/ 0 h 2495"/>
                <a:gd name="T6" fmla="*/ 6567 w 6567"/>
                <a:gd name="T7" fmla="*/ 0 h 2495"/>
              </a:gdLst>
              <a:ahLst/>
              <a:cxnLst>
                <a:cxn ang="0">
                  <a:pos x="T0" y="T1"/>
                </a:cxn>
                <a:cxn ang="0">
                  <a:pos x="T2" y="T3"/>
                </a:cxn>
                <a:cxn ang="0">
                  <a:pos x="T4" y="T5"/>
                </a:cxn>
                <a:cxn ang="0">
                  <a:pos x="T6" y="T7"/>
                </a:cxn>
              </a:cxnLst>
              <a:rect l="0" t="0" r="r" b="b"/>
              <a:pathLst>
                <a:path w="6567" h="2495">
                  <a:moveTo>
                    <a:pt x="6567" y="0"/>
                  </a:moveTo>
                  <a:cubicBezTo>
                    <a:pt x="6168" y="1439"/>
                    <a:pt x="4849" y="2495"/>
                    <a:pt x="3284" y="2495"/>
                  </a:cubicBezTo>
                  <a:cubicBezTo>
                    <a:pt x="1718" y="2495"/>
                    <a:pt x="399" y="1439"/>
                    <a:pt x="0" y="0"/>
                  </a:cubicBezTo>
                  <a:lnTo>
                    <a:pt x="656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8" name="Freeform 183">
              <a:extLst>
                <a:ext uri="{FF2B5EF4-FFF2-40B4-BE49-F238E27FC236}">
                  <a16:creationId xmlns:a16="http://schemas.microsoft.com/office/drawing/2014/main" id="{D365FD06-1CFF-4F14-9A2B-7D44FC611218}"/>
                </a:ext>
              </a:extLst>
            </p:cNvPr>
            <p:cNvSpPr>
              <a:spLocks/>
            </p:cNvSpPr>
            <p:nvPr/>
          </p:nvSpPr>
          <p:spPr bwMode="auto">
            <a:xfrm>
              <a:off x="4862" y="2716"/>
              <a:ext cx="27" cy="349"/>
            </a:xfrm>
            <a:custGeom>
              <a:avLst/>
              <a:gdLst>
                <a:gd name="T0" fmla="*/ 281 w 562"/>
                <a:gd name="T1" fmla="*/ 0 h 7324"/>
                <a:gd name="T2" fmla="*/ 0 w 562"/>
                <a:gd name="T3" fmla="*/ 265 h 7324"/>
                <a:gd name="T4" fmla="*/ 0 w 562"/>
                <a:gd name="T5" fmla="*/ 7076 h 7324"/>
                <a:gd name="T6" fmla="*/ 0 w 562"/>
                <a:gd name="T7" fmla="*/ 7135 h 7324"/>
                <a:gd name="T8" fmla="*/ 0 w 562"/>
                <a:gd name="T9" fmla="*/ 7324 h 7324"/>
                <a:gd name="T10" fmla="*/ 562 w 562"/>
                <a:gd name="T11" fmla="*/ 7324 h 7324"/>
                <a:gd name="T12" fmla="*/ 562 w 562"/>
                <a:gd name="T13" fmla="*/ 7135 h 7324"/>
                <a:gd name="T14" fmla="*/ 562 w 562"/>
                <a:gd name="T15" fmla="*/ 7076 h 7324"/>
                <a:gd name="T16" fmla="*/ 562 w 562"/>
                <a:gd name="T17" fmla="*/ 265 h 7324"/>
                <a:gd name="T18" fmla="*/ 281 w 562"/>
                <a:gd name="T19" fmla="*/ 0 h 7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2" h="7324">
                  <a:moveTo>
                    <a:pt x="281" y="0"/>
                  </a:moveTo>
                  <a:cubicBezTo>
                    <a:pt x="126" y="0"/>
                    <a:pt x="0" y="119"/>
                    <a:pt x="0" y="265"/>
                  </a:cubicBezTo>
                  <a:lnTo>
                    <a:pt x="0" y="7076"/>
                  </a:lnTo>
                  <a:lnTo>
                    <a:pt x="0" y="7135"/>
                  </a:lnTo>
                  <a:lnTo>
                    <a:pt x="0" y="7324"/>
                  </a:lnTo>
                  <a:lnTo>
                    <a:pt x="562" y="7324"/>
                  </a:lnTo>
                  <a:lnTo>
                    <a:pt x="562" y="7135"/>
                  </a:lnTo>
                  <a:lnTo>
                    <a:pt x="562" y="7076"/>
                  </a:lnTo>
                  <a:lnTo>
                    <a:pt x="562" y="265"/>
                  </a:lnTo>
                  <a:cubicBezTo>
                    <a:pt x="562" y="119"/>
                    <a:pt x="436" y="0"/>
                    <a:pt x="281"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59" name="Freeform 184">
              <a:extLst>
                <a:ext uri="{FF2B5EF4-FFF2-40B4-BE49-F238E27FC236}">
                  <a16:creationId xmlns:a16="http://schemas.microsoft.com/office/drawing/2014/main" id="{F4B6B9E6-B04F-4E73-9081-CA006D73AB0D}"/>
                </a:ext>
              </a:extLst>
            </p:cNvPr>
            <p:cNvSpPr>
              <a:spLocks noEditPoints="1"/>
            </p:cNvSpPr>
            <p:nvPr/>
          </p:nvSpPr>
          <p:spPr bwMode="auto">
            <a:xfrm>
              <a:off x="4518" y="3138"/>
              <a:ext cx="125" cy="194"/>
            </a:xfrm>
            <a:custGeom>
              <a:avLst/>
              <a:gdLst>
                <a:gd name="T0" fmla="*/ 2636 w 2636"/>
                <a:gd name="T1" fmla="*/ 1318 h 4082"/>
                <a:gd name="T2" fmla="*/ 1318 w 2636"/>
                <a:gd name="T3" fmla="*/ 0 h 4082"/>
                <a:gd name="T4" fmla="*/ 0 w 2636"/>
                <a:gd name="T5" fmla="*/ 1318 h 4082"/>
                <a:gd name="T6" fmla="*/ 1193 w 2636"/>
                <a:gd name="T7" fmla="*/ 2630 h 4082"/>
                <a:gd name="T8" fmla="*/ 1193 w 2636"/>
                <a:gd name="T9" fmla="*/ 3280 h 4082"/>
                <a:gd name="T10" fmla="*/ 686 w 2636"/>
                <a:gd name="T11" fmla="*/ 3280 h 4082"/>
                <a:gd name="T12" fmla="*/ 686 w 2636"/>
                <a:gd name="T13" fmla="*/ 3530 h 4082"/>
                <a:gd name="T14" fmla="*/ 1193 w 2636"/>
                <a:gd name="T15" fmla="*/ 3530 h 4082"/>
                <a:gd name="T16" fmla="*/ 1193 w 2636"/>
                <a:gd name="T17" fmla="*/ 4082 h 4082"/>
                <a:gd name="T18" fmla="*/ 1443 w 2636"/>
                <a:gd name="T19" fmla="*/ 4082 h 4082"/>
                <a:gd name="T20" fmla="*/ 1443 w 2636"/>
                <a:gd name="T21" fmla="*/ 3530 h 4082"/>
                <a:gd name="T22" fmla="*/ 1950 w 2636"/>
                <a:gd name="T23" fmla="*/ 3530 h 4082"/>
                <a:gd name="T24" fmla="*/ 1950 w 2636"/>
                <a:gd name="T25" fmla="*/ 3280 h 4082"/>
                <a:gd name="T26" fmla="*/ 1443 w 2636"/>
                <a:gd name="T27" fmla="*/ 3280 h 4082"/>
                <a:gd name="T28" fmla="*/ 1443 w 2636"/>
                <a:gd name="T29" fmla="*/ 2630 h 4082"/>
                <a:gd name="T30" fmla="*/ 2636 w 2636"/>
                <a:gd name="T31" fmla="*/ 1318 h 4082"/>
                <a:gd name="T32" fmla="*/ 250 w 2636"/>
                <a:gd name="T33" fmla="*/ 1318 h 4082"/>
                <a:gd name="T34" fmla="*/ 1318 w 2636"/>
                <a:gd name="T35" fmla="*/ 250 h 4082"/>
                <a:gd name="T36" fmla="*/ 2386 w 2636"/>
                <a:gd name="T37" fmla="*/ 1318 h 4082"/>
                <a:gd name="T38" fmla="*/ 1318 w 2636"/>
                <a:gd name="T39" fmla="*/ 2386 h 4082"/>
                <a:gd name="T40" fmla="*/ 250 w 2636"/>
                <a:gd name="T41" fmla="*/ 1318 h 4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36" h="4082">
                  <a:moveTo>
                    <a:pt x="2636" y="1318"/>
                  </a:moveTo>
                  <a:cubicBezTo>
                    <a:pt x="2636" y="591"/>
                    <a:pt x="2045" y="0"/>
                    <a:pt x="1318" y="0"/>
                  </a:cubicBezTo>
                  <a:cubicBezTo>
                    <a:pt x="591" y="0"/>
                    <a:pt x="0" y="591"/>
                    <a:pt x="0" y="1318"/>
                  </a:cubicBezTo>
                  <a:cubicBezTo>
                    <a:pt x="0" y="2003"/>
                    <a:pt x="525" y="2567"/>
                    <a:pt x="1193" y="2630"/>
                  </a:cubicBezTo>
                  <a:lnTo>
                    <a:pt x="1193" y="3280"/>
                  </a:lnTo>
                  <a:lnTo>
                    <a:pt x="686" y="3280"/>
                  </a:lnTo>
                  <a:lnTo>
                    <a:pt x="686" y="3530"/>
                  </a:lnTo>
                  <a:lnTo>
                    <a:pt x="1193" y="3530"/>
                  </a:lnTo>
                  <a:lnTo>
                    <a:pt x="1193" y="4082"/>
                  </a:lnTo>
                  <a:lnTo>
                    <a:pt x="1443" y="4082"/>
                  </a:lnTo>
                  <a:lnTo>
                    <a:pt x="1443" y="3530"/>
                  </a:lnTo>
                  <a:lnTo>
                    <a:pt x="1950" y="3530"/>
                  </a:lnTo>
                  <a:lnTo>
                    <a:pt x="1950" y="3280"/>
                  </a:lnTo>
                  <a:lnTo>
                    <a:pt x="1443" y="3280"/>
                  </a:lnTo>
                  <a:lnTo>
                    <a:pt x="1443" y="2630"/>
                  </a:lnTo>
                  <a:cubicBezTo>
                    <a:pt x="2112" y="2567"/>
                    <a:pt x="2636" y="2003"/>
                    <a:pt x="2636" y="1318"/>
                  </a:cubicBezTo>
                  <a:close/>
                  <a:moveTo>
                    <a:pt x="250" y="1318"/>
                  </a:moveTo>
                  <a:cubicBezTo>
                    <a:pt x="250" y="729"/>
                    <a:pt x="729" y="250"/>
                    <a:pt x="1318" y="250"/>
                  </a:cubicBezTo>
                  <a:cubicBezTo>
                    <a:pt x="1907" y="250"/>
                    <a:pt x="2386" y="729"/>
                    <a:pt x="2386" y="1318"/>
                  </a:cubicBezTo>
                  <a:cubicBezTo>
                    <a:pt x="2386" y="1907"/>
                    <a:pt x="1907" y="2386"/>
                    <a:pt x="1318" y="2386"/>
                  </a:cubicBezTo>
                  <a:cubicBezTo>
                    <a:pt x="729" y="2386"/>
                    <a:pt x="250" y="1907"/>
                    <a:pt x="250" y="1318"/>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60" name="Freeform 185">
              <a:extLst>
                <a:ext uri="{FF2B5EF4-FFF2-40B4-BE49-F238E27FC236}">
                  <a16:creationId xmlns:a16="http://schemas.microsoft.com/office/drawing/2014/main" id="{C4DAADC0-EEC3-4B80-A930-F648197129A8}"/>
                </a:ext>
              </a:extLst>
            </p:cNvPr>
            <p:cNvSpPr>
              <a:spLocks noEditPoints="1"/>
            </p:cNvSpPr>
            <p:nvPr/>
          </p:nvSpPr>
          <p:spPr bwMode="auto">
            <a:xfrm>
              <a:off x="5080" y="3175"/>
              <a:ext cx="151" cy="152"/>
            </a:xfrm>
            <a:custGeom>
              <a:avLst/>
              <a:gdLst>
                <a:gd name="T0" fmla="*/ 3172 w 3172"/>
                <a:gd name="T1" fmla="*/ 0 h 3208"/>
                <a:gd name="T2" fmla="*/ 3171 w 3172"/>
                <a:gd name="T3" fmla="*/ 0 h 3208"/>
                <a:gd name="T4" fmla="*/ 3171 w 3172"/>
                <a:gd name="T5" fmla="*/ 0 h 3208"/>
                <a:gd name="T6" fmla="*/ 2895 w 3172"/>
                <a:gd name="T7" fmla="*/ 0 h 3208"/>
                <a:gd name="T8" fmla="*/ 2895 w 3172"/>
                <a:gd name="T9" fmla="*/ 0 h 3208"/>
                <a:gd name="T10" fmla="*/ 2449 w 3172"/>
                <a:gd name="T11" fmla="*/ 0 h 3208"/>
                <a:gd name="T12" fmla="*/ 2449 w 3172"/>
                <a:gd name="T13" fmla="*/ 250 h 3208"/>
                <a:gd name="T14" fmla="*/ 2746 w 3172"/>
                <a:gd name="T15" fmla="*/ 250 h 3208"/>
                <a:gd name="T16" fmla="*/ 2138 w 3172"/>
                <a:gd name="T17" fmla="*/ 858 h 3208"/>
                <a:gd name="T18" fmla="*/ 1318 w 3172"/>
                <a:gd name="T19" fmla="*/ 571 h 3208"/>
                <a:gd name="T20" fmla="*/ 0 w 3172"/>
                <a:gd name="T21" fmla="*/ 1890 h 3208"/>
                <a:gd name="T22" fmla="*/ 1318 w 3172"/>
                <a:gd name="T23" fmla="*/ 3208 h 3208"/>
                <a:gd name="T24" fmla="*/ 2637 w 3172"/>
                <a:gd name="T25" fmla="*/ 1890 h 3208"/>
                <a:gd name="T26" fmla="*/ 2318 w 3172"/>
                <a:gd name="T27" fmla="*/ 1032 h 3208"/>
                <a:gd name="T28" fmla="*/ 2895 w 3172"/>
                <a:gd name="T29" fmla="*/ 455 h 3208"/>
                <a:gd name="T30" fmla="*/ 2895 w 3172"/>
                <a:gd name="T31" fmla="*/ 696 h 3208"/>
                <a:gd name="T32" fmla="*/ 3171 w 3172"/>
                <a:gd name="T33" fmla="*/ 696 h 3208"/>
                <a:gd name="T34" fmla="*/ 3171 w 3172"/>
                <a:gd name="T35" fmla="*/ 250 h 3208"/>
                <a:gd name="T36" fmla="*/ 3172 w 3172"/>
                <a:gd name="T37" fmla="*/ 250 h 3208"/>
                <a:gd name="T38" fmla="*/ 3172 w 3172"/>
                <a:gd name="T39" fmla="*/ 0 h 3208"/>
                <a:gd name="T40" fmla="*/ 1318 w 3172"/>
                <a:gd name="T41" fmla="*/ 2958 h 3208"/>
                <a:gd name="T42" fmla="*/ 250 w 3172"/>
                <a:gd name="T43" fmla="*/ 1890 h 3208"/>
                <a:gd name="T44" fmla="*/ 1318 w 3172"/>
                <a:gd name="T45" fmla="*/ 821 h 3208"/>
                <a:gd name="T46" fmla="*/ 2387 w 3172"/>
                <a:gd name="T47" fmla="*/ 1890 h 3208"/>
                <a:gd name="T48" fmla="*/ 1318 w 3172"/>
                <a:gd name="T49" fmla="*/ 2958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2" h="3208">
                  <a:moveTo>
                    <a:pt x="3172" y="0"/>
                  </a:moveTo>
                  <a:lnTo>
                    <a:pt x="3171" y="0"/>
                  </a:lnTo>
                  <a:lnTo>
                    <a:pt x="3171" y="0"/>
                  </a:lnTo>
                  <a:lnTo>
                    <a:pt x="2895" y="0"/>
                  </a:lnTo>
                  <a:lnTo>
                    <a:pt x="2895" y="0"/>
                  </a:lnTo>
                  <a:lnTo>
                    <a:pt x="2449" y="0"/>
                  </a:lnTo>
                  <a:lnTo>
                    <a:pt x="2449" y="250"/>
                  </a:lnTo>
                  <a:lnTo>
                    <a:pt x="2746" y="250"/>
                  </a:lnTo>
                  <a:lnTo>
                    <a:pt x="2138" y="858"/>
                  </a:lnTo>
                  <a:cubicBezTo>
                    <a:pt x="1913" y="679"/>
                    <a:pt x="1628" y="571"/>
                    <a:pt x="1318" y="571"/>
                  </a:cubicBezTo>
                  <a:cubicBezTo>
                    <a:pt x="591" y="571"/>
                    <a:pt x="0" y="1163"/>
                    <a:pt x="0" y="1890"/>
                  </a:cubicBezTo>
                  <a:cubicBezTo>
                    <a:pt x="0" y="2617"/>
                    <a:pt x="591" y="3208"/>
                    <a:pt x="1318" y="3208"/>
                  </a:cubicBezTo>
                  <a:cubicBezTo>
                    <a:pt x="2045" y="3208"/>
                    <a:pt x="2637" y="2617"/>
                    <a:pt x="2637" y="1890"/>
                  </a:cubicBezTo>
                  <a:cubicBezTo>
                    <a:pt x="2637" y="1562"/>
                    <a:pt x="2517" y="1262"/>
                    <a:pt x="2318" y="1032"/>
                  </a:cubicBezTo>
                  <a:lnTo>
                    <a:pt x="2895" y="455"/>
                  </a:lnTo>
                  <a:lnTo>
                    <a:pt x="2895" y="696"/>
                  </a:lnTo>
                  <a:lnTo>
                    <a:pt x="3171" y="696"/>
                  </a:lnTo>
                  <a:lnTo>
                    <a:pt x="3171" y="250"/>
                  </a:lnTo>
                  <a:lnTo>
                    <a:pt x="3172" y="250"/>
                  </a:lnTo>
                  <a:lnTo>
                    <a:pt x="3172" y="0"/>
                  </a:lnTo>
                  <a:close/>
                  <a:moveTo>
                    <a:pt x="1318" y="2958"/>
                  </a:moveTo>
                  <a:cubicBezTo>
                    <a:pt x="729" y="2958"/>
                    <a:pt x="250" y="2479"/>
                    <a:pt x="250" y="1890"/>
                  </a:cubicBezTo>
                  <a:cubicBezTo>
                    <a:pt x="250" y="1301"/>
                    <a:pt x="729" y="821"/>
                    <a:pt x="1318" y="821"/>
                  </a:cubicBezTo>
                  <a:cubicBezTo>
                    <a:pt x="1907" y="821"/>
                    <a:pt x="2387" y="1301"/>
                    <a:pt x="2387" y="1890"/>
                  </a:cubicBezTo>
                  <a:cubicBezTo>
                    <a:pt x="2387" y="2479"/>
                    <a:pt x="1907" y="2958"/>
                    <a:pt x="1318" y="2958"/>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grpSp>
      <p:grpSp>
        <p:nvGrpSpPr>
          <p:cNvPr id="61" name="Women_protest" descr="{&quot;Key&quot;:&quot;POWER_USER_SHAPE_ICON&quot;,&quot;Value&quot;:&quot;POWER_USER_SHAPE_ICON_STYLE_1&quot;}">
            <a:extLst>
              <a:ext uri="{FF2B5EF4-FFF2-40B4-BE49-F238E27FC236}">
                <a16:creationId xmlns:a16="http://schemas.microsoft.com/office/drawing/2014/main" id="{9614043E-91D2-488C-9F47-1807511EAB76}"/>
              </a:ext>
            </a:extLst>
          </p:cNvPr>
          <p:cNvGrpSpPr>
            <a:grpSpLocks noChangeAspect="1"/>
          </p:cNvGrpSpPr>
          <p:nvPr>
            <p:custDataLst>
              <p:tags r:id="rId2"/>
            </p:custDataLst>
          </p:nvPr>
        </p:nvGrpSpPr>
        <p:grpSpPr bwMode="auto">
          <a:xfrm>
            <a:off x="5464512" y="2805900"/>
            <a:ext cx="675424" cy="345863"/>
            <a:chOff x="2254" y="1842"/>
            <a:chExt cx="4060" cy="2079"/>
          </a:xfrm>
          <a:solidFill>
            <a:schemeClr val="bg1"/>
          </a:solidFill>
        </p:grpSpPr>
        <p:sp>
          <p:nvSpPr>
            <p:cNvPr id="62" name="Freeform 25">
              <a:extLst>
                <a:ext uri="{FF2B5EF4-FFF2-40B4-BE49-F238E27FC236}">
                  <a16:creationId xmlns:a16="http://schemas.microsoft.com/office/drawing/2014/main" id="{F9996211-54A3-4816-8B7B-51E4E4A388B6}"/>
                </a:ext>
              </a:extLst>
            </p:cNvPr>
            <p:cNvSpPr>
              <a:spLocks noEditPoints="1"/>
            </p:cNvSpPr>
            <p:nvPr/>
          </p:nvSpPr>
          <p:spPr bwMode="auto">
            <a:xfrm>
              <a:off x="5365" y="2630"/>
              <a:ext cx="516" cy="1243"/>
            </a:xfrm>
            <a:custGeom>
              <a:avLst/>
              <a:gdLst>
                <a:gd name="T0" fmla="*/ 3520 w 4215"/>
                <a:gd name="T1" fmla="*/ 10007 h 10139"/>
                <a:gd name="T2" fmla="*/ 3357 w 4215"/>
                <a:gd name="T3" fmla="*/ 10098 h 10139"/>
                <a:gd name="T4" fmla="*/ 3085 w 4215"/>
                <a:gd name="T5" fmla="*/ 9178 h 10139"/>
                <a:gd name="T6" fmla="*/ 3061 w 4215"/>
                <a:gd name="T7" fmla="*/ 8529 h 10139"/>
                <a:gd name="T8" fmla="*/ 2669 w 4215"/>
                <a:gd name="T9" fmla="*/ 7339 h 10139"/>
                <a:gd name="T10" fmla="*/ 2385 w 4215"/>
                <a:gd name="T11" fmla="*/ 6556 h 10139"/>
                <a:gd name="T12" fmla="*/ 1745 w 4215"/>
                <a:gd name="T13" fmla="*/ 6269 h 10139"/>
                <a:gd name="T14" fmla="*/ 1396 w 4215"/>
                <a:gd name="T15" fmla="*/ 6439 h 10139"/>
                <a:gd name="T16" fmla="*/ 1253 w 4215"/>
                <a:gd name="T17" fmla="*/ 7737 h 10139"/>
                <a:gd name="T18" fmla="*/ 1228 w 4215"/>
                <a:gd name="T19" fmla="*/ 9469 h 10139"/>
                <a:gd name="T20" fmla="*/ 1184 w 4215"/>
                <a:gd name="T21" fmla="*/ 10098 h 10139"/>
                <a:gd name="T22" fmla="*/ 808 w 4215"/>
                <a:gd name="T23" fmla="*/ 9792 h 10139"/>
                <a:gd name="T24" fmla="*/ 836 w 4215"/>
                <a:gd name="T25" fmla="*/ 8739 h 10139"/>
                <a:gd name="T26" fmla="*/ 664 w 4215"/>
                <a:gd name="T27" fmla="*/ 7315 h 10139"/>
                <a:gd name="T28" fmla="*/ 319 w 4215"/>
                <a:gd name="T29" fmla="*/ 6291 h 10139"/>
                <a:gd name="T30" fmla="*/ 238 w 4215"/>
                <a:gd name="T31" fmla="*/ 4998 h 10139"/>
                <a:gd name="T32" fmla="*/ 231 w 4215"/>
                <a:gd name="T33" fmla="*/ 4461 h 10139"/>
                <a:gd name="T34" fmla="*/ 680 w 4215"/>
                <a:gd name="T35" fmla="*/ 3279 h 10139"/>
                <a:gd name="T36" fmla="*/ 1185 w 4215"/>
                <a:gd name="T37" fmla="*/ 1695 h 10139"/>
                <a:gd name="T38" fmla="*/ 1524 w 4215"/>
                <a:gd name="T39" fmla="*/ 862 h 10139"/>
                <a:gd name="T40" fmla="*/ 2159 w 4215"/>
                <a:gd name="T41" fmla="*/ 23 h 10139"/>
                <a:gd name="T42" fmla="*/ 2744 w 4215"/>
                <a:gd name="T43" fmla="*/ 890 h 10139"/>
                <a:gd name="T44" fmla="*/ 3184 w 4215"/>
                <a:gd name="T45" fmla="*/ 1891 h 10139"/>
                <a:gd name="T46" fmla="*/ 3480 w 4215"/>
                <a:gd name="T47" fmla="*/ 3324 h 10139"/>
                <a:gd name="T48" fmla="*/ 2998 w 4215"/>
                <a:gd name="T49" fmla="*/ 3688 h 10139"/>
                <a:gd name="T50" fmla="*/ 2850 w 4215"/>
                <a:gd name="T51" fmla="*/ 4577 h 10139"/>
                <a:gd name="T52" fmla="*/ 3033 w 4215"/>
                <a:gd name="T53" fmla="*/ 5941 h 10139"/>
                <a:gd name="T54" fmla="*/ 3180 w 4215"/>
                <a:gd name="T55" fmla="*/ 6834 h 10139"/>
                <a:gd name="T56" fmla="*/ 3638 w 4215"/>
                <a:gd name="T57" fmla="*/ 8938 h 10139"/>
                <a:gd name="T58" fmla="*/ 3976 w 4215"/>
                <a:gd name="T59" fmla="*/ 9707 h 10139"/>
                <a:gd name="T60" fmla="*/ 3657 w 4215"/>
                <a:gd name="T61" fmla="*/ 10101 h 10139"/>
                <a:gd name="T62" fmla="*/ 3032 w 4215"/>
                <a:gd name="T63" fmla="*/ 3285 h 10139"/>
                <a:gd name="T64" fmla="*/ 2764 w 4215"/>
                <a:gd name="T65" fmla="*/ 3131 h 10139"/>
                <a:gd name="T66" fmla="*/ 2676 w 4215"/>
                <a:gd name="T67" fmla="*/ 3652 h 10139"/>
                <a:gd name="T68" fmla="*/ 1383 w 4215"/>
                <a:gd name="T69" fmla="*/ 2613 h 10139"/>
                <a:gd name="T70" fmla="*/ 1201 w 4215"/>
                <a:gd name="T71" fmla="*/ 3252 h 10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15" h="10139">
                  <a:moveTo>
                    <a:pt x="3657" y="10101"/>
                  </a:moveTo>
                  <a:cubicBezTo>
                    <a:pt x="3581" y="10100"/>
                    <a:pt x="3542" y="10126"/>
                    <a:pt x="3520" y="10007"/>
                  </a:cubicBezTo>
                  <a:cubicBezTo>
                    <a:pt x="3468" y="9868"/>
                    <a:pt x="3469" y="9534"/>
                    <a:pt x="3348" y="9515"/>
                  </a:cubicBezTo>
                  <a:cubicBezTo>
                    <a:pt x="3340" y="9709"/>
                    <a:pt x="3353" y="9904"/>
                    <a:pt x="3357" y="10098"/>
                  </a:cubicBezTo>
                  <a:cubicBezTo>
                    <a:pt x="3185" y="10101"/>
                    <a:pt x="3287" y="9827"/>
                    <a:pt x="3236" y="9712"/>
                  </a:cubicBezTo>
                  <a:cubicBezTo>
                    <a:pt x="3231" y="9523"/>
                    <a:pt x="3106" y="9360"/>
                    <a:pt x="3085" y="9178"/>
                  </a:cubicBezTo>
                  <a:cubicBezTo>
                    <a:pt x="3145" y="9111"/>
                    <a:pt x="3210" y="8995"/>
                    <a:pt x="3213" y="8901"/>
                  </a:cubicBezTo>
                  <a:cubicBezTo>
                    <a:pt x="3188" y="8766"/>
                    <a:pt x="3122" y="8648"/>
                    <a:pt x="3061" y="8529"/>
                  </a:cubicBezTo>
                  <a:cubicBezTo>
                    <a:pt x="2923" y="8337"/>
                    <a:pt x="2834" y="8114"/>
                    <a:pt x="2751" y="7894"/>
                  </a:cubicBezTo>
                  <a:cubicBezTo>
                    <a:pt x="2711" y="7710"/>
                    <a:pt x="2630" y="7530"/>
                    <a:pt x="2669" y="7339"/>
                  </a:cubicBezTo>
                  <a:cubicBezTo>
                    <a:pt x="2663" y="7256"/>
                    <a:pt x="2701" y="7161"/>
                    <a:pt x="2673" y="7084"/>
                  </a:cubicBezTo>
                  <a:cubicBezTo>
                    <a:pt x="2551" y="6921"/>
                    <a:pt x="2523" y="6709"/>
                    <a:pt x="2385" y="6556"/>
                  </a:cubicBezTo>
                  <a:cubicBezTo>
                    <a:pt x="2287" y="6412"/>
                    <a:pt x="2195" y="6229"/>
                    <a:pt x="1994" y="6313"/>
                  </a:cubicBezTo>
                  <a:cubicBezTo>
                    <a:pt x="1930" y="6289"/>
                    <a:pt x="1726" y="6365"/>
                    <a:pt x="1745" y="6269"/>
                  </a:cubicBezTo>
                  <a:cubicBezTo>
                    <a:pt x="1773" y="6167"/>
                    <a:pt x="1567" y="6267"/>
                    <a:pt x="1517" y="6188"/>
                  </a:cubicBezTo>
                  <a:cubicBezTo>
                    <a:pt x="1388" y="5997"/>
                    <a:pt x="1422" y="6356"/>
                    <a:pt x="1396" y="6439"/>
                  </a:cubicBezTo>
                  <a:cubicBezTo>
                    <a:pt x="1387" y="6668"/>
                    <a:pt x="1312" y="6885"/>
                    <a:pt x="1255" y="7104"/>
                  </a:cubicBezTo>
                  <a:cubicBezTo>
                    <a:pt x="1211" y="7314"/>
                    <a:pt x="1237" y="7527"/>
                    <a:pt x="1253" y="7737"/>
                  </a:cubicBezTo>
                  <a:cubicBezTo>
                    <a:pt x="1250" y="7976"/>
                    <a:pt x="1167" y="8208"/>
                    <a:pt x="1161" y="8448"/>
                  </a:cubicBezTo>
                  <a:cubicBezTo>
                    <a:pt x="1132" y="8790"/>
                    <a:pt x="1224" y="9127"/>
                    <a:pt x="1228" y="9469"/>
                  </a:cubicBezTo>
                  <a:cubicBezTo>
                    <a:pt x="1315" y="9620"/>
                    <a:pt x="1310" y="9801"/>
                    <a:pt x="1277" y="9973"/>
                  </a:cubicBezTo>
                  <a:cubicBezTo>
                    <a:pt x="1268" y="10039"/>
                    <a:pt x="1279" y="10129"/>
                    <a:pt x="1184" y="10098"/>
                  </a:cubicBezTo>
                  <a:cubicBezTo>
                    <a:pt x="1082" y="10086"/>
                    <a:pt x="858" y="10127"/>
                    <a:pt x="867" y="9997"/>
                  </a:cubicBezTo>
                  <a:cubicBezTo>
                    <a:pt x="869" y="9920"/>
                    <a:pt x="843" y="9900"/>
                    <a:pt x="808" y="9792"/>
                  </a:cubicBezTo>
                  <a:cubicBezTo>
                    <a:pt x="705" y="9608"/>
                    <a:pt x="837" y="9464"/>
                    <a:pt x="863" y="9307"/>
                  </a:cubicBezTo>
                  <a:cubicBezTo>
                    <a:pt x="914" y="9117"/>
                    <a:pt x="831" y="8932"/>
                    <a:pt x="836" y="8739"/>
                  </a:cubicBezTo>
                  <a:cubicBezTo>
                    <a:pt x="792" y="8433"/>
                    <a:pt x="725" y="8129"/>
                    <a:pt x="694" y="7821"/>
                  </a:cubicBezTo>
                  <a:cubicBezTo>
                    <a:pt x="617" y="7656"/>
                    <a:pt x="641" y="7492"/>
                    <a:pt x="664" y="7315"/>
                  </a:cubicBezTo>
                  <a:cubicBezTo>
                    <a:pt x="725" y="7027"/>
                    <a:pt x="713" y="6678"/>
                    <a:pt x="726" y="6386"/>
                  </a:cubicBezTo>
                  <a:cubicBezTo>
                    <a:pt x="624" y="6321"/>
                    <a:pt x="499" y="6308"/>
                    <a:pt x="319" y="6291"/>
                  </a:cubicBezTo>
                  <a:cubicBezTo>
                    <a:pt x="112" y="6341"/>
                    <a:pt x="193" y="6104"/>
                    <a:pt x="176" y="5971"/>
                  </a:cubicBezTo>
                  <a:cubicBezTo>
                    <a:pt x="215" y="5648"/>
                    <a:pt x="224" y="5323"/>
                    <a:pt x="238" y="4998"/>
                  </a:cubicBezTo>
                  <a:cubicBezTo>
                    <a:pt x="237" y="4868"/>
                    <a:pt x="280" y="4845"/>
                    <a:pt x="239" y="4899"/>
                  </a:cubicBezTo>
                  <a:cubicBezTo>
                    <a:pt x="96" y="4806"/>
                    <a:pt x="0" y="4510"/>
                    <a:pt x="231" y="4461"/>
                  </a:cubicBezTo>
                  <a:cubicBezTo>
                    <a:pt x="422" y="4388"/>
                    <a:pt x="438" y="4152"/>
                    <a:pt x="471" y="3978"/>
                  </a:cubicBezTo>
                  <a:cubicBezTo>
                    <a:pt x="509" y="3736"/>
                    <a:pt x="578" y="3501"/>
                    <a:pt x="680" y="3279"/>
                  </a:cubicBezTo>
                  <a:cubicBezTo>
                    <a:pt x="826" y="2931"/>
                    <a:pt x="937" y="2571"/>
                    <a:pt x="1002" y="2200"/>
                  </a:cubicBezTo>
                  <a:cubicBezTo>
                    <a:pt x="1037" y="2022"/>
                    <a:pt x="1084" y="1847"/>
                    <a:pt x="1185" y="1695"/>
                  </a:cubicBezTo>
                  <a:cubicBezTo>
                    <a:pt x="1266" y="1525"/>
                    <a:pt x="1358" y="1500"/>
                    <a:pt x="1502" y="1451"/>
                  </a:cubicBezTo>
                  <a:cubicBezTo>
                    <a:pt x="1553" y="1283"/>
                    <a:pt x="1482" y="1054"/>
                    <a:pt x="1524" y="862"/>
                  </a:cubicBezTo>
                  <a:cubicBezTo>
                    <a:pt x="1538" y="625"/>
                    <a:pt x="1570" y="377"/>
                    <a:pt x="1703" y="174"/>
                  </a:cubicBezTo>
                  <a:cubicBezTo>
                    <a:pt x="1814" y="40"/>
                    <a:pt x="1995" y="0"/>
                    <a:pt x="2159" y="23"/>
                  </a:cubicBezTo>
                  <a:cubicBezTo>
                    <a:pt x="2355" y="0"/>
                    <a:pt x="2504" y="132"/>
                    <a:pt x="2585" y="299"/>
                  </a:cubicBezTo>
                  <a:cubicBezTo>
                    <a:pt x="2690" y="479"/>
                    <a:pt x="2673" y="696"/>
                    <a:pt x="2744" y="890"/>
                  </a:cubicBezTo>
                  <a:cubicBezTo>
                    <a:pt x="2779" y="1088"/>
                    <a:pt x="2889" y="1261"/>
                    <a:pt x="2911" y="1462"/>
                  </a:cubicBezTo>
                  <a:cubicBezTo>
                    <a:pt x="2923" y="1647"/>
                    <a:pt x="3149" y="1708"/>
                    <a:pt x="3184" y="1891"/>
                  </a:cubicBezTo>
                  <a:cubicBezTo>
                    <a:pt x="3240" y="2112"/>
                    <a:pt x="3275" y="2337"/>
                    <a:pt x="3340" y="2556"/>
                  </a:cubicBezTo>
                  <a:cubicBezTo>
                    <a:pt x="3378" y="2814"/>
                    <a:pt x="3485" y="3059"/>
                    <a:pt x="3480" y="3324"/>
                  </a:cubicBezTo>
                  <a:cubicBezTo>
                    <a:pt x="3514" y="3410"/>
                    <a:pt x="3438" y="3441"/>
                    <a:pt x="3375" y="3478"/>
                  </a:cubicBezTo>
                  <a:cubicBezTo>
                    <a:pt x="3234" y="3526"/>
                    <a:pt x="3151" y="3639"/>
                    <a:pt x="2998" y="3688"/>
                  </a:cubicBezTo>
                  <a:cubicBezTo>
                    <a:pt x="2824" y="3775"/>
                    <a:pt x="2686" y="3904"/>
                    <a:pt x="2672" y="4109"/>
                  </a:cubicBezTo>
                  <a:cubicBezTo>
                    <a:pt x="2665" y="4274"/>
                    <a:pt x="2797" y="4420"/>
                    <a:pt x="2850" y="4577"/>
                  </a:cubicBezTo>
                  <a:cubicBezTo>
                    <a:pt x="3031" y="4940"/>
                    <a:pt x="3121" y="5351"/>
                    <a:pt x="3377" y="5674"/>
                  </a:cubicBezTo>
                  <a:cubicBezTo>
                    <a:pt x="3388" y="5834"/>
                    <a:pt x="3147" y="5873"/>
                    <a:pt x="3033" y="5941"/>
                  </a:cubicBezTo>
                  <a:cubicBezTo>
                    <a:pt x="2938" y="5976"/>
                    <a:pt x="2951" y="6046"/>
                    <a:pt x="2994" y="6119"/>
                  </a:cubicBezTo>
                  <a:cubicBezTo>
                    <a:pt x="3088" y="6347"/>
                    <a:pt x="3173" y="6584"/>
                    <a:pt x="3180" y="6834"/>
                  </a:cubicBezTo>
                  <a:cubicBezTo>
                    <a:pt x="3214" y="7201"/>
                    <a:pt x="3338" y="7552"/>
                    <a:pt x="3413" y="7912"/>
                  </a:cubicBezTo>
                  <a:cubicBezTo>
                    <a:pt x="3495" y="8253"/>
                    <a:pt x="3536" y="8602"/>
                    <a:pt x="3638" y="8938"/>
                  </a:cubicBezTo>
                  <a:cubicBezTo>
                    <a:pt x="3642" y="9135"/>
                    <a:pt x="3862" y="9177"/>
                    <a:pt x="3812" y="9380"/>
                  </a:cubicBezTo>
                  <a:cubicBezTo>
                    <a:pt x="3836" y="9466"/>
                    <a:pt x="3858" y="9656"/>
                    <a:pt x="3976" y="9707"/>
                  </a:cubicBezTo>
                  <a:cubicBezTo>
                    <a:pt x="4215" y="9781"/>
                    <a:pt x="4087" y="10139"/>
                    <a:pt x="3864" y="10109"/>
                  </a:cubicBezTo>
                  <a:lnTo>
                    <a:pt x="3657" y="10101"/>
                  </a:lnTo>
                  <a:close/>
                  <a:moveTo>
                    <a:pt x="2676" y="3652"/>
                  </a:moveTo>
                  <a:cubicBezTo>
                    <a:pt x="2827" y="3537"/>
                    <a:pt x="2942" y="3402"/>
                    <a:pt x="3032" y="3285"/>
                  </a:cubicBezTo>
                  <a:cubicBezTo>
                    <a:pt x="3117" y="3177"/>
                    <a:pt x="3069" y="2995"/>
                    <a:pt x="3027" y="2890"/>
                  </a:cubicBezTo>
                  <a:cubicBezTo>
                    <a:pt x="2943" y="2997"/>
                    <a:pt x="2741" y="2940"/>
                    <a:pt x="2764" y="3131"/>
                  </a:cubicBezTo>
                  <a:cubicBezTo>
                    <a:pt x="2726" y="3304"/>
                    <a:pt x="2602" y="3472"/>
                    <a:pt x="2601" y="3642"/>
                  </a:cubicBezTo>
                  <a:cubicBezTo>
                    <a:pt x="2625" y="3683"/>
                    <a:pt x="2611" y="3692"/>
                    <a:pt x="2676" y="3652"/>
                  </a:cubicBezTo>
                  <a:close/>
                  <a:moveTo>
                    <a:pt x="1201" y="3252"/>
                  </a:moveTo>
                  <a:cubicBezTo>
                    <a:pt x="1333" y="3072"/>
                    <a:pt x="1427" y="2836"/>
                    <a:pt x="1383" y="2613"/>
                  </a:cubicBezTo>
                  <a:cubicBezTo>
                    <a:pt x="1270" y="2816"/>
                    <a:pt x="1203" y="3048"/>
                    <a:pt x="1131" y="3271"/>
                  </a:cubicBezTo>
                  <a:cubicBezTo>
                    <a:pt x="1048" y="3407"/>
                    <a:pt x="1178" y="3299"/>
                    <a:pt x="1201" y="325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63" name="Freeform 26">
              <a:extLst>
                <a:ext uri="{FF2B5EF4-FFF2-40B4-BE49-F238E27FC236}">
                  <a16:creationId xmlns:a16="http://schemas.microsoft.com/office/drawing/2014/main" id="{565C1D6E-DA5F-41E6-8C39-A15979C010E0}"/>
                </a:ext>
              </a:extLst>
            </p:cNvPr>
            <p:cNvSpPr>
              <a:spLocks noEditPoints="1"/>
            </p:cNvSpPr>
            <p:nvPr/>
          </p:nvSpPr>
          <p:spPr bwMode="auto">
            <a:xfrm>
              <a:off x="3874" y="2620"/>
              <a:ext cx="348" cy="1271"/>
            </a:xfrm>
            <a:custGeom>
              <a:avLst/>
              <a:gdLst>
                <a:gd name="T0" fmla="*/ 1152 w 2844"/>
                <a:gd name="T1" fmla="*/ 191 h 10363"/>
                <a:gd name="T2" fmla="*/ 814 w 2844"/>
                <a:gd name="T3" fmla="*/ 1190 h 10363"/>
                <a:gd name="T4" fmla="*/ 179 w 2844"/>
                <a:gd name="T5" fmla="*/ 2620 h 10363"/>
                <a:gd name="T6" fmla="*/ 22 w 2844"/>
                <a:gd name="T7" fmla="*/ 3905 h 10363"/>
                <a:gd name="T8" fmla="*/ 460 w 2844"/>
                <a:gd name="T9" fmla="*/ 5344 h 10363"/>
                <a:gd name="T10" fmla="*/ 467 w 2844"/>
                <a:gd name="T11" fmla="*/ 5022 h 10363"/>
                <a:gd name="T12" fmla="*/ 890 w 2844"/>
                <a:gd name="T13" fmla="*/ 5803 h 10363"/>
                <a:gd name="T14" fmla="*/ 1191 w 2844"/>
                <a:gd name="T15" fmla="*/ 7112 h 10363"/>
                <a:gd name="T16" fmla="*/ 1301 w 2844"/>
                <a:gd name="T17" fmla="*/ 8578 h 10363"/>
                <a:gd name="T18" fmla="*/ 939 w 2844"/>
                <a:gd name="T19" fmla="*/ 9651 h 10363"/>
                <a:gd name="T20" fmla="*/ 1013 w 2844"/>
                <a:gd name="T21" fmla="*/ 9895 h 10363"/>
                <a:gd name="T22" fmla="*/ 1301 w 2844"/>
                <a:gd name="T23" fmla="*/ 10199 h 10363"/>
                <a:gd name="T24" fmla="*/ 1842 w 2844"/>
                <a:gd name="T25" fmla="*/ 10256 h 10363"/>
                <a:gd name="T26" fmla="*/ 2020 w 2844"/>
                <a:gd name="T27" fmla="*/ 9708 h 10363"/>
                <a:gd name="T28" fmla="*/ 1805 w 2844"/>
                <a:gd name="T29" fmla="*/ 8229 h 10363"/>
                <a:gd name="T30" fmla="*/ 2196 w 2844"/>
                <a:gd name="T31" fmla="*/ 6086 h 10363"/>
                <a:gd name="T32" fmla="*/ 2529 w 2844"/>
                <a:gd name="T33" fmla="*/ 5586 h 10363"/>
                <a:gd name="T34" fmla="*/ 2702 w 2844"/>
                <a:gd name="T35" fmla="*/ 4133 h 10363"/>
                <a:gd name="T36" fmla="*/ 2489 w 2844"/>
                <a:gd name="T37" fmla="*/ 2386 h 10363"/>
                <a:gd name="T38" fmla="*/ 2201 w 2844"/>
                <a:gd name="T39" fmla="*/ 1405 h 10363"/>
                <a:gd name="T40" fmla="*/ 2190 w 2844"/>
                <a:gd name="T41" fmla="*/ 805 h 10363"/>
                <a:gd name="T42" fmla="*/ 1456 w 2844"/>
                <a:gd name="T43" fmla="*/ 2 h 10363"/>
                <a:gd name="T44" fmla="*/ 606 w 2844"/>
                <a:gd name="T45" fmla="*/ 2850 h 10363"/>
                <a:gd name="T46" fmla="*/ 598 w 2844"/>
                <a:gd name="T47" fmla="*/ 2727 h 10363"/>
                <a:gd name="T48" fmla="*/ 585 w 2844"/>
                <a:gd name="T49" fmla="*/ 3065 h 10363"/>
                <a:gd name="T50" fmla="*/ 549 w 2844"/>
                <a:gd name="T51" fmla="*/ 2929 h 10363"/>
                <a:gd name="T52" fmla="*/ 596 w 2844"/>
                <a:gd name="T53" fmla="*/ 4023 h 10363"/>
                <a:gd name="T54" fmla="*/ 591 w 2844"/>
                <a:gd name="T55" fmla="*/ 5009 h 10363"/>
                <a:gd name="T56" fmla="*/ 355 w 2844"/>
                <a:gd name="T57" fmla="*/ 3947 h 10363"/>
                <a:gd name="T58" fmla="*/ 640 w 2844"/>
                <a:gd name="T59" fmla="*/ 3073 h 10363"/>
                <a:gd name="T60" fmla="*/ 2523 w 2844"/>
                <a:gd name="T61" fmla="*/ 5481 h 10363"/>
                <a:gd name="T62" fmla="*/ 1467 w 2844"/>
                <a:gd name="T63" fmla="*/ 9679 h 10363"/>
                <a:gd name="T64" fmla="*/ 1510 w 2844"/>
                <a:gd name="T65" fmla="*/ 9865 h 10363"/>
                <a:gd name="T66" fmla="*/ 1467 w 2844"/>
                <a:gd name="T67" fmla="*/ 9679 h 10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44" h="10363">
                  <a:moveTo>
                    <a:pt x="1456" y="2"/>
                  </a:moveTo>
                  <a:cubicBezTo>
                    <a:pt x="1290" y="0"/>
                    <a:pt x="1201" y="128"/>
                    <a:pt x="1152" y="191"/>
                  </a:cubicBezTo>
                  <a:cubicBezTo>
                    <a:pt x="1013" y="277"/>
                    <a:pt x="977" y="442"/>
                    <a:pt x="953" y="548"/>
                  </a:cubicBezTo>
                  <a:cubicBezTo>
                    <a:pt x="854" y="751"/>
                    <a:pt x="879" y="980"/>
                    <a:pt x="814" y="1190"/>
                  </a:cubicBezTo>
                  <a:cubicBezTo>
                    <a:pt x="775" y="1389"/>
                    <a:pt x="648" y="1516"/>
                    <a:pt x="478" y="1602"/>
                  </a:cubicBezTo>
                  <a:cubicBezTo>
                    <a:pt x="296" y="1910"/>
                    <a:pt x="249" y="2275"/>
                    <a:pt x="179" y="2620"/>
                  </a:cubicBezTo>
                  <a:cubicBezTo>
                    <a:pt x="157" y="2815"/>
                    <a:pt x="77" y="2999"/>
                    <a:pt x="61" y="3194"/>
                  </a:cubicBezTo>
                  <a:cubicBezTo>
                    <a:pt x="4" y="3426"/>
                    <a:pt x="0" y="3667"/>
                    <a:pt x="22" y="3905"/>
                  </a:cubicBezTo>
                  <a:cubicBezTo>
                    <a:pt x="71" y="4244"/>
                    <a:pt x="65" y="4588"/>
                    <a:pt x="100" y="4927"/>
                  </a:cubicBezTo>
                  <a:cubicBezTo>
                    <a:pt x="123" y="5123"/>
                    <a:pt x="341" y="5260"/>
                    <a:pt x="460" y="5344"/>
                  </a:cubicBezTo>
                  <a:cubicBezTo>
                    <a:pt x="450" y="5199"/>
                    <a:pt x="614" y="5414"/>
                    <a:pt x="541" y="5239"/>
                  </a:cubicBezTo>
                  <a:cubicBezTo>
                    <a:pt x="506" y="5201"/>
                    <a:pt x="421" y="4929"/>
                    <a:pt x="467" y="5022"/>
                  </a:cubicBezTo>
                  <a:cubicBezTo>
                    <a:pt x="609" y="5103"/>
                    <a:pt x="611" y="5184"/>
                    <a:pt x="614" y="5378"/>
                  </a:cubicBezTo>
                  <a:cubicBezTo>
                    <a:pt x="767" y="5422"/>
                    <a:pt x="782" y="5663"/>
                    <a:pt x="890" y="5803"/>
                  </a:cubicBezTo>
                  <a:cubicBezTo>
                    <a:pt x="1046" y="6110"/>
                    <a:pt x="1197" y="6429"/>
                    <a:pt x="1257" y="6771"/>
                  </a:cubicBezTo>
                  <a:cubicBezTo>
                    <a:pt x="1300" y="6890"/>
                    <a:pt x="1213" y="6998"/>
                    <a:pt x="1191" y="7112"/>
                  </a:cubicBezTo>
                  <a:cubicBezTo>
                    <a:pt x="1134" y="7416"/>
                    <a:pt x="1186" y="7729"/>
                    <a:pt x="1265" y="8025"/>
                  </a:cubicBezTo>
                  <a:cubicBezTo>
                    <a:pt x="1336" y="8203"/>
                    <a:pt x="1354" y="8392"/>
                    <a:pt x="1301" y="8578"/>
                  </a:cubicBezTo>
                  <a:cubicBezTo>
                    <a:pt x="1243" y="8785"/>
                    <a:pt x="1150" y="8986"/>
                    <a:pt x="1113" y="9199"/>
                  </a:cubicBezTo>
                  <a:cubicBezTo>
                    <a:pt x="1089" y="9362"/>
                    <a:pt x="1010" y="9501"/>
                    <a:pt x="939" y="9651"/>
                  </a:cubicBezTo>
                  <a:cubicBezTo>
                    <a:pt x="953" y="9684"/>
                    <a:pt x="985" y="9831"/>
                    <a:pt x="976" y="9832"/>
                  </a:cubicBezTo>
                  <a:cubicBezTo>
                    <a:pt x="988" y="9854"/>
                    <a:pt x="1010" y="9869"/>
                    <a:pt x="1013" y="9895"/>
                  </a:cubicBezTo>
                  <a:cubicBezTo>
                    <a:pt x="1024" y="9991"/>
                    <a:pt x="1090" y="10112"/>
                    <a:pt x="1141" y="10178"/>
                  </a:cubicBezTo>
                  <a:cubicBezTo>
                    <a:pt x="1201" y="10185"/>
                    <a:pt x="1247" y="10198"/>
                    <a:pt x="1301" y="10199"/>
                  </a:cubicBezTo>
                  <a:cubicBezTo>
                    <a:pt x="1464" y="10187"/>
                    <a:pt x="1401" y="10213"/>
                    <a:pt x="1423" y="10288"/>
                  </a:cubicBezTo>
                  <a:cubicBezTo>
                    <a:pt x="1489" y="10363"/>
                    <a:pt x="1798" y="10270"/>
                    <a:pt x="1842" y="10256"/>
                  </a:cubicBezTo>
                  <a:cubicBezTo>
                    <a:pt x="1889" y="10242"/>
                    <a:pt x="1947" y="10183"/>
                    <a:pt x="2033" y="10023"/>
                  </a:cubicBezTo>
                  <a:cubicBezTo>
                    <a:pt x="2018" y="10017"/>
                    <a:pt x="2117" y="9776"/>
                    <a:pt x="2020" y="9708"/>
                  </a:cubicBezTo>
                  <a:cubicBezTo>
                    <a:pt x="1983" y="9494"/>
                    <a:pt x="1904" y="9287"/>
                    <a:pt x="1891" y="9066"/>
                  </a:cubicBezTo>
                  <a:cubicBezTo>
                    <a:pt x="1832" y="8793"/>
                    <a:pt x="1739" y="8509"/>
                    <a:pt x="1805" y="8229"/>
                  </a:cubicBezTo>
                  <a:cubicBezTo>
                    <a:pt x="1972" y="7883"/>
                    <a:pt x="2057" y="7502"/>
                    <a:pt x="2046" y="7117"/>
                  </a:cubicBezTo>
                  <a:cubicBezTo>
                    <a:pt x="2002" y="6766"/>
                    <a:pt x="2111" y="6423"/>
                    <a:pt x="2196" y="6086"/>
                  </a:cubicBezTo>
                  <a:cubicBezTo>
                    <a:pt x="2248" y="5913"/>
                    <a:pt x="2265" y="5689"/>
                    <a:pt x="2384" y="5562"/>
                  </a:cubicBezTo>
                  <a:cubicBezTo>
                    <a:pt x="2362" y="5668"/>
                    <a:pt x="2442" y="5629"/>
                    <a:pt x="2529" y="5586"/>
                  </a:cubicBezTo>
                  <a:cubicBezTo>
                    <a:pt x="2745" y="5529"/>
                    <a:pt x="2722" y="5272"/>
                    <a:pt x="2767" y="5098"/>
                  </a:cubicBezTo>
                  <a:cubicBezTo>
                    <a:pt x="2844" y="4774"/>
                    <a:pt x="2733" y="4454"/>
                    <a:pt x="2702" y="4133"/>
                  </a:cubicBezTo>
                  <a:cubicBezTo>
                    <a:pt x="2676" y="3729"/>
                    <a:pt x="2475" y="3358"/>
                    <a:pt x="2471" y="2953"/>
                  </a:cubicBezTo>
                  <a:cubicBezTo>
                    <a:pt x="2469" y="2765"/>
                    <a:pt x="2440" y="2566"/>
                    <a:pt x="2489" y="2386"/>
                  </a:cubicBezTo>
                  <a:cubicBezTo>
                    <a:pt x="2483" y="2351"/>
                    <a:pt x="2454" y="2085"/>
                    <a:pt x="2411" y="1961"/>
                  </a:cubicBezTo>
                  <a:cubicBezTo>
                    <a:pt x="2238" y="1829"/>
                    <a:pt x="2167" y="1626"/>
                    <a:pt x="2201" y="1405"/>
                  </a:cubicBezTo>
                  <a:cubicBezTo>
                    <a:pt x="2216" y="1240"/>
                    <a:pt x="2200" y="1400"/>
                    <a:pt x="2177" y="1481"/>
                  </a:cubicBezTo>
                  <a:cubicBezTo>
                    <a:pt x="2180" y="1256"/>
                    <a:pt x="2195" y="1031"/>
                    <a:pt x="2190" y="805"/>
                  </a:cubicBezTo>
                  <a:cubicBezTo>
                    <a:pt x="2200" y="546"/>
                    <a:pt x="2075" y="217"/>
                    <a:pt x="1897" y="125"/>
                  </a:cubicBezTo>
                  <a:cubicBezTo>
                    <a:pt x="1719" y="34"/>
                    <a:pt x="1640" y="2"/>
                    <a:pt x="1456" y="2"/>
                  </a:cubicBezTo>
                  <a:close/>
                  <a:moveTo>
                    <a:pt x="598" y="2727"/>
                  </a:moveTo>
                  <a:cubicBezTo>
                    <a:pt x="625" y="2693"/>
                    <a:pt x="655" y="2778"/>
                    <a:pt x="606" y="2850"/>
                  </a:cubicBezTo>
                  <a:cubicBezTo>
                    <a:pt x="550" y="2909"/>
                    <a:pt x="567" y="2839"/>
                    <a:pt x="578" y="2806"/>
                  </a:cubicBezTo>
                  <a:cubicBezTo>
                    <a:pt x="583" y="2764"/>
                    <a:pt x="590" y="2738"/>
                    <a:pt x="598" y="2727"/>
                  </a:cubicBezTo>
                  <a:close/>
                  <a:moveTo>
                    <a:pt x="549" y="2929"/>
                  </a:moveTo>
                  <a:cubicBezTo>
                    <a:pt x="581" y="2899"/>
                    <a:pt x="620" y="2989"/>
                    <a:pt x="585" y="3065"/>
                  </a:cubicBezTo>
                  <a:cubicBezTo>
                    <a:pt x="493" y="3104"/>
                    <a:pt x="505" y="3085"/>
                    <a:pt x="522" y="3005"/>
                  </a:cubicBezTo>
                  <a:cubicBezTo>
                    <a:pt x="528" y="2963"/>
                    <a:pt x="538" y="2939"/>
                    <a:pt x="549" y="2929"/>
                  </a:cubicBezTo>
                  <a:close/>
                  <a:moveTo>
                    <a:pt x="640" y="3073"/>
                  </a:moveTo>
                  <a:cubicBezTo>
                    <a:pt x="674" y="3389"/>
                    <a:pt x="675" y="3713"/>
                    <a:pt x="596" y="4023"/>
                  </a:cubicBezTo>
                  <a:cubicBezTo>
                    <a:pt x="493" y="4314"/>
                    <a:pt x="551" y="4620"/>
                    <a:pt x="585" y="4917"/>
                  </a:cubicBezTo>
                  <a:cubicBezTo>
                    <a:pt x="588" y="4947"/>
                    <a:pt x="590" y="4978"/>
                    <a:pt x="591" y="5009"/>
                  </a:cubicBezTo>
                  <a:cubicBezTo>
                    <a:pt x="548" y="5047"/>
                    <a:pt x="559" y="4722"/>
                    <a:pt x="491" y="4636"/>
                  </a:cubicBezTo>
                  <a:cubicBezTo>
                    <a:pt x="313" y="4446"/>
                    <a:pt x="325" y="4187"/>
                    <a:pt x="355" y="3947"/>
                  </a:cubicBezTo>
                  <a:cubicBezTo>
                    <a:pt x="401" y="3696"/>
                    <a:pt x="417" y="3439"/>
                    <a:pt x="478" y="3191"/>
                  </a:cubicBezTo>
                  <a:cubicBezTo>
                    <a:pt x="477" y="3105"/>
                    <a:pt x="583" y="3109"/>
                    <a:pt x="640" y="3073"/>
                  </a:cubicBezTo>
                  <a:close/>
                  <a:moveTo>
                    <a:pt x="2458" y="5350"/>
                  </a:moveTo>
                  <a:cubicBezTo>
                    <a:pt x="2418" y="5412"/>
                    <a:pt x="2569" y="5450"/>
                    <a:pt x="2523" y="5481"/>
                  </a:cubicBezTo>
                  <a:cubicBezTo>
                    <a:pt x="2361" y="5564"/>
                    <a:pt x="2357" y="5417"/>
                    <a:pt x="2458" y="5350"/>
                  </a:cubicBezTo>
                  <a:close/>
                  <a:moveTo>
                    <a:pt x="1467" y="9679"/>
                  </a:moveTo>
                  <a:cubicBezTo>
                    <a:pt x="1496" y="9647"/>
                    <a:pt x="1537" y="9770"/>
                    <a:pt x="1540" y="9850"/>
                  </a:cubicBezTo>
                  <a:cubicBezTo>
                    <a:pt x="1554" y="9992"/>
                    <a:pt x="1516" y="9975"/>
                    <a:pt x="1510" y="9865"/>
                  </a:cubicBezTo>
                  <a:cubicBezTo>
                    <a:pt x="1494" y="9751"/>
                    <a:pt x="1431" y="9908"/>
                    <a:pt x="1443" y="9769"/>
                  </a:cubicBezTo>
                  <a:cubicBezTo>
                    <a:pt x="1448" y="9716"/>
                    <a:pt x="1457" y="9690"/>
                    <a:pt x="1467" y="9679"/>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64" name="Freeform 27">
              <a:extLst>
                <a:ext uri="{FF2B5EF4-FFF2-40B4-BE49-F238E27FC236}">
                  <a16:creationId xmlns:a16="http://schemas.microsoft.com/office/drawing/2014/main" id="{4490E3C2-325A-4116-9332-800313C873C2}"/>
                </a:ext>
              </a:extLst>
            </p:cNvPr>
            <p:cNvSpPr>
              <a:spLocks/>
            </p:cNvSpPr>
            <p:nvPr/>
          </p:nvSpPr>
          <p:spPr bwMode="auto">
            <a:xfrm>
              <a:off x="5162" y="2643"/>
              <a:ext cx="394" cy="1278"/>
            </a:xfrm>
            <a:custGeom>
              <a:avLst/>
              <a:gdLst>
                <a:gd name="T0" fmla="*/ 1272 w 3219"/>
                <a:gd name="T1" fmla="*/ 10194 h 10424"/>
                <a:gd name="T2" fmla="*/ 1237 w 3219"/>
                <a:gd name="T3" fmla="*/ 9517 h 10424"/>
                <a:gd name="T4" fmla="*/ 1021 w 3219"/>
                <a:gd name="T5" fmla="*/ 8502 h 10424"/>
                <a:gd name="T6" fmla="*/ 944 w 3219"/>
                <a:gd name="T7" fmla="*/ 7041 h 10424"/>
                <a:gd name="T8" fmla="*/ 609 w 3219"/>
                <a:gd name="T9" fmla="*/ 6009 h 10424"/>
                <a:gd name="T10" fmla="*/ 457 w 3219"/>
                <a:gd name="T11" fmla="*/ 5671 h 10424"/>
                <a:gd name="T12" fmla="*/ 352 w 3219"/>
                <a:gd name="T13" fmla="*/ 5588 h 10424"/>
                <a:gd name="T14" fmla="*/ 29 w 3219"/>
                <a:gd name="T15" fmla="*/ 5425 h 10424"/>
                <a:gd name="T16" fmla="*/ 431 w 3219"/>
                <a:gd name="T17" fmla="*/ 4848 h 10424"/>
                <a:gd name="T18" fmla="*/ 677 w 3219"/>
                <a:gd name="T19" fmla="*/ 3423 h 10424"/>
                <a:gd name="T20" fmla="*/ 640 w 3219"/>
                <a:gd name="T21" fmla="*/ 3065 h 10424"/>
                <a:gd name="T22" fmla="*/ 632 w 3219"/>
                <a:gd name="T23" fmla="*/ 2565 h 10424"/>
                <a:gd name="T24" fmla="*/ 515 w 3219"/>
                <a:gd name="T25" fmla="*/ 2028 h 10424"/>
                <a:gd name="T26" fmla="*/ 596 w 3219"/>
                <a:gd name="T27" fmla="*/ 1467 h 10424"/>
                <a:gd name="T28" fmla="*/ 857 w 3219"/>
                <a:gd name="T29" fmla="*/ 753 h 10424"/>
                <a:gd name="T30" fmla="*/ 1448 w 3219"/>
                <a:gd name="T31" fmla="*/ 57 h 10424"/>
                <a:gd name="T32" fmla="*/ 2236 w 3219"/>
                <a:gd name="T33" fmla="*/ 464 h 10424"/>
                <a:gd name="T34" fmla="*/ 2431 w 3219"/>
                <a:gd name="T35" fmla="*/ 826 h 10424"/>
                <a:gd name="T36" fmla="*/ 2657 w 3219"/>
                <a:gd name="T37" fmla="*/ 1331 h 10424"/>
                <a:gd name="T38" fmla="*/ 2774 w 3219"/>
                <a:gd name="T39" fmla="*/ 1745 h 10424"/>
                <a:gd name="T40" fmla="*/ 2871 w 3219"/>
                <a:gd name="T41" fmla="*/ 2701 h 10424"/>
                <a:gd name="T42" fmla="*/ 2935 w 3219"/>
                <a:gd name="T43" fmla="*/ 4204 h 10424"/>
                <a:gd name="T44" fmla="*/ 3066 w 3219"/>
                <a:gd name="T45" fmla="*/ 5042 h 10424"/>
                <a:gd name="T46" fmla="*/ 3205 w 3219"/>
                <a:gd name="T47" fmla="*/ 5483 h 10424"/>
                <a:gd name="T48" fmla="*/ 3001 w 3219"/>
                <a:gd name="T49" fmla="*/ 5635 h 10424"/>
                <a:gd name="T50" fmla="*/ 2875 w 3219"/>
                <a:gd name="T51" fmla="*/ 5649 h 10424"/>
                <a:gd name="T52" fmla="*/ 2657 w 3219"/>
                <a:gd name="T53" fmla="*/ 5585 h 10424"/>
                <a:gd name="T54" fmla="*/ 2323 w 3219"/>
                <a:gd name="T55" fmla="*/ 6347 h 10424"/>
                <a:gd name="T56" fmla="*/ 1922 w 3219"/>
                <a:gd name="T57" fmla="*/ 7404 h 10424"/>
                <a:gd name="T58" fmla="*/ 1678 w 3219"/>
                <a:gd name="T59" fmla="*/ 9129 h 10424"/>
                <a:gd name="T60" fmla="*/ 1737 w 3219"/>
                <a:gd name="T61" fmla="*/ 10193 h 10424"/>
                <a:gd name="T62" fmla="*/ 1213 w 3219"/>
                <a:gd name="T63" fmla="*/ 10371 h 10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9" h="10424">
                  <a:moveTo>
                    <a:pt x="1213" y="10371"/>
                  </a:moveTo>
                  <a:cubicBezTo>
                    <a:pt x="1214" y="10342"/>
                    <a:pt x="1240" y="10263"/>
                    <a:pt x="1272" y="10194"/>
                  </a:cubicBezTo>
                  <a:cubicBezTo>
                    <a:pt x="1349" y="10029"/>
                    <a:pt x="1355" y="9786"/>
                    <a:pt x="1283" y="9748"/>
                  </a:cubicBezTo>
                  <a:cubicBezTo>
                    <a:pt x="1242" y="9725"/>
                    <a:pt x="1237" y="9699"/>
                    <a:pt x="1237" y="9517"/>
                  </a:cubicBezTo>
                  <a:cubicBezTo>
                    <a:pt x="1237" y="9253"/>
                    <a:pt x="1186" y="8969"/>
                    <a:pt x="1094" y="8708"/>
                  </a:cubicBezTo>
                  <a:lnTo>
                    <a:pt x="1021" y="8502"/>
                  </a:lnTo>
                  <a:lnTo>
                    <a:pt x="1014" y="7868"/>
                  </a:lnTo>
                  <a:cubicBezTo>
                    <a:pt x="1008" y="7248"/>
                    <a:pt x="1006" y="7229"/>
                    <a:pt x="944" y="7041"/>
                  </a:cubicBezTo>
                  <a:cubicBezTo>
                    <a:pt x="909" y="6935"/>
                    <a:pt x="856" y="6798"/>
                    <a:pt x="825" y="6737"/>
                  </a:cubicBezTo>
                  <a:cubicBezTo>
                    <a:pt x="779" y="6645"/>
                    <a:pt x="706" y="6399"/>
                    <a:pt x="609" y="6009"/>
                  </a:cubicBezTo>
                  <a:cubicBezTo>
                    <a:pt x="587" y="5922"/>
                    <a:pt x="507" y="5663"/>
                    <a:pt x="499" y="5651"/>
                  </a:cubicBezTo>
                  <a:cubicBezTo>
                    <a:pt x="495" y="5646"/>
                    <a:pt x="476" y="5655"/>
                    <a:pt x="457" y="5671"/>
                  </a:cubicBezTo>
                  <a:cubicBezTo>
                    <a:pt x="419" y="5702"/>
                    <a:pt x="413" y="5692"/>
                    <a:pt x="420" y="5609"/>
                  </a:cubicBezTo>
                  <a:cubicBezTo>
                    <a:pt x="426" y="5535"/>
                    <a:pt x="378" y="5520"/>
                    <a:pt x="352" y="5588"/>
                  </a:cubicBezTo>
                  <a:cubicBezTo>
                    <a:pt x="309" y="5701"/>
                    <a:pt x="131" y="5694"/>
                    <a:pt x="43" y="5575"/>
                  </a:cubicBezTo>
                  <a:cubicBezTo>
                    <a:pt x="1" y="5519"/>
                    <a:pt x="0" y="5506"/>
                    <a:pt x="29" y="5425"/>
                  </a:cubicBezTo>
                  <a:cubicBezTo>
                    <a:pt x="46" y="5376"/>
                    <a:pt x="96" y="5304"/>
                    <a:pt x="140" y="5265"/>
                  </a:cubicBezTo>
                  <a:cubicBezTo>
                    <a:pt x="358" y="5071"/>
                    <a:pt x="393" y="5021"/>
                    <a:pt x="431" y="4848"/>
                  </a:cubicBezTo>
                  <a:cubicBezTo>
                    <a:pt x="483" y="4615"/>
                    <a:pt x="538" y="4239"/>
                    <a:pt x="538" y="4115"/>
                  </a:cubicBezTo>
                  <a:cubicBezTo>
                    <a:pt x="538" y="4011"/>
                    <a:pt x="638" y="3511"/>
                    <a:pt x="677" y="3423"/>
                  </a:cubicBezTo>
                  <a:cubicBezTo>
                    <a:pt x="688" y="3398"/>
                    <a:pt x="702" y="3333"/>
                    <a:pt x="708" y="3280"/>
                  </a:cubicBezTo>
                  <a:cubicBezTo>
                    <a:pt x="717" y="3198"/>
                    <a:pt x="707" y="3164"/>
                    <a:pt x="640" y="3065"/>
                  </a:cubicBezTo>
                  <a:cubicBezTo>
                    <a:pt x="545" y="2925"/>
                    <a:pt x="535" y="2799"/>
                    <a:pt x="609" y="2704"/>
                  </a:cubicBezTo>
                  <a:cubicBezTo>
                    <a:pt x="651" y="2651"/>
                    <a:pt x="654" y="2632"/>
                    <a:pt x="632" y="2565"/>
                  </a:cubicBezTo>
                  <a:cubicBezTo>
                    <a:pt x="618" y="2523"/>
                    <a:pt x="576" y="2459"/>
                    <a:pt x="539" y="2423"/>
                  </a:cubicBezTo>
                  <a:cubicBezTo>
                    <a:pt x="432" y="2320"/>
                    <a:pt x="425" y="2211"/>
                    <a:pt x="515" y="2028"/>
                  </a:cubicBezTo>
                  <a:cubicBezTo>
                    <a:pt x="564" y="1929"/>
                    <a:pt x="585" y="1857"/>
                    <a:pt x="576" y="1823"/>
                  </a:cubicBezTo>
                  <a:cubicBezTo>
                    <a:pt x="569" y="1793"/>
                    <a:pt x="578" y="1633"/>
                    <a:pt x="596" y="1467"/>
                  </a:cubicBezTo>
                  <a:cubicBezTo>
                    <a:pt x="625" y="1211"/>
                    <a:pt x="642" y="1141"/>
                    <a:pt x="710" y="1002"/>
                  </a:cubicBezTo>
                  <a:cubicBezTo>
                    <a:pt x="754" y="912"/>
                    <a:pt x="820" y="800"/>
                    <a:pt x="857" y="753"/>
                  </a:cubicBezTo>
                  <a:cubicBezTo>
                    <a:pt x="894" y="707"/>
                    <a:pt x="949" y="594"/>
                    <a:pt x="980" y="501"/>
                  </a:cubicBezTo>
                  <a:cubicBezTo>
                    <a:pt x="1055" y="275"/>
                    <a:pt x="1206" y="132"/>
                    <a:pt x="1448" y="57"/>
                  </a:cubicBezTo>
                  <a:cubicBezTo>
                    <a:pt x="1633" y="0"/>
                    <a:pt x="1690" y="4"/>
                    <a:pt x="1872" y="92"/>
                  </a:cubicBezTo>
                  <a:cubicBezTo>
                    <a:pt x="2051" y="178"/>
                    <a:pt x="2177" y="306"/>
                    <a:pt x="2236" y="464"/>
                  </a:cubicBezTo>
                  <a:cubicBezTo>
                    <a:pt x="2263" y="537"/>
                    <a:pt x="2311" y="631"/>
                    <a:pt x="2341" y="671"/>
                  </a:cubicBezTo>
                  <a:cubicBezTo>
                    <a:pt x="2372" y="712"/>
                    <a:pt x="2412" y="781"/>
                    <a:pt x="2431" y="826"/>
                  </a:cubicBezTo>
                  <a:cubicBezTo>
                    <a:pt x="2449" y="871"/>
                    <a:pt x="2508" y="965"/>
                    <a:pt x="2561" y="1035"/>
                  </a:cubicBezTo>
                  <a:cubicBezTo>
                    <a:pt x="2653" y="1157"/>
                    <a:pt x="2657" y="1170"/>
                    <a:pt x="2657" y="1331"/>
                  </a:cubicBezTo>
                  <a:cubicBezTo>
                    <a:pt x="2657" y="1466"/>
                    <a:pt x="2669" y="1521"/>
                    <a:pt x="2716" y="1609"/>
                  </a:cubicBezTo>
                  <a:cubicBezTo>
                    <a:pt x="2748" y="1669"/>
                    <a:pt x="2774" y="1730"/>
                    <a:pt x="2774" y="1745"/>
                  </a:cubicBezTo>
                  <a:cubicBezTo>
                    <a:pt x="2774" y="1760"/>
                    <a:pt x="2798" y="1819"/>
                    <a:pt x="2826" y="1876"/>
                  </a:cubicBezTo>
                  <a:cubicBezTo>
                    <a:pt x="2878" y="1977"/>
                    <a:pt x="2879" y="1991"/>
                    <a:pt x="2871" y="2701"/>
                  </a:cubicBezTo>
                  <a:cubicBezTo>
                    <a:pt x="2866" y="3197"/>
                    <a:pt x="2873" y="3456"/>
                    <a:pt x="2891" y="3528"/>
                  </a:cubicBezTo>
                  <a:cubicBezTo>
                    <a:pt x="2906" y="3586"/>
                    <a:pt x="2926" y="3890"/>
                    <a:pt x="2935" y="4204"/>
                  </a:cubicBezTo>
                  <a:cubicBezTo>
                    <a:pt x="2949" y="4716"/>
                    <a:pt x="2956" y="4786"/>
                    <a:pt x="3000" y="4880"/>
                  </a:cubicBezTo>
                  <a:cubicBezTo>
                    <a:pt x="3027" y="4937"/>
                    <a:pt x="3056" y="5010"/>
                    <a:pt x="3066" y="5042"/>
                  </a:cubicBezTo>
                  <a:cubicBezTo>
                    <a:pt x="3075" y="5074"/>
                    <a:pt x="3113" y="5160"/>
                    <a:pt x="3152" y="5233"/>
                  </a:cubicBezTo>
                  <a:cubicBezTo>
                    <a:pt x="3213" y="5349"/>
                    <a:pt x="3219" y="5380"/>
                    <a:pt x="3205" y="5483"/>
                  </a:cubicBezTo>
                  <a:cubicBezTo>
                    <a:pt x="3193" y="5569"/>
                    <a:pt x="3178" y="5603"/>
                    <a:pt x="3150" y="5605"/>
                  </a:cubicBezTo>
                  <a:cubicBezTo>
                    <a:pt x="3061" y="5615"/>
                    <a:pt x="3040" y="5619"/>
                    <a:pt x="3001" y="5635"/>
                  </a:cubicBezTo>
                  <a:cubicBezTo>
                    <a:pt x="2979" y="5645"/>
                    <a:pt x="2946" y="5647"/>
                    <a:pt x="2928" y="5641"/>
                  </a:cubicBezTo>
                  <a:cubicBezTo>
                    <a:pt x="2910" y="5634"/>
                    <a:pt x="2887" y="5638"/>
                    <a:pt x="2875" y="5649"/>
                  </a:cubicBezTo>
                  <a:cubicBezTo>
                    <a:pt x="2838" y="5687"/>
                    <a:pt x="2760" y="5646"/>
                    <a:pt x="2733" y="5575"/>
                  </a:cubicBezTo>
                  <a:cubicBezTo>
                    <a:pt x="2704" y="5497"/>
                    <a:pt x="2657" y="5504"/>
                    <a:pt x="2657" y="5585"/>
                  </a:cubicBezTo>
                  <a:cubicBezTo>
                    <a:pt x="2657" y="5681"/>
                    <a:pt x="2611" y="5799"/>
                    <a:pt x="2489" y="6021"/>
                  </a:cubicBezTo>
                  <a:cubicBezTo>
                    <a:pt x="2421" y="6143"/>
                    <a:pt x="2347" y="6290"/>
                    <a:pt x="2323" y="6347"/>
                  </a:cubicBezTo>
                  <a:cubicBezTo>
                    <a:pt x="2257" y="6503"/>
                    <a:pt x="2170" y="6669"/>
                    <a:pt x="2072" y="6819"/>
                  </a:cubicBezTo>
                  <a:cubicBezTo>
                    <a:pt x="1973" y="6974"/>
                    <a:pt x="1939" y="7104"/>
                    <a:pt x="1922" y="7404"/>
                  </a:cubicBezTo>
                  <a:cubicBezTo>
                    <a:pt x="1909" y="7638"/>
                    <a:pt x="1889" y="7758"/>
                    <a:pt x="1807" y="8106"/>
                  </a:cubicBezTo>
                  <a:cubicBezTo>
                    <a:pt x="1733" y="8422"/>
                    <a:pt x="1708" y="8618"/>
                    <a:pt x="1678" y="9129"/>
                  </a:cubicBezTo>
                  <a:cubicBezTo>
                    <a:pt x="1656" y="9495"/>
                    <a:pt x="1658" y="9603"/>
                    <a:pt x="1688" y="9802"/>
                  </a:cubicBezTo>
                  <a:cubicBezTo>
                    <a:pt x="1707" y="9933"/>
                    <a:pt x="1729" y="10109"/>
                    <a:pt x="1737" y="10193"/>
                  </a:cubicBezTo>
                  <a:cubicBezTo>
                    <a:pt x="1758" y="10410"/>
                    <a:pt x="1741" y="10424"/>
                    <a:pt x="1444" y="10424"/>
                  </a:cubicBezTo>
                  <a:cubicBezTo>
                    <a:pt x="1220" y="10424"/>
                    <a:pt x="1213" y="10422"/>
                    <a:pt x="1213" y="10371"/>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65" name="Freeform 28">
              <a:extLst>
                <a:ext uri="{FF2B5EF4-FFF2-40B4-BE49-F238E27FC236}">
                  <a16:creationId xmlns:a16="http://schemas.microsoft.com/office/drawing/2014/main" id="{CA29E2E1-5F0D-4FAF-AF22-2EB6E9443C3E}"/>
                </a:ext>
              </a:extLst>
            </p:cNvPr>
            <p:cNvSpPr>
              <a:spLocks noEditPoints="1"/>
            </p:cNvSpPr>
            <p:nvPr/>
          </p:nvSpPr>
          <p:spPr bwMode="auto">
            <a:xfrm>
              <a:off x="3441" y="2625"/>
              <a:ext cx="424" cy="1240"/>
            </a:xfrm>
            <a:custGeom>
              <a:avLst/>
              <a:gdLst>
                <a:gd name="T0" fmla="*/ 746 w 3462"/>
                <a:gd name="T1" fmla="*/ 9498 h 10115"/>
                <a:gd name="T2" fmla="*/ 984 w 3462"/>
                <a:gd name="T3" fmla="*/ 7190 h 10115"/>
                <a:gd name="T4" fmla="*/ 1067 w 3462"/>
                <a:gd name="T5" fmla="*/ 6049 h 10115"/>
                <a:gd name="T6" fmla="*/ 936 w 3462"/>
                <a:gd name="T7" fmla="*/ 4712 h 10115"/>
                <a:gd name="T8" fmla="*/ 836 w 3462"/>
                <a:gd name="T9" fmla="*/ 3599 h 10115"/>
                <a:gd name="T10" fmla="*/ 538 w 3462"/>
                <a:gd name="T11" fmla="*/ 3923 h 10115"/>
                <a:gd name="T12" fmla="*/ 485 w 3462"/>
                <a:gd name="T13" fmla="*/ 4853 h 10115"/>
                <a:gd name="T14" fmla="*/ 18 w 3462"/>
                <a:gd name="T15" fmla="*/ 4854 h 10115"/>
                <a:gd name="T16" fmla="*/ 187 w 3462"/>
                <a:gd name="T17" fmla="*/ 3429 h 10115"/>
                <a:gd name="T18" fmla="*/ 331 w 3462"/>
                <a:gd name="T19" fmla="*/ 2448 h 10115"/>
                <a:gd name="T20" fmla="*/ 548 w 3462"/>
                <a:gd name="T21" fmla="*/ 1738 h 10115"/>
                <a:gd name="T22" fmla="*/ 1287 w 3462"/>
                <a:gd name="T23" fmla="*/ 228 h 10115"/>
                <a:gd name="T24" fmla="*/ 2231 w 3462"/>
                <a:gd name="T25" fmla="*/ 430 h 10115"/>
                <a:gd name="T26" fmla="*/ 2496 w 3462"/>
                <a:gd name="T27" fmla="*/ 1759 h 10115"/>
                <a:gd name="T28" fmla="*/ 3096 w 3462"/>
                <a:gd name="T29" fmla="*/ 2734 h 10115"/>
                <a:gd name="T30" fmla="*/ 3329 w 3462"/>
                <a:gd name="T31" fmla="*/ 3901 h 10115"/>
                <a:gd name="T32" fmla="*/ 3172 w 3462"/>
                <a:gd name="T33" fmla="*/ 5162 h 10115"/>
                <a:gd name="T34" fmla="*/ 3138 w 3462"/>
                <a:gd name="T35" fmla="*/ 5780 h 10115"/>
                <a:gd name="T36" fmla="*/ 2733 w 3462"/>
                <a:gd name="T37" fmla="*/ 6740 h 10115"/>
                <a:gd name="T38" fmla="*/ 2552 w 3462"/>
                <a:gd name="T39" fmla="*/ 7095 h 10115"/>
                <a:gd name="T40" fmla="*/ 2256 w 3462"/>
                <a:gd name="T41" fmla="*/ 8681 h 10115"/>
                <a:gd name="T42" fmla="*/ 2268 w 3462"/>
                <a:gd name="T43" fmla="*/ 9852 h 10115"/>
                <a:gd name="T44" fmla="*/ 1713 w 3462"/>
                <a:gd name="T45" fmla="*/ 9735 h 10115"/>
                <a:gd name="T46" fmla="*/ 1909 w 3462"/>
                <a:gd name="T47" fmla="*/ 8561 h 10115"/>
                <a:gd name="T48" fmla="*/ 1896 w 3462"/>
                <a:gd name="T49" fmla="*/ 6480 h 10115"/>
                <a:gd name="T50" fmla="*/ 1651 w 3462"/>
                <a:gd name="T51" fmla="*/ 7223 h 10115"/>
                <a:gd name="T52" fmla="*/ 1293 w 3462"/>
                <a:gd name="T53" fmla="*/ 8492 h 10115"/>
                <a:gd name="T54" fmla="*/ 1240 w 3462"/>
                <a:gd name="T55" fmla="*/ 9646 h 10115"/>
                <a:gd name="T56" fmla="*/ 863 w 3462"/>
                <a:gd name="T57" fmla="*/ 10070 h 10115"/>
                <a:gd name="T58" fmla="*/ 2892 w 3462"/>
                <a:gd name="T59" fmla="*/ 3798 h 10115"/>
                <a:gd name="T60" fmla="*/ 2635 w 3462"/>
                <a:gd name="T61" fmla="*/ 2910 h 10115"/>
                <a:gd name="T62" fmla="*/ 2375 w 3462"/>
                <a:gd name="T63" fmla="*/ 2756 h 10115"/>
                <a:gd name="T64" fmla="*/ 2619 w 3462"/>
                <a:gd name="T65" fmla="*/ 3612 h 10115"/>
                <a:gd name="T66" fmla="*/ 2635 w 3462"/>
                <a:gd name="T67" fmla="*/ 6679 h 10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62" h="10115">
                  <a:moveTo>
                    <a:pt x="826" y="10039"/>
                  </a:moveTo>
                  <a:cubicBezTo>
                    <a:pt x="693" y="9904"/>
                    <a:pt x="712" y="9672"/>
                    <a:pt x="746" y="9498"/>
                  </a:cubicBezTo>
                  <a:cubicBezTo>
                    <a:pt x="780" y="9156"/>
                    <a:pt x="874" y="8818"/>
                    <a:pt x="872" y="8471"/>
                  </a:cubicBezTo>
                  <a:cubicBezTo>
                    <a:pt x="894" y="8044"/>
                    <a:pt x="835" y="7600"/>
                    <a:pt x="984" y="7190"/>
                  </a:cubicBezTo>
                  <a:cubicBezTo>
                    <a:pt x="1086" y="7027"/>
                    <a:pt x="1106" y="6826"/>
                    <a:pt x="1132" y="6640"/>
                  </a:cubicBezTo>
                  <a:cubicBezTo>
                    <a:pt x="1157" y="6437"/>
                    <a:pt x="1056" y="6250"/>
                    <a:pt x="1067" y="6049"/>
                  </a:cubicBezTo>
                  <a:cubicBezTo>
                    <a:pt x="1072" y="5856"/>
                    <a:pt x="1057" y="5665"/>
                    <a:pt x="1024" y="5477"/>
                  </a:cubicBezTo>
                  <a:cubicBezTo>
                    <a:pt x="997" y="5222"/>
                    <a:pt x="968" y="4966"/>
                    <a:pt x="936" y="4712"/>
                  </a:cubicBezTo>
                  <a:cubicBezTo>
                    <a:pt x="926" y="4525"/>
                    <a:pt x="966" y="4344"/>
                    <a:pt x="938" y="4162"/>
                  </a:cubicBezTo>
                  <a:cubicBezTo>
                    <a:pt x="899" y="3976"/>
                    <a:pt x="857" y="3789"/>
                    <a:pt x="836" y="3599"/>
                  </a:cubicBezTo>
                  <a:cubicBezTo>
                    <a:pt x="772" y="3442"/>
                    <a:pt x="756" y="3225"/>
                    <a:pt x="703" y="3097"/>
                  </a:cubicBezTo>
                  <a:cubicBezTo>
                    <a:pt x="605" y="3362"/>
                    <a:pt x="616" y="3652"/>
                    <a:pt x="538" y="3923"/>
                  </a:cubicBezTo>
                  <a:cubicBezTo>
                    <a:pt x="498" y="4131"/>
                    <a:pt x="448" y="4348"/>
                    <a:pt x="484" y="4558"/>
                  </a:cubicBezTo>
                  <a:cubicBezTo>
                    <a:pt x="638" y="4606"/>
                    <a:pt x="606" y="4805"/>
                    <a:pt x="485" y="4853"/>
                  </a:cubicBezTo>
                  <a:cubicBezTo>
                    <a:pt x="339" y="4642"/>
                    <a:pt x="361" y="4997"/>
                    <a:pt x="445" y="5063"/>
                  </a:cubicBezTo>
                  <a:cubicBezTo>
                    <a:pt x="299" y="5155"/>
                    <a:pt x="0" y="5069"/>
                    <a:pt x="18" y="4854"/>
                  </a:cubicBezTo>
                  <a:cubicBezTo>
                    <a:pt x="79" y="4688"/>
                    <a:pt x="224" y="4560"/>
                    <a:pt x="172" y="4359"/>
                  </a:cubicBezTo>
                  <a:cubicBezTo>
                    <a:pt x="177" y="4049"/>
                    <a:pt x="110" y="3736"/>
                    <a:pt x="187" y="3429"/>
                  </a:cubicBezTo>
                  <a:cubicBezTo>
                    <a:pt x="214" y="3251"/>
                    <a:pt x="224" y="3072"/>
                    <a:pt x="278" y="2900"/>
                  </a:cubicBezTo>
                  <a:cubicBezTo>
                    <a:pt x="275" y="2757"/>
                    <a:pt x="399" y="2555"/>
                    <a:pt x="331" y="2448"/>
                  </a:cubicBezTo>
                  <a:cubicBezTo>
                    <a:pt x="173" y="2444"/>
                    <a:pt x="279" y="2377"/>
                    <a:pt x="369" y="2380"/>
                  </a:cubicBezTo>
                  <a:cubicBezTo>
                    <a:pt x="323" y="2150"/>
                    <a:pt x="473" y="1945"/>
                    <a:pt x="548" y="1738"/>
                  </a:cubicBezTo>
                  <a:cubicBezTo>
                    <a:pt x="606" y="1522"/>
                    <a:pt x="906" y="1523"/>
                    <a:pt x="952" y="1319"/>
                  </a:cubicBezTo>
                  <a:cubicBezTo>
                    <a:pt x="995" y="939"/>
                    <a:pt x="1104" y="564"/>
                    <a:pt x="1287" y="228"/>
                  </a:cubicBezTo>
                  <a:cubicBezTo>
                    <a:pt x="1403" y="64"/>
                    <a:pt x="1620" y="20"/>
                    <a:pt x="1807" y="0"/>
                  </a:cubicBezTo>
                  <a:cubicBezTo>
                    <a:pt x="2034" y="14"/>
                    <a:pt x="2163" y="237"/>
                    <a:pt x="2231" y="430"/>
                  </a:cubicBezTo>
                  <a:cubicBezTo>
                    <a:pt x="2329" y="766"/>
                    <a:pt x="2293" y="1119"/>
                    <a:pt x="2303" y="1465"/>
                  </a:cubicBezTo>
                  <a:cubicBezTo>
                    <a:pt x="2375" y="1558"/>
                    <a:pt x="2417" y="1674"/>
                    <a:pt x="2496" y="1759"/>
                  </a:cubicBezTo>
                  <a:cubicBezTo>
                    <a:pt x="2716" y="1752"/>
                    <a:pt x="2752" y="1984"/>
                    <a:pt x="2827" y="2143"/>
                  </a:cubicBezTo>
                  <a:cubicBezTo>
                    <a:pt x="2919" y="2339"/>
                    <a:pt x="2996" y="2542"/>
                    <a:pt x="3096" y="2734"/>
                  </a:cubicBezTo>
                  <a:cubicBezTo>
                    <a:pt x="3237" y="2938"/>
                    <a:pt x="3434" y="3129"/>
                    <a:pt x="3462" y="3388"/>
                  </a:cubicBezTo>
                  <a:cubicBezTo>
                    <a:pt x="3419" y="3559"/>
                    <a:pt x="3403" y="3746"/>
                    <a:pt x="3329" y="3901"/>
                  </a:cubicBezTo>
                  <a:cubicBezTo>
                    <a:pt x="3242" y="4058"/>
                    <a:pt x="3089" y="4216"/>
                    <a:pt x="3148" y="4410"/>
                  </a:cubicBezTo>
                  <a:cubicBezTo>
                    <a:pt x="3207" y="4657"/>
                    <a:pt x="3206" y="4912"/>
                    <a:pt x="3172" y="5162"/>
                  </a:cubicBezTo>
                  <a:cubicBezTo>
                    <a:pt x="3187" y="5310"/>
                    <a:pt x="3197" y="5462"/>
                    <a:pt x="3247" y="5603"/>
                  </a:cubicBezTo>
                  <a:cubicBezTo>
                    <a:pt x="3205" y="5660"/>
                    <a:pt x="3121" y="5698"/>
                    <a:pt x="3138" y="5780"/>
                  </a:cubicBezTo>
                  <a:cubicBezTo>
                    <a:pt x="3131" y="5966"/>
                    <a:pt x="3118" y="6155"/>
                    <a:pt x="3091" y="6338"/>
                  </a:cubicBezTo>
                  <a:cubicBezTo>
                    <a:pt x="2983" y="6480"/>
                    <a:pt x="2880" y="6632"/>
                    <a:pt x="2733" y="6740"/>
                  </a:cubicBezTo>
                  <a:cubicBezTo>
                    <a:pt x="2730" y="6660"/>
                    <a:pt x="2668" y="6319"/>
                    <a:pt x="2595" y="6519"/>
                  </a:cubicBezTo>
                  <a:cubicBezTo>
                    <a:pt x="2549" y="6706"/>
                    <a:pt x="2501" y="6904"/>
                    <a:pt x="2552" y="7095"/>
                  </a:cubicBezTo>
                  <a:cubicBezTo>
                    <a:pt x="2597" y="7351"/>
                    <a:pt x="2575" y="7617"/>
                    <a:pt x="2526" y="7870"/>
                  </a:cubicBezTo>
                  <a:cubicBezTo>
                    <a:pt x="2471" y="8151"/>
                    <a:pt x="2348" y="8411"/>
                    <a:pt x="2256" y="8681"/>
                  </a:cubicBezTo>
                  <a:cubicBezTo>
                    <a:pt x="2187" y="8863"/>
                    <a:pt x="2206" y="9067"/>
                    <a:pt x="2219" y="9257"/>
                  </a:cubicBezTo>
                  <a:cubicBezTo>
                    <a:pt x="2247" y="9454"/>
                    <a:pt x="2245" y="9655"/>
                    <a:pt x="2268" y="9852"/>
                  </a:cubicBezTo>
                  <a:cubicBezTo>
                    <a:pt x="2147" y="9986"/>
                    <a:pt x="1927" y="9988"/>
                    <a:pt x="1756" y="9976"/>
                  </a:cubicBezTo>
                  <a:cubicBezTo>
                    <a:pt x="1610" y="9985"/>
                    <a:pt x="1683" y="9814"/>
                    <a:pt x="1713" y="9735"/>
                  </a:cubicBezTo>
                  <a:cubicBezTo>
                    <a:pt x="1792" y="9537"/>
                    <a:pt x="1724" y="9323"/>
                    <a:pt x="1799" y="9126"/>
                  </a:cubicBezTo>
                  <a:cubicBezTo>
                    <a:pt x="1841" y="8939"/>
                    <a:pt x="1921" y="8757"/>
                    <a:pt x="1909" y="8561"/>
                  </a:cubicBezTo>
                  <a:cubicBezTo>
                    <a:pt x="1917" y="8157"/>
                    <a:pt x="1844" y="7754"/>
                    <a:pt x="1895" y="7351"/>
                  </a:cubicBezTo>
                  <a:cubicBezTo>
                    <a:pt x="1943" y="7061"/>
                    <a:pt x="1853" y="6770"/>
                    <a:pt x="1896" y="6480"/>
                  </a:cubicBezTo>
                  <a:cubicBezTo>
                    <a:pt x="1875" y="6369"/>
                    <a:pt x="1843" y="6644"/>
                    <a:pt x="1820" y="6689"/>
                  </a:cubicBezTo>
                  <a:cubicBezTo>
                    <a:pt x="1784" y="6873"/>
                    <a:pt x="1753" y="7061"/>
                    <a:pt x="1651" y="7223"/>
                  </a:cubicBezTo>
                  <a:cubicBezTo>
                    <a:pt x="1617" y="7455"/>
                    <a:pt x="1625" y="7699"/>
                    <a:pt x="1538" y="7923"/>
                  </a:cubicBezTo>
                  <a:cubicBezTo>
                    <a:pt x="1469" y="8118"/>
                    <a:pt x="1357" y="8296"/>
                    <a:pt x="1293" y="8492"/>
                  </a:cubicBezTo>
                  <a:cubicBezTo>
                    <a:pt x="1262" y="8671"/>
                    <a:pt x="1187" y="8847"/>
                    <a:pt x="1221" y="9032"/>
                  </a:cubicBezTo>
                  <a:cubicBezTo>
                    <a:pt x="1242" y="9236"/>
                    <a:pt x="1204" y="9442"/>
                    <a:pt x="1240" y="9646"/>
                  </a:cubicBezTo>
                  <a:cubicBezTo>
                    <a:pt x="1206" y="9785"/>
                    <a:pt x="1310" y="10048"/>
                    <a:pt x="1112" y="10077"/>
                  </a:cubicBezTo>
                  <a:cubicBezTo>
                    <a:pt x="1032" y="10070"/>
                    <a:pt x="932" y="10115"/>
                    <a:pt x="863" y="10070"/>
                  </a:cubicBezTo>
                  <a:cubicBezTo>
                    <a:pt x="851" y="10060"/>
                    <a:pt x="839" y="10049"/>
                    <a:pt x="826" y="10039"/>
                  </a:cubicBezTo>
                  <a:close/>
                  <a:moveTo>
                    <a:pt x="2892" y="3798"/>
                  </a:moveTo>
                  <a:cubicBezTo>
                    <a:pt x="3095" y="3730"/>
                    <a:pt x="3068" y="3501"/>
                    <a:pt x="3012" y="3340"/>
                  </a:cubicBezTo>
                  <a:cubicBezTo>
                    <a:pt x="2946" y="3157"/>
                    <a:pt x="2763" y="3048"/>
                    <a:pt x="2635" y="2910"/>
                  </a:cubicBezTo>
                  <a:cubicBezTo>
                    <a:pt x="2545" y="2846"/>
                    <a:pt x="2481" y="2670"/>
                    <a:pt x="2416" y="2638"/>
                  </a:cubicBezTo>
                  <a:cubicBezTo>
                    <a:pt x="2428" y="2757"/>
                    <a:pt x="2410" y="2789"/>
                    <a:pt x="2375" y="2756"/>
                  </a:cubicBezTo>
                  <a:cubicBezTo>
                    <a:pt x="2424" y="2930"/>
                    <a:pt x="2173" y="3026"/>
                    <a:pt x="2311" y="3166"/>
                  </a:cubicBezTo>
                  <a:cubicBezTo>
                    <a:pt x="2373" y="3336"/>
                    <a:pt x="2479" y="3494"/>
                    <a:pt x="2619" y="3612"/>
                  </a:cubicBezTo>
                  <a:cubicBezTo>
                    <a:pt x="2708" y="3655"/>
                    <a:pt x="2792" y="3875"/>
                    <a:pt x="2892" y="3798"/>
                  </a:cubicBezTo>
                  <a:close/>
                  <a:moveTo>
                    <a:pt x="2635" y="6679"/>
                  </a:moveTo>
                  <a:cubicBezTo>
                    <a:pt x="2639" y="6632"/>
                    <a:pt x="2645" y="6720"/>
                    <a:pt x="2635" y="6679"/>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66" name="Freeform 29">
              <a:extLst>
                <a:ext uri="{FF2B5EF4-FFF2-40B4-BE49-F238E27FC236}">
                  <a16:creationId xmlns:a16="http://schemas.microsoft.com/office/drawing/2014/main" id="{35AE81E7-B4F4-41D2-8B78-F2417FA7A36B}"/>
                </a:ext>
              </a:extLst>
            </p:cNvPr>
            <p:cNvSpPr>
              <a:spLocks/>
            </p:cNvSpPr>
            <p:nvPr/>
          </p:nvSpPr>
          <p:spPr bwMode="auto">
            <a:xfrm>
              <a:off x="4267" y="2588"/>
              <a:ext cx="350" cy="1285"/>
            </a:xfrm>
            <a:custGeom>
              <a:avLst/>
              <a:gdLst>
                <a:gd name="T0" fmla="*/ 866 w 2859"/>
                <a:gd name="T1" fmla="*/ 10252 h 10478"/>
                <a:gd name="T2" fmla="*/ 1232 w 2859"/>
                <a:gd name="T3" fmla="*/ 10252 h 10478"/>
                <a:gd name="T4" fmla="*/ 1496 w 2859"/>
                <a:gd name="T5" fmla="*/ 9951 h 10478"/>
                <a:gd name="T6" fmla="*/ 1618 w 2859"/>
                <a:gd name="T7" fmla="*/ 9904 h 10478"/>
                <a:gd name="T8" fmla="*/ 1599 w 2859"/>
                <a:gd name="T9" fmla="*/ 10224 h 10478"/>
                <a:gd name="T10" fmla="*/ 1825 w 2859"/>
                <a:gd name="T11" fmla="*/ 10431 h 10478"/>
                <a:gd name="T12" fmla="*/ 2173 w 2859"/>
                <a:gd name="T13" fmla="*/ 10074 h 10478"/>
                <a:gd name="T14" fmla="*/ 2295 w 2859"/>
                <a:gd name="T15" fmla="*/ 9575 h 10478"/>
                <a:gd name="T16" fmla="*/ 2004 w 2859"/>
                <a:gd name="T17" fmla="*/ 8202 h 10478"/>
                <a:gd name="T18" fmla="*/ 1740 w 2859"/>
                <a:gd name="T19" fmla="*/ 7440 h 10478"/>
                <a:gd name="T20" fmla="*/ 1994 w 2859"/>
                <a:gd name="T21" fmla="*/ 6612 h 10478"/>
                <a:gd name="T22" fmla="*/ 2248 w 2859"/>
                <a:gd name="T23" fmla="*/ 5399 h 10478"/>
                <a:gd name="T24" fmla="*/ 2295 w 2859"/>
                <a:gd name="T25" fmla="*/ 4656 h 10478"/>
                <a:gd name="T26" fmla="*/ 2558 w 2859"/>
                <a:gd name="T27" fmla="*/ 4167 h 10478"/>
                <a:gd name="T28" fmla="*/ 2436 w 2859"/>
                <a:gd name="T29" fmla="*/ 3433 h 10478"/>
                <a:gd name="T30" fmla="*/ 2850 w 2859"/>
                <a:gd name="T31" fmla="*/ 2342 h 10478"/>
                <a:gd name="T32" fmla="*/ 2436 w 2859"/>
                <a:gd name="T33" fmla="*/ 1824 h 10478"/>
                <a:gd name="T34" fmla="*/ 2088 w 2859"/>
                <a:gd name="T35" fmla="*/ 1608 h 10478"/>
                <a:gd name="T36" fmla="*/ 2097 w 2859"/>
                <a:gd name="T37" fmla="*/ 1223 h 10478"/>
                <a:gd name="T38" fmla="*/ 2295 w 2859"/>
                <a:gd name="T39" fmla="*/ 846 h 10478"/>
                <a:gd name="T40" fmla="*/ 1533 w 2859"/>
                <a:gd name="T41" fmla="*/ 113 h 10478"/>
                <a:gd name="T42" fmla="*/ 1194 w 2859"/>
                <a:gd name="T43" fmla="*/ 498 h 10478"/>
                <a:gd name="T44" fmla="*/ 1063 w 2859"/>
                <a:gd name="T45" fmla="*/ 790 h 10478"/>
                <a:gd name="T46" fmla="*/ 1176 w 2859"/>
                <a:gd name="T47" fmla="*/ 1176 h 10478"/>
                <a:gd name="T48" fmla="*/ 1364 w 2859"/>
                <a:gd name="T49" fmla="*/ 1524 h 10478"/>
                <a:gd name="T50" fmla="*/ 1486 w 2859"/>
                <a:gd name="T51" fmla="*/ 1636 h 10478"/>
                <a:gd name="T52" fmla="*/ 1420 w 2859"/>
                <a:gd name="T53" fmla="*/ 1909 h 10478"/>
                <a:gd name="T54" fmla="*/ 1288 w 2859"/>
                <a:gd name="T55" fmla="*/ 1777 h 10478"/>
                <a:gd name="T56" fmla="*/ 169 w 2859"/>
                <a:gd name="T57" fmla="*/ 2652 h 10478"/>
                <a:gd name="T58" fmla="*/ 235 w 2859"/>
                <a:gd name="T59" fmla="*/ 2925 h 10478"/>
                <a:gd name="T60" fmla="*/ 348 w 2859"/>
                <a:gd name="T61" fmla="*/ 3075 h 10478"/>
                <a:gd name="T62" fmla="*/ 28 w 2859"/>
                <a:gd name="T63" fmla="*/ 3386 h 10478"/>
                <a:gd name="T64" fmla="*/ 225 w 2859"/>
                <a:gd name="T65" fmla="*/ 3649 h 10478"/>
                <a:gd name="T66" fmla="*/ 649 w 2859"/>
                <a:gd name="T67" fmla="*/ 3574 h 10478"/>
                <a:gd name="T68" fmla="*/ 555 w 2859"/>
                <a:gd name="T69" fmla="*/ 4119 h 10478"/>
                <a:gd name="T70" fmla="*/ 395 w 2859"/>
                <a:gd name="T71" fmla="*/ 4458 h 10478"/>
                <a:gd name="T72" fmla="*/ 338 w 2859"/>
                <a:gd name="T73" fmla="*/ 4722 h 10478"/>
                <a:gd name="T74" fmla="*/ 301 w 2859"/>
                <a:gd name="T75" fmla="*/ 5427 h 10478"/>
                <a:gd name="T76" fmla="*/ 667 w 2859"/>
                <a:gd name="T77" fmla="*/ 7017 h 10478"/>
                <a:gd name="T78" fmla="*/ 743 w 2859"/>
                <a:gd name="T79" fmla="*/ 7515 h 10478"/>
                <a:gd name="T80" fmla="*/ 865 w 2859"/>
                <a:gd name="T81" fmla="*/ 8277 h 10478"/>
                <a:gd name="T82" fmla="*/ 968 w 2859"/>
                <a:gd name="T83" fmla="*/ 9124 h 10478"/>
                <a:gd name="T84" fmla="*/ 978 w 2859"/>
                <a:gd name="T85" fmla="*/ 9914 h 10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59" h="10478">
                  <a:moveTo>
                    <a:pt x="978" y="9914"/>
                  </a:moveTo>
                  <a:cubicBezTo>
                    <a:pt x="978" y="9914"/>
                    <a:pt x="800" y="10121"/>
                    <a:pt x="866" y="10252"/>
                  </a:cubicBezTo>
                  <a:cubicBezTo>
                    <a:pt x="931" y="10384"/>
                    <a:pt x="969" y="10393"/>
                    <a:pt x="1007" y="10374"/>
                  </a:cubicBezTo>
                  <a:cubicBezTo>
                    <a:pt x="1044" y="10356"/>
                    <a:pt x="1204" y="10281"/>
                    <a:pt x="1232" y="10252"/>
                  </a:cubicBezTo>
                  <a:cubicBezTo>
                    <a:pt x="1261" y="10224"/>
                    <a:pt x="1392" y="10234"/>
                    <a:pt x="1411" y="10140"/>
                  </a:cubicBezTo>
                  <a:cubicBezTo>
                    <a:pt x="1430" y="10045"/>
                    <a:pt x="1486" y="9979"/>
                    <a:pt x="1496" y="9951"/>
                  </a:cubicBezTo>
                  <a:cubicBezTo>
                    <a:pt x="1505" y="9923"/>
                    <a:pt x="1524" y="9876"/>
                    <a:pt x="1552" y="9876"/>
                  </a:cubicBezTo>
                  <a:cubicBezTo>
                    <a:pt x="1580" y="9876"/>
                    <a:pt x="1618" y="9904"/>
                    <a:pt x="1618" y="9904"/>
                  </a:cubicBezTo>
                  <a:lnTo>
                    <a:pt x="1646" y="10027"/>
                  </a:lnTo>
                  <a:cubicBezTo>
                    <a:pt x="1646" y="10027"/>
                    <a:pt x="1571" y="10130"/>
                    <a:pt x="1599" y="10224"/>
                  </a:cubicBezTo>
                  <a:cubicBezTo>
                    <a:pt x="1627" y="10318"/>
                    <a:pt x="1618" y="10403"/>
                    <a:pt x="1646" y="10422"/>
                  </a:cubicBezTo>
                  <a:cubicBezTo>
                    <a:pt x="1674" y="10441"/>
                    <a:pt x="1768" y="10478"/>
                    <a:pt x="1825" y="10431"/>
                  </a:cubicBezTo>
                  <a:cubicBezTo>
                    <a:pt x="1881" y="10384"/>
                    <a:pt x="2060" y="10328"/>
                    <a:pt x="2107" y="10281"/>
                  </a:cubicBezTo>
                  <a:cubicBezTo>
                    <a:pt x="2154" y="10234"/>
                    <a:pt x="2173" y="10121"/>
                    <a:pt x="2173" y="10074"/>
                  </a:cubicBezTo>
                  <a:cubicBezTo>
                    <a:pt x="2173" y="10027"/>
                    <a:pt x="2333" y="9801"/>
                    <a:pt x="2333" y="9801"/>
                  </a:cubicBezTo>
                  <a:cubicBezTo>
                    <a:pt x="2333" y="9801"/>
                    <a:pt x="2333" y="9669"/>
                    <a:pt x="2295" y="9575"/>
                  </a:cubicBezTo>
                  <a:cubicBezTo>
                    <a:pt x="2258" y="9481"/>
                    <a:pt x="2154" y="9227"/>
                    <a:pt x="2126" y="9096"/>
                  </a:cubicBezTo>
                  <a:cubicBezTo>
                    <a:pt x="2098" y="8964"/>
                    <a:pt x="2069" y="8362"/>
                    <a:pt x="2004" y="8202"/>
                  </a:cubicBezTo>
                  <a:cubicBezTo>
                    <a:pt x="1938" y="8042"/>
                    <a:pt x="1806" y="7600"/>
                    <a:pt x="1787" y="7553"/>
                  </a:cubicBezTo>
                  <a:cubicBezTo>
                    <a:pt x="1768" y="7506"/>
                    <a:pt x="1721" y="7487"/>
                    <a:pt x="1740" y="7440"/>
                  </a:cubicBezTo>
                  <a:cubicBezTo>
                    <a:pt x="1759" y="7393"/>
                    <a:pt x="1806" y="7318"/>
                    <a:pt x="1834" y="7308"/>
                  </a:cubicBezTo>
                  <a:cubicBezTo>
                    <a:pt x="1862" y="7299"/>
                    <a:pt x="1947" y="6735"/>
                    <a:pt x="1994" y="6612"/>
                  </a:cubicBezTo>
                  <a:cubicBezTo>
                    <a:pt x="2041" y="6490"/>
                    <a:pt x="2173" y="6274"/>
                    <a:pt x="2182" y="6076"/>
                  </a:cubicBezTo>
                  <a:cubicBezTo>
                    <a:pt x="2192" y="5879"/>
                    <a:pt x="2239" y="5446"/>
                    <a:pt x="2248" y="5399"/>
                  </a:cubicBezTo>
                  <a:cubicBezTo>
                    <a:pt x="2257" y="5352"/>
                    <a:pt x="2304" y="5041"/>
                    <a:pt x="2304" y="5013"/>
                  </a:cubicBezTo>
                  <a:cubicBezTo>
                    <a:pt x="2304" y="4985"/>
                    <a:pt x="2295" y="4656"/>
                    <a:pt x="2295" y="4656"/>
                  </a:cubicBezTo>
                  <a:lnTo>
                    <a:pt x="2587" y="4590"/>
                  </a:lnTo>
                  <a:cubicBezTo>
                    <a:pt x="2587" y="4590"/>
                    <a:pt x="2596" y="4355"/>
                    <a:pt x="2558" y="4167"/>
                  </a:cubicBezTo>
                  <a:cubicBezTo>
                    <a:pt x="2521" y="3979"/>
                    <a:pt x="2502" y="3781"/>
                    <a:pt x="2474" y="3687"/>
                  </a:cubicBezTo>
                  <a:cubicBezTo>
                    <a:pt x="2445" y="3593"/>
                    <a:pt x="2436" y="3433"/>
                    <a:pt x="2436" y="3433"/>
                  </a:cubicBezTo>
                  <a:cubicBezTo>
                    <a:pt x="2436" y="3433"/>
                    <a:pt x="2671" y="2953"/>
                    <a:pt x="2728" y="2784"/>
                  </a:cubicBezTo>
                  <a:cubicBezTo>
                    <a:pt x="2784" y="2615"/>
                    <a:pt x="2859" y="2483"/>
                    <a:pt x="2850" y="2342"/>
                  </a:cubicBezTo>
                  <a:cubicBezTo>
                    <a:pt x="2841" y="2201"/>
                    <a:pt x="2822" y="2022"/>
                    <a:pt x="2812" y="1994"/>
                  </a:cubicBezTo>
                  <a:cubicBezTo>
                    <a:pt x="2803" y="1965"/>
                    <a:pt x="2643" y="1824"/>
                    <a:pt x="2436" y="1824"/>
                  </a:cubicBezTo>
                  <a:cubicBezTo>
                    <a:pt x="2229" y="1824"/>
                    <a:pt x="2220" y="1683"/>
                    <a:pt x="2182" y="1674"/>
                  </a:cubicBezTo>
                  <a:cubicBezTo>
                    <a:pt x="2144" y="1665"/>
                    <a:pt x="2088" y="1608"/>
                    <a:pt x="2088" y="1608"/>
                  </a:cubicBezTo>
                  <a:lnTo>
                    <a:pt x="2050" y="1364"/>
                  </a:lnTo>
                  <a:cubicBezTo>
                    <a:pt x="2050" y="1364"/>
                    <a:pt x="2079" y="1251"/>
                    <a:pt x="2097" y="1223"/>
                  </a:cubicBezTo>
                  <a:cubicBezTo>
                    <a:pt x="2116" y="1194"/>
                    <a:pt x="2088" y="1138"/>
                    <a:pt x="2144" y="1082"/>
                  </a:cubicBezTo>
                  <a:cubicBezTo>
                    <a:pt x="2201" y="1025"/>
                    <a:pt x="2286" y="921"/>
                    <a:pt x="2295" y="846"/>
                  </a:cubicBezTo>
                  <a:cubicBezTo>
                    <a:pt x="2304" y="771"/>
                    <a:pt x="2182" y="301"/>
                    <a:pt x="2126" y="244"/>
                  </a:cubicBezTo>
                  <a:cubicBezTo>
                    <a:pt x="2069" y="188"/>
                    <a:pt x="1721" y="0"/>
                    <a:pt x="1533" y="113"/>
                  </a:cubicBezTo>
                  <a:cubicBezTo>
                    <a:pt x="1345" y="225"/>
                    <a:pt x="1298" y="310"/>
                    <a:pt x="1279" y="348"/>
                  </a:cubicBezTo>
                  <a:cubicBezTo>
                    <a:pt x="1260" y="385"/>
                    <a:pt x="1194" y="442"/>
                    <a:pt x="1194" y="498"/>
                  </a:cubicBezTo>
                  <a:cubicBezTo>
                    <a:pt x="1194" y="555"/>
                    <a:pt x="1166" y="771"/>
                    <a:pt x="1166" y="771"/>
                  </a:cubicBezTo>
                  <a:lnTo>
                    <a:pt x="1063" y="790"/>
                  </a:lnTo>
                  <a:cubicBezTo>
                    <a:pt x="1063" y="790"/>
                    <a:pt x="1053" y="912"/>
                    <a:pt x="1128" y="950"/>
                  </a:cubicBezTo>
                  <a:cubicBezTo>
                    <a:pt x="1128" y="950"/>
                    <a:pt x="1157" y="1072"/>
                    <a:pt x="1176" y="1176"/>
                  </a:cubicBezTo>
                  <a:cubicBezTo>
                    <a:pt x="1194" y="1279"/>
                    <a:pt x="1241" y="1354"/>
                    <a:pt x="1279" y="1411"/>
                  </a:cubicBezTo>
                  <a:cubicBezTo>
                    <a:pt x="1317" y="1467"/>
                    <a:pt x="1345" y="1477"/>
                    <a:pt x="1364" y="1524"/>
                  </a:cubicBezTo>
                  <a:cubicBezTo>
                    <a:pt x="1382" y="1571"/>
                    <a:pt x="1392" y="1561"/>
                    <a:pt x="1439" y="1580"/>
                  </a:cubicBezTo>
                  <a:cubicBezTo>
                    <a:pt x="1486" y="1599"/>
                    <a:pt x="1486" y="1599"/>
                    <a:pt x="1486" y="1636"/>
                  </a:cubicBezTo>
                  <a:lnTo>
                    <a:pt x="1486" y="1796"/>
                  </a:lnTo>
                  <a:cubicBezTo>
                    <a:pt x="1486" y="1843"/>
                    <a:pt x="1420" y="1909"/>
                    <a:pt x="1420" y="1909"/>
                  </a:cubicBezTo>
                  <a:lnTo>
                    <a:pt x="1335" y="1956"/>
                  </a:lnTo>
                  <a:lnTo>
                    <a:pt x="1288" y="1777"/>
                  </a:lnTo>
                  <a:lnTo>
                    <a:pt x="28" y="2342"/>
                  </a:lnTo>
                  <a:lnTo>
                    <a:pt x="169" y="2652"/>
                  </a:lnTo>
                  <a:cubicBezTo>
                    <a:pt x="169" y="2652"/>
                    <a:pt x="94" y="2671"/>
                    <a:pt x="141" y="2755"/>
                  </a:cubicBezTo>
                  <a:cubicBezTo>
                    <a:pt x="188" y="2840"/>
                    <a:pt x="207" y="2906"/>
                    <a:pt x="235" y="2925"/>
                  </a:cubicBezTo>
                  <a:cubicBezTo>
                    <a:pt x="263" y="2944"/>
                    <a:pt x="301" y="2934"/>
                    <a:pt x="319" y="2981"/>
                  </a:cubicBezTo>
                  <a:cubicBezTo>
                    <a:pt x="338" y="3029"/>
                    <a:pt x="348" y="3075"/>
                    <a:pt x="348" y="3075"/>
                  </a:cubicBezTo>
                  <a:cubicBezTo>
                    <a:pt x="348" y="3075"/>
                    <a:pt x="329" y="3085"/>
                    <a:pt x="225" y="3141"/>
                  </a:cubicBezTo>
                  <a:cubicBezTo>
                    <a:pt x="122" y="3198"/>
                    <a:pt x="28" y="3273"/>
                    <a:pt x="28" y="3386"/>
                  </a:cubicBezTo>
                  <a:cubicBezTo>
                    <a:pt x="28" y="3499"/>
                    <a:pt x="0" y="3574"/>
                    <a:pt x="56" y="3612"/>
                  </a:cubicBezTo>
                  <a:cubicBezTo>
                    <a:pt x="113" y="3649"/>
                    <a:pt x="188" y="3668"/>
                    <a:pt x="225" y="3649"/>
                  </a:cubicBezTo>
                  <a:cubicBezTo>
                    <a:pt x="263" y="3630"/>
                    <a:pt x="574" y="3612"/>
                    <a:pt x="611" y="3593"/>
                  </a:cubicBezTo>
                  <a:lnTo>
                    <a:pt x="649" y="3574"/>
                  </a:lnTo>
                  <a:cubicBezTo>
                    <a:pt x="649" y="3574"/>
                    <a:pt x="677" y="3762"/>
                    <a:pt x="658" y="3856"/>
                  </a:cubicBezTo>
                  <a:cubicBezTo>
                    <a:pt x="639" y="3950"/>
                    <a:pt x="620" y="3978"/>
                    <a:pt x="555" y="4119"/>
                  </a:cubicBezTo>
                  <a:cubicBezTo>
                    <a:pt x="489" y="4260"/>
                    <a:pt x="489" y="4242"/>
                    <a:pt x="451" y="4317"/>
                  </a:cubicBezTo>
                  <a:cubicBezTo>
                    <a:pt x="413" y="4392"/>
                    <a:pt x="395" y="4402"/>
                    <a:pt x="395" y="4458"/>
                  </a:cubicBezTo>
                  <a:cubicBezTo>
                    <a:pt x="395" y="4514"/>
                    <a:pt x="366" y="4571"/>
                    <a:pt x="366" y="4618"/>
                  </a:cubicBezTo>
                  <a:cubicBezTo>
                    <a:pt x="366" y="4665"/>
                    <a:pt x="338" y="4722"/>
                    <a:pt x="338" y="4722"/>
                  </a:cubicBezTo>
                  <a:cubicBezTo>
                    <a:pt x="338" y="4722"/>
                    <a:pt x="310" y="4929"/>
                    <a:pt x="301" y="5041"/>
                  </a:cubicBezTo>
                  <a:cubicBezTo>
                    <a:pt x="291" y="5154"/>
                    <a:pt x="272" y="5248"/>
                    <a:pt x="301" y="5427"/>
                  </a:cubicBezTo>
                  <a:cubicBezTo>
                    <a:pt x="329" y="5606"/>
                    <a:pt x="395" y="5963"/>
                    <a:pt x="442" y="6123"/>
                  </a:cubicBezTo>
                  <a:cubicBezTo>
                    <a:pt x="489" y="6283"/>
                    <a:pt x="649" y="6951"/>
                    <a:pt x="667" y="7017"/>
                  </a:cubicBezTo>
                  <a:cubicBezTo>
                    <a:pt x="686" y="7082"/>
                    <a:pt x="743" y="7129"/>
                    <a:pt x="743" y="7224"/>
                  </a:cubicBezTo>
                  <a:cubicBezTo>
                    <a:pt x="743" y="7318"/>
                    <a:pt x="752" y="7402"/>
                    <a:pt x="743" y="7515"/>
                  </a:cubicBezTo>
                  <a:cubicBezTo>
                    <a:pt x="733" y="7628"/>
                    <a:pt x="724" y="7628"/>
                    <a:pt x="743" y="7731"/>
                  </a:cubicBezTo>
                  <a:cubicBezTo>
                    <a:pt x="761" y="7835"/>
                    <a:pt x="856" y="8183"/>
                    <a:pt x="865" y="8277"/>
                  </a:cubicBezTo>
                  <a:cubicBezTo>
                    <a:pt x="874" y="8371"/>
                    <a:pt x="903" y="8766"/>
                    <a:pt x="931" y="8851"/>
                  </a:cubicBezTo>
                  <a:cubicBezTo>
                    <a:pt x="959" y="8936"/>
                    <a:pt x="959" y="9039"/>
                    <a:pt x="968" y="9124"/>
                  </a:cubicBezTo>
                  <a:cubicBezTo>
                    <a:pt x="978" y="9208"/>
                    <a:pt x="921" y="9632"/>
                    <a:pt x="931" y="9660"/>
                  </a:cubicBezTo>
                  <a:cubicBezTo>
                    <a:pt x="941" y="9688"/>
                    <a:pt x="978" y="9914"/>
                    <a:pt x="978" y="991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67" name="Freeform 30">
              <a:extLst>
                <a:ext uri="{FF2B5EF4-FFF2-40B4-BE49-F238E27FC236}">
                  <a16:creationId xmlns:a16="http://schemas.microsoft.com/office/drawing/2014/main" id="{AAFC3EB9-784D-48E1-9267-0CF080172302}"/>
                </a:ext>
              </a:extLst>
            </p:cNvPr>
            <p:cNvSpPr>
              <a:spLocks noEditPoints="1"/>
            </p:cNvSpPr>
            <p:nvPr/>
          </p:nvSpPr>
          <p:spPr bwMode="auto">
            <a:xfrm>
              <a:off x="2350" y="2644"/>
              <a:ext cx="477" cy="1211"/>
            </a:xfrm>
            <a:custGeom>
              <a:avLst/>
              <a:gdLst>
                <a:gd name="T0" fmla="*/ 3665 w 3899"/>
                <a:gd name="T1" fmla="*/ 2524 h 9873"/>
                <a:gd name="T2" fmla="*/ 3100 w 3899"/>
                <a:gd name="T3" fmla="*/ 1698 h 9873"/>
                <a:gd name="T4" fmla="*/ 2956 w 3899"/>
                <a:gd name="T5" fmla="*/ 890 h 9873"/>
                <a:gd name="T6" fmla="*/ 2282 w 3899"/>
                <a:gd name="T7" fmla="*/ 54 h 9873"/>
                <a:gd name="T8" fmla="*/ 1680 w 3899"/>
                <a:gd name="T9" fmla="*/ 908 h 9873"/>
                <a:gd name="T10" fmla="*/ 1276 w 3899"/>
                <a:gd name="T11" fmla="*/ 1743 h 9873"/>
                <a:gd name="T12" fmla="*/ 962 w 3899"/>
                <a:gd name="T13" fmla="*/ 2165 h 9873"/>
                <a:gd name="T14" fmla="*/ 827 w 3899"/>
                <a:gd name="T15" fmla="*/ 3603 h 9873"/>
                <a:gd name="T16" fmla="*/ 1159 w 3899"/>
                <a:gd name="T17" fmla="*/ 4294 h 9873"/>
                <a:gd name="T18" fmla="*/ 1285 w 3899"/>
                <a:gd name="T19" fmla="*/ 4627 h 9873"/>
                <a:gd name="T20" fmla="*/ 1168 w 3899"/>
                <a:gd name="T21" fmla="*/ 5175 h 9873"/>
                <a:gd name="T22" fmla="*/ 997 w 3899"/>
                <a:gd name="T23" fmla="*/ 6648 h 9873"/>
                <a:gd name="T24" fmla="*/ 962 w 3899"/>
                <a:gd name="T25" fmla="*/ 7097 h 9873"/>
                <a:gd name="T26" fmla="*/ 818 w 3899"/>
                <a:gd name="T27" fmla="*/ 7879 h 9873"/>
                <a:gd name="T28" fmla="*/ 683 w 3899"/>
                <a:gd name="T29" fmla="*/ 8669 h 9873"/>
                <a:gd name="T30" fmla="*/ 701 w 3899"/>
                <a:gd name="T31" fmla="*/ 8966 h 9873"/>
                <a:gd name="T32" fmla="*/ 593 w 3899"/>
                <a:gd name="T33" fmla="*/ 9181 h 9873"/>
                <a:gd name="T34" fmla="*/ 288 w 3899"/>
                <a:gd name="T35" fmla="*/ 9496 h 9873"/>
                <a:gd name="T36" fmla="*/ 36 w 3899"/>
                <a:gd name="T37" fmla="*/ 9774 h 9873"/>
                <a:gd name="T38" fmla="*/ 548 w 3899"/>
                <a:gd name="T39" fmla="*/ 9810 h 9873"/>
                <a:gd name="T40" fmla="*/ 1141 w 3899"/>
                <a:gd name="T41" fmla="*/ 9514 h 9873"/>
                <a:gd name="T42" fmla="*/ 1213 w 3899"/>
                <a:gd name="T43" fmla="*/ 9262 h 9873"/>
                <a:gd name="T44" fmla="*/ 1294 w 3899"/>
                <a:gd name="T45" fmla="*/ 8993 h 9873"/>
                <a:gd name="T46" fmla="*/ 1455 w 3899"/>
                <a:gd name="T47" fmla="*/ 8166 h 9873"/>
                <a:gd name="T48" fmla="*/ 1626 w 3899"/>
                <a:gd name="T49" fmla="*/ 7349 h 9873"/>
                <a:gd name="T50" fmla="*/ 1824 w 3899"/>
                <a:gd name="T51" fmla="*/ 6972 h 9873"/>
                <a:gd name="T52" fmla="*/ 2264 w 3899"/>
                <a:gd name="T53" fmla="*/ 6073 h 9873"/>
                <a:gd name="T54" fmla="*/ 2300 w 3899"/>
                <a:gd name="T55" fmla="*/ 6810 h 9873"/>
                <a:gd name="T56" fmla="*/ 2390 w 3899"/>
                <a:gd name="T57" fmla="*/ 7340 h 9873"/>
                <a:gd name="T58" fmla="*/ 2363 w 3899"/>
                <a:gd name="T59" fmla="*/ 8005 h 9873"/>
                <a:gd name="T60" fmla="*/ 2372 w 3899"/>
                <a:gd name="T61" fmla="*/ 8427 h 9873"/>
                <a:gd name="T62" fmla="*/ 2300 w 3899"/>
                <a:gd name="T63" fmla="*/ 8742 h 9873"/>
                <a:gd name="T64" fmla="*/ 2264 w 3899"/>
                <a:gd name="T65" fmla="*/ 8957 h 9873"/>
                <a:gd name="T66" fmla="*/ 2246 w 3899"/>
                <a:gd name="T67" fmla="*/ 9038 h 9873"/>
                <a:gd name="T68" fmla="*/ 2291 w 3899"/>
                <a:gd name="T69" fmla="*/ 9254 h 9873"/>
                <a:gd name="T70" fmla="*/ 2408 w 3899"/>
                <a:gd name="T71" fmla="*/ 9829 h 9873"/>
                <a:gd name="T72" fmla="*/ 2839 w 3899"/>
                <a:gd name="T73" fmla="*/ 9389 h 9873"/>
                <a:gd name="T74" fmla="*/ 2821 w 3899"/>
                <a:gd name="T75" fmla="*/ 9101 h 9873"/>
                <a:gd name="T76" fmla="*/ 2839 w 3899"/>
                <a:gd name="T77" fmla="*/ 8903 h 9873"/>
                <a:gd name="T78" fmla="*/ 3099 w 3899"/>
                <a:gd name="T79" fmla="*/ 7879 h 9873"/>
                <a:gd name="T80" fmla="*/ 3162 w 3899"/>
                <a:gd name="T81" fmla="*/ 6397 h 9873"/>
                <a:gd name="T82" fmla="*/ 3360 w 3899"/>
                <a:gd name="T83" fmla="*/ 5813 h 9873"/>
                <a:gd name="T84" fmla="*/ 3495 w 3899"/>
                <a:gd name="T85" fmla="*/ 5436 h 9873"/>
                <a:gd name="T86" fmla="*/ 3387 w 3899"/>
                <a:gd name="T87" fmla="*/ 4717 h 9873"/>
                <a:gd name="T88" fmla="*/ 3899 w 3899"/>
                <a:gd name="T89" fmla="*/ 3566 h 9873"/>
                <a:gd name="T90" fmla="*/ 3288 w 3899"/>
                <a:gd name="T91" fmla="*/ 3935 h 9873"/>
                <a:gd name="T92" fmla="*/ 3127 w 3899"/>
                <a:gd name="T93" fmla="*/ 3683 h 9873"/>
                <a:gd name="T94" fmla="*/ 3108 w 3899"/>
                <a:gd name="T95" fmla="*/ 3270 h 9873"/>
                <a:gd name="T96" fmla="*/ 3126 w 3899"/>
                <a:gd name="T97" fmla="*/ 2884 h 9873"/>
                <a:gd name="T98" fmla="*/ 3234 w 3899"/>
                <a:gd name="T99" fmla="*/ 2875 h 9873"/>
                <a:gd name="T100" fmla="*/ 3414 w 3899"/>
                <a:gd name="T101" fmla="*/ 3503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99" h="9873">
                  <a:moveTo>
                    <a:pt x="3899" y="3566"/>
                  </a:moveTo>
                  <a:cubicBezTo>
                    <a:pt x="3899" y="3450"/>
                    <a:pt x="3710" y="2641"/>
                    <a:pt x="3665" y="2524"/>
                  </a:cubicBezTo>
                  <a:cubicBezTo>
                    <a:pt x="3621" y="2408"/>
                    <a:pt x="3261" y="1806"/>
                    <a:pt x="3225" y="1770"/>
                  </a:cubicBezTo>
                  <a:cubicBezTo>
                    <a:pt x="3189" y="1734"/>
                    <a:pt x="3100" y="1698"/>
                    <a:pt x="3100" y="1698"/>
                  </a:cubicBezTo>
                  <a:cubicBezTo>
                    <a:pt x="3100" y="1698"/>
                    <a:pt x="3037" y="1518"/>
                    <a:pt x="3037" y="1455"/>
                  </a:cubicBezTo>
                  <a:cubicBezTo>
                    <a:pt x="3037" y="1392"/>
                    <a:pt x="2965" y="925"/>
                    <a:pt x="2956" y="890"/>
                  </a:cubicBezTo>
                  <a:cubicBezTo>
                    <a:pt x="2947" y="853"/>
                    <a:pt x="2875" y="431"/>
                    <a:pt x="2767" y="333"/>
                  </a:cubicBezTo>
                  <a:cubicBezTo>
                    <a:pt x="2659" y="234"/>
                    <a:pt x="2381" y="0"/>
                    <a:pt x="2282" y="54"/>
                  </a:cubicBezTo>
                  <a:cubicBezTo>
                    <a:pt x="2183" y="108"/>
                    <a:pt x="1994" y="243"/>
                    <a:pt x="1994" y="243"/>
                  </a:cubicBezTo>
                  <a:cubicBezTo>
                    <a:pt x="1967" y="297"/>
                    <a:pt x="1698" y="728"/>
                    <a:pt x="1680" y="908"/>
                  </a:cubicBezTo>
                  <a:cubicBezTo>
                    <a:pt x="1662" y="1087"/>
                    <a:pt x="1644" y="1366"/>
                    <a:pt x="1563" y="1483"/>
                  </a:cubicBezTo>
                  <a:cubicBezTo>
                    <a:pt x="1483" y="1599"/>
                    <a:pt x="1375" y="1662"/>
                    <a:pt x="1276" y="1743"/>
                  </a:cubicBezTo>
                  <a:cubicBezTo>
                    <a:pt x="1177" y="1824"/>
                    <a:pt x="1141" y="1896"/>
                    <a:pt x="1132" y="1932"/>
                  </a:cubicBezTo>
                  <a:cubicBezTo>
                    <a:pt x="1123" y="1968"/>
                    <a:pt x="1006" y="2058"/>
                    <a:pt x="962" y="2165"/>
                  </a:cubicBezTo>
                  <a:cubicBezTo>
                    <a:pt x="916" y="2273"/>
                    <a:pt x="836" y="2866"/>
                    <a:pt x="836" y="3064"/>
                  </a:cubicBezTo>
                  <a:cubicBezTo>
                    <a:pt x="836" y="3261"/>
                    <a:pt x="836" y="3468"/>
                    <a:pt x="827" y="3603"/>
                  </a:cubicBezTo>
                  <a:cubicBezTo>
                    <a:pt x="818" y="3737"/>
                    <a:pt x="773" y="3962"/>
                    <a:pt x="872" y="4052"/>
                  </a:cubicBezTo>
                  <a:cubicBezTo>
                    <a:pt x="970" y="4141"/>
                    <a:pt x="1087" y="4249"/>
                    <a:pt x="1159" y="4294"/>
                  </a:cubicBezTo>
                  <a:cubicBezTo>
                    <a:pt x="1231" y="4339"/>
                    <a:pt x="1276" y="4384"/>
                    <a:pt x="1276" y="4384"/>
                  </a:cubicBezTo>
                  <a:cubicBezTo>
                    <a:pt x="1276" y="4384"/>
                    <a:pt x="1285" y="4546"/>
                    <a:pt x="1285" y="4627"/>
                  </a:cubicBezTo>
                  <a:cubicBezTo>
                    <a:pt x="1285" y="4708"/>
                    <a:pt x="1303" y="4860"/>
                    <a:pt x="1249" y="4959"/>
                  </a:cubicBezTo>
                  <a:cubicBezTo>
                    <a:pt x="1195" y="5058"/>
                    <a:pt x="1168" y="5130"/>
                    <a:pt x="1168" y="5175"/>
                  </a:cubicBezTo>
                  <a:cubicBezTo>
                    <a:pt x="1168" y="5220"/>
                    <a:pt x="1141" y="5372"/>
                    <a:pt x="1141" y="5399"/>
                  </a:cubicBezTo>
                  <a:cubicBezTo>
                    <a:pt x="1141" y="5426"/>
                    <a:pt x="997" y="6549"/>
                    <a:pt x="997" y="6648"/>
                  </a:cubicBezTo>
                  <a:cubicBezTo>
                    <a:pt x="997" y="6747"/>
                    <a:pt x="997" y="6846"/>
                    <a:pt x="979" y="6971"/>
                  </a:cubicBezTo>
                  <a:lnTo>
                    <a:pt x="962" y="7097"/>
                  </a:lnTo>
                  <a:cubicBezTo>
                    <a:pt x="962" y="7097"/>
                    <a:pt x="925" y="7016"/>
                    <a:pt x="925" y="7169"/>
                  </a:cubicBezTo>
                  <a:cubicBezTo>
                    <a:pt x="925" y="7322"/>
                    <a:pt x="800" y="7735"/>
                    <a:pt x="818" y="7879"/>
                  </a:cubicBezTo>
                  <a:cubicBezTo>
                    <a:pt x="836" y="8023"/>
                    <a:pt x="755" y="8346"/>
                    <a:pt x="791" y="8445"/>
                  </a:cubicBezTo>
                  <a:cubicBezTo>
                    <a:pt x="827" y="8544"/>
                    <a:pt x="719" y="8562"/>
                    <a:pt x="683" y="8669"/>
                  </a:cubicBezTo>
                  <a:cubicBezTo>
                    <a:pt x="647" y="8777"/>
                    <a:pt x="602" y="8804"/>
                    <a:pt x="647" y="8849"/>
                  </a:cubicBezTo>
                  <a:cubicBezTo>
                    <a:pt x="692" y="8894"/>
                    <a:pt x="737" y="8912"/>
                    <a:pt x="701" y="8966"/>
                  </a:cubicBezTo>
                  <a:cubicBezTo>
                    <a:pt x="665" y="9020"/>
                    <a:pt x="647" y="8993"/>
                    <a:pt x="647" y="9074"/>
                  </a:cubicBezTo>
                  <a:cubicBezTo>
                    <a:pt x="647" y="9155"/>
                    <a:pt x="611" y="9155"/>
                    <a:pt x="593" y="9181"/>
                  </a:cubicBezTo>
                  <a:cubicBezTo>
                    <a:pt x="575" y="9208"/>
                    <a:pt x="530" y="9307"/>
                    <a:pt x="494" y="9343"/>
                  </a:cubicBezTo>
                  <a:cubicBezTo>
                    <a:pt x="458" y="9379"/>
                    <a:pt x="333" y="9496"/>
                    <a:pt x="288" y="9496"/>
                  </a:cubicBezTo>
                  <a:cubicBezTo>
                    <a:pt x="243" y="9496"/>
                    <a:pt x="63" y="9586"/>
                    <a:pt x="54" y="9649"/>
                  </a:cubicBezTo>
                  <a:cubicBezTo>
                    <a:pt x="45" y="9712"/>
                    <a:pt x="0" y="9747"/>
                    <a:pt x="36" y="9774"/>
                  </a:cubicBezTo>
                  <a:cubicBezTo>
                    <a:pt x="72" y="9801"/>
                    <a:pt x="198" y="9873"/>
                    <a:pt x="252" y="9864"/>
                  </a:cubicBezTo>
                  <a:cubicBezTo>
                    <a:pt x="305" y="9855"/>
                    <a:pt x="521" y="9846"/>
                    <a:pt x="548" y="9810"/>
                  </a:cubicBezTo>
                  <a:cubicBezTo>
                    <a:pt x="575" y="9774"/>
                    <a:pt x="835" y="9631"/>
                    <a:pt x="934" y="9604"/>
                  </a:cubicBezTo>
                  <a:cubicBezTo>
                    <a:pt x="1033" y="9577"/>
                    <a:pt x="1114" y="9532"/>
                    <a:pt x="1141" y="9514"/>
                  </a:cubicBezTo>
                  <a:cubicBezTo>
                    <a:pt x="1168" y="9496"/>
                    <a:pt x="1177" y="9460"/>
                    <a:pt x="1186" y="9415"/>
                  </a:cubicBezTo>
                  <a:cubicBezTo>
                    <a:pt x="1195" y="9370"/>
                    <a:pt x="1159" y="9316"/>
                    <a:pt x="1213" y="9262"/>
                  </a:cubicBezTo>
                  <a:cubicBezTo>
                    <a:pt x="1267" y="9208"/>
                    <a:pt x="1258" y="9181"/>
                    <a:pt x="1294" y="9146"/>
                  </a:cubicBezTo>
                  <a:cubicBezTo>
                    <a:pt x="1330" y="9110"/>
                    <a:pt x="1338" y="9047"/>
                    <a:pt x="1294" y="8993"/>
                  </a:cubicBezTo>
                  <a:cubicBezTo>
                    <a:pt x="1249" y="8939"/>
                    <a:pt x="1168" y="8957"/>
                    <a:pt x="1222" y="8849"/>
                  </a:cubicBezTo>
                  <a:cubicBezTo>
                    <a:pt x="1276" y="8741"/>
                    <a:pt x="1410" y="8292"/>
                    <a:pt x="1455" y="8166"/>
                  </a:cubicBezTo>
                  <a:cubicBezTo>
                    <a:pt x="1500" y="8041"/>
                    <a:pt x="1581" y="7708"/>
                    <a:pt x="1590" y="7627"/>
                  </a:cubicBezTo>
                  <a:cubicBezTo>
                    <a:pt x="1599" y="7547"/>
                    <a:pt x="1572" y="7403"/>
                    <a:pt x="1626" y="7349"/>
                  </a:cubicBezTo>
                  <a:cubicBezTo>
                    <a:pt x="1680" y="7295"/>
                    <a:pt x="1752" y="7304"/>
                    <a:pt x="1779" y="7196"/>
                  </a:cubicBezTo>
                  <a:cubicBezTo>
                    <a:pt x="1806" y="7089"/>
                    <a:pt x="1815" y="7043"/>
                    <a:pt x="1824" y="6972"/>
                  </a:cubicBezTo>
                  <a:cubicBezTo>
                    <a:pt x="1833" y="6900"/>
                    <a:pt x="1940" y="6621"/>
                    <a:pt x="1985" y="6540"/>
                  </a:cubicBezTo>
                  <a:cubicBezTo>
                    <a:pt x="2030" y="6460"/>
                    <a:pt x="2264" y="6073"/>
                    <a:pt x="2264" y="6073"/>
                  </a:cubicBezTo>
                  <a:lnTo>
                    <a:pt x="2327" y="5984"/>
                  </a:lnTo>
                  <a:cubicBezTo>
                    <a:pt x="2327" y="5984"/>
                    <a:pt x="2282" y="6621"/>
                    <a:pt x="2300" y="6810"/>
                  </a:cubicBezTo>
                  <a:cubicBezTo>
                    <a:pt x="2318" y="6999"/>
                    <a:pt x="2336" y="7124"/>
                    <a:pt x="2345" y="7187"/>
                  </a:cubicBezTo>
                  <a:cubicBezTo>
                    <a:pt x="2354" y="7250"/>
                    <a:pt x="2372" y="7286"/>
                    <a:pt x="2390" y="7340"/>
                  </a:cubicBezTo>
                  <a:cubicBezTo>
                    <a:pt x="2408" y="7394"/>
                    <a:pt x="2381" y="7601"/>
                    <a:pt x="2381" y="7672"/>
                  </a:cubicBezTo>
                  <a:cubicBezTo>
                    <a:pt x="2381" y="7744"/>
                    <a:pt x="2372" y="7915"/>
                    <a:pt x="2363" y="8005"/>
                  </a:cubicBezTo>
                  <a:cubicBezTo>
                    <a:pt x="2354" y="8095"/>
                    <a:pt x="2336" y="8148"/>
                    <a:pt x="2345" y="8238"/>
                  </a:cubicBezTo>
                  <a:cubicBezTo>
                    <a:pt x="2354" y="8328"/>
                    <a:pt x="2354" y="8337"/>
                    <a:pt x="2372" y="8427"/>
                  </a:cubicBezTo>
                  <a:cubicBezTo>
                    <a:pt x="2390" y="8517"/>
                    <a:pt x="2417" y="8463"/>
                    <a:pt x="2390" y="8580"/>
                  </a:cubicBezTo>
                  <a:cubicBezTo>
                    <a:pt x="2363" y="8697"/>
                    <a:pt x="2318" y="8706"/>
                    <a:pt x="2300" y="8742"/>
                  </a:cubicBezTo>
                  <a:cubicBezTo>
                    <a:pt x="2282" y="8777"/>
                    <a:pt x="2246" y="8786"/>
                    <a:pt x="2264" y="8849"/>
                  </a:cubicBezTo>
                  <a:cubicBezTo>
                    <a:pt x="2282" y="8912"/>
                    <a:pt x="2282" y="8903"/>
                    <a:pt x="2264" y="8957"/>
                  </a:cubicBezTo>
                  <a:cubicBezTo>
                    <a:pt x="2246" y="9011"/>
                    <a:pt x="2246" y="8984"/>
                    <a:pt x="2246" y="9011"/>
                  </a:cubicBezTo>
                  <a:cubicBezTo>
                    <a:pt x="2246" y="9038"/>
                    <a:pt x="2237" y="8975"/>
                    <a:pt x="2246" y="9038"/>
                  </a:cubicBezTo>
                  <a:cubicBezTo>
                    <a:pt x="2255" y="9101"/>
                    <a:pt x="2219" y="8993"/>
                    <a:pt x="2255" y="9101"/>
                  </a:cubicBezTo>
                  <a:cubicBezTo>
                    <a:pt x="2291" y="9209"/>
                    <a:pt x="2291" y="9227"/>
                    <a:pt x="2291" y="9254"/>
                  </a:cubicBezTo>
                  <a:cubicBezTo>
                    <a:pt x="2291" y="9281"/>
                    <a:pt x="2174" y="9721"/>
                    <a:pt x="2246" y="9784"/>
                  </a:cubicBezTo>
                  <a:cubicBezTo>
                    <a:pt x="2318" y="9847"/>
                    <a:pt x="2327" y="9838"/>
                    <a:pt x="2408" y="9829"/>
                  </a:cubicBezTo>
                  <a:cubicBezTo>
                    <a:pt x="2488" y="9820"/>
                    <a:pt x="2749" y="9820"/>
                    <a:pt x="2767" y="9676"/>
                  </a:cubicBezTo>
                  <a:cubicBezTo>
                    <a:pt x="2785" y="9532"/>
                    <a:pt x="2848" y="9451"/>
                    <a:pt x="2839" y="9389"/>
                  </a:cubicBezTo>
                  <a:cubicBezTo>
                    <a:pt x="2830" y="9326"/>
                    <a:pt x="2785" y="9263"/>
                    <a:pt x="2794" y="9209"/>
                  </a:cubicBezTo>
                  <a:cubicBezTo>
                    <a:pt x="2803" y="9155"/>
                    <a:pt x="2776" y="9101"/>
                    <a:pt x="2821" y="9101"/>
                  </a:cubicBezTo>
                  <a:cubicBezTo>
                    <a:pt x="2866" y="9101"/>
                    <a:pt x="2911" y="8993"/>
                    <a:pt x="2875" y="8948"/>
                  </a:cubicBezTo>
                  <a:cubicBezTo>
                    <a:pt x="2839" y="8903"/>
                    <a:pt x="2803" y="8984"/>
                    <a:pt x="2839" y="8903"/>
                  </a:cubicBezTo>
                  <a:cubicBezTo>
                    <a:pt x="2875" y="8822"/>
                    <a:pt x="3028" y="8418"/>
                    <a:pt x="3045" y="8319"/>
                  </a:cubicBezTo>
                  <a:cubicBezTo>
                    <a:pt x="3064" y="8221"/>
                    <a:pt x="3099" y="7951"/>
                    <a:pt x="3099" y="7879"/>
                  </a:cubicBezTo>
                  <a:cubicBezTo>
                    <a:pt x="3099" y="7807"/>
                    <a:pt x="3108" y="7134"/>
                    <a:pt x="3126" y="6999"/>
                  </a:cubicBezTo>
                  <a:cubicBezTo>
                    <a:pt x="3144" y="6864"/>
                    <a:pt x="3154" y="6469"/>
                    <a:pt x="3162" y="6397"/>
                  </a:cubicBezTo>
                  <a:cubicBezTo>
                    <a:pt x="3171" y="6325"/>
                    <a:pt x="3270" y="6137"/>
                    <a:pt x="3306" y="6083"/>
                  </a:cubicBezTo>
                  <a:cubicBezTo>
                    <a:pt x="3342" y="6029"/>
                    <a:pt x="3351" y="5903"/>
                    <a:pt x="3360" y="5813"/>
                  </a:cubicBezTo>
                  <a:cubicBezTo>
                    <a:pt x="3369" y="5723"/>
                    <a:pt x="3405" y="5660"/>
                    <a:pt x="3432" y="5615"/>
                  </a:cubicBezTo>
                  <a:cubicBezTo>
                    <a:pt x="3459" y="5571"/>
                    <a:pt x="3486" y="5481"/>
                    <a:pt x="3495" y="5436"/>
                  </a:cubicBezTo>
                  <a:cubicBezTo>
                    <a:pt x="3504" y="5391"/>
                    <a:pt x="3540" y="5256"/>
                    <a:pt x="3540" y="5256"/>
                  </a:cubicBezTo>
                  <a:lnTo>
                    <a:pt x="3387" y="4717"/>
                  </a:lnTo>
                  <a:cubicBezTo>
                    <a:pt x="3369" y="4654"/>
                    <a:pt x="3791" y="4025"/>
                    <a:pt x="3800" y="3989"/>
                  </a:cubicBezTo>
                  <a:cubicBezTo>
                    <a:pt x="3809" y="3953"/>
                    <a:pt x="3899" y="3683"/>
                    <a:pt x="3899" y="3566"/>
                  </a:cubicBezTo>
                  <a:close/>
                  <a:moveTo>
                    <a:pt x="3369" y="3683"/>
                  </a:moveTo>
                  <a:cubicBezTo>
                    <a:pt x="3342" y="3764"/>
                    <a:pt x="3306" y="3809"/>
                    <a:pt x="3288" y="3935"/>
                  </a:cubicBezTo>
                  <a:cubicBezTo>
                    <a:pt x="3270" y="4060"/>
                    <a:pt x="3261" y="4177"/>
                    <a:pt x="3234" y="4114"/>
                  </a:cubicBezTo>
                  <a:cubicBezTo>
                    <a:pt x="3207" y="4051"/>
                    <a:pt x="3144" y="3755"/>
                    <a:pt x="3127" y="3683"/>
                  </a:cubicBezTo>
                  <a:cubicBezTo>
                    <a:pt x="3109" y="3611"/>
                    <a:pt x="3100" y="3558"/>
                    <a:pt x="3100" y="3486"/>
                  </a:cubicBezTo>
                  <a:cubicBezTo>
                    <a:pt x="3100" y="3414"/>
                    <a:pt x="3108" y="3342"/>
                    <a:pt x="3108" y="3270"/>
                  </a:cubicBezTo>
                  <a:cubicBezTo>
                    <a:pt x="3108" y="3198"/>
                    <a:pt x="3135" y="3171"/>
                    <a:pt x="3126" y="3090"/>
                  </a:cubicBezTo>
                  <a:cubicBezTo>
                    <a:pt x="3118" y="3009"/>
                    <a:pt x="3117" y="2938"/>
                    <a:pt x="3126" y="2884"/>
                  </a:cubicBezTo>
                  <a:cubicBezTo>
                    <a:pt x="3135" y="2830"/>
                    <a:pt x="3144" y="2767"/>
                    <a:pt x="3144" y="2740"/>
                  </a:cubicBezTo>
                  <a:cubicBezTo>
                    <a:pt x="3144" y="2713"/>
                    <a:pt x="3234" y="2875"/>
                    <a:pt x="3234" y="2875"/>
                  </a:cubicBezTo>
                  <a:cubicBezTo>
                    <a:pt x="3225" y="2901"/>
                    <a:pt x="3306" y="3189"/>
                    <a:pt x="3315" y="3243"/>
                  </a:cubicBezTo>
                  <a:cubicBezTo>
                    <a:pt x="3324" y="3297"/>
                    <a:pt x="3396" y="3458"/>
                    <a:pt x="3414" y="3503"/>
                  </a:cubicBezTo>
                  <a:cubicBezTo>
                    <a:pt x="3432" y="3548"/>
                    <a:pt x="3396" y="3602"/>
                    <a:pt x="3369" y="3683"/>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68" name="Freeform 31">
              <a:extLst>
                <a:ext uri="{FF2B5EF4-FFF2-40B4-BE49-F238E27FC236}">
                  <a16:creationId xmlns:a16="http://schemas.microsoft.com/office/drawing/2014/main" id="{58ABDA25-D2E5-4AEA-BE8B-22E232798FB5}"/>
                </a:ext>
              </a:extLst>
            </p:cNvPr>
            <p:cNvSpPr>
              <a:spLocks noEditPoints="1"/>
            </p:cNvSpPr>
            <p:nvPr/>
          </p:nvSpPr>
          <p:spPr bwMode="auto">
            <a:xfrm>
              <a:off x="3054" y="2621"/>
              <a:ext cx="317" cy="1206"/>
            </a:xfrm>
            <a:custGeom>
              <a:avLst/>
              <a:gdLst>
                <a:gd name="T0" fmla="*/ 2382 w 2590"/>
                <a:gd name="T1" fmla="*/ 9372 h 9835"/>
                <a:gd name="T2" fmla="*/ 2242 w 2590"/>
                <a:gd name="T3" fmla="*/ 9114 h 9835"/>
                <a:gd name="T4" fmla="*/ 2243 w 2590"/>
                <a:gd name="T5" fmla="*/ 8217 h 9835"/>
                <a:gd name="T6" fmla="*/ 2590 w 2590"/>
                <a:gd name="T7" fmla="*/ 8085 h 9835"/>
                <a:gd name="T8" fmla="*/ 2515 w 2590"/>
                <a:gd name="T9" fmla="*/ 6966 h 9835"/>
                <a:gd name="T10" fmla="*/ 2222 w 2590"/>
                <a:gd name="T11" fmla="*/ 4826 h 9835"/>
                <a:gd name="T12" fmla="*/ 2021 w 2590"/>
                <a:gd name="T13" fmla="*/ 3999 h 9835"/>
                <a:gd name="T14" fmla="*/ 2074 w 2590"/>
                <a:gd name="T15" fmla="*/ 3593 h 9835"/>
                <a:gd name="T16" fmla="*/ 2240 w 2590"/>
                <a:gd name="T17" fmla="*/ 3373 h 9835"/>
                <a:gd name="T18" fmla="*/ 2288 w 2590"/>
                <a:gd name="T19" fmla="*/ 2908 h 9835"/>
                <a:gd name="T20" fmla="*/ 1803 w 2590"/>
                <a:gd name="T21" fmla="*/ 1896 h 9835"/>
                <a:gd name="T22" fmla="*/ 1268 w 2590"/>
                <a:gd name="T23" fmla="*/ 1403 h 9835"/>
                <a:gd name="T24" fmla="*/ 1432 w 2590"/>
                <a:gd name="T25" fmla="*/ 1242 h 9835"/>
                <a:gd name="T26" fmla="*/ 1550 w 2590"/>
                <a:gd name="T27" fmla="*/ 1045 h 9835"/>
                <a:gd name="T28" fmla="*/ 1585 w 2590"/>
                <a:gd name="T29" fmla="*/ 862 h 9835"/>
                <a:gd name="T30" fmla="*/ 1543 w 2590"/>
                <a:gd name="T31" fmla="*/ 666 h 9835"/>
                <a:gd name="T32" fmla="*/ 1597 w 2590"/>
                <a:gd name="T33" fmla="*/ 449 h 9835"/>
                <a:gd name="T34" fmla="*/ 1376 w 2590"/>
                <a:gd name="T35" fmla="*/ 95 h 9835"/>
                <a:gd name="T36" fmla="*/ 674 w 2590"/>
                <a:gd name="T37" fmla="*/ 63 h 9835"/>
                <a:gd name="T38" fmla="*/ 417 w 2590"/>
                <a:gd name="T39" fmla="*/ 386 h 9835"/>
                <a:gd name="T40" fmla="*/ 258 w 2590"/>
                <a:gd name="T41" fmla="*/ 1208 h 9835"/>
                <a:gd name="T42" fmla="*/ 346 w 2590"/>
                <a:gd name="T43" fmla="*/ 1630 h 9835"/>
                <a:gd name="T44" fmla="*/ 153 w 2590"/>
                <a:gd name="T45" fmla="*/ 2209 h 9835"/>
                <a:gd name="T46" fmla="*/ 8 w 2590"/>
                <a:gd name="T47" fmla="*/ 3150 h 9835"/>
                <a:gd name="T48" fmla="*/ 221 w 2590"/>
                <a:gd name="T49" fmla="*/ 3540 h 9835"/>
                <a:gd name="T50" fmla="*/ 543 w 2590"/>
                <a:gd name="T51" fmla="*/ 3426 h 9835"/>
                <a:gd name="T52" fmla="*/ 574 w 2590"/>
                <a:gd name="T53" fmla="*/ 3804 h 9835"/>
                <a:gd name="T54" fmla="*/ 439 w 2590"/>
                <a:gd name="T55" fmla="*/ 4822 h 9835"/>
                <a:gd name="T56" fmla="*/ 567 w 2590"/>
                <a:gd name="T57" fmla="*/ 6113 h 9835"/>
                <a:gd name="T58" fmla="*/ 541 w 2590"/>
                <a:gd name="T59" fmla="*/ 6821 h 9835"/>
                <a:gd name="T60" fmla="*/ 613 w 2590"/>
                <a:gd name="T61" fmla="*/ 7839 h 9835"/>
                <a:gd name="T62" fmla="*/ 849 w 2590"/>
                <a:gd name="T63" fmla="*/ 8035 h 9835"/>
                <a:gd name="T64" fmla="*/ 958 w 2590"/>
                <a:gd name="T65" fmla="*/ 8363 h 9835"/>
                <a:gd name="T66" fmla="*/ 937 w 2590"/>
                <a:gd name="T67" fmla="*/ 8888 h 9835"/>
                <a:gd name="T68" fmla="*/ 931 w 2590"/>
                <a:gd name="T69" fmla="*/ 9118 h 9835"/>
                <a:gd name="T70" fmla="*/ 1126 w 2590"/>
                <a:gd name="T71" fmla="*/ 9726 h 9835"/>
                <a:gd name="T72" fmla="*/ 1152 w 2590"/>
                <a:gd name="T73" fmla="*/ 9219 h 9835"/>
                <a:gd name="T74" fmla="*/ 1330 w 2590"/>
                <a:gd name="T75" fmla="*/ 9620 h 9835"/>
                <a:gd name="T76" fmla="*/ 1777 w 2590"/>
                <a:gd name="T77" fmla="*/ 9668 h 9835"/>
                <a:gd name="T78" fmla="*/ 1855 w 2590"/>
                <a:gd name="T79" fmla="*/ 9835 h 9835"/>
                <a:gd name="T80" fmla="*/ 1982 w 2590"/>
                <a:gd name="T81" fmla="*/ 9526 h 9835"/>
                <a:gd name="T82" fmla="*/ 2206 w 2590"/>
                <a:gd name="T83" fmla="*/ 9745 h 9835"/>
                <a:gd name="T84" fmla="*/ 2511 w 2590"/>
                <a:gd name="T85" fmla="*/ 9594 h 9835"/>
                <a:gd name="T86" fmla="*/ 2487 w 2590"/>
                <a:gd name="T87" fmla="*/ 9411 h 9835"/>
                <a:gd name="T88" fmla="*/ 1707 w 2590"/>
                <a:gd name="T89" fmla="*/ 8798 h 9835"/>
                <a:gd name="T90" fmla="*/ 1594 w 2590"/>
                <a:gd name="T91" fmla="*/ 9031 h 9835"/>
                <a:gd name="T92" fmla="*/ 1501 w 2590"/>
                <a:gd name="T93" fmla="*/ 8780 h 9835"/>
                <a:gd name="T94" fmla="*/ 1359 w 2590"/>
                <a:gd name="T95" fmla="*/ 8174 h 9835"/>
                <a:gd name="T96" fmla="*/ 1473 w 2590"/>
                <a:gd name="T97" fmla="*/ 8307 h 9835"/>
                <a:gd name="T98" fmla="*/ 1752 w 2590"/>
                <a:gd name="T99" fmla="*/ 8279 h 9835"/>
                <a:gd name="T100" fmla="*/ 1757 w 2590"/>
                <a:gd name="T101" fmla="*/ 8722 h 9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90" h="9835">
                  <a:moveTo>
                    <a:pt x="2487" y="9411"/>
                  </a:moveTo>
                  <a:cubicBezTo>
                    <a:pt x="2487" y="9411"/>
                    <a:pt x="2424" y="9362"/>
                    <a:pt x="2382" y="9372"/>
                  </a:cubicBezTo>
                  <a:cubicBezTo>
                    <a:pt x="2340" y="9383"/>
                    <a:pt x="2318" y="9323"/>
                    <a:pt x="2301" y="9311"/>
                  </a:cubicBezTo>
                  <a:cubicBezTo>
                    <a:pt x="2284" y="9298"/>
                    <a:pt x="2253" y="9144"/>
                    <a:pt x="2242" y="9114"/>
                  </a:cubicBezTo>
                  <a:cubicBezTo>
                    <a:pt x="2231" y="9084"/>
                    <a:pt x="2213" y="8889"/>
                    <a:pt x="2207" y="8865"/>
                  </a:cubicBezTo>
                  <a:cubicBezTo>
                    <a:pt x="2202" y="8841"/>
                    <a:pt x="2232" y="8222"/>
                    <a:pt x="2243" y="8217"/>
                  </a:cubicBezTo>
                  <a:cubicBezTo>
                    <a:pt x="2256" y="8211"/>
                    <a:pt x="2522" y="8177"/>
                    <a:pt x="2522" y="8177"/>
                  </a:cubicBezTo>
                  <a:lnTo>
                    <a:pt x="2590" y="8085"/>
                  </a:lnTo>
                  <a:lnTo>
                    <a:pt x="2575" y="7783"/>
                  </a:lnTo>
                  <a:cubicBezTo>
                    <a:pt x="2575" y="7783"/>
                    <a:pt x="2515" y="6990"/>
                    <a:pt x="2515" y="6966"/>
                  </a:cubicBezTo>
                  <a:cubicBezTo>
                    <a:pt x="2516" y="6943"/>
                    <a:pt x="2481" y="6528"/>
                    <a:pt x="2481" y="6499"/>
                  </a:cubicBezTo>
                  <a:cubicBezTo>
                    <a:pt x="2482" y="6469"/>
                    <a:pt x="2221" y="4855"/>
                    <a:pt x="2222" y="4826"/>
                  </a:cubicBezTo>
                  <a:cubicBezTo>
                    <a:pt x="2223" y="4796"/>
                    <a:pt x="2147" y="4340"/>
                    <a:pt x="2136" y="4310"/>
                  </a:cubicBezTo>
                  <a:cubicBezTo>
                    <a:pt x="2125" y="4280"/>
                    <a:pt x="2021" y="3999"/>
                    <a:pt x="2021" y="3999"/>
                  </a:cubicBezTo>
                  <a:cubicBezTo>
                    <a:pt x="2021" y="3999"/>
                    <a:pt x="2028" y="3763"/>
                    <a:pt x="2017" y="3745"/>
                  </a:cubicBezTo>
                  <a:cubicBezTo>
                    <a:pt x="2005" y="3727"/>
                    <a:pt x="2038" y="3598"/>
                    <a:pt x="2074" y="3593"/>
                  </a:cubicBezTo>
                  <a:cubicBezTo>
                    <a:pt x="2110" y="3588"/>
                    <a:pt x="2122" y="3559"/>
                    <a:pt x="2199" y="3544"/>
                  </a:cubicBezTo>
                  <a:cubicBezTo>
                    <a:pt x="2277" y="3528"/>
                    <a:pt x="2233" y="3403"/>
                    <a:pt x="2240" y="3373"/>
                  </a:cubicBezTo>
                  <a:cubicBezTo>
                    <a:pt x="2246" y="3344"/>
                    <a:pt x="2268" y="3221"/>
                    <a:pt x="2306" y="3115"/>
                  </a:cubicBezTo>
                  <a:cubicBezTo>
                    <a:pt x="2345" y="3010"/>
                    <a:pt x="2311" y="2938"/>
                    <a:pt x="2288" y="2908"/>
                  </a:cubicBezTo>
                  <a:cubicBezTo>
                    <a:pt x="2266" y="2878"/>
                    <a:pt x="2154" y="2639"/>
                    <a:pt x="2137" y="2620"/>
                  </a:cubicBezTo>
                  <a:cubicBezTo>
                    <a:pt x="2120" y="2602"/>
                    <a:pt x="1814" y="1938"/>
                    <a:pt x="1803" y="1896"/>
                  </a:cubicBezTo>
                  <a:cubicBezTo>
                    <a:pt x="1793" y="1855"/>
                    <a:pt x="1652" y="1609"/>
                    <a:pt x="1652" y="1609"/>
                  </a:cubicBezTo>
                  <a:lnTo>
                    <a:pt x="1268" y="1403"/>
                  </a:lnTo>
                  <a:lnTo>
                    <a:pt x="1272" y="1273"/>
                  </a:lnTo>
                  <a:cubicBezTo>
                    <a:pt x="1272" y="1273"/>
                    <a:pt x="1397" y="1247"/>
                    <a:pt x="1432" y="1242"/>
                  </a:cubicBezTo>
                  <a:cubicBezTo>
                    <a:pt x="1468" y="1237"/>
                    <a:pt x="1500" y="1155"/>
                    <a:pt x="1501" y="1126"/>
                  </a:cubicBezTo>
                  <a:cubicBezTo>
                    <a:pt x="1502" y="1096"/>
                    <a:pt x="1519" y="1097"/>
                    <a:pt x="1550" y="1045"/>
                  </a:cubicBezTo>
                  <a:cubicBezTo>
                    <a:pt x="1581" y="992"/>
                    <a:pt x="1559" y="950"/>
                    <a:pt x="1560" y="903"/>
                  </a:cubicBezTo>
                  <a:cubicBezTo>
                    <a:pt x="1562" y="856"/>
                    <a:pt x="1567" y="862"/>
                    <a:pt x="1585" y="862"/>
                  </a:cubicBezTo>
                  <a:cubicBezTo>
                    <a:pt x="1603" y="863"/>
                    <a:pt x="1645" y="835"/>
                    <a:pt x="1646" y="805"/>
                  </a:cubicBezTo>
                  <a:cubicBezTo>
                    <a:pt x="1646" y="776"/>
                    <a:pt x="1543" y="666"/>
                    <a:pt x="1543" y="666"/>
                  </a:cubicBezTo>
                  <a:cubicBezTo>
                    <a:pt x="1543" y="666"/>
                    <a:pt x="1545" y="596"/>
                    <a:pt x="1552" y="578"/>
                  </a:cubicBezTo>
                  <a:cubicBezTo>
                    <a:pt x="1558" y="560"/>
                    <a:pt x="1607" y="491"/>
                    <a:pt x="1597" y="449"/>
                  </a:cubicBezTo>
                  <a:cubicBezTo>
                    <a:pt x="1586" y="408"/>
                    <a:pt x="1547" y="324"/>
                    <a:pt x="1548" y="294"/>
                  </a:cubicBezTo>
                  <a:cubicBezTo>
                    <a:pt x="1549" y="265"/>
                    <a:pt x="1417" y="119"/>
                    <a:pt x="1376" y="95"/>
                  </a:cubicBezTo>
                  <a:cubicBezTo>
                    <a:pt x="1336" y="70"/>
                    <a:pt x="1161" y="0"/>
                    <a:pt x="1119" y="5"/>
                  </a:cubicBezTo>
                  <a:cubicBezTo>
                    <a:pt x="1078" y="9"/>
                    <a:pt x="704" y="52"/>
                    <a:pt x="674" y="63"/>
                  </a:cubicBezTo>
                  <a:cubicBezTo>
                    <a:pt x="645" y="74"/>
                    <a:pt x="529" y="183"/>
                    <a:pt x="505" y="212"/>
                  </a:cubicBezTo>
                  <a:cubicBezTo>
                    <a:pt x="481" y="240"/>
                    <a:pt x="424" y="368"/>
                    <a:pt x="417" y="386"/>
                  </a:cubicBezTo>
                  <a:cubicBezTo>
                    <a:pt x="411" y="404"/>
                    <a:pt x="268" y="866"/>
                    <a:pt x="255" y="901"/>
                  </a:cubicBezTo>
                  <a:cubicBezTo>
                    <a:pt x="242" y="936"/>
                    <a:pt x="247" y="1185"/>
                    <a:pt x="258" y="1208"/>
                  </a:cubicBezTo>
                  <a:cubicBezTo>
                    <a:pt x="269" y="1232"/>
                    <a:pt x="368" y="1489"/>
                    <a:pt x="385" y="1507"/>
                  </a:cubicBezTo>
                  <a:cubicBezTo>
                    <a:pt x="385" y="1507"/>
                    <a:pt x="370" y="1613"/>
                    <a:pt x="346" y="1630"/>
                  </a:cubicBezTo>
                  <a:cubicBezTo>
                    <a:pt x="322" y="1647"/>
                    <a:pt x="234" y="1834"/>
                    <a:pt x="216" y="1869"/>
                  </a:cubicBezTo>
                  <a:cubicBezTo>
                    <a:pt x="197" y="1904"/>
                    <a:pt x="154" y="2174"/>
                    <a:pt x="153" y="2209"/>
                  </a:cubicBezTo>
                  <a:cubicBezTo>
                    <a:pt x="152" y="2245"/>
                    <a:pt x="86" y="2674"/>
                    <a:pt x="80" y="2704"/>
                  </a:cubicBezTo>
                  <a:cubicBezTo>
                    <a:pt x="73" y="2733"/>
                    <a:pt x="15" y="3092"/>
                    <a:pt x="8" y="3150"/>
                  </a:cubicBezTo>
                  <a:cubicBezTo>
                    <a:pt x="0" y="3209"/>
                    <a:pt x="96" y="3366"/>
                    <a:pt x="124" y="3414"/>
                  </a:cubicBezTo>
                  <a:cubicBezTo>
                    <a:pt x="153" y="3462"/>
                    <a:pt x="221" y="3540"/>
                    <a:pt x="221" y="3540"/>
                  </a:cubicBezTo>
                  <a:lnTo>
                    <a:pt x="425" y="3428"/>
                  </a:lnTo>
                  <a:lnTo>
                    <a:pt x="543" y="3426"/>
                  </a:lnTo>
                  <a:cubicBezTo>
                    <a:pt x="543" y="3426"/>
                    <a:pt x="644" y="3611"/>
                    <a:pt x="662" y="3600"/>
                  </a:cubicBezTo>
                  <a:cubicBezTo>
                    <a:pt x="680" y="3589"/>
                    <a:pt x="574" y="3804"/>
                    <a:pt x="574" y="3804"/>
                  </a:cubicBezTo>
                  <a:cubicBezTo>
                    <a:pt x="574" y="3804"/>
                    <a:pt x="456" y="4421"/>
                    <a:pt x="455" y="4451"/>
                  </a:cubicBezTo>
                  <a:cubicBezTo>
                    <a:pt x="454" y="4480"/>
                    <a:pt x="440" y="4769"/>
                    <a:pt x="439" y="4822"/>
                  </a:cubicBezTo>
                  <a:cubicBezTo>
                    <a:pt x="437" y="4875"/>
                    <a:pt x="464" y="5195"/>
                    <a:pt x="474" y="5249"/>
                  </a:cubicBezTo>
                  <a:cubicBezTo>
                    <a:pt x="484" y="5302"/>
                    <a:pt x="563" y="6060"/>
                    <a:pt x="567" y="6113"/>
                  </a:cubicBezTo>
                  <a:cubicBezTo>
                    <a:pt x="572" y="6167"/>
                    <a:pt x="581" y="6468"/>
                    <a:pt x="580" y="6486"/>
                  </a:cubicBezTo>
                  <a:cubicBezTo>
                    <a:pt x="580" y="6504"/>
                    <a:pt x="542" y="6804"/>
                    <a:pt x="541" y="6821"/>
                  </a:cubicBezTo>
                  <a:cubicBezTo>
                    <a:pt x="541" y="6839"/>
                    <a:pt x="504" y="7700"/>
                    <a:pt x="504" y="7718"/>
                  </a:cubicBezTo>
                  <a:cubicBezTo>
                    <a:pt x="503" y="7736"/>
                    <a:pt x="595" y="7833"/>
                    <a:pt x="613" y="7839"/>
                  </a:cubicBezTo>
                  <a:cubicBezTo>
                    <a:pt x="630" y="7846"/>
                    <a:pt x="746" y="7920"/>
                    <a:pt x="746" y="7920"/>
                  </a:cubicBezTo>
                  <a:lnTo>
                    <a:pt x="849" y="8035"/>
                  </a:lnTo>
                  <a:lnTo>
                    <a:pt x="882" y="8113"/>
                  </a:lnTo>
                  <a:cubicBezTo>
                    <a:pt x="882" y="8113"/>
                    <a:pt x="947" y="8345"/>
                    <a:pt x="958" y="8363"/>
                  </a:cubicBezTo>
                  <a:cubicBezTo>
                    <a:pt x="969" y="8381"/>
                    <a:pt x="1002" y="8671"/>
                    <a:pt x="1002" y="8671"/>
                  </a:cubicBezTo>
                  <a:cubicBezTo>
                    <a:pt x="1002" y="8671"/>
                    <a:pt x="949" y="8871"/>
                    <a:pt x="937" y="8888"/>
                  </a:cubicBezTo>
                  <a:cubicBezTo>
                    <a:pt x="925" y="8905"/>
                    <a:pt x="879" y="9052"/>
                    <a:pt x="879" y="9052"/>
                  </a:cubicBezTo>
                  <a:lnTo>
                    <a:pt x="931" y="9118"/>
                  </a:lnTo>
                  <a:lnTo>
                    <a:pt x="1055" y="9724"/>
                  </a:lnTo>
                  <a:lnTo>
                    <a:pt x="1126" y="9726"/>
                  </a:lnTo>
                  <a:cubicBezTo>
                    <a:pt x="1126" y="9726"/>
                    <a:pt x="1115" y="9478"/>
                    <a:pt x="1116" y="9454"/>
                  </a:cubicBezTo>
                  <a:cubicBezTo>
                    <a:pt x="1116" y="9430"/>
                    <a:pt x="1152" y="9219"/>
                    <a:pt x="1152" y="9219"/>
                  </a:cubicBezTo>
                  <a:cubicBezTo>
                    <a:pt x="1152" y="9219"/>
                    <a:pt x="1248" y="9381"/>
                    <a:pt x="1259" y="9405"/>
                  </a:cubicBezTo>
                  <a:cubicBezTo>
                    <a:pt x="1270" y="9429"/>
                    <a:pt x="1330" y="9602"/>
                    <a:pt x="1330" y="9620"/>
                  </a:cubicBezTo>
                  <a:cubicBezTo>
                    <a:pt x="1329" y="9637"/>
                    <a:pt x="1546" y="9679"/>
                    <a:pt x="1546" y="9679"/>
                  </a:cubicBezTo>
                  <a:lnTo>
                    <a:pt x="1777" y="9668"/>
                  </a:lnTo>
                  <a:lnTo>
                    <a:pt x="1790" y="9822"/>
                  </a:lnTo>
                  <a:lnTo>
                    <a:pt x="1855" y="9835"/>
                  </a:lnTo>
                  <a:lnTo>
                    <a:pt x="1837" y="9646"/>
                  </a:lnTo>
                  <a:lnTo>
                    <a:pt x="1982" y="9526"/>
                  </a:lnTo>
                  <a:lnTo>
                    <a:pt x="2013" y="9692"/>
                  </a:lnTo>
                  <a:lnTo>
                    <a:pt x="2206" y="9745"/>
                  </a:lnTo>
                  <a:lnTo>
                    <a:pt x="2503" y="9700"/>
                  </a:lnTo>
                  <a:cubicBezTo>
                    <a:pt x="2503" y="9700"/>
                    <a:pt x="2510" y="9636"/>
                    <a:pt x="2511" y="9594"/>
                  </a:cubicBezTo>
                  <a:cubicBezTo>
                    <a:pt x="2513" y="9553"/>
                    <a:pt x="2514" y="9500"/>
                    <a:pt x="2527" y="9459"/>
                  </a:cubicBezTo>
                  <a:cubicBezTo>
                    <a:pt x="2540" y="9418"/>
                    <a:pt x="2487" y="9411"/>
                    <a:pt x="2487" y="9411"/>
                  </a:cubicBezTo>
                  <a:close/>
                  <a:moveTo>
                    <a:pt x="1757" y="8722"/>
                  </a:moveTo>
                  <a:lnTo>
                    <a:pt x="1707" y="8798"/>
                  </a:lnTo>
                  <a:cubicBezTo>
                    <a:pt x="1707" y="8798"/>
                    <a:pt x="1657" y="8897"/>
                    <a:pt x="1645" y="8920"/>
                  </a:cubicBezTo>
                  <a:cubicBezTo>
                    <a:pt x="1632" y="8943"/>
                    <a:pt x="1613" y="9008"/>
                    <a:pt x="1594" y="9031"/>
                  </a:cubicBezTo>
                  <a:cubicBezTo>
                    <a:pt x="1576" y="9054"/>
                    <a:pt x="1594" y="9031"/>
                    <a:pt x="1583" y="9001"/>
                  </a:cubicBezTo>
                  <a:cubicBezTo>
                    <a:pt x="1572" y="8971"/>
                    <a:pt x="1501" y="8780"/>
                    <a:pt x="1501" y="8780"/>
                  </a:cubicBezTo>
                  <a:cubicBezTo>
                    <a:pt x="1501" y="8780"/>
                    <a:pt x="1426" y="8500"/>
                    <a:pt x="1410" y="8465"/>
                  </a:cubicBezTo>
                  <a:cubicBezTo>
                    <a:pt x="1393" y="8429"/>
                    <a:pt x="1359" y="8174"/>
                    <a:pt x="1359" y="8174"/>
                  </a:cubicBezTo>
                  <a:lnTo>
                    <a:pt x="1420" y="8305"/>
                  </a:lnTo>
                  <a:lnTo>
                    <a:pt x="1473" y="8307"/>
                  </a:lnTo>
                  <a:cubicBezTo>
                    <a:pt x="1473" y="8307"/>
                    <a:pt x="1574" y="8304"/>
                    <a:pt x="1598" y="8299"/>
                  </a:cubicBezTo>
                  <a:cubicBezTo>
                    <a:pt x="1621" y="8293"/>
                    <a:pt x="1752" y="8279"/>
                    <a:pt x="1752" y="8279"/>
                  </a:cubicBezTo>
                  <a:cubicBezTo>
                    <a:pt x="1752" y="8279"/>
                    <a:pt x="1797" y="8558"/>
                    <a:pt x="1802" y="8576"/>
                  </a:cubicBezTo>
                  <a:cubicBezTo>
                    <a:pt x="1808" y="8594"/>
                    <a:pt x="1757" y="8722"/>
                    <a:pt x="1757" y="872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69" name="Freeform 32">
              <a:extLst>
                <a:ext uri="{FF2B5EF4-FFF2-40B4-BE49-F238E27FC236}">
                  <a16:creationId xmlns:a16="http://schemas.microsoft.com/office/drawing/2014/main" id="{598C1D29-AC4B-4D41-BD79-397259A1FF7F}"/>
                </a:ext>
              </a:extLst>
            </p:cNvPr>
            <p:cNvSpPr>
              <a:spLocks noEditPoints="1"/>
            </p:cNvSpPr>
            <p:nvPr/>
          </p:nvSpPr>
          <p:spPr bwMode="auto">
            <a:xfrm>
              <a:off x="4656" y="2631"/>
              <a:ext cx="391" cy="1218"/>
            </a:xfrm>
            <a:custGeom>
              <a:avLst/>
              <a:gdLst>
                <a:gd name="T0" fmla="*/ 2640 w 3193"/>
                <a:gd name="T1" fmla="*/ 8730 h 9926"/>
                <a:gd name="T2" fmla="*/ 2650 w 3193"/>
                <a:gd name="T3" fmla="*/ 8663 h 9926"/>
                <a:gd name="T4" fmla="*/ 2624 w 3193"/>
                <a:gd name="T5" fmla="*/ 8279 h 9926"/>
                <a:gd name="T6" fmla="*/ 3131 w 3193"/>
                <a:gd name="T7" fmla="*/ 7017 h 9926"/>
                <a:gd name="T8" fmla="*/ 2685 w 3193"/>
                <a:gd name="T9" fmla="*/ 4873 h 9926"/>
                <a:gd name="T10" fmla="*/ 2713 w 3193"/>
                <a:gd name="T11" fmla="*/ 3888 h 9926"/>
                <a:gd name="T12" fmla="*/ 3148 w 3193"/>
                <a:gd name="T13" fmla="*/ 3572 h 9926"/>
                <a:gd name="T14" fmla="*/ 2950 w 3193"/>
                <a:gd name="T15" fmla="*/ 2255 h 9926"/>
                <a:gd name="T16" fmla="*/ 2241 w 3193"/>
                <a:gd name="T17" fmla="*/ 1515 h 9926"/>
                <a:gd name="T18" fmla="*/ 2129 w 3193"/>
                <a:gd name="T19" fmla="*/ 868 h 9926"/>
                <a:gd name="T20" fmla="*/ 1654 w 3193"/>
                <a:gd name="T21" fmla="*/ 35 h 9926"/>
                <a:gd name="T22" fmla="*/ 1091 w 3193"/>
                <a:gd name="T23" fmla="*/ 161 h 9926"/>
                <a:gd name="T24" fmla="*/ 840 w 3193"/>
                <a:gd name="T25" fmla="*/ 624 h 9926"/>
                <a:gd name="T26" fmla="*/ 879 w 3193"/>
                <a:gd name="T27" fmla="*/ 819 h 9926"/>
                <a:gd name="T28" fmla="*/ 965 w 3193"/>
                <a:gd name="T29" fmla="*/ 980 h 9926"/>
                <a:gd name="T30" fmla="*/ 996 w 3193"/>
                <a:gd name="T31" fmla="*/ 1158 h 9926"/>
                <a:gd name="T32" fmla="*/ 1052 w 3193"/>
                <a:gd name="T33" fmla="*/ 1340 h 9926"/>
                <a:gd name="T34" fmla="*/ 992 w 3193"/>
                <a:gd name="T35" fmla="*/ 1895 h 9926"/>
                <a:gd name="T36" fmla="*/ 834 w 3193"/>
                <a:gd name="T37" fmla="*/ 2289 h 9926"/>
                <a:gd name="T38" fmla="*/ 698 w 3193"/>
                <a:gd name="T39" fmla="*/ 2417 h 9926"/>
                <a:gd name="T40" fmla="*/ 693 w 3193"/>
                <a:gd name="T41" fmla="*/ 2173 h 9926"/>
                <a:gd name="T42" fmla="*/ 816 w 3193"/>
                <a:gd name="T43" fmla="*/ 1833 h 9926"/>
                <a:gd name="T44" fmla="*/ 719 w 3193"/>
                <a:gd name="T45" fmla="*/ 1600 h 9926"/>
                <a:gd name="T46" fmla="*/ 652 w 3193"/>
                <a:gd name="T47" fmla="*/ 1599 h 9926"/>
                <a:gd name="T48" fmla="*/ 334 w 3193"/>
                <a:gd name="T49" fmla="*/ 1708 h 9926"/>
                <a:gd name="T50" fmla="*/ 231 w 3193"/>
                <a:gd name="T51" fmla="*/ 1824 h 9926"/>
                <a:gd name="T52" fmla="*/ 132 w 3193"/>
                <a:gd name="T53" fmla="*/ 1941 h 9926"/>
                <a:gd name="T54" fmla="*/ 166 w 3193"/>
                <a:gd name="T55" fmla="*/ 2173 h 9926"/>
                <a:gd name="T56" fmla="*/ 190 w 3193"/>
                <a:gd name="T57" fmla="*/ 2561 h 9926"/>
                <a:gd name="T58" fmla="*/ 25 w 3193"/>
                <a:gd name="T59" fmla="*/ 3376 h 9926"/>
                <a:gd name="T60" fmla="*/ 705 w 3193"/>
                <a:gd name="T61" fmla="*/ 4060 h 9926"/>
                <a:gd name="T62" fmla="*/ 556 w 3193"/>
                <a:gd name="T63" fmla="*/ 6038 h 9926"/>
                <a:gd name="T64" fmla="*/ 1072 w 3193"/>
                <a:gd name="T65" fmla="*/ 7492 h 9926"/>
                <a:gd name="T66" fmla="*/ 1271 w 3193"/>
                <a:gd name="T67" fmla="*/ 7647 h 9926"/>
                <a:gd name="T68" fmla="*/ 1613 w 3193"/>
                <a:gd name="T69" fmla="*/ 8667 h 9926"/>
                <a:gd name="T70" fmla="*/ 1334 w 3193"/>
                <a:gd name="T71" fmla="*/ 9560 h 9926"/>
                <a:gd name="T72" fmla="*/ 1567 w 3193"/>
                <a:gd name="T73" fmla="*/ 9737 h 9926"/>
                <a:gd name="T74" fmla="*/ 1834 w 3193"/>
                <a:gd name="T75" fmla="*/ 9922 h 9926"/>
                <a:gd name="T76" fmla="*/ 2401 w 3193"/>
                <a:gd name="T77" fmla="*/ 9712 h 9926"/>
                <a:gd name="T78" fmla="*/ 2530 w 3193"/>
                <a:gd name="T79" fmla="*/ 9571 h 9926"/>
                <a:gd name="T80" fmla="*/ 2581 w 3193"/>
                <a:gd name="T81" fmla="*/ 9812 h 9926"/>
                <a:gd name="T82" fmla="*/ 2642 w 3193"/>
                <a:gd name="T83" fmla="*/ 9430 h 9926"/>
                <a:gd name="T84" fmla="*/ 2770 w 3193"/>
                <a:gd name="T85" fmla="*/ 9078 h 9926"/>
                <a:gd name="T86" fmla="*/ 2178 w 3193"/>
                <a:gd name="T87" fmla="*/ 8693 h 9926"/>
                <a:gd name="T88" fmla="*/ 2129 w 3193"/>
                <a:gd name="T89" fmla="*/ 8541 h 9926"/>
                <a:gd name="T90" fmla="*/ 2072 w 3193"/>
                <a:gd name="T91" fmla="*/ 8443 h 9926"/>
                <a:gd name="T92" fmla="*/ 2028 w 3193"/>
                <a:gd name="T93" fmla="*/ 8531 h 9926"/>
                <a:gd name="T94" fmla="*/ 1945 w 3193"/>
                <a:gd name="T95" fmla="*/ 8205 h 9926"/>
                <a:gd name="T96" fmla="*/ 1928 w 3193"/>
                <a:gd name="T97" fmla="*/ 7695 h 9926"/>
                <a:gd name="T98" fmla="*/ 2128 w 3193"/>
                <a:gd name="T99" fmla="*/ 7327 h 9926"/>
                <a:gd name="T100" fmla="*/ 2181 w 3193"/>
                <a:gd name="T101" fmla="*/ 8175 h 9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93" h="9926">
                  <a:moveTo>
                    <a:pt x="2721" y="8967"/>
                  </a:moveTo>
                  <a:cubicBezTo>
                    <a:pt x="2705" y="8942"/>
                    <a:pt x="2664" y="8865"/>
                    <a:pt x="2643" y="8831"/>
                  </a:cubicBezTo>
                  <a:cubicBezTo>
                    <a:pt x="2622" y="8797"/>
                    <a:pt x="2640" y="8730"/>
                    <a:pt x="2640" y="8730"/>
                  </a:cubicBezTo>
                  <a:lnTo>
                    <a:pt x="2678" y="8747"/>
                  </a:lnTo>
                  <a:lnTo>
                    <a:pt x="2691" y="8718"/>
                  </a:lnTo>
                  <a:cubicBezTo>
                    <a:pt x="2691" y="8718"/>
                    <a:pt x="2671" y="8688"/>
                    <a:pt x="2650" y="8663"/>
                  </a:cubicBezTo>
                  <a:cubicBezTo>
                    <a:pt x="2629" y="8637"/>
                    <a:pt x="2574" y="8683"/>
                    <a:pt x="2574" y="8683"/>
                  </a:cubicBezTo>
                  <a:cubicBezTo>
                    <a:pt x="2574" y="8683"/>
                    <a:pt x="2601" y="8582"/>
                    <a:pt x="2608" y="8538"/>
                  </a:cubicBezTo>
                  <a:cubicBezTo>
                    <a:pt x="2615" y="8494"/>
                    <a:pt x="2624" y="8310"/>
                    <a:pt x="2624" y="8279"/>
                  </a:cubicBezTo>
                  <a:cubicBezTo>
                    <a:pt x="2625" y="8247"/>
                    <a:pt x="2659" y="8122"/>
                    <a:pt x="2700" y="7907"/>
                  </a:cubicBezTo>
                  <a:cubicBezTo>
                    <a:pt x="2741" y="7693"/>
                    <a:pt x="2642" y="7205"/>
                    <a:pt x="2642" y="7205"/>
                  </a:cubicBezTo>
                  <a:lnTo>
                    <a:pt x="3131" y="7017"/>
                  </a:lnTo>
                  <a:lnTo>
                    <a:pt x="3109" y="6820"/>
                  </a:lnTo>
                  <a:cubicBezTo>
                    <a:pt x="3109" y="6820"/>
                    <a:pt x="2846" y="5476"/>
                    <a:pt x="2828" y="5413"/>
                  </a:cubicBezTo>
                  <a:cubicBezTo>
                    <a:pt x="2810" y="5349"/>
                    <a:pt x="2739" y="5051"/>
                    <a:pt x="2685" y="4873"/>
                  </a:cubicBezTo>
                  <a:cubicBezTo>
                    <a:pt x="2631" y="4696"/>
                    <a:pt x="2658" y="4576"/>
                    <a:pt x="2629" y="4443"/>
                  </a:cubicBezTo>
                  <a:cubicBezTo>
                    <a:pt x="2599" y="4310"/>
                    <a:pt x="2634" y="4114"/>
                    <a:pt x="2610" y="4025"/>
                  </a:cubicBezTo>
                  <a:cubicBezTo>
                    <a:pt x="2586" y="3937"/>
                    <a:pt x="2675" y="3894"/>
                    <a:pt x="2713" y="3888"/>
                  </a:cubicBezTo>
                  <a:cubicBezTo>
                    <a:pt x="2751" y="3882"/>
                    <a:pt x="2809" y="3845"/>
                    <a:pt x="2853" y="3852"/>
                  </a:cubicBezTo>
                  <a:cubicBezTo>
                    <a:pt x="2897" y="3859"/>
                    <a:pt x="2937" y="3727"/>
                    <a:pt x="2969" y="3696"/>
                  </a:cubicBezTo>
                  <a:cubicBezTo>
                    <a:pt x="3001" y="3665"/>
                    <a:pt x="3103" y="3616"/>
                    <a:pt x="3148" y="3572"/>
                  </a:cubicBezTo>
                  <a:cubicBezTo>
                    <a:pt x="3193" y="3529"/>
                    <a:pt x="3190" y="3333"/>
                    <a:pt x="3178" y="3257"/>
                  </a:cubicBezTo>
                  <a:cubicBezTo>
                    <a:pt x="3167" y="3181"/>
                    <a:pt x="3106" y="2523"/>
                    <a:pt x="3098" y="2497"/>
                  </a:cubicBezTo>
                  <a:cubicBezTo>
                    <a:pt x="3090" y="2472"/>
                    <a:pt x="2975" y="2297"/>
                    <a:pt x="2950" y="2255"/>
                  </a:cubicBezTo>
                  <a:cubicBezTo>
                    <a:pt x="2925" y="2212"/>
                    <a:pt x="2808" y="1932"/>
                    <a:pt x="2783" y="1915"/>
                  </a:cubicBezTo>
                  <a:cubicBezTo>
                    <a:pt x="2758" y="1898"/>
                    <a:pt x="2278" y="1583"/>
                    <a:pt x="2278" y="1595"/>
                  </a:cubicBezTo>
                  <a:cubicBezTo>
                    <a:pt x="2278" y="1608"/>
                    <a:pt x="2249" y="1527"/>
                    <a:pt x="2241" y="1515"/>
                  </a:cubicBezTo>
                  <a:cubicBezTo>
                    <a:pt x="2233" y="1502"/>
                    <a:pt x="2202" y="1341"/>
                    <a:pt x="2202" y="1316"/>
                  </a:cubicBezTo>
                  <a:cubicBezTo>
                    <a:pt x="2203" y="1291"/>
                    <a:pt x="2163" y="1138"/>
                    <a:pt x="2155" y="1079"/>
                  </a:cubicBezTo>
                  <a:cubicBezTo>
                    <a:pt x="2148" y="1020"/>
                    <a:pt x="2133" y="927"/>
                    <a:pt x="2129" y="868"/>
                  </a:cubicBezTo>
                  <a:cubicBezTo>
                    <a:pt x="2126" y="809"/>
                    <a:pt x="2099" y="644"/>
                    <a:pt x="2095" y="619"/>
                  </a:cubicBezTo>
                  <a:cubicBezTo>
                    <a:pt x="2092" y="594"/>
                    <a:pt x="1859" y="127"/>
                    <a:pt x="1834" y="109"/>
                  </a:cubicBezTo>
                  <a:cubicBezTo>
                    <a:pt x="1809" y="92"/>
                    <a:pt x="1721" y="70"/>
                    <a:pt x="1654" y="35"/>
                  </a:cubicBezTo>
                  <a:cubicBezTo>
                    <a:pt x="1587" y="0"/>
                    <a:pt x="1553" y="21"/>
                    <a:pt x="1502" y="37"/>
                  </a:cubicBezTo>
                  <a:cubicBezTo>
                    <a:pt x="1451" y="53"/>
                    <a:pt x="1367" y="76"/>
                    <a:pt x="1341" y="85"/>
                  </a:cubicBezTo>
                  <a:cubicBezTo>
                    <a:pt x="1316" y="93"/>
                    <a:pt x="1130" y="136"/>
                    <a:pt x="1091" y="161"/>
                  </a:cubicBezTo>
                  <a:cubicBezTo>
                    <a:pt x="1053" y="185"/>
                    <a:pt x="955" y="239"/>
                    <a:pt x="921" y="263"/>
                  </a:cubicBezTo>
                  <a:cubicBezTo>
                    <a:pt x="887" y="288"/>
                    <a:pt x="860" y="418"/>
                    <a:pt x="851" y="435"/>
                  </a:cubicBezTo>
                  <a:cubicBezTo>
                    <a:pt x="842" y="452"/>
                    <a:pt x="836" y="561"/>
                    <a:pt x="840" y="624"/>
                  </a:cubicBezTo>
                  <a:cubicBezTo>
                    <a:pt x="843" y="688"/>
                    <a:pt x="864" y="705"/>
                    <a:pt x="876" y="709"/>
                  </a:cubicBezTo>
                  <a:cubicBezTo>
                    <a:pt x="889" y="713"/>
                    <a:pt x="914" y="731"/>
                    <a:pt x="914" y="731"/>
                  </a:cubicBezTo>
                  <a:cubicBezTo>
                    <a:pt x="914" y="731"/>
                    <a:pt x="901" y="777"/>
                    <a:pt x="879" y="819"/>
                  </a:cubicBezTo>
                  <a:cubicBezTo>
                    <a:pt x="857" y="860"/>
                    <a:pt x="861" y="903"/>
                    <a:pt x="847" y="928"/>
                  </a:cubicBezTo>
                  <a:cubicBezTo>
                    <a:pt x="835" y="953"/>
                    <a:pt x="876" y="966"/>
                    <a:pt x="889" y="962"/>
                  </a:cubicBezTo>
                  <a:cubicBezTo>
                    <a:pt x="902" y="958"/>
                    <a:pt x="965" y="980"/>
                    <a:pt x="965" y="980"/>
                  </a:cubicBezTo>
                  <a:cubicBezTo>
                    <a:pt x="965" y="980"/>
                    <a:pt x="968" y="1039"/>
                    <a:pt x="967" y="1065"/>
                  </a:cubicBezTo>
                  <a:cubicBezTo>
                    <a:pt x="967" y="1090"/>
                    <a:pt x="975" y="1090"/>
                    <a:pt x="992" y="1103"/>
                  </a:cubicBezTo>
                  <a:cubicBezTo>
                    <a:pt x="1009" y="1116"/>
                    <a:pt x="996" y="1158"/>
                    <a:pt x="996" y="1158"/>
                  </a:cubicBezTo>
                  <a:lnTo>
                    <a:pt x="1024" y="1226"/>
                  </a:lnTo>
                  <a:lnTo>
                    <a:pt x="1040" y="1272"/>
                  </a:lnTo>
                  <a:lnTo>
                    <a:pt x="1052" y="1340"/>
                  </a:lnTo>
                  <a:cubicBezTo>
                    <a:pt x="1052" y="1340"/>
                    <a:pt x="1032" y="1512"/>
                    <a:pt x="1019" y="1563"/>
                  </a:cubicBezTo>
                  <a:cubicBezTo>
                    <a:pt x="1005" y="1613"/>
                    <a:pt x="1000" y="1701"/>
                    <a:pt x="999" y="1718"/>
                  </a:cubicBezTo>
                  <a:cubicBezTo>
                    <a:pt x="999" y="1735"/>
                    <a:pt x="993" y="1849"/>
                    <a:pt x="992" y="1895"/>
                  </a:cubicBezTo>
                  <a:cubicBezTo>
                    <a:pt x="992" y="1941"/>
                    <a:pt x="966" y="1966"/>
                    <a:pt x="957" y="1995"/>
                  </a:cubicBezTo>
                  <a:cubicBezTo>
                    <a:pt x="948" y="2025"/>
                    <a:pt x="901" y="2100"/>
                    <a:pt x="883" y="2129"/>
                  </a:cubicBezTo>
                  <a:cubicBezTo>
                    <a:pt x="866" y="2158"/>
                    <a:pt x="839" y="2230"/>
                    <a:pt x="834" y="2289"/>
                  </a:cubicBezTo>
                  <a:cubicBezTo>
                    <a:pt x="829" y="2347"/>
                    <a:pt x="803" y="2423"/>
                    <a:pt x="811" y="2461"/>
                  </a:cubicBezTo>
                  <a:cubicBezTo>
                    <a:pt x="818" y="2499"/>
                    <a:pt x="805" y="2541"/>
                    <a:pt x="784" y="2511"/>
                  </a:cubicBezTo>
                  <a:cubicBezTo>
                    <a:pt x="764" y="2481"/>
                    <a:pt x="710" y="2442"/>
                    <a:pt x="698" y="2417"/>
                  </a:cubicBezTo>
                  <a:cubicBezTo>
                    <a:pt x="685" y="2391"/>
                    <a:pt x="707" y="2375"/>
                    <a:pt x="711" y="2350"/>
                  </a:cubicBezTo>
                  <a:cubicBezTo>
                    <a:pt x="716" y="2325"/>
                    <a:pt x="687" y="2265"/>
                    <a:pt x="687" y="2265"/>
                  </a:cubicBezTo>
                  <a:cubicBezTo>
                    <a:pt x="687" y="2265"/>
                    <a:pt x="689" y="2189"/>
                    <a:pt x="693" y="2173"/>
                  </a:cubicBezTo>
                  <a:cubicBezTo>
                    <a:pt x="698" y="2156"/>
                    <a:pt x="721" y="2030"/>
                    <a:pt x="721" y="2030"/>
                  </a:cubicBezTo>
                  <a:cubicBezTo>
                    <a:pt x="721" y="2030"/>
                    <a:pt x="772" y="1955"/>
                    <a:pt x="785" y="1946"/>
                  </a:cubicBezTo>
                  <a:cubicBezTo>
                    <a:pt x="798" y="1938"/>
                    <a:pt x="816" y="1833"/>
                    <a:pt x="816" y="1833"/>
                  </a:cubicBezTo>
                  <a:lnTo>
                    <a:pt x="750" y="1773"/>
                  </a:lnTo>
                  <a:lnTo>
                    <a:pt x="773" y="1639"/>
                  </a:lnTo>
                  <a:lnTo>
                    <a:pt x="719" y="1600"/>
                  </a:lnTo>
                  <a:lnTo>
                    <a:pt x="758" y="1264"/>
                  </a:lnTo>
                  <a:lnTo>
                    <a:pt x="712" y="1254"/>
                  </a:lnTo>
                  <a:lnTo>
                    <a:pt x="652" y="1599"/>
                  </a:lnTo>
                  <a:lnTo>
                    <a:pt x="361" y="1573"/>
                  </a:lnTo>
                  <a:lnTo>
                    <a:pt x="348" y="1624"/>
                  </a:lnTo>
                  <a:cubicBezTo>
                    <a:pt x="348" y="1624"/>
                    <a:pt x="376" y="1729"/>
                    <a:pt x="334" y="1708"/>
                  </a:cubicBezTo>
                  <a:cubicBezTo>
                    <a:pt x="292" y="1686"/>
                    <a:pt x="266" y="1732"/>
                    <a:pt x="266" y="1732"/>
                  </a:cubicBezTo>
                  <a:lnTo>
                    <a:pt x="257" y="1770"/>
                  </a:lnTo>
                  <a:cubicBezTo>
                    <a:pt x="257" y="1770"/>
                    <a:pt x="248" y="1812"/>
                    <a:pt x="231" y="1824"/>
                  </a:cubicBezTo>
                  <a:cubicBezTo>
                    <a:pt x="214" y="1836"/>
                    <a:pt x="205" y="1857"/>
                    <a:pt x="205" y="1857"/>
                  </a:cubicBezTo>
                  <a:cubicBezTo>
                    <a:pt x="205" y="1857"/>
                    <a:pt x="142" y="1840"/>
                    <a:pt x="125" y="1848"/>
                  </a:cubicBezTo>
                  <a:cubicBezTo>
                    <a:pt x="108" y="1856"/>
                    <a:pt x="124" y="1928"/>
                    <a:pt x="132" y="1941"/>
                  </a:cubicBezTo>
                  <a:cubicBezTo>
                    <a:pt x="140" y="1953"/>
                    <a:pt x="178" y="1975"/>
                    <a:pt x="178" y="1975"/>
                  </a:cubicBezTo>
                  <a:cubicBezTo>
                    <a:pt x="178" y="1975"/>
                    <a:pt x="143" y="2067"/>
                    <a:pt x="121" y="2092"/>
                  </a:cubicBezTo>
                  <a:cubicBezTo>
                    <a:pt x="100" y="2117"/>
                    <a:pt x="166" y="2173"/>
                    <a:pt x="166" y="2173"/>
                  </a:cubicBezTo>
                  <a:lnTo>
                    <a:pt x="294" y="2348"/>
                  </a:lnTo>
                  <a:lnTo>
                    <a:pt x="300" y="2499"/>
                  </a:lnTo>
                  <a:cubicBezTo>
                    <a:pt x="300" y="2499"/>
                    <a:pt x="207" y="2553"/>
                    <a:pt x="190" y="2561"/>
                  </a:cubicBezTo>
                  <a:cubicBezTo>
                    <a:pt x="173" y="2569"/>
                    <a:pt x="129" y="2644"/>
                    <a:pt x="86" y="2694"/>
                  </a:cubicBezTo>
                  <a:cubicBezTo>
                    <a:pt x="43" y="2744"/>
                    <a:pt x="1" y="3009"/>
                    <a:pt x="1" y="3042"/>
                  </a:cubicBezTo>
                  <a:cubicBezTo>
                    <a:pt x="0" y="3076"/>
                    <a:pt x="21" y="3329"/>
                    <a:pt x="25" y="3376"/>
                  </a:cubicBezTo>
                  <a:cubicBezTo>
                    <a:pt x="28" y="3422"/>
                    <a:pt x="226" y="3728"/>
                    <a:pt x="259" y="3784"/>
                  </a:cubicBezTo>
                  <a:cubicBezTo>
                    <a:pt x="291" y="3839"/>
                    <a:pt x="433" y="3963"/>
                    <a:pt x="458" y="3981"/>
                  </a:cubicBezTo>
                  <a:cubicBezTo>
                    <a:pt x="483" y="3998"/>
                    <a:pt x="705" y="4060"/>
                    <a:pt x="705" y="4060"/>
                  </a:cubicBezTo>
                  <a:cubicBezTo>
                    <a:pt x="705" y="4060"/>
                    <a:pt x="687" y="4684"/>
                    <a:pt x="674" y="4684"/>
                  </a:cubicBezTo>
                  <a:cubicBezTo>
                    <a:pt x="661" y="4683"/>
                    <a:pt x="586" y="5470"/>
                    <a:pt x="586" y="5470"/>
                  </a:cubicBezTo>
                  <a:lnTo>
                    <a:pt x="556" y="6038"/>
                  </a:lnTo>
                  <a:cubicBezTo>
                    <a:pt x="556" y="6038"/>
                    <a:pt x="579" y="7471"/>
                    <a:pt x="592" y="7476"/>
                  </a:cubicBezTo>
                  <a:cubicBezTo>
                    <a:pt x="604" y="7480"/>
                    <a:pt x="680" y="7460"/>
                    <a:pt x="680" y="7460"/>
                  </a:cubicBezTo>
                  <a:cubicBezTo>
                    <a:pt x="680" y="7460"/>
                    <a:pt x="1051" y="7491"/>
                    <a:pt x="1072" y="7492"/>
                  </a:cubicBezTo>
                  <a:cubicBezTo>
                    <a:pt x="1093" y="7492"/>
                    <a:pt x="1131" y="7463"/>
                    <a:pt x="1144" y="7447"/>
                  </a:cubicBezTo>
                  <a:cubicBezTo>
                    <a:pt x="1157" y="7430"/>
                    <a:pt x="1228" y="7439"/>
                    <a:pt x="1228" y="7439"/>
                  </a:cubicBezTo>
                  <a:lnTo>
                    <a:pt x="1271" y="7647"/>
                  </a:lnTo>
                  <a:cubicBezTo>
                    <a:pt x="1271" y="7647"/>
                    <a:pt x="1405" y="7969"/>
                    <a:pt x="1414" y="7977"/>
                  </a:cubicBezTo>
                  <a:cubicBezTo>
                    <a:pt x="1422" y="7986"/>
                    <a:pt x="1615" y="8575"/>
                    <a:pt x="1615" y="8587"/>
                  </a:cubicBezTo>
                  <a:cubicBezTo>
                    <a:pt x="1614" y="8600"/>
                    <a:pt x="1614" y="8655"/>
                    <a:pt x="1613" y="8667"/>
                  </a:cubicBezTo>
                  <a:cubicBezTo>
                    <a:pt x="1613" y="8680"/>
                    <a:pt x="1587" y="9244"/>
                    <a:pt x="1587" y="9244"/>
                  </a:cubicBezTo>
                  <a:cubicBezTo>
                    <a:pt x="1587" y="9244"/>
                    <a:pt x="1521" y="9429"/>
                    <a:pt x="1513" y="9441"/>
                  </a:cubicBezTo>
                  <a:cubicBezTo>
                    <a:pt x="1504" y="9453"/>
                    <a:pt x="1355" y="9556"/>
                    <a:pt x="1334" y="9560"/>
                  </a:cubicBezTo>
                  <a:cubicBezTo>
                    <a:pt x="1313" y="9564"/>
                    <a:pt x="1223" y="9618"/>
                    <a:pt x="1214" y="9634"/>
                  </a:cubicBezTo>
                  <a:cubicBezTo>
                    <a:pt x="1206" y="9651"/>
                    <a:pt x="1248" y="9664"/>
                    <a:pt x="1248" y="9664"/>
                  </a:cubicBezTo>
                  <a:lnTo>
                    <a:pt x="1567" y="9737"/>
                  </a:lnTo>
                  <a:cubicBezTo>
                    <a:pt x="1567" y="9737"/>
                    <a:pt x="1537" y="9757"/>
                    <a:pt x="1537" y="9779"/>
                  </a:cubicBezTo>
                  <a:cubicBezTo>
                    <a:pt x="1536" y="9800"/>
                    <a:pt x="1632" y="9852"/>
                    <a:pt x="1645" y="9856"/>
                  </a:cubicBezTo>
                  <a:cubicBezTo>
                    <a:pt x="1658" y="9860"/>
                    <a:pt x="1812" y="9926"/>
                    <a:pt x="1834" y="9922"/>
                  </a:cubicBezTo>
                  <a:cubicBezTo>
                    <a:pt x="1855" y="9918"/>
                    <a:pt x="2002" y="9908"/>
                    <a:pt x="2015" y="9913"/>
                  </a:cubicBezTo>
                  <a:cubicBezTo>
                    <a:pt x="2027" y="9917"/>
                    <a:pt x="2328" y="9859"/>
                    <a:pt x="2353" y="9838"/>
                  </a:cubicBezTo>
                  <a:cubicBezTo>
                    <a:pt x="2379" y="9817"/>
                    <a:pt x="2405" y="9754"/>
                    <a:pt x="2401" y="9712"/>
                  </a:cubicBezTo>
                  <a:cubicBezTo>
                    <a:pt x="2398" y="9670"/>
                    <a:pt x="2458" y="9599"/>
                    <a:pt x="2467" y="9570"/>
                  </a:cubicBezTo>
                  <a:cubicBezTo>
                    <a:pt x="2476" y="9541"/>
                    <a:pt x="2523" y="9495"/>
                    <a:pt x="2527" y="9482"/>
                  </a:cubicBezTo>
                  <a:cubicBezTo>
                    <a:pt x="2532" y="9470"/>
                    <a:pt x="2530" y="9571"/>
                    <a:pt x="2530" y="9571"/>
                  </a:cubicBezTo>
                  <a:cubicBezTo>
                    <a:pt x="2530" y="9571"/>
                    <a:pt x="2536" y="9761"/>
                    <a:pt x="2531" y="9777"/>
                  </a:cubicBezTo>
                  <a:cubicBezTo>
                    <a:pt x="2527" y="9794"/>
                    <a:pt x="2543" y="9833"/>
                    <a:pt x="2543" y="9833"/>
                  </a:cubicBezTo>
                  <a:cubicBezTo>
                    <a:pt x="2543" y="9833"/>
                    <a:pt x="2581" y="9829"/>
                    <a:pt x="2581" y="9812"/>
                  </a:cubicBezTo>
                  <a:cubicBezTo>
                    <a:pt x="2582" y="9795"/>
                    <a:pt x="2591" y="9741"/>
                    <a:pt x="2584" y="9644"/>
                  </a:cubicBezTo>
                  <a:cubicBezTo>
                    <a:pt x="2577" y="9547"/>
                    <a:pt x="2598" y="9543"/>
                    <a:pt x="2594" y="9513"/>
                  </a:cubicBezTo>
                  <a:cubicBezTo>
                    <a:pt x="2590" y="9484"/>
                    <a:pt x="2633" y="9446"/>
                    <a:pt x="2642" y="9430"/>
                  </a:cubicBezTo>
                  <a:cubicBezTo>
                    <a:pt x="2651" y="9413"/>
                    <a:pt x="2706" y="9342"/>
                    <a:pt x="2724" y="9309"/>
                  </a:cubicBezTo>
                  <a:cubicBezTo>
                    <a:pt x="2741" y="9275"/>
                    <a:pt x="2759" y="9233"/>
                    <a:pt x="2772" y="9200"/>
                  </a:cubicBezTo>
                  <a:cubicBezTo>
                    <a:pt x="2785" y="9166"/>
                    <a:pt x="2769" y="9111"/>
                    <a:pt x="2770" y="9078"/>
                  </a:cubicBezTo>
                  <a:cubicBezTo>
                    <a:pt x="2770" y="9044"/>
                    <a:pt x="2737" y="8993"/>
                    <a:pt x="2721" y="8967"/>
                  </a:cubicBezTo>
                  <a:close/>
                  <a:moveTo>
                    <a:pt x="2196" y="8567"/>
                  </a:moveTo>
                  <a:cubicBezTo>
                    <a:pt x="2188" y="8588"/>
                    <a:pt x="2182" y="8668"/>
                    <a:pt x="2178" y="8693"/>
                  </a:cubicBezTo>
                  <a:cubicBezTo>
                    <a:pt x="2173" y="8718"/>
                    <a:pt x="2144" y="8709"/>
                    <a:pt x="2135" y="8697"/>
                  </a:cubicBezTo>
                  <a:cubicBezTo>
                    <a:pt x="2127" y="8684"/>
                    <a:pt x="2091" y="8582"/>
                    <a:pt x="2091" y="8582"/>
                  </a:cubicBezTo>
                  <a:lnTo>
                    <a:pt x="2129" y="8541"/>
                  </a:lnTo>
                  <a:cubicBezTo>
                    <a:pt x="2129" y="8541"/>
                    <a:pt x="2147" y="8516"/>
                    <a:pt x="2151" y="8495"/>
                  </a:cubicBezTo>
                  <a:cubicBezTo>
                    <a:pt x="2156" y="8474"/>
                    <a:pt x="2173" y="8445"/>
                    <a:pt x="2139" y="8440"/>
                  </a:cubicBezTo>
                  <a:cubicBezTo>
                    <a:pt x="2106" y="8435"/>
                    <a:pt x="2081" y="8418"/>
                    <a:pt x="2072" y="8443"/>
                  </a:cubicBezTo>
                  <a:cubicBezTo>
                    <a:pt x="2063" y="8468"/>
                    <a:pt x="2063" y="8481"/>
                    <a:pt x="2063" y="8498"/>
                  </a:cubicBezTo>
                  <a:lnTo>
                    <a:pt x="2062" y="8514"/>
                  </a:lnTo>
                  <a:cubicBezTo>
                    <a:pt x="2062" y="8514"/>
                    <a:pt x="2041" y="8531"/>
                    <a:pt x="2028" y="8531"/>
                  </a:cubicBezTo>
                  <a:cubicBezTo>
                    <a:pt x="2016" y="8531"/>
                    <a:pt x="2012" y="8505"/>
                    <a:pt x="2004" y="8484"/>
                  </a:cubicBezTo>
                  <a:cubicBezTo>
                    <a:pt x="1996" y="8463"/>
                    <a:pt x="1963" y="8399"/>
                    <a:pt x="1960" y="8353"/>
                  </a:cubicBezTo>
                  <a:cubicBezTo>
                    <a:pt x="1956" y="8306"/>
                    <a:pt x="1949" y="8226"/>
                    <a:pt x="1945" y="8205"/>
                  </a:cubicBezTo>
                  <a:cubicBezTo>
                    <a:pt x="1941" y="8184"/>
                    <a:pt x="1950" y="8138"/>
                    <a:pt x="1951" y="8079"/>
                  </a:cubicBezTo>
                  <a:cubicBezTo>
                    <a:pt x="1952" y="8020"/>
                    <a:pt x="1946" y="7885"/>
                    <a:pt x="1942" y="7851"/>
                  </a:cubicBezTo>
                  <a:cubicBezTo>
                    <a:pt x="1939" y="7817"/>
                    <a:pt x="1940" y="7741"/>
                    <a:pt x="1928" y="7695"/>
                  </a:cubicBezTo>
                  <a:cubicBezTo>
                    <a:pt x="1916" y="7648"/>
                    <a:pt x="1880" y="7526"/>
                    <a:pt x="1880" y="7526"/>
                  </a:cubicBezTo>
                  <a:lnTo>
                    <a:pt x="1832" y="7369"/>
                  </a:lnTo>
                  <a:cubicBezTo>
                    <a:pt x="1845" y="7361"/>
                    <a:pt x="2128" y="7327"/>
                    <a:pt x="2128" y="7327"/>
                  </a:cubicBezTo>
                  <a:cubicBezTo>
                    <a:pt x="2128" y="7327"/>
                    <a:pt x="2144" y="7585"/>
                    <a:pt x="2144" y="7614"/>
                  </a:cubicBezTo>
                  <a:cubicBezTo>
                    <a:pt x="2143" y="7644"/>
                    <a:pt x="2164" y="7922"/>
                    <a:pt x="2168" y="7956"/>
                  </a:cubicBezTo>
                  <a:cubicBezTo>
                    <a:pt x="2172" y="7989"/>
                    <a:pt x="2182" y="8150"/>
                    <a:pt x="2181" y="8175"/>
                  </a:cubicBezTo>
                  <a:cubicBezTo>
                    <a:pt x="2181" y="8200"/>
                    <a:pt x="2204" y="8352"/>
                    <a:pt x="2199" y="8378"/>
                  </a:cubicBezTo>
                  <a:cubicBezTo>
                    <a:pt x="2195" y="8403"/>
                    <a:pt x="2205" y="8546"/>
                    <a:pt x="2196" y="8567"/>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70" name="Freeform 33">
              <a:extLst>
                <a:ext uri="{FF2B5EF4-FFF2-40B4-BE49-F238E27FC236}">
                  <a16:creationId xmlns:a16="http://schemas.microsoft.com/office/drawing/2014/main" id="{4B500B3D-4819-4A00-8AC1-40CC2B90AA00}"/>
                </a:ext>
              </a:extLst>
            </p:cNvPr>
            <p:cNvSpPr>
              <a:spLocks noEditPoints="1"/>
            </p:cNvSpPr>
            <p:nvPr/>
          </p:nvSpPr>
          <p:spPr bwMode="auto">
            <a:xfrm>
              <a:off x="2254" y="2686"/>
              <a:ext cx="492" cy="1220"/>
            </a:xfrm>
            <a:custGeom>
              <a:avLst/>
              <a:gdLst>
                <a:gd name="T0" fmla="*/ 1455 w 4022"/>
                <a:gd name="T1" fmla="*/ 46 h 9953"/>
                <a:gd name="T2" fmla="*/ 859 w 4022"/>
                <a:gd name="T3" fmla="*/ 1149 h 9953"/>
                <a:gd name="T4" fmla="*/ 734 w 4022"/>
                <a:gd name="T5" fmla="*/ 1889 h 9953"/>
                <a:gd name="T6" fmla="*/ 262 w 4022"/>
                <a:gd name="T7" fmla="*/ 3347 h 9953"/>
                <a:gd name="T8" fmla="*/ 57 w 4022"/>
                <a:gd name="T9" fmla="*/ 4494 h 9953"/>
                <a:gd name="T10" fmla="*/ 54 w 4022"/>
                <a:gd name="T11" fmla="*/ 4512 h 9953"/>
                <a:gd name="T12" fmla="*/ 307 w 4022"/>
                <a:gd name="T13" fmla="*/ 4997 h 9953"/>
                <a:gd name="T14" fmla="*/ 469 w 4022"/>
                <a:gd name="T15" fmla="*/ 4484 h 9953"/>
                <a:gd name="T16" fmla="*/ 515 w 4022"/>
                <a:gd name="T17" fmla="*/ 4136 h 9953"/>
                <a:gd name="T18" fmla="*/ 903 w 4022"/>
                <a:gd name="T19" fmla="*/ 3733 h 9953"/>
                <a:gd name="T20" fmla="*/ 629 w 4022"/>
                <a:gd name="T21" fmla="*/ 5056 h 9953"/>
                <a:gd name="T22" fmla="*/ 634 w 4022"/>
                <a:gd name="T23" fmla="*/ 5318 h 9953"/>
                <a:gd name="T24" fmla="*/ 945 w 4022"/>
                <a:gd name="T25" fmla="*/ 5966 h 9953"/>
                <a:gd name="T26" fmla="*/ 1254 w 4022"/>
                <a:gd name="T27" fmla="*/ 7811 h 9953"/>
                <a:gd name="T28" fmla="*/ 1570 w 4022"/>
                <a:gd name="T29" fmla="*/ 8908 h 9953"/>
                <a:gd name="T30" fmla="*/ 1688 w 4022"/>
                <a:gd name="T31" fmla="*/ 9522 h 9953"/>
                <a:gd name="T32" fmla="*/ 2215 w 4022"/>
                <a:gd name="T33" fmla="*/ 9833 h 9953"/>
                <a:gd name="T34" fmla="*/ 2244 w 4022"/>
                <a:gd name="T35" fmla="*/ 9296 h 9953"/>
                <a:gd name="T36" fmla="*/ 2463 w 4022"/>
                <a:gd name="T37" fmla="*/ 7593 h 9953"/>
                <a:gd name="T38" fmla="*/ 2609 w 4022"/>
                <a:gd name="T39" fmla="*/ 5967 h 9953"/>
                <a:gd name="T40" fmla="*/ 2817 w 4022"/>
                <a:gd name="T41" fmla="*/ 5248 h 9953"/>
                <a:gd name="T42" fmla="*/ 2648 w 4022"/>
                <a:gd name="T43" fmla="*/ 3584 h 9953"/>
                <a:gd name="T44" fmla="*/ 2979 w 4022"/>
                <a:gd name="T45" fmla="*/ 3753 h 9953"/>
                <a:gd name="T46" fmla="*/ 3574 w 4022"/>
                <a:gd name="T47" fmla="*/ 5208 h 9953"/>
                <a:gd name="T48" fmla="*/ 3629 w 4022"/>
                <a:gd name="T49" fmla="*/ 5608 h 9953"/>
                <a:gd name="T50" fmla="*/ 4008 w 4022"/>
                <a:gd name="T51" fmla="*/ 5309 h 9953"/>
                <a:gd name="T52" fmla="*/ 3923 w 4022"/>
                <a:gd name="T53" fmla="*/ 4940 h 9953"/>
                <a:gd name="T54" fmla="*/ 3196 w 4022"/>
                <a:gd name="T55" fmla="*/ 2467 h 9953"/>
                <a:gd name="T56" fmla="*/ 2580 w 4022"/>
                <a:gd name="T57" fmla="*/ 1822 h 9953"/>
                <a:gd name="T58" fmla="*/ 2194 w 4022"/>
                <a:gd name="T59" fmla="*/ 267 h 9953"/>
                <a:gd name="T60" fmla="*/ 1698 w 4022"/>
                <a:gd name="T61" fmla="*/ 2 h 9953"/>
                <a:gd name="T62" fmla="*/ 1887 w 4022"/>
                <a:gd name="T63" fmla="*/ 8252 h 9953"/>
                <a:gd name="T64" fmla="*/ 1898 w 4022"/>
                <a:gd name="T65" fmla="*/ 8849 h 9953"/>
                <a:gd name="T66" fmla="*/ 1876 w 4022"/>
                <a:gd name="T67" fmla="*/ 8131 h 9953"/>
                <a:gd name="T68" fmla="*/ 1918 w 4022"/>
                <a:gd name="T69" fmla="*/ 9138 h 9953"/>
                <a:gd name="T70" fmla="*/ 1918 w 4022"/>
                <a:gd name="T71" fmla="*/ 9136 h 9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22" h="9953">
                  <a:moveTo>
                    <a:pt x="1698" y="2"/>
                  </a:moveTo>
                  <a:cubicBezTo>
                    <a:pt x="1618" y="6"/>
                    <a:pt x="1536" y="29"/>
                    <a:pt x="1455" y="46"/>
                  </a:cubicBezTo>
                  <a:cubicBezTo>
                    <a:pt x="1336" y="134"/>
                    <a:pt x="1238" y="269"/>
                    <a:pt x="1161" y="399"/>
                  </a:cubicBezTo>
                  <a:cubicBezTo>
                    <a:pt x="988" y="617"/>
                    <a:pt x="943" y="892"/>
                    <a:pt x="859" y="1149"/>
                  </a:cubicBezTo>
                  <a:cubicBezTo>
                    <a:pt x="796" y="1390"/>
                    <a:pt x="742" y="1636"/>
                    <a:pt x="753" y="1885"/>
                  </a:cubicBezTo>
                  <a:cubicBezTo>
                    <a:pt x="746" y="1886"/>
                    <a:pt x="740" y="1887"/>
                    <a:pt x="734" y="1889"/>
                  </a:cubicBezTo>
                  <a:cubicBezTo>
                    <a:pt x="540" y="1951"/>
                    <a:pt x="517" y="2172"/>
                    <a:pt x="458" y="2340"/>
                  </a:cubicBezTo>
                  <a:cubicBezTo>
                    <a:pt x="351" y="2666"/>
                    <a:pt x="301" y="3007"/>
                    <a:pt x="262" y="3347"/>
                  </a:cubicBezTo>
                  <a:cubicBezTo>
                    <a:pt x="237" y="3588"/>
                    <a:pt x="37" y="3780"/>
                    <a:pt x="71" y="4032"/>
                  </a:cubicBezTo>
                  <a:cubicBezTo>
                    <a:pt x="65" y="4186"/>
                    <a:pt x="65" y="4340"/>
                    <a:pt x="57" y="4494"/>
                  </a:cubicBezTo>
                  <a:cubicBezTo>
                    <a:pt x="58" y="4493"/>
                    <a:pt x="59" y="4492"/>
                    <a:pt x="59" y="4491"/>
                  </a:cubicBezTo>
                  <a:cubicBezTo>
                    <a:pt x="58" y="4498"/>
                    <a:pt x="56" y="4505"/>
                    <a:pt x="54" y="4512"/>
                  </a:cubicBezTo>
                  <a:lnTo>
                    <a:pt x="53" y="4518"/>
                  </a:lnTo>
                  <a:cubicBezTo>
                    <a:pt x="0" y="4703"/>
                    <a:pt x="90" y="4983"/>
                    <a:pt x="307" y="4997"/>
                  </a:cubicBezTo>
                  <a:cubicBezTo>
                    <a:pt x="395" y="4967"/>
                    <a:pt x="422" y="4844"/>
                    <a:pt x="434" y="4760"/>
                  </a:cubicBezTo>
                  <a:cubicBezTo>
                    <a:pt x="304" y="4648"/>
                    <a:pt x="408" y="4578"/>
                    <a:pt x="469" y="4484"/>
                  </a:cubicBezTo>
                  <a:cubicBezTo>
                    <a:pt x="504" y="4425"/>
                    <a:pt x="491" y="4380"/>
                    <a:pt x="459" y="4342"/>
                  </a:cubicBezTo>
                  <a:cubicBezTo>
                    <a:pt x="482" y="4303"/>
                    <a:pt x="475" y="4194"/>
                    <a:pt x="515" y="4136"/>
                  </a:cubicBezTo>
                  <a:cubicBezTo>
                    <a:pt x="726" y="3783"/>
                    <a:pt x="729" y="3357"/>
                    <a:pt x="857" y="2974"/>
                  </a:cubicBezTo>
                  <a:cubicBezTo>
                    <a:pt x="876" y="3228"/>
                    <a:pt x="954" y="3478"/>
                    <a:pt x="903" y="3733"/>
                  </a:cubicBezTo>
                  <a:cubicBezTo>
                    <a:pt x="879" y="4043"/>
                    <a:pt x="830" y="4353"/>
                    <a:pt x="747" y="4652"/>
                  </a:cubicBezTo>
                  <a:cubicBezTo>
                    <a:pt x="698" y="4784"/>
                    <a:pt x="662" y="4920"/>
                    <a:pt x="629" y="5056"/>
                  </a:cubicBezTo>
                  <a:cubicBezTo>
                    <a:pt x="638" y="5062"/>
                    <a:pt x="648" y="5067"/>
                    <a:pt x="658" y="5073"/>
                  </a:cubicBezTo>
                  <a:cubicBezTo>
                    <a:pt x="613" y="5146"/>
                    <a:pt x="592" y="5227"/>
                    <a:pt x="634" y="5318"/>
                  </a:cubicBezTo>
                  <a:cubicBezTo>
                    <a:pt x="722" y="5461"/>
                    <a:pt x="879" y="5611"/>
                    <a:pt x="782" y="5790"/>
                  </a:cubicBezTo>
                  <a:cubicBezTo>
                    <a:pt x="771" y="5869"/>
                    <a:pt x="863" y="5917"/>
                    <a:pt x="945" y="5966"/>
                  </a:cubicBezTo>
                  <a:cubicBezTo>
                    <a:pt x="1034" y="6355"/>
                    <a:pt x="1166" y="6736"/>
                    <a:pt x="1216" y="7132"/>
                  </a:cubicBezTo>
                  <a:cubicBezTo>
                    <a:pt x="1237" y="7359"/>
                    <a:pt x="1172" y="7590"/>
                    <a:pt x="1254" y="7811"/>
                  </a:cubicBezTo>
                  <a:cubicBezTo>
                    <a:pt x="1337" y="8180"/>
                    <a:pt x="1514" y="8518"/>
                    <a:pt x="1587" y="8889"/>
                  </a:cubicBezTo>
                  <a:cubicBezTo>
                    <a:pt x="1581" y="8895"/>
                    <a:pt x="1575" y="8901"/>
                    <a:pt x="1570" y="8908"/>
                  </a:cubicBezTo>
                  <a:cubicBezTo>
                    <a:pt x="1513" y="8983"/>
                    <a:pt x="1391" y="9196"/>
                    <a:pt x="1369" y="9449"/>
                  </a:cubicBezTo>
                  <a:cubicBezTo>
                    <a:pt x="1350" y="9660"/>
                    <a:pt x="1568" y="9604"/>
                    <a:pt x="1688" y="9522"/>
                  </a:cubicBezTo>
                  <a:cubicBezTo>
                    <a:pt x="1641" y="9624"/>
                    <a:pt x="1620" y="9764"/>
                    <a:pt x="1740" y="9807"/>
                  </a:cubicBezTo>
                  <a:cubicBezTo>
                    <a:pt x="1882" y="9872"/>
                    <a:pt x="2084" y="9953"/>
                    <a:pt x="2215" y="9833"/>
                  </a:cubicBezTo>
                  <a:cubicBezTo>
                    <a:pt x="2246" y="9676"/>
                    <a:pt x="2225" y="9479"/>
                    <a:pt x="2254" y="9318"/>
                  </a:cubicBezTo>
                  <a:cubicBezTo>
                    <a:pt x="2251" y="9310"/>
                    <a:pt x="2248" y="9303"/>
                    <a:pt x="2244" y="9296"/>
                  </a:cubicBezTo>
                  <a:cubicBezTo>
                    <a:pt x="2298" y="8957"/>
                    <a:pt x="2444" y="8639"/>
                    <a:pt x="2460" y="8293"/>
                  </a:cubicBezTo>
                  <a:cubicBezTo>
                    <a:pt x="2495" y="8059"/>
                    <a:pt x="2520" y="7825"/>
                    <a:pt x="2463" y="7593"/>
                  </a:cubicBezTo>
                  <a:cubicBezTo>
                    <a:pt x="2425" y="7250"/>
                    <a:pt x="2432" y="6898"/>
                    <a:pt x="2467" y="6555"/>
                  </a:cubicBezTo>
                  <a:cubicBezTo>
                    <a:pt x="2505" y="6357"/>
                    <a:pt x="2555" y="6162"/>
                    <a:pt x="2609" y="5967"/>
                  </a:cubicBezTo>
                  <a:cubicBezTo>
                    <a:pt x="2792" y="5913"/>
                    <a:pt x="2769" y="5673"/>
                    <a:pt x="2792" y="5517"/>
                  </a:cubicBezTo>
                  <a:cubicBezTo>
                    <a:pt x="2796" y="5429"/>
                    <a:pt x="2813" y="5338"/>
                    <a:pt x="2817" y="5248"/>
                  </a:cubicBezTo>
                  <a:cubicBezTo>
                    <a:pt x="2901" y="5076"/>
                    <a:pt x="2813" y="4878"/>
                    <a:pt x="2815" y="4695"/>
                  </a:cubicBezTo>
                  <a:cubicBezTo>
                    <a:pt x="2783" y="4321"/>
                    <a:pt x="2730" y="3950"/>
                    <a:pt x="2648" y="3584"/>
                  </a:cubicBezTo>
                  <a:cubicBezTo>
                    <a:pt x="2667" y="3434"/>
                    <a:pt x="2640" y="3275"/>
                    <a:pt x="2696" y="3132"/>
                  </a:cubicBezTo>
                  <a:cubicBezTo>
                    <a:pt x="2827" y="3322"/>
                    <a:pt x="2922" y="3529"/>
                    <a:pt x="2979" y="3753"/>
                  </a:cubicBezTo>
                  <a:cubicBezTo>
                    <a:pt x="3055" y="4095"/>
                    <a:pt x="3301" y="4355"/>
                    <a:pt x="3447" y="4667"/>
                  </a:cubicBezTo>
                  <a:cubicBezTo>
                    <a:pt x="3538" y="4829"/>
                    <a:pt x="3565" y="5025"/>
                    <a:pt x="3574" y="5208"/>
                  </a:cubicBezTo>
                  <a:cubicBezTo>
                    <a:pt x="3563" y="5252"/>
                    <a:pt x="3579" y="5279"/>
                    <a:pt x="3610" y="5295"/>
                  </a:cubicBezTo>
                  <a:cubicBezTo>
                    <a:pt x="3579" y="5398"/>
                    <a:pt x="3612" y="5500"/>
                    <a:pt x="3629" y="5608"/>
                  </a:cubicBezTo>
                  <a:cubicBezTo>
                    <a:pt x="3707" y="5665"/>
                    <a:pt x="3795" y="5801"/>
                    <a:pt x="3893" y="5654"/>
                  </a:cubicBezTo>
                  <a:cubicBezTo>
                    <a:pt x="4022" y="5598"/>
                    <a:pt x="4007" y="5428"/>
                    <a:pt x="4008" y="5309"/>
                  </a:cubicBezTo>
                  <a:cubicBezTo>
                    <a:pt x="4002" y="5266"/>
                    <a:pt x="3982" y="5218"/>
                    <a:pt x="3952" y="5181"/>
                  </a:cubicBezTo>
                  <a:cubicBezTo>
                    <a:pt x="3981" y="5110"/>
                    <a:pt x="3954" y="5021"/>
                    <a:pt x="3923" y="4940"/>
                  </a:cubicBezTo>
                  <a:cubicBezTo>
                    <a:pt x="3734" y="4430"/>
                    <a:pt x="3649" y="3877"/>
                    <a:pt x="3372" y="3403"/>
                  </a:cubicBezTo>
                  <a:cubicBezTo>
                    <a:pt x="3298" y="3094"/>
                    <a:pt x="3254" y="2778"/>
                    <a:pt x="3196" y="2467"/>
                  </a:cubicBezTo>
                  <a:cubicBezTo>
                    <a:pt x="3136" y="2284"/>
                    <a:pt x="3079" y="2099"/>
                    <a:pt x="2935" y="1961"/>
                  </a:cubicBezTo>
                  <a:cubicBezTo>
                    <a:pt x="2829" y="1899"/>
                    <a:pt x="2705" y="1859"/>
                    <a:pt x="2580" y="1822"/>
                  </a:cubicBezTo>
                  <a:cubicBezTo>
                    <a:pt x="2571" y="1627"/>
                    <a:pt x="2534" y="1429"/>
                    <a:pt x="2499" y="1237"/>
                  </a:cubicBezTo>
                  <a:cubicBezTo>
                    <a:pt x="2432" y="904"/>
                    <a:pt x="2351" y="569"/>
                    <a:pt x="2194" y="267"/>
                  </a:cubicBezTo>
                  <a:cubicBezTo>
                    <a:pt x="2121" y="147"/>
                    <a:pt x="2027" y="58"/>
                    <a:pt x="1883" y="42"/>
                  </a:cubicBezTo>
                  <a:cubicBezTo>
                    <a:pt x="1822" y="9"/>
                    <a:pt x="1761" y="0"/>
                    <a:pt x="1698" y="2"/>
                  </a:cubicBezTo>
                  <a:close/>
                  <a:moveTo>
                    <a:pt x="1876" y="8131"/>
                  </a:moveTo>
                  <a:cubicBezTo>
                    <a:pt x="1878" y="8172"/>
                    <a:pt x="1881" y="8212"/>
                    <a:pt x="1887" y="8252"/>
                  </a:cubicBezTo>
                  <a:cubicBezTo>
                    <a:pt x="1897" y="8451"/>
                    <a:pt x="1902" y="8651"/>
                    <a:pt x="1907" y="8850"/>
                  </a:cubicBezTo>
                  <a:cubicBezTo>
                    <a:pt x="1904" y="8849"/>
                    <a:pt x="1901" y="8849"/>
                    <a:pt x="1898" y="8849"/>
                  </a:cubicBezTo>
                  <a:cubicBezTo>
                    <a:pt x="1898" y="8837"/>
                    <a:pt x="1896" y="8823"/>
                    <a:pt x="1889" y="8806"/>
                  </a:cubicBezTo>
                  <a:cubicBezTo>
                    <a:pt x="1833" y="8584"/>
                    <a:pt x="1857" y="8358"/>
                    <a:pt x="1876" y="8131"/>
                  </a:cubicBezTo>
                  <a:close/>
                  <a:moveTo>
                    <a:pt x="1918" y="9136"/>
                  </a:moveTo>
                  <a:lnTo>
                    <a:pt x="1918" y="9138"/>
                  </a:lnTo>
                  <a:cubicBezTo>
                    <a:pt x="1918" y="9138"/>
                    <a:pt x="1918" y="9139"/>
                    <a:pt x="1917" y="9139"/>
                  </a:cubicBezTo>
                  <a:cubicBezTo>
                    <a:pt x="1918" y="9138"/>
                    <a:pt x="1918" y="9137"/>
                    <a:pt x="1918" y="9136"/>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71" name="Freeform 34">
              <a:extLst>
                <a:ext uri="{FF2B5EF4-FFF2-40B4-BE49-F238E27FC236}">
                  <a16:creationId xmlns:a16="http://schemas.microsoft.com/office/drawing/2014/main" id="{60527DDE-E035-4B67-BF25-4D38AF1A7625}"/>
                </a:ext>
              </a:extLst>
            </p:cNvPr>
            <p:cNvSpPr>
              <a:spLocks noEditPoints="1"/>
            </p:cNvSpPr>
            <p:nvPr/>
          </p:nvSpPr>
          <p:spPr bwMode="auto">
            <a:xfrm>
              <a:off x="5639" y="2630"/>
              <a:ext cx="560" cy="1203"/>
            </a:xfrm>
            <a:custGeom>
              <a:avLst/>
              <a:gdLst>
                <a:gd name="T0" fmla="*/ 1085 w 4572"/>
                <a:gd name="T1" fmla="*/ 232 h 9813"/>
                <a:gd name="T2" fmla="*/ 902 w 4572"/>
                <a:gd name="T3" fmla="*/ 989 h 9813"/>
                <a:gd name="T4" fmla="*/ 939 w 4572"/>
                <a:gd name="T5" fmla="*/ 1810 h 9813"/>
                <a:gd name="T6" fmla="*/ 578 w 4572"/>
                <a:gd name="T7" fmla="*/ 2472 h 9813"/>
                <a:gd name="T8" fmla="*/ 23 w 4572"/>
                <a:gd name="T9" fmla="*/ 3310 h 9813"/>
                <a:gd name="T10" fmla="*/ 193 w 4572"/>
                <a:gd name="T11" fmla="*/ 3929 h 9813"/>
                <a:gd name="T12" fmla="*/ 594 w 4572"/>
                <a:gd name="T13" fmla="*/ 4699 h 9813"/>
                <a:gd name="T14" fmla="*/ 849 w 4572"/>
                <a:gd name="T15" fmla="*/ 5448 h 9813"/>
                <a:gd name="T16" fmla="*/ 1247 w 4572"/>
                <a:gd name="T17" fmla="*/ 7135 h 9813"/>
                <a:gd name="T18" fmla="*/ 1340 w 4572"/>
                <a:gd name="T19" fmla="*/ 7539 h 9813"/>
                <a:gd name="T20" fmla="*/ 1436 w 4572"/>
                <a:gd name="T21" fmla="*/ 8430 h 9813"/>
                <a:gd name="T22" fmla="*/ 1517 w 4572"/>
                <a:gd name="T23" fmla="*/ 8725 h 9813"/>
                <a:gd name="T24" fmla="*/ 1240 w 4572"/>
                <a:gd name="T25" fmla="*/ 9132 h 9813"/>
                <a:gd name="T26" fmla="*/ 1694 w 4572"/>
                <a:gd name="T27" fmla="*/ 9061 h 9813"/>
                <a:gd name="T28" fmla="*/ 1883 w 4572"/>
                <a:gd name="T29" fmla="*/ 8697 h 9813"/>
                <a:gd name="T30" fmla="*/ 2051 w 4572"/>
                <a:gd name="T31" fmla="*/ 8710 h 9813"/>
                <a:gd name="T32" fmla="*/ 2191 w 4572"/>
                <a:gd name="T33" fmla="*/ 8359 h 9813"/>
                <a:gd name="T34" fmla="*/ 2005 w 4572"/>
                <a:gd name="T35" fmla="*/ 7818 h 9813"/>
                <a:gd name="T36" fmla="*/ 1908 w 4572"/>
                <a:gd name="T37" fmla="*/ 7045 h 9813"/>
                <a:gd name="T38" fmla="*/ 1980 w 4572"/>
                <a:gd name="T39" fmla="*/ 5746 h 9813"/>
                <a:gd name="T40" fmla="*/ 2489 w 4572"/>
                <a:gd name="T41" fmla="*/ 6756 h 9813"/>
                <a:gd name="T42" fmla="*/ 2874 w 4572"/>
                <a:gd name="T43" fmla="*/ 7691 h 9813"/>
                <a:gd name="T44" fmla="*/ 2999 w 4572"/>
                <a:gd name="T45" fmla="*/ 8464 h 9813"/>
                <a:gd name="T46" fmla="*/ 3260 w 4572"/>
                <a:gd name="T47" fmla="*/ 9322 h 9813"/>
                <a:gd name="T48" fmla="*/ 3431 w 4572"/>
                <a:gd name="T49" fmla="*/ 9502 h 9813"/>
                <a:gd name="T50" fmla="*/ 3483 w 4572"/>
                <a:gd name="T51" fmla="*/ 9340 h 9813"/>
                <a:gd name="T52" fmla="*/ 3825 w 4572"/>
                <a:gd name="T53" fmla="*/ 9713 h 9813"/>
                <a:gd name="T54" fmla="*/ 4434 w 4572"/>
                <a:gd name="T55" fmla="*/ 9794 h 9813"/>
                <a:gd name="T56" fmla="*/ 4428 w 4572"/>
                <a:gd name="T57" fmla="*/ 9629 h 9813"/>
                <a:gd name="T58" fmla="*/ 3977 w 4572"/>
                <a:gd name="T59" fmla="*/ 9207 h 9813"/>
                <a:gd name="T60" fmla="*/ 3751 w 4572"/>
                <a:gd name="T61" fmla="*/ 8430 h 9813"/>
                <a:gd name="T62" fmla="*/ 3567 w 4572"/>
                <a:gd name="T63" fmla="*/ 7626 h 9813"/>
                <a:gd name="T64" fmla="*/ 3415 w 4572"/>
                <a:gd name="T65" fmla="*/ 7098 h 9813"/>
                <a:gd name="T66" fmla="*/ 3316 w 4572"/>
                <a:gd name="T67" fmla="*/ 6287 h 9813"/>
                <a:gd name="T68" fmla="*/ 3434 w 4572"/>
                <a:gd name="T69" fmla="*/ 5777 h 9813"/>
                <a:gd name="T70" fmla="*/ 3403 w 4572"/>
                <a:gd name="T71" fmla="*/ 4895 h 9813"/>
                <a:gd name="T72" fmla="*/ 3365 w 4572"/>
                <a:gd name="T73" fmla="*/ 3720 h 9813"/>
                <a:gd name="T74" fmla="*/ 3412 w 4572"/>
                <a:gd name="T75" fmla="*/ 2832 h 9813"/>
                <a:gd name="T76" fmla="*/ 3170 w 4572"/>
                <a:gd name="T77" fmla="*/ 2189 h 9813"/>
                <a:gd name="T78" fmla="*/ 2797 w 4572"/>
                <a:gd name="T79" fmla="*/ 1962 h 9813"/>
                <a:gd name="T80" fmla="*/ 2498 w 4572"/>
                <a:gd name="T81" fmla="*/ 1089 h 9813"/>
                <a:gd name="T82" fmla="*/ 1989 w 4572"/>
                <a:gd name="T83" fmla="*/ 132 h 9813"/>
                <a:gd name="T84" fmla="*/ 1043 w 4572"/>
                <a:gd name="T85" fmla="*/ 3169 h 9813"/>
                <a:gd name="T86" fmla="*/ 1023 w 4572"/>
                <a:gd name="T87" fmla="*/ 4255 h 9813"/>
                <a:gd name="T88" fmla="*/ 790 w 4572"/>
                <a:gd name="T89" fmla="*/ 4292 h 9813"/>
                <a:gd name="T90" fmla="*/ 542 w 4572"/>
                <a:gd name="T91" fmla="*/ 3738 h 9813"/>
                <a:gd name="T92" fmla="*/ 601 w 4572"/>
                <a:gd name="T93" fmla="*/ 3312 h 9813"/>
                <a:gd name="T94" fmla="*/ 2899 w 4572"/>
                <a:gd name="T95" fmla="*/ 3534 h 9813"/>
                <a:gd name="T96" fmla="*/ 2985 w 4572"/>
                <a:gd name="T97" fmla="*/ 4083 h 9813"/>
                <a:gd name="T98" fmla="*/ 3154 w 4572"/>
                <a:gd name="T99" fmla="*/ 5037 h 9813"/>
                <a:gd name="T100" fmla="*/ 3079 w 4572"/>
                <a:gd name="T101" fmla="*/ 5474 h 9813"/>
                <a:gd name="T102" fmla="*/ 2998 w 4572"/>
                <a:gd name="T103" fmla="*/ 5173 h 9813"/>
                <a:gd name="T104" fmla="*/ 2904 w 4572"/>
                <a:gd name="T105" fmla="*/ 4608 h 9813"/>
                <a:gd name="T106" fmla="*/ 2853 w 4572"/>
                <a:gd name="T107" fmla="*/ 4110 h 9813"/>
                <a:gd name="T108" fmla="*/ 2873 w 4572"/>
                <a:gd name="T109" fmla="*/ 3780 h 9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72" h="9813">
                  <a:moveTo>
                    <a:pt x="1688" y="14"/>
                  </a:moveTo>
                  <a:cubicBezTo>
                    <a:pt x="1597" y="0"/>
                    <a:pt x="1504" y="22"/>
                    <a:pt x="1414" y="39"/>
                  </a:cubicBezTo>
                  <a:cubicBezTo>
                    <a:pt x="1349" y="51"/>
                    <a:pt x="1279" y="61"/>
                    <a:pt x="1222" y="95"/>
                  </a:cubicBezTo>
                  <a:cubicBezTo>
                    <a:pt x="1166" y="128"/>
                    <a:pt x="1124" y="181"/>
                    <a:pt x="1085" y="232"/>
                  </a:cubicBezTo>
                  <a:cubicBezTo>
                    <a:pt x="1030" y="303"/>
                    <a:pt x="948" y="465"/>
                    <a:pt x="948" y="465"/>
                  </a:cubicBezTo>
                  <a:cubicBezTo>
                    <a:pt x="921" y="512"/>
                    <a:pt x="920" y="570"/>
                    <a:pt x="908" y="623"/>
                  </a:cubicBezTo>
                  <a:cubicBezTo>
                    <a:pt x="897" y="671"/>
                    <a:pt x="879" y="719"/>
                    <a:pt x="877" y="769"/>
                  </a:cubicBezTo>
                  <a:cubicBezTo>
                    <a:pt x="873" y="843"/>
                    <a:pt x="899" y="965"/>
                    <a:pt x="902" y="989"/>
                  </a:cubicBezTo>
                  <a:cubicBezTo>
                    <a:pt x="905" y="1014"/>
                    <a:pt x="920" y="1118"/>
                    <a:pt x="920" y="1182"/>
                  </a:cubicBezTo>
                  <a:cubicBezTo>
                    <a:pt x="921" y="1255"/>
                    <a:pt x="901" y="1327"/>
                    <a:pt x="905" y="1400"/>
                  </a:cubicBezTo>
                  <a:cubicBezTo>
                    <a:pt x="909" y="1479"/>
                    <a:pt x="948" y="1556"/>
                    <a:pt x="945" y="1636"/>
                  </a:cubicBezTo>
                  <a:cubicBezTo>
                    <a:pt x="945" y="1636"/>
                    <a:pt x="946" y="1752"/>
                    <a:pt x="939" y="1810"/>
                  </a:cubicBezTo>
                  <a:cubicBezTo>
                    <a:pt x="932" y="1868"/>
                    <a:pt x="931" y="1930"/>
                    <a:pt x="902" y="1981"/>
                  </a:cubicBezTo>
                  <a:lnTo>
                    <a:pt x="830" y="2105"/>
                  </a:lnTo>
                  <a:cubicBezTo>
                    <a:pt x="830" y="2105"/>
                    <a:pt x="715" y="2321"/>
                    <a:pt x="638" y="2416"/>
                  </a:cubicBezTo>
                  <a:cubicBezTo>
                    <a:pt x="621" y="2437"/>
                    <a:pt x="578" y="2472"/>
                    <a:pt x="578" y="2472"/>
                  </a:cubicBezTo>
                  <a:cubicBezTo>
                    <a:pt x="545" y="2503"/>
                    <a:pt x="527" y="2547"/>
                    <a:pt x="504" y="2586"/>
                  </a:cubicBezTo>
                  <a:cubicBezTo>
                    <a:pt x="498" y="2595"/>
                    <a:pt x="488" y="2614"/>
                    <a:pt x="488" y="2614"/>
                  </a:cubicBezTo>
                  <a:cubicBezTo>
                    <a:pt x="383" y="2805"/>
                    <a:pt x="318" y="2886"/>
                    <a:pt x="209" y="2997"/>
                  </a:cubicBezTo>
                  <a:cubicBezTo>
                    <a:pt x="138" y="3095"/>
                    <a:pt x="23" y="3310"/>
                    <a:pt x="23" y="3310"/>
                  </a:cubicBezTo>
                  <a:cubicBezTo>
                    <a:pt x="10" y="3332"/>
                    <a:pt x="3" y="3357"/>
                    <a:pt x="1" y="3382"/>
                  </a:cubicBezTo>
                  <a:cubicBezTo>
                    <a:pt x="0" y="3397"/>
                    <a:pt x="7" y="3428"/>
                    <a:pt x="7" y="3428"/>
                  </a:cubicBezTo>
                  <a:cubicBezTo>
                    <a:pt x="16" y="3494"/>
                    <a:pt x="35" y="3558"/>
                    <a:pt x="57" y="3621"/>
                  </a:cubicBezTo>
                  <a:cubicBezTo>
                    <a:pt x="93" y="3727"/>
                    <a:pt x="193" y="3929"/>
                    <a:pt x="193" y="3929"/>
                  </a:cubicBezTo>
                  <a:cubicBezTo>
                    <a:pt x="231" y="4013"/>
                    <a:pt x="283" y="4090"/>
                    <a:pt x="327" y="4171"/>
                  </a:cubicBezTo>
                  <a:cubicBezTo>
                    <a:pt x="368" y="4245"/>
                    <a:pt x="448" y="4395"/>
                    <a:pt x="448" y="4395"/>
                  </a:cubicBezTo>
                  <a:cubicBezTo>
                    <a:pt x="470" y="4436"/>
                    <a:pt x="486" y="4471"/>
                    <a:pt x="510" y="4522"/>
                  </a:cubicBezTo>
                  <a:cubicBezTo>
                    <a:pt x="535" y="4573"/>
                    <a:pt x="562" y="4643"/>
                    <a:pt x="594" y="4699"/>
                  </a:cubicBezTo>
                  <a:cubicBezTo>
                    <a:pt x="627" y="4755"/>
                    <a:pt x="658" y="4789"/>
                    <a:pt x="703" y="4854"/>
                  </a:cubicBezTo>
                  <a:cubicBezTo>
                    <a:pt x="748" y="4919"/>
                    <a:pt x="836" y="4956"/>
                    <a:pt x="861" y="5032"/>
                  </a:cubicBezTo>
                  <a:cubicBezTo>
                    <a:pt x="886" y="5106"/>
                    <a:pt x="844" y="5189"/>
                    <a:pt x="843" y="5267"/>
                  </a:cubicBezTo>
                  <a:cubicBezTo>
                    <a:pt x="841" y="5328"/>
                    <a:pt x="843" y="5388"/>
                    <a:pt x="849" y="5448"/>
                  </a:cubicBezTo>
                  <a:cubicBezTo>
                    <a:pt x="856" y="5523"/>
                    <a:pt x="870" y="5598"/>
                    <a:pt x="886" y="5671"/>
                  </a:cubicBezTo>
                  <a:cubicBezTo>
                    <a:pt x="917" y="5814"/>
                    <a:pt x="964" y="5952"/>
                    <a:pt x="998" y="6094"/>
                  </a:cubicBezTo>
                  <a:lnTo>
                    <a:pt x="1225" y="7048"/>
                  </a:lnTo>
                  <a:cubicBezTo>
                    <a:pt x="1232" y="7077"/>
                    <a:pt x="1243" y="7105"/>
                    <a:pt x="1247" y="7135"/>
                  </a:cubicBezTo>
                  <a:cubicBezTo>
                    <a:pt x="1253" y="7186"/>
                    <a:pt x="1250" y="7290"/>
                    <a:pt x="1250" y="7290"/>
                  </a:cubicBezTo>
                  <a:cubicBezTo>
                    <a:pt x="1250" y="7333"/>
                    <a:pt x="1230" y="7377"/>
                    <a:pt x="1243" y="7417"/>
                  </a:cubicBezTo>
                  <a:cubicBezTo>
                    <a:pt x="1249" y="7435"/>
                    <a:pt x="1278" y="7461"/>
                    <a:pt x="1278" y="7461"/>
                  </a:cubicBezTo>
                  <a:cubicBezTo>
                    <a:pt x="1298" y="7487"/>
                    <a:pt x="1317" y="7490"/>
                    <a:pt x="1340" y="7539"/>
                  </a:cubicBezTo>
                  <a:cubicBezTo>
                    <a:pt x="1362" y="7587"/>
                    <a:pt x="1372" y="7683"/>
                    <a:pt x="1383" y="7756"/>
                  </a:cubicBezTo>
                  <a:cubicBezTo>
                    <a:pt x="1395" y="7835"/>
                    <a:pt x="1398" y="7916"/>
                    <a:pt x="1405" y="7995"/>
                  </a:cubicBezTo>
                  <a:cubicBezTo>
                    <a:pt x="1416" y="8120"/>
                    <a:pt x="1436" y="8368"/>
                    <a:pt x="1436" y="8368"/>
                  </a:cubicBezTo>
                  <a:cubicBezTo>
                    <a:pt x="1438" y="8389"/>
                    <a:pt x="1433" y="8410"/>
                    <a:pt x="1436" y="8430"/>
                  </a:cubicBezTo>
                  <a:cubicBezTo>
                    <a:pt x="1440" y="8458"/>
                    <a:pt x="1450" y="8485"/>
                    <a:pt x="1461" y="8511"/>
                  </a:cubicBezTo>
                  <a:cubicBezTo>
                    <a:pt x="1472" y="8539"/>
                    <a:pt x="1501" y="8592"/>
                    <a:pt x="1501" y="8592"/>
                  </a:cubicBezTo>
                  <a:cubicBezTo>
                    <a:pt x="1514" y="8616"/>
                    <a:pt x="1546" y="8633"/>
                    <a:pt x="1548" y="8660"/>
                  </a:cubicBezTo>
                  <a:cubicBezTo>
                    <a:pt x="1550" y="8684"/>
                    <a:pt x="1517" y="8725"/>
                    <a:pt x="1517" y="8725"/>
                  </a:cubicBezTo>
                  <a:cubicBezTo>
                    <a:pt x="1510" y="8740"/>
                    <a:pt x="1484" y="8738"/>
                    <a:pt x="1473" y="8750"/>
                  </a:cubicBezTo>
                  <a:cubicBezTo>
                    <a:pt x="1445" y="8783"/>
                    <a:pt x="1424" y="8871"/>
                    <a:pt x="1424" y="8871"/>
                  </a:cubicBezTo>
                  <a:cubicBezTo>
                    <a:pt x="1394" y="8942"/>
                    <a:pt x="1338" y="8999"/>
                    <a:pt x="1293" y="9061"/>
                  </a:cubicBezTo>
                  <a:cubicBezTo>
                    <a:pt x="1276" y="9085"/>
                    <a:pt x="1240" y="9132"/>
                    <a:pt x="1240" y="9132"/>
                  </a:cubicBezTo>
                  <a:cubicBezTo>
                    <a:pt x="1233" y="9143"/>
                    <a:pt x="1242" y="9162"/>
                    <a:pt x="1253" y="9170"/>
                  </a:cubicBezTo>
                  <a:cubicBezTo>
                    <a:pt x="1275" y="9185"/>
                    <a:pt x="1307" y="9170"/>
                    <a:pt x="1334" y="9167"/>
                  </a:cubicBezTo>
                  <a:cubicBezTo>
                    <a:pt x="1399" y="9159"/>
                    <a:pt x="1463" y="9148"/>
                    <a:pt x="1526" y="9129"/>
                  </a:cubicBezTo>
                  <a:cubicBezTo>
                    <a:pt x="1584" y="9112"/>
                    <a:pt x="1694" y="9061"/>
                    <a:pt x="1694" y="9061"/>
                  </a:cubicBezTo>
                  <a:cubicBezTo>
                    <a:pt x="1737" y="9043"/>
                    <a:pt x="1786" y="9025"/>
                    <a:pt x="1812" y="8986"/>
                  </a:cubicBezTo>
                  <a:cubicBezTo>
                    <a:pt x="1825" y="8966"/>
                    <a:pt x="1824" y="8915"/>
                    <a:pt x="1824" y="8915"/>
                  </a:cubicBezTo>
                  <a:cubicBezTo>
                    <a:pt x="1831" y="8878"/>
                    <a:pt x="1840" y="8842"/>
                    <a:pt x="1849" y="8806"/>
                  </a:cubicBezTo>
                  <a:cubicBezTo>
                    <a:pt x="1859" y="8769"/>
                    <a:pt x="1883" y="8697"/>
                    <a:pt x="1883" y="8697"/>
                  </a:cubicBezTo>
                  <a:cubicBezTo>
                    <a:pt x="1892" y="8671"/>
                    <a:pt x="1935" y="8655"/>
                    <a:pt x="1961" y="8666"/>
                  </a:cubicBezTo>
                  <a:cubicBezTo>
                    <a:pt x="1979" y="8674"/>
                    <a:pt x="1983" y="8722"/>
                    <a:pt x="1983" y="8722"/>
                  </a:cubicBezTo>
                  <a:cubicBezTo>
                    <a:pt x="1987" y="8733"/>
                    <a:pt x="2005" y="8733"/>
                    <a:pt x="2017" y="8732"/>
                  </a:cubicBezTo>
                  <a:cubicBezTo>
                    <a:pt x="2030" y="8730"/>
                    <a:pt x="2051" y="8710"/>
                    <a:pt x="2051" y="8710"/>
                  </a:cubicBezTo>
                  <a:cubicBezTo>
                    <a:pt x="2078" y="8693"/>
                    <a:pt x="2038" y="8648"/>
                    <a:pt x="2039" y="8617"/>
                  </a:cubicBezTo>
                  <a:cubicBezTo>
                    <a:pt x="2039" y="8602"/>
                    <a:pt x="2048" y="8573"/>
                    <a:pt x="2048" y="8573"/>
                  </a:cubicBezTo>
                  <a:cubicBezTo>
                    <a:pt x="2058" y="8526"/>
                    <a:pt x="2115" y="8504"/>
                    <a:pt x="2141" y="8464"/>
                  </a:cubicBezTo>
                  <a:cubicBezTo>
                    <a:pt x="2162" y="8432"/>
                    <a:pt x="2191" y="8359"/>
                    <a:pt x="2191" y="8359"/>
                  </a:cubicBezTo>
                  <a:cubicBezTo>
                    <a:pt x="2209" y="8322"/>
                    <a:pt x="2170" y="8279"/>
                    <a:pt x="2154" y="8241"/>
                  </a:cubicBezTo>
                  <a:cubicBezTo>
                    <a:pt x="2138" y="8202"/>
                    <a:pt x="2095" y="8129"/>
                    <a:pt x="2095" y="8129"/>
                  </a:cubicBezTo>
                  <a:cubicBezTo>
                    <a:pt x="2072" y="8087"/>
                    <a:pt x="2036" y="8011"/>
                    <a:pt x="2036" y="7998"/>
                  </a:cubicBezTo>
                  <a:cubicBezTo>
                    <a:pt x="2036" y="7986"/>
                    <a:pt x="2014" y="7878"/>
                    <a:pt x="2005" y="7818"/>
                  </a:cubicBezTo>
                  <a:cubicBezTo>
                    <a:pt x="1989" y="7714"/>
                    <a:pt x="1983" y="7608"/>
                    <a:pt x="1964" y="7504"/>
                  </a:cubicBezTo>
                  <a:cubicBezTo>
                    <a:pt x="1955" y="7452"/>
                    <a:pt x="1927" y="7349"/>
                    <a:pt x="1927" y="7349"/>
                  </a:cubicBezTo>
                  <a:cubicBezTo>
                    <a:pt x="1911" y="7285"/>
                    <a:pt x="1911" y="7219"/>
                    <a:pt x="1908" y="7153"/>
                  </a:cubicBezTo>
                  <a:cubicBezTo>
                    <a:pt x="1907" y="7117"/>
                    <a:pt x="1908" y="7045"/>
                    <a:pt x="1908" y="7045"/>
                  </a:cubicBezTo>
                  <a:cubicBezTo>
                    <a:pt x="1908" y="6883"/>
                    <a:pt x="1869" y="6722"/>
                    <a:pt x="1871" y="6560"/>
                  </a:cubicBezTo>
                  <a:cubicBezTo>
                    <a:pt x="1874" y="6327"/>
                    <a:pt x="1932" y="6097"/>
                    <a:pt x="1943" y="5864"/>
                  </a:cubicBezTo>
                  <a:lnTo>
                    <a:pt x="1949" y="5737"/>
                  </a:lnTo>
                  <a:cubicBezTo>
                    <a:pt x="1949" y="5726"/>
                    <a:pt x="1971" y="5740"/>
                    <a:pt x="1980" y="5746"/>
                  </a:cubicBezTo>
                  <a:cubicBezTo>
                    <a:pt x="2007" y="5765"/>
                    <a:pt x="2024" y="5797"/>
                    <a:pt x="2039" y="5827"/>
                  </a:cubicBezTo>
                  <a:cubicBezTo>
                    <a:pt x="2039" y="5827"/>
                    <a:pt x="2076" y="5901"/>
                    <a:pt x="2095" y="5939"/>
                  </a:cubicBezTo>
                  <a:cubicBezTo>
                    <a:pt x="2191" y="6133"/>
                    <a:pt x="2294" y="6325"/>
                    <a:pt x="2383" y="6523"/>
                  </a:cubicBezTo>
                  <a:cubicBezTo>
                    <a:pt x="2383" y="6523"/>
                    <a:pt x="2455" y="6678"/>
                    <a:pt x="2489" y="6756"/>
                  </a:cubicBezTo>
                  <a:cubicBezTo>
                    <a:pt x="2562" y="6921"/>
                    <a:pt x="2634" y="7085"/>
                    <a:pt x="2700" y="7253"/>
                  </a:cubicBezTo>
                  <a:cubicBezTo>
                    <a:pt x="2700" y="7253"/>
                    <a:pt x="2731" y="7344"/>
                    <a:pt x="2753" y="7386"/>
                  </a:cubicBezTo>
                  <a:cubicBezTo>
                    <a:pt x="2776" y="7431"/>
                    <a:pt x="2818" y="7465"/>
                    <a:pt x="2837" y="7511"/>
                  </a:cubicBezTo>
                  <a:cubicBezTo>
                    <a:pt x="2861" y="7567"/>
                    <a:pt x="2862" y="7631"/>
                    <a:pt x="2874" y="7691"/>
                  </a:cubicBezTo>
                  <a:cubicBezTo>
                    <a:pt x="2887" y="7753"/>
                    <a:pt x="2903" y="7814"/>
                    <a:pt x="2912" y="7877"/>
                  </a:cubicBezTo>
                  <a:cubicBezTo>
                    <a:pt x="2918" y="7924"/>
                    <a:pt x="2912" y="7971"/>
                    <a:pt x="2921" y="8017"/>
                  </a:cubicBezTo>
                  <a:cubicBezTo>
                    <a:pt x="2921" y="8017"/>
                    <a:pt x="2955" y="8164"/>
                    <a:pt x="2968" y="8238"/>
                  </a:cubicBezTo>
                  <a:cubicBezTo>
                    <a:pt x="2981" y="8313"/>
                    <a:pt x="2983" y="8390"/>
                    <a:pt x="2999" y="8464"/>
                  </a:cubicBezTo>
                  <a:cubicBezTo>
                    <a:pt x="2999" y="8464"/>
                    <a:pt x="3037" y="8627"/>
                    <a:pt x="3052" y="8710"/>
                  </a:cubicBezTo>
                  <a:cubicBezTo>
                    <a:pt x="3083" y="8884"/>
                    <a:pt x="3015" y="9097"/>
                    <a:pt x="3126" y="9235"/>
                  </a:cubicBezTo>
                  <a:cubicBezTo>
                    <a:pt x="3126" y="9235"/>
                    <a:pt x="3154" y="9282"/>
                    <a:pt x="3176" y="9297"/>
                  </a:cubicBezTo>
                  <a:cubicBezTo>
                    <a:pt x="3200" y="9313"/>
                    <a:pt x="3231" y="9319"/>
                    <a:pt x="3260" y="9322"/>
                  </a:cubicBezTo>
                  <a:cubicBezTo>
                    <a:pt x="3260" y="9322"/>
                    <a:pt x="3358" y="9307"/>
                    <a:pt x="3390" y="9338"/>
                  </a:cubicBezTo>
                  <a:cubicBezTo>
                    <a:pt x="3408" y="9354"/>
                    <a:pt x="3398" y="9385"/>
                    <a:pt x="3403" y="9409"/>
                  </a:cubicBezTo>
                  <a:cubicBezTo>
                    <a:pt x="3403" y="9409"/>
                    <a:pt x="3406" y="9458"/>
                    <a:pt x="3415" y="9480"/>
                  </a:cubicBezTo>
                  <a:cubicBezTo>
                    <a:pt x="3419" y="9488"/>
                    <a:pt x="3423" y="9497"/>
                    <a:pt x="3431" y="9502"/>
                  </a:cubicBezTo>
                  <a:cubicBezTo>
                    <a:pt x="3443" y="9510"/>
                    <a:pt x="3462" y="9511"/>
                    <a:pt x="3474" y="9511"/>
                  </a:cubicBezTo>
                  <a:cubicBezTo>
                    <a:pt x="3487" y="9511"/>
                    <a:pt x="3495" y="9492"/>
                    <a:pt x="3493" y="9480"/>
                  </a:cubicBezTo>
                  <a:lnTo>
                    <a:pt x="3471" y="9368"/>
                  </a:lnTo>
                  <a:cubicBezTo>
                    <a:pt x="3469" y="9358"/>
                    <a:pt x="3474" y="9344"/>
                    <a:pt x="3483" y="9340"/>
                  </a:cubicBezTo>
                  <a:cubicBezTo>
                    <a:pt x="3513" y="9329"/>
                    <a:pt x="3544" y="9360"/>
                    <a:pt x="3570" y="9378"/>
                  </a:cubicBezTo>
                  <a:cubicBezTo>
                    <a:pt x="3611" y="9404"/>
                    <a:pt x="3651" y="9455"/>
                    <a:pt x="3676" y="9477"/>
                  </a:cubicBezTo>
                  <a:cubicBezTo>
                    <a:pt x="3701" y="9499"/>
                    <a:pt x="3721" y="9564"/>
                    <a:pt x="3748" y="9605"/>
                  </a:cubicBezTo>
                  <a:cubicBezTo>
                    <a:pt x="3771" y="9642"/>
                    <a:pt x="3797" y="9679"/>
                    <a:pt x="3825" y="9713"/>
                  </a:cubicBezTo>
                  <a:cubicBezTo>
                    <a:pt x="3841" y="9733"/>
                    <a:pt x="3857" y="9754"/>
                    <a:pt x="3878" y="9769"/>
                  </a:cubicBezTo>
                  <a:cubicBezTo>
                    <a:pt x="3903" y="9787"/>
                    <a:pt x="3940" y="9800"/>
                    <a:pt x="3962" y="9806"/>
                  </a:cubicBezTo>
                  <a:cubicBezTo>
                    <a:pt x="3984" y="9813"/>
                    <a:pt x="4095" y="9809"/>
                    <a:pt x="4161" y="9806"/>
                  </a:cubicBezTo>
                  <a:cubicBezTo>
                    <a:pt x="4161" y="9806"/>
                    <a:pt x="4344" y="9806"/>
                    <a:pt x="4434" y="9794"/>
                  </a:cubicBezTo>
                  <a:cubicBezTo>
                    <a:pt x="4476" y="9789"/>
                    <a:pt x="4542" y="9806"/>
                    <a:pt x="4558" y="9766"/>
                  </a:cubicBezTo>
                  <a:lnTo>
                    <a:pt x="4564" y="9751"/>
                  </a:lnTo>
                  <a:cubicBezTo>
                    <a:pt x="4572" y="9732"/>
                    <a:pt x="4536" y="9710"/>
                    <a:pt x="4536" y="9698"/>
                  </a:cubicBezTo>
                  <a:cubicBezTo>
                    <a:pt x="4536" y="9685"/>
                    <a:pt x="4465" y="9651"/>
                    <a:pt x="4428" y="9629"/>
                  </a:cubicBezTo>
                  <a:cubicBezTo>
                    <a:pt x="4428" y="9629"/>
                    <a:pt x="4314" y="9566"/>
                    <a:pt x="4260" y="9530"/>
                  </a:cubicBezTo>
                  <a:cubicBezTo>
                    <a:pt x="4217" y="9501"/>
                    <a:pt x="4178" y="9467"/>
                    <a:pt x="4136" y="9437"/>
                  </a:cubicBezTo>
                  <a:cubicBezTo>
                    <a:pt x="4103" y="9413"/>
                    <a:pt x="4061" y="9400"/>
                    <a:pt x="4036" y="9368"/>
                  </a:cubicBezTo>
                  <a:cubicBezTo>
                    <a:pt x="4001" y="9323"/>
                    <a:pt x="3983" y="9264"/>
                    <a:pt x="3977" y="9207"/>
                  </a:cubicBezTo>
                  <a:lnTo>
                    <a:pt x="3965" y="9080"/>
                  </a:lnTo>
                  <a:cubicBezTo>
                    <a:pt x="3957" y="8995"/>
                    <a:pt x="3921" y="8909"/>
                    <a:pt x="3903" y="8831"/>
                  </a:cubicBezTo>
                  <a:cubicBezTo>
                    <a:pt x="3884" y="8753"/>
                    <a:pt x="3889" y="8678"/>
                    <a:pt x="3853" y="8614"/>
                  </a:cubicBezTo>
                  <a:cubicBezTo>
                    <a:pt x="3853" y="8614"/>
                    <a:pt x="3776" y="8495"/>
                    <a:pt x="3751" y="8430"/>
                  </a:cubicBezTo>
                  <a:cubicBezTo>
                    <a:pt x="3711" y="8330"/>
                    <a:pt x="3701" y="8220"/>
                    <a:pt x="3673" y="8116"/>
                  </a:cubicBezTo>
                  <a:lnTo>
                    <a:pt x="3614" y="7902"/>
                  </a:lnTo>
                  <a:cubicBezTo>
                    <a:pt x="3593" y="7825"/>
                    <a:pt x="3544" y="7752"/>
                    <a:pt x="3549" y="7672"/>
                  </a:cubicBezTo>
                  <a:cubicBezTo>
                    <a:pt x="3549" y="7656"/>
                    <a:pt x="3564" y="7642"/>
                    <a:pt x="3567" y="7626"/>
                  </a:cubicBezTo>
                  <a:lnTo>
                    <a:pt x="3574" y="7591"/>
                  </a:lnTo>
                  <a:cubicBezTo>
                    <a:pt x="3579" y="7563"/>
                    <a:pt x="3536" y="7529"/>
                    <a:pt x="3536" y="7514"/>
                  </a:cubicBezTo>
                  <a:cubicBezTo>
                    <a:pt x="3536" y="7498"/>
                    <a:pt x="3498" y="7471"/>
                    <a:pt x="3487" y="7445"/>
                  </a:cubicBezTo>
                  <a:cubicBezTo>
                    <a:pt x="3439" y="7337"/>
                    <a:pt x="3441" y="7213"/>
                    <a:pt x="3415" y="7098"/>
                  </a:cubicBezTo>
                  <a:cubicBezTo>
                    <a:pt x="3402" y="7038"/>
                    <a:pt x="3372" y="6981"/>
                    <a:pt x="3372" y="6920"/>
                  </a:cubicBezTo>
                  <a:cubicBezTo>
                    <a:pt x="3372" y="6920"/>
                    <a:pt x="3374" y="6860"/>
                    <a:pt x="3372" y="6830"/>
                  </a:cubicBezTo>
                  <a:cubicBezTo>
                    <a:pt x="3357" y="6649"/>
                    <a:pt x="3285" y="6293"/>
                    <a:pt x="3285" y="6293"/>
                  </a:cubicBezTo>
                  <a:cubicBezTo>
                    <a:pt x="3283" y="6282"/>
                    <a:pt x="3308" y="6294"/>
                    <a:pt x="3316" y="6287"/>
                  </a:cubicBezTo>
                  <a:cubicBezTo>
                    <a:pt x="3322" y="6280"/>
                    <a:pt x="3322" y="6259"/>
                    <a:pt x="3322" y="6259"/>
                  </a:cubicBezTo>
                  <a:cubicBezTo>
                    <a:pt x="3325" y="6242"/>
                    <a:pt x="3321" y="6225"/>
                    <a:pt x="3325" y="6209"/>
                  </a:cubicBezTo>
                  <a:cubicBezTo>
                    <a:pt x="3337" y="6164"/>
                    <a:pt x="3387" y="6086"/>
                    <a:pt x="3387" y="6086"/>
                  </a:cubicBezTo>
                  <a:cubicBezTo>
                    <a:pt x="3437" y="5988"/>
                    <a:pt x="3434" y="5793"/>
                    <a:pt x="3434" y="5777"/>
                  </a:cubicBezTo>
                  <a:cubicBezTo>
                    <a:pt x="3434" y="5762"/>
                    <a:pt x="3447" y="5719"/>
                    <a:pt x="3443" y="5690"/>
                  </a:cubicBezTo>
                  <a:cubicBezTo>
                    <a:pt x="3443" y="5690"/>
                    <a:pt x="3418" y="5533"/>
                    <a:pt x="3412" y="5454"/>
                  </a:cubicBezTo>
                  <a:cubicBezTo>
                    <a:pt x="3406" y="5384"/>
                    <a:pt x="3407" y="5313"/>
                    <a:pt x="3406" y="5243"/>
                  </a:cubicBezTo>
                  <a:cubicBezTo>
                    <a:pt x="3403" y="5127"/>
                    <a:pt x="3399" y="5011"/>
                    <a:pt x="3403" y="4895"/>
                  </a:cubicBezTo>
                  <a:cubicBezTo>
                    <a:pt x="3406" y="4789"/>
                    <a:pt x="3423" y="4684"/>
                    <a:pt x="3427" y="4578"/>
                  </a:cubicBezTo>
                  <a:cubicBezTo>
                    <a:pt x="3431" y="4489"/>
                    <a:pt x="3431" y="4311"/>
                    <a:pt x="3431" y="4311"/>
                  </a:cubicBezTo>
                  <a:cubicBezTo>
                    <a:pt x="3432" y="4224"/>
                    <a:pt x="3418" y="4139"/>
                    <a:pt x="3409" y="4053"/>
                  </a:cubicBezTo>
                  <a:cubicBezTo>
                    <a:pt x="3397" y="3942"/>
                    <a:pt x="3375" y="3832"/>
                    <a:pt x="3365" y="3720"/>
                  </a:cubicBezTo>
                  <a:cubicBezTo>
                    <a:pt x="3346" y="3500"/>
                    <a:pt x="3275" y="3272"/>
                    <a:pt x="3334" y="3059"/>
                  </a:cubicBezTo>
                  <a:cubicBezTo>
                    <a:pt x="3341" y="3034"/>
                    <a:pt x="3366" y="3017"/>
                    <a:pt x="3378" y="2994"/>
                  </a:cubicBezTo>
                  <a:cubicBezTo>
                    <a:pt x="3378" y="2994"/>
                    <a:pt x="3423" y="2933"/>
                    <a:pt x="3427" y="2897"/>
                  </a:cubicBezTo>
                  <a:cubicBezTo>
                    <a:pt x="3430" y="2875"/>
                    <a:pt x="3423" y="2851"/>
                    <a:pt x="3412" y="2832"/>
                  </a:cubicBezTo>
                  <a:lnTo>
                    <a:pt x="3378" y="2770"/>
                  </a:lnTo>
                  <a:cubicBezTo>
                    <a:pt x="3352" y="2723"/>
                    <a:pt x="3306" y="2661"/>
                    <a:pt x="3297" y="2633"/>
                  </a:cubicBezTo>
                  <a:cubicBezTo>
                    <a:pt x="3288" y="2605"/>
                    <a:pt x="3229" y="2406"/>
                    <a:pt x="3229" y="2394"/>
                  </a:cubicBezTo>
                  <a:cubicBezTo>
                    <a:pt x="3229" y="2381"/>
                    <a:pt x="3204" y="2251"/>
                    <a:pt x="3170" y="2189"/>
                  </a:cubicBezTo>
                  <a:cubicBezTo>
                    <a:pt x="3139" y="2134"/>
                    <a:pt x="3095" y="2083"/>
                    <a:pt x="3042" y="2049"/>
                  </a:cubicBezTo>
                  <a:cubicBezTo>
                    <a:pt x="3013" y="2030"/>
                    <a:pt x="2943" y="2018"/>
                    <a:pt x="2943" y="2018"/>
                  </a:cubicBezTo>
                  <a:lnTo>
                    <a:pt x="2859" y="1977"/>
                  </a:lnTo>
                  <a:cubicBezTo>
                    <a:pt x="2840" y="1968"/>
                    <a:pt x="2816" y="1971"/>
                    <a:pt x="2797" y="1962"/>
                  </a:cubicBezTo>
                  <a:cubicBezTo>
                    <a:pt x="2761" y="1945"/>
                    <a:pt x="2700" y="1894"/>
                    <a:pt x="2700" y="1894"/>
                  </a:cubicBezTo>
                  <a:cubicBezTo>
                    <a:pt x="2659" y="1864"/>
                    <a:pt x="2651" y="1803"/>
                    <a:pt x="2635" y="1754"/>
                  </a:cubicBezTo>
                  <a:cubicBezTo>
                    <a:pt x="2603" y="1654"/>
                    <a:pt x="2597" y="1546"/>
                    <a:pt x="2576" y="1443"/>
                  </a:cubicBezTo>
                  <a:cubicBezTo>
                    <a:pt x="2552" y="1325"/>
                    <a:pt x="2530" y="1206"/>
                    <a:pt x="2498" y="1089"/>
                  </a:cubicBezTo>
                  <a:cubicBezTo>
                    <a:pt x="2470" y="982"/>
                    <a:pt x="2399" y="772"/>
                    <a:pt x="2399" y="772"/>
                  </a:cubicBezTo>
                  <a:cubicBezTo>
                    <a:pt x="2371" y="680"/>
                    <a:pt x="2325" y="595"/>
                    <a:pt x="2278" y="511"/>
                  </a:cubicBezTo>
                  <a:cubicBezTo>
                    <a:pt x="2232" y="429"/>
                    <a:pt x="2123" y="275"/>
                    <a:pt x="2123" y="275"/>
                  </a:cubicBezTo>
                  <a:cubicBezTo>
                    <a:pt x="2087" y="221"/>
                    <a:pt x="2041" y="172"/>
                    <a:pt x="1989" y="132"/>
                  </a:cubicBezTo>
                  <a:cubicBezTo>
                    <a:pt x="1950" y="102"/>
                    <a:pt x="1859" y="62"/>
                    <a:pt x="1859" y="62"/>
                  </a:cubicBezTo>
                  <a:cubicBezTo>
                    <a:pt x="1806" y="34"/>
                    <a:pt x="1749" y="24"/>
                    <a:pt x="1688" y="14"/>
                  </a:cubicBezTo>
                  <a:close/>
                  <a:moveTo>
                    <a:pt x="1014" y="3005"/>
                  </a:moveTo>
                  <a:cubicBezTo>
                    <a:pt x="1065" y="3028"/>
                    <a:pt x="1043" y="3169"/>
                    <a:pt x="1043" y="3169"/>
                  </a:cubicBezTo>
                  <a:cubicBezTo>
                    <a:pt x="1054" y="3236"/>
                    <a:pt x="1084" y="3298"/>
                    <a:pt x="1091" y="3365"/>
                  </a:cubicBezTo>
                  <a:cubicBezTo>
                    <a:pt x="1105" y="3486"/>
                    <a:pt x="1085" y="3608"/>
                    <a:pt x="1085" y="3730"/>
                  </a:cubicBezTo>
                  <a:lnTo>
                    <a:pt x="1085" y="4077"/>
                  </a:lnTo>
                  <a:cubicBezTo>
                    <a:pt x="1085" y="4140"/>
                    <a:pt x="1032" y="4192"/>
                    <a:pt x="1023" y="4255"/>
                  </a:cubicBezTo>
                  <a:cubicBezTo>
                    <a:pt x="1021" y="4269"/>
                    <a:pt x="1025" y="4299"/>
                    <a:pt x="1025" y="4299"/>
                  </a:cubicBezTo>
                  <a:cubicBezTo>
                    <a:pt x="1027" y="4331"/>
                    <a:pt x="946" y="4318"/>
                    <a:pt x="929" y="4309"/>
                  </a:cubicBezTo>
                  <a:cubicBezTo>
                    <a:pt x="911" y="4301"/>
                    <a:pt x="854" y="4305"/>
                    <a:pt x="817" y="4299"/>
                  </a:cubicBezTo>
                  <a:cubicBezTo>
                    <a:pt x="808" y="4297"/>
                    <a:pt x="798" y="4297"/>
                    <a:pt x="790" y="4292"/>
                  </a:cubicBezTo>
                  <a:cubicBezTo>
                    <a:pt x="771" y="4281"/>
                    <a:pt x="744" y="4244"/>
                    <a:pt x="744" y="4244"/>
                  </a:cubicBezTo>
                  <a:cubicBezTo>
                    <a:pt x="710" y="4208"/>
                    <a:pt x="654" y="4141"/>
                    <a:pt x="654" y="4127"/>
                  </a:cubicBezTo>
                  <a:cubicBezTo>
                    <a:pt x="654" y="4114"/>
                    <a:pt x="589" y="3982"/>
                    <a:pt x="568" y="3905"/>
                  </a:cubicBezTo>
                  <a:cubicBezTo>
                    <a:pt x="554" y="3851"/>
                    <a:pt x="542" y="3765"/>
                    <a:pt x="542" y="3738"/>
                  </a:cubicBezTo>
                  <a:cubicBezTo>
                    <a:pt x="542" y="3712"/>
                    <a:pt x="512" y="3628"/>
                    <a:pt x="496" y="3574"/>
                  </a:cubicBezTo>
                  <a:lnTo>
                    <a:pt x="461" y="3457"/>
                  </a:lnTo>
                  <a:cubicBezTo>
                    <a:pt x="456" y="3441"/>
                    <a:pt x="476" y="3426"/>
                    <a:pt x="487" y="3413"/>
                  </a:cubicBezTo>
                  <a:cubicBezTo>
                    <a:pt x="520" y="3374"/>
                    <a:pt x="601" y="3312"/>
                    <a:pt x="601" y="3312"/>
                  </a:cubicBezTo>
                  <a:cubicBezTo>
                    <a:pt x="656" y="3263"/>
                    <a:pt x="699" y="3201"/>
                    <a:pt x="757" y="3156"/>
                  </a:cubicBezTo>
                  <a:cubicBezTo>
                    <a:pt x="805" y="3120"/>
                    <a:pt x="913" y="3066"/>
                    <a:pt x="913" y="3066"/>
                  </a:cubicBezTo>
                  <a:cubicBezTo>
                    <a:pt x="947" y="3046"/>
                    <a:pt x="978" y="2988"/>
                    <a:pt x="1014" y="3005"/>
                  </a:cubicBezTo>
                  <a:close/>
                  <a:moveTo>
                    <a:pt x="2899" y="3534"/>
                  </a:moveTo>
                  <a:cubicBezTo>
                    <a:pt x="2912" y="3530"/>
                    <a:pt x="2908" y="3545"/>
                    <a:pt x="2910" y="3552"/>
                  </a:cubicBezTo>
                  <a:cubicBezTo>
                    <a:pt x="2931" y="3606"/>
                    <a:pt x="2934" y="3710"/>
                    <a:pt x="2939" y="3723"/>
                  </a:cubicBezTo>
                  <a:cubicBezTo>
                    <a:pt x="2943" y="3736"/>
                    <a:pt x="2969" y="3903"/>
                    <a:pt x="2967" y="3921"/>
                  </a:cubicBezTo>
                  <a:cubicBezTo>
                    <a:pt x="2965" y="3938"/>
                    <a:pt x="2975" y="4030"/>
                    <a:pt x="2985" y="4083"/>
                  </a:cubicBezTo>
                  <a:lnTo>
                    <a:pt x="3020" y="4270"/>
                  </a:lnTo>
                  <a:cubicBezTo>
                    <a:pt x="3040" y="4377"/>
                    <a:pt x="3055" y="4484"/>
                    <a:pt x="3073" y="4591"/>
                  </a:cubicBezTo>
                  <a:cubicBezTo>
                    <a:pt x="3086" y="4674"/>
                    <a:pt x="3099" y="4757"/>
                    <a:pt x="3114" y="4839"/>
                  </a:cubicBezTo>
                  <a:cubicBezTo>
                    <a:pt x="3127" y="4905"/>
                    <a:pt x="3147" y="4970"/>
                    <a:pt x="3154" y="5037"/>
                  </a:cubicBezTo>
                  <a:cubicBezTo>
                    <a:pt x="3160" y="5099"/>
                    <a:pt x="3156" y="5223"/>
                    <a:pt x="3156" y="5223"/>
                  </a:cubicBezTo>
                  <a:cubicBezTo>
                    <a:pt x="3156" y="5257"/>
                    <a:pt x="3158" y="5314"/>
                    <a:pt x="3154" y="5325"/>
                  </a:cubicBezTo>
                  <a:cubicBezTo>
                    <a:pt x="3149" y="5336"/>
                    <a:pt x="3142" y="5389"/>
                    <a:pt x="3123" y="5415"/>
                  </a:cubicBezTo>
                  <a:lnTo>
                    <a:pt x="3079" y="5474"/>
                  </a:lnTo>
                  <a:cubicBezTo>
                    <a:pt x="3059" y="5501"/>
                    <a:pt x="3069" y="5406"/>
                    <a:pt x="3060" y="5373"/>
                  </a:cubicBezTo>
                  <a:cubicBezTo>
                    <a:pt x="3052" y="5349"/>
                    <a:pt x="3031" y="5303"/>
                    <a:pt x="3031" y="5303"/>
                  </a:cubicBezTo>
                  <a:cubicBezTo>
                    <a:pt x="3022" y="5281"/>
                    <a:pt x="3010" y="5260"/>
                    <a:pt x="3005" y="5237"/>
                  </a:cubicBezTo>
                  <a:cubicBezTo>
                    <a:pt x="2999" y="5216"/>
                    <a:pt x="2998" y="5173"/>
                    <a:pt x="2998" y="5173"/>
                  </a:cubicBezTo>
                  <a:cubicBezTo>
                    <a:pt x="2996" y="5155"/>
                    <a:pt x="3002" y="5137"/>
                    <a:pt x="2998" y="5120"/>
                  </a:cubicBezTo>
                  <a:cubicBezTo>
                    <a:pt x="2989" y="5088"/>
                    <a:pt x="2948" y="5034"/>
                    <a:pt x="2948" y="5034"/>
                  </a:cubicBezTo>
                  <a:cubicBezTo>
                    <a:pt x="2905" y="4962"/>
                    <a:pt x="2948" y="4867"/>
                    <a:pt x="2939" y="4784"/>
                  </a:cubicBezTo>
                  <a:cubicBezTo>
                    <a:pt x="2932" y="4725"/>
                    <a:pt x="2914" y="4667"/>
                    <a:pt x="2904" y="4608"/>
                  </a:cubicBezTo>
                  <a:cubicBezTo>
                    <a:pt x="2897" y="4567"/>
                    <a:pt x="2886" y="4485"/>
                    <a:pt x="2886" y="4485"/>
                  </a:cubicBezTo>
                  <a:cubicBezTo>
                    <a:pt x="2880" y="4443"/>
                    <a:pt x="2882" y="4373"/>
                    <a:pt x="2879" y="4358"/>
                  </a:cubicBezTo>
                  <a:cubicBezTo>
                    <a:pt x="2877" y="4343"/>
                    <a:pt x="2859" y="4280"/>
                    <a:pt x="2857" y="4239"/>
                  </a:cubicBezTo>
                  <a:lnTo>
                    <a:pt x="2853" y="4110"/>
                  </a:lnTo>
                  <a:cubicBezTo>
                    <a:pt x="2852" y="4085"/>
                    <a:pt x="2868" y="4061"/>
                    <a:pt x="2864" y="4037"/>
                  </a:cubicBezTo>
                  <a:cubicBezTo>
                    <a:pt x="2859" y="4003"/>
                    <a:pt x="2818" y="3943"/>
                    <a:pt x="2818" y="3943"/>
                  </a:cubicBezTo>
                  <a:cubicBezTo>
                    <a:pt x="2805" y="3916"/>
                    <a:pt x="2861" y="3900"/>
                    <a:pt x="2871" y="3872"/>
                  </a:cubicBezTo>
                  <a:cubicBezTo>
                    <a:pt x="2881" y="3843"/>
                    <a:pt x="2873" y="3780"/>
                    <a:pt x="2873" y="3780"/>
                  </a:cubicBezTo>
                  <a:cubicBezTo>
                    <a:pt x="2873" y="3762"/>
                    <a:pt x="2894" y="3751"/>
                    <a:pt x="2899" y="3734"/>
                  </a:cubicBezTo>
                  <a:cubicBezTo>
                    <a:pt x="2911" y="3690"/>
                    <a:pt x="2901" y="3596"/>
                    <a:pt x="2901" y="3596"/>
                  </a:cubicBezTo>
                  <a:cubicBezTo>
                    <a:pt x="2902" y="3575"/>
                    <a:pt x="2886" y="3538"/>
                    <a:pt x="2899" y="3534"/>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72" name="Freeform 35">
              <a:extLst>
                <a:ext uri="{FF2B5EF4-FFF2-40B4-BE49-F238E27FC236}">
                  <a16:creationId xmlns:a16="http://schemas.microsoft.com/office/drawing/2014/main" id="{AD243EDC-2FF8-47C7-9C3C-86BFDCC89BF2}"/>
                </a:ext>
              </a:extLst>
            </p:cNvPr>
            <p:cNvSpPr>
              <a:spLocks/>
            </p:cNvSpPr>
            <p:nvPr/>
          </p:nvSpPr>
          <p:spPr bwMode="auto">
            <a:xfrm>
              <a:off x="2831" y="2657"/>
              <a:ext cx="301" cy="1222"/>
            </a:xfrm>
            <a:custGeom>
              <a:avLst/>
              <a:gdLst>
                <a:gd name="T0" fmla="*/ 1091 w 2458"/>
                <a:gd name="T1" fmla="*/ 1 h 9964"/>
                <a:gd name="T2" fmla="*/ 995 w 2458"/>
                <a:gd name="T3" fmla="*/ 14 h 9964"/>
                <a:gd name="T4" fmla="*/ 623 w 2458"/>
                <a:gd name="T5" fmla="*/ 379 h 9964"/>
                <a:gd name="T6" fmla="*/ 527 w 2458"/>
                <a:gd name="T7" fmla="*/ 525 h 9964"/>
                <a:gd name="T8" fmla="*/ 278 w 2458"/>
                <a:gd name="T9" fmla="*/ 772 h 9964"/>
                <a:gd name="T10" fmla="*/ 252 w 2458"/>
                <a:gd name="T11" fmla="*/ 992 h 9964"/>
                <a:gd name="T12" fmla="*/ 292 w 2458"/>
                <a:gd name="T13" fmla="*/ 1075 h 9964"/>
                <a:gd name="T14" fmla="*/ 254 w 2458"/>
                <a:gd name="T15" fmla="*/ 1299 h 9964"/>
                <a:gd name="T16" fmla="*/ 246 w 2458"/>
                <a:gd name="T17" fmla="*/ 1592 h 9964"/>
                <a:gd name="T18" fmla="*/ 252 w 2458"/>
                <a:gd name="T19" fmla="*/ 1745 h 9964"/>
                <a:gd name="T20" fmla="*/ 190 w 2458"/>
                <a:gd name="T21" fmla="*/ 1899 h 9964"/>
                <a:gd name="T22" fmla="*/ 190 w 2458"/>
                <a:gd name="T23" fmla="*/ 2429 h 9964"/>
                <a:gd name="T24" fmla="*/ 192 w 2458"/>
                <a:gd name="T25" fmla="*/ 2958 h 9964"/>
                <a:gd name="T26" fmla="*/ 105 w 2458"/>
                <a:gd name="T27" fmla="*/ 3930 h 9964"/>
                <a:gd name="T28" fmla="*/ 42 w 2458"/>
                <a:gd name="T29" fmla="*/ 4697 h 9964"/>
                <a:gd name="T30" fmla="*/ 9 w 2458"/>
                <a:gd name="T31" fmla="*/ 5099 h 9964"/>
                <a:gd name="T32" fmla="*/ 31 w 2458"/>
                <a:gd name="T33" fmla="*/ 5307 h 9964"/>
                <a:gd name="T34" fmla="*/ 94 w 2458"/>
                <a:gd name="T35" fmla="*/ 5723 h 9964"/>
                <a:gd name="T36" fmla="*/ 60 w 2458"/>
                <a:gd name="T37" fmla="*/ 6352 h 9964"/>
                <a:gd name="T38" fmla="*/ 151 w 2458"/>
                <a:gd name="T39" fmla="*/ 6426 h 9964"/>
                <a:gd name="T40" fmla="*/ 467 w 2458"/>
                <a:gd name="T41" fmla="*/ 6510 h 9964"/>
                <a:gd name="T42" fmla="*/ 512 w 2458"/>
                <a:gd name="T43" fmla="*/ 7088 h 9964"/>
                <a:gd name="T44" fmla="*/ 633 w 2458"/>
                <a:gd name="T45" fmla="*/ 7884 h 9964"/>
                <a:gd name="T46" fmla="*/ 780 w 2458"/>
                <a:gd name="T47" fmla="*/ 8490 h 9964"/>
                <a:gd name="T48" fmla="*/ 727 w 2458"/>
                <a:gd name="T49" fmla="*/ 8972 h 9964"/>
                <a:gd name="T50" fmla="*/ 731 w 2458"/>
                <a:gd name="T51" fmla="*/ 9200 h 9964"/>
                <a:gd name="T52" fmla="*/ 788 w 2458"/>
                <a:gd name="T53" fmla="*/ 9422 h 9964"/>
                <a:gd name="T54" fmla="*/ 871 w 2458"/>
                <a:gd name="T55" fmla="*/ 9580 h 9964"/>
                <a:gd name="T56" fmla="*/ 793 w 2458"/>
                <a:gd name="T57" fmla="*/ 9802 h 9964"/>
                <a:gd name="T58" fmla="*/ 1142 w 2458"/>
                <a:gd name="T59" fmla="*/ 9942 h 9964"/>
                <a:gd name="T60" fmla="*/ 1313 w 2458"/>
                <a:gd name="T61" fmla="*/ 9656 h 9964"/>
                <a:gd name="T62" fmla="*/ 1253 w 2458"/>
                <a:gd name="T63" fmla="*/ 9088 h 9964"/>
                <a:gd name="T64" fmla="*/ 1169 w 2458"/>
                <a:gd name="T65" fmla="*/ 8793 h 9964"/>
                <a:gd name="T66" fmla="*/ 1137 w 2458"/>
                <a:gd name="T67" fmla="*/ 8545 h 9964"/>
                <a:gd name="T68" fmla="*/ 1229 w 2458"/>
                <a:gd name="T69" fmla="*/ 8065 h 9964"/>
                <a:gd name="T70" fmla="*/ 1340 w 2458"/>
                <a:gd name="T71" fmla="*/ 7739 h 9964"/>
                <a:gd name="T72" fmla="*/ 1521 w 2458"/>
                <a:gd name="T73" fmla="*/ 6955 h 9964"/>
                <a:gd name="T74" fmla="*/ 1598 w 2458"/>
                <a:gd name="T75" fmla="*/ 6580 h 9964"/>
                <a:gd name="T76" fmla="*/ 1717 w 2458"/>
                <a:gd name="T77" fmla="*/ 6160 h 9964"/>
                <a:gd name="T78" fmla="*/ 1955 w 2458"/>
                <a:gd name="T79" fmla="*/ 5283 h 9964"/>
                <a:gd name="T80" fmla="*/ 2240 w 2458"/>
                <a:gd name="T81" fmla="*/ 4994 h 9964"/>
                <a:gd name="T82" fmla="*/ 2295 w 2458"/>
                <a:gd name="T83" fmla="*/ 4824 h 9964"/>
                <a:gd name="T84" fmla="*/ 2402 w 2458"/>
                <a:gd name="T85" fmla="*/ 4758 h 9964"/>
                <a:gd name="T86" fmla="*/ 2412 w 2458"/>
                <a:gd name="T87" fmla="*/ 4253 h 9964"/>
                <a:gd name="T88" fmla="*/ 2439 w 2458"/>
                <a:gd name="T89" fmla="*/ 3146 h 9964"/>
                <a:gd name="T90" fmla="*/ 2425 w 2458"/>
                <a:gd name="T91" fmla="*/ 2395 h 9964"/>
                <a:gd name="T92" fmla="*/ 2344 w 2458"/>
                <a:gd name="T93" fmla="*/ 1911 h 9964"/>
                <a:gd name="T94" fmla="*/ 2177 w 2458"/>
                <a:gd name="T95" fmla="*/ 1442 h 9964"/>
                <a:gd name="T96" fmla="*/ 2082 w 2458"/>
                <a:gd name="T97" fmla="*/ 1393 h 9964"/>
                <a:gd name="T98" fmla="*/ 1902 w 2458"/>
                <a:gd name="T99" fmla="*/ 1320 h 9964"/>
                <a:gd name="T100" fmla="*/ 1862 w 2458"/>
                <a:gd name="T101" fmla="*/ 1140 h 9964"/>
                <a:gd name="T102" fmla="*/ 1792 w 2458"/>
                <a:gd name="T103" fmla="*/ 926 h 9964"/>
                <a:gd name="T104" fmla="*/ 1844 w 2458"/>
                <a:gd name="T105" fmla="*/ 901 h 9964"/>
                <a:gd name="T106" fmla="*/ 1738 w 2458"/>
                <a:gd name="T107" fmla="*/ 619 h 9964"/>
                <a:gd name="T108" fmla="*/ 1639 w 2458"/>
                <a:gd name="T109" fmla="*/ 541 h 9964"/>
                <a:gd name="T110" fmla="*/ 1247 w 2458"/>
                <a:gd name="T111" fmla="*/ 32 h 9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58" h="9964">
                  <a:moveTo>
                    <a:pt x="1108" y="0"/>
                  </a:moveTo>
                  <a:cubicBezTo>
                    <a:pt x="1102" y="0"/>
                    <a:pt x="1096" y="1"/>
                    <a:pt x="1091" y="1"/>
                  </a:cubicBezTo>
                  <a:cubicBezTo>
                    <a:pt x="1076" y="2"/>
                    <a:pt x="1064" y="4"/>
                    <a:pt x="1058" y="9"/>
                  </a:cubicBezTo>
                  <a:cubicBezTo>
                    <a:pt x="1049" y="15"/>
                    <a:pt x="1022" y="17"/>
                    <a:pt x="995" y="14"/>
                  </a:cubicBezTo>
                  <a:cubicBezTo>
                    <a:pt x="931" y="5"/>
                    <a:pt x="855" y="48"/>
                    <a:pt x="765" y="145"/>
                  </a:cubicBezTo>
                  <a:cubicBezTo>
                    <a:pt x="697" y="218"/>
                    <a:pt x="686" y="237"/>
                    <a:pt x="623" y="379"/>
                  </a:cubicBezTo>
                  <a:cubicBezTo>
                    <a:pt x="607" y="414"/>
                    <a:pt x="580" y="459"/>
                    <a:pt x="562" y="479"/>
                  </a:cubicBezTo>
                  <a:cubicBezTo>
                    <a:pt x="545" y="499"/>
                    <a:pt x="529" y="520"/>
                    <a:pt x="527" y="525"/>
                  </a:cubicBezTo>
                  <a:cubicBezTo>
                    <a:pt x="525" y="531"/>
                    <a:pt x="485" y="565"/>
                    <a:pt x="441" y="600"/>
                  </a:cubicBezTo>
                  <a:cubicBezTo>
                    <a:pt x="336" y="684"/>
                    <a:pt x="287" y="736"/>
                    <a:pt x="278" y="772"/>
                  </a:cubicBezTo>
                  <a:cubicBezTo>
                    <a:pt x="275" y="787"/>
                    <a:pt x="265" y="827"/>
                    <a:pt x="256" y="861"/>
                  </a:cubicBezTo>
                  <a:cubicBezTo>
                    <a:pt x="239" y="932"/>
                    <a:pt x="237" y="992"/>
                    <a:pt x="252" y="992"/>
                  </a:cubicBezTo>
                  <a:cubicBezTo>
                    <a:pt x="258" y="992"/>
                    <a:pt x="266" y="1006"/>
                    <a:pt x="270" y="1022"/>
                  </a:cubicBezTo>
                  <a:cubicBezTo>
                    <a:pt x="274" y="1040"/>
                    <a:pt x="284" y="1063"/>
                    <a:pt x="292" y="1075"/>
                  </a:cubicBezTo>
                  <a:cubicBezTo>
                    <a:pt x="315" y="1108"/>
                    <a:pt x="311" y="1142"/>
                    <a:pt x="275" y="1208"/>
                  </a:cubicBezTo>
                  <a:cubicBezTo>
                    <a:pt x="248" y="1259"/>
                    <a:pt x="244" y="1273"/>
                    <a:pt x="254" y="1299"/>
                  </a:cubicBezTo>
                  <a:cubicBezTo>
                    <a:pt x="264" y="1325"/>
                    <a:pt x="261" y="1339"/>
                    <a:pt x="237" y="1387"/>
                  </a:cubicBezTo>
                  <a:cubicBezTo>
                    <a:pt x="198" y="1463"/>
                    <a:pt x="200" y="1501"/>
                    <a:pt x="246" y="1592"/>
                  </a:cubicBezTo>
                  <a:cubicBezTo>
                    <a:pt x="267" y="1634"/>
                    <a:pt x="285" y="1677"/>
                    <a:pt x="285" y="1688"/>
                  </a:cubicBezTo>
                  <a:cubicBezTo>
                    <a:pt x="285" y="1699"/>
                    <a:pt x="270" y="1725"/>
                    <a:pt x="252" y="1745"/>
                  </a:cubicBezTo>
                  <a:cubicBezTo>
                    <a:pt x="233" y="1765"/>
                    <a:pt x="216" y="1794"/>
                    <a:pt x="212" y="1809"/>
                  </a:cubicBezTo>
                  <a:cubicBezTo>
                    <a:pt x="209" y="1825"/>
                    <a:pt x="199" y="1865"/>
                    <a:pt x="190" y="1899"/>
                  </a:cubicBezTo>
                  <a:cubicBezTo>
                    <a:pt x="171" y="1974"/>
                    <a:pt x="167" y="2229"/>
                    <a:pt x="185" y="2284"/>
                  </a:cubicBezTo>
                  <a:cubicBezTo>
                    <a:pt x="192" y="2308"/>
                    <a:pt x="193" y="2362"/>
                    <a:pt x="190" y="2429"/>
                  </a:cubicBezTo>
                  <a:cubicBezTo>
                    <a:pt x="186" y="2489"/>
                    <a:pt x="189" y="2597"/>
                    <a:pt x="197" y="2677"/>
                  </a:cubicBezTo>
                  <a:cubicBezTo>
                    <a:pt x="208" y="2799"/>
                    <a:pt x="208" y="2840"/>
                    <a:pt x="192" y="2958"/>
                  </a:cubicBezTo>
                  <a:cubicBezTo>
                    <a:pt x="184" y="3034"/>
                    <a:pt x="170" y="3187"/>
                    <a:pt x="164" y="3300"/>
                  </a:cubicBezTo>
                  <a:cubicBezTo>
                    <a:pt x="146" y="3628"/>
                    <a:pt x="145" y="3635"/>
                    <a:pt x="105" y="3930"/>
                  </a:cubicBezTo>
                  <a:cubicBezTo>
                    <a:pt x="82" y="4093"/>
                    <a:pt x="63" y="4287"/>
                    <a:pt x="59" y="4393"/>
                  </a:cubicBezTo>
                  <a:cubicBezTo>
                    <a:pt x="56" y="4494"/>
                    <a:pt x="48" y="4630"/>
                    <a:pt x="42" y="4697"/>
                  </a:cubicBezTo>
                  <a:cubicBezTo>
                    <a:pt x="37" y="4763"/>
                    <a:pt x="29" y="4864"/>
                    <a:pt x="27" y="4918"/>
                  </a:cubicBezTo>
                  <a:cubicBezTo>
                    <a:pt x="23" y="4973"/>
                    <a:pt x="16" y="5054"/>
                    <a:pt x="9" y="5099"/>
                  </a:cubicBezTo>
                  <a:cubicBezTo>
                    <a:pt x="0" y="5164"/>
                    <a:pt x="1" y="5188"/>
                    <a:pt x="15" y="5228"/>
                  </a:cubicBezTo>
                  <a:cubicBezTo>
                    <a:pt x="24" y="5256"/>
                    <a:pt x="31" y="5291"/>
                    <a:pt x="31" y="5307"/>
                  </a:cubicBezTo>
                  <a:cubicBezTo>
                    <a:pt x="31" y="5356"/>
                    <a:pt x="51" y="5410"/>
                    <a:pt x="76" y="5434"/>
                  </a:cubicBezTo>
                  <a:cubicBezTo>
                    <a:pt x="101" y="5456"/>
                    <a:pt x="101" y="5460"/>
                    <a:pt x="94" y="5723"/>
                  </a:cubicBezTo>
                  <a:cubicBezTo>
                    <a:pt x="90" y="5870"/>
                    <a:pt x="81" y="6061"/>
                    <a:pt x="73" y="6149"/>
                  </a:cubicBezTo>
                  <a:cubicBezTo>
                    <a:pt x="67" y="6237"/>
                    <a:pt x="60" y="6329"/>
                    <a:pt x="60" y="6352"/>
                  </a:cubicBezTo>
                  <a:lnTo>
                    <a:pt x="59" y="6395"/>
                  </a:lnTo>
                  <a:lnTo>
                    <a:pt x="151" y="6426"/>
                  </a:lnTo>
                  <a:cubicBezTo>
                    <a:pt x="200" y="6443"/>
                    <a:pt x="280" y="6463"/>
                    <a:pt x="327" y="6469"/>
                  </a:cubicBezTo>
                  <a:cubicBezTo>
                    <a:pt x="450" y="6486"/>
                    <a:pt x="459" y="6489"/>
                    <a:pt x="467" y="6510"/>
                  </a:cubicBezTo>
                  <a:cubicBezTo>
                    <a:pt x="471" y="6521"/>
                    <a:pt x="484" y="6624"/>
                    <a:pt x="496" y="6740"/>
                  </a:cubicBezTo>
                  <a:cubicBezTo>
                    <a:pt x="512" y="6897"/>
                    <a:pt x="517" y="6984"/>
                    <a:pt x="512" y="7088"/>
                  </a:cubicBezTo>
                  <a:cubicBezTo>
                    <a:pt x="503" y="7253"/>
                    <a:pt x="517" y="7397"/>
                    <a:pt x="561" y="7573"/>
                  </a:cubicBezTo>
                  <a:cubicBezTo>
                    <a:pt x="579" y="7643"/>
                    <a:pt x="611" y="7783"/>
                    <a:pt x="633" y="7884"/>
                  </a:cubicBezTo>
                  <a:cubicBezTo>
                    <a:pt x="654" y="7984"/>
                    <a:pt x="696" y="8162"/>
                    <a:pt x="726" y="8278"/>
                  </a:cubicBezTo>
                  <a:lnTo>
                    <a:pt x="780" y="8490"/>
                  </a:lnTo>
                  <a:lnTo>
                    <a:pt x="764" y="8659"/>
                  </a:lnTo>
                  <a:cubicBezTo>
                    <a:pt x="755" y="8751"/>
                    <a:pt x="739" y="8892"/>
                    <a:pt x="727" y="8972"/>
                  </a:cubicBezTo>
                  <a:lnTo>
                    <a:pt x="704" y="9118"/>
                  </a:lnTo>
                  <a:lnTo>
                    <a:pt x="731" y="9200"/>
                  </a:lnTo>
                  <a:cubicBezTo>
                    <a:pt x="747" y="9246"/>
                    <a:pt x="769" y="9299"/>
                    <a:pt x="782" y="9320"/>
                  </a:cubicBezTo>
                  <a:cubicBezTo>
                    <a:pt x="808" y="9363"/>
                    <a:pt x="811" y="9399"/>
                    <a:pt x="788" y="9422"/>
                  </a:cubicBezTo>
                  <a:cubicBezTo>
                    <a:pt x="773" y="9436"/>
                    <a:pt x="775" y="9439"/>
                    <a:pt x="810" y="9450"/>
                  </a:cubicBezTo>
                  <a:cubicBezTo>
                    <a:pt x="860" y="9467"/>
                    <a:pt x="871" y="9489"/>
                    <a:pt x="871" y="9580"/>
                  </a:cubicBezTo>
                  <a:cubicBezTo>
                    <a:pt x="871" y="9669"/>
                    <a:pt x="864" y="9682"/>
                    <a:pt x="814" y="9692"/>
                  </a:cubicBezTo>
                  <a:cubicBezTo>
                    <a:pt x="766" y="9702"/>
                    <a:pt x="761" y="9728"/>
                    <a:pt x="793" y="9802"/>
                  </a:cubicBezTo>
                  <a:cubicBezTo>
                    <a:pt x="815" y="9852"/>
                    <a:pt x="824" y="9860"/>
                    <a:pt x="897" y="9897"/>
                  </a:cubicBezTo>
                  <a:cubicBezTo>
                    <a:pt x="1019" y="9956"/>
                    <a:pt x="1065" y="9964"/>
                    <a:pt x="1142" y="9942"/>
                  </a:cubicBezTo>
                  <a:cubicBezTo>
                    <a:pt x="1237" y="9914"/>
                    <a:pt x="1288" y="9885"/>
                    <a:pt x="1308" y="9846"/>
                  </a:cubicBezTo>
                  <a:cubicBezTo>
                    <a:pt x="1323" y="9815"/>
                    <a:pt x="1324" y="9793"/>
                    <a:pt x="1313" y="9656"/>
                  </a:cubicBezTo>
                  <a:cubicBezTo>
                    <a:pt x="1306" y="9570"/>
                    <a:pt x="1299" y="9445"/>
                    <a:pt x="1296" y="9379"/>
                  </a:cubicBezTo>
                  <a:cubicBezTo>
                    <a:pt x="1291" y="9293"/>
                    <a:pt x="1271" y="9167"/>
                    <a:pt x="1253" y="9088"/>
                  </a:cubicBezTo>
                  <a:cubicBezTo>
                    <a:pt x="1248" y="9049"/>
                    <a:pt x="1238" y="8998"/>
                    <a:pt x="1221" y="8934"/>
                  </a:cubicBezTo>
                  <a:cubicBezTo>
                    <a:pt x="1221" y="8905"/>
                    <a:pt x="1206" y="8864"/>
                    <a:pt x="1169" y="8793"/>
                  </a:cubicBezTo>
                  <a:lnTo>
                    <a:pt x="1128" y="8716"/>
                  </a:lnTo>
                  <a:lnTo>
                    <a:pt x="1137" y="8545"/>
                  </a:lnTo>
                  <a:cubicBezTo>
                    <a:pt x="1148" y="8303"/>
                    <a:pt x="1152" y="8268"/>
                    <a:pt x="1178" y="8207"/>
                  </a:cubicBezTo>
                  <a:cubicBezTo>
                    <a:pt x="1192" y="8178"/>
                    <a:pt x="1215" y="8115"/>
                    <a:pt x="1229" y="8065"/>
                  </a:cubicBezTo>
                  <a:cubicBezTo>
                    <a:pt x="1243" y="8016"/>
                    <a:pt x="1269" y="7941"/>
                    <a:pt x="1285" y="7899"/>
                  </a:cubicBezTo>
                  <a:cubicBezTo>
                    <a:pt x="1301" y="7856"/>
                    <a:pt x="1325" y="7784"/>
                    <a:pt x="1340" y="7739"/>
                  </a:cubicBezTo>
                  <a:cubicBezTo>
                    <a:pt x="1354" y="7694"/>
                    <a:pt x="1386" y="7599"/>
                    <a:pt x="1410" y="7529"/>
                  </a:cubicBezTo>
                  <a:cubicBezTo>
                    <a:pt x="1501" y="7276"/>
                    <a:pt x="1541" y="7068"/>
                    <a:pt x="1521" y="6955"/>
                  </a:cubicBezTo>
                  <a:cubicBezTo>
                    <a:pt x="1503" y="6854"/>
                    <a:pt x="1504" y="6819"/>
                    <a:pt x="1526" y="6709"/>
                  </a:cubicBezTo>
                  <a:cubicBezTo>
                    <a:pt x="1547" y="6610"/>
                    <a:pt x="1564" y="6580"/>
                    <a:pt x="1598" y="6580"/>
                  </a:cubicBezTo>
                  <a:cubicBezTo>
                    <a:pt x="1613" y="6580"/>
                    <a:pt x="1622" y="6557"/>
                    <a:pt x="1643" y="6460"/>
                  </a:cubicBezTo>
                  <a:cubicBezTo>
                    <a:pt x="1656" y="6395"/>
                    <a:pt x="1690" y="6261"/>
                    <a:pt x="1717" y="6160"/>
                  </a:cubicBezTo>
                  <a:cubicBezTo>
                    <a:pt x="1744" y="6060"/>
                    <a:pt x="1803" y="5839"/>
                    <a:pt x="1847" y="5669"/>
                  </a:cubicBezTo>
                  <a:cubicBezTo>
                    <a:pt x="1893" y="5499"/>
                    <a:pt x="1941" y="5325"/>
                    <a:pt x="1955" y="5283"/>
                  </a:cubicBezTo>
                  <a:cubicBezTo>
                    <a:pt x="1980" y="5208"/>
                    <a:pt x="1981" y="5206"/>
                    <a:pt x="2046" y="5173"/>
                  </a:cubicBezTo>
                  <a:cubicBezTo>
                    <a:pt x="2111" y="5140"/>
                    <a:pt x="2240" y="5021"/>
                    <a:pt x="2240" y="4994"/>
                  </a:cubicBezTo>
                  <a:cubicBezTo>
                    <a:pt x="2240" y="4988"/>
                    <a:pt x="2252" y="4953"/>
                    <a:pt x="2267" y="4919"/>
                  </a:cubicBezTo>
                  <a:cubicBezTo>
                    <a:pt x="2282" y="4885"/>
                    <a:pt x="2295" y="4842"/>
                    <a:pt x="2295" y="4824"/>
                  </a:cubicBezTo>
                  <a:cubicBezTo>
                    <a:pt x="2295" y="4782"/>
                    <a:pt x="2321" y="4758"/>
                    <a:pt x="2365" y="4758"/>
                  </a:cubicBezTo>
                  <a:lnTo>
                    <a:pt x="2402" y="4758"/>
                  </a:lnTo>
                  <a:lnTo>
                    <a:pt x="2411" y="4527"/>
                  </a:lnTo>
                  <a:cubicBezTo>
                    <a:pt x="2415" y="4400"/>
                    <a:pt x="2415" y="4276"/>
                    <a:pt x="2412" y="4253"/>
                  </a:cubicBezTo>
                  <a:cubicBezTo>
                    <a:pt x="2408" y="4230"/>
                    <a:pt x="2412" y="4162"/>
                    <a:pt x="2422" y="4101"/>
                  </a:cubicBezTo>
                  <a:cubicBezTo>
                    <a:pt x="2445" y="3950"/>
                    <a:pt x="2458" y="3290"/>
                    <a:pt x="2439" y="3146"/>
                  </a:cubicBezTo>
                  <a:cubicBezTo>
                    <a:pt x="2424" y="3019"/>
                    <a:pt x="2422" y="2793"/>
                    <a:pt x="2436" y="2643"/>
                  </a:cubicBezTo>
                  <a:cubicBezTo>
                    <a:pt x="2444" y="2554"/>
                    <a:pt x="2442" y="2506"/>
                    <a:pt x="2425" y="2395"/>
                  </a:cubicBezTo>
                  <a:cubicBezTo>
                    <a:pt x="2414" y="2318"/>
                    <a:pt x="2406" y="2248"/>
                    <a:pt x="2410" y="2238"/>
                  </a:cubicBezTo>
                  <a:cubicBezTo>
                    <a:pt x="2416" y="2210"/>
                    <a:pt x="2377" y="2014"/>
                    <a:pt x="2344" y="1911"/>
                  </a:cubicBezTo>
                  <a:cubicBezTo>
                    <a:pt x="2329" y="1861"/>
                    <a:pt x="2304" y="1763"/>
                    <a:pt x="2289" y="1693"/>
                  </a:cubicBezTo>
                  <a:cubicBezTo>
                    <a:pt x="2262" y="1556"/>
                    <a:pt x="2219" y="1461"/>
                    <a:pt x="2177" y="1442"/>
                  </a:cubicBezTo>
                  <a:cubicBezTo>
                    <a:pt x="2164" y="1436"/>
                    <a:pt x="2149" y="1421"/>
                    <a:pt x="2145" y="1409"/>
                  </a:cubicBezTo>
                  <a:cubicBezTo>
                    <a:pt x="2139" y="1390"/>
                    <a:pt x="2130" y="1388"/>
                    <a:pt x="2082" y="1393"/>
                  </a:cubicBezTo>
                  <a:cubicBezTo>
                    <a:pt x="2037" y="1398"/>
                    <a:pt x="2015" y="1392"/>
                    <a:pt x="1967" y="1369"/>
                  </a:cubicBezTo>
                  <a:cubicBezTo>
                    <a:pt x="1935" y="1353"/>
                    <a:pt x="1905" y="1331"/>
                    <a:pt x="1902" y="1320"/>
                  </a:cubicBezTo>
                  <a:cubicBezTo>
                    <a:pt x="1893" y="1293"/>
                    <a:pt x="1906" y="1260"/>
                    <a:pt x="1931" y="1252"/>
                  </a:cubicBezTo>
                  <a:cubicBezTo>
                    <a:pt x="1968" y="1240"/>
                    <a:pt x="1965" y="1233"/>
                    <a:pt x="1862" y="1140"/>
                  </a:cubicBezTo>
                  <a:cubicBezTo>
                    <a:pt x="1813" y="1095"/>
                    <a:pt x="1743" y="997"/>
                    <a:pt x="1743" y="973"/>
                  </a:cubicBezTo>
                  <a:cubicBezTo>
                    <a:pt x="1743" y="956"/>
                    <a:pt x="1774" y="926"/>
                    <a:pt x="1792" y="926"/>
                  </a:cubicBezTo>
                  <a:cubicBezTo>
                    <a:pt x="1800" y="926"/>
                    <a:pt x="1814" y="934"/>
                    <a:pt x="1823" y="943"/>
                  </a:cubicBezTo>
                  <a:cubicBezTo>
                    <a:pt x="1838" y="957"/>
                    <a:pt x="1841" y="952"/>
                    <a:pt x="1844" y="901"/>
                  </a:cubicBezTo>
                  <a:cubicBezTo>
                    <a:pt x="1852" y="794"/>
                    <a:pt x="1811" y="659"/>
                    <a:pt x="1766" y="645"/>
                  </a:cubicBezTo>
                  <a:cubicBezTo>
                    <a:pt x="1754" y="641"/>
                    <a:pt x="1741" y="629"/>
                    <a:pt x="1738" y="619"/>
                  </a:cubicBezTo>
                  <a:cubicBezTo>
                    <a:pt x="1735" y="609"/>
                    <a:pt x="1716" y="590"/>
                    <a:pt x="1696" y="578"/>
                  </a:cubicBezTo>
                  <a:cubicBezTo>
                    <a:pt x="1678" y="566"/>
                    <a:pt x="1651" y="549"/>
                    <a:pt x="1639" y="541"/>
                  </a:cubicBezTo>
                  <a:cubicBezTo>
                    <a:pt x="1600" y="515"/>
                    <a:pt x="1518" y="406"/>
                    <a:pt x="1503" y="359"/>
                  </a:cubicBezTo>
                  <a:cubicBezTo>
                    <a:pt x="1457" y="224"/>
                    <a:pt x="1345" y="82"/>
                    <a:pt x="1247" y="32"/>
                  </a:cubicBezTo>
                  <a:cubicBezTo>
                    <a:pt x="1212" y="14"/>
                    <a:pt x="1152" y="1"/>
                    <a:pt x="1108"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73" name="Freeform 36">
              <a:extLst>
                <a:ext uri="{FF2B5EF4-FFF2-40B4-BE49-F238E27FC236}">
                  <a16:creationId xmlns:a16="http://schemas.microsoft.com/office/drawing/2014/main" id="{D6C27390-602D-48A3-8BCB-87551CBC775F}"/>
                </a:ext>
              </a:extLst>
            </p:cNvPr>
            <p:cNvSpPr>
              <a:spLocks noEditPoints="1"/>
            </p:cNvSpPr>
            <p:nvPr/>
          </p:nvSpPr>
          <p:spPr bwMode="auto">
            <a:xfrm>
              <a:off x="2586" y="2670"/>
              <a:ext cx="414" cy="1200"/>
            </a:xfrm>
            <a:custGeom>
              <a:avLst/>
              <a:gdLst>
                <a:gd name="T0" fmla="*/ 891 w 3381"/>
                <a:gd name="T1" fmla="*/ 4376 h 9782"/>
                <a:gd name="T2" fmla="*/ 885 w 3381"/>
                <a:gd name="T3" fmla="*/ 6255 h 9782"/>
                <a:gd name="T4" fmla="*/ 348 w 3381"/>
                <a:gd name="T5" fmla="*/ 9428 h 9782"/>
                <a:gd name="T6" fmla="*/ 1175 w 3381"/>
                <a:gd name="T7" fmla="*/ 8895 h 9782"/>
                <a:gd name="T8" fmla="*/ 2040 w 3381"/>
                <a:gd name="T9" fmla="*/ 5215 h 9782"/>
                <a:gd name="T10" fmla="*/ 2375 w 3381"/>
                <a:gd name="T11" fmla="*/ 9345 h 9782"/>
                <a:gd name="T12" fmla="*/ 3113 w 3381"/>
                <a:gd name="T13" fmla="*/ 9311 h 9782"/>
                <a:gd name="T14" fmla="*/ 3032 w 3381"/>
                <a:gd name="T15" fmla="*/ 7336 h 9782"/>
                <a:gd name="T16" fmla="*/ 2815 w 3381"/>
                <a:gd name="T17" fmla="*/ 4434 h 9782"/>
                <a:gd name="T18" fmla="*/ 3331 w 3381"/>
                <a:gd name="T19" fmla="*/ 3196 h 9782"/>
                <a:gd name="T20" fmla="*/ 2557 w 3381"/>
                <a:gd name="T21" fmla="*/ 1806 h 9782"/>
                <a:gd name="T22" fmla="*/ 2245 w 3381"/>
                <a:gd name="T23" fmla="*/ 1547 h 9782"/>
                <a:gd name="T24" fmla="*/ 2224 w 3381"/>
                <a:gd name="T25" fmla="*/ 1497 h 9782"/>
                <a:gd name="T26" fmla="*/ 2272 w 3381"/>
                <a:gd name="T27" fmla="*/ 1297 h 9782"/>
                <a:gd name="T28" fmla="*/ 2345 w 3381"/>
                <a:gd name="T29" fmla="*/ 1146 h 9782"/>
                <a:gd name="T30" fmla="*/ 2364 w 3381"/>
                <a:gd name="T31" fmla="*/ 888 h 9782"/>
                <a:gd name="T32" fmla="*/ 2359 w 3381"/>
                <a:gd name="T33" fmla="*/ 779 h 9782"/>
                <a:gd name="T34" fmla="*/ 2299 w 3381"/>
                <a:gd name="T35" fmla="*/ 593 h 9782"/>
                <a:gd name="T36" fmla="*/ 2259 w 3381"/>
                <a:gd name="T37" fmla="*/ 409 h 9782"/>
                <a:gd name="T38" fmla="*/ 2125 w 3381"/>
                <a:gd name="T39" fmla="*/ 240 h 9782"/>
                <a:gd name="T40" fmla="*/ 1923 w 3381"/>
                <a:gd name="T41" fmla="*/ 67 h 9782"/>
                <a:gd name="T42" fmla="*/ 1865 w 3381"/>
                <a:gd name="T43" fmla="*/ 12 h 9782"/>
                <a:gd name="T44" fmla="*/ 1733 w 3381"/>
                <a:gd name="T45" fmla="*/ 54 h 9782"/>
                <a:gd name="T46" fmla="*/ 1346 w 3381"/>
                <a:gd name="T47" fmla="*/ 240 h 9782"/>
                <a:gd name="T48" fmla="*/ 1408 w 3381"/>
                <a:gd name="T49" fmla="*/ 246 h 9782"/>
                <a:gd name="T50" fmla="*/ 1162 w 3381"/>
                <a:gd name="T51" fmla="*/ 753 h 9782"/>
                <a:gd name="T52" fmla="*/ 1081 w 3381"/>
                <a:gd name="T53" fmla="*/ 983 h 9782"/>
                <a:gd name="T54" fmla="*/ 1166 w 3381"/>
                <a:gd name="T55" fmla="*/ 920 h 9782"/>
                <a:gd name="T56" fmla="*/ 1133 w 3381"/>
                <a:gd name="T57" fmla="*/ 1077 h 9782"/>
                <a:gd name="T58" fmla="*/ 1025 w 3381"/>
                <a:gd name="T59" fmla="*/ 1426 h 9782"/>
                <a:gd name="T60" fmla="*/ 884 w 3381"/>
                <a:gd name="T61" fmla="*/ 1431 h 9782"/>
                <a:gd name="T62" fmla="*/ 770 w 3381"/>
                <a:gd name="T63" fmla="*/ 1438 h 9782"/>
                <a:gd name="T64" fmla="*/ 778 w 3381"/>
                <a:gd name="T65" fmla="*/ 1584 h 9782"/>
                <a:gd name="T66" fmla="*/ 637 w 3381"/>
                <a:gd name="T67" fmla="*/ 1936 h 9782"/>
                <a:gd name="T68" fmla="*/ 95 w 3381"/>
                <a:gd name="T69" fmla="*/ 3517 h 9782"/>
                <a:gd name="T70" fmla="*/ 2278 w 3381"/>
                <a:gd name="T71" fmla="*/ 485 h 9782"/>
                <a:gd name="T72" fmla="*/ 2501 w 3381"/>
                <a:gd name="T73" fmla="*/ 2609 h 9782"/>
                <a:gd name="T74" fmla="*/ 2785 w 3381"/>
                <a:gd name="T75" fmla="*/ 3558 h 9782"/>
                <a:gd name="T76" fmla="*/ 2350 w 3381"/>
                <a:gd name="T77" fmla="*/ 3288 h 9782"/>
                <a:gd name="T78" fmla="*/ 2199 w 3381"/>
                <a:gd name="T79" fmla="*/ 1509 h 9782"/>
                <a:gd name="T80" fmla="*/ 2230 w 3381"/>
                <a:gd name="T81" fmla="*/ 1388 h 9782"/>
                <a:gd name="T82" fmla="*/ 2153 w 3381"/>
                <a:gd name="T83" fmla="*/ 294 h 9782"/>
                <a:gd name="T84" fmla="*/ 2130 w 3381"/>
                <a:gd name="T85" fmla="*/ 1531 h 9782"/>
                <a:gd name="T86" fmla="*/ 2174 w 3381"/>
                <a:gd name="T87" fmla="*/ 1551 h 9782"/>
                <a:gd name="T88" fmla="*/ 1847 w 3381"/>
                <a:gd name="T89" fmla="*/ 62 h 9782"/>
                <a:gd name="T90" fmla="*/ 1266 w 3381"/>
                <a:gd name="T91" fmla="*/ 499 h 9782"/>
                <a:gd name="T92" fmla="*/ 1251 w 3381"/>
                <a:gd name="T93" fmla="*/ 516 h 9782"/>
                <a:gd name="T94" fmla="*/ 1247 w 3381"/>
                <a:gd name="T95" fmla="*/ 620 h 9782"/>
                <a:gd name="T96" fmla="*/ 777 w 3381"/>
                <a:gd name="T97" fmla="*/ 1695 h 9782"/>
                <a:gd name="T98" fmla="*/ 887 w 3381"/>
                <a:gd name="T99" fmla="*/ 1589 h 9782"/>
                <a:gd name="T100" fmla="*/ 972 w 3381"/>
                <a:gd name="T101" fmla="*/ 1507 h 9782"/>
                <a:gd name="T102" fmla="*/ 972 w 3381"/>
                <a:gd name="T103" fmla="*/ 1507 h 9782"/>
                <a:gd name="T104" fmla="*/ 939 w 3381"/>
                <a:gd name="T105" fmla="*/ 1540 h 9782"/>
                <a:gd name="T106" fmla="*/ 966 w 3381"/>
                <a:gd name="T107" fmla="*/ 1484 h 9782"/>
                <a:gd name="T108" fmla="*/ 1093 w 3381"/>
                <a:gd name="T109" fmla="*/ 1260 h 9782"/>
                <a:gd name="T110" fmla="*/ 1107 w 3381"/>
                <a:gd name="T111" fmla="*/ 1211 h 9782"/>
                <a:gd name="T112" fmla="*/ 865 w 3381"/>
                <a:gd name="T113" fmla="*/ 2644 h 9782"/>
                <a:gd name="T114" fmla="*/ 569 w 3381"/>
                <a:gd name="T115" fmla="*/ 3406 h 9782"/>
                <a:gd name="T116" fmla="*/ 664 w 3381"/>
                <a:gd name="T117" fmla="*/ 1598 h 9782"/>
                <a:gd name="T118" fmla="*/ 1620 w 3381"/>
                <a:gd name="T119" fmla="*/ 36 h 9782"/>
                <a:gd name="T120" fmla="*/ 2067 w 3381"/>
                <a:gd name="T121" fmla="*/ 130 h 9782"/>
                <a:gd name="T122" fmla="*/ 1261 w 3381"/>
                <a:gd name="T123" fmla="*/ 373 h 9782"/>
                <a:gd name="T124" fmla="*/ 1102 w 3381"/>
                <a:gd name="T125" fmla="*/ 1097 h 9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1" h="9782">
                  <a:moveTo>
                    <a:pt x="95" y="3517"/>
                  </a:moveTo>
                  <a:cubicBezTo>
                    <a:pt x="133" y="3538"/>
                    <a:pt x="259" y="3676"/>
                    <a:pt x="285" y="3732"/>
                  </a:cubicBezTo>
                  <a:cubicBezTo>
                    <a:pt x="310" y="3787"/>
                    <a:pt x="361" y="3857"/>
                    <a:pt x="424" y="3891"/>
                  </a:cubicBezTo>
                  <a:cubicBezTo>
                    <a:pt x="487" y="3926"/>
                    <a:pt x="802" y="4321"/>
                    <a:pt x="891" y="4376"/>
                  </a:cubicBezTo>
                  <a:cubicBezTo>
                    <a:pt x="979" y="4432"/>
                    <a:pt x="985" y="4383"/>
                    <a:pt x="985" y="4383"/>
                  </a:cubicBezTo>
                  <a:cubicBezTo>
                    <a:pt x="998" y="4529"/>
                    <a:pt x="1017" y="4557"/>
                    <a:pt x="1017" y="4557"/>
                  </a:cubicBezTo>
                  <a:lnTo>
                    <a:pt x="1080" y="4875"/>
                  </a:lnTo>
                  <a:cubicBezTo>
                    <a:pt x="1011" y="4952"/>
                    <a:pt x="910" y="6053"/>
                    <a:pt x="885" y="6255"/>
                  </a:cubicBezTo>
                  <a:cubicBezTo>
                    <a:pt x="859" y="6456"/>
                    <a:pt x="739" y="6768"/>
                    <a:pt x="714" y="6989"/>
                  </a:cubicBezTo>
                  <a:cubicBezTo>
                    <a:pt x="689" y="7211"/>
                    <a:pt x="474" y="7939"/>
                    <a:pt x="361" y="8188"/>
                  </a:cubicBezTo>
                  <a:cubicBezTo>
                    <a:pt x="247" y="8438"/>
                    <a:pt x="216" y="9304"/>
                    <a:pt x="216" y="9304"/>
                  </a:cubicBezTo>
                  <a:cubicBezTo>
                    <a:pt x="234" y="9415"/>
                    <a:pt x="348" y="9428"/>
                    <a:pt x="348" y="9428"/>
                  </a:cubicBezTo>
                  <a:cubicBezTo>
                    <a:pt x="455" y="9782"/>
                    <a:pt x="588" y="9741"/>
                    <a:pt x="588" y="9741"/>
                  </a:cubicBezTo>
                  <a:cubicBezTo>
                    <a:pt x="695" y="9720"/>
                    <a:pt x="714" y="9491"/>
                    <a:pt x="714" y="9491"/>
                  </a:cubicBezTo>
                  <a:cubicBezTo>
                    <a:pt x="777" y="9477"/>
                    <a:pt x="891" y="9554"/>
                    <a:pt x="1011" y="9526"/>
                  </a:cubicBezTo>
                  <a:cubicBezTo>
                    <a:pt x="1131" y="9497"/>
                    <a:pt x="1112" y="9228"/>
                    <a:pt x="1175" y="8895"/>
                  </a:cubicBezTo>
                  <a:cubicBezTo>
                    <a:pt x="1238" y="8562"/>
                    <a:pt x="1289" y="8202"/>
                    <a:pt x="1358" y="8111"/>
                  </a:cubicBezTo>
                  <a:cubicBezTo>
                    <a:pt x="1428" y="8021"/>
                    <a:pt x="1586" y="7031"/>
                    <a:pt x="1604" y="6830"/>
                  </a:cubicBezTo>
                  <a:cubicBezTo>
                    <a:pt x="1623" y="6629"/>
                    <a:pt x="1864" y="5471"/>
                    <a:pt x="1888" y="5278"/>
                  </a:cubicBezTo>
                  <a:cubicBezTo>
                    <a:pt x="1914" y="5083"/>
                    <a:pt x="2028" y="5145"/>
                    <a:pt x="2040" y="5215"/>
                  </a:cubicBezTo>
                  <a:cubicBezTo>
                    <a:pt x="2052" y="5284"/>
                    <a:pt x="2192" y="6032"/>
                    <a:pt x="2154" y="6137"/>
                  </a:cubicBezTo>
                  <a:cubicBezTo>
                    <a:pt x="2116" y="6241"/>
                    <a:pt x="2167" y="6781"/>
                    <a:pt x="2167" y="6927"/>
                  </a:cubicBezTo>
                  <a:cubicBezTo>
                    <a:pt x="2167" y="7072"/>
                    <a:pt x="2249" y="7745"/>
                    <a:pt x="2223" y="7946"/>
                  </a:cubicBezTo>
                  <a:cubicBezTo>
                    <a:pt x="2198" y="8147"/>
                    <a:pt x="2375" y="9269"/>
                    <a:pt x="2375" y="9345"/>
                  </a:cubicBezTo>
                  <a:cubicBezTo>
                    <a:pt x="2375" y="9422"/>
                    <a:pt x="2451" y="9449"/>
                    <a:pt x="2451" y="9449"/>
                  </a:cubicBezTo>
                  <a:cubicBezTo>
                    <a:pt x="2495" y="9609"/>
                    <a:pt x="2722" y="9636"/>
                    <a:pt x="2722" y="9636"/>
                  </a:cubicBezTo>
                  <a:cubicBezTo>
                    <a:pt x="2893" y="9602"/>
                    <a:pt x="2836" y="9373"/>
                    <a:pt x="2836" y="9373"/>
                  </a:cubicBezTo>
                  <a:cubicBezTo>
                    <a:pt x="2867" y="9366"/>
                    <a:pt x="3113" y="9311"/>
                    <a:pt x="3113" y="9311"/>
                  </a:cubicBezTo>
                  <a:cubicBezTo>
                    <a:pt x="3183" y="9311"/>
                    <a:pt x="3145" y="9228"/>
                    <a:pt x="3145" y="9228"/>
                  </a:cubicBezTo>
                  <a:cubicBezTo>
                    <a:pt x="3120" y="9138"/>
                    <a:pt x="3095" y="8951"/>
                    <a:pt x="3120" y="8722"/>
                  </a:cubicBezTo>
                  <a:cubicBezTo>
                    <a:pt x="3145" y="8493"/>
                    <a:pt x="3158" y="8292"/>
                    <a:pt x="3126" y="8174"/>
                  </a:cubicBezTo>
                  <a:cubicBezTo>
                    <a:pt x="3095" y="8056"/>
                    <a:pt x="3032" y="7495"/>
                    <a:pt x="3032" y="7336"/>
                  </a:cubicBezTo>
                  <a:cubicBezTo>
                    <a:pt x="3032" y="7177"/>
                    <a:pt x="2938" y="6586"/>
                    <a:pt x="2938" y="6586"/>
                  </a:cubicBezTo>
                  <a:cubicBezTo>
                    <a:pt x="2877" y="6378"/>
                    <a:pt x="2881" y="5969"/>
                    <a:pt x="2881" y="5711"/>
                  </a:cubicBezTo>
                  <a:cubicBezTo>
                    <a:pt x="2881" y="5453"/>
                    <a:pt x="2780" y="4587"/>
                    <a:pt x="2780" y="4587"/>
                  </a:cubicBezTo>
                  <a:cubicBezTo>
                    <a:pt x="2808" y="4553"/>
                    <a:pt x="2823" y="4481"/>
                    <a:pt x="2815" y="4434"/>
                  </a:cubicBezTo>
                  <a:cubicBezTo>
                    <a:pt x="2808" y="4388"/>
                    <a:pt x="2811" y="4274"/>
                    <a:pt x="2811" y="4274"/>
                  </a:cubicBezTo>
                  <a:cubicBezTo>
                    <a:pt x="2958" y="4232"/>
                    <a:pt x="2958" y="4155"/>
                    <a:pt x="2958" y="4155"/>
                  </a:cubicBezTo>
                  <a:cubicBezTo>
                    <a:pt x="2958" y="4155"/>
                    <a:pt x="3008" y="4046"/>
                    <a:pt x="3073" y="3915"/>
                  </a:cubicBezTo>
                  <a:cubicBezTo>
                    <a:pt x="3139" y="3783"/>
                    <a:pt x="3281" y="3437"/>
                    <a:pt x="3331" y="3196"/>
                  </a:cubicBezTo>
                  <a:cubicBezTo>
                    <a:pt x="3381" y="2955"/>
                    <a:pt x="3339" y="2922"/>
                    <a:pt x="3304" y="2858"/>
                  </a:cubicBezTo>
                  <a:cubicBezTo>
                    <a:pt x="3269" y="2795"/>
                    <a:pt x="2981" y="2456"/>
                    <a:pt x="2958" y="2427"/>
                  </a:cubicBezTo>
                  <a:cubicBezTo>
                    <a:pt x="2934" y="2397"/>
                    <a:pt x="2780" y="2161"/>
                    <a:pt x="2715" y="2101"/>
                  </a:cubicBezTo>
                  <a:cubicBezTo>
                    <a:pt x="2649" y="2042"/>
                    <a:pt x="2630" y="1941"/>
                    <a:pt x="2557" y="1806"/>
                  </a:cubicBezTo>
                  <a:cubicBezTo>
                    <a:pt x="2484" y="1670"/>
                    <a:pt x="2411" y="1632"/>
                    <a:pt x="2361" y="1624"/>
                  </a:cubicBezTo>
                  <a:cubicBezTo>
                    <a:pt x="2331" y="1619"/>
                    <a:pt x="2257" y="1587"/>
                    <a:pt x="2200" y="1562"/>
                  </a:cubicBezTo>
                  <a:lnTo>
                    <a:pt x="2209" y="1544"/>
                  </a:lnTo>
                  <a:lnTo>
                    <a:pt x="2245" y="1547"/>
                  </a:lnTo>
                  <a:lnTo>
                    <a:pt x="2210" y="1540"/>
                  </a:lnTo>
                  <a:lnTo>
                    <a:pt x="2224" y="1503"/>
                  </a:lnTo>
                  <a:lnTo>
                    <a:pt x="2237" y="1500"/>
                  </a:lnTo>
                  <a:lnTo>
                    <a:pt x="2224" y="1497"/>
                  </a:lnTo>
                  <a:cubicBezTo>
                    <a:pt x="2236" y="1458"/>
                    <a:pt x="2244" y="1410"/>
                    <a:pt x="2246" y="1353"/>
                  </a:cubicBezTo>
                  <a:lnTo>
                    <a:pt x="2272" y="1297"/>
                  </a:lnTo>
                  <a:cubicBezTo>
                    <a:pt x="2268" y="1371"/>
                    <a:pt x="2258" y="1441"/>
                    <a:pt x="2258" y="1441"/>
                  </a:cubicBezTo>
                  <a:cubicBezTo>
                    <a:pt x="2270" y="1415"/>
                    <a:pt x="2272" y="1355"/>
                    <a:pt x="2272" y="1297"/>
                  </a:cubicBezTo>
                  <a:lnTo>
                    <a:pt x="2303" y="1240"/>
                  </a:lnTo>
                  <a:lnTo>
                    <a:pt x="2306" y="1233"/>
                  </a:lnTo>
                  <a:cubicBezTo>
                    <a:pt x="2295" y="1330"/>
                    <a:pt x="2280" y="1396"/>
                    <a:pt x="2280" y="1396"/>
                  </a:cubicBezTo>
                  <a:cubicBezTo>
                    <a:pt x="2324" y="1313"/>
                    <a:pt x="2342" y="1226"/>
                    <a:pt x="2345" y="1146"/>
                  </a:cubicBezTo>
                  <a:cubicBezTo>
                    <a:pt x="2354" y="1116"/>
                    <a:pt x="2360" y="1089"/>
                    <a:pt x="2363" y="1063"/>
                  </a:cubicBezTo>
                  <a:cubicBezTo>
                    <a:pt x="2370" y="1165"/>
                    <a:pt x="2355" y="1267"/>
                    <a:pt x="2355" y="1267"/>
                  </a:cubicBezTo>
                  <a:cubicBezTo>
                    <a:pt x="2377" y="1206"/>
                    <a:pt x="2375" y="1126"/>
                    <a:pt x="2364" y="1054"/>
                  </a:cubicBezTo>
                  <a:cubicBezTo>
                    <a:pt x="2369" y="1000"/>
                    <a:pt x="2364" y="949"/>
                    <a:pt x="2364" y="888"/>
                  </a:cubicBezTo>
                  <a:lnTo>
                    <a:pt x="2364" y="860"/>
                  </a:lnTo>
                  <a:cubicBezTo>
                    <a:pt x="2388" y="926"/>
                    <a:pt x="2395" y="989"/>
                    <a:pt x="2395" y="989"/>
                  </a:cubicBezTo>
                  <a:cubicBezTo>
                    <a:pt x="2397" y="938"/>
                    <a:pt x="2381" y="881"/>
                    <a:pt x="2363" y="831"/>
                  </a:cubicBezTo>
                  <a:lnTo>
                    <a:pt x="2359" y="779"/>
                  </a:lnTo>
                  <a:cubicBezTo>
                    <a:pt x="2363" y="742"/>
                    <a:pt x="2360" y="708"/>
                    <a:pt x="2353" y="678"/>
                  </a:cubicBezTo>
                  <a:cubicBezTo>
                    <a:pt x="2357" y="709"/>
                    <a:pt x="2357" y="740"/>
                    <a:pt x="2356" y="765"/>
                  </a:cubicBezTo>
                  <a:cubicBezTo>
                    <a:pt x="2351" y="734"/>
                    <a:pt x="2342" y="714"/>
                    <a:pt x="2329" y="686"/>
                  </a:cubicBezTo>
                  <a:cubicBezTo>
                    <a:pt x="2306" y="631"/>
                    <a:pt x="2299" y="593"/>
                    <a:pt x="2299" y="593"/>
                  </a:cubicBezTo>
                  <a:lnTo>
                    <a:pt x="2296" y="555"/>
                  </a:lnTo>
                  <a:cubicBezTo>
                    <a:pt x="2321" y="588"/>
                    <a:pt x="2343" y="629"/>
                    <a:pt x="2353" y="678"/>
                  </a:cubicBezTo>
                  <a:cubicBezTo>
                    <a:pt x="2348" y="622"/>
                    <a:pt x="2332" y="562"/>
                    <a:pt x="2294" y="516"/>
                  </a:cubicBezTo>
                  <a:cubicBezTo>
                    <a:pt x="2295" y="477"/>
                    <a:pt x="2288" y="435"/>
                    <a:pt x="2259" y="409"/>
                  </a:cubicBezTo>
                  <a:cubicBezTo>
                    <a:pt x="2238" y="348"/>
                    <a:pt x="2201" y="291"/>
                    <a:pt x="2137" y="261"/>
                  </a:cubicBezTo>
                  <a:cubicBezTo>
                    <a:pt x="2183" y="262"/>
                    <a:pt x="2185" y="240"/>
                    <a:pt x="2185" y="240"/>
                  </a:cubicBezTo>
                  <a:lnTo>
                    <a:pt x="2134" y="259"/>
                  </a:lnTo>
                  <a:lnTo>
                    <a:pt x="2125" y="240"/>
                  </a:lnTo>
                  <a:cubicBezTo>
                    <a:pt x="2083" y="164"/>
                    <a:pt x="2036" y="120"/>
                    <a:pt x="1991" y="94"/>
                  </a:cubicBezTo>
                  <a:cubicBezTo>
                    <a:pt x="2012" y="97"/>
                    <a:pt x="2034" y="103"/>
                    <a:pt x="2051" y="114"/>
                  </a:cubicBezTo>
                  <a:cubicBezTo>
                    <a:pt x="2036" y="102"/>
                    <a:pt x="2012" y="89"/>
                    <a:pt x="1977" y="87"/>
                  </a:cubicBezTo>
                  <a:lnTo>
                    <a:pt x="1923" y="67"/>
                  </a:lnTo>
                  <a:lnTo>
                    <a:pt x="1924" y="47"/>
                  </a:lnTo>
                  <a:lnTo>
                    <a:pt x="1915" y="65"/>
                  </a:lnTo>
                  <a:lnTo>
                    <a:pt x="1882" y="61"/>
                  </a:lnTo>
                  <a:cubicBezTo>
                    <a:pt x="1861" y="46"/>
                    <a:pt x="1865" y="12"/>
                    <a:pt x="1865" y="12"/>
                  </a:cubicBezTo>
                  <a:cubicBezTo>
                    <a:pt x="1856" y="42"/>
                    <a:pt x="1867" y="55"/>
                    <a:pt x="1878" y="61"/>
                  </a:cubicBezTo>
                  <a:lnTo>
                    <a:pt x="1862" y="61"/>
                  </a:lnTo>
                  <a:cubicBezTo>
                    <a:pt x="1852" y="43"/>
                    <a:pt x="1820" y="0"/>
                    <a:pt x="1739" y="54"/>
                  </a:cubicBezTo>
                  <a:lnTo>
                    <a:pt x="1733" y="54"/>
                  </a:lnTo>
                  <a:cubicBezTo>
                    <a:pt x="1704" y="36"/>
                    <a:pt x="1677" y="31"/>
                    <a:pt x="1656" y="31"/>
                  </a:cubicBezTo>
                  <a:cubicBezTo>
                    <a:pt x="1678" y="34"/>
                    <a:pt x="1701" y="44"/>
                    <a:pt x="1721" y="54"/>
                  </a:cubicBezTo>
                  <a:cubicBezTo>
                    <a:pt x="1675" y="57"/>
                    <a:pt x="1629" y="73"/>
                    <a:pt x="1587" y="96"/>
                  </a:cubicBezTo>
                  <a:cubicBezTo>
                    <a:pt x="1397" y="119"/>
                    <a:pt x="1346" y="240"/>
                    <a:pt x="1346" y="240"/>
                  </a:cubicBezTo>
                  <a:cubicBezTo>
                    <a:pt x="1399" y="142"/>
                    <a:pt x="1508" y="108"/>
                    <a:pt x="1583" y="97"/>
                  </a:cubicBezTo>
                  <a:cubicBezTo>
                    <a:pt x="1517" y="134"/>
                    <a:pt x="1459" y="186"/>
                    <a:pt x="1415" y="237"/>
                  </a:cubicBezTo>
                  <a:cubicBezTo>
                    <a:pt x="1368" y="265"/>
                    <a:pt x="1310" y="308"/>
                    <a:pt x="1260" y="373"/>
                  </a:cubicBezTo>
                  <a:cubicBezTo>
                    <a:pt x="1292" y="334"/>
                    <a:pt x="1340" y="287"/>
                    <a:pt x="1408" y="246"/>
                  </a:cubicBezTo>
                  <a:cubicBezTo>
                    <a:pt x="1372" y="288"/>
                    <a:pt x="1347" y="326"/>
                    <a:pt x="1339" y="350"/>
                  </a:cubicBezTo>
                  <a:cubicBezTo>
                    <a:pt x="1331" y="369"/>
                    <a:pt x="1322" y="395"/>
                    <a:pt x="1311" y="424"/>
                  </a:cubicBezTo>
                  <a:cubicBezTo>
                    <a:pt x="1291" y="448"/>
                    <a:pt x="1271" y="477"/>
                    <a:pt x="1255" y="506"/>
                  </a:cubicBezTo>
                  <a:cubicBezTo>
                    <a:pt x="1155" y="581"/>
                    <a:pt x="1155" y="699"/>
                    <a:pt x="1162" y="753"/>
                  </a:cubicBezTo>
                  <a:cubicBezTo>
                    <a:pt x="1083" y="882"/>
                    <a:pt x="1007" y="1031"/>
                    <a:pt x="1004" y="1126"/>
                  </a:cubicBezTo>
                  <a:cubicBezTo>
                    <a:pt x="1004" y="1126"/>
                    <a:pt x="1018" y="1057"/>
                    <a:pt x="1072" y="993"/>
                  </a:cubicBezTo>
                  <a:cubicBezTo>
                    <a:pt x="1056" y="1040"/>
                    <a:pt x="1045" y="1091"/>
                    <a:pt x="1039" y="1146"/>
                  </a:cubicBezTo>
                  <a:cubicBezTo>
                    <a:pt x="1039" y="1146"/>
                    <a:pt x="1052" y="1073"/>
                    <a:pt x="1081" y="983"/>
                  </a:cubicBezTo>
                  <a:lnTo>
                    <a:pt x="1086" y="977"/>
                  </a:lnTo>
                  <a:cubicBezTo>
                    <a:pt x="1076" y="1019"/>
                    <a:pt x="1072" y="1058"/>
                    <a:pt x="1080" y="1092"/>
                  </a:cubicBezTo>
                  <a:cubicBezTo>
                    <a:pt x="1080" y="1092"/>
                    <a:pt x="1104" y="1007"/>
                    <a:pt x="1146" y="930"/>
                  </a:cubicBezTo>
                  <a:lnTo>
                    <a:pt x="1166" y="920"/>
                  </a:lnTo>
                  <a:cubicBezTo>
                    <a:pt x="1158" y="950"/>
                    <a:pt x="1151" y="980"/>
                    <a:pt x="1145" y="1009"/>
                  </a:cubicBezTo>
                  <a:cubicBezTo>
                    <a:pt x="1131" y="1042"/>
                    <a:pt x="1117" y="1074"/>
                    <a:pt x="1102" y="1097"/>
                  </a:cubicBezTo>
                  <a:cubicBezTo>
                    <a:pt x="1112" y="1083"/>
                    <a:pt x="1126" y="1063"/>
                    <a:pt x="1139" y="1039"/>
                  </a:cubicBezTo>
                  <a:lnTo>
                    <a:pt x="1133" y="1077"/>
                  </a:lnTo>
                  <a:cubicBezTo>
                    <a:pt x="1104" y="1115"/>
                    <a:pt x="1072" y="1168"/>
                    <a:pt x="1051" y="1240"/>
                  </a:cubicBezTo>
                  <a:cubicBezTo>
                    <a:pt x="992" y="1269"/>
                    <a:pt x="956" y="1284"/>
                    <a:pt x="992" y="1286"/>
                  </a:cubicBezTo>
                  <a:lnTo>
                    <a:pt x="1040" y="1280"/>
                  </a:lnTo>
                  <a:cubicBezTo>
                    <a:pt x="1031" y="1323"/>
                    <a:pt x="1025" y="1371"/>
                    <a:pt x="1025" y="1426"/>
                  </a:cubicBezTo>
                  <a:cubicBezTo>
                    <a:pt x="996" y="1420"/>
                    <a:pt x="969" y="1400"/>
                    <a:pt x="947" y="1355"/>
                  </a:cubicBezTo>
                  <a:cubicBezTo>
                    <a:pt x="947" y="1355"/>
                    <a:pt x="953" y="1432"/>
                    <a:pt x="998" y="1455"/>
                  </a:cubicBezTo>
                  <a:lnTo>
                    <a:pt x="956" y="1481"/>
                  </a:lnTo>
                  <a:cubicBezTo>
                    <a:pt x="930" y="1472"/>
                    <a:pt x="906" y="1456"/>
                    <a:pt x="884" y="1431"/>
                  </a:cubicBezTo>
                  <a:cubicBezTo>
                    <a:pt x="884" y="1431"/>
                    <a:pt x="903" y="1465"/>
                    <a:pt x="941" y="1490"/>
                  </a:cubicBezTo>
                  <a:cubicBezTo>
                    <a:pt x="917" y="1505"/>
                    <a:pt x="894" y="1522"/>
                    <a:pt x="869" y="1541"/>
                  </a:cubicBezTo>
                  <a:lnTo>
                    <a:pt x="868" y="1542"/>
                  </a:lnTo>
                  <a:cubicBezTo>
                    <a:pt x="826" y="1525"/>
                    <a:pt x="790" y="1493"/>
                    <a:pt x="770" y="1438"/>
                  </a:cubicBezTo>
                  <a:cubicBezTo>
                    <a:pt x="770" y="1438"/>
                    <a:pt x="788" y="1506"/>
                    <a:pt x="837" y="1554"/>
                  </a:cubicBezTo>
                  <a:lnTo>
                    <a:pt x="806" y="1569"/>
                  </a:lnTo>
                  <a:cubicBezTo>
                    <a:pt x="745" y="1561"/>
                    <a:pt x="704" y="1573"/>
                    <a:pt x="683" y="1585"/>
                  </a:cubicBezTo>
                  <a:cubicBezTo>
                    <a:pt x="705" y="1577"/>
                    <a:pt x="740" y="1579"/>
                    <a:pt x="778" y="1584"/>
                  </a:cubicBezTo>
                  <a:cubicBezTo>
                    <a:pt x="692" y="1634"/>
                    <a:pt x="623" y="1709"/>
                    <a:pt x="612" y="1819"/>
                  </a:cubicBezTo>
                  <a:cubicBezTo>
                    <a:pt x="612" y="1819"/>
                    <a:pt x="659" y="1675"/>
                    <a:pt x="810" y="1589"/>
                  </a:cubicBezTo>
                  <a:lnTo>
                    <a:pt x="812" y="1589"/>
                  </a:lnTo>
                  <a:cubicBezTo>
                    <a:pt x="717" y="1676"/>
                    <a:pt x="635" y="1793"/>
                    <a:pt x="637" y="1936"/>
                  </a:cubicBezTo>
                  <a:cubicBezTo>
                    <a:pt x="595" y="2030"/>
                    <a:pt x="547" y="2141"/>
                    <a:pt x="505" y="2187"/>
                  </a:cubicBezTo>
                  <a:cubicBezTo>
                    <a:pt x="448" y="2249"/>
                    <a:pt x="436" y="2360"/>
                    <a:pt x="373" y="2450"/>
                  </a:cubicBezTo>
                  <a:cubicBezTo>
                    <a:pt x="309" y="2540"/>
                    <a:pt x="50" y="3122"/>
                    <a:pt x="25" y="3219"/>
                  </a:cubicBezTo>
                  <a:cubicBezTo>
                    <a:pt x="0" y="3316"/>
                    <a:pt x="57" y="3496"/>
                    <a:pt x="95" y="3517"/>
                  </a:cubicBezTo>
                  <a:close/>
                  <a:moveTo>
                    <a:pt x="2266" y="430"/>
                  </a:moveTo>
                  <a:cubicBezTo>
                    <a:pt x="2281" y="450"/>
                    <a:pt x="2293" y="477"/>
                    <a:pt x="2294" y="515"/>
                  </a:cubicBezTo>
                  <a:lnTo>
                    <a:pt x="2285" y="504"/>
                  </a:lnTo>
                  <a:lnTo>
                    <a:pt x="2278" y="485"/>
                  </a:lnTo>
                  <a:lnTo>
                    <a:pt x="2266" y="430"/>
                  </a:lnTo>
                  <a:close/>
                  <a:moveTo>
                    <a:pt x="2350" y="3288"/>
                  </a:moveTo>
                  <a:cubicBezTo>
                    <a:pt x="2381" y="3108"/>
                    <a:pt x="2381" y="2928"/>
                    <a:pt x="2381" y="2859"/>
                  </a:cubicBezTo>
                  <a:cubicBezTo>
                    <a:pt x="2381" y="2790"/>
                    <a:pt x="2507" y="2672"/>
                    <a:pt x="2501" y="2609"/>
                  </a:cubicBezTo>
                  <a:cubicBezTo>
                    <a:pt x="2501" y="2609"/>
                    <a:pt x="2709" y="2811"/>
                    <a:pt x="2760" y="2838"/>
                  </a:cubicBezTo>
                  <a:cubicBezTo>
                    <a:pt x="2810" y="2866"/>
                    <a:pt x="2937" y="2998"/>
                    <a:pt x="2950" y="3066"/>
                  </a:cubicBezTo>
                  <a:cubicBezTo>
                    <a:pt x="2962" y="3136"/>
                    <a:pt x="2950" y="3150"/>
                    <a:pt x="2918" y="3246"/>
                  </a:cubicBezTo>
                  <a:cubicBezTo>
                    <a:pt x="2886" y="3344"/>
                    <a:pt x="2804" y="3413"/>
                    <a:pt x="2785" y="3558"/>
                  </a:cubicBezTo>
                  <a:cubicBezTo>
                    <a:pt x="2766" y="3704"/>
                    <a:pt x="2804" y="3655"/>
                    <a:pt x="2741" y="3746"/>
                  </a:cubicBezTo>
                  <a:cubicBezTo>
                    <a:pt x="2678" y="3836"/>
                    <a:pt x="2615" y="3946"/>
                    <a:pt x="2615" y="3989"/>
                  </a:cubicBezTo>
                  <a:cubicBezTo>
                    <a:pt x="2615" y="4030"/>
                    <a:pt x="2469" y="3587"/>
                    <a:pt x="2400" y="3531"/>
                  </a:cubicBezTo>
                  <a:cubicBezTo>
                    <a:pt x="2330" y="3475"/>
                    <a:pt x="2317" y="3468"/>
                    <a:pt x="2350" y="3288"/>
                  </a:cubicBezTo>
                  <a:close/>
                  <a:moveTo>
                    <a:pt x="2230" y="400"/>
                  </a:moveTo>
                  <a:close/>
                  <a:moveTo>
                    <a:pt x="2198" y="1505"/>
                  </a:moveTo>
                  <a:lnTo>
                    <a:pt x="2200" y="1505"/>
                  </a:lnTo>
                  <a:lnTo>
                    <a:pt x="2199" y="1509"/>
                  </a:lnTo>
                  <a:lnTo>
                    <a:pt x="2198" y="1505"/>
                  </a:lnTo>
                  <a:close/>
                  <a:moveTo>
                    <a:pt x="2197" y="1489"/>
                  </a:moveTo>
                  <a:lnTo>
                    <a:pt x="2200" y="1448"/>
                  </a:lnTo>
                  <a:lnTo>
                    <a:pt x="2230" y="1388"/>
                  </a:lnTo>
                  <a:cubicBezTo>
                    <a:pt x="2226" y="1425"/>
                    <a:pt x="2218" y="1460"/>
                    <a:pt x="2205" y="1492"/>
                  </a:cubicBezTo>
                  <a:lnTo>
                    <a:pt x="2197" y="1489"/>
                  </a:lnTo>
                  <a:close/>
                  <a:moveTo>
                    <a:pt x="2195" y="356"/>
                  </a:moveTo>
                  <a:lnTo>
                    <a:pt x="2153" y="294"/>
                  </a:lnTo>
                  <a:cubicBezTo>
                    <a:pt x="2177" y="316"/>
                    <a:pt x="2203" y="347"/>
                    <a:pt x="2225" y="390"/>
                  </a:cubicBezTo>
                  <a:lnTo>
                    <a:pt x="2222" y="389"/>
                  </a:lnTo>
                  <a:lnTo>
                    <a:pt x="2195" y="356"/>
                  </a:lnTo>
                  <a:close/>
                  <a:moveTo>
                    <a:pt x="2130" y="1531"/>
                  </a:moveTo>
                  <a:lnTo>
                    <a:pt x="2167" y="1497"/>
                  </a:lnTo>
                  <a:lnTo>
                    <a:pt x="2182" y="1503"/>
                  </a:lnTo>
                  <a:lnTo>
                    <a:pt x="2191" y="1524"/>
                  </a:lnTo>
                  <a:lnTo>
                    <a:pt x="2174" y="1551"/>
                  </a:lnTo>
                  <a:cubicBezTo>
                    <a:pt x="2148" y="1539"/>
                    <a:pt x="2130" y="1530"/>
                    <a:pt x="2130" y="1530"/>
                  </a:cubicBezTo>
                  <a:lnTo>
                    <a:pt x="2130" y="1531"/>
                  </a:lnTo>
                  <a:close/>
                  <a:moveTo>
                    <a:pt x="1753" y="55"/>
                  </a:moveTo>
                  <a:cubicBezTo>
                    <a:pt x="1783" y="44"/>
                    <a:pt x="1826" y="36"/>
                    <a:pt x="1847" y="62"/>
                  </a:cubicBezTo>
                  <a:cubicBezTo>
                    <a:pt x="1827" y="64"/>
                    <a:pt x="1814" y="68"/>
                    <a:pt x="1814" y="68"/>
                  </a:cubicBezTo>
                  <a:cubicBezTo>
                    <a:pt x="1794" y="60"/>
                    <a:pt x="1773" y="56"/>
                    <a:pt x="1753" y="55"/>
                  </a:cubicBezTo>
                  <a:close/>
                  <a:moveTo>
                    <a:pt x="1292" y="484"/>
                  </a:moveTo>
                  <a:lnTo>
                    <a:pt x="1266" y="499"/>
                  </a:lnTo>
                  <a:cubicBezTo>
                    <a:pt x="1277" y="479"/>
                    <a:pt x="1292" y="457"/>
                    <a:pt x="1309" y="433"/>
                  </a:cubicBezTo>
                  <a:lnTo>
                    <a:pt x="1292" y="484"/>
                  </a:lnTo>
                  <a:close/>
                  <a:moveTo>
                    <a:pt x="1165" y="748"/>
                  </a:moveTo>
                  <a:cubicBezTo>
                    <a:pt x="1161" y="629"/>
                    <a:pt x="1203" y="557"/>
                    <a:pt x="1251" y="516"/>
                  </a:cubicBezTo>
                  <a:cubicBezTo>
                    <a:pt x="1239" y="539"/>
                    <a:pt x="1230" y="565"/>
                    <a:pt x="1225" y="591"/>
                  </a:cubicBezTo>
                  <a:cubicBezTo>
                    <a:pt x="1225" y="591"/>
                    <a:pt x="1235" y="556"/>
                    <a:pt x="1262" y="506"/>
                  </a:cubicBezTo>
                  <a:lnTo>
                    <a:pt x="1290" y="486"/>
                  </a:lnTo>
                  <a:cubicBezTo>
                    <a:pt x="1275" y="530"/>
                    <a:pt x="1261" y="576"/>
                    <a:pt x="1247" y="620"/>
                  </a:cubicBezTo>
                  <a:cubicBezTo>
                    <a:pt x="1221" y="658"/>
                    <a:pt x="1193" y="702"/>
                    <a:pt x="1165" y="748"/>
                  </a:cubicBezTo>
                  <a:close/>
                  <a:moveTo>
                    <a:pt x="838" y="1595"/>
                  </a:moveTo>
                  <a:lnTo>
                    <a:pt x="873" y="1602"/>
                  </a:lnTo>
                  <a:cubicBezTo>
                    <a:pt x="823" y="1651"/>
                    <a:pt x="777" y="1695"/>
                    <a:pt x="777" y="1695"/>
                  </a:cubicBezTo>
                  <a:cubicBezTo>
                    <a:pt x="777" y="1695"/>
                    <a:pt x="733" y="1743"/>
                    <a:pt x="682" y="1840"/>
                  </a:cubicBezTo>
                  <a:lnTo>
                    <a:pt x="653" y="1901"/>
                  </a:lnTo>
                  <a:cubicBezTo>
                    <a:pt x="676" y="1832"/>
                    <a:pt x="727" y="1712"/>
                    <a:pt x="838" y="1595"/>
                  </a:cubicBezTo>
                  <a:close/>
                  <a:moveTo>
                    <a:pt x="887" y="1589"/>
                  </a:moveTo>
                  <a:lnTo>
                    <a:pt x="853" y="1579"/>
                  </a:lnTo>
                  <a:lnTo>
                    <a:pt x="859" y="1573"/>
                  </a:lnTo>
                  <a:lnTo>
                    <a:pt x="887" y="1589"/>
                  </a:lnTo>
                  <a:close/>
                  <a:moveTo>
                    <a:pt x="972" y="1507"/>
                  </a:moveTo>
                  <a:lnTo>
                    <a:pt x="969" y="1510"/>
                  </a:lnTo>
                  <a:lnTo>
                    <a:pt x="911" y="1527"/>
                  </a:lnTo>
                  <a:lnTo>
                    <a:pt x="950" y="1495"/>
                  </a:lnTo>
                  <a:lnTo>
                    <a:pt x="972" y="1507"/>
                  </a:lnTo>
                  <a:close/>
                  <a:moveTo>
                    <a:pt x="939" y="1540"/>
                  </a:moveTo>
                  <a:lnTo>
                    <a:pt x="922" y="1556"/>
                  </a:lnTo>
                  <a:lnTo>
                    <a:pt x="898" y="1551"/>
                  </a:lnTo>
                  <a:lnTo>
                    <a:pt x="939" y="1540"/>
                  </a:lnTo>
                  <a:close/>
                  <a:moveTo>
                    <a:pt x="1012" y="1460"/>
                  </a:moveTo>
                  <a:lnTo>
                    <a:pt x="998" y="1479"/>
                  </a:lnTo>
                  <a:lnTo>
                    <a:pt x="989" y="1489"/>
                  </a:lnTo>
                  <a:lnTo>
                    <a:pt x="966" y="1484"/>
                  </a:lnTo>
                  <a:lnTo>
                    <a:pt x="1004" y="1458"/>
                  </a:lnTo>
                  <a:lnTo>
                    <a:pt x="1012" y="1460"/>
                  </a:lnTo>
                  <a:close/>
                  <a:moveTo>
                    <a:pt x="1068" y="1271"/>
                  </a:moveTo>
                  <a:lnTo>
                    <a:pt x="1093" y="1260"/>
                  </a:lnTo>
                  <a:cubicBezTo>
                    <a:pt x="1077" y="1312"/>
                    <a:pt x="1057" y="1363"/>
                    <a:pt x="1039" y="1405"/>
                  </a:cubicBezTo>
                  <a:cubicBezTo>
                    <a:pt x="1045" y="1365"/>
                    <a:pt x="1054" y="1319"/>
                    <a:pt x="1068" y="1271"/>
                  </a:cubicBezTo>
                  <a:close/>
                  <a:moveTo>
                    <a:pt x="1123" y="1145"/>
                  </a:moveTo>
                  <a:lnTo>
                    <a:pt x="1107" y="1211"/>
                  </a:lnTo>
                  <a:lnTo>
                    <a:pt x="1086" y="1222"/>
                  </a:lnTo>
                  <a:cubicBezTo>
                    <a:pt x="1096" y="1196"/>
                    <a:pt x="1109" y="1170"/>
                    <a:pt x="1123" y="1145"/>
                  </a:cubicBezTo>
                  <a:close/>
                  <a:moveTo>
                    <a:pt x="506" y="3282"/>
                  </a:moveTo>
                  <a:cubicBezTo>
                    <a:pt x="550" y="3205"/>
                    <a:pt x="765" y="2859"/>
                    <a:pt x="865" y="2644"/>
                  </a:cubicBezTo>
                  <a:cubicBezTo>
                    <a:pt x="865" y="2644"/>
                    <a:pt x="1263" y="3462"/>
                    <a:pt x="1137" y="4023"/>
                  </a:cubicBezTo>
                  <a:cubicBezTo>
                    <a:pt x="1137" y="4023"/>
                    <a:pt x="979" y="3843"/>
                    <a:pt x="935" y="3746"/>
                  </a:cubicBezTo>
                  <a:cubicBezTo>
                    <a:pt x="891" y="3649"/>
                    <a:pt x="790" y="3655"/>
                    <a:pt x="727" y="3600"/>
                  </a:cubicBezTo>
                  <a:cubicBezTo>
                    <a:pt x="664" y="3545"/>
                    <a:pt x="569" y="3406"/>
                    <a:pt x="569" y="3406"/>
                  </a:cubicBezTo>
                  <a:cubicBezTo>
                    <a:pt x="569" y="3406"/>
                    <a:pt x="461" y="3358"/>
                    <a:pt x="506" y="3282"/>
                  </a:cubicBezTo>
                  <a:close/>
                  <a:moveTo>
                    <a:pt x="663" y="1598"/>
                  </a:moveTo>
                  <a:lnTo>
                    <a:pt x="684" y="1585"/>
                  </a:lnTo>
                  <a:lnTo>
                    <a:pt x="664" y="1598"/>
                  </a:lnTo>
                  <a:lnTo>
                    <a:pt x="663" y="1598"/>
                  </a:lnTo>
                  <a:close/>
                  <a:moveTo>
                    <a:pt x="1620" y="36"/>
                  </a:moveTo>
                  <a:cubicBezTo>
                    <a:pt x="1620" y="36"/>
                    <a:pt x="1635" y="31"/>
                    <a:pt x="1657" y="31"/>
                  </a:cubicBezTo>
                  <a:lnTo>
                    <a:pt x="1620" y="36"/>
                  </a:lnTo>
                  <a:close/>
                  <a:moveTo>
                    <a:pt x="2051" y="113"/>
                  </a:moveTo>
                  <a:lnTo>
                    <a:pt x="2065" y="127"/>
                  </a:lnTo>
                  <a:lnTo>
                    <a:pt x="2051" y="113"/>
                  </a:lnTo>
                  <a:close/>
                  <a:moveTo>
                    <a:pt x="2067" y="130"/>
                  </a:moveTo>
                  <a:lnTo>
                    <a:pt x="2065" y="127"/>
                  </a:lnTo>
                  <a:lnTo>
                    <a:pt x="2067" y="130"/>
                  </a:lnTo>
                  <a:close/>
                  <a:moveTo>
                    <a:pt x="1202" y="467"/>
                  </a:moveTo>
                  <a:cubicBezTo>
                    <a:pt x="1219" y="431"/>
                    <a:pt x="1239" y="400"/>
                    <a:pt x="1261" y="373"/>
                  </a:cubicBezTo>
                  <a:cubicBezTo>
                    <a:pt x="1217" y="426"/>
                    <a:pt x="1202" y="467"/>
                    <a:pt x="1202" y="467"/>
                  </a:cubicBezTo>
                  <a:close/>
                  <a:moveTo>
                    <a:pt x="1102" y="1097"/>
                  </a:moveTo>
                  <a:lnTo>
                    <a:pt x="1080" y="1125"/>
                  </a:lnTo>
                  <a:lnTo>
                    <a:pt x="1102" y="1097"/>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74" name="Freeform 37">
              <a:extLst>
                <a:ext uri="{FF2B5EF4-FFF2-40B4-BE49-F238E27FC236}">
                  <a16:creationId xmlns:a16="http://schemas.microsoft.com/office/drawing/2014/main" id="{BC1A4A15-12A3-416C-8591-75D3EE4F0296}"/>
                </a:ext>
              </a:extLst>
            </p:cNvPr>
            <p:cNvSpPr>
              <a:spLocks noEditPoints="1"/>
            </p:cNvSpPr>
            <p:nvPr/>
          </p:nvSpPr>
          <p:spPr bwMode="auto">
            <a:xfrm>
              <a:off x="3247" y="2614"/>
              <a:ext cx="2013" cy="1249"/>
            </a:xfrm>
            <a:custGeom>
              <a:avLst/>
              <a:gdLst>
                <a:gd name="T0" fmla="*/ 11100 w 16447"/>
                <a:gd name="T1" fmla="*/ 1513 h 10185"/>
                <a:gd name="T2" fmla="*/ 10770 w 16447"/>
                <a:gd name="T3" fmla="*/ 4474 h 10185"/>
                <a:gd name="T4" fmla="*/ 11130 w 16447"/>
                <a:gd name="T5" fmla="*/ 9203 h 10185"/>
                <a:gd name="T6" fmla="*/ 11575 w 16447"/>
                <a:gd name="T7" fmla="*/ 9106 h 10185"/>
                <a:gd name="T8" fmla="*/ 11820 w 16447"/>
                <a:gd name="T9" fmla="*/ 5589 h 10185"/>
                <a:gd name="T10" fmla="*/ 12368 w 16447"/>
                <a:gd name="T11" fmla="*/ 9013 h 10185"/>
                <a:gd name="T12" fmla="*/ 13070 w 16447"/>
                <a:gd name="T13" fmla="*/ 10148 h 10185"/>
                <a:gd name="T14" fmla="*/ 13009 w 16447"/>
                <a:gd name="T15" fmla="*/ 8041 h 10185"/>
                <a:gd name="T16" fmla="*/ 13136 w 16447"/>
                <a:gd name="T17" fmla="*/ 3558 h 10185"/>
                <a:gd name="T18" fmla="*/ 12197 w 16447"/>
                <a:gd name="T19" fmla="*/ 899 h 10185"/>
                <a:gd name="T20" fmla="*/ 1443 w 16447"/>
                <a:gd name="T21" fmla="*/ 806 h 10185"/>
                <a:gd name="T22" fmla="*/ 906 w 16447"/>
                <a:gd name="T23" fmla="*/ 1854 h 10185"/>
                <a:gd name="T24" fmla="*/ 211 w 16447"/>
                <a:gd name="T25" fmla="*/ 3833 h 10185"/>
                <a:gd name="T26" fmla="*/ 97 w 16447"/>
                <a:gd name="T27" fmla="*/ 5229 h 10185"/>
                <a:gd name="T28" fmla="*/ 315 w 16447"/>
                <a:gd name="T29" fmla="*/ 5347 h 10185"/>
                <a:gd name="T30" fmla="*/ 469 w 16447"/>
                <a:gd name="T31" fmla="*/ 5231 h 10185"/>
                <a:gd name="T32" fmla="*/ 689 w 16447"/>
                <a:gd name="T33" fmla="*/ 4844 h 10185"/>
                <a:gd name="T34" fmla="*/ 443 w 16447"/>
                <a:gd name="T35" fmla="*/ 8461 h 10185"/>
                <a:gd name="T36" fmla="*/ 988 w 16447"/>
                <a:gd name="T37" fmla="*/ 9260 h 10185"/>
                <a:gd name="T38" fmla="*/ 2032 w 16447"/>
                <a:gd name="T39" fmla="*/ 8819 h 10185"/>
                <a:gd name="T40" fmla="*/ 2336 w 16447"/>
                <a:gd name="T41" fmla="*/ 9979 h 10185"/>
                <a:gd name="T42" fmla="*/ 2667 w 16447"/>
                <a:gd name="T43" fmla="*/ 8991 h 10185"/>
                <a:gd name="T44" fmla="*/ 2713 w 16447"/>
                <a:gd name="T45" fmla="*/ 5008 h 10185"/>
                <a:gd name="T46" fmla="*/ 2906 w 16447"/>
                <a:gd name="T47" fmla="*/ 5620 h 10185"/>
                <a:gd name="T48" fmla="*/ 3184 w 16447"/>
                <a:gd name="T49" fmla="*/ 5543 h 10185"/>
                <a:gd name="T50" fmla="*/ 2575 w 16447"/>
                <a:gd name="T51" fmla="*/ 1847 h 10185"/>
                <a:gd name="T52" fmla="*/ 2408 w 16447"/>
                <a:gd name="T53" fmla="*/ 872 h 10185"/>
                <a:gd name="T54" fmla="*/ 8279 w 16447"/>
                <a:gd name="T55" fmla="*/ 419 h 10185"/>
                <a:gd name="T56" fmla="*/ 7892 w 16447"/>
                <a:gd name="T57" fmla="*/ 1535 h 10185"/>
                <a:gd name="T58" fmla="*/ 6851 w 16447"/>
                <a:gd name="T59" fmla="*/ 3872 h 10185"/>
                <a:gd name="T60" fmla="*/ 7094 w 16447"/>
                <a:gd name="T61" fmla="*/ 5680 h 10185"/>
                <a:gd name="T62" fmla="*/ 7297 w 16447"/>
                <a:gd name="T63" fmla="*/ 4481 h 10185"/>
                <a:gd name="T64" fmla="*/ 8447 w 16447"/>
                <a:gd name="T65" fmla="*/ 6870 h 10185"/>
                <a:gd name="T66" fmla="*/ 8459 w 16447"/>
                <a:gd name="T67" fmla="*/ 9238 h 10185"/>
                <a:gd name="T68" fmla="*/ 9463 w 16447"/>
                <a:gd name="T69" fmla="*/ 9231 h 10185"/>
                <a:gd name="T70" fmla="*/ 9602 w 16447"/>
                <a:gd name="T71" fmla="*/ 8789 h 10185"/>
                <a:gd name="T72" fmla="*/ 9694 w 16447"/>
                <a:gd name="T73" fmla="*/ 6367 h 10185"/>
                <a:gd name="T74" fmla="*/ 9750 w 16447"/>
                <a:gd name="T75" fmla="*/ 3919 h 10185"/>
                <a:gd name="T76" fmla="*/ 8458 w 16447"/>
                <a:gd name="T77" fmla="*/ 1715 h 10185"/>
                <a:gd name="T78" fmla="*/ 14838 w 16447"/>
                <a:gd name="T79" fmla="*/ 481 h 10185"/>
                <a:gd name="T80" fmla="*/ 14086 w 16447"/>
                <a:gd name="T81" fmla="*/ 2197 h 10185"/>
                <a:gd name="T82" fmla="*/ 13728 w 16447"/>
                <a:gd name="T83" fmla="*/ 5665 h 10185"/>
                <a:gd name="T84" fmla="*/ 13497 w 16447"/>
                <a:gd name="T85" fmla="*/ 8932 h 10185"/>
                <a:gd name="T86" fmla="*/ 13870 w 16447"/>
                <a:gd name="T87" fmla="*/ 9958 h 10185"/>
                <a:gd name="T88" fmla="*/ 15125 w 16447"/>
                <a:gd name="T89" fmla="*/ 5742 h 10185"/>
                <a:gd name="T90" fmla="*/ 15322 w 16447"/>
                <a:gd name="T91" fmla="*/ 10038 h 10185"/>
                <a:gd name="T92" fmla="*/ 16092 w 16447"/>
                <a:gd name="T93" fmla="*/ 6274 h 10185"/>
                <a:gd name="T94" fmla="*/ 16250 w 16447"/>
                <a:gd name="T95" fmla="*/ 3594 h 10185"/>
                <a:gd name="T96" fmla="*/ 15606 w 16447"/>
                <a:gd name="T97" fmla="*/ 1451 h 10185"/>
                <a:gd name="T98" fmla="*/ 14838 w 16447"/>
                <a:gd name="T99" fmla="*/ 481 h 10185"/>
                <a:gd name="T100" fmla="*/ 4879 w 16447"/>
                <a:gd name="T101" fmla="*/ 1594 h 10185"/>
                <a:gd name="T102" fmla="*/ 3904 w 16447"/>
                <a:gd name="T103" fmla="*/ 4967 h 10185"/>
                <a:gd name="T104" fmla="*/ 3132 w 16447"/>
                <a:gd name="T105" fmla="*/ 8041 h 10185"/>
                <a:gd name="T106" fmla="*/ 4333 w 16447"/>
                <a:gd name="T107" fmla="*/ 9643 h 10185"/>
                <a:gd name="T108" fmla="*/ 4849 w 16447"/>
                <a:gd name="T109" fmla="*/ 9512 h 10185"/>
                <a:gd name="T110" fmla="*/ 5016 w 16447"/>
                <a:gd name="T111" fmla="*/ 8174 h 10185"/>
                <a:gd name="T112" fmla="*/ 6248 w 16447"/>
                <a:gd name="T113" fmla="*/ 9820 h 10185"/>
                <a:gd name="T114" fmla="*/ 5874 w 16447"/>
                <a:gd name="T115" fmla="*/ 6358 h 10185"/>
                <a:gd name="T116" fmla="*/ 6394 w 16447"/>
                <a:gd name="T117" fmla="*/ 4481 h 10185"/>
                <a:gd name="T118" fmla="*/ 5447 w 16447"/>
                <a:gd name="T119" fmla="*/ 1747 h 10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447" h="10185">
                  <a:moveTo>
                    <a:pt x="11908" y="0"/>
                  </a:moveTo>
                  <a:cubicBezTo>
                    <a:pt x="11728" y="4"/>
                    <a:pt x="11583" y="80"/>
                    <a:pt x="11517" y="204"/>
                  </a:cubicBezTo>
                  <a:cubicBezTo>
                    <a:pt x="11447" y="334"/>
                    <a:pt x="11433" y="508"/>
                    <a:pt x="11470" y="762"/>
                  </a:cubicBezTo>
                  <a:cubicBezTo>
                    <a:pt x="11492" y="912"/>
                    <a:pt x="11507" y="1076"/>
                    <a:pt x="11501" y="1112"/>
                  </a:cubicBezTo>
                  <a:cubicBezTo>
                    <a:pt x="11498" y="1129"/>
                    <a:pt x="11507" y="1162"/>
                    <a:pt x="11524" y="1204"/>
                  </a:cubicBezTo>
                  <a:cubicBezTo>
                    <a:pt x="11528" y="1215"/>
                    <a:pt x="11533" y="1225"/>
                    <a:pt x="11537" y="1234"/>
                  </a:cubicBezTo>
                  <a:lnTo>
                    <a:pt x="11461" y="1310"/>
                  </a:lnTo>
                  <a:cubicBezTo>
                    <a:pt x="11451" y="1310"/>
                    <a:pt x="11188" y="1458"/>
                    <a:pt x="11100" y="1513"/>
                  </a:cubicBezTo>
                  <a:cubicBezTo>
                    <a:pt x="11059" y="1538"/>
                    <a:pt x="10958" y="1595"/>
                    <a:pt x="10875" y="1639"/>
                  </a:cubicBezTo>
                  <a:cubicBezTo>
                    <a:pt x="10481" y="1847"/>
                    <a:pt x="10402" y="1940"/>
                    <a:pt x="10350" y="2257"/>
                  </a:cubicBezTo>
                  <a:cubicBezTo>
                    <a:pt x="10328" y="2389"/>
                    <a:pt x="10321" y="2457"/>
                    <a:pt x="10288" y="2842"/>
                  </a:cubicBezTo>
                  <a:cubicBezTo>
                    <a:pt x="10253" y="3242"/>
                    <a:pt x="10249" y="3329"/>
                    <a:pt x="10260" y="3441"/>
                  </a:cubicBezTo>
                  <a:cubicBezTo>
                    <a:pt x="10272" y="3567"/>
                    <a:pt x="10289" y="3629"/>
                    <a:pt x="10340" y="3735"/>
                  </a:cubicBezTo>
                  <a:cubicBezTo>
                    <a:pt x="10395" y="3851"/>
                    <a:pt x="10462" y="3938"/>
                    <a:pt x="10616" y="4098"/>
                  </a:cubicBezTo>
                  <a:cubicBezTo>
                    <a:pt x="10781" y="4270"/>
                    <a:pt x="10812" y="4308"/>
                    <a:pt x="10807" y="4333"/>
                  </a:cubicBezTo>
                  <a:cubicBezTo>
                    <a:pt x="10804" y="4344"/>
                    <a:pt x="10788" y="4408"/>
                    <a:pt x="10770" y="4474"/>
                  </a:cubicBezTo>
                  <a:cubicBezTo>
                    <a:pt x="10731" y="4625"/>
                    <a:pt x="10720" y="4727"/>
                    <a:pt x="10720" y="4962"/>
                  </a:cubicBezTo>
                  <a:cubicBezTo>
                    <a:pt x="10721" y="5181"/>
                    <a:pt x="10727" y="5265"/>
                    <a:pt x="10773" y="5647"/>
                  </a:cubicBezTo>
                  <a:cubicBezTo>
                    <a:pt x="10828" y="6101"/>
                    <a:pt x="10825" y="6055"/>
                    <a:pt x="10857" y="6875"/>
                  </a:cubicBezTo>
                  <a:cubicBezTo>
                    <a:pt x="10884" y="7546"/>
                    <a:pt x="10912" y="7985"/>
                    <a:pt x="10954" y="8377"/>
                  </a:cubicBezTo>
                  <a:cubicBezTo>
                    <a:pt x="10966" y="8486"/>
                    <a:pt x="10977" y="8653"/>
                    <a:pt x="10980" y="8748"/>
                  </a:cubicBezTo>
                  <a:cubicBezTo>
                    <a:pt x="10986" y="8937"/>
                    <a:pt x="10998" y="9012"/>
                    <a:pt x="11034" y="9085"/>
                  </a:cubicBezTo>
                  <a:cubicBezTo>
                    <a:pt x="11066" y="9148"/>
                    <a:pt x="11079" y="9162"/>
                    <a:pt x="11114" y="9169"/>
                  </a:cubicBezTo>
                  <a:cubicBezTo>
                    <a:pt x="11149" y="9175"/>
                    <a:pt x="11148" y="9175"/>
                    <a:pt x="11130" y="9203"/>
                  </a:cubicBezTo>
                  <a:cubicBezTo>
                    <a:pt x="11107" y="9238"/>
                    <a:pt x="11105" y="9311"/>
                    <a:pt x="11125" y="9438"/>
                  </a:cubicBezTo>
                  <a:cubicBezTo>
                    <a:pt x="11135" y="9503"/>
                    <a:pt x="11149" y="9586"/>
                    <a:pt x="11153" y="9622"/>
                  </a:cubicBezTo>
                  <a:cubicBezTo>
                    <a:pt x="11165" y="9705"/>
                    <a:pt x="11203" y="9766"/>
                    <a:pt x="11276" y="9818"/>
                  </a:cubicBezTo>
                  <a:cubicBezTo>
                    <a:pt x="11366" y="9883"/>
                    <a:pt x="11490" y="9899"/>
                    <a:pt x="11604" y="9861"/>
                  </a:cubicBezTo>
                  <a:cubicBezTo>
                    <a:pt x="11691" y="9832"/>
                    <a:pt x="11698" y="9825"/>
                    <a:pt x="11706" y="9767"/>
                  </a:cubicBezTo>
                  <a:cubicBezTo>
                    <a:pt x="11716" y="9690"/>
                    <a:pt x="11698" y="9603"/>
                    <a:pt x="11634" y="9412"/>
                  </a:cubicBezTo>
                  <a:cubicBezTo>
                    <a:pt x="11573" y="9225"/>
                    <a:pt x="11560" y="9176"/>
                    <a:pt x="11559" y="9129"/>
                  </a:cubicBezTo>
                  <a:cubicBezTo>
                    <a:pt x="11559" y="9105"/>
                    <a:pt x="11562" y="9101"/>
                    <a:pt x="11575" y="9106"/>
                  </a:cubicBezTo>
                  <a:cubicBezTo>
                    <a:pt x="11583" y="9110"/>
                    <a:pt x="11600" y="9113"/>
                    <a:pt x="11613" y="9114"/>
                  </a:cubicBezTo>
                  <a:cubicBezTo>
                    <a:pt x="11640" y="9115"/>
                    <a:pt x="11640" y="9111"/>
                    <a:pt x="11609" y="8976"/>
                  </a:cubicBezTo>
                  <a:cubicBezTo>
                    <a:pt x="11545" y="8697"/>
                    <a:pt x="11538" y="8569"/>
                    <a:pt x="11538" y="7860"/>
                  </a:cubicBezTo>
                  <a:cubicBezTo>
                    <a:pt x="11538" y="7185"/>
                    <a:pt x="11536" y="7210"/>
                    <a:pt x="11604" y="6729"/>
                  </a:cubicBezTo>
                  <a:cubicBezTo>
                    <a:pt x="11655" y="6361"/>
                    <a:pt x="11660" y="6286"/>
                    <a:pt x="11651" y="6040"/>
                  </a:cubicBezTo>
                  <a:cubicBezTo>
                    <a:pt x="11638" y="5673"/>
                    <a:pt x="11643" y="5566"/>
                    <a:pt x="11685" y="5433"/>
                  </a:cubicBezTo>
                  <a:cubicBezTo>
                    <a:pt x="11706" y="5366"/>
                    <a:pt x="11715" y="5355"/>
                    <a:pt x="11726" y="5384"/>
                  </a:cubicBezTo>
                  <a:cubicBezTo>
                    <a:pt x="11731" y="5395"/>
                    <a:pt x="11772" y="5488"/>
                    <a:pt x="11820" y="5589"/>
                  </a:cubicBezTo>
                  <a:cubicBezTo>
                    <a:pt x="12005" y="5990"/>
                    <a:pt x="12061" y="6169"/>
                    <a:pt x="12080" y="6416"/>
                  </a:cubicBezTo>
                  <a:cubicBezTo>
                    <a:pt x="12091" y="6559"/>
                    <a:pt x="12098" y="6587"/>
                    <a:pt x="12138" y="6643"/>
                  </a:cubicBezTo>
                  <a:cubicBezTo>
                    <a:pt x="12193" y="6719"/>
                    <a:pt x="12212" y="6764"/>
                    <a:pt x="12221" y="6838"/>
                  </a:cubicBezTo>
                  <a:cubicBezTo>
                    <a:pt x="12232" y="6926"/>
                    <a:pt x="12245" y="6958"/>
                    <a:pt x="12297" y="7026"/>
                  </a:cubicBezTo>
                  <a:cubicBezTo>
                    <a:pt x="12369" y="7119"/>
                    <a:pt x="12374" y="7151"/>
                    <a:pt x="12350" y="7365"/>
                  </a:cubicBezTo>
                  <a:cubicBezTo>
                    <a:pt x="12337" y="7484"/>
                    <a:pt x="12339" y="7564"/>
                    <a:pt x="12365" y="7767"/>
                  </a:cubicBezTo>
                  <a:cubicBezTo>
                    <a:pt x="12380" y="7890"/>
                    <a:pt x="12378" y="8100"/>
                    <a:pt x="12360" y="8208"/>
                  </a:cubicBezTo>
                  <a:cubicBezTo>
                    <a:pt x="12331" y="8392"/>
                    <a:pt x="12331" y="8518"/>
                    <a:pt x="12368" y="9013"/>
                  </a:cubicBezTo>
                  <a:cubicBezTo>
                    <a:pt x="12376" y="9117"/>
                    <a:pt x="12384" y="9300"/>
                    <a:pt x="12384" y="9419"/>
                  </a:cubicBezTo>
                  <a:lnTo>
                    <a:pt x="12385" y="9633"/>
                  </a:lnTo>
                  <a:lnTo>
                    <a:pt x="12422" y="9667"/>
                  </a:lnTo>
                  <a:cubicBezTo>
                    <a:pt x="12444" y="9686"/>
                    <a:pt x="12500" y="9717"/>
                    <a:pt x="12556" y="9741"/>
                  </a:cubicBezTo>
                  <a:lnTo>
                    <a:pt x="12653" y="9783"/>
                  </a:lnTo>
                  <a:lnTo>
                    <a:pt x="12664" y="9842"/>
                  </a:lnTo>
                  <a:cubicBezTo>
                    <a:pt x="12680" y="9937"/>
                    <a:pt x="12697" y="9983"/>
                    <a:pt x="12728" y="10006"/>
                  </a:cubicBezTo>
                  <a:cubicBezTo>
                    <a:pt x="12797" y="10057"/>
                    <a:pt x="12957" y="10124"/>
                    <a:pt x="13070" y="10148"/>
                  </a:cubicBezTo>
                  <a:cubicBezTo>
                    <a:pt x="13145" y="10165"/>
                    <a:pt x="13279" y="10160"/>
                    <a:pt x="13344" y="10138"/>
                  </a:cubicBezTo>
                  <a:cubicBezTo>
                    <a:pt x="13399" y="10119"/>
                    <a:pt x="13400" y="10115"/>
                    <a:pt x="13369" y="10033"/>
                  </a:cubicBezTo>
                  <a:cubicBezTo>
                    <a:pt x="13337" y="9945"/>
                    <a:pt x="13281" y="9867"/>
                    <a:pt x="13101" y="9654"/>
                  </a:cubicBezTo>
                  <a:cubicBezTo>
                    <a:pt x="13024" y="9563"/>
                    <a:pt x="12927" y="9422"/>
                    <a:pt x="12931" y="9408"/>
                  </a:cubicBezTo>
                  <a:cubicBezTo>
                    <a:pt x="12933" y="9403"/>
                    <a:pt x="12951" y="9393"/>
                    <a:pt x="12972" y="9386"/>
                  </a:cubicBezTo>
                  <a:lnTo>
                    <a:pt x="13011" y="9373"/>
                  </a:lnTo>
                  <a:lnTo>
                    <a:pt x="13004" y="9328"/>
                  </a:lnTo>
                  <a:cubicBezTo>
                    <a:pt x="12952" y="8924"/>
                    <a:pt x="12953" y="8708"/>
                    <a:pt x="13009" y="8041"/>
                  </a:cubicBezTo>
                  <a:cubicBezTo>
                    <a:pt x="13047" y="7587"/>
                    <a:pt x="13050" y="7456"/>
                    <a:pt x="13027" y="7313"/>
                  </a:cubicBezTo>
                  <a:cubicBezTo>
                    <a:pt x="13017" y="7250"/>
                    <a:pt x="12997" y="7066"/>
                    <a:pt x="12982" y="6906"/>
                  </a:cubicBezTo>
                  <a:cubicBezTo>
                    <a:pt x="12924" y="6280"/>
                    <a:pt x="12839" y="5598"/>
                    <a:pt x="12783" y="5308"/>
                  </a:cubicBezTo>
                  <a:cubicBezTo>
                    <a:pt x="12722" y="4995"/>
                    <a:pt x="12718" y="4760"/>
                    <a:pt x="12775" y="4658"/>
                  </a:cubicBezTo>
                  <a:cubicBezTo>
                    <a:pt x="12806" y="4603"/>
                    <a:pt x="12798" y="4581"/>
                    <a:pt x="12717" y="4495"/>
                  </a:cubicBezTo>
                  <a:cubicBezTo>
                    <a:pt x="12639" y="4413"/>
                    <a:pt x="12620" y="4387"/>
                    <a:pt x="12620" y="4364"/>
                  </a:cubicBezTo>
                  <a:cubicBezTo>
                    <a:pt x="12620" y="4342"/>
                    <a:pt x="12671" y="4269"/>
                    <a:pt x="12880" y="3991"/>
                  </a:cubicBezTo>
                  <a:cubicBezTo>
                    <a:pt x="13066" y="3745"/>
                    <a:pt x="13115" y="3661"/>
                    <a:pt x="13136" y="3558"/>
                  </a:cubicBezTo>
                  <a:cubicBezTo>
                    <a:pt x="13175" y="3365"/>
                    <a:pt x="13178" y="2497"/>
                    <a:pt x="13140" y="2185"/>
                  </a:cubicBezTo>
                  <a:cubicBezTo>
                    <a:pt x="13126" y="2074"/>
                    <a:pt x="13092" y="1927"/>
                    <a:pt x="13065" y="1866"/>
                  </a:cubicBezTo>
                  <a:cubicBezTo>
                    <a:pt x="13023" y="1773"/>
                    <a:pt x="12931" y="1711"/>
                    <a:pt x="12721" y="1637"/>
                  </a:cubicBezTo>
                  <a:cubicBezTo>
                    <a:pt x="12566" y="1581"/>
                    <a:pt x="12540" y="1569"/>
                    <a:pt x="12394" y="1472"/>
                  </a:cubicBezTo>
                  <a:cubicBezTo>
                    <a:pt x="12300" y="1409"/>
                    <a:pt x="12180" y="1335"/>
                    <a:pt x="12080" y="1281"/>
                  </a:cubicBezTo>
                  <a:lnTo>
                    <a:pt x="12113" y="1244"/>
                  </a:lnTo>
                  <a:lnTo>
                    <a:pt x="12128" y="1164"/>
                  </a:lnTo>
                  <a:cubicBezTo>
                    <a:pt x="12137" y="1121"/>
                    <a:pt x="12168" y="1001"/>
                    <a:pt x="12197" y="899"/>
                  </a:cubicBezTo>
                  <a:cubicBezTo>
                    <a:pt x="12281" y="604"/>
                    <a:pt x="12294" y="545"/>
                    <a:pt x="12299" y="400"/>
                  </a:cubicBezTo>
                  <a:cubicBezTo>
                    <a:pt x="12305" y="246"/>
                    <a:pt x="12293" y="196"/>
                    <a:pt x="12240" y="128"/>
                  </a:cubicBezTo>
                  <a:cubicBezTo>
                    <a:pt x="12173" y="43"/>
                    <a:pt x="12067" y="0"/>
                    <a:pt x="11926" y="0"/>
                  </a:cubicBezTo>
                  <a:cubicBezTo>
                    <a:pt x="11920" y="0"/>
                    <a:pt x="11914" y="0"/>
                    <a:pt x="11908" y="0"/>
                  </a:cubicBezTo>
                  <a:close/>
                  <a:moveTo>
                    <a:pt x="1868" y="189"/>
                  </a:moveTo>
                  <a:cubicBezTo>
                    <a:pt x="1798" y="190"/>
                    <a:pt x="1731" y="207"/>
                    <a:pt x="1664" y="242"/>
                  </a:cubicBezTo>
                  <a:cubicBezTo>
                    <a:pt x="1502" y="323"/>
                    <a:pt x="1428" y="475"/>
                    <a:pt x="1438" y="702"/>
                  </a:cubicBezTo>
                  <a:lnTo>
                    <a:pt x="1443" y="806"/>
                  </a:lnTo>
                  <a:lnTo>
                    <a:pt x="1405" y="801"/>
                  </a:lnTo>
                  <a:cubicBezTo>
                    <a:pt x="1354" y="794"/>
                    <a:pt x="1343" y="813"/>
                    <a:pt x="1350" y="900"/>
                  </a:cubicBezTo>
                  <a:cubicBezTo>
                    <a:pt x="1358" y="1008"/>
                    <a:pt x="1405" y="1088"/>
                    <a:pt x="1469" y="1102"/>
                  </a:cubicBezTo>
                  <a:cubicBezTo>
                    <a:pt x="1491" y="1107"/>
                    <a:pt x="1498" y="1118"/>
                    <a:pt x="1528" y="1192"/>
                  </a:cubicBezTo>
                  <a:cubicBezTo>
                    <a:pt x="1570" y="1299"/>
                    <a:pt x="1573" y="1325"/>
                    <a:pt x="1556" y="1458"/>
                  </a:cubicBezTo>
                  <a:cubicBezTo>
                    <a:pt x="1551" y="1497"/>
                    <a:pt x="1548" y="1528"/>
                    <a:pt x="1548" y="1556"/>
                  </a:cubicBezTo>
                  <a:cubicBezTo>
                    <a:pt x="1495" y="1595"/>
                    <a:pt x="1433" y="1644"/>
                    <a:pt x="1406" y="1670"/>
                  </a:cubicBezTo>
                  <a:cubicBezTo>
                    <a:pt x="1315" y="1755"/>
                    <a:pt x="1308" y="1758"/>
                    <a:pt x="906" y="1854"/>
                  </a:cubicBezTo>
                  <a:cubicBezTo>
                    <a:pt x="660" y="1913"/>
                    <a:pt x="564" y="1947"/>
                    <a:pt x="551" y="1981"/>
                  </a:cubicBezTo>
                  <a:cubicBezTo>
                    <a:pt x="546" y="1993"/>
                    <a:pt x="522" y="2093"/>
                    <a:pt x="499" y="2202"/>
                  </a:cubicBezTo>
                  <a:cubicBezTo>
                    <a:pt x="439" y="2472"/>
                    <a:pt x="437" y="2481"/>
                    <a:pt x="352" y="2695"/>
                  </a:cubicBezTo>
                  <a:cubicBezTo>
                    <a:pt x="255" y="2941"/>
                    <a:pt x="247" y="2980"/>
                    <a:pt x="262" y="3169"/>
                  </a:cubicBezTo>
                  <a:cubicBezTo>
                    <a:pt x="269" y="3247"/>
                    <a:pt x="274" y="3361"/>
                    <a:pt x="274" y="3421"/>
                  </a:cubicBezTo>
                  <a:lnTo>
                    <a:pt x="274" y="3531"/>
                  </a:lnTo>
                  <a:lnTo>
                    <a:pt x="232" y="3620"/>
                  </a:lnTo>
                  <a:cubicBezTo>
                    <a:pt x="184" y="3723"/>
                    <a:pt x="182" y="3746"/>
                    <a:pt x="211" y="3833"/>
                  </a:cubicBezTo>
                  <a:cubicBezTo>
                    <a:pt x="222" y="3866"/>
                    <a:pt x="234" y="3909"/>
                    <a:pt x="238" y="3926"/>
                  </a:cubicBezTo>
                  <a:cubicBezTo>
                    <a:pt x="245" y="3964"/>
                    <a:pt x="227" y="4056"/>
                    <a:pt x="190" y="4177"/>
                  </a:cubicBezTo>
                  <a:cubicBezTo>
                    <a:pt x="176" y="4224"/>
                    <a:pt x="158" y="4293"/>
                    <a:pt x="150" y="4330"/>
                  </a:cubicBezTo>
                  <a:cubicBezTo>
                    <a:pt x="135" y="4410"/>
                    <a:pt x="56" y="4940"/>
                    <a:pt x="48" y="5121"/>
                  </a:cubicBezTo>
                  <a:lnTo>
                    <a:pt x="42" y="5249"/>
                  </a:lnTo>
                  <a:lnTo>
                    <a:pt x="64" y="5229"/>
                  </a:lnTo>
                  <a:cubicBezTo>
                    <a:pt x="70" y="5223"/>
                    <a:pt x="87" y="5213"/>
                    <a:pt x="108" y="5203"/>
                  </a:cubicBezTo>
                  <a:cubicBezTo>
                    <a:pt x="104" y="5210"/>
                    <a:pt x="100" y="5218"/>
                    <a:pt x="97" y="5229"/>
                  </a:cubicBezTo>
                  <a:cubicBezTo>
                    <a:pt x="91" y="5250"/>
                    <a:pt x="72" y="5287"/>
                    <a:pt x="54" y="5312"/>
                  </a:cubicBezTo>
                  <a:cubicBezTo>
                    <a:pt x="1" y="5383"/>
                    <a:pt x="0" y="5400"/>
                    <a:pt x="32" y="5535"/>
                  </a:cubicBezTo>
                  <a:cubicBezTo>
                    <a:pt x="47" y="5599"/>
                    <a:pt x="67" y="5665"/>
                    <a:pt x="77" y="5680"/>
                  </a:cubicBezTo>
                  <a:cubicBezTo>
                    <a:pt x="110" y="5735"/>
                    <a:pt x="211" y="5812"/>
                    <a:pt x="286" y="5838"/>
                  </a:cubicBezTo>
                  <a:cubicBezTo>
                    <a:pt x="331" y="5855"/>
                    <a:pt x="375" y="5854"/>
                    <a:pt x="381" y="5837"/>
                  </a:cubicBezTo>
                  <a:cubicBezTo>
                    <a:pt x="384" y="5828"/>
                    <a:pt x="357" y="5763"/>
                    <a:pt x="315" y="5680"/>
                  </a:cubicBezTo>
                  <a:cubicBezTo>
                    <a:pt x="234" y="5521"/>
                    <a:pt x="219" y="5464"/>
                    <a:pt x="246" y="5411"/>
                  </a:cubicBezTo>
                  <a:cubicBezTo>
                    <a:pt x="260" y="5384"/>
                    <a:pt x="300" y="5347"/>
                    <a:pt x="315" y="5347"/>
                  </a:cubicBezTo>
                  <a:cubicBezTo>
                    <a:pt x="319" y="5347"/>
                    <a:pt x="323" y="5364"/>
                    <a:pt x="323" y="5385"/>
                  </a:cubicBezTo>
                  <a:cubicBezTo>
                    <a:pt x="323" y="5406"/>
                    <a:pt x="328" y="5431"/>
                    <a:pt x="335" y="5440"/>
                  </a:cubicBezTo>
                  <a:cubicBezTo>
                    <a:pt x="346" y="5455"/>
                    <a:pt x="345" y="5458"/>
                    <a:pt x="322" y="5472"/>
                  </a:cubicBezTo>
                  <a:cubicBezTo>
                    <a:pt x="308" y="5481"/>
                    <a:pt x="296" y="5495"/>
                    <a:pt x="296" y="5504"/>
                  </a:cubicBezTo>
                  <a:cubicBezTo>
                    <a:pt x="296" y="5528"/>
                    <a:pt x="323" y="5603"/>
                    <a:pt x="331" y="5603"/>
                  </a:cubicBezTo>
                  <a:cubicBezTo>
                    <a:pt x="335" y="5603"/>
                    <a:pt x="351" y="5593"/>
                    <a:pt x="366" y="5581"/>
                  </a:cubicBezTo>
                  <a:cubicBezTo>
                    <a:pt x="398" y="5554"/>
                    <a:pt x="420" y="5487"/>
                    <a:pt x="441" y="5349"/>
                  </a:cubicBezTo>
                  <a:cubicBezTo>
                    <a:pt x="448" y="5299"/>
                    <a:pt x="461" y="5246"/>
                    <a:pt x="469" y="5231"/>
                  </a:cubicBezTo>
                  <a:cubicBezTo>
                    <a:pt x="482" y="5207"/>
                    <a:pt x="482" y="5194"/>
                    <a:pt x="466" y="5179"/>
                  </a:cubicBezTo>
                  <a:cubicBezTo>
                    <a:pt x="479" y="5186"/>
                    <a:pt x="491" y="5192"/>
                    <a:pt x="505" y="5201"/>
                  </a:cubicBezTo>
                  <a:cubicBezTo>
                    <a:pt x="529" y="5215"/>
                    <a:pt x="549" y="5228"/>
                    <a:pt x="551" y="5228"/>
                  </a:cubicBezTo>
                  <a:cubicBezTo>
                    <a:pt x="556" y="5228"/>
                    <a:pt x="590" y="5098"/>
                    <a:pt x="600" y="5037"/>
                  </a:cubicBezTo>
                  <a:cubicBezTo>
                    <a:pt x="606" y="5008"/>
                    <a:pt x="668" y="4700"/>
                    <a:pt x="681" y="4606"/>
                  </a:cubicBezTo>
                  <a:cubicBezTo>
                    <a:pt x="706" y="4409"/>
                    <a:pt x="723" y="4322"/>
                    <a:pt x="749" y="4253"/>
                  </a:cubicBezTo>
                  <a:cubicBezTo>
                    <a:pt x="775" y="4181"/>
                    <a:pt x="782" y="4179"/>
                    <a:pt x="768" y="4247"/>
                  </a:cubicBezTo>
                  <a:cubicBezTo>
                    <a:pt x="746" y="4352"/>
                    <a:pt x="712" y="4604"/>
                    <a:pt x="689" y="4844"/>
                  </a:cubicBezTo>
                  <a:cubicBezTo>
                    <a:pt x="668" y="5059"/>
                    <a:pt x="656" y="5131"/>
                    <a:pt x="606" y="5365"/>
                  </a:cubicBezTo>
                  <a:cubicBezTo>
                    <a:pt x="596" y="5411"/>
                    <a:pt x="588" y="5477"/>
                    <a:pt x="588" y="5512"/>
                  </a:cubicBezTo>
                  <a:cubicBezTo>
                    <a:pt x="588" y="5581"/>
                    <a:pt x="601" y="5608"/>
                    <a:pt x="667" y="5678"/>
                  </a:cubicBezTo>
                  <a:cubicBezTo>
                    <a:pt x="719" y="5733"/>
                    <a:pt x="720" y="5739"/>
                    <a:pt x="706" y="5833"/>
                  </a:cubicBezTo>
                  <a:cubicBezTo>
                    <a:pt x="688" y="5958"/>
                    <a:pt x="691" y="6066"/>
                    <a:pt x="721" y="6331"/>
                  </a:cubicBezTo>
                  <a:cubicBezTo>
                    <a:pt x="756" y="6645"/>
                    <a:pt x="755" y="6761"/>
                    <a:pt x="712" y="6879"/>
                  </a:cubicBezTo>
                  <a:cubicBezTo>
                    <a:pt x="658" y="7030"/>
                    <a:pt x="649" y="7064"/>
                    <a:pt x="640" y="7153"/>
                  </a:cubicBezTo>
                  <a:cubicBezTo>
                    <a:pt x="607" y="7474"/>
                    <a:pt x="556" y="7812"/>
                    <a:pt x="443" y="8461"/>
                  </a:cubicBezTo>
                  <a:cubicBezTo>
                    <a:pt x="351" y="8985"/>
                    <a:pt x="346" y="9034"/>
                    <a:pt x="368" y="9198"/>
                  </a:cubicBezTo>
                  <a:cubicBezTo>
                    <a:pt x="384" y="9314"/>
                    <a:pt x="368" y="9371"/>
                    <a:pt x="261" y="9582"/>
                  </a:cubicBezTo>
                  <a:cubicBezTo>
                    <a:pt x="162" y="9778"/>
                    <a:pt x="141" y="9847"/>
                    <a:pt x="148" y="9955"/>
                  </a:cubicBezTo>
                  <a:cubicBezTo>
                    <a:pt x="150" y="9990"/>
                    <a:pt x="157" y="10026"/>
                    <a:pt x="163" y="10033"/>
                  </a:cubicBezTo>
                  <a:cubicBezTo>
                    <a:pt x="169" y="10041"/>
                    <a:pt x="196" y="10056"/>
                    <a:pt x="224" y="10070"/>
                  </a:cubicBezTo>
                  <a:cubicBezTo>
                    <a:pt x="467" y="10185"/>
                    <a:pt x="747" y="9985"/>
                    <a:pt x="770" y="9681"/>
                  </a:cubicBezTo>
                  <a:cubicBezTo>
                    <a:pt x="776" y="9612"/>
                    <a:pt x="777" y="9608"/>
                    <a:pt x="815" y="9566"/>
                  </a:cubicBezTo>
                  <a:cubicBezTo>
                    <a:pt x="870" y="9503"/>
                    <a:pt x="942" y="9378"/>
                    <a:pt x="988" y="9260"/>
                  </a:cubicBezTo>
                  <a:cubicBezTo>
                    <a:pt x="1028" y="9160"/>
                    <a:pt x="1279" y="8289"/>
                    <a:pt x="1347" y="8019"/>
                  </a:cubicBezTo>
                  <a:cubicBezTo>
                    <a:pt x="1387" y="7855"/>
                    <a:pt x="1425" y="7668"/>
                    <a:pt x="1493" y="7286"/>
                  </a:cubicBezTo>
                  <a:cubicBezTo>
                    <a:pt x="1571" y="6853"/>
                    <a:pt x="1618" y="6645"/>
                    <a:pt x="1684" y="6444"/>
                  </a:cubicBezTo>
                  <a:cubicBezTo>
                    <a:pt x="1702" y="6391"/>
                    <a:pt x="1714" y="6365"/>
                    <a:pt x="1718" y="6373"/>
                  </a:cubicBezTo>
                  <a:cubicBezTo>
                    <a:pt x="1729" y="6394"/>
                    <a:pt x="1804" y="6677"/>
                    <a:pt x="1837" y="6822"/>
                  </a:cubicBezTo>
                  <a:cubicBezTo>
                    <a:pt x="1901" y="7108"/>
                    <a:pt x="1936" y="7312"/>
                    <a:pt x="2002" y="7807"/>
                  </a:cubicBezTo>
                  <a:cubicBezTo>
                    <a:pt x="2044" y="8123"/>
                    <a:pt x="2051" y="8246"/>
                    <a:pt x="2038" y="8415"/>
                  </a:cubicBezTo>
                  <a:cubicBezTo>
                    <a:pt x="2016" y="8685"/>
                    <a:pt x="2016" y="8738"/>
                    <a:pt x="2032" y="8819"/>
                  </a:cubicBezTo>
                  <a:lnTo>
                    <a:pt x="2047" y="8894"/>
                  </a:lnTo>
                  <a:lnTo>
                    <a:pt x="2005" y="9022"/>
                  </a:lnTo>
                  <a:cubicBezTo>
                    <a:pt x="1972" y="9126"/>
                    <a:pt x="1963" y="9166"/>
                    <a:pt x="1959" y="9234"/>
                  </a:cubicBezTo>
                  <a:cubicBezTo>
                    <a:pt x="1954" y="9342"/>
                    <a:pt x="1960" y="9358"/>
                    <a:pt x="2061" y="9470"/>
                  </a:cubicBezTo>
                  <a:cubicBezTo>
                    <a:pt x="2105" y="9520"/>
                    <a:pt x="2148" y="9573"/>
                    <a:pt x="2156" y="9588"/>
                  </a:cubicBezTo>
                  <a:cubicBezTo>
                    <a:pt x="2165" y="9604"/>
                    <a:pt x="2177" y="9655"/>
                    <a:pt x="2183" y="9701"/>
                  </a:cubicBezTo>
                  <a:cubicBezTo>
                    <a:pt x="2194" y="9782"/>
                    <a:pt x="2197" y="9788"/>
                    <a:pt x="2249" y="9865"/>
                  </a:cubicBezTo>
                  <a:cubicBezTo>
                    <a:pt x="2279" y="9909"/>
                    <a:pt x="2318" y="9960"/>
                    <a:pt x="2336" y="9979"/>
                  </a:cubicBezTo>
                  <a:cubicBezTo>
                    <a:pt x="2400" y="10048"/>
                    <a:pt x="2504" y="10111"/>
                    <a:pt x="2589" y="10133"/>
                  </a:cubicBezTo>
                  <a:cubicBezTo>
                    <a:pt x="2687" y="10157"/>
                    <a:pt x="2814" y="10124"/>
                    <a:pt x="2844" y="10063"/>
                  </a:cubicBezTo>
                  <a:cubicBezTo>
                    <a:pt x="2862" y="10028"/>
                    <a:pt x="2861" y="10016"/>
                    <a:pt x="2845" y="9918"/>
                  </a:cubicBezTo>
                  <a:cubicBezTo>
                    <a:pt x="2825" y="9802"/>
                    <a:pt x="2803" y="9744"/>
                    <a:pt x="2708" y="9543"/>
                  </a:cubicBezTo>
                  <a:cubicBezTo>
                    <a:pt x="2660" y="9443"/>
                    <a:pt x="2612" y="9336"/>
                    <a:pt x="2602" y="9304"/>
                  </a:cubicBezTo>
                  <a:cubicBezTo>
                    <a:pt x="2575" y="9223"/>
                    <a:pt x="2556" y="9121"/>
                    <a:pt x="2566" y="9104"/>
                  </a:cubicBezTo>
                  <a:cubicBezTo>
                    <a:pt x="2570" y="9096"/>
                    <a:pt x="2595" y="9075"/>
                    <a:pt x="2621" y="9058"/>
                  </a:cubicBezTo>
                  <a:cubicBezTo>
                    <a:pt x="2665" y="9028"/>
                    <a:pt x="2668" y="9024"/>
                    <a:pt x="2667" y="8991"/>
                  </a:cubicBezTo>
                  <a:cubicBezTo>
                    <a:pt x="2667" y="8971"/>
                    <a:pt x="2655" y="8930"/>
                    <a:pt x="2641" y="8898"/>
                  </a:cubicBezTo>
                  <a:cubicBezTo>
                    <a:pt x="2618" y="8844"/>
                    <a:pt x="2616" y="8831"/>
                    <a:pt x="2610" y="8660"/>
                  </a:cubicBezTo>
                  <a:cubicBezTo>
                    <a:pt x="2606" y="8560"/>
                    <a:pt x="2597" y="8421"/>
                    <a:pt x="2589" y="8351"/>
                  </a:cubicBezTo>
                  <a:cubicBezTo>
                    <a:pt x="2563" y="8103"/>
                    <a:pt x="2575" y="7699"/>
                    <a:pt x="2637" y="6628"/>
                  </a:cubicBezTo>
                  <a:cubicBezTo>
                    <a:pt x="2651" y="6387"/>
                    <a:pt x="2665" y="6139"/>
                    <a:pt x="2668" y="6076"/>
                  </a:cubicBezTo>
                  <a:cubicBezTo>
                    <a:pt x="2672" y="6013"/>
                    <a:pt x="2680" y="5944"/>
                    <a:pt x="2687" y="5923"/>
                  </a:cubicBezTo>
                  <a:cubicBezTo>
                    <a:pt x="2722" y="5816"/>
                    <a:pt x="2730" y="5722"/>
                    <a:pt x="2729" y="5409"/>
                  </a:cubicBezTo>
                  <a:cubicBezTo>
                    <a:pt x="2729" y="5167"/>
                    <a:pt x="2725" y="5084"/>
                    <a:pt x="2713" y="5008"/>
                  </a:cubicBezTo>
                  <a:cubicBezTo>
                    <a:pt x="2695" y="4891"/>
                    <a:pt x="2700" y="4843"/>
                    <a:pt x="2736" y="4805"/>
                  </a:cubicBezTo>
                  <a:lnTo>
                    <a:pt x="2761" y="4777"/>
                  </a:lnTo>
                  <a:lnTo>
                    <a:pt x="2759" y="5097"/>
                  </a:lnTo>
                  <a:cubicBezTo>
                    <a:pt x="2756" y="5446"/>
                    <a:pt x="2762" y="5607"/>
                    <a:pt x="2816" y="5630"/>
                  </a:cubicBezTo>
                  <a:lnTo>
                    <a:pt x="2840" y="5640"/>
                  </a:lnTo>
                  <a:lnTo>
                    <a:pt x="2834" y="5598"/>
                  </a:lnTo>
                  <a:cubicBezTo>
                    <a:pt x="2829" y="5561"/>
                    <a:pt x="2834" y="5542"/>
                    <a:pt x="2858" y="5532"/>
                  </a:cubicBezTo>
                  <a:lnTo>
                    <a:pt x="2906" y="5620"/>
                  </a:lnTo>
                  <a:cubicBezTo>
                    <a:pt x="2955" y="5700"/>
                    <a:pt x="2972" y="5745"/>
                    <a:pt x="2973" y="5791"/>
                  </a:cubicBezTo>
                  <a:cubicBezTo>
                    <a:pt x="2973" y="5872"/>
                    <a:pt x="2944" y="5912"/>
                    <a:pt x="2850" y="5957"/>
                  </a:cubicBezTo>
                  <a:cubicBezTo>
                    <a:pt x="2775" y="5993"/>
                    <a:pt x="2752" y="6018"/>
                    <a:pt x="2752" y="6061"/>
                  </a:cubicBezTo>
                  <a:cubicBezTo>
                    <a:pt x="2752" y="6097"/>
                    <a:pt x="2768" y="6119"/>
                    <a:pt x="2800" y="6127"/>
                  </a:cubicBezTo>
                  <a:cubicBezTo>
                    <a:pt x="2833" y="6135"/>
                    <a:pt x="2871" y="6133"/>
                    <a:pt x="2930" y="6120"/>
                  </a:cubicBezTo>
                  <a:cubicBezTo>
                    <a:pt x="3118" y="6081"/>
                    <a:pt x="3238" y="5932"/>
                    <a:pt x="3238" y="5738"/>
                  </a:cubicBezTo>
                  <a:cubicBezTo>
                    <a:pt x="3238" y="5680"/>
                    <a:pt x="3204" y="5584"/>
                    <a:pt x="3174" y="5541"/>
                  </a:cubicBezTo>
                  <a:cubicBezTo>
                    <a:pt x="3177" y="5542"/>
                    <a:pt x="3181" y="5542"/>
                    <a:pt x="3184" y="5543"/>
                  </a:cubicBezTo>
                  <a:cubicBezTo>
                    <a:pt x="3219" y="5554"/>
                    <a:pt x="3228" y="5565"/>
                    <a:pt x="3228" y="5599"/>
                  </a:cubicBezTo>
                  <a:cubicBezTo>
                    <a:pt x="3228" y="5626"/>
                    <a:pt x="3242" y="5632"/>
                    <a:pt x="3249" y="5608"/>
                  </a:cubicBezTo>
                  <a:cubicBezTo>
                    <a:pt x="3278" y="5511"/>
                    <a:pt x="3274" y="5108"/>
                    <a:pt x="3252" y="4839"/>
                  </a:cubicBezTo>
                  <a:cubicBezTo>
                    <a:pt x="3232" y="4580"/>
                    <a:pt x="3227" y="4334"/>
                    <a:pt x="3237" y="4035"/>
                  </a:cubicBezTo>
                  <a:cubicBezTo>
                    <a:pt x="3268" y="3138"/>
                    <a:pt x="3256" y="2803"/>
                    <a:pt x="3180" y="2345"/>
                  </a:cubicBezTo>
                  <a:cubicBezTo>
                    <a:pt x="3149" y="2165"/>
                    <a:pt x="3133" y="2123"/>
                    <a:pt x="3070" y="2060"/>
                  </a:cubicBezTo>
                  <a:cubicBezTo>
                    <a:pt x="3007" y="1997"/>
                    <a:pt x="2913" y="1950"/>
                    <a:pt x="2748" y="1902"/>
                  </a:cubicBezTo>
                  <a:cubicBezTo>
                    <a:pt x="2680" y="1882"/>
                    <a:pt x="2602" y="1857"/>
                    <a:pt x="2575" y="1847"/>
                  </a:cubicBezTo>
                  <a:cubicBezTo>
                    <a:pt x="2549" y="1838"/>
                    <a:pt x="2493" y="1820"/>
                    <a:pt x="2453" y="1807"/>
                  </a:cubicBezTo>
                  <a:cubicBezTo>
                    <a:pt x="2385" y="1786"/>
                    <a:pt x="2376" y="1779"/>
                    <a:pt x="2334" y="1732"/>
                  </a:cubicBezTo>
                  <a:cubicBezTo>
                    <a:pt x="2316" y="1711"/>
                    <a:pt x="2257" y="1652"/>
                    <a:pt x="2224" y="1621"/>
                  </a:cubicBezTo>
                  <a:lnTo>
                    <a:pt x="2209" y="1565"/>
                  </a:lnTo>
                  <a:cubicBezTo>
                    <a:pt x="2188" y="1483"/>
                    <a:pt x="2194" y="1315"/>
                    <a:pt x="2222" y="1194"/>
                  </a:cubicBezTo>
                  <a:lnTo>
                    <a:pt x="2242" y="1108"/>
                  </a:lnTo>
                  <a:lnTo>
                    <a:pt x="2285" y="1097"/>
                  </a:lnTo>
                  <a:cubicBezTo>
                    <a:pt x="2368" y="1078"/>
                    <a:pt x="2408" y="1005"/>
                    <a:pt x="2408" y="872"/>
                  </a:cubicBezTo>
                  <a:lnTo>
                    <a:pt x="2408" y="815"/>
                  </a:lnTo>
                  <a:lnTo>
                    <a:pt x="2368" y="798"/>
                  </a:lnTo>
                  <a:lnTo>
                    <a:pt x="2329" y="781"/>
                  </a:lnTo>
                  <a:lnTo>
                    <a:pt x="2334" y="681"/>
                  </a:lnTo>
                  <a:cubicBezTo>
                    <a:pt x="2342" y="516"/>
                    <a:pt x="2312" y="426"/>
                    <a:pt x="2214" y="329"/>
                  </a:cubicBezTo>
                  <a:cubicBezTo>
                    <a:pt x="2145" y="261"/>
                    <a:pt x="2089" y="229"/>
                    <a:pt x="1996" y="206"/>
                  </a:cubicBezTo>
                  <a:cubicBezTo>
                    <a:pt x="1952" y="194"/>
                    <a:pt x="1910" y="189"/>
                    <a:pt x="1868" y="189"/>
                  </a:cubicBezTo>
                  <a:close/>
                  <a:moveTo>
                    <a:pt x="8279" y="419"/>
                  </a:moveTo>
                  <a:cubicBezTo>
                    <a:pt x="8220" y="421"/>
                    <a:pt x="8161" y="429"/>
                    <a:pt x="8113" y="444"/>
                  </a:cubicBezTo>
                  <a:cubicBezTo>
                    <a:pt x="7842" y="529"/>
                    <a:pt x="7691" y="802"/>
                    <a:pt x="7620" y="1337"/>
                  </a:cubicBezTo>
                  <a:cubicBezTo>
                    <a:pt x="7606" y="1443"/>
                    <a:pt x="7604" y="1474"/>
                    <a:pt x="7612" y="1477"/>
                  </a:cubicBezTo>
                  <a:cubicBezTo>
                    <a:pt x="7629" y="1482"/>
                    <a:pt x="7663" y="1521"/>
                    <a:pt x="7693" y="1570"/>
                  </a:cubicBezTo>
                  <a:cubicBezTo>
                    <a:pt x="7709" y="1594"/>
                    <a:pt x="7730" y="1619"/>
                    <a:pt x="7741" y="1626"/>
                  </a:cubicBezTo>
                  <a:cubicBezTo>
                    <a:pt x="7760" y="1639"/>
                    <a:pt x="7762" y="1638"/>
                    <a:pt x="7772" y="1610"/>
                  </a:cubicBezTo>
                  <a:cubicBezTo>
                    <a:pt x="7778" y="1593"/>
                    <a:pt x="7793" y="1560"/>
                    <a:pt x="7805" y="1535"/>
                  </a:cubicBezTo>
                  <a:cubicBezTo>
                    <a:pt x="7834" y="1477"/>
                    <a:pt x="7853" y="1477"/>
                    <a:pt x="7892" y="1535"/>
                  </a:cubicBezTo>
                  <a:cubicBezTo>
                    <a:pt x="7922" y="1580"/>
                    <a:pt x="7926" y="1613"/>
                    <a:pt x="7907" y="1669"/>
                  </a:cubicBezTo>
                  <a:cubicBezTo>
                    <a:pt x="7906" y="1673"/>
                    <a:pt x="7905" y="1677"/>
                    <a:pt x="7907" y="1683"/>
                  </a:cubicBezTo>
                  <a:lnTo>
                    <a:pt x="7848" y="1742"/>
                  </a:lnTo>
                  <a:cubicBezTo>
                    <a:pt x="7841" y="1742"/>
                    <a:pt x="7829" y="1749"/>
                    <a:pt x="7803" y="1767"/>
                  </a:cubicBezTo>
                  <a:cubicBezTo>
                    <a:pt x="7700" y="1837"/>
                    <a:pt x="7598" y="1870"/>
                    <a:pt x="7337" y="1920"/>
                  </a:cubicBezTo>
                  <a:cubicBezTo>
                    <a:pt x="7257" y="1935"/>
                    <a:pt x="7179" y="1953"/>
                    <a:pt x="7164" y="1960"/>
                  </a:cubicBezTo>
                  <a:cubicBezTo>
                    <a:pt x="7127" y="1977"/>
                    <a:pt x="7096" y="2029"/>
                    <a:pt x="7065" y="2125"/>
                  </a:cubicBezTo>
                  <a:cubicBezTo>
                    <a:pt x="6982" y="2374"/>
                    <a:pt x="6923" y="2862"/>
                    <a:pt x="6851" y="3872"/>
                  </a:cubicBezTo>
                  <a:cubicBezTo>
                    <a:pt x="6841" y="4010"/>
                    <a:pt x="6821" y="4280"/>
                    <a:pt x="6807" y="4472"/>
                  </a:cubicBezTo>
                  <a:cubicBezTo>
                    <a:pt x="6768" y="4994"/>
                    <a:pt x="6754" y="5234"/>
                    <a:pt x="6763" y="5252"/>
                  </a:cubicBezTo>
                  <a:cubicBezTo>
                    <a:pt x="6768" y="5260"/>
                    <a:pt x="6787" y="5269"/>
                    <a:pt x="6805" y="5272"/>
                  </a:cubicBezTo>
                  <a:cubicBezTo>
                    <a:pt x="6861" y="5281"/>
                    <a:pt x="6903" y="5294"/>
                    <a:pt x="6910" y="5305"/>
                  </a:cubicBezTo>
                  <a:cubicBezTo>
                    <a:pt x="6914" y="5311"/>
                    <a:pt x="6917" y="5415"/>
                    <a:pt x="6917" y="5537"/>
                  </a:cubicBezTo>
                  <a:cubicBezTo>
                    <a:pt x="6917" y="5775"/>
                    <a:pt x="6921" y="5798"/>
                    <a:pt x="6968" y="5849"/>
                  </a:cubicBezTo>
                  <a:cubicBezTo>
                    <a:pt x="6988" y="5870"/>
                    <a:pt x="7029" y="5895"/>
                    <a:pt x="7044" y="5895"/>
                  </a:cubicBezTo>
                  <a:cubicBezTo>
                    <a:pt x="7061" y="5895"/>
                    <a:pt x="7082" y="5803"/>
                    <a:pt x="7094" y="5680"/>
                  </a:cubicBezTo>
                  <a:cubicBezTo>
                    <a:pt x="7104" y="5568"/>
                    <a:pt x="7119" y="5497"/>
                    <a:pt x="7131" y="5497"/>
                  </a:cubicBezTo>
                  <a:cubicBezTo>
                    <a:pt x="7146" y="5497"/>
                    <a:pt x="7171" y="5521"/>
                    <a:pt x="7194" y="5558"/>
                  </a:cubicBezTo>
                  <a:cubicBezTo>
                    <a:pt x="7230" y="5617"/>
                    <a:pt x="7256" y="5634"/>
                    <a:pt x="7288" y="5619"/>
                  </a:cubicBezTo>
                  <a:cubicBezTo>
                    <a:pt x="7303" y="5612"/>
                    <a:pt x="7310" y="5604"/>
                    <a:pt x="7307" y="5595"/>
                  </a:cubicBezTo>
                  <a:cubicBezTo>
                    <a:pt x="7305" y="5587"/>
                    <a:pt x="7293" y="5552"/>
                    <a:pt x="7280" y="5516"/>
                  </a:cubicBezTo>
                  <a:cubicBezTo>
                    <a:pt x="7184" y="5241"/>
                    <a:pt x="7184" y="4768"/>
                    <a:pt x="7281" y="4309"/>
                  </a:cubicBezTo>
                  <a:cubicBezTo>
                    <a:pt x="7293" y="4251"/>
                    <a:pt x="7305" y="4201"/>
                    <a:pt x="7307" y="4199"/>
                  </a:cubicBezTo>
                  <a:cubicBezTo>
                    <a:pt x="7313" y="4193"/>
                    <a:pt x="7310" y="4290"/>
                    <a:pt x="7297" y="4481"/>
                  </a:cubicBezTo>
                  <a:cubicBezTo>
                    <a:pt x="7290" y="4586"/>
                    <a:pt x="7284" y="4743"/>
                    <a:pt x="7284" y="4831"/>
                  </a:cubicBezTo>
                  <a:cubicBezTo>
                    <a:pt x="7284" y="5031"/>
                    <a:pt x="7280" y="5025"/>
                    <a:pt x="7401" y="5017"/>
                  </a:cubicBezTo>
                  <a:cubicBezTo>
                    <a:pt x="7446" y="5014"/>
                    <a:pt x="7493" y="5009"/>
                    <a:pt x="7505" y="5007"/>
                  </a:cubicBezTo>
                  <a:cubicBezTo>
                    <a:pt x="7517" y="5004"/>
                    <a:pt x="7532" y="5005"/>
                    <a:pt x="7538" y="5009"/>
                  </a:cubicBezTo>
                  <a:cubicBezTo>
                    <a:pt x="7544" y="5013"/>
                    <a:pt x="7575" y="5106"/>
                    <a:pt x="7607" y="5215"/>
                  </a:cubicBezTo>
                  <a:cubicBezTo>
                    <a:pt x="7750" y="5701"/>
                    <a:pt x="7926" y="6225"/>
                    <a:pt x="8132" y="6780"/>
                  </a:cubicBezTo>
                  <a:cubicBezTo>
                    <a:pt x="8195" y="6950"/>
                    <a:pt x="8176" y="6938"/>
                    <a:pt x="8304" y="6891"/>
                  </a:cubicBezTo>
                  <a:cubicBezTo>
                    <a:pt x="8375" y="6865"/>
                    <a:pt x="8434" y="6856"/>
                    <a:pt x="8447" y="6870"/>
                  </a:cubicBezTo>
                  <a:cubicBezTo>
                    <a:pt x="8460" y="6883"/>
                    <a:pt x="8453" y="7392"/>
                    <a:pt x="8438" y="7561"/>
                  </a:cubicBezTo>
                  <a:cubicBezTo>
                    <a:pt x="8393" y="8053"/>
                    <a:pt x="8314" y="8433"/>
                    <a:pt x="8088" y="9243"/>
                  </a:cubicBezTo>
                  <a:cubicBezTo>
                    <a:pt x="8039" y="9420"/>
                    <a:pt x="7980" y="9632"/>
                    <a:pt x="7959" y="9715"/>
                  </a:cubicBezTo>
                  <a:lnTo>
                    <a:pt x="7920" y="9865"/>
                  </a:lnTo>
                  <a:lnTo>
                    <a:pt x="7942" y="9897"/>
                  </a:lnTo>
                  <a:cubicBezTo>
                    <a:pt x="7987" y="9966"/>
                    <a:pt x="8124" y="10008"/>
                    <a:pt x="8234" y="9985"/>
                  </a:cubicBezTo>
                  <a:cubicBezTo>
                    <a:pt x="8322" y="9966"/>
                    <a:pt x="8339" y="9954"/>
                    <a:pt x="8369" y="9889"/>
                  </a:cubicBezTo>
                  <a:cubicBezTo>
                    <a:pt x="8434" y="9745"/>
                    <a:pt x="8449" y="9636"/>
                    <a:pt x="8459" y="9238"/>
                  </a:cubicBezTo>
                  <a:cubicBezTo>
                    <a:pt x="8467" y="8911"/>
                    <a:pt x="8474" y="8831"/>
                    <a:pt x="8512" y="8696"/>
                  </a:cubicBezTo>
                  <a:cubicBezTo>
                    <a:pt x="8547" y="8570"/>
                    <a:pt x="8619" y="8414"/>
                    <a:pt x="8741" y="8200"/>
                  </a:cubicBezTo>
                  <a:cubicBezTo>
                    <a:pt x="8779" y="8135"/>
                    <a:pt x="8824" y="8054"/>
                    <a:pt x="8843" y="8021"/>
                  </a:cubicBezTo>
                  <a:lnTo>
                    <a:pt x="8876" y="7959"/>
                  </a:lnTo>
                  <a:lnTo>
                    <a:pt x="8893" y="7981"/>
                  </a:lnTo>
                  <a:cubicBezTo>
                    <a:pt x="8925" y="8023"/>
                    <a:pt x="8980" y="8137"/>
                    <a:pt x="9036" y="8281"/>
                  </a:cubicBezTo>
                  <a:cubicBezTo>
                    <a:pt x="9099" y="8444"/>
                    <a:pt x="9107" y="8459"/>
                    <a:pt x="9254" y="8739"/>
                  </a:cubicBezTo>
                  <a:cubicBezTo>
                    <a:pt x="9373" y="8964"/>
                    <a:pt x="9427" y="9092"/>
                    <a:pt x="9463" y="9231"/>
                  </a:cubicBezTo>
                  <a:cubicBezTo>
                    <a:pt x="9494" y="9354"/>
                    <a:pt x="9495" y="9483"/>
                    <a:pt x="9466" y="9702"/>
                  </a:cubicBezTo>
                  <a:cubicBezTo>
                    <a:pt x="9440" y="9904"/>
                    <a:pt x="9444" y="9984"/>
                    <a:pt x="9480" y="10044"/>
                  </a:cubicBezTo>
                  <a:cubicBezTo>
                    <a:pt x="9510" y="10092"/>
                    <a:pt x="9571" y="10138"/>
                    <a:pt x="9633" y="10157"/>
                  </a:cubicBezTo>
                  <a:cubicBezTo>
                    <a:pt x="9694" y="10177"/>
                    <a:pt x="9822" y="10171"/>
                    <a:pt x="9868" y="10146"/>
                  </a:cubicBezTo>
                  <a:cubicBezTo>
                    <a:pt x="9940" y="10107"/>
                    <a:pt x="9935" y="10126"/>
                    <a:pt x="9925" y="9904"/>
                  </a:cubicBezTo>
                  <a:cubicBezTo>
                    <a:pt x="9908" y="9544"/>
                    <a:pt x="9874" y="9328"/>
                    <a:pt x="9810" y="9192"/>
                  </a:cubicBezTo>
                  <a:cubicBezTo>
                    <a:pt x="9792" y="9152"/>
                    <a:pt x="9751" y="9077"/>
                    <a:pt x="9719" y="9024"/>
                  </a:cubicBezTo>
                  <a:cubicBezTo>
                    <a:pt x="9647" y="8903"/>
                    <a:pt x="9627" y="8864"/>
                    <a:pt x="9602" y="8789"/>
                  </a:cubicBezTo>
                  <a:cubicBezTo>
                    <a:pt x="9562" y="8671"/>
                    <a:pt x="9545" y="8555"/>
                    <a:pt x="9502" y="8098"/>
                  </a:cubicBezTo>
                  <a:cubicBezTo>
                    <a:pt x="9469" y="7757"/>
                    <a:pt x="9442" y="7644"/>
                    <a:pt x="9337" y="7399"/>
                  </a:cubicBezTo>
                  <a:cubicBezTo>
                    <a:pt x="9258" y="7214"/>
                    <a:pt x="9240" y="7143"/>
                    <a:pt x="9227" y="6963"/>
                  </a:cubicBezTo>
                  <a:cubicBezTo>
                    <a:pt x="9216" y="6796"/>
                    <a:pt x="9198" y="6701"/>
                    <a:pt x="9166" y="6634"/>
                  </a:cubicBezTo>
                  <a:cubicBezTo>
                    <a:pt x="9151" y="6602"/>
                    <a:pt x="9145" y="6581"/>
                    <a:pt x="9151" y="6580"/>
                  </a:cubicBezTo>
                  <a:cubicBezTo>
                    <a:pt x="9223" y="6561"/>
                    <a:pt x="9275" y="6539"/>
                    <a:pt x="9364" y="6491"/>
                  </a:cubicBezTo>
                  <a:cubicBezTo>
                    <a:pt x="9502" y="6415"/>
                    <a:pt x="9556" y="6393"/>
                    <a:pt x="9630" y="6380"/>
                  </a:cubicBezTo>
                  <a:cubicBezTo>
                    <a:pt x="9664" y="6374"/>
                    <a:pt x="9693" y="6368"/>
                    <a:pt x="9694" y="6367"/>
                  </a:cubicBezTo>
                  <a:cubicBezTo>
                    <a:pt x="9703" y="6361"/>
                    <a:pt x="9655" y="6004"/>
                    <a:pt x="9576" y="5475"/>
                  </a:cubicBezTo>
                  <a:cubicBezTo>
                    <a:pt x="9515" y="5068"/>
                    <a:pt x="9480" y="4825"/>
                    <a:pt x="9456" y="4633"/>
                  </a:cubicBezTo>
                  <a:cubicBezTo>
                    <a:pt x="9444" y="4536"/>
                    <a:pt x="9425" y="4488"/>
                    <a:pt x="9335" y="4338"/>
                  </a:cubicBezTo>
                  <a:cubicBezTo>
                    <a:pt x="9276" y="4239"/>
                    <a:pt x="9237" y="4154"/>
                    <a:pt x="9224" y="4097"/>
                  </a:cubicBezTo>
                  <a:cubicBezTo>
                    <a:pt x="9218" y="4071"/>
                    <a:pt x="9219" y="4072"/>
                    <a:pt x="9265" y="4116"/>
                  </a:cubicBezTo>
                  <a:cubicBezTo>
                    <a:pt x="9290" y="4141"/>
                    <a:pt x="9320" y="4166"/>
                    <a:pt x="9331" y="4171"/>
                  </a:cubicBezTo>
                  <a:cubicBezTo>
                    <a:pt x="9361" y="4187"/>
                    <a:pt x="9436" y="4183"/>
                    <a:pt x="9474" y="4163"/>
                  </a:cubicBezTo>
                  <a:cubicBezTo>
                    <a:pt x="9539" y="4130"/>
                    <a:pt x="9639" y="4042"/>
                    <a:pt x="9750" y="3919"/>
                  </a:cubicBezTo>
                  <a:cubicBezTo>
                    <a:pt x="9812" y="3851"/>
                    <a:pt x="9905" y="3755"/>
                    <a:pt x="9958" y="3705"/>
                  </a:cubicBezTo>
                  <a:cubicBezTo>
                    <a:pt x="10185" y="3490"/>
                    <a:pt x="10227" y="3406"/>
                    <a:pt x="10183" y="3264"/>
                  </a:cubicBezTo>
                  <a:cubicBezTo>
                    <a:pt x="10157" y="3183"/>
                    <a:pt x="10094" y="3096"/>
                    <a:pt x="9952" y="2950"/>
                  </a:cubicBezTo>
                  <a:cubicBezTo>
                    <a:pt x="9817" y="2810"/>
                    <a:pt x="9715" y="2696"/>
                    <a:pt x="9387" y="2313"/>
                  </a:cubicBezTo>
                  <a:cubicBezTo>
                    <a:pt x="9216" y="2114"/>
                    <a:pt x="9185" y="2082"/>
                    <a:pt x="9145" y="2063"/>
                  </a:cubicBezTo>
                  <a:cubicBezTo>
                    <a:pt x="9120" y="2051"/>
                    <a:pt x="9008" y="2011"/>
                    <a:pt x="8896" y="1973"/>
                  </a:cubicBezTo>
                  <a:cubicBezTo>
                    <a:pt x="8680" y="1900"/>
                    <a:pt x="8611" y="1870"/>
                    <a:pt x="8543" y="1818"/>
                  </a:cubicBezTo>
                  <a:lnTo>
                    <a:pt x="8458" y="1715"/>
                  </a:lnTo>
                  <a:lnTo>
                    <a:pt x="8463" y="1706"/>
                  </a:lnTo>
                  <a:lnTo>
                    <a:pt x="8587" y="1624"/>
                  </a:lnTo>
                  <a:cubicBezTo>
                    <a:pt x="8655" y="1579"/>
                    <a:pt x="8717" y="1535"/>
                    <a:pt x="8726" y="1525"/>
                  </a:cubicBezTo>
                  <a:cubicBezTo>
                    <a:pt x="8745" y="1503"/>
                    <a:pt x="8764" y="1381"/>
                    <a:pt x="8777" y="1201"/>
                  </a:cubicBezTo>
                  <a:cubicBezTo>
                    <a:pt x="8803" y="824"/>
                    <a:pt x="8713" y="549"/>
                    <a:pt x="8535" y="462"/>
                  </a:cubicBezTo>
                  <a:cubicBezTo>
                    <a:pt x="8478" y="435"/>
                    <a:pt x="8392" y="420"/>
                    <a:pt x="8304" y="419"/>
                  </a:cubicBezTo>
                  <a:cubicBezTo>
                    <a:pt x="8296" y="419"/>
                    <a:pt x="8287" y="419"/>
                    <a:pt x="8279" y="419"/>
                  </a:cubicBezTo>
                  <a:close/>
                  <a:moveTo>
                    <a:pt x="14838" y="481"/>
                  </a:moveTo>
                  <a:cubicBezTo>
                    <a:pt x="14798" y="481"/>
                    <a:pt x="14759" y="484"/>
                    <a:pt x="14739" y="488"/>
                  </a:cubicBezTo>
                  <a:cubicBezTo>
                    <a:pt x="14632" y="510"/>
                    <a:pt x="14544" y="573"/>
                    <a:pt x="14472" y="678"/>
                  </a:cubicBezTo>
                  <a:cubicBezTo>
                    <a:pt x="14431" y="738"/>
                    <a:pt x="14342" y="921"/>
                    <a:pt x="14320" y="992"/>
                  </a:cubicBezTo>
                  <a:cubicBezTo>
                    <a:pt x="14299" y="1058"/>
                    <a:pt x="14262" y="1131"/>
                    <a:pt x="14208" y="1211"/>
                  </a:cubicBezTo>
                  <a:cubicBezTo>
                    <a:pt x="14152" y="1293"/>
                    <a:pt x="14132" y="1345"/>
                    <a:pt x="14121" y="1431"/>
                  </a:cubicBezTo>
                  <a:cubicBezTo>
                    <a:pt x="14109" y="1527"/>
                    <a:pt x="14124" y="1609"/>
                    <a:pt x="14185" y="1791"/>
                  </a:cubicBezTo>
                  <a:cubicBezTo>
                    <a:pt x="14233" y="1930"/>
                    <a:pt x="14240" y="1961"/>
                    <a:pt x="14243" y="2035"/>
                  </a:cubicBezTo>
                  <a:cubicBezTo>
                    <a:pt x="14247" y="2136"/>
                    <a:pt x="14258" y="2125"/>
                    <a:pt x="14086" y="2197"/>
                  </a:cubicBezTo>
                  <a:cubicBezTo>
                    <a:pt x="14022" y="2223"/>
                    <a:pt x="13954" y="2255"/>
                    <a:pt x="13936" y="2267"/>
                  </a:cubicBezTo>
                  <a:cubicBezTo>
                    <a:pt x="13859" y="2319"/>
                    <a:pt x="13834" y="2440"/>
                    <a:pt x="13812" y="2878"/>
                  </a:cubicBezTo>
                  <a:cubicBezTo>
                    <a:pt x="13807" y="2980"/>
                    <a:pt x="13799" y="3131"/>
                    <a:pt x="13795" y="3213"/>
                  </a:cubicBezTo>
                  <a:cubicBezTo>
                    <a:pt x="13790" y="3296"/>
                    <a:pt x="13781" y="3583"/>
                    <a:pt x="13776" y="3850"/>
                  </a:cubicBezTo>
                  <a:cubicBezTo>
                    <a:pt x="13769" y="4241"/>
                    <a:pt x="13769" y="4370"/>
                    <a:pt x="13779" y="4512"/>
                  </a:cubicBezTo>
                  <a:cubicBezTo>
                    <a:pt x="13795" y="4764"/>
                    <a:pt x="13793" y="4923"/>
                    <a:pt x="13770" y="5047"/>
                  </a:cubicBezTo>
                  <a:cubicBezTo>
                    <a:pt x="13760" y="5102"/>
                    <a:pt x="13737" y="5226"/>
                    <a:pt x="13720" y="5320"/>
                  </a:cubicBezTo>
                  <a:cubicBezTo>
                    <a:pt x="13678" y="5548"/>
                    <a:pt x="13679" y="5586"/>
                    <a:pt x="13728" y="5665"/>
                  </a:cubicBezTo>
                  <a:cubicBezTo>
                    <a:pt x="13747" y="5694"/>
                    <a:pt x="13747" y="5698"/>
                    <a:pt x="13734" y="5731"/>
                  </a:cubicBezTo>
                  <a:cubicBezTo>
                    <a:pt x="13727" y="5752"/>
                    <a:pt x="13722" y="5797"/>
                    <a:pt x="13722" y="5837"/>
                  </a:cubicBezTo>
                  <a:cubicBezTo>
                    <a:pt x="13722" y="5915"/>
                    <a:pt x="13718" y="5904"/>
                    <a:pt x="13911" y="6486"/>
                  </a:cubicBezTo>
                  <a:cubicBezTo>
                    <a:pt x="14025" y="6831"/>
                    <a:pt x="14024" y="6818"/>
                    <a:pt x="13959" y="6982"/>
                  </a:cubicBezTo>
                  <a:cubicBezTo>
                    <a:pt x="13910" y="7107"/>
                    <a:pt x="13884" y="7207"/>
                    <a:pt x="13843" y="7431"/>
                  </a:cubicBezTo>
                  <a:cubicBezTo>
                    <a:pt x="13825" y="7526"/>
                    <a:pt x="13782" y="7719"/>
                    <a:pt x="13746" y="7860"/>
                  </a:cubicBezTo>
                  <a:cubicBezTo>
                    <a:pt x="13710" y="8001"/>
                    <a:pt x="13652" y="8249"/>
                    <a:pt x="13618" y="8412"/>
                  </a:cubicBezTo>
                  <a:cubicBezTo>
                    <a:pt x="13582" y="8575"/>
                    <a:pt x="13528" y="8809"/>
                    <a:pt x="13497" y="8932"/>
                  </a:cubicBezTo>
                  <a:cubicBezTo>
                    <a:pt x="13411" y="9271"/>
                    <a:pt x="13396" y="9347"/>
                    <a:pt x="13388" y="9494"/>
                  </a:cubicBezTo>
                  <a:cubicBezTo>
                    <a:pt x="13384" y="9567"/>
                    <a:pt x="13373" y="9651"/>
                    <a:pt x="13365" y="9680"/>
                  </a:cubicBezTo>
                  <a:cubicBezTo>
                    <a:pt x="13344" y="9758"/>
                    <a:pt x="13347" y="9812"/>
                    <a:pt x="13377" y="9883"/>
                  </a:cubicBezTo>
                  <a:cubicBezTo>
                    <a:pt x="13392" y="9917"/>
                    <a:pt x="13413" y="9973"/>
                    <a:pt x="13422" y="10009"/>
                  </a:cubicBezTo>
                  <a:cubicBezTo>
                    <a:pt x="13447" y="10092"/>
                    <a:pt x="13473" y="10122"/>
                    <a:pt x="13531" y="10135"/>
                  </a:cubicBezTo>
                  <a:cubicBezTo>
                    <a:pt x="13576" y="10146"/>
                    <a:pt x="13747" y="10143"/>
                    <a:pt x="13778" y="10131"/>
                  </a:cubicBezTo>
                  <a:cubicBezTo>
                    <a:pt x="13795" y="10124"/>
                    <a:pt x="13816" y="10078"/>
                    <a:pt x="13831" y="10019"/>
                  </a:cubicBezTo>
                  <a:cubicBezTo>
                    <a:pt x="13839" y="9986"/>
                    <a:pt x="13847" y="9973"/>
                    <a:pt x="13870" y="9958"/>
                  </a:cubicBezTo>
                  <a:cubicBezTo>
                    <a:pt x="13931" y="9921"/>
                    <a:pt x="13992" y="9822"/>
                    <a:pt x="14031" y="9702"/>
                  </a:cubicBezTo>
                  <a:cubicBezTo>
                    <a:pt x="14042" y="9670"/>
                    <a:pt x="14065" y="9587"/>
                    <a:pt x="14082" y="9517"/>
                  </a:cubicBezTo>
                  <a:cubicBezTo>
                    <a:pt x="14099" y="9446"/>
                    <a:pt x="14132" y="9328"/>
                    <a:pt x="14153" y="9256"/>
                  </a:cubicBezTo>
                  <a:cubicBezTo>
                    <a:pt x="14175" y="9183"/>
                    <a:pt x="14247" y="8909"/>
                    <a:pt x="14312" y="8646"/>
                  </a:cubicBezTo>
                  <a:cubicBezTo>
                    <a:pt x="14465" y="8036"/>
                    <a:pt x="14533" y="7779"/>
                    <a:pt x="14649" y="7374"/>
                  </a:cubicBezTo>
                  <a:cubicBezTo>
                    <a:pt x="14700" y="7195"/>
                    <a:pt x="14795" y="6837"/>
                    <a:pt x="14859" y="6579"/>
                  </a:cubicBezTo>
                  <a:cubicBezTo>
                    <a:pt x="15023" y="5932"/>
                    <a:pt x="15053" y="5830"/>
                    <a:pt x="15108" y="5763"/>
                  </a:cubicBezTo>
                  <a:lnTo>
                    <a:pt x="15125" y="5742"/>
                  </a:lnTo>
                  <a:lnTo>
                    <a:pt x="15184" y="5953"/>
                  </a:lnTo>
                  <a:cubicBezTo>
                    <a:pt x="15341" y="6513"/>
                    <a:pt x="15368" y="6709"/>
                    <a:pt x="15382" y="7352"/>
                  </a:cubicBezTo>
                  <a:cubicBezTo>
                    <a:pt x="15387" y="7640"/>
                    <a:pt x="15379" y="7813"/>
                    <a:pt x="15345" y="8103"/>
                  </a:cubicBezTo>
                  <a:cubicBezTo>
                    <a:pt x="15319" y="8330"/>
                    <a:pt x="15310" y="8432"/>
                    <a:pt x="15288" y="8792"/>
                  </a:cubicBezTo>
                  <a:cubicBezTo>
                    <a:pt x="15267" y="9108"/>
                    <a:pt x="15261" y="9179"/>
                    <a:pt x="15233" y="9388"/>
                  </a:cubicBezTo>
                  <a:cubicBezTo>
                    <a:pt x="15210" y="9554"/>
                    <a:pt x="15206" y="9804"/>
                    <a:pt x="15224" y="9848"/>
                  </a:cubicBezTo>
                  <a:cubicBezTo>
                    <a:pt x="15230" y="9862"/>
                    <a:pt x="15251" y="9898"/>
                    <a:pt x="15270" y="9928"/>
                  </a:cubicBezTo>
                  <a:cubicBezTo>
                    <a:pt x="15289" y="9957"/>
                    <a:pt x="15312" y="10006"/>
                    <a:pt x="15322" y="10038"/>
                  </a:cubicBezTo>
                  <a:cubicBezTo>
                    <a:pt x="15345" y="10109"/>
                    <a:pt x="15360" y="10132"/>
                    <a:pt x="15396" y="10144"/>
                  </a:cubicBezTo>
                  <a:cubicBezTo>
                    <a:pt x="15436" y="10156"/>
                    <a:pt x="15663" y="10150"/>
                    <a:pt x="15679" y="10136"/>
                  </a:cubicBezTo>
                  <a:cubicBezTo>
                    <a:pt x="15686" y="10130"/>
                    <a:pt x="15695" y="10112"/>
                    <a:pt x="15699" y="10097"/>
                  </a:cubicBezTo>
                  <a:cubicBezTo>
                    <a:pt x="15702" y="10080"/>
                    <a:pt x="15718" y="10056"/>
                    <a:pt x="15740" y="10038"/>
                  </a:cubicBezTo>
                  <a:cubicBezTo>
                    <a:pt x="15807" y="9980"/>
                    <a:pt x="15844" y="9864"/>
                    <a:pt x="15893" y="9542"/>
                  </a:cubicBezTo>
                  <a:cubicBezTo>
                    <a:pt x="15955" y="9133"/>
                    <a:pt x="15980" y="8870"/>
                    <a:pt x="16038" y="8063"/>
                  </a:cubicBezTo>
                  <a:cubicBezTo>
                    <a:pt x="16062" y="7739"/>
                    <a:pt x="16066" y="7619"/>
                    <a:pt x="16074" y="7105"/>
                  </a:cubicBezTo>
                  <a:cubicBezTo>
                    <a:pt x="16079" y="6782"/>
                    <a:pt x="16087" y="6408"/>
                    <a:pt x="16092" y="6274"/>
                  </a:cubicBezTo>
                  <a:cubicBezTo>
                    <a:pt x="16097" y="6141"/>
                    <a:pt x="16103" y="5853"/>
                    <a:pt x="16104" y="5634"/>
                  </a:cubicBezTo>
                  <a:cubicBezTo>
                    <a:pt x="16107" y="5416"/>
                    <a:pt x="16112" y="5229"/>
                    <a:pt x="16114" y="5219"/>
                  </a:cubicBezTo>
                  <a:cubicBezTo>
                    <a:pt x="16117" y="5209"/>
                    <a:pt x="16136" y="5179"/>
                    <a:pt x="16158" y="5153"/>
                  </a:cubicBezTo>
                  <a:cubicBezTo>
                    <a:pt x="16178" y="5126"/>
                    <a:pt x="16201" y="5092"/>
                    <a:pt x="16209" y="5077"/>
                  </a:cubicBezTo>
                  <a:cubicBezTo>
                    <a:pt x="16218" y="5059"/>
                    <a:pt x="16232" y="5047"/>
                    <a:pt x="16248" y="5044"/>
                  </a:cubicBezTo>
                  <a:cubicBezTo>
                    <a:pt x="16310" y="5031"/>
                    <a:pt x="16373" y="4941"/>
                    <a:pt x="16404" y="4821"/>
                  </a:cubicBezTo>
                  <a:cubicBezTo>
                    <a:pt x="16432" y="4711"/>
                    <a:pt x="16447" y="4554"/>
                    <a:pt x="16442" y="4419"/>
                  </a:cubicBezTo>
                  <a:cubicBezTo>
                    <a:pt x="16431" y="4160"/>
                    <a:pt x="16356" y="3834"/>
                    <a:pt x="16250" y="3594"/>
                  </a:cubicBezTo>
                  <a:cubicBezTo>
                    <a:pt x="16206" y="3493"/>
                    <a:pt x="16189" y="3423"/>
                    <a:pt x="16171" y="3258"/>
                  </a:cubicBezTo>
                  <a:cubicBezTo>
                    <a:pt x="16165" y="3210"/>
                    <a:pt x="16144" y="3107"/>
                    <a:pt x="16125" y="3029"/>
                  </a:cubicBezTo>
                  <a:cubicBezTo>
                    <a:pt x="16106" y="2951"/>
                    <a:pt x="16073" y="2799"/>
                    <a:pt x="16052" y="2692"/>
                  </a:cubicBezTo>
                  <a:cubicBezTo>
                    <a:pt x="15983" y="2350"/>
                    <a:pt x="15923" y="2165"/>
                    <a:pt x="15865" y="2114"/>
                  </a:cubicBezTo>
                  <a:cubicBezTo>
                    <a:pt x="15846" y="2098"/>
                    <a:pt x="15810" y="2081"/>
                    <a:pt x="15769" y="2069"/>
                  </a:cubicBezTo>
                  <a:cubicBezTo>
                    <a:pt x="15689" y="2046"/>
                    <a:pt x="15674" y="2033"/>
                    <a:pt x="15650" y="1966"/>
                  </a:cubicBezTo>
                  <a:cubicBezTo>
                    <a:pt x="15613" y="1870"/>
                    <a:pt x="15603" y="1788"/>
                    <a:pt x="15609" y="1621"/>
                  </a:cubicBezTo>
                  <a:cubicBezTo>
                    <a:pt x="15612" y="1522"/>
                    <a:pt x="15612" y="1462"/>
                    <a:pt x="15606" y="1451"/>
                  </a:cubicBezTo>
                  <a:cubicBezTo>
                    <a:pt x="15600" y="1442"/>
                    <a:pt x="15567" y="1414"/>
                    <a:pt x="15531" y="1389"/>
                  </a:cubicBezTo>
                  <a:cubicBezTo>
                    <a:pt x="15457" y="1339"/>
                    <a:pt x="15444" y="1321"/>
                    <a:pt x="15444" y="1269"/>
                  </a:cubicBezTo>
                  <a:cubicBezTo>
                    <a:pt x="15444" y="1241"/>
                    <a:pt x="15450" y="1225"/>
                    <a:pt x="15471" y="1199"/>
                  </a:cubicBezTo>
                  <a:cubicBezTo>
                    <a:pt x="15522" y="1138"/>
                    <a:pt x="15508" y="1091"/>
                    <a:pt x="15415" y="1007"/>
                  </a:cubicBezTo>
                  <a:cubicBezTo>
                    <a:pt x="15385" y="980"/>
                    <a:pt x="15355" y="939"/>
                    <a:pt x="15324" y="880"/>
                  </a:cubicBezTo>
                  <a:cubicBezTo>
                    <a:pt x="15221" y="692"/>
                    <a:pt x="15193" y="650"/>
                    <a:pt x="15133" y="589"/>
                  </a:cubicBezTo>
                  <a:cubicBezTo>
                    <a:pt x="15053" y="508"/>
                    <a:pt x="15003" y="487"/>
                    <a:pt x="14875" y="482"/>
                  </a:cubicBezTo>
                  <a:cubicBezTo>
                    <a:pt x="14863" y="481"/>
                    <a:pt x="14851" y="481"/>
                    <a:pt x="14838" y="481"/>
                  </a:cubicBezTo>
                  <a:close/>
                  <a:moveTo>
                    <a:pt x="5214" y="484"/>
                  </a:moveTo>
                  <a:cubicBezTo>
                    <a:pt x="5162" y="485"/>
                    <a:pt x="5147" y="490"/>
                    <a:pt x="5097" y="514"/>
                  </a:cubicBezTo>
                  <a:cubicBezTo>
                    <a:pt x="4990" y="567"/>
                    <a:pt x="4899" y="670"/>
                    <a:pt x="4780" y="876"/>
                  </a:cubicBezTo>
                  <a:cubicBezTo>
                    <a:pt x="4710" y="995"/>
                    <a:pt x="4696" y="1038"/>
                    <a:pt x="4696" y="1124"/>
                  </a:cubicBezTo>
                  <a:cubicBezTo>
                    <a:pt x="4696" y="1220"/>
                    <a:pt x="4703" y="1248"/>
                    <a:pt x="4763" y="1367"/>
                  </a:cubicBezTo>
                  <a:cubicBezTo>
                    <a:pt x="4790" y="1421"/>
                    <a:pt x="4819" y="1485"/>
                    <a:pt x="4828" y="1510"/>
                  </a:cubicBezTo>
                  <a:cubicBezTo>
                    <a:pt x="4837" y="1535"/>
                    <a:pt x="4856" y="1568"/>
                    <a:pt x="4869" y="1584"/>
                  </a:cubicBezTo>
                  <a:cubicBezTo>
                    <a:pt x="4872" y="1587"/>
                    <a:pt x="4876" y="1590"/>
                    <a:pt x="4879" y="1594"/>
                  </a:cubicBezTo>
                  <a:lnTo>
                    <a:pt x="4818" y="1655"/>
                  </a:lnTo>
                  <a:lnTo>
                    <a:pt x="4787" y="1684"/>
                  </a:lnTo>
                  <a:cubicBezTo>
                    <a:pt x="4731" y="1736"/>
                    <a:pt x="4650" y="1777"/>
                    <a:pt x="4467" y="1849"/>
                  </a:cubicBezTo>
                  <a:cubicBezTo>
                    <a:pt x="4256" y="1932"/>
                    <a:pt x="4188" y="1968"/>
                    <a:pt x="4123" y="2029"/>
                  </a:cubicBezTo>
                  <a:cubicBezTo>
                    <a:pt x="4020" y="2126"/>
                    <a:pt x="3986" y="2233"/>
                    <a:pt x="3940" y="2603"/>
                  </a:cubicBezTo>
                  <a:cubicBezTo>
                    <a:pt x="3910" y="2847"/>
                    <a:pt x="3903" y="2929"/>
                    <a:pt x="3891" y="3138"/>
                  </a:cubicBezTo>
                  <a:cubicBezTo>
                    <a:pt x="3879" y="3342"/>
                    <a:pt x="3884" y="3828"/>
                    <a:pt x="3900" y="4181"/>
                  </a:cubicBezTo>
                  <a:cubicBezTo>
                    <a:pt x="3908" y="4342"/>
                    <a:pt x="3909" y="4565"/>
                    <a:pt x="3904" y="4967"/>
                  </a:cubicBezTo>
                  <a:cubicBezTo>
                    <a:pt x="3896" y="5601"/>
                    <a:pt x="3896" y="5592"/>
                    <a:pt x="3905" y="5685"/>
                  </a:cubicBezTo>
                  <a:cubicBezTo>
                    <a:pt x="3914" y="5781"/>
                    <a:pt x="3896" y="5841"/>
                    <a:pt x="3821" y="5970"/>
                  </a:cubicBezTo>
                  <a:cubicBezTo>
                    <a:pt x="3788" y="6027"/>
                    <a:pt x="3756" y="6085"/>
                    <a:pt x="3750" y="6099"/>
                  </a:cubicBezTo>
                  <a:lnTo>
                    <a:pt x="3739" y="6124"/>
                  </a:lnTo>
                  <a:lnTo>
                    <a:pt x="3436" y="6124"/>
                  </a:lnTo>
                  <a:lnTo>
                    <a:pt x="3132" y="6124"/>
                  </a:lnTo>
                  <a:lnTo>
                    <a:pt x="3132" y="7083"/>
                  </a:lnTo>
                  <a:lnTo>
                    <a:pt x="3132" y="8041"/>
                  </a:lnTo>
                  <a:lnTo>
                    <a:pt x="3633" y="8044"/>
                  </a:lnTo>
                  <a:lnTo>
                    <a:pt x="4134" y="8046"/>
                  </a:lnTo>
                  <a:lnTo>
                    <a:pt x="4141" y="8081"/>
                  </a:lnTo>
                  <a:cubicBezTo>
                    <a:pt x="4145" y="8100"/>
                    <a:pt x="4152" y="8240"/>
                    <a:pt x="4156" y="8390"/>
                  </a:cubicBezTo>
                  <a:cubicBezTo>
                    <a:pt x="4165" y="8699"/>
                    <a:pt x="4170" y="8730"/>
                    <a:pt x="4240" y="8909"/>
                  </a:cubicBezTo>
                  <a:cubicBezTo>
                    <a:pt x="4290" y="9040"/>
                    <a:pt x="4304" y="9092"/>
                    <a:pt x="4316" y="9212"/>
                  </a:cubicBezTo>
                  <a:cubicBezTo>
                    <a:pt x="4322" y="9265"/>
                    <a:pt x="4338" y="9357"/>
                    <a:pt x="4352" y="9415"/>
                  </a:cubicBezTo>
                  <a:cubicBezTo>
                    <a:pt x="4383" y="9540"/>
                    <a:pt x="4381" y="9564"/>
                    <a:pt x="4333" y="9643"/>
                  </a:cubicBezTo>
                  <a:cubicBezTo>
                    <a:pt x="4285" y="9724"/>
                    <a:pt x="4276" y="9767"/>
                    <a:pt x="4290" y="9873"/>
                  </a:cubicBezTo>
                  <a:cubicBezTo>
                    <a:pt x="4300" y="9950"/>
                    <a:pt x="4303" y="9961"/>
                    <a:pt x="4324" y="9976"/>
                  </a:cubicBezTo>
                  <a:cubicBezTo>
                    <a:pt x="4345" y="9990"/>
                    <a:pt x="4406" y="10013"/>
                    <a:pt x="4452" y="10023"/>
                  </a:cubicBezTo>
                  <a:cubicBezTo>
                    <a:pt x="4493" y="10032"/>
                    <a:pt x="4607" y="10028"/>
                    <a:pt x="4658" y="10016"/>
                  </a:cubicBezTo>
                  <a:cubicBezTo>
                    <a:pt x="4724" y="10000"/>
                    <a:pt x="4755" y="9985"/>
                    <a:pt x="4797" y="9949"/>
                  </a:cubicBezTo>
                  <a:cubicBezTo>
                    <a:pt x="4823" y="9926"/>
                    <a:pt x="4828" y="9915"/>
                    <a:pt x="4828" y="9884"/>
                  </a:cubicBezTo>
                  <a:cubicBezTo>
                    <a:pt x="4828" y="9863"/>
                    <a:pt x="4836" y="9803"/>
                    <a:pt x="4845" y="9750"/>
                  </a:cubicBezTo>
                  <a:cubicBezTo>
                    <a:pt x="4867" y="9632"/>
                    <a:pt x="4868" y="9572"/>
                    <a:pt x="4849" y="9512"/>
                  </a:cubicBezTo>
                  <a:cubicBezTo>
                    <a:pt x="4835" y="9467"/>
                    <a:pt x="4835" y="9464"/>
                    <a:pt x="4854" y="9439"/>
                  </a:cubicBezTo>
                  <a:cubicBezTo>
                    <a:pt x="4887" y="9391"/>
                    <a:pt x="4924" y="9302"/>
                    <a:pt x="4938" y="9234"/>
                  </a:cubicBezTo>
                  <a:cubicBezTo>
                    <a:pt x="4977" y="9038"/>
                    <a:pt x="4963" y="8838"/>
                    <a:pt x="4877" y="8351"/>
                  </a:cubicBezTo>
                  <a:cubicBezTo>
                    <a:pt x="4860" y="8256"/>
                    <a:pt x="4845" y="8164"/>
                    <a:pt x="4844" y="8147"/>
                  </a:cubicBezTo>
                  <a:lnTo>
                    <a:pt x="4841" y="8117"/>
                  </a:lnTo>
                  <a:lnTo>
                    <a:pt x="4925" y="8117"/>
                  </a:lnTo>
                  <a:lnTo>
                    <a:pt x="5009" y="8117"/>
                  </a:lnTo>
                  <a:lnTo>
                    <a:pt x="5016" y="8174"/>
                  </a:lnTo>
                  <a:cubicBezTo>
                    <a:pt x="5020" y="8206"/>
                    <a:pt x="5045" y="8368"/>
                    <a:pt x="5071" y="8536"/>
                  </a:cubicBezTo>
                  <a:cubicBezTo>
                    <a:pt x="5125" y="8878"/>
                    <a:pt x="5142" y="9029"/>
                    <a:pt x="5151" y="9216"/>
                  </a:cubicBezTo>
                  <a:cubicBezTo>
                    <a:pt x="5157" y="9340"/>
                    <a:pt x="5145" y="9559"/>
                    <a:pt x="5129" y="9648"/>
                  </a:cubicBezTo>
                  <a:cubicBezTo>
                    <a:pt x="5124" y="9675"/>
                    <a:pt x="5124" y="9691"/>
                    <a:pt x="5130" y="9694"/>
                  </a:cubicBezTo>
                  <a:cubicBezTo>
                    <a:pt x="5135" y="9698"/>
                    <a:pt x="5182" y="9708"/>
                    <a:pt x="5233" y="9719"/>
                  </a:cubicBezTo>
                  <a:cubicBezTo>
                    <a:pt x="5343" y="9741"/>
                    <a:pt x="5444" y="9743"/>
                    <a:pt x="5504" y="9724"/>
                  </a:cubicBezTo>
                  <a:cubicBezTo>
                    <a:pt x="5546" y="9712"/>
                    <a:pt x="5548" y="9712"/>
                    <a:pt x="5570" y="9733"/>
                  </a:cubicBezTo>
                  <a:cubicBezTo>
                    <a:pt x="5669" y="9828"/>
                    <a:pt x="6002" y="9871"/>
                    <a:pt x="6248" y="9820"/>
                  </a:cubicBezTo>
                  <a:cubicBezTo>
                    <a:pt x="6329" y="9805"/>
                    <a:pt x="6407" y="9771"/>
                    <a:pt x="6415" y="9750"/>
                  </a:cubicBezTo>
                  <a:cubicBezTo>
                    <a:pt x="6424" y="9728"/>
                    <a:pt x="6385" y="9661"/>
                    <a:pt x="6335" y="9611"/>
                  </a:cubicBezTo>
                  <a:cubicBezTo>
                    <a:pt x="6282" y="9558"/>
                    <a:pt x="6198" y="9517"/>
                    <a:pt x="6082" y="9486"/>
                  </a:cubicBezTo>
                  <a:cubicBezTo>
                    <a:pt x="6008" y="9466"/>
                    <a:pt x="5995" y="9460"/>
                    <a:pt x="5963" y="9426"/>
                  </a:cubicBezTo>
                  <a:cubicBezTo>
                    <a:pt x="5890" y="9351"/>
                    <a:pt x="5872" y="9245"/>
                    <a:pt x="5872" y="8912"/>
                  </a:cubicBezTo>
                  <a:cubicBezTo>
                    <a:pt x="5871" y="8712"/>
                    <a:pt x="5864" y="8640"/>
                    <a:pt x="5813" y="8333"/>
                  </a:cubicBezTo>
                  <a:cubicBezTo>
                    <a:pt x="5757" y="7998"/>
                    <a:pt x="5755" y="7897"/>
                    <a:pt x="5804" y="7626"/>
                  </a:cubicBezTo>
                  <a:cubicBezTo>
                    <a:pt x="5857" y="7324"/>
                    <a:pt x="5871" y="7080"/>
                    <a:pt x="5874" y="6358"/>
                  </a:cubicBezTo>
                  <a:cubicBezTo>
                    <a:pt x="5877" y="5870"/>
                    <a:pt x="5882" y="5793"/>
                    <a:pt x="5920" y="5671"/>
                  </a:cubicBezTo>
                  <a:cubicBezTo>
                    <a:pt x="5946" y="5587"/>
                    <a:pt x="5946" y="5550"/>
                    <a:pt x="5923" y="5409"/>
                  </a:cubicBezTo>
                  <a:cubicBezTo>
                    <a:pt x="5902" y="5287"/>
                    <a:pt x="5904" y="5199"/>
                    <a:pt x="5927" y="5153"/>
                  </a:cubicBezTo>
                  <a:cubicBezTo>
                    <a:pt x="5945" y="5119"/>
                    <a:pt x="5957" y="5119"/>
                    <a:pt x="5990" y="5153"/>
                  </a:cubicBezTo>
                  <a:cubicBezTo>
                    <a:pt x="6003" y="5167"/>
                    <a:pt x="6024" y="5179"/>
                    <a:pt x="6035" y="5179"/>
                  </a:cubicBezTo>
                  <a:cubicBezTo>
                    <a:pt x="6077" y="5179"/>
                    <a:pt x="6140" y="5070"/>
                    <a:pt x="6158" y="4965"/>
                  </a:cubicBezTo>
                  <a:cubicBezTo>
                    <a:pt x="6163" y="4938"/>
                    <a:pt x="6172" y="4926"/>
                    <a:pt x="6203" y="4904"/>
                  </a:cubicBezTo>
                  <a:cubicBezTo>
                    <a:pt x="6337" y="4812"/>
                    <a:pt x="6396" y="4683"/>
                    <a:pt x="6394" y="4481"/>
                  </a:cubicBezTo>
                  <a:cubicBezTo>
                    <a:pt x="6393" y="4318"/>
                    <a:pt x="6380" y="4275"/>
                    <a:pt x="6234" y="3982"/>
                  </a:cubicBezTo>
                  <a:cubicBezTo>
                    <a:pt x="6095" y="3704"/>
                    <a:pt x="6073" y="3650"/>
                    <a:pt x="6043" y="3497"/>
                  </a:cubicBezTo>
                  <a:cubicBezTo>
                    <a:pt x="5995" y="3254"/>
                    <a:pt x="5987" y="3012"/>
                    <a:pt x="6020" y="2728"/>
                  </a:cubicBezTo>
                  <a:cubicBezTo>
                    <a:pt x="6042" y="2534"/>
                    <a:pt x="6047" y="2329"/>
                    <a:pt x="6031" y="2262"/>
                  </a:cubicBezTo>
                  <a:cubicBezTo>
                    <a:pt x="6001" y="2140"/>
                    <a:pt x="5965" y="2107"/>
                    <a:pt x="5730" y="1993"/>
                  </a:cubicBezTo>
                  <a:cubicBezTo>
                    <a:pt x="5611" y="1935"/>
                    <a:pt x="5566" y="1909"/>
                    <a:pt x="5528" y="1873"/>
                  </a:cubicBezTo>
                  <a:lnTo>
                    <a:pt x="5441" y="1788"/>
                  </a:lnTo>
                  <a:cubicBezTo>
                    <a:pt x="5444" y="1774"/>
                    <a:pt x="5447" y="1759"/>
                    <a:pt x="5447" y="1747"/>
                  </a:cubicBezTo>
                  <a:cubicBezTo>
                    <a:pt x="5447" y="1715"/>
                    <a:pt x="5452" y="1698"/>
                    <a:pt x="5472" y="1673"/>
                  </a:cubicBezTo>
                  <a:cubicBezTo>
                    <a:pt x="5574" y="1542"/>
                    <a:pt x="5663" y="1383"/>
                    <a:pt x="5734" y="1205"/>
                  </a:cubicBezTo>
                  <a:cubicBezTo>
                    <a:pt x="5783" y="1081"/>
                    <a:pt x="5784" y="1076"/>
                    <a:pt x="5780" y="1011"/>
                  </a:cubicBezTo>
                  <a:cubicBezTo>
                    <a:pt x="5774" y="928"/>
                    <a:pt x="5751" y="864"/>
                    <a:pt x="5693" y="776"/>
                  </a:cubicBezTo>
                  <a:cubicBezTo>
                    <a:pt x="5615" y="655"/>
                    <a:pt x="5504" y="562"/>
                    <a:pt x="5374" y="507"/>
                  </a:cubicBezTo>
                  <a:cubicBezTo>
                    <a:pt x="5328" y="488"/>
                    <a:pt x="5304" y="484"/>
                    <a:pt x="5238" y="484"/>
                  </a:cubicBezTo>
                  <a:cubicBezTo>
                    <a:pt x="5229" y="484"/>
                    <a:pt x="5221" y="484"/>
                    <a:pt x="5214" y="48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75" name="Freeform 38">
              <a:extLst>
                <a:ext uri="{FF2B5EF4-FFF2-40B4-BE49-F238E27FC236}">
                  <a16:creationId xmlns:a16="http://schemas.microsoft.com/office/drawing/2014/main" id="{2AD75B24-21A0-4B62-9E0A-6CE1BA62C624}"/>
                </a:ext>
              </a:extLst>
            </p:cNvPr>
            <p:cNvSpPr>
              <a:spLocks noEditPoints="1"/>
            </p:cNvSpPr>
            <p:nvPr/>
          </p:nvSpPr>
          <p:spPr bwMode="auto">
            <a:xfrm>
              <a:off x="5903" y="2635"/>
              <a:ext cx="411" cy="1234"/>
            </a:xfrm>
            <a:custGeom>
              <a:avLst/>
              <a:gdLst>
                <a:gd name="T0" fmla="*/ 2314 w 3353"/>
                <a:gd name="T1" fmla="*/ 6 h 10056"/>
                <a:gd name="T2" fmla="*/ 1466 w 3353"/>
                <a:gd name="T3" fmla="*/ 987 h 10056"/>
                <a:gd name="T4" fmla="*/ 964 w 3353"/>
                <a:gd name="T5" fmla="*/ 1760 h 10056"/>
                <a:gd name="T6" fmla="*/ 514 w 3353"/>
                <a:gd name="T7" fmla="*/ 2407 h 10056"/>
                <a:gd name="T8" fmla="*/ 255 w 3353"/>
                <a:gd name="T9" fmla="*/ 2809 h 10056"/>
                <a:gd name="T10" fmla="*/ 194 w 3353"/>
                <a:gd name="T11" fmla="*/ 3550 h 10056"/>
                <a:gd name="T12" fmla="*/ 830 w 3353"/>
                <a:gd name="T13" fmla="*/ 4117 h 10056"/>
                <a:gd name="T14" fmla="*/ 1160 w 3353"/>
                <a:gd name="T15" fmla="*/ 4589 h 10056"/>
                <a:gd name="T16" fmla="*/ 1117 w 3353"/>
                <a:gd name="T17" fmla="*/ 5035 h 10056"/>
                <a:gd name="T18" fmla="*/ 1245 w 3353"/>
                <a:gd name="T19" fmla="*/ 6369 h 10056"/>
                <a:gd name="T20" fmla="*/ 1473 w 3353"/>
                <a:gd name="T21" fmla="*/ 7116 h 10056"/>
                <a:gd name="T22" fmla="*/ 1186 w 3353"/>
                <a:gd name="T23" fmla="*/ 8065 h 10056"/>
                <a:gd name="T24" fmla="*/ 1035 w 3353"/>
                <a:gd name="T25" fmla="*/ 8595 h 10056"/>
                <a:gd name="T26" fmla="*/ 1002 w 3353"/>
                <a:gd name="T27" fmla="*/ 9659 h 10056"/>
                <a:gd name="T28" fmla="*/ 1363 w 3353"/>
                <a:gd name="T29" fmla="*/ 9652 h 10056"/>
                <a:gd name="T30" fmla="*/ 1549 w 3353"/>
                <a:gd name="T31" fmla="*/ 8553 h 10056"/>
                <a:gd name="T32" fmla="*/ 1826 w 3353"/>
                <a:gd name="T33" fmla="*/ 8362 h 10056"/>
                <a:gd name="T34" fmla="*/ 1679 w 3353"/>
                <a:gd name="T35" fmla="*/ 8976 h 10056"/>
                <a:gd name="T36" fmla="*/ 1645 w 3353"/>
                <a:gd name="T37" fmla="*/ 9767 h 10056"/>
                <a:gd name="T38" fmla="*/ 2200 w 3353"/>
                <a:gd name="T39" fmla="*/ 9654 h 10056"/>
                <a:gd name="T40" fmla="*/ 2115 w 3353"/>
                <a:gd name="T41" fmla="*/ 8976 h 10056"/>
                <a:gd name="T42" fmla="*/ 2411 w 3353"/>
                <a:gd name="T43" fmla="*/ 8002 h 10056"/>
                <a:gd name="T44" fmla="*/ 2540 w 3353"/>
                <a:gd name="T45" fmla="*/ 7090 h 10056"/>
                <a:gd name="T46" fmla="*/ 3145 w 3353"/>
                <a:gd name="T47" fmla="*/ 6645 h 10056"/>
                <a:gd name="T48" fmla="*/ 3120 w 3353"/>
                <a:gd name="T49" fmla="*/ 6052 h 10056"/>
                <a:gd name="T50" fmla="*/ 3140 w 3353"/>
                <a:gd name="T51" fmla="*/ 4971 h 10056"/>
                <a:gd name="T52" fmla="*/ 3132 w 3353"/>
                <a:gd name="T53" fmla="*/ 4187 h 10056"/>
                <a:gd name="T54" fmla="*/ 3255 w 3353"/>
                <a:gd name="T55" fmla="*/ 3721 h 10056"/>
                <a:gd name="T56" fmla="*/ 3119 w 3353"/>
                <a:gd name="T57" fmla="*/ 2978 h 10056"/>
                <a:gd name="T58" fmla="*/ 3190 w 3353"/>
                <a:gd name="T59" fmla="*/ 2215 h 10056"/>
                <a:gd name="T60" fmla="*/ 3046 w 3353"/>
                <a:gd name="T61" fmla="*/ 1894 h 10056"/>
                <a:gd name="T62" fmla="*/ 2957 w 3353"/>
                <a:gd name="T63" fmla="*/ 1652 h 10056"/>
                <a:gd name="T64" fmla="*/ 3050 w 3353"/>
                <a:gd name="T65" fmla="*/ 1177 h 10056"/>
                <a:gd name="T66" fmla="*/ 2960 w 3353"/>
                <a:gd name="T67" fmla="*/ 414 h 10056"/>
                <a:gd name="T68" fmla="*/ 2462 w 3353"/>
                <a:gd name="T69" fmla="*/ 6 h 10056"/>
                <a:gd name="T70" fmla="*/ 1021 w 3353"/>
                <a:gd name="T71" fmla="*/ 2766 h 10056"/>
                <a:gd name="T72" fmla="*/ 1211 w 3353"/>
                <a:gd name="T73" fmla="*/ 3742 h 10056"/>
                <a:gd name="T74" fmla="*/ 760 w 3353"/>
                <a:gd name="T75" fmla="*/ 3008 h 10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53" h="10056">
                  <a:moveTo>
                    <a:pt x="2373" y="0"/>
                  </a:moveTo>
                  <a:cubicBezTo>
                    <a:pt x="2356" y="0"/>
                    <a:pt x="2338" y="2"/>
                    <a:pt x="2314" y="6"/>
                  </a:cubicBezTo>
                  <a:cubicBezTo>
                    <a:pt x="2038" y="53"/>
                    <a:pt x="1879" y="347"/>
                    <a:pt x="1785" y="584"/>
                  </a:cubicBezTo>
                  <a:cubicBezTo>
                    <a:pt x="1725" y="734"/>
                    <a:pt x="1643" y="957"/>
                    <a:pt x="1466" y="987"/>
                  </a:cubicBezTo>
                  <a:cubicBezTo>
                    <a:pt x="1512" y="1140"/>
                    <a:pt x="1567" y="1466"/>
                    <a:pt x="1436" y="1591"/>
                  </a:cubicBezTo>
                  <a:cubicBezTo>
                    <a:pt x="1330" y="1691"/>
                    <a:pt x="1053" y="1681"/>
                    <a:pt x="964" y="1760"/>
                  </a:cubicBezTo>
                  <a:lnTo>
                    <a:pt x="702" y="2131"/>
                  </a:lnTo>
                  <a:lnTo>
                    <a:pt x="514" y="2407"/>
                  </a:lnTo>
                  <a:lnTo>
                    <a:pt x="415" y="2576"/>
                  </a:lnTo>
                  <a:lnTo>
                    <a:pt x="255" y="2809"/>
                  </a:lnTo>
                  <a:cubicBezTo>
                    <a:pt x="204" y="2895"/>
                    <a:pt x="49" y="3087"/>
                    <a:pt x="32" y="3169"/>
                  </a:cubicBezTo>
                  <a:cubicBezTo>
                    <a:pt x="0" y="3319"/>
                    <a:pt x="94" y="3453"/>
                    <a:pt x="194" y="3550"/>
                  </a:cubicBezTo>
                  <a:lnTo>
                    <a:pt x="661" y="3959"/>
                  </a:lnTo>
                  <a:lnTo>
                    <a:pt x="830" y="4117"/>
                  </a:lnTo>
                  <a:cubicBezTo>
                    <a:pt x="940" y="4206"/>
                    <a:pt x="1055" y="4262"/>
                    <a:pt x="1191" y="4208"/>
                  </a:cubicBezTo>
                  <a:lnTo>
                    <a:pt x="1160" y="4589"/>
                  </a:lnTo>
                  <a:lnTo>
                    <a:pt x="1117" y="4801"/>
                  </a:lnTo>
                  <a:cubicBezTo>
                    <a:pt x="1107" y="4879"/>
                    <a:pt x="1137" y="4928"/>
                    <a:pt x="1117" y="5035"/>
                  </a:cubicBezTo>
                  <a:lnTo>
                    <a:pt x="1067" y="5268"/>
                  </a:lnTo>
                  <a:lnTo>
                    <a:pt x="1245" y="6369"/>
                  </a:lnTo>
                  <a:lnTo>
                    <a:pt x="1315" y="6920"/>
                  </a:lnTo>
                  <a:cubicBezTo>
                    <a:pt x="1359" y="7032"/>
                    <a:pt x="1451" y="7050"/>
                    <a:pt x="1473" y="7116"/>
                  </a:cubicBezTo>
                  <a:cubicBezTo>
                    <a:pt x="1505" y="7213"/>
                    <a:pt x="1381" y="7239"/>
                    <a:pt x="1289" y="7429"/>
                  </a:cubicBezTo>
                  <a:cubicBezTo>
                    <a:pt x="1208" y="7596"/>
                    <a:pt x="1191" y="7879"/>
                    <a:pt x="1186" y="8065"/>
                  </a:cubicBezTo>
                  <a:cubicBezTo>
                    <a:pt x="1191" y="8130"/>
                    <a:pt x="1199" y="8358"/>
                    <a:pt x="1186" y="8402"/>
                  </a:cubicBezTo>
                  <a:cubicBezTo>
                    <a:pt x="1152" y="8473"/>
                    <a:pt x="1080" y="8496"/>
                    <a:pt x="1035" y="8595"/>
                  </a:cubicBezTo>
                  <a:cubicBezTo>
                    <a:pt x="992" y="8688"/>
                    <a:pt x="983" y="8833"/>
                    <a:pt x="960" y="8934"/>
                  </a:cubicBezTo>
                  <a:cubicBezTo>
                    <a:pt x="901" y="9190"/>
                    <a:pt x="733" y="9451"/>
                    <a:pt x="1002" y="9659"/>
                  </a:cubicBezTo>
                  <a:cubicBezTo>
                    <a:pt x="1036" y="9686"/>
                    <a:pt x="1085" y="9713"/>
                    <a:pt x="1127" y="9726"/>
                  </a:cubicBezTo>
                  <a:cubicBezTo>
                    <a:pt x="1207" y="9750"/>
                    <a:pt x="1332" y="9746"/>
                    <a:pt x="1363" y="9652"/>
                  </a:cubicBezTo>
                  <a:lnTo>
                    <a:pt x="1406" y="9167"/>
                  </a:lnTo>
                  <a:lnTo>
                    <a:pt x="1549" y="8553"/>
                  </a:lnTo>
                  <a:cubicBezTo>
                    <a:pt x="1608" y="8332"/>
                    <a:pt x="1769" y="8174"/>
                    <a:pt x="1826" y="7980"/>
                  </a:cubicBezTo>
                  <a:cubicBezTo>
                    <a:pt x="1861" y="8106"/>
                    <a:pt x="1826" y="8233"/>
                    <a:pt x="1826" y="8362"/>
                  </a:cubicBezTo>
                  <a:cubicBezTo>
                    <a:pt x="1826" y="8422"/>
                    <a:pt x="1832" y="8543"/>
                    <a:pt x="1815" y="8595"/>
                  </a:cubicBezTo>
                  <a:cubicBezTo>
                    <a:pt x="1780" y="8698"/>
                    <a:pt x="1684" y="8734"/>
                    <a:pt x="1679" y="8976"/>
                  </a:cubicBezTo>
                  <a:cubicBezTo>
                    <a:pt x="1677" y="9071"/>
                    <a:pt x="1685" y="9101"/>
                    <a:pt x="1693" y="9189"/>
                  </a:cubicBezTo>
                  <a:cubicBezTo>
                    <a:pt x="1689" y="9572"/>
                    <a:pt x="1609" y="9669"/>
                    <a:pt x="1645" y="9767"/>
                  </a:cubicBezTo>
                  <a:cubicBezTo>
                    <a:pt x="1677" y="9856"/>
                    <a:pt x="1975" y="10056"/>
                    <a:pt x="2131" y="9845"/>
                  </a:cubicBezTo>
                  <a:cubicBezTo>
                    <a:pt x="2167" y="9795"/>
                    <a:pt x="2195" y="9716"/>
                    <a:pt x="2200" y="9654"/>
                  </a:cubicBezTo>
                  <a:lnTo>
                    <a:pt x="2138" y="9146"/>
                  </a:lnTo>
                  <a:cubicBezTo>
                    <a:pt x="2128" y="9087"/>
                    <a:pt x="2111" y="9038"/>
                    <a:pt x="2115" y="8976"/>
                  </a:cubicBezTo>
                  <a:cubicBezTo>
                    <a:pt x="2130" y="8761"/>
                    <a:pt x="2212" y="8601"/>
                    <a:pt x="2283" y="8404"/>
                  </a:cubicBezTo>
                  <a:lnTo>
                    <a:pt x="2411" y="8002"/>
                  </a:lnTo>
                  <a:lnTo>
                    <a:pt x="2540" y="7408"/>
                  </a:lnTo>
                  <a:lnTo>
                    <a:pt x="2540" y="7090"/>
                  </a:lnTo>
                  <a:cubicBezTo>
                    <a:pt x="2560" y="6955"/>
                    <a:pt x="2649" y="6950"/>
                    <a:pt x="2759" y="6913"/>
                  </a:cubicBezTo>
                  <a:cubicBezTo>
                    <a:pt x="2888" y="6869"/>
                    <a:pt x="3094" y="6780"/>
                    <a:pt x="3145" y="6645"/>
                  </a:cubicBezTo>
                  <a:cubicBezTo>
                    <a:pt x="3172" y="6575"/>
                    <a:pt x="3150" y="6504"/>
                    <a:pt x="3145" y="6433"/>
                  </a:cubicBezTo>
                  <a:lnTo>
                    <a:pt x="3120" y="6052"/>
                  </a:lnTo>
                  <a:lnTo>
                    <a:pt x="3140" y="5670"/>
                  </a:lnTo>
                  <a:lnTo>
                    <a:pt x="3140" y="4971"/>
                  </a:lnTo>
                  <a:lnTo>
                    <a:pt x="3095" y="4356"/>
                  </a:lnTo>
                  <a:cubicBezTo>
                    <a:pt x="3093" y="4292"/>
                    <a:pt x="3088" y="4239"/>
                    <a:pt x="3132" y="4187"/>
                  </a:cubicBezTo>
                  <a:cubicBezTo>
                    <a:pt x="3199" y="4111"/>
                    <a:pt x="3353" y="4080"/>
                    <a:pt x="3343" y="3932"/>
                  </a:cubicBezTo>
                  <a:cubicBezTo>
                    <a:pt x="3338" y="3860"/>
                    <a:pt x="3286" y="3785"/>
                    <a:pt x="3255" y="3721"/>
                  </a:cubicBezTo>
                  <a:cubicBezTo>
                    <a:pt x="3150" y="3503"/>
                    <a:pt x="3133" y="3524"/>
                    <a:pt x="3055" y="3275"/>
                  </a:cubicBezTo>
                  <a:cubicBezTo>
                    <a:pt x="3123" y="3215"/>
                    <a:pt x="3118" y="3066"/>
                    <a:pt x="3119" y="2978"/>
                  </a:cubicBezTo>
                  <a:lnTo>
                    <a:pt x="3182" y="2321"/>
                  </a:lnTo>
                  <a:cubicBezTo>
                    <a:pt x="3183" y="2310"/>
                    <a:pt x="3204" y="2269"/>
                    <a:pt x="3190" y="2215"/>
                  </a:cubicBezTo>
                  <a:cubicBezTo>
                    <a:pt x="3178" y="2150"/>
                    <a:pt x="3186" y="2087"/>
                    <a:pt x="3155" y="2026"/>
                  </a:cubicBezTo>
                  <a:cubicBezTo>
                    <a:pt x="3123" y="1963"/>
                    <a:pt x="3078" y="1939"/>
                    <a:pt x="3046" y="1894"/>
                  </a:cubicBezTo>
                  <a:cubicBezTo>
                    <a:pt x="3012" y="1844"/>
                    <a:pt x="3016" y="1803"/>
                    <a:pt x="2996" y="1749"/>
                  </a:cubicBezTo>
                  <a:cubicBezTo>
                    <a:pt x="2985" y="1720"/>
                    <a:pt x="2961" y="1680"/>
                    <a:pt x="2957" y="1652"/>
                  </a:cubicBezTo>
                  <a:cubicBezTo>
                    <a:pt x="2952" y="1615"/>
                    <a:pt x="2983" y="1535"/>
                    <a:pt x="2994" y="1495"/>
                  </a:cubicBezTo>
                  <a:cubicBezTo>
                    <a:pt x="3022" y="1391"/>
                    <a:pt x="3041" y="1284"/>
                    <a:pt x="3050" y="1177"/>
                  </a:cubicBezTo>
                  <a:cubicBezTo>
                    <a:pt x="3061" y="1042"/>
                    <a:pt x="2991" y="1016"/>
                    <a:pt x="2976" y="901"/>
                  </a:cubicBezTo>
                  <a:cubicBezTo>
                    <a:pt x="2961" y="787"/>
                    <a:pt x="3028" y="671"/>
                    <a:pt x="2960" y="414"/>
                  </a:cubicBezTo>
                  <a:cubicBezTo>
                    <a:pt x="2929" y="299"/>
                    <a:pt x="2884" y="274"/>
                    <a:pt x="2805" y="196"/>
                  </a:cubicBezTo>
                  <a:cubicBezTo>
                    <a:pt x="2646" y="38"/>
                    <a:pt x="2691" y="28"/>
                    <a:pt x="2462" y="6"/>
                  </a:cubicBezTo>
                  <a:cubicBezTo>
                    <a:pt x="2424" y="4"/>
                    <a:pt x="2400" y="0"/>
                    <a:pt x="2373" y="0"/>
                  </a:cubicBezTo>
                  <a:close/>
                  <a:moveTo>
                    <a:pt x="1021" y="2766"/>
                  </a:moveTo>
                  <a:lnTo>
                    <a:pt x="1161" y="3360"/>
                  </a:lnTo>
                  <a:cubicBezTo>
                    <a:pt x="1199" y="3497"/>
                    <a:pt x="1251" y="3600"/>
                    <a:pt x="1211" y="3742"/>
                  </a:cubicBezTo>
                  <a:cubicBezTo>
                    <a:pt x="1060" y="3671"/>
                    <a:pt x="668" y="3360"/>
                    <a:pt x="597" y="3212"/>
                  </a:cubicBezTo>
                  <a:cubicBezTo>
                    <a:pt x="728" y="3134"/>
                    <a:pt x="686" y="3112"/>
                    <a:pt x="760" y="3008"/>
                  </a:cubicBezTo>
                  <a:cubicBezTo>
                    <a:pt x="828" y="2911"/>
                    <a:pt x="916" y="2823"/>
                    <a:pt x="1021" y="276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76" name="Freeform 39">
              <a:extLst>
                <a:ext uri="{FF2B5EF4-FFF2-40B4-BE49-F238E27FC236}">
                  <a16:creationId xmlns:a16="http://schemas.microsoft.com/office/drawing/2014/main" id="{953AD754-D6FD-4AE9-9FD3-2B8C156D6BC5}"/>
                </a:ext>
              </a:extLst>
            </p:cNvPr>
            <p:cNvSpPr>
              <a:spLocks/>
            </p:cNvSpPr>
            <p:nvPr/>
          </p:nvSpPr>
          <p:spPr bwMode="auto">
            <a:xfrm>
              <a:off x="2693" y="2366"/>
              <a:ext cx="438" cy="605"/>
            </a:xfrm>
            <a:custGeom>
              <a:avLst/>
              <a:gdLst>
                <a:gd name="T0" fmla="*/ 258 w 3575"/>
                <a:gd name="T1" fmla="*/ 0 h 4932"/>
                <a:gd name="T2" fmla="*/ 15 w 3575"/>
                <a:gd name="T3" fmla="*/ 142 h 4932"/>
                <a:gd name="T4" fmla="*/ 96 w 3575"/>
                <a:gd name="T5" fmla="*/ 472 h 4932"/>
                <a:gd name="T6" fmla="*/ 114 w 3575"/>
                <a:gd name="T7" fmla="*/ 568 h 4932"/>
                <a:gd name="T8" fmla="*/ 132 w 3575"/>
                <a:gd name="T9" fmla="*/ 668 h 4932"/>
                <a:gd name="T10" fmla="*/ 196 w 3575"/>
                <a:gd name="T11" fmla="*/ 873 h 4932"/>
                <a:gd name="T12" fmla="*/ 259 w 3575"/>
                <a:gd name="T13" fmla="*/ 1306 h 4932"/>
                <a:gd name="T14" fmla="*/ 283 w 3575"/>
                <a:gd name="T15" fmla="*/ 1569 h 4932"/>
                <a:gd name="T16" fmla="*/ 288 w 3575"/>
                <a:gd name="T17" fmla="*/ 1615 h 4932"/>
                <a:gd name="T18" fmla="*/ 285 w 3575"/>
                <a:gd name="T19" fmla="*/ 1616 h 4932"/>
                <a:gd name="T20" fmla="*/ 328 w 3575"/>
                <a:gd name="T21" fmla="*/ 1981 h 4932"/>
                <a:gd name="T22" fmla="*/ 782 w 3575"/>
                <a:gd name="T23" fmla="*/ 3629 h 4932"/>
                <a:gd name="T24" fmla="*/ 868 w 3575"/>
                <a:gd name="T25" fmla="*/ 4238 h 4932"/>
                <a:gd name="T26" fmla="*/ 871 w 3575"/>
                <a:gd name="T27" fmla="*/ 4249 h 4932"/>
                <a:gd name="T28" fmla="*/ 929 w 3575"/>
                <a:gd name="T29" fmla="*/ 4855 h 4932"/>
                <a:gd name="T30" fmla="*/ 932 w 3575"/>
                <a:gd name="T31" fmla="*/ 4925 h 4932"/>
                <a:gd name="T32" fmla="*/ 3575 w 3575"/>
                <a:gd name="T33" fmla="*/ 4932 h 4932"/>
                <a:gd name="T34" fmla="*/ 3572 w 3575"/>
                <a:gd name="T35" fmla="*/ 4501 h 4932"/>
                <a:gd name="T36" fmla="*/ 3570 w 3575"/>
                <a:gd name="T37" fmla="*/ 4116 h 4932"/>
                <a:gd name="T38" fmla="*/ 3520 w 3575"/>
                <a:gd name="T39" fmla="*/ 4090 h 4932"/>
                <a:gd name="T40" fmla="*/ 3047 w 3575"/>
                <a:gd name="T41" fmla="*/ 3922 h 4932"/>
                <a:gd name="T42" fmla="*/ 2913 w 3575"/>
                <a:gd name="T43" fmla="*/ 3859 h 4932"/>
                <a:gd name="T44" fmla="*/ 2825 w 3575"/>
                <a:gd name="T45" fmla="*/ 3593 h 4932"/>
                <a:gd name="T46" fmla="*/ 2940 w 3575"/>
                <a:gd name="T47" fmla="*/ 3362 h 4932"/>
                <a:gd name="T48" fmla="*/ 2978 w 3575"/>
                <a:gd name="T49" fmla="*/ 3241 h 4932"/>
                <a:gd name="T50" fmla="*/ 3001 w 3575"/>
                <a:gd name="T51" fmla="*/ 3110 h 4932"/>
                <a:gd name="T52" fmla="*/ 2973 w 3575"/>
                <a:gd name="T53" fmla="*/ 2964 h 4932"/>
                <a:gd name="T54" fmla="*/ 2950 w 3575"/>
                <a:gd name="T55" fmla="*/ 2846 h 4932"/>
                <a:gd name="T56" fmla="*/ 2903 w 3575"/>
                <a:gd name="T57" fmla="*/ 2650 h 4932"/>
                <a:gd name="T58" fmla="*/ 2899 w 3575"/>
                <a:gd name="T59" fmla="*/ 2642 h 4932"/>
                <a:gd name="T60" fmla="*/ 2898 w 3575"/>
                <a:gd name="T61" fmla="*/ 2641 h 4932"/>
                <a:gd name="T62" fmla="*/ 2896 w 3575"/>
                <a:gd name="T63" fmla="*/ 2635 h 4932"/>
                <a:gd name="T64" fmla="*/ 2892 w 3575"/>
                <a:gd name="T65" fmla="*/ 2624 h 4932"/>
                <a:gd name="T66" fmla="*/ 2860 w 3575"/>
                <a:gd name="T67" fmla="*/ 2576 h 4932"/>
                <a:gd name="T68" fmla="*/ 2813 w 3575"/>
                <a:gd name="T69" fmla="*/ 2514 h 4932"/>
                <a:gd name="T70" fmla="*/ 2673 w 3575"/>
                <a:gd name="T71" fmla="*/ 2356 h 4932"/>
                <a:gd name="T72" fmla="*/ 2528 w 3575"/>
                <a:gd name="T73" fmla="*/ 2294 h 4932"/>
                <a:gd name="T74" fmla="*/ 2527 w 3575"/>
                <a:gd name="T75" fmla="*/ 2293 h 4932"/>
                <a:gd name="T76" fmla="*/ 2504 w 3575"/>
                <a:gd name="T77" fmla="*/ 2280 h 4932"/>
                <a:gd name="T78" fmla="*/ 2238 w 3575"/>
                <a:gd name="T79" fmla="*/ 2236 h 4932"/>
                <a:gd name="T80" fmla="*/ 1761 w 3575"/>
                <a:gd name="T81" fmla="*/ 2308 h 4932"/>
                <a:gd name="T82" fmla="*/ 1381 w 3575"/>
                <a:gd name="T83" fmla="*/ 2677 h 4932"/>
                <a:gd name="T84" fmla="*/ 1218 w 3575"/>
                <a:gd name="T85" fmla="*/ 2374 h 4932"/>
                <a:gd name="T86" fmla="*/ 1067 w 3575"/>
                <a:gd name="T87" fmla="*/ 2151 h 4932"/>
                <a:gd name="T88" fmla="*/ 1067 w 3575"/>
                <a:gd name="T89" fmla="*/ 2149 h 4932"/>
                <a:gd name="T90" fmla="*/ 852 w 3575"/>
                <a:gd name="T91" fmla="*/ 1669 h 4932"/>
                <a:gd name="T92" fmla="*/ 707 w 3575"/>
                <a:gd name="T93" fmla="*/ 1135 h 4932"/>
                <a:gd name="T94" fmla="*/ 654 w 3575"/>
                <a:gd name="T95" fmla="*/ 905 h 4932"/>
                <a:gd name="T96" fmla="*/ 619 w 3575"/>
                <a:gd name="T97" fmla="*/ 770 h 4932"/>
                <a:gd name="T98" fmla="*/ 695 w 3575"/>
                <a:gd name="T99" fmla="*/ 433 h 4932"/>
                <a:gd name="T100" fmla="*/ 721 w 3575"/>
                <a:gd name="T101" fmla="*/ 349 h 4932"/>
                <a:gd name="T102" fmla="*/ 719 w 3575"/>
                <a:gd name="T103" fmla="*/ 347 h 4932"/>
                <a:gd name="T104" fmla="*/ 578 w 3575"/>
                <a:gd name="T105" fmla="*/ 52 h 4932"/>
                <a:gd name="T106" fmla="*/ 258 w 3575"/>
                <a:gd name="T107" fmla="*/ 0 h 4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75" h="4932">
                  <a:moveTo>
                    <a:pt x="258" y="0"/>
                  </a:moveTo>
                  <a:cubicBezTo>
                    <a:pt x="123" y="1"/>
                    <a:pt x="0" y="33"/>
                    <a:pt x="15" y="142"/>
                  </a:cubicBezTo>
                  <a:cubicBezTo>
                    <a:pt x="29" y="248"/>
                    <a:pt x="92" y="460"/>
                    <a:pt x="96" y="472"/>
                  </a:cubicBezTo>
                  <a:cubicBezTo>
                    <a:pt x="97" y="491"/>
                    <a:pt x="105" y="533"/>
                    <a:pt x="114" y="568"/>
                  </a:cubicBezTo>
                  <a:cubicBezTo>
                    <a:pt x="124" y="605"/>
                    <a:pt x="132" y="650"/>
                    <a:pt x="132" y="668"/>
                  </a:cubicBezTo>
                  <a:cubicBezTo>
                    <a:pt x="132" y="706"/>
                    <a:pt x="159" y="792"/>
                    <a:pt x="196" y="873"/>
                  </a:cubicBezTo>
                  <a:cubicBezTo>
                    <a:pt x="225" y="937"/>
                    <a:pt x="233" y="991"/>
                    <a:pt x="259" y="1306"/>
                  </a:cubicBezTo>
                  <a:cubicBezTo>
                    <a:pt x="269" y="1426"/>
                    <a:pt x="280" y="1544"/>
                    <a:pt x="283" y="1569"/>
                  </a:cubicBezTo>
                  <a:lnTo>
                    <a:pt x="288" y="1615"/>
                  </a:lnTo>
                  <a:lnTo>
                    <a:pt x="285" y="1616"/>
                  </a:lnTo>
                  <a:lnTo>
                    <a:pt x="328" y="1981"/>
                  </a:lnTo>
                  <a:cubicBezTo>
                    <a:pt x="433" y="2371"/>
                    <a:pt x="711" y="3411"/>
                    <a:pt x="782" y="3629"/>
                  </a:cubicBezTo>
                  <a:cubicBezTo>
                    <a:pt x="852" y="3844"/>
                    <a:pt x="865" y="4133"/>
                    <a:pt x="868" y="4238"/>
                  </a:cubicBezTo>
                  <a:cubicBezTo>
                    <a:pt x="869" y="4241"/>
                    <a:pt x="870" y="4245"/>
                    <a:pt x="871" y="4249"/>
                  </a:cubicBezTo>
                  <a:cubicBezTo>
                    <a:pt x="887" y="4315"/>
                    <a:pt x="929" y="4755"/>
                    <a:pt x="929" y="4855"/>
                  </a:cubicBezTo>
                  <a:cubicBezTo>
                    <a:pt x="929" y="4924"/>
                    <a:pt x="932" y="4925"/>
                    <a:pt x="932" y="4925"/>
                  </a:cubicBezTo>
                  <a:lnTo>
                    <a:pt x="3575" y="4932"/>
                  </a:lnTo>
                  <a:lnTo>
                    <a:pt x="3572" y="4501"/>
                  </a:lnTo>
                  <a:lnTo>
                    <a:pt x="3570" y="4116"/>
                  </a:lnTo>
                  <a:lnTo>
                    <a:pt x="3520" y="4090"/>
                  </a:lnTo>
                  <a:cubicBezTo>
                    <a:pt x="3370" y="4012"/>
                    <a:pt x="3133" y="3928"/>
                    <a:pt x="3047" y="3922"/>
                  </a:cubicBezTo>
                  <a:cubicBezTo>
                    <a:pt x="2989" y="3917"/>
                    <a:pt x="2984" y="3915"/>
                    <a:pt x="2913" y="3859"/>
                  </a:cubicBezTo>
                  <a:cubicBezTo>
                    <a:pt x="2775" y="3750"/>
                    <a:pt x="2740" y="3644"/>
                    <a:pt x="2825" y="3593"/>
                  </a:cubicBezTo>
                  <a:cubicBezTo>
                    <a:pt x="2866" y="3569"/>
                    <a:pt x="2927" y="3448"/>
                    <a:pt x="2940" y="3362"/>
                  </a:cubicBezTo>
                  <a:cubicBezTo>
                    <a:pt x="2946" y="3327"/>
                    <a:pt x="2963" y="3273"/>
                    <a:pt x="2978" y="3241"/>
                  </a:cubicBezTo>
                  <a:cubicBezTo>
                    <a:pt x="3004" y="3187"/>
                    <a:pt x="3006" y="3179"/>
                    <a:pt x="3001" y="3110"/>
                  </a:cubicBezTo>
                  <a:cubicBezTo>
                    <a:pt x="2998" y="3069"/>
                    <a:pt x="2985" y="3004"/>
                    <a:pt x="2973" y="2964"/>
                  </a:cubicBezTo>
                  <a:cubicBezTo>
                    <a:pt x="2960" y="2924"/>
                    <a:pt x="2950" y="2871"/>
                    <a:pt x="2950" y="2846"/>
                  </a:cubicBezTo>
                  <a:cubicBezTo>
                    <a:pt x="2949" y="2789"/>
                    <a:pt x="2928" y="2698"/>
                    <a:pt x="2903" y="2650"/>
                  </a:cubicBezTo>
                  <a:cubicBezTo>
                    <a:pt x="2902" y="2647"/>
                    <a:pt x="2900" y="2645"/>
                    <a:pt x="2899" y="2642"/>
                  </a:cubicBezTo>
                  <a:lnTo>
                    <a:pt x="2898" y="2641"/>
                  </a:lnTo>
                  <a:cubicBezTo>
                    <a:pt x="2898" y="2641"/>
                    <a:pt x="2897" y="2638"/>
                    <a:pt x="2896" y="2635"/>
                  </a:cubicBezTo>
                  <a:cubicBezTo>
                    <a:pt x="2894" y="2630"/>
                    <a:pt x="2892" y="2626"/>
                    <a:pt x="2892" y="2624"/>
                  </a:cubicBezTo>
                  <a:cubicBezTo>
                    <a:pt x="2886" y="2608"/>
                    <a:pt x="2875" y="2587"/>
                    <a:pt x="2860" y="2576"/>
                  </a:cubicBezTo>
                  <a:cubicBezTo>
                    <a:pt x="2835" y="2560"/>
                    <a:pt x="2829" y="2556"/>
                    <a:pt x="2813" y="2514"/>
                  </a:cubicBezTo>
                  <a:cubicBezTo>
                    <a:pt x="2796" y="2472"/>
                    <a:pt x="2719" y="2373"/>
                    <a:pt x="2673" y="2356"/>
                  </a:cubicBezTo>
                  <a:cubicBezTo>
                    <a:pt x="2628" y="2340"/>
                    <a:pt x="2528" y="2294"/>
                    <a:pt x="2528" y="2294"/>
                  </a:cubicBezTo>
                  <a:lnTo>
                    <a:pt x="2527" y="2293"/>
                  </a:lnTo>
                  <a:cubicBezTo>
                    <a:pt x="2518" y="2291"/>
                    <a:pt x="2512" y="2286"/>
                    <a:pt x="2504" y="2280"/>
                  </a:cubicBezTo>
                  <a:cubicBezTo>
                    <a:pt x="2432" y="2260"/>
                    <a:pt x="2323" y="2236"/>
                    <a:pt x="2238" y="2236"/>
                  </a:cubicBezTo>
                  <a:cubicBezTo>
                    <a:pt x="2099" y="2236"/>
                    <a:pt x="1870" y="2254"/>
                    <a:pt x="1761" y="2308"/>
                  </a:cubicBezTo>
                  <a:cubicBezTo>
                    <a:pt x="1653" y="2362"/>
                    <a:pt x="1393" y="2634"/>
                    <a:pt x="1381" y="2677"/>
                  </a:cubicBezTo>
                  <a:cubicBezTo>
                    <a:pt x="1369" y="2719"/>
                    <a:pt x="1266" y="2435"/>
                    <a:pt x="1218" y="2374"/>
                  </a:cubicBezTo>
                  <a:cubicBezTo>
                    <a:pt x="1170" y="2314"/>
                    <a:pt x="1085" y="2193"/>
                    <a:pt x="1067" y="2151"/>
                  </a:cubicBezTo>
                  <a:cubicBezTo>
                    <a:pt x="1067" y="2151"/>
                    <a:pt x="1067" y="2150"/>
                    <a:pt x="1067" y="2149"/>
                  </a:cubicBezTo>
                  <a:cubicBezTo>
                    <a:pt x="1061" y="2137"/>
                    <a:pt x="897" y="1785"/>
                    <a:pt x="852" y="1669"/>
                  </a:cubicBezTo>
                  <a:cubicBezTo>
                    <a:pt x="830" y="1611"/>
                    <a:pt x="707" y="1135"/>
                    <a:pt x="707" y="1135"/>
                  </a:cubicBezTo>
                  <a:lnTo>
                    <a:pt x="654" y="905"/>
                  </a:lnTo>
                  <a:cubicBezTo>
                    <a:pt x="628" y="854"/>
                    <a:pt x="618" y="813"/>
                    <a:pt x="619" y="770"/>
                  </a:cubicBezTo>
                  <a:cubicBezTo>
                    <a:pt x="620" y="707"/>
                    <a:pt x="656" y="548"/>
                    <a:pt x="695" y="433"/>
                  </a:cubicBezTo>
                  <a:cubicBezTo>
                    <a:pt x="709" y="391"/>
                    <a:pt x="721" y="353"/>
                    <a:pt x="721" y="349"/>
                  </a:cubicBezTo>
                  <a:cubicBezTo>
                    <a:pt x="721" y="348"/>
                    <a:pt x="720" y="347"/>
                    <a:pt x="719" y="347"/>
                  </a:cubicBezTo>
                  <a:cubicBezTo>
                    <a:pt x="763" y="159"/>
                    <a:pt x="693" y="116"/>
                    <a:pt x="578" y="52"/>
                  </a:cubicBezTo>
                  <a:cubicBezTo>
                    <a:pt x="541" y="32"/>
                    <a:pt x="393" y="0"/>
                    <a:pt x="258"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77" name="Freeform 40">
              <a:extLst>
                <a:ext uri="{FF2B5EF4-FFF2-40B4-BE49-F238E27FC236}">
                  <a16:creationId xmlns:a16="http://schemas.microsoft.com/office/drawing/2014/main" id="{5168AE60-A09A-44FD-A7DF-314633459DD8}"/>
                </a:ext>
              </a:extLst>
            </p:cNvPr>
            <p:cNvSpPr>
              <a:spLocks/>
            </p:cNvSpPr>
            <p:nvPr/>
          </p:nvSpPr>
          <p:spPr bwMode="auto">
            <a:xfrm>
              <a:off x="3217" y="1842"/>
              <a:ext cx="2088" cy="1279"/>
            </a:xfrm>
            <a:custGeom>
              <a:avLst/>
              <a:gdLst>
                <a:gd name="T0" fmla="*/ 8920 w 17055"/>
                <a:gd name="T1" fmla="*/ 0 h 10426"/>
                <a:gd name="T2" fmla="*/ 32 w 17055"/>
                <a:gd name="T3" fmla="*/ 629 h 10426"/>
                <a:gd name="T4" fmla="*/ 32 w 17055"/>
                <a:gd name="T5" fmla="*/ 629 h 10426"/>
                <a:gd name="T6" fmla="*/ 63 w 17055"/>
                <a:gd name="T7" fmla="*/ 5088 h 10426"/>
                <a:gd name="T8" fmla="*/ 299 w 17055"/>
                <a:gd name="T9" fmla="*/ 5059 h 10426"/>
                <a:gd name="T10" fmla="*/ 299 w 17055"/>
                <a:gd name="T11" fmla="*/ 10334 h 10426"/>
                <a:gd name="T12" fmla="*/ 405 w 17055"/>
                <a:gd name="T13" fmla="*/ 10425 h 10426"/>
                <a:gd name="T14" fmla="*/ 405 w 17055"/>
                <a:gd name="T15" fmla="*/ 10426 h 10426"/>
                <a:gd name="T16" fmla="*/ 512 w 17055"/>
                <a:gd name="T17" fmla="*/ 10334 h 10426"/>
                <a:gd name="T18" fmla="*/ 512 w 17055"/>
                <a:gd name="T19" fmla="*/ 10241 h 10426"/>
                <a:gd name="T20" fmla="*/ 512 w 17055"/>
                <a:gd name="T21" fmla="*/ 5034 h 10426"/>
                <a:gd name="T22" fmla="*/ 8669 w 17055"/>
                <a:gd name="T23" fmla="*/ 4523 h 10426"/>
                <a:gd name="T24" fmla="*/ 16533 w 17055"/>
                <a:gd name="T25" fmla="*/ 5023 h 10426"/>
                <a:gd name="T26" fmla="*/ 16533 w 17055"/>
                <a:gd name="T27" fmla="*/ 10334 h 10426"/>
                <a:gd name="T28" fmla="*/ 16639 w 17055"/>
                <a:gd name="T29" fmla="*/ 10425 h 10426"/>
                <a:gd name="T30" fmla="*/ 16639 w 17055"/>
                <a:gd name="T31" fmla="*/ 10426 h 10426"/>
                <a:gd name="T32" fmla="*/ 16746 w 17055"/>
                <a:gd name="T33" fmla="*/ 10334 h 10426"/>
                <a:gd name="T34" fmla="*/ 16746 w 17055"/>
                <a:gd name="T35" fmla="*/ 10241 h 10426"/>
                <a:gd name="T36" fmla="*/ 16746 w 17055"/>
                <a:gd name="T37" fmla="*/ 5049 h 10426"/>
                <a:gd name="T38" fmla="*/ 17055 w 17055"/>
                <a:gd name="T39" fmla="*/ 5088 h 10426"/>
                <a:gd name="T40" fmla="*/ 17055 w 17055"/>
                <a:gd name="T41" fmla="*/ 534 h 10426"/>
                <a:gd name="T42" fmla="*/ 8920 w 17055"/>
                <a:gd name="T43" fmla="*/ 0 h 10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055" h="10426">
                  <a:moveTo>
                    <a:pt x="8920" y="0"/>
                  </a:moveTo>
                  <a:cubicBezTo>
                    <a:pt x="4398" y="0"/>
                    <a:pt x="0" y="597"/>
                    <a:pt x="32" y="629"/>
                  </a:cubicBezTo>
                  <a:lnTo>
                    <a:pt x="32" y="629"/>
                  </a:lnTo>
                  <a:lnTo>
                    <a:pt x="63" y="5088"/>
                  </a:lnTo>
                  <a:cubicBezTo>
                    <a:pt x="63" y="5088"/>
                    <a:pt x="150" y="5077"/>
                    <a:pt x="299" y="5059"/>
                  </a:cubicBezTo>
                  <a:lnTo>
                    <a:pt x="299" y="10334"/>
                  </a:lnTo>
                  <a:cubicBezTo>
                    <a:pt x="299" y="10334"/>
                    <a:pt x="303" y="10425"/>
                    <a:pt x="405" y="10425"/>
                  </a:cubicBezTo>
                  <a:lnTo>
                    <a:pt x="405" y="10426"/>
                  </a:lnTo>
                  <a:cubicBezTo>
                    <a:pt x="507" y="10426"/>
                    <a:pt x="512" y="10334"/>
                    <a:pt x="512" y="10334"/>
                  </a:cubicBezTo>
                  <a:lnTo>
                    <a:pt x="512" y="10241"/>
                  </a:lnTo>
                  <a:lnTo>
                    <a:pt x="512" y="5034"/>
                  </a:lnTo>
                  <a:cubicBezTo>
                    <a:pt x="1734" y="4893"/>
                    <a:pt x="5262" y="4523"/>
                    <a:pt x="8669" y="4523"/>
                  </a:cubicBezTo>
                  <a:cubicBezTo>
                    <a:pt x="11995" y="4523"/>
                    <a:pt x="15293" y="4875"/>
                    <a:pt x="16533" y="5023"/>
                  </a:cubicBezTo>
                  <a:lnTo>
                    <a:pt x="16533" y="10334"/>
                  </a:lnTo>
                  <a:cubicBezTo>
                    <a:pt x="16533" y="10334"/>
                    <a:pt x="16537" y="10425"/>
                    <a:pt x="16639" y="10425"/>
                  </a:cubicBezTo>
                  <a:lnTo>
                    <a:pt x="16639" y="10426"/>
                  </a:lnTo>
                  <a:cubicBezTo>
                    <a:pt x="16741" y="10426"/>
                    <a:pt x="16746" y="10334"/>
                    <a:pt x="16746" y="10334"/>
                  </a:cubicBezTo>
                  <a:lnTo>
                    <a:pt x="16746" y="10241"/>
                  </a:lnTo>
                  <a:lnTo>
                    <a:pt x="16746" y="5049"/>
                  </a:lnTo>
                  <a:cubicBezTo>
                    <a:pt x="16939" y="5073"/>
                    <a:pt x="17055" y="5088"/>
                    <a:pt x="17055" y="5088"/>
                  </a:cubicBezTo>
                  <a:lnTo>
                    <a:pt x="17055" y="534"/>
                  </a:lnTo>
                  <a:cubicBezTo>
                    <a:pt x="17055" y="534"/>
                    <a:pt x="13443" y="0"/>
                    <a:pt x="892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grpSp>
      <p:sp>
        <p:nvSpPr>
          <p:cNvPr id="79" name="Block Arc 25">
            <a:extLst>
              <a:ext uri="{FF2B5EF4-FFF2-40B4-BE49-F238E27FC236}">
                <a16:creationId xmlns:a16="http://schemas.microsoft.com/office/drawing/2014/main" id="{ABD2C041-DABB-4F01-AF3F-B22D521697F6}"/>
              </a:ext>
            </a:extLst>
          </p:cNvPr>
          <p:cNvSpPr/>
          <p:nvPr/>
        </p:nvSpPr>
        <p:spPr>
          <a:xfrm rot="157752">
            <a:off x="5533507" y="3860926"/>
            <a:ext cx="262105" cy="378663"/>
          </a:xfrm>
          <a:custGeom>
            <a:avLst/>
            <a:gdLst/>
            <a:ahLst/>
            <a:cxnLst/>
            <a:rect l="l" t="t" r="r" b="b"/>
            <a:pathLst>
              <a:path w="2215656" h="3200962">
                <a:moveTo>
                  <a:pt x="1107829" y="2097026"/>
                </a:moveTo>
                <a:cubicBezTo>
                  <a:pt x="1025315" y="2097026"/>
                  <a:pt x="958423" y="2163918"/>
                  <a:pt x="958423" y="2246432"/>
                </a:cubicBezTo>
                <a:cubicBezTo>
                  <a:pt x="958423" y="2302715"/>
                  <a:pt x="989546" y="2351730"/>
                  <a:pt x="1036590" y="2375275"/>
                </a:cubicBezTo>
                <a:lnTo>
                  <a:pt x="985422" y="2684898"/>
                </a:lnTo>
                <a:lnTo>
                  <a:pt x="1230236" y="2684898"/>
                </a:lnTo>
                <a:lnTo>
                  <a:pt x="1179068" y="2375275"/>
                </a:lnTo>
                <a:cubicBezTo>
                  <a:pt x="1226112" y="2351730"/>
                  <a:pt x="1257234" y="2302715"/>
                  <a:pt x="1257234" y="2246432"/>
                </a:cubicBezTo>
                <a:cubicBezTo>
                  <a:pt x="1257234" y="2163918"/>
                  <a:pt x="1190343" y="2097026"/>
                  <a:pt x="1107829" y="2097026"/>
                </a:cubicBezTo>
                <a:close/>
                <a:moveTo>
                  <a:pt x="1102513" y="266871"/>
                </a:moveTo>
                <a:cubicBezTo>
                  <a:pt x="874876" y="269781"/>
                  <a:pt x="691868" y="455143"/>
                  <a:pt x="691868" y="682798"/>
                </a:cubicBezTo>
                <a:lnTo>
                  <a:pt x="690469" y="682798"/>
                </a:lnTo>
                <a:lnTo>
                  <a:pt x="690469" y="1580962"/>
                </a:lnTo>
                <a:lnTo>
                  <a:pt x="1525188" y="1580962"/>
                </a:lnTo>
                <a:lnTo>
                  <a:pt x="1525188" y="672127"/>
                </a:lnTo>
                <a:lnTo>
                  <a:pt x="1523654" y="672166"/>
                </a:lnTo>
                <a:cubicBezTo>
                  <a:pt x="1517835" y="444585"/>
                  <a:pt x="1330149" y="263961"/>
                  <a:pt x="1102513" y="266871"/>
                </a:cubicBezTo>
                <a:close/>
                <a:moveTo>
                  <a:pt x="1099102" y="56"/>
                </a:moveTo>
                <a:cubicBezTo>
                  <a:pt x="1472767" y="-4720"/>
                  <a:pt x="1780852" y="291773"/>
                  <a:pt x="1790404" y="665346"/>
                </a:cubicBezTo>
                <a:lnTo>
                  <a:pt x="1742843" y="666562"/>
                </a:lnTo>
                <a:lnTo>
                  <a:pt x="1790627" y="666562"/>
                </a:lnTo>
                <a:lnTo>
                  <a:pt x="1790627" y="1580962"/>
                </a:lnTo>
                <a:lnTo>
                  <a:pt x="2041344" y="1580962"/>
                </a:lnTo>
                <a:cubicBezTo>
                  <a:pt x="2137614" y="1580962"/>
                  <a:pt x="2215656" y="1659004"/>
                  <a:pt x="2215656" y="1755274"/>
                </a:cubicBezTo>
                <a:lnTo>
                  <a:pt x="2215656" y="3026650"/>
                </a:lnTo>
                <a:cubicBezTo>
                  <a:pt x="2215656" y="3122920"/>
                  <a:pt x="2137614" y="3200962"/>
                  <a:pt x="2041344" y="3200962"/>
                </a:cubicBezTo>
                <a:lnTo>
                  <a:pt x="174312" y="3200962"/>
                </a:lnTo>
                <a:cubicBezTo>
                  <a:pt x="78042" y="3200962"/>
                  <a:pt x="0" y="3122920"/>
                  <a:pt x="0" y="3026650"/>
                </a:cubicBezTo>
                <a:lnTo>
                  <a:pt x="0" y="1755274"/>
                </a:lnTo>
                <a:cubicBezTo>
                  <a:pt x="0" y="1659004"/>
                  <a:pt x="78042" y="1580962"/>
                  <a:pt x="174312" y="1580962"/>
                </a:cubicBezTo>
                <a:lnTo>
                  <a:pt x="425030" y="1580962"/>
                </a:lnTo>
                <a:lnTo>
                  <a:pt x="425030" y="676764"/>
                </a:lnTo>
                <a:lnTo>
                  <a:pt x="425634" y="676764"/>
                </a:lnTo>
                <a:cubicBezTo>
                  <a:pt x="428273" y="305830"/>
                  <a:pt x="727452" y="4806"/>
                  <a:pt x="1099102" y="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ko-KR" altLang="en-US" sz="2025" kern="1200">
              <a:solidFill>
                <a:prstClr val="black"/>
              </a:solidFill>
              <a:latin typeface="Arial"/>
            </a:endParaRPr>
          </a:p>
        </p:txBody>
      </p:sp>
    </p:spTree>
    <p:extLst>
      <p:ext uri="{BB962C8B-B14F-4D97-AF65-F5344CB8AC3E}">
        <p14:creationId xmlns:p14="http://schemas.microsoft.com/office/powerpoint/2010/main" val="38272960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7208D95-71A3-4C93-9F1B-DCC600DB6B0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2</a:t>
            </a:fld>
            <a:endParaRPr lang="en" dirty="0"/>
          </a:p>
        </p:txBody>
      </p:sp>
      <p:pic>
        <p:nvPicPr>
          <p:cNvPr id="5" name="Picture 4">
            <a:extLst>
              <a:ext uri="{FF2B5EF4-FFF2-40B4-BE49-F238E27FC236}">
                <a16:creationId xmlns:a16="http://schemas.microsoft.com/office/drawing/2014/main" id="{1758ABB0-5FE9-4F06-8D68-0F167D668BC5}"/>
              </a:ext>
            </a:extLst>
          </p:cNvPr>
          <p:cNvPicPr>
            <a:picLocks noChangeAspect="1"/>
          </p:cNvPicPr>
          <p:nvPr/>
        </p:nvPicPr>
        <p:blipFill>
          <a:blip r:embed="rId2"/>
          <a:stretch>
            <a:fillRect/>
          </a:stretch>
        </p:blipFill>
        <p:spPr>
          <a:xfrm>
            <a:off x="1" y="-1"/>
            <a:ext cx="9144000" cy="5143501"/>
          </a:xfrm>
          <a:prstGeom prst="rect">
            <a:avLst/>
          </a:prstGeom>
        </p:spPr>
      </p:pic>
    </p:spTree>
    <p:extLst>
      <p:ext uri="{BB962C8B-B14F-4D97-AF65-F5344CB8AC3E}">
        <p14:creationId xmlns:p14="http://schemas.microsoft.com/office/powerpoint/2010/main" val="30944771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89F7C6E-E147-4CD4-B35C-335AA8F33D89}"/>
              </a:ext>
            </a:extLst>
          </p:cNvPr>
          <p:cNvPicPr>
            <a:picLocks noChangeAspect="1"/>
          </p:cNvPicPr>
          <p:nvPr/>
        </p:nvPicPr>
        <p:blipFill>
          <a:blip r:embed="rId2"/>
          <a:stretch>
            <a:fillRect/>
          </a:stretch>
        </p:blipFill>
        <p:spPr>
          <a:xfrm>
            <a:off x="1" y="0"/>
            <a:ext cx="9144000" cy="5143500"/>
          </a:xfrm>
          <a:prstGeom prst="rect">
            <a:avLst/>
          </a:prstGeom>
        </p:spPr>
      </p:pic>
    </p:spTree>
    <p:extLst>
      <p:ext uri="{BB962C8B-B14F-4D97-AF65-F5344CB8AC3E}">
        <p14:creationId xmlns:p14="http://schemas.microsoft.com/office/powerpoint/2010/main" val="1891175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lt1">
                <a:lumMod val="97000"/>
              </a:schemeClr>
            </a:gs>
            <a:gs pos="50000">
              <a:schemeClr val="lt1"/>
            </a:gs>
            <a:gs pos="100000">
              <a:schemeClr val="lt2"/>
            </a:gs>
          </a:gsLst>
          <a:lin ang="2700006"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D2936-58E1-492B-96DA-584A3D6D615D}"/>
              </a:ext>
            </a:extLst>
          </p:cNvPr>
          <p:cNvSpPr>
            <a:spLocks noGrp="1"/>
          </p:cNvSpPr>
          <p:nvPr>
            <p:ph type="title"/>
          </p:nvPr>
        </p:nvSpPr>
        <p:spPr>
          <a:xfrm>
            <a:off x="1037850" y="297283"/>
            <a:ext cx="7068300" cy="396300"/>
          </a:xfrm>
        </p:spPr>
        <p:txBody>
          <a:bodyPr/>
          <a:lstStyle/>
          <a:p>
            <a:pPr algn="ctr"/>
            <a:r>
              <a:rPr lang="en-US" sz="3600" dirty="0">
                <a:solidFill>
                  <a:srgbClr val="0070C0"/>
                </a:solidFill>
              </a:rPr>
              <a:t>Correlation Table</a:t>
            </a:r>
          </a:p>
        </p:txBody>
      </p:sp>
      <p:graphicFrame>
        <p:nvGraphicFramePr>
          <p:cNvPr id="7" name="Table 6">
            <a:extLst>
              <a:ext uri="{FF2B5EF4-FFF2-40B4-BE49-F238E27FC236}">
                <a16:creationId xmlns:a16="http://schemas.microsoft.com/office/drawing/2014/main" id="{7FAA8AD2-8EE0-4E0C-8332-D0C3E75F0AB6}"/>
              </a:ext>
            </a:extLst>
          </p:cNvPr>
          <p:cNvGraphicFramePr>
            <a:graphicFrameLocks noGrp="1"/>
          </p:cNvGraphicFramePr>
          <p:nvPr>
            <p:extLst>
              <p:ext uri="{D42A27DB-BD31-4B8C-83A1-F6EECF244321}">
                <p14:modId xmlns:p14="http://schemas.microsoft.com/office/powerpoint/2010/main" val="83955826"/>
              </p:ext>
            </p:extLst>
          </p:nvPr>
        </p:nvGraphicFramePr>
        <p:xfrm>
          <a:off x="581246" y="1375144"/>
          <a:ext cx="8102009" cy="2431311"/>
        </p:xfrm>
        <a:graphic>
          <a:graphicData uri="http://schemas.openxmlformats.org/drawingml/2006/table">
            <a:tbl>
              <a:tblPr>
                <a:tableStyleId>{69CF1AB2-1976-4502-BF36-3FF5EA218861}</a:tableStyleId>
              </a:tblPr>
              <a:tblGrid>
                <a:gridCol w="2095641">
                  <a:extLst>
                    <a:ext uri="{9D8B030D-6E8A-4147-A177-3AD203B41FA5}">
                      <a16:colId xmlns:a16="http://schemas.microsoft.com/office/drawing/2014/main" val="2242315659"/>
                    </a:ext>
                  </a:extLst>
                </a:gridCol>
                <a:gridCol w="2291903">
                  <a:extLst>
                    <a:ext uri="{9D8B030D-6E8A-4147-A177-3AD203B41FA5}">
                      <a16:colId xmlns:a16="http://schemas.microsoft.com/office/drawing/2014/main" val="2546061327"/>
                    </a:ext>
                  </a:extLst>
                </a:gridCol>
                <a:gridCol w="1512883">
                  <a:extLst>
                    <a:ext uri="{9D8B030D-6E8A-4147-A177-3AD203B41FA5}">
                      <a16:colId xmlns:a16="http://schemas.microsoft.com/office/drawing/2014/main" val="3941069406"/>
                    </a:ext>
                  </a:extLst>
                </a:gridCol>
                <a:gridCol w="1185466">
                  <a:extLst>
                    <a:ext uri="{9D8B030D-6E8A-4147-A177-3AD203B41FA5}">
                      <a16:colId xmlns:a16="http://schemas.microsoft.com/office/drawing/2014/main" val="1592653984"/>
                    </a:ext>
                  </a:extLst>
                </a:gridCol>
                <a:gridCol w="1016116">
                  <a:extLst>
                    <a:ext uri="{9D8B030D-6E8A-4147-A177-3AD203B41FA5}">
                      <a16:colId xmlns:a16="http://schemas.microsoft.com/office/drawing/2014/main" val="3235620031"/>
                    </a:ext>
                  </a:extLst>
                </a:gridCol>
              </a:tblGrid>
              <a:tr h="446064">
                <a:tc>
                  <a:txBody>
                    <a:bodyPr/>
                    <a:lstStyle/>
                    <a:p>
                      <a:pPr algn="ctr" fontAlgn="ctr"/>
                      <a:r>
                        <a:rPr lang="en-IN" sz="1050" b="1" u="none" strike="noStrike" dirty="0">
                          <a:effectLst/>
                        </a:rPr>
                        <a:t> </a:t>
                      </a:r>
                      <a:endParaRPr lang="en-IN" sz="1050" b="1" i="1"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Female labour Force Participation Rate </a:t>
                      </a:r>
                      <a:endParaRPr lang="en-IN" sz="1050" b="1" i="1"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Maternal mortality ratio </a:t>
                      </a:r>
                      <a:endParaRPr lang="en-IN" sz="1050" b="1" i="1"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Literacy Rate</a:t>
                      </a:r>
                      <a:endParaRPr lang="en-IN" sz="1050" b="1" i="1"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Fertility rate</a:t>
                      </a:r>
                      <a:endParaRPr lang="en-IN" sz="1050" b="1" i="1" u="none" strike="noStrike" dirty="0">
                        <a:effectLst/>
                        <a:latin typeface="Calibri" panose="020F0502020204030204" pitchFamily="34" charset="0"/>
                      </a:endParaRPr>
                    </a:p>
                  </a:txBody>
                  <a:tcPr marL="5873" marR="5873" marT="5873" marB="0" anchor="ctr"/>
                </a:tc>
                <a:extLst>
                  <a:ext uri="{0D108BD9-81ED-4DB2-BD59-A6C34878D82A}">
                    <a16:rowId xmlns:a16="http://schemas.microsoft.com/office/drawing/2014/main" val="887159723"/>
                  </a:ext>
                </a:extLst>
              </a:tr>
              <a:tr h="556698">
                <a:tc>
                  <a:txBody>
                    <a:bodyPr/>
                    <a:lstStyle/>
                    <a:p>
                      <a:pPr algn="ctr" fontAlgn="ctr"/>
                      <a:r>
                        <a:rPr lang="en-IN" sz="1050" b="1" u="none" strike="noStrike" dirty="0">
                          <a:effectLst/>
                        </a:rPr>
                        <a:t>Female labour Force Participation Rate </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1</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endParaRPr lang="en-IN" sz="1050" b="1" i="0" u="none" strike="noStrike" dirty="0">
                        <a:effectLst/>
                        <a:latin typeface="Calibri" panose="020F0502020204030204" pitchFamily="34" charset="0"/>
                      </a:endParaRPr>
                    </a:p>
                  </a:txBody>
                  <a:tcPr marL="5873" marR="5873" marT="5873" marB="0" anchor="ctr"/>
                </a:tc>
                <a:extLst>
                  <a:ext uri="{0D108BD9-81ED-4DB2-BD59-A6C34878D82A}">
                    <a16:rowId xmlns:a16="http://schemas.microsoft.com/office/drawing/2014/main" val="808011122"/>
                  </a:ext>
                </a:extLst>
              </a:tr>
              <a:tr h="444824">
                <a:tc>
                  <a:txBody>
                    <a:bodyPr/>
                    <a:lstStyle/>
                    <a:p>
                      <a:pPr algn="ctr" fontAlgn="ctr"/>
                      <a:r>
                        <a:rPr lang="en-IN" sz="1050" b="1" u="none" strike="noStrike" dirty="0">
                          <a:effectLst/>
                        </a:rPr>
                        <a:t>Maternal mortality ratio </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0.922634407</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1</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endParaRPr lang="en-IN" sz="1050" b="1" i="0" u="none" strike="noStrike" dirty="0">
                        <a:effectLst/>
                        <a:latin typeface="Calibri" panose="020F0502020204030204" pitchFamily="34" charset="0"/>
                      </a:endParaRPr>
                    </a:p>
                  </a:txBody>
                  <a:tcPr marL="5873" marR="5873" marT="5873" marB="0" anchor="ctr"/>
                </a:tc>
                <a:extLst>
                  <a:ext uri="{0D108BD9-81ED-4DB2-BD59-A6C34878D82A}">
                    <a16:rowId xmlns:a16="http://schemas.microsoft.com/office/drawing/2014/main" val="412861902"/>
                  </a:ext>
                </a:extLst>
              </a:tr>
              <a:tr h="427027">
                <a:tc>
                  <a:txBody>
                    <a:bodyPr/>
                    <a:lstStyle/>
                    <a:p>
                      <a:pPr algn="ctr" fontAlgn="ctr"/>
                      <a:r>
                        <a:rPr lang="en-IN" sz="1050" b="1" u="none" strike="noStrike" dirty="0">
                          <a:effectLst/>
                        </a:rPr>
                        <a:t>Literacy Rate</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0.863524892</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0.973774249</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1</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endParaRPr lang="en-IN" sz="1050" b="1" i="0" u="none" strike="noStrike" dirty="0">
                        <a:effectLst/>
                        <a:latin typeface="Calibri" panose="020F0502020204030204" pitchFamily="34" charset="0"/>
                      </a:endParaRPr>
                    </a:p>
                  </a:txBody>
                  <a:tcPr marL="5873" marR="5873" marT="5873" marB="0" anchor="ctr"/>
                </a:tc>
                <a:extLst>
                  <a:ext uri="{0D108BD9-81ED-4DB2-BD59-A6C34878D82A}">
                    <a16:rowId xmlns:a16="http://schemas.microsoft.com/office/drawing/2014/main" val="1755909029"/>
                  </a:ext>
                </a:extLst>
              </a:tr>
              <a:tr h="556698">
                <a:tc>
                  <a:txBody>
                    <a:bodyPr/>
                    <a:lstStyle/>
                    <a:p>
                      <a:pPr algn="ctr" fontAlgn="ctr"/>
                      <a:r>
                        <a:rPr lang="en-IN" sz="1050" b="1" u="none" strike="noStrike" dirty="0">
                          <a:effectLst/>
                        </a:rPr>
                        <a:t>Fertility rate</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0.915009545</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0.988099755</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0.990367893</a:t>
                      </a:r>
                      <a:endParaRPr lang="en-IN" sz="1050" b="1" i="0" u="none" strike="noStrike" dirty="0">
                        <a:effectLst/>
                        <a:latin typeface="Calibri" panose="020F0502020204030204" pitchFamily="34" charset="0"/>
                      </a:endParaRPr>
                    </a:p>
                  </a:txBody>
                  <a:tcPr marL="5873" marR="5873" marT="5873" marB="0" anchor="ctr"/>
                </a:tc>
                <a:tc>
                  <a:txBody>
                    <a:bodyPr/>
                    <a:lstStyle/>
                    <a:p>
                      <a:pPr algn="ctr" fontAlgn="ctr"/>
                      <a:r>
                        <a:rPr lang="en-IN" sz="1050" b="1" u="none" strike="noStrike" dirty="0">
                          <a:effectLst/>
                        </a:rPr>
                        <a:t>1</a:t>
                      </a:r>
                      <a:endParaRPr lang="en-IN" sz="1050" b="1" i="0" u="none" strike="noStrike" dirty="0">
                        <a:effectLst/>
                        <a:latin typeface="Calibri" panose="020F0502020204030204" pitchFamily="34" charset="0"/>
                      </a:endParaRPr>
                    </a:p>
                  </a:txBody>
                  <a:tcPr marL="5873" marR="5873" marT="5873" marB="0" anchor="ctr"/>
                </a:tc>
                <a:extLst>
                  <a:ext uri="{0D108BD9-81ED-4DB2-BD59-A6C34878D82A}">
                    <a16:rowId xmlns:a16="http://schemas.microsoft.com/office/drawing/2014/main" val="2098779196"/>
                  </a:ext>
                </a:extLst>
              </a:tr>
            </a:tbl>
          </a:graphicData>
        </a:graphic>
      </p:graphicFrame>
    </p:spTree>
    <p:extLst>
      <p:ext uri="{BB962C8B-B14F-4D97-AF65-F5344CB8AC3E}">
        <p14:creationId xmlns:p14="http://schemas.microsoft.com/office/powerpoint/2010/main" val="23115570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Shape 118"/>
        <p:cNvGrpSpPr/>
        <p:nvPr/>
      </p:nvGrpSpPr>
      <p:grpSpPr>
        <a:xfrm>
          <a:off x="0" y="0"/>
          <a:ext cx="0" cy="0"/>
          <a:chOff x="0" y="0"/>
          <a:chExt cx="0" cy="0"/>
        </a:xfrm>
      </p:grpSpPr>
      <p:sp>
        <p:nvSpPr>
          <p:cNvPr id="119" name="Google Shape;119;p16"/>
          <p:cNvSpPr/>
          <p:nvPr/>
        </p:nvSpPr>
        <p:spPr>
          <a:xfrm rot="10800000">
            <a:off x="457200" y="1993654"/>
            <a:ext cx="4613400" cy="1092571"/>
          </a:xfrm>
          <a:prstGeom prst="rect">
            <a:avLst/>
          </a:prstGeom>
          <a:gradFill>
            <a:gsLst>
              <a:gs pos="0">
                <a:srgbClr val="EFEFEF"/>
              </a:gs>
              <a:gs pos="64000">
                <a:srgbClr val="F3F3F3"/>
              </a:gs>
              <a:gs pos="100000">
                <a:srgbClr val="FFFFFF">
                  <a:alpha val="0"/>
                </a:srgbClr>
              </a:gs>
            </a:gsLst>
            <a:lin ang="10800025"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16"/>
          <p:cNvSpPr/>
          <p:nvPr/>
        </p:nvSpPr>
        <p:spPr>
          <a:xfrm>
            <a:off x="4089826" y="1079533"/>
            <a:ext cx="4613400" cy="1221992"/>
          </a:xfrm>
          <a:prstGeom prst="rect">
            <a:avLst/>
          </a:prstGeom>
          <a:gradFill>
            <a:gsLst>
              <a:gs pos="0">
                <a:srgbClr val="EFEFEF"/>
              </a:gs>
              <a:gs pos="64000">
                <a:srgbClr val="F3F3F3"/>
              </a:gs>
              <a:gs pos="100000">
                <a:srgbClr val="FFFFFF">
                  <a:alpha val="0"/>
                </a:srgbClr>
              </a:gs>
            </a:gsLst>
            <a:lin ang="10800025"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16"/>
          <p:cNvSpPr/>
          <p:nvPr/>
        </p:nvSpPr>
        <p:spPr>
          <a:xfrm>
            <a:off x="4073650" y="2916139"/>
            <a:ext cx="4613400" cy="1248633"/>
          </a:xfrm>
          <a:prstGeom prst="rect">
            <a:avLst/>
          </a:prstGeom>
          <a:gradFill>
            <a:gsLst>
              <a:gs pos="0">
                <a:srgbClr val="EFEFEF"/>
              </a:gs>
              <a:gs pos="64000">
                <a:srgbClr val="F3F3F3"/>
              </a:gs>
              <a:gs pos="100000">
                <a:srgbClr val="FFFFFF">
                  <a:alpha val="0"/>
                </a:srgbClr>
              </a:gs>
            </a:gsLst>
            <a:lin ang="10800025"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16"/>
          <p:cNvSpPr/>
          <p:nvPr/>
        </p:nvSpPr>
        <p:spPr>
          <a:xfrm>
            <a:off x="3510437" y="1051947"/>
            <a:ext cx="1158785" cy="114932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16"/>
          <p:cNvSpPr/>
          <p:nvPr/>
        </p:nvSpPr>
        <p:spPr>
          <a:xfrm>
            <a:off x="4474780" y="1895549"/>
            <a:ext cx="1158785" cy="114932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16"/>
          <p:cNvSpPr/>
          <p:nvPr/>
        </p:nvSpPr>
        <p:spPr>
          <a:xfrm>
            <a:off x="3510437" y="2739152"/>
            <a:ext cx="1158785" cy="114932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16"/>
          <p:cNvSpPr txBox="1"/>
          <p:nvPr/>
        </p:nvSpPr>
        <p:spPr>
          <a:xfrm>
            <a:off x="5667797" y="1122781"/>
            <a:ext cx="2972400" cy="252600"/>
          </a:xfrm>
          <a:prstGeom prst="rect">
            <a:avLst/>
          </a:prstGeom>
          <a:noFill/>
          <a:ln>
            <a:noFill/>
          </a:ln>
        </p:spPr>
        <p:txBody>
          <a:bodyPr spcFirstLastPara="1" wrap="square" lIns="91425" tIns="91425" rIns="91425" bIns="91425" anchor="ctr" anchorCtr="0">
            <a:noAutofit/>
          </a:bodyPr>
          <a:lstStyle/>
          <a:p>
            <a:pPr marL="0" lvl="0" indent="0" rtl="0">
              <a:spcBef>
                <a:spcPts val="0"/>
              </a:spcBef>
              <a:spcAft>
                <a:spcPts val="0"/>
              </a:spcAft>
              <a:buNone/>
            </a:pPr>
            <a:r>
              <a:rPr lang="en-IN" sz="1600" b="1" dirty="0">
                <a:solidFill>
                  <a:schemeClr val="accent2"/>
                </a:solidFill>
                <a:latin typeface="Fira Sans Extra Condensed"/>
                <a:ea typeface="Fira Sans Extra Condensed"/>
                <a:cs typeface="Fira Sans Extra Condensed"/>
                <a:sym typeface="Fira Sans Extra Condensed"/>
              </a:rPr>
              <a:t>Maternal Mortality Rate</a:t>
            </a:r>
            <a:endParaRPr sz="1600" b="1" dirty="0">
              <a:solidFill>
                <a:schemeClr val="accent2"/>
              </a:solidFill>
              <a:latin typeface="Fira Sans Extra Condensed"/>
              <a:ea typeface="Fira Sans Extra Condensed"/>
              <a:cs typeface="Fira Sans Extra Condensed"/>
              <a:sym typeface="Fira Sans Extra Condensed"/>
            </a:endParaRPr>
          </a:p>
        </p:txBody>
      </p:sp>
      <p:sp>
        <p:nvSpPr>
          <p:cNvPr id="129" name="Google Shape;129;p16"/>
          <p:cNvSpPr txBox="1"/>
          <p:nvPr/>
        </p:nvSpPr>
        <p:spPr>
          <a:xfrm>
            <a:off x="5667797" y="1650382"/>
            <a:ext cx="2517600" cy="394157"/>
          </a:xfrm>
          <a:prstGeom prst="rect">
            <a:avLst/>
          </a:prstGeom>
          <a:noFill/>
          <a:ln>
            <a:noFill/>
          </a:ln>
        </p:spPr>
        <p:txBody>
          <a:bodyPr spcFirstLastPara="1" wrap="square" lIns="91425" tIns="91425" rIns="91425" bIns="91425" anchor="ctr" anchorCtr="0">
            <a:noAutofit/>
          </a:bodyPr>
          <a:lstStyle/>
          <a:p>
            <a:pPr marL="171450" lvl="0" indent="-171450" rtl="0">
              <a:spcBef>
                <a:spcPts val="0"/>
              </a:spcBef>
              <a:spcAft>
                <a:spcPts val="0"/>
              </a:spcAft>
              <a:buFont typeface="Arial" panose="020B0604020202020204" pitchFamily="34" charset="0"/>
              <a:buChar char="•"/>
            </a:pPr>
            <a:endParaRPr lang="en-IN" sz="1100" dirty="0">
              <a:solidFill>
                <a:srgbClr val="000000"/>
              </a:solidFill>
              <a:latin typeface="Roboto"/>
              <a:ea typeface="Roboto"/>
              <a:cs typeface="Roboto"/>
              <a:sym typeface="Roboto"/>
            </a:endParaRPr>
          </a:p>
          <a:p>
            <a:pPr marL="171450" lvl="0" indent="-171450" rtl="0">
              <a:spcBef>
                <a:spcPts val="0"/>
              </a:spcBef>
              <a:spcAft>
                <a:spcPts val="0"/>
              </a:spcAft>
              <a:buFont typeface="Arial" panose="020B0604020202020204" pitchFamily="34" charset="0"/>
              <a:buChar char="•"/>
            </a:pPr>
            <a:r>
              <a:rPr lang="en-IN" sz="1100" dirty="0">
                <a:latin typeface="Roboto"/>
                <a:ea typeface="Roboto"/>
                <a:cs typeface="Roboto"/>
                <a:sym typeface="Roboto"/>
              </a:rPr>
              <a:t>Strong Positive Correlation</a:t>
            </a:r>
          </a:p>
          <a:p>
            <a:pPr marL="171450" lvl="0" indent="-171450" rtl="0">
              <a:spcBef>
                <a:spcPts val="0"/>
              </a:spcBef>
              <a:spcAft>
                <a:spcPts val="0"/>
              </a:spcAft>
              <a:buFont typeface="Arial" panose="020B0604020202020204" pitchFamily="34" charset="0"/>
              <a:buChar char="•"/>
            </a:pPr>
            <a:r>
              <a:rPr lang="en-IN" sz="1100" dirty="0">
                <a:latin typeface="Roboto"/>
                <a:ea typeface="Roboto"/>
                <a:cs typeface="Roboto"/>
                <a:sym typeface="Roboto"/>
              </a:rPr>
              <a:t>Dedication to work</a:t>
            </a:r>
          </a:p>
          <a:p>
            <a:pPr marL="171450" indent="-171450">
              <a:buFont typeface="Arial" panose="020B0604020202020204" pitchFamily="34" charset="0"/>
              <a:buChar char="•"/>
            </a:pPr>
            <a:r>
              <a:rPr lang="en-IN" sz="1100" dirty="0">
                <a:solidFill>
                  <a:srgbClr val="000000"/>
                </a:solidFill>
                <a:latin typeface="Roboto"/>
                <a:ea typeface="Roboto"/>
                <a:cs typeface="Roboto"/>
                <a:sym typeface="Roboto"/>
              </a:rPr>
              <a:t>Negligence Towards Health</a:t>
            </a:r>
            <a:endParaRPr lang="en-IN" sz="1100" dirty="0">
              <a:latin typeface="Roboto"/>
              <a:ea typeface="Roboto"/>
              <a:cs typeface="Roboto"/>
              <a:sym typeface="Roboto"/>
            </a:endParaRPr>
          </a:p>
          <a:p>
            <a:pPr marL="171450" lvl="0" indent="-171450" rtl="0">
              <a:spcBef>
                <a:spcPts val="0"/>
              </a:spcBef>
              <a:spcAft>
                <a:spcPts val="0"/>
              </a:spcAft>
              <a:buFont typeface="Arial" panose="020B0604020202020204" pitchFamily="34" charset="0"/>
              <a:buChar char="•"/>
            </a:pPr>
            <a:r>
              <a:rPr lang="en-IN" sz="1100" dirty="0">
                <a:latin typeface="Roboto"/>
                <a:ea typeface="Roboto"/>
                <a:cs typeface="Roboto"/>
                <a:sym typeface="Roboto"/>
              </a:rPr>
              <a:t>Complexities During Pregnancy</a:t>
            </a:r>
          </a:p>
          <a:p>
            <a:pPr marL="171450" lvl="0" indent="-171450" rtl="0">
              <a:spcBef>
                <a:spcPts val="0"/>
              </a:spcBef>
              <a:spcAft>
                <a:spcPts val="0"/>
              </a:spcAft>
              <a:buFont typeface="Arial" panose="020B0604020202020204" pitchFamily="34" charset="0"/>
              <a:buChar char="•"/>
            </a:pPr>
            <a:r>
              <a:rPr lang="en-IN" sz="1100" dirty="0">
                <a:latin typeface="Roboto"/>
                <a:ea typeface="Roboto"/>
                <a:cs typeface="Roboto"/>
                <a:sym typeface="Roboto"/>
              </a:rPr>
              <a:t>Death</a:t>
            </a:r>
          </a:p>
          <a:p>
            <a:pPr marL="171450" lvl="0" indent="-171450" rtl="0">
              <a:spcBef>
                <a:spcPts val="0"/>
              </a:spcBef>
              <a:spcAft>
                <a:spcPts val="0"/>
              </a:spcAft>
              <a:buFont typeface="Arial" panose="020B0604020202020204" pitchFamily="34" charset="0"/>
              <a:buChar char="•"/>
            </a:pPr>
            <a:endParaRPr sz="1100" dirty="0">
              <a:solidFill>
                <a:srgbClr val="000000"/>
              </a:solidFill>
              <a:latin typeface="Roboto"/>
              <a:ea typeface="Roboto"/>
              <a:cs typeface="Roboto"/>
              <a:sym typeface="Roboto"/>
            </a:endParaRPr>
          </a:p>
        </p:txBody>
      </p:sp>
      <p:sp>
        <p:nvSpPr>
          <p:cNvPr id="130" name="Google Shape;130;p16"/>
          <p:cNvSpPr txBox="1"/>
          <p:nvPr/>
        </p:nvSpPr>
        <p:spPr>
          <a:xfrm>
            <a:off x="685800" y="1993655"/>
            <a:ext cx="2972400" cy="252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IN" sz="1600" b="1" dirty="0">
                <a:solidFill>
                  <a:schemeClr val="accent6"/>
                </a:solidFill>
                <a:latin typeface="Fira Sans Extra Condensed"/>
                <a:ea typeface="Fira Sans Extra Condensed"/>
                <a:cs typeface="Fira Sans Extra Condensed"/>
                <a:sym typeface="Fira Sans Extra Condensed"/>
              </a:rPr>
              <a:t>Literacy Rate </a:t>
            </a:r>
            <a:endParaRPr sz="1600" b="1" dirty="0">
              <a:solidFill>
                <a:schemeClr val="accent6"/>
              </a:solidFill>
              <a:latin typeface="Fira Sans Extra Condensed"/>
              <a:ea typeface="Fira Sans Extra Condensed"/>
              <a:cs typeface="Fira Sans Extra Condensed"/>
              <a:sym typeface="Fira Sans Extra Condensed"/>
            </a:endParaRPr>
          </a:p>
        </p:txBody>
      </p:sp>
      <p:sp>
        <p:nvSpPr>
          <p:cNvPr id="131" name="Google Shape;131;p16"/>
          <p:cNvSpPr txBox="1"/>
          <p:nvPr/>
        </p:nvSpPr>
        <p:spPr>
          <a:xfrm>
            <a:off x="685800" y="2431216"/>
            <a:ext cx="2517600" cy="371400"/>
          </a:xfrm>
          <a:prstGeom prst="rect">
            <a:avLst/>
          </a:prstGeom>
          <a:noFill/>
          <a:ln>
            <a:noFill/>
          </a:ln>
        </p:spPr>
        <p:txBody>
          <a:bodyPr spcFirstLastPara="1" wrap="square" lIns="91425" tIns="91425" rIns="91425" bIns="91425" anchor="ctr" anchorCtr="0">
            <a:noAutofit/>
          </a:bodyPr>
          <a:lstStyle/>
          <a:p>
            <a:pPr marL="171450" lvl="0" indent="-171450" algn="l" rtl="0">
              <a:spcBef>
                <a:spcPts val="0"/>
              </a:spcBef>
              <a:spcAft>
                <a:spcPts val="0"/>
              </a:spcAft>
              <a:buFont typeface="Arial" panose="020B0604020202020204" pitchFamily="34" charset="0"/>
              <a:buChar char="•"/>
            </a:pPr>
            <a:r>
              <a:rPr lang="en-IN" sz="1100" dirty="0">
                <a:latin typeface="Roboto"/>
                <a:ea typeface="Roboto"/>
                <a:cs typeface="Roboto"/>
                <a:sym typeface="Roboto"/>
              </a:rPr>
              <a:t>Strong Negative Correlation</a:t>
            </a:r>
          </a:p>
          <a:p>
            <a:pPr marL="171450" indent="-171450">
              <a:buFont typeface="Arial" panose="020B0604020202020204" pitchFamily="34" charset="0"/>
              <a:buChar char="•"/>
            </a:pPr>
            <a:r>
              <a:rPr lang="en-IN" sz="1100" dirty="0">
                <a:latin typeface="Roboto"/>
                <a:ea typeface="Roboto"/>
                <a:cs typeface="Roboto"/>
                <a:sym typeface="Roboto"/>
              </a:rPr>
              <a:t>Partiality in Posts</a:t>
            </a:r>
          </a:p>
          <a:p>
            <a:pPr marL="171450" lvl="0" indent="-171450" algn="l" rtl="0">
              <a:spcBef>
                <a:spcPts val="0"/>
              </a:spcBef>
              <a:spcAft>
                <a:spcPts val="0"/>
              </a:spcAft>
              <a:buFont typeface="Arial" panose="020B0604020202020204" pitchFamily="34" charset="0"/>
              <a:buChar char="•"/>
            </a:pPr>
            <a:r>
              <a:rPr lang="en-IN" sz="1100" dirty="0">
                <a:solidFill>
                  <a:srgbClr val="000000"/>
                </a:solidFill>
                <a:latin typeface="Roboto"/>
                <a:ea typeface="Roboto"/>
                <a:cs typeface="Roboto"/>
                <a:sym typeface="Roboto"/>
              </a:rPr>
              <a:t>Lower Wages</a:t>
            </a:r>
          </a:p>
          <a:p>
            <a:pPr marL="171450" lvl="0" indent="-171450" algn="l" rtl="0">
              <a:spcBef>
                <a:spcPts val="0"/>
              </a:spcBef>
              <a:spcAft>
                <a:spcPts val="0"/>
              </a:spcAft>
              <a:buFont typeface="Arial" panose="020B0604020202020204" pitchFamily="34" charset="0"/>
              <a:buChar char="•"/>
            </a:pPr>
            <a:r>
              <a:rPr lang="en-IN" sz="1100" dirty="0">
                <a:latin typeface="Roboto"/>
                <a:ea typeface="Roboto"/>
                <a:cs typeface="Roboto"/>
                <a:sym typeface="Roboto"/>
              </a:rPr>
              <a:t>Engagement in Primary Activities</a:t>
            </a:r>
            <a:endParaRPr sz="1100" dirty="0">
              <a:solidFill>
                <a:srgbClr val="000000"/>
              </a:solidFill>
              <a:latin typeface="Roboto"/>
              <a:ea typeface="Roboto"/>
              <a:cs typeface="Roboto"/>
              <a:sym typeface="Roboto"/>
            </a:endParaRPr>
          </a:p>
        </p:txBody>
      </p:sp>
      <p:sp>
        <p:nvSpPr>
          <p:cNvPr id="132" name="Google Shape;132;p16"/>
          <p:cNvSpPr txBox="1"/>
          <p:nvPr/>
        </p:nvSpPr>
        <p:spPr>
          <a:xfrm>
            <a:off x="5593314" y="2939252"/>
            <a:ext cx="2972400" cy="252600"/>
          </a:xfrm>
          <a:prstGeom prst="rect">
            <a:avLst/>
          </a:prstGeom>
          <a:noFill/>
          <a:ln>
            <a:noFill/>
          </a:ln>
        </p:spPr>
        <p:txBody>
          <a:bodyPr spcFirstLastPara="1" wrap="square" lIns="91425" tIns="91425" rIns="91425" bIns="91425" anchor="ctr" anchorCtr="0">
            <a:noAutofit/>
          </a:bodyPr>
          <a:lstStyle/>
          <a:p>
            <a:pPr marL="0" lvl="0" indent="0" rtl="0">
              <a:spcBef>
                <a:spcPts val="0"/>
              </a:spcBef>
              <a:spcAft>
                <a:spcPts val="0"/>
              </a:spcAft>
              <a:buNone/>
            </a:pPr>
            <a:r>
              <a:rPr lang="en-IN" sz="1600" b="1" dirty="0">
                <a:solidFill>
                  <a:schemeClr val="accent4"/>
                </a:solidFill>
                <a:latin typeface="Fira Sans Extra Condensed"/>
                <a:ea typeface="Fira Sans Extra Condensed"/>
                <a:cs typeface="Fira Sans Extra Condensed"/>
                <a:sym typeface="Fira Sans Extra Condensed"/>
              </a:rPr>
              <a:t>Fertility Rate </a:t>
            </a:r>
            <a:endParaRPr sz="1600" b="1" dirty="0">
              <a:solidFill>
                <a:schemeClr val="accent4"/>
              </a:solidFill>
              <a:latin typeface="Fira Sans Extra Condensed"/>
              <a:ea typeface="Fira Sans Extra Condensed"/>
              <a:cs typeface="Fira Sans Extra Condensed"/>
              <a:sym typeface="Fira Sans Extra Condensed"/>
            </a:endParaRPr>
          </a:p>
        </p:txBody>
      </p:sp>
      <p:sp>
        <p:nvSpPr>
          <p:cNvPr id="133" name="Google Shape;133;p16"/>
          <p:cNvSpPr txBox="1"/>
          <p:nvPr/>
        </p:nvSpPr>
        <p:spPr>
          <a:xfrm>
            <a:off x="5593314" y="3373529"/>
            <a:ext cx="2900916" cy="436800"/>
          </a:xfrm>
          <a:prstGeom prst="rect">
            <a:avLst/>
          </a:prstGeom>
          <a:noFill/>
          <a:ln>
            <a:noFill/>
          </a:ln>
        </p:spPr>
        <p:txBody>
          <a:bodyPr spcFirstLastPara="1" wrap="square" lIns="91425" tIns="91425" rIns="91425" bIns="91425" anchor="ctr" anchorCtr="0">
            <a:noAutofit/>
          </a:bodyPr>
          <a:lstStyle/>
          <a:p>
            <a:pPr marL="171450" lvl="0" indent="-171450" rtl="0">
              <a:spcBef>
                <a:spcPts val="0"/>
              </a:spcBef>
              <a:spcAft>
                <a:spcPts val="0"/>
              </a:spcAft>
              <a:buFont typeface="Arial" panose="020B0604020202020204" pitchFamily="34" charset="0"/>
              <a:buChar char="•"/>
            </a:pPr>
            <a:r>
              <a:rPr lang="en-IN" sz="1100" dirty="0">
                <a:solidFill>
                  <a:srgbClr val="000000"/>
                </a:solidFill>
                <a:latin typeface="Roboto"/>
                <a:ea typeface="Roboto"/>
                <a:cs typeface="Roboto"/>
                <a:sym typeface="Roboto"/>
              </a:rPr>
              <a:t>Strong Positive Correlation</a:t>
            </a:r>
          </a:p>
          <a:p>
            <a:pPr marL="171450" lvl="0" indent="-171450" rtl="0">
              <a:spcBef>
                <a:spcPts val="0"/>
              </a:spcBef>
              <a:spcAft>
                <a:spcPts val="0"/>
              </a:spcAft>
              <a:buFont typeface="Arial" panose="020B0604020202020204" pitchFamily="34" charset="0"/>
              <a:buChar char="•"/>
            </a:pPr>
            <a:r>
              <a:rPr lang="en-IN" sz="1100" dirty="0">
                <a:latin typeface="Roboto"/>
                <a:ea typeface="Roboto"/>
                <a:cs typeface="Roboto"/>
                <a:sym typeface="Roboto"/>
              </a:rPr>
              <a:t>Increase in Population</a:t>
            </a:r>
          </a:p>
          <a:p>
            <a:pPr marL="171450" lvl="0" indent="-171450" rtl="0">
              <a:spcBef>
                <a:spcPts val="0"/>
              </a:spcBef>
              <a:spcAft>
                <a:spcPts val="0"/>
              </a:spcAft>
              <a:buFont typeface="Arial" panose="020B0604020202020204" pitchFamily="34" charset="0"/>
              <a:buChar char="•"/>
            </a:pPr>
            <a:r>
              <a:rPr lang="en-IN" sz="1100" dirty="0">
                <a:solidFill>
                  <a:srgbClr val="000000"/>
                </a:solidFill>
                <a:latin typeface="Roboto"/>
                <a:ea typeface="Roboto"/>
                <a:cs typeface="Roboto"/>
                <a:sym typeface="Roboto"/>
              </a:rPr>
              <a:t>Burden on Sustenance</a:t>
            </a:r>
          </a:p>
          <a:p>
            <a:pPr lvl="0" rtl="0">
              <a:spcBef>
                <a:spcPts val="0"/>
              </a:spcBef>
              <a:spcAft>
                <a:spcPts val="0"/>
              </a:spcAft>
            </a:pPr>
            <a:endParaRPr sz="1100" dirty="0">
              <a:solidFill>
                <a:srgbClr val="000000"/>
              </a:solidFill>
              <a:latin typeface="Roboto"/>
              <a:ea typeface="Roboto"/>
              <a:cs typeface="Roboto"/>
              <a:sym typeface="Roboto"/>
            </a:endParaRPr>
          </a:p>
        </p:txBody>
      </p:sp>
      <p:sp>
        <p:nvSpPr>
          <p:cNvPr id="46" name="Freeform 97">
            <a:extLst>
              <a:ext uri="{FF2B5EF4-FFF2-40B4-BE49-F238E27FC236}">
                <a16:creationId xmlns:a16="http://schemas.microsoft.com/office/drawing/2014/main" id="{A2DB8C9B-434A-4ECA-ABD3-A31FB81523F1}"/>
              </a:ext>
            </a:extLst>
          </p:cNvPr>
          <p:cNvSpPr>
            <a:spLocks noChangeAspect="1"/>
          </p:cNvSpPr>
          <p:nvPr/>
        </p:nvSpPr>
        <p:spPr>
          <a:xfrm>
            <a:off x="3857661" y="3176876"/>
            <a:ext cx="464330" cy="346977"/>
          </a:xfrm>
          <a:custGeom>
            <a:avLst/>
            <a:gdLst/>
            <a:ahLst/>
            <a:cxnLst/>
            <a:rect l="l" t="t" r="r" b="b"/>
            <a:pathLst>
              <a:path w="3246245" h="2425805">
                <a:moveTo>
                  <a:pt x="2545666" y="706851"/>
                </a:moveTo>
                <a:cubicBezTo>
                  <a:pt x="2704742" y="706851"/>
                  <a:pt x="2833698" y="835807"/>
                  <a:pt x="2833698" y="994883"/>
                </a:cubicBezTo>
                <a:cubicBezTo>
                  <a:pt x="2833698" y="1153959"/>
                  <a:pt x="2704742" y="1282915"/>
                  <a:pt x="2545666" y="1282915"/>
                </a:cubicBezTo>
                <a:cubicBezTo>
                  <a:pt x="2386590" y="1282915"/>
                  <a:pt x="2257634" y="1153959"/>
                  <a:pt x="2257634" y="994883"/>
                </a:cubicBezTo>
                <a:cubicBezTo>
                  <a:pt x="2257634" y="835807"/>
                  <a:pt x="2386590" y="706851"/>
                  <a:pt x="2545666" y="706851"/>
                </a:cubicBezTo>
                <a:close/>
                <a:moveTo>
                  <a:pt x="700580" y="706851"/>
                </a:moveTo>
                <a:cubicBezTo>
                  <a:pt x="859656" y="706851"/>
                  <a:pt x="988612" y="835807"/>
                  <a:pt x="988612" y="994883"/>
                </a:cubicBezTo>
                <a:cubicBezTo>
                  <a:pt x="988612" y="1153959"/>
                  <a:pt x="859656" y="1282915"/>
                  <a:pt x="700580" y="1282915"/>
                </a:cubicBezTo>
                <a:cubicBezTo>
                  <a:pt x="541504" y="1282915"/>
                  <a:pt x="412548" y="1153959"/>
                  <a:pt x="412548" y="994883"/>
                </a:cubicBezTo>
                <a:cubicBezTo>
                  <a:pt x="412548" y="835807"/>
                  <a:pt x="541504" y="706851"/>
                  <a:pt x="700580" y="706851"/>
                </a:cubicBezTo>
                <a:close/>
                <a:moveTo>
                  <a:pt x="1619971" y="0"/>
                </a:moveTo>
                <a:cubicBezTo>
                  <a:pt x="1621025" y="5"/>
                  <a:pt x="1622076" y="12"/>
                  <a:pt x="1623123" y="141"/>
                </a:cubicBezTo>
                <a:cubicBezTo>
                  <a:pt x="1624170" y="12"/>
                  <a:pt x="1625221" y="5"/>
                  <a:pt x="1626275" y="0"/>
                </a:cubicBezTo>
                <a:lnTo>
                  <a:pt x="1626274" y="282"/>
                </a:lnTo>
                <a:cubicBezTo>
                  <a:pt x="1966825" y="4283"/>
                  <a:pt x="1974816" y="220494"/>
                  <a:pt x="2177568" y="171426"/>
                </a:cubicBezTo>
                <a:cubicBezTo>
                  <a:pt x="2600959" y="50212"/>
                  <a:pt x="2963165" y="85364"/>
                  <a:pt x="3172404" y="310875"/>
                </a:cubicBezTo>
                <a:cubicBezTo>
                  <a:pt x="3300075" y="473051"/>
                  <a:pt x="3301971" y="794993"/>
                  <a:pt x="2851767" y="1164523"/>
                </a:cubicBezTo>
                <a:cubicBezTo>
                  <a:pt x="2918303" y="1029844"/>
                  <a:pt x="2927052" y="857771"/>
                  <a:pt x="2799829" y="746887"/>
                </a:cubicBezTo>
                <a:cubicBezTo>
                  <a:pt x="3115459" y="786295"/>
                  <a:pt x="3165949" y="533368"/>
                  <a:pt x="3049873" y="419809"/>
                </a:cubicBezTo>
                <a:cubicBezTo>
                  <a:pt x="2811516" y="207658"/>
                  <a:pt x="2338612" y="298041"/>
                  <a:pt x="2253222" y="493802"/>
                </a:cubicBezTo>
                <a:cubicBezTo>
                  <a:pt x="2139861" y="783555"/>
                  <a:pt x="2165869" y="1185485"/>
                  <a:pt x="2076302" y="1369861"/>
                </a:cubicBezTo>
                <a:cubicBezTo>
                  <a:pt x="1906668" y="1634081"/>
                  <a:pt x="1716639" y="1881305"/>
                  <a:pt x="1713569" y="2080938"/>
                </a:cubicBezTo>
                <a:cubicBezTo>
                  <a:pt x="1706472" y="2158984"/>
                  <a:pt x="1709123" y="2405980"/>
                  <a:pt x="1625847" y="2423204"/>
                </a:cubicBezTo>
                <a:cubicBezTo>
                  <a:pt x="1625847" y="2424071"/>
                  <a:pt x="1625843" y="2424938"/>
                  <a:pt x="1625839" y="2425805"/>
                </a:cubicBezTo>
                <a:lnTo>
                  <a:pt x="1623123" y="2424507"/>
                </a:lnTo>
                <a:lnTo>
                  <a:pt x="1620407" y="2425805"/>
                </a:lnTo>
                <a:cubicBezTo>
                  <a:pt x="1620403" y="2424938"/>
                  <a:pt x="1620399" y="2424071"/>
                  <a:pt x="1620399" y="2423204"/>
                </a:cubicBezTo>
                <a:cubicBezTo>
                  <a:pt x="1537123" y="2405980"/>
                  <a:pt x="1539774" y="2158984"/>
                  <a:pt x="1532677" y="2080938"/>
                </a:cubicBezTo>
                <a:cubicBezTo>
                  <a:pt x="1529607" y="1881305"/>
                  <a:pt x="1339578" y="1634081"/>
                  <a:pt x="1169944" y="1369861"/>
                </a:cubicBezTo>
                <a:cubicBezTo>
                  <a:pt x="1080377" y="1185485"/>
                  <a:pt x="1106385" y="783555"/>
                  <a:pt x="993024" y="493802"/>
                </a:cubicBezTo>
                <a:cubicBezTo>
                  <a:pt x="907634" y="298041"/>
                  <a:pt x="434730" y="207658"/>
                  <a:pt x="196373" y="419809"/>
                </a:cubicBezTo>
                <a:cubicBezTo>
                  <a:pt x="80297" y="533368"/>
                  <a:pt x="130787" y="786295"/>
                  <a:pt x="446417" y="746887"/>
                </a:cubicBezTo>
                <a:cubicBezTo>
                  <a:pt x="319194" y="857771"/>
                  <a:pt x="327943" y="1029844"/>
                  <a:pt x="394479" y="1164523"/>
                </a:cubicBezTo>
                <a:cubicBezTo>
                  <a:pt x="-55725" y="794993"/>
                  <a:pt x="-53829" y="473051"/>
                  <a:pt x="73842" y="310875"/>
                </a:cubicBezTo>
                <a:cubicBezTo>
                  <a:pt x="283081" y="85364"/>
                  <a:pt x="645287" y="50212"/>
                  <a:pt x="1068678" y="171426"/>
                </a:cubicBezTo>
                <a:cubicBezTo>
                  <a:pt x="1271430" y="220494"/>
                  <a:pt x="1279421" y="4283"/>
                  <a:pt x="1619972" y="282"/>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ko-KR" altLang="en-US" sz="2025" kern="1200">
              <a:solidFill>
                <a:prstClr val="white"/>
              </a:solidFill>
              <a:latin typeface="Arial"/>
            </a:endParaRPr>
          </a:p>
        </p:txBody>
      </p:sp>
      <p:grpSp>
        <p:nvGrpSpPr>
          <p:cNvPr id="47" name="Education" descr="{&quot;Key&quot;:&quot;POWER_USER_SHAPE_ICON&quot;,&quot;Value&quot;:&quot;POWER_USER_SHAPE_ICON_STYLE_1&quot;}">
            <a:extLst>
              <a:ext uri="{FF2B5EF4-FFF2-40B4-BE49-F238E27FC236}">
                <a16:creationId xmlns:a16="http://schemas.microsoft.com/office/drawing/2014/main" id="{03209F86-AEDB-42A6-BE32-8AF075220326}"/>
              </a:ext>
            </a:extLst>
          </p:cNvPr>
          <p:cNvGrpSpPr>
            <a:grpSpLocks noChangeAspect="1"/>
          </p:cNvGrpSpPr>
          <p:nvPr>
            <p:custDataLst>
              <p:tags r:id="rId1"/>
            </p:custDataLst>
          </p:nvPr>
        </p:nvGrpSpPr>
        <p:grpSpPr bwMode="auto">
          <a:xfrm>
            <a:off x="4866626" y="2255202"/>
            <a:ext cx="407947" cy="466541"/>
            <a:chOff x="57" y="32"/>
            <a:chExt cx="369" cy="422"/>
          </a:xfrm>
          <a:solidFill>
            <a:schemeClr val="accent6"/>
          </a:solidFill>
        </p:grpSpPr>
        <p:sp>
          <p:nvSpPr>
            <p:cNvPr id="48" name="Education">
              <a:extLst>
                <a:ext uri="{FF2B5EF4-FFF2-40B4-BE49-F238E27FC236}">
                  <a16:creationId xmlns:a16="http://schemas.microsoft.com/office/drawing/2014/main" id="{841DF25B-6EB7-4907-9EFC-92E13A8D0F82}"/>
                </a:ext>
              </a:extLst>
            </p:cNvPr>
            <p:cNvSpPr>
              <a:spLocks noChangeArrowheads="1"/>
            </p:cNvSpPr>
            <p:nvPr>
              <p:custDataLst>
                <p:tags r:id="rId2"/>
              </p:custDataLst>
            </p:nvPr>
          </p:nvSpPr>
          <p:spPr bwMode="auto">
            <a:xfrm>
              <a:off x="127" y="34"/>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Education">
              <a:extLst>
                <a:ext uri="{FF2B5EF4-FFF2-40B4-BE49-F238E27FC236}">
                  <a16:creationId xmlns:a16="http://schemas.microsoft.com/office/drawing/2014/main" id="{B15180D7-3C1E-4100-9C28-71513DC1F6B9}"/>
                </a:ext>
              </a:extLst>
            </p:cNvPr>
            <p:cNvSpPr>
              <a:spLocks/>
            </p:cNvSpPr>
            <p:nvPr>
              <p:custDataLst>
                <p:tags r:id="rId3"/>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Education">
              <a:extLst>
                <a:ext uri="{FF2B5EF4-FFF2-40B4-BE49-F238E27FC236}">
                  <a16:creationId xmlns:a16="http://schemas.microsoft.com/office/drawing/2014/main" id="{7543BEB1-CC9A-4E33-BF84-E39F5E1A3A79}"/>
                </a:ext>
              </a:extLst>
            </p:cNvPr>
            <p:cNvSpPr>
              <a:spLocks noEditPoints="1"/>
            </p:cNvSpPr>
            <p:nvPr>
              <p:custDataLst>
                <p:tags r:id="rId4"/>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 name="Picture 1">
            <a:extLst>
              <a:ext uri="{FF2B5EF4-FFF2-40B4-BE49-F238E27FC236}">
                <a16:creationId xmlns:a16="http://schemas.microsoft.com/office/drawing/2014/main" id="{18B7F1FA-0924-4EEC-80AC-A7D127A22509}"/>
              </a:ext>
            </a:extLst>
          </p:cNvPr>
          <p:cNvPicPr>
            <a:picLocks noChangeAspect="1"/>
          </p:cNvPicPr>
          <p:nvPr/>
        </p:nvPicPr>
        <p:blipFill>
          <a:blip r:embed="rId7"/>
          <a:stretch>
            <a:fillRect/>
          </a:stretch>
        </p:blipFill>
        <p:spPr>
          <a:xfrm>
            <a:off x="3842995" y="1379779"/>
            <a:ext cx="493662" cy="493662"/>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BBB5F-D302-42F4-9FBD-D51CAD8F774F}"/>
              </a:ext>
            </a:extLst>
          </p:cNvPr>
          <p:cNvSpPr>
            <a:spLocks noGrp="1"/>
          </p:cNvSpPr>
          <p:nvPr>
            <p:ph type="title"/>
          </p:nvPr>
        </p:nvSpPr>
        <p:spPr>
          <a:xfrm>
            <a:off x="1037875" y="183870"/>
            <a:ext cx="7068300" cy="396300"/>
          </a:xfrm>
        </p:spPr>
        <p:txBody>
          <a:bodyPr/>
          <a:lstStyle/>
          <a:p>
            <a:pPr algn="ctr"/>
            <a:r>
              <a:rPr lang="en-US" dirty="0">
                <a:solidFill>
                  <a:srgbClr val="0070C0"/>
                </a:solidFill>
              </a:rPr>
              <a:t>Regression Analysis</a:t>
            </a:r>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F1E7045A-8556-4973-86E2-84A5CF0F2546}"/>
                  </a:ext>
                </a:extLst>
              </p:cNvPr>
              <p:cNvSpPr>
                <a:spLocks noGrp="1"/>
              </p:cNvSpPr>
              <p:nvPr>
                <p:ph type="body" idx="1"/>
              </p:nvPr>
            </p:nvSpPr>
            <p:spPr>
              <a:xfrm>
                <a:off x="1081329" y="1234927"/>
                <a:ext cx="7467518" cy="3261478"/>
              </a:xfrm>
            </p:spPr>
            <p:txBody>
              <a:bodyPr/>
              <a:lstStyle/>
              <a:p>
                <a:pPr>
                  <a:buFont typeface="Arial" panose="020B0604020202020204" pitchFamily="34" charset="0"/>
                  <a:buChar char="•"/>
                </a:pPr>
                <a:r>
                  <a:rPr lang="en-US" sz="1400" b="0" i="0" dirty="0">
                    <a:solidFill>
                      <a:srgbClr val="57595D"/>
                    </a:solidFill>
                    <a:effectLst/>
                    <a:latin typeface="Open Sans" panose="020B0606030504020204" pitchFamily="34" charset="0"/>
                  </a:rPr>
                  <a:t>Regression analysis is a set of statistical methods used for the estimation of relationships between a dependent variable and one or more independent variable. It can be utilized to assess the strength of the relationship between variables and for modeling the future relationship between them.</a:t>
                </a:r>
              </a:p>
              <a:p>
                <a:pPr marL="76200" indent="0" algn="l">
                  <a:buNone/>
                </a:pPr>
                <a:r>
                  <a:rPr lang="en-US" sz="1400" b="1" i="0" dirty="0">
                    <a:solidFill>
                      <a:srgbClr val="57595D"/>
                    </a:solidFill>
                    <a:effectLst/>
                    <a:latin typeface="Open Sans" panose="020B0606030504020204" pitchFamily="34" charset="0"/>
                  </a:rPr>
                  <a:t>Linear regression analysis is based on </a:t>
                </a:r>
                <a:r>
                  <a:rPr lang="en-US" sz="1400" b="1" dirty="0">
                    <a:solidFill>
                      <a:srgbClr val="57595D"/>
                    </a:solidFill>
                    <a:latin typeface="Open Sans" panose="020B0606030504020204" pitchFamily="34" charset="0"/>
                  </a:rPr>
                  <a:t>following</a:t>
                </a:r>
                <a:r>
                  <a:rPr lang="en-US" sz="1400" b="1" i="0" dirty="0">
                    <a:solidFill>
                      <a:srgbClr val="57595D"/>
                    </a:solidFill>
                    <a:effectLst/>
                    <a:latin typeface="Open Sans" panose="020B0606030504020204" pitchFamily="34" charset="0"/>
                  </a:rPr>
                  <a:t> fundamental assumptions:</a:t>
                </a:r>
              </a:p>
              <a:p>
                <a:pPr algn="l">
                  <a:buFont typeface="Arial" panose="020B0604020202020204" pitchFamily="34" charset="0"/>
                  <a:buChar char="•"/>
                </a:pPr>
                <a:r>
                  <a:rPr lang="en-US" sz="1400" b="0" i="0" dirty="0">
                    <a:solidFill>
                      <a:srgbClr val="57595D"/>
                    </a:solidFill>
                    <a:effectLst/>
                    <a:latin typeface="Open Sans" panose="020B0606030504020204" pitchFamily="34" charset="0"/>
                  </a:rPr>
                  <a:t>The dependent and independent variables show a linear relationship.</a:t>
                </a:r>
              </a:p>
              <a:p>
                <a:pPr algn="l">
                  <a:buFont typeface="Arial" panose="020B0604020202020204" pitchFamily="34" charset="0"/>
                  <a:buChar char="•"/>
                </a:pPr>
                <a:r>
                  <a:rPr lang="en-US" sz="1400" dirty="0">
                    <a:solidFill>
                      <a:srgbClr val="57595D"/>
                    </a:solidFill>
                    <a:latin typeface="Open Sans" panose="020B0606030504020204" pitchFamily="34" charset="0"/>
                  </a:rPr>
                  <a:t>Errors are independent and normally distributed with mean 0 and variance </a:t>
                </a:r>
                <a14:m>
                  <m:oMath xmlns:m="http://schemas.openxmlformats.org/officeDocument/2006/math">
                    <m:sSup>
                      <m:sSupPr>
                        <m:ctrlPr>
                          <a:rPr lang="en-US" sz="1600" b="0" i="1" dirty="0" smtClean="0">
                            <a:solidFill>
                              <a:srgbClr val="57595D"/>
                            </a:solidFill>
                            <a:effectLst/>
                            <a:latin typeface="Cambria Math" panose="02040503050406030204" pitchFamily="18" charset="0"/>
                          </a:rPr>
                        </m:ctrlPr>
                      </m:sSupPr>
                      <m:e>
                        <m:r>
                          <a:rPr lang="en-US" sz="1600" b="0" i="0" dirty="0">
                            <a:solidFill>
                              <a:srgbClr val="57595D"/>
                            </a:solidFill>
                            <a:effectLst/>
                            <a:latin typeface="Cambria Math" panose="02040503050406030204" pitchFamily="18" charset="0"/>
                          </a:rPr>
                          <m:t>𝜎</m:t>
                        </m:r>
                      </m:e>
                      <m:sup>
                        <m:r>
                          <a:rPr lang="en-US" sz="1600" b="0" i="0" dirty="0">
                            <a:solidFill>
                              <a:srgbClr val="57595D"/>
                            </a:solidFill>
                            <a:effectLst/>
                            <a:latin typeface="Cambria Math" panose="02040503050406030204" pitchFamily="18" charset="0"/>
                          </a:rPr>
                          <m:t>2</m:t>
                        </m:r>
                      </m:sup>
                    </m:sSup>
                  </m:oMath>
                </a14:m>
                <a:endParaRPr lang="en-IN" sz="1600" b="0" i="0" dirty="0">
                  <a:solidFill>
                    <a:srgbClr val="57595D"/>
                  </a:solidFill>
                  <a:effectLst/>
                  <a:latin typeface="Cambria Math" panose="02040503050406030204" pitchFamily="18" charset="0"/>
                </a:endParaRPr>
              </a:p>
              <a:p>
                <a:pPr marL="76200" indent="0">
                  <a:buNone/>
                </a:pPr>
                <a14:m>
                  <m:oMath xmlns:m="http://schemas.openxmlformats.org/officeDocument/2006/math">
                    <m:r>
                      <a:rPr lang="en-US" sz="1800" b="0" i="0" dirty="0" smtClean="0">
                        <a:solidFill>
                          <a:srgbClr val="57595D"/>
                        </a:solidFill>
                        <a:effectLst/>
                        <a:latin typeface="Cambria Math" panose="02040503050406030204" pitchFamily="18" charset="0"/>
                      </a:rPr>
                      <m:t>𝜀</m:t>
                    </m:r>
                  </m:oMath>
                </a14:m>
                <a:r>
                  <a:rPr lang="en-US" sz="1400" b="0" i="0" dirty="0">
                    <a:solidFill>
                      <a:srgbClr val="57595D"/>
                    </a:solidFill>
                    <a:effectLst/>
                    <a:latin typeface="Open Sans" panose="020B0606030504020204" pitchFamily="34" charset="0"/>
                  </a:rPr>
                  <a:t> ~ N(0,</a:t>
                </a:r>
                <a:r>
                  <a:rPr lang="en-US" sz="1400" dirty="0">
                    <a:solidFill>
                      <a:srgbClr val="57595D"/>
                    </a:solidFill>
                  </a:rPr>
                  <a:t> </a:t>
                </a:r>
                <a14:m>
                  <m:oMath xmlns:m="http://schemas.openxmlformats.org/officeDocument/2006/math">
                    <m:sSup>
                      <m:sSupPr>
                        <m:ctrlPr>
                          <a:rPr lang="en-US" sz="1400" i="1" dirty="0">
                            <a:solidFill>
                              <a:srgbClr val="57595D"/>
                            </a:solidFill>
                            <a:latin typeface="Cambria Math" panose="02040503050406030204" pitchFamily="18" charset="0"/>
                          </a:rPr>
                        </m:ctrlPr>
                      </m:sSupPr>
                      <m:e>
                        <m:r>
                          <a:rPr lang="en-US" sz="1400" dirty="0">
                            <a:solidFill>
                              <a:srgbClr val="57595D"/>
                            </a:solidFill>
                            <a:latin typeface="Cambria Math" panose="02040503050406030204" pitchFamily="18" charset="0"/>
                          </a:rPr>
                          <m:t>𝜎</m:t>
                        </m:r>
                      </m:e>
                      <m:sup>
                        <m:r>
                          <a:rPr lang="en-US" sz="1400" dirty="0">
                            <a:solidFill>
                              <a:srgbClr val="57595D"/>
                            </a:solidFill>
                            <a:latin typeface="Cambria Math" panose="02040503050406030204" pitchFamily="18" charset="0"/>
                          </a:rPr>
                          <m:t>2</m:t>
                        </m:r>
                      </m:sup>
                    </m:sSup>
                  </m:oMath>
                </a14:m>
                <a:r>
                  <a:rPr lang="en-US" sz="1400" b="0" i="0" dirty="0">
                    <a:solidFill>
                      <a:srgbClr val="57595D"/>
                    </a:solidFill>
                    <a:effectLst/>
                    <a:latin typeface="Open Sans" panose="020B0606030504020204" pitchFamily="34" charset="0"/>
                  </a:rPr>
                  <a:t>).</a:t>
                </a:r>
              </a:p>
              <a:p>
                <a:pPr>
                  <a:buFont typeface="Arial" panose="020B0604020202020204" pitchFamily="34" charset="0"/>
                  <a:buChar char="•"/>
                </a:pPr>
                <a:r>
                  <a:rPr lang="en-US" sz="1400" b="0" i="0" dirty="0">
                    <a:solidFill>
                      <a:srgbClr val="57595D"/>
                    </a:solidFill>
                    <a:effectLst/>
                    <a:latin typeface="Open Sans" panose="020B0606030504020204" pitchFamily="34" charset="0"/>
                  </a:rPr>
                  <a:t>Measurements on regresso</a:t>
                </a:r>
                <a:r>
                  <a:rPr lang="en-US" sz="1400" dirty="0">
                    <a:solidFill>
                      <a:srgbClr val="57595D"/>
                    </a:solidFill>
                    <a:latin typeface="Open Sans" panose="020B0606030504020204" pitchFamily="34" charset="0"/>
                  </a:rPr>
                  <a:t>rs are without error or with negligible error.</a:t>
                </a:r>
              </a:p>
              <a:p>
                <a:pPr>
                  <a:buFont typeface="Arial" panose="020B0604020202020204" pitchFamily="34" charset="0"/>
                  <a:buChar char="•"/>
                </a:pPr>
                <a:r>
                  <a:rPr lang="en-US" sz="1400" b="0" i="0" dirty="0">
                    <a:solidFill>
                      <a:srgbClr val="57595D"/>
                    </a:solidFill>
                    <a:effectLst/>
                    <a:latin typeface="Open Sans" panose="020B0606030504020204" pitchFamily="34" charset="0"/>
                  </a:rPr>
                  <a:t>R</a:t>
                </a:r>
                <a:r>
                  <a:rPr lang="en-US" sz="1400" dirty="0">
                    <a:solidFill>
                      <a:srgbClr val="57595D"/>
                    </a:solidFill>
                    <a:latin typeface="Open Sans" panose="020B0606030504020204" pitchFamily="34" charset="0"/>
                  </a:rPr>
                  <a:t>egressors are orthogonal to each other.</a:t>
                </a:r>
                <a:endParaRPr lang="en-US" sz="1400" b="0" i="0" dirty="0">
                  <a:solidFill>
                    <a:srgbClr val="57595D"/>
                  </a:solidFill>
                  <a:effectLst/>
                  <a:latin typeface="Open Sans" panose="020B0606030504020204" pitchFamily="34" charset="0"/>
                </a:endParaRPr>
              </a:p>
              <a:p>
                <a:pPr marL="76200" indent="0">
                  <a:buNone/>
                </a:pPr>
                <a:endParaRPr lang="en-US" sz="1400" dirty="0">
                  <a:solidFill>
                    <a:srgbClr val="57595D"/>
                  </a:solidFill>
                  <a:latin typeface="Open Sans" panose="020B0606030504020204" pitchFamily="34" charset="0"/>
                </a:endParaRPr>
              </a:p>
              <a:p>
                <a:pPr marL="76200" indent="0">
                  <a:buNone/>
                </a:pPr>
                <a:endParaRPr lang="en-US" sz="1400" b="0" i="0" dirty="0">
                  <a:solidFill>
                    <a:srgbClr val="57595D"/>
                  </a:solidFill>
                  <a:effectLst/>
                  <a:latin typeface="Open Sans" panose="020B0606030504020204" pitchFamily="34" charset="0"/>
                </a:endParaRPr>
              </a:p>
              <a:p>
                <a:pPr marL="76200" indent="0" algn="l">
                  <a:buNone/>
                </a:pPr>
                <a:endParaRPr lang="en-US" sz="1400" b="0" i="0" dirty="0">
                  <a:solidFill>
                    <a:srgbClr val="57595D"/>
                  </a:solidFill>
                  <a:effectLst/>
                  <a:latin typeface="Open Sans" panose="020B0606030504020204" pitchFamily="34" charset="0"/>
                </a:endParaRPr>
              </a:p>
            </p:txBody>
          </p:sp>
        </mc:Choice>
        <mc:Fallback xmlns="">
          <p:sp>
            <p:nvSpPr>
              <p:cNvPr id="3" name="Text Placeholder 2">
                <a:extLst>
                  <a:ext uri="{FF2B5EF4-FFF2-40B4-BE49-F238E27FC236}">
                    <a16:creationId xmlns:a16="http://schemas.microsoft.com/office/drawing/2014/main" id="{F1E7045A-8556-4973-86E2-84A5CF0F2546}"/>
                  </a:ext>
                </a:extLst>
              </p:cNvPr>
              <p:cNvSpPr>
                <a:spLocks noGrp="1" noRot="1" noChangeAspect="1" noMove="1" noResize="1" noEditPoints="1" noAdjustHandles="1" noChangeArrowheads="1" noChangeShapeType="1" noTextEdit="1"/>
              </p:cNvSpPr>
              <p:nvPr>
                <p:ph type="body" idx="1"/>
              </p:nvPr>
            </p:nvSpPr>
            <p:spPr>
              <a:xfrm>
                <a:off x="1081329" y="1234927"/>
                <a:ext cx="7467518" cy="3261478"/>
              </a:xfrm>
              <a:blipFill>
                <a:blip r:embed="rId2"/>
                <a:stretch>
                  <a:fillRect l="-1224" t="-3178" r="-1796"/>
                </a:stretch>
              </a:blipFill>
            </p:spPr>
            <p:txBody>
              <a:bodyPr/>
              <a:lstStyle/>
              <a:p>
                <a:r>
                  <a:rPr lang="en-US">
                    <a:noFill/>
                  </a:rPr>
                  <a:t> </a:t>
                </a:r>
              </a:p>
            </p:txBody>
          </p:sp>
        </mc:Fallback>
      </mc:AlternateContent>
      <p:pic>
        <p:nvPicPr>
          <p:cNvPr id="5" name="Picture 4">
            <a:extLst>
              <a:ext uri="{FF2B5EF4-FFF2-40B4-BE49-F238E27FC236}">
                <a16:creationId xmlns:a16="http://schemas.microsoft.com/office/drawing/2014/main" id="{D3AB61C0-4840-4209-B4CD-86EB81737089}"/>
              </a:ext>
            </a:extLst>
          </p:cNvPr>
          <p:cNvPicPr>
            <a:picLocks noChangeAspect="1"/>
          </p:cNvPicPr>
          <p:nvPr/>
        </p:nvPicPr>
        <p:blipFill>
          <a:blip r:embed="rId3"/>
          <a:stretch>
            <a:fillRect/>
          </a:stretch>
        </p:blipFill>
        <p:spPr>
          <a:xfrm>
            <a:off x="0" y="-1"/>
            <a:ext cx="1524000" cy="1326559"/>
          </a:xfrm>
          <a:prstGeom prst="rect">
            <a:avLst/>
          </a:prstGeom>
        </p:spPr>
      </p:pic>
    </p:spTree>
    <p:extLst>
      <p:ext uri="{BB962C8B-B14F-4D97-AF65-F5344CB8AC3E}">
        <p14:creationId xmlns:p14="http://schemas.microsoft.com/office/powerpoint/2010/main" val="28271248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0C4CF-F9A0-46BE-8A44-E22C5BE364A2}"/>
              </a:ext>
            </a:extLst>
          </p:cNvPr>
          <p:cNvSpPr>
            <a:spLocks noGrp="1"/>
          </p:cNvSpPr>
          <p:nvPr>
            <p:ph type="title"/>
          </p:nvPr>
        </p:nvSpPr>
        <p:spPr>
          <a:xfrm>
            <a:off x="1037850" y="308542"/>
            <a:ext cx="7068300" cy="396300"/>
          </a:xfrm>
        </p:spPr>
        <p:txBody>
          <a:bodyPr/>
          <a:lstStyle/>
          <a:p>
            <a:pPr algn="ctr"/>
            <a:r>
              <a:rPr lang="en-US" sz="3600" dirty="0">
                <a:solidFill>
                  <a:srgbClr val="0070C0"/>
                </a:solidFill>
              </a:rPr>
              <a:t>Residual Plot</a:t>
            </a:r>
          </a:p>
        </p:txBody>
      </p:sp>
      <p:graphicFrame>
        <p:nvGraphicFramePr>
          <p:cNvPr id="9" name="Chart 8">
            <a:extLst>
              <a:ext uri="{FF2B5EF4-FFF2-40B4-BE49-F238E27FC236}">
                <a16:creationId xmlns:a16="http://schemas.microsoft.com/office/drawing/2014/main" id="{6E83C238-EE10-4213-AED3-FD159A2962B4}"/>
              </a:ext>
            </a:extLst>
          </p:cNvPr>
          <p:cNvGraphicFramePr>
            <a:graphicFrameLocks/>
          </p:cNvGraphicFramePr>
          <p:nvPr>
            <p:extLst>
              <p:ext uri="{D42A27DB-BD31-4B8C-83A1-F6EECF244321}">
                <p14:modId xmlns:p14="http://schemas.microsoft.com/office/powerpoint/2010/main" val="2624355483"/>
              </p:ext>
            </p:extLst>
          </p:nvPr>
        </p:nvGraphicFramePr>
        <p:xfrm>
          <a:off x="113594" y="796136"/>
          <a:ext cx="4099277" cy="20262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7DC66864-5F48-4ADA-91D3-C7B5EFE848AF}"/>
              </a:ext>
            </a:extLst>
          </p:cNvPr>
          <p:cNvGraphicFramePr>
            <a:graphicFrameLocks/>
          </p:cNvGraphicFramePr>
          <p:nvPr>
            <p:extLst>
              <p:ext uri="{D42A27DB-BD31-4B8C-83A1-F6EECF244321}">
                <p14:modId xmlns:p14="http://schemas.microsoft.com/office/powerpoint/2010/main" val="1600688443"/>
              </p:ext>
            </p:extLst>
          </p:nvPr>
        </p:nvGraphicFramePr>
        <p:xfrm>
          <a:off x="4781225" y="842631"/>
          <a:ext cx="3934081" cy="19332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013E89CE-FB1A-4DEF-BA6C-F9844976105B}"/>
              </a:ext>
            </a:extLst>
          </p:cNvPr>
          <p:cNvGraphicFramePr>
            <a:graphicFrameLocks/>
          </p:cNvGraphicFramePr>
          <p:nvPr>
            <p:extLst>
              <p:ext uri="{D42A27DB-BD31-4B8C-83A1-F6EECF244321}">
                <p14:modId xmlns:p14="http://schemas.microsoft.com/office/powerpoint/2010/main" val="264610371"/>
              </p:ext>
            </p:extLst>
          </p:nvPr>
        </p:nvGraphicFramePr>
        <p:xfrm>
          <a:off x="113594" y="2913669"/>
          <a:ext cx="3787833" cy="20530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a:extLst>
              <a:ext uri="{FF2B5EF4-FFF2-40B4-BE49-F238E27FC236}">
                <a16:creationId xmlns:a16="http://schemas.microsoft.com/office/drawing/2014/main" id="{9CD3F7C5-9B6A-44E6-BB05-6890CD641E6C}"/>
              </a:ext>
            </a:extLst>
          </p:cNvPr>
          <p:cNvGraphicFramePr>
            <a:graphicFrameLocks/>
          </p:cNvGraphicFramePr>
          <p:nvPr>
            <p:extLst>
              <p:ext uri="{D42A27DB-BD31-4B8C-83A1-F6EECF244321}">
                <p14:modId xmlns:p14="http://schemas.microsoft.com/office/powerpoint/2010/main" val="1917745658"/>
              </p:ext>
            </p:extLst>
          </p:nvPr>
        </p:nvGraphicFramePr>
        <p:xfrm>
          <a:off x="4781226" y="2913668"/>
          <a:ext cx="3934081" cy="20530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13989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768A7-AAED-46D8-B834-FD92953BCF71}"/>
              </a:ext>
            </a:extLst>
          </p:cNvPr>
          <p:cNvSpPr>
            <a:spLocks noGrp="1"/>
          </p:cNvSpPr>
          <p:nvPr>
            <p:ph type="title"/>
          </p:nvPr>
        </p:nvSpPr>
        <p:spPr>
          <a:xfrm>
            <a:off x="905241" y="240577"/>
            <a:ext cx="7068300" cy="396300"/>
          </a:xfrm>
        </p:spPr>
        <p:txBody>
          <a:bodyPr/>
          <a:lstStyle/>
          <a:p>
            <a:pPr algn="ctr"/>
            <a:r>
              <a:rPr lang="en-US" dirty="0">
                <a:solidFill>
                  <a:srgbClr val="0070C0"/>
                </a:solidFill>
              </a:rPr>
              <a:t>Presence of Multicollinearity</a:t>
            </a:r>
          </a:p>
        </p:txBody>
      </p:sp>
      <p:sp>
        <p:nvSpPr>
          <p:cNvPr id="3" name="Text Placeholder 2">
            <a:extLst>
              <a:ext uri="{FF2B5EF4-FFF2-40B4-BE49-F238E27FC236}">
                <a16:creationId xmlns:a16="http://schemas.microsoft.com/office/drawing/2014/main" id="{99A460BD-1AE9-447B-B2FE-8D83195EA300}"/>
              </a:ext>
            </a:extLst>
          </p:cNvPr>
          <p:cNvSpPr>
            <a:spLocks noGrp="1"/>
          </p:cNvSpPr>
          <p:nvPr>
            <p:ph type="body" idx="1"/>
          </p:nvPr>
        </p:nvSpPr>
        <p:spPr>
          <a:xfrm>
            <a:off x="772633" y="1148316"/>
            <a:ext cx="7333517" cy="3083588"/>
          </a:xfrm>
        </p:spPr>
        <p:txBody>
          <a:bodyPr/>
          <a:lstStyle/>
          <a:p>
            <a:pPr>
              <a:buFont typeface="Arial" panose="020B0604020202020204" pitchFamily="34" charset="0"/>
              <a:buChar char="•"/>
            </a:pPr>
            <a:r>
              <a:rPr lang="en-US" sz="1600" dirty="0"/>
              <a:t>VIF :</a:t>
            </a:r>
            <a:r>
              <a:rPr lang="en-US" sz="1600" b="1" i="0" dirty="0">
                <a:solidFill>
                  <a:srgbClr val="202124"/>
                </a:solidFill>
                <a:effectLst/>
                <a:latin typeface="arial" panose="020B0604020202020204" pitchFamily="34" charset="0"/>
              </a:rPr>
              <a:t>Variance inflation factor</a:t>
            </a:r>
            <a:r>
              <a:rPr lang="en-US" sz="1600" b="0" i="0" dirty="0">
                <a:solidFill>
                  <a:srgbClr val="202124"/>
                </a:solidFill>
                <a:effectLst/>
                <a:latin typeface="arial" panose="020B0604020202020204" pitchFamily="34" charset="0"/>
              </a:rPr>
              <a:t> (</a:t>
            </a:r>
            <a:r>
              <a:rPr lang="en-US" sz="1600" b="1" i="0" dirty="0">
                <a:solidFill>
                  <a:srgbClr val="202124"/>
                </a:solidFill>
                <a:effectLst/>
                <a:latin typeface="arial" panose="020B0604020202020204" pitchFamily="34" charset="0"/>
              </a:rPr>
              <a:t>VIF</a:t>
            </a:r>
            <a:r>
              <a:rPr lang="en-US" sz="1600" b="0" i="0" dirty="0">
                <a:solidFill>
                  <a:srgbClr val="202124"/>
                </a:solidFill>
                <a:effectLst/>
                <a:latin typeface="arial" panose="020B0604020202020204" pitchFamily="34" charset="0"/>
              </a:rPr>
              <a:t>) is a measure of the amount of multicollinearity in a set of multiple regression variables.</a:t>
            </a:r>
            <a:endParaRPr lang="en-US" sz="2000" dirty="0"/>
          </a:p>
        </p:txBody>
      </p:sp>
      <p:graphicFrame>
        <p:nvGraphicFramePr>
          <p:cNvPr id="5" name="Table 5">
            <a:extLst>
              <a:ext uri="{FF2B5EF4-FFF2-40B4-BE49-F238E27FC236}">
                <a16:creationId xmlns:a16="http://schemas.microsoft.com/office/drawing/2014/main" id="{55599149-2B23-4AD6-861E-29842C03CEBE}"/>
              </a:ext>
            </a:extLst>
          </p:cNvPr>
          <p:cNvGraphicFramePr>
            <a:graphicFrameLocks noGrp="1"/>
          </p:cNvGraphicFramePr>
          <p:nvPr>
            <p:extLst>
              <p:ext uri="{D42A27DB-BD31-4B8C-83A1-F6EECF244321}">
                <p14:modId xmlns:p14="http://schemas.microsoft.com/office/powerpoint/2010/main" val="1910901293"/>
              </p:ext>
            </p:extLst>
          </p:nvPr>
        </p:nvGraphicFramePr>
        <p:xfrm>
          <a:off x="2337092" y="2571750"/>
          <a:ext cx="3838950" cy="1219200"/>
        </p:xfrm>
        <a:graphic>
          <a:graphicData uri="http://schemas.openxmlformats.org/drawingml/2006/table">
            <a:tbl>
              <a:tblPr firstRow="1" bandRow="1">
                <a:tableStyleId>{3B4B98B0-60AC-42C2-AFA5-B58CD77FA1E5}</a:tableStyleId>
              </a:tblPr>
              <a:tblGrid>
                <a:gridCol w="1919475">
                  <a:extLst>
                    <a:ext uri="{9D8B030D-6E8A-4147-A177-3AD203B41FA5}">
                      <a16:colId xmlns:a16="http://schemas.microsoft.com/office/drawing/2014/main" val="2417091969"/>
                    </a:ext>
                  </a:extLst>
                </a:gridCol>
                <a:gridCol w="1919475">
                  <a:extLst>
                    <a:ext uri="{9D8B030D-6E8A-4147-A177-3AD203B41FA5}">
                      <a16:colId xmlns:a16="http://schemas.microsoft.com/office/drawing/2014/main" val="1488890971"/>
                    </a:ext>
                  </a:extLst>
                </a:gridCol>
              </a:tblGrid>
              <a:tr h="232362">
                <a:tc>
                  <a:txBody>
                    <a:bodyPr/>
                    <a:lstStyle/>
                    <a:p>
                      <a:pPr algn="ctr"/>
                      <a:r>
                        <a:rPr lang="en-US" dirty="0"/>
                        <a:t>Variable</a:t>
                      </a:r>
                    </a:p>
                  </a:txBody>
                  <a:tcPr/>
                </a:tc>
                <a:tc>
                  <a:txBody>
                    <a:bodyPr/>
                    <a:lstStyle/>
                    <a:p>
                      <a:pPr algn="ctr"/>
                      <a:r>
                        <a:rPr lang="en-US" dirty="0"/>
                        <a:t>VIF</a:t>
                      </a:r>
                    </a:p>
                  </a:txBody>
                  <a:tcPr/>
                </a:tc>
                <a:extLst>
                  <a:ext uri="{0D108BD9-81ED-4DB2-BD59-A6C34878D82A}">
                    <a16:rowId xmlns:a16="http://schemas.microsoft.com/office/drawing/2014/main" val="898373780"/>
                  </a:ext>
                </a:extLst>
              </a:tr>
              <a:tr h="232362">
                <a:tc>
                  <a:txBody>
                    <a:bodyPr/>
                    <a:lstStyle/>
                    <a:p>
                      <a:pPr algn="ctr"/>
                      <a:r>
                        <a:rPr lang="en-US" dirty="0"/>
                        <a:t>MMR</a:t>
                      </a:r>
                    </a:p>
                  </a:txBody>
                  <a:tcPr/>
                </a:tc>
                <a:tc>
                  <a:txBody>
                    <a:bodyPr/>
                    <a:lstStyle/>
                    <a:p>
                      <a:pPr algn="ctr"/>
                      <a:r>
                        <a:rPr lang="en-US" dirty="0"/>
                        <a:t>44.54</a:t>
                      </a:r>
                    </a:p>
                  </a:txBody>
                  <a:tcPr/>
                </a:tc>
                <a:extLst>
                  <a:ext uri="{0D108BD9-81ED-4DB2-BD59-A6C34878D82A}">
                    <a16:rowId xmlns:a16="http://schemas.microsoft.com/office/drawing/2014/main" val="805018224"/>
                  </a:ext>
                </a:extLst>
              </a:tr>
              <a:tr h="232362">
                <a:tc>
                  <a:txBody>
                    <a:bodyPr/>
                    <a:lstStyle/>
                    <a:p>
                      <a:pPr algn="ctr"/>
                      <a:r>
                        <a:rPr lang="en-US" dirty="0"/>
                        <a:t>Literacy Rate </a:t>
                      </a:r>
                    </a:p>
                  </a:txBody>
                  <a:tcPr/>
                </a:tc>
                <a:tc>
                  <a:txBody>
                    <a:bodyPr/>
                    <a:lstStyle/>
                    <a:p>
                      <a:pPr algn="ctr"/>
                      <a:r>
                        <a:rPr lang="en-US" dirty="0"/>
                        <a:t>54.96</a:t>
                      </a:r>
                    </a:p>
                  </a:txBody>
                  <a:tcPr/>
                </a:tc>
                <a:extLst>
                  <a:ext uri="{0D108BD9-81ED-4DB2-BD59-A6C34878D82A}">
                    <a16:rowId xmlns:a16="http://schemas.microsoft.com/office/drawing/2014/main" val="4015942470"/>
                  </a:ext>
                </a:extLst>
              </a:tr>
              <a:tr h="232362">
                <a:tc>
                  <a:txBody>
                    <a:bodyPr/>
                    <a:lstStyle/>
                    <a:p>
                      <a:pPr algn="ctr"/>
                      <a:r>
                        <a:rPr lang="en-US" dirty="0"/>
                        <a:t>Fertility Rate</a:t>
                      </a:r>
                    </a:p>
                  </a:txBody>
                  <a:tcPr/>
                </a:tc>
                <a:tc>
                  <a:txBody>
                    <a:bodyPr/>
                    <a:lstStyle/>
                    <a:p>
                      <a:pPr algn="ctr"/>
                      <a:r>
                        <a:rPr lang="en-US" dirty="0"/>
                        <a:t>120.25</a:t>
                      </a:r>
                    </a:p>
                  </a:txBody>
                  <a:tcPr/>
                </a:tc>
                <a:extLst>
                  <a:ext uri="{0D108BD9-81ED-4DB2-BD59-A6C34878D82A}">
                    <a16:rowId xmlns:a16="http://schemas.microsoft.com/office/drawing/2014/main" val="1616977747"/>
                  </a:ext>
                </a:extLst>
              </a:tr>
            </a:tbl>
          </a:graphicData>
        </a:graphic>
      </p:graphicFrame>
      <p:pic>
        <p:nvPicPr>
          <p:cNvPr id="6" name="Picture 5">
            <a:extLst>
              <a:ext uri="{FF2B5EF4-FFF2-40B4-BE49-F238E27FC236}">
                <a16:creationId xmlns:a16="http://schemas.microsoft.com/office/drawing/2014/main" id="{ECB44E36-3797-4C97-A6DA-FBD8AB4110DD}"/>
              </a:ext>
            </a:extLst>
          </p:cNvPr>
          <p:cNvPicPr>
            <a:picLocks noChangeAspect="1"/>
          </p:cNvPicPr>
          <p:nvPr/>
        </p:nvPicPr>
        <p:blipFill>
          <a:blip r:embed="rId2"/>
          <a:stretch>
            <a:fillRect/>
          </a:stretch>
        </p:blipFill>
        <p:spPr>
          <a:xfrm>
            <a:off x="3344016" y="1825996"/>
            <a:ext cx="1400175" cy="609600"/>
          </a:xfrm>
          <a:prstGeom prst="rect">
            <a:avLst/>
          </a:prstGeom>
        </p:spPr>
      </p:pic>
    </p:spTree>
    <p:extLst>
      <p:ext uri="{BB962C8B-B14F-4D97-AF65-F5344CB8AC3E}">
        <p14:creationId xmlns:p14="http://schemas.microsoft.com/office/powerpoint/2010/main" val="41352329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re 2"/>
          <p:cNvSpPr>
            <a:spLocks noGrp="1"/>
          </p:cNvSpPr>
          <p:nvPr>
            <p:ph type="title"/>
          </p:nvPr>
        </p:nvSpPr>
        <p:spPr>
          <a:xfrm>
            <a:off x="1183274" y="697728"/>
            <a:ext cx="7068300" cy="396300"/>
          </a:xfrm>
        </p:spPr>
        <p:txBody>
          <a:bodyPr/>
          <a:lstStyle/>
          <a:p>
            <a:pPr algn="ctr"/>
            <a:r>
              <a:rPr lang="en-US" sz="3600" b="1" i="0" dirty="0">
                <a:solidFill>
                  <a:srgbClr val="0070C0"/>
                </a:solidFill>
                <a:effectLst/>
                <a:latin typeface="Roboto" panose="020B0604020202020204" pitchFamily="2" charset="0"/>
              </a:rPr>
              <a:t>Ways to Deal with Non </a:t>
            </a:r>
            <a:r>
              <a:rPr lang="en-US" sz="3600" b="1" dirty="0">
                <a:solidFill>
                  <a:srgbClr val="0070C0"/>
                </a:solidFill>
                <a:latin typeface="Roboto" panose="020B0604020202020204" pitchFamily="2" charset="0"/>
              </a:rPr>
              <a:t>C</a:t>
            </a:r>
            <a:r>
              <a:rPr lang="en-US" sz="3600" b="1" i="0" dirty="0">
                <a:solidFill>
                  <a:srgbClr val="0070C0"/>
                </a:solidFill>
                <a:effectLst/>
                <a:latin typeface="Roboto" panose="020B0604020202020204" pitchFamily="2" charset="0"/>
              </a:rPr>
              <a:t>onstant </a:t>
            </a:r>
            <a:r>
              <a:rPr lang="en-US" sz="3600" b="1" dirty="0">
                <a:solidFill>
                  <a:srgbClr val="0070C0"/>
                </a:solidFill>
                <a:latin typeface="Roboto" panose="020B0604020202020204" pitchFamily="2" charset="0"/>
              </a:rPr>
              <a:t>V</a:t>
            </a:r>
            <a:r>
              <a:rPr lang="en-US" sz="3600" b="1" i="0" dirty="0">
                <a:solidFill>
                  <a:srgbClr val="0070C0"/>
                </a:solidFill>
                <a:effectLst/>
                <a:latin typeface="Roboto" panose="020B0604020202020204" pitchFamily="2" charset="0"/>
              </a:rPr>
              <a:t>ariance</a:t>
            </a:r>
            <a:endParaRPr lang="en-US" sz="3600" b="1" dirty="0">
              <a:solidFill>
                <a:srgbClr val="0070C0"/>
              </a:solidFill>
            </a:endParaRPr>
          </a:p>
        </p:txBody>
      </p:sp>
      <p:grpSp>
        <p:nvGrpSpPr>
          <p:cNvPr id="5" name="Groupe 4"/>
          <p:cNvGrpSpPr/>
          <p:nvPr/>
        </p:nvGrpSpPr>
        <p:grpSpPr>
          <a:xfrm>
            <a:off x="4426578" y="1718601"/>
            <a:ext cx="290846" cy="2789139"/>
            <a:chOff x="2934312" y="2291468"/>
            <a:chExt cx="387795" cy="3718852"/>
          </a:xfrm>
        </p:grpSpPr>
        <p:cxnSp>
          <p:nvCxnSpPr>
            <p:cNvPr id="6" name="Connecteur droit 5"/>
            <p:cNvCxnSpPr/>
            <p:nvPr/>
          </p:nvCxnSpPr>
          <p:spPr>
            <a:xfrm>
              <a:off x="3128209" y="2291468"/>
              <a:ext cx="0" cy="3718852"/>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7" name="Groupe 6"/>
            <p:cNvGrpSpPr>
              <a:grpSpLocks noChangeAspect="1"/>
            </p:cNvGrpSpPr>
            <p:nvPr/>
          </p:nvGrpSpPr>
          <p:grpSpPr>
            <a:xfrm>
              <a:off x="2934312" y="3956997"/>
              <a:ext cx="387795" cy="387795"/>
              <a:chOff x="2844324" y="3867009"/>
              <a:chExt cx="567771" cy="567771"/>
            </a:xfrm>
          </p:grpSpPr>
          <p:sp>
            <p:nvSpPr>
              <p:cNvPr id="8" name="Ellipse 7"/>
              <p:cNvSpPr/>
              <p:nvPr/>
            </p:nvSpPr>
            <p:spPr>
              <a:xfrm>
                <a:off x="2844324" y="3867009"/>
                <a:ext cx="567771" cy="567771"/>
              </a:xfrm>
              <a:prstGeom prst="ellipse">
                <a:avLst/>
              </a:prstGeom>
              <a:solidFill>
                <a:schemeClr val="tx2"/>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350" kern="1200" dirty="0">
                  <a:solidFill>
                    <a:prstClr val="black"/>
                  </a:solidFill>
                  <a:latin typeface="Calibri"/>
                </a:endParaRPr>
              </a:p>
            </p:txBody>
          </p:sp>
          <p:grpSp>
            <p:nvGrpSpPr>
              <p:cNvPr id="9" name="Groupe 8"/>
              <p:cNvGrpSpPr>
                <a:grpSpLocks noChangeAspect="1"/>
              </p:cNvGrpSpPr>
              <p:nvPr/>
            </p:nvGrpSpPr>
            <p:grpSpPr>
              <a:xfrm>
                <a:off x="3032429" y="3984405"/>
                <a:ext cx="239061" cy="332978"/>
                <a:chOff x="4235116" y="3004457"/>
                <a:chExt cx="385010" cy="536264"/>
              </a:xfrm>
            </p:grpSpPr>
            <p:cxnSp>
              <p:nvCxnSpPr>
                <p:cNvPr id="10" name="Connecteur droit 9"/>
                <p:cNvCxnSpPr/>
                <p:nvPr/>
              </p:nvCxnSpPr>
              <p:spPr>
                <a:xfrm>
                  <a:off x="4235116" y="3004457"/>
                  <a:ext cx="385010" cy="268132"/>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 name="Connecteur droit 10"/>
                <p:cNvCxnSpPr/>
                <p:nvPr/>
              </p:nvCxnSpPr>
              <p:spPr>
                <a:xfrm flipV="1">
                  <a:off x="4235116" y="3272589"/>
                  <a:ext cx="385010" cy="268132"/>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grpSp>
        </p:grpSp>
      </p:grpSp>
      <p:sp>
        <p:nvSpPr>
          <p:cNvPr id="12" name="ZoneTexte 11"/>
          <p:cNvSpPr txBox="1"/>
          <p:nvPr/>
        </p:nvSpPr>
        <p:spPr>
          <a:xfrm>
            <a:off x="1516431" y="2454841"/>
            <a:ext cx="1282082" cy="300082"/>
          </a:xfrm>
          <a:prstGeom prst="rect">
            <a:avLst/>
          </a:prstGeom>
          <a:noFill/>
        </p:spPr>
        <p:txBody>
          <a:bodyPr wrap="none" rtlCol="0">
            <a:spAutoFit/>
          </a:bodyPr>
          <a:lstStyle/>
          <a:p>
            <a:pPr algn="ctr" defTabSz="685800">
              <a:buClrTx/>
              <a:defRPr/>
            </a:pPr>
            <a:r>
              <a:rPr lang="en-US" sz="1350" b="1" kern="1200" dirty="0">
                <a:solidFill>
                  <a:srgbClr val="464646"/>
                </a:solidFill>
                <a:latin typeface="Calibri"/>
                <a:ea typeface="+mn-ea"/>
                <a:cs typeface="+mn-cs"/>
              </a:rPr>
              <a:t>Transformation</a:t>
            </a:r>
          </a:p>
        </p:txBody>
      </p:sp>
      <p:sp>
        <p:nvSpPr>
          <p:cNvPr id="13" name="ZoneTexte 12"/>
          <p:cNvSpPr txBox="1"/>
          <p:nvPr/>
        </p:nvSpPr>
        <p:spPr>
          <a:xfrm>
            <a:off x="5840916" y="2439532"/>
            <a:ext cx="1809214" cy="300082"/>
          </a:xfrm>
          <a:prstGeom prst="rect">
            <a:avLst/>
          </a:prstGeom>
          <a:noFill/>
        </p:spPr>
        <p:txBody>
          <a:bodyPr wrap="none" rtlCol="0">
            <a:spAutoFit/>
          </a:bodyPr>
          <a:lstStyle/>
          <a:p>
            <a:pPr algn="ctr" defTabSz="685800">
              <a:buClrTx/>
              <a:defRPr/>
            </a:pPr>
            <a:r>
              <a:rPr lang="en-US" sz="1350" b="1" kern="1200" dirty="0">
                <a:solidFill>
                  <a:srgbClr val="464646"/>
                </a:solidFill>
                <a:latin typeface="Calibri"/>
                <a:ea typeface="+mn-ea"/>
                <a:cs typeface="+mn-cs"/>
              </a:rPr>
              <a:t>Weighted Least Square</a:t>
            </a:r>
          </a:p>
        </p:txBody>
      </p:sp>
      <p:sp>
        <p:nvSpPr>
          <p:cNvPr id="42" name="TextBox 7"/>
          <p:cNvSpPr txBox="1"/>
          <p:nvPr/>
        </p:nvSpPr>
        <p:spPr>
          <a:xfrm>
            <a:off x="5159109" y="2884744"/>
            <a:ext cx="3232653" cy="1815882"/>
          </a:xfrm>
          <a:prstGeom prst="rect">
            <a:avLst/>
          </a:prstGeom>
          <a:noFill/>
        </p:spPr>
        <p:txBody>
          <a:bodyPr wrap="square" rtlCol="0" anchor="ctr">
            <a:spAutoFit/>
          </a:bodyPr>
          <a:lstStyle/>
          <a:p>
            <a:pPr defTabSz="685800">
              <a:buClrTx/>
              <a:defRPr/>
            </a:pPr>
            <a:r>
              <a:rPr lang="en-US" b="0" i="0" dirty="0">
                <a:solidFill>
                  <a:schemeClr val="tx1"/>
                </a:solidFill>
                <a:effectLst/>
                <a:latin typeface="+mn-lt"/>
              </a:rPr>
              <a:t>The method of ordinary least squares assumes that there is constant variance in the errors. The method of </a:t>
            </a:r>
            <a:r>
              <a:rPr lang="en-US" b="1" i="0" dirty="0">
                <a:solidFill>
                  <a:schemeClr val="tx1"/>
                </a:solidFill>
                <a:effectLst/>
                <a:latin typeface="+mn-lt"/>
              </a:rPr>
              <a:t>weighted least squares</a:t>
            </a:r>
            <a:r>
              <a:rPr lang="en-US" b="0" i="0" dirty="0">
                <a:solidFill>
                  <a:schemeClr val="tx1"/>
                </a:solidFill>
                <a:effectLst/>
                <a:latin typeface="+mn-lt"/>
              </a:rPr>
              <a:t> can be used when the ordinary least squares assumption of constant variance in the errors is violated (which is called </a:t>
            </a:r>
            <a:r>
              <a:rPr lang="en-US" b="1" i="0" dirty="0">
                <a:solidFill>
                  <a:schemeClr val="tx1"/>
                </a:solidFill>
                <a:effectLst/>
                <a:latin typeface="+mn-lt"/>
              </a:rPr>
              <a:t>heteroscedasticity</a:t>
            </a:r>
            <a:r>
              <a:rPr lang="en-US" b="0" i="0" dirty="0">
                <a:solidFill>
                  <a:schemeClr val="tx1"/>
                </a:solidFill>
                <a:effectLst/>
                <a:latin typeface="+mn-lt"/>
              </a:rPr>
              <a:t>).</a:t>
            </a:r>
            <a:endParaRPr lang="en-US" sz="1200" kern="1200" dirty="0">
              <a:solidFill>
                <a:schemeClr val="tx1"/>
              </a:solidFill>
              <a:latin typeface="+mn-lt"/>
              <a:ea typeface="+mn-ea"/>
              <a:cs typeface="+mn-cs"/>
            </a:endParaRPr>
          </a:p>
        </p:txBody>
      </p:sp>
      <p:grpSp>
        <p:nvGrpSpPr>
          <p:cNvPr id="49" name="Scale8" descr="{&quot;Key&quot;:&quot;POWER_USER_SHAPE_ICON&quot;,&quot;Value&quot;:&quot;POWER_USER_SHAPE_ICON_STYLE_1&quot;}">
            <a:extLst>
              <a:ext uri="{FF2B5EF4-FFF2-40B4-BE49-F238E27FC236}">
                <a16:creationId xmlns:a16="http://schemas.microsoft.com/office/drawing/2014/main" id="{A9492617-461A-4A6F-9BB9-BC75DB5E7751}"/>
              </a:ext>
            </a:extLst>
          </p:cNvPr>
          <p:cNvGrpSpPr>
            <a:grpSpLocks noChangeAspect="1"/>
          </p:cNvGrpSpPr>
          <p:nvPr>
            <p:custDataLst>
              <p:tags r:id="rId1"/>
            </p:custDataLst>
          </p:nvPr>
        </p:nvGrpSpPr>
        <p:grpSpPr>
          <a:xfrm>
            <a:off x="6188090" y="1337889"/>
            <a:ext cx="1174693" cy="1101643"/>
            <a:chOff x="5233742" y="914519"/>
            <a:chExt cx="3087932" cy="2895905"/>
          </a:xfrm>
          <a:solidFill>
            <a:schemeClr val="tx2">
              <a:lumMod val="10000"/>
            </a:schemeClr>
          </a:solidFill>
        </p:grpSpPr>
        <p:sp>
          <p:nvSpPr>
            <p:cNvPr id="50" name="Freeform 9">
              <a:extLst>
                <a:ext uri="{FF2B5EF4-FFF2-40B4-BE49-F238E27FC236}">
                  <a16:creationId xmlns:a16="http://schemas.microsoft.com/office/drawing/2014/main" id="{FA11DCBD-CFA1-422C-A6F7-702C4E29018E}"/>
                </a:ext>
              </a:extLst>
            </p:cNvPr>
            <p:cNvSpPr>
              <a:spLocks/>
            </p:cNvSpPr>
            <p:nvPr/>
          </p:nvSpPr>
          <p:spPr bwMode="auto">
            <a:xfrm>
              <a:off x="5233742" y="2852676"/>
              <a:ext cx="1123535" cy="296985"/>
            </a:xfrm>
            <a:custGeom>
              <a:avLst/>
              <a:gdLst>
                <a:gd name="T0" fmla="*/ 0 w 1536"/>
                <a:gd name="T1" fmla="*/ 0 h 406"/>
                <a:gd name="T2" fmla="*/ 1536 w 1536"/>
                <a:gd name="T3" fmla="*/ 0 h 406"/>
                <a:gd name="T4" fmla="*/ 1056 w 1536"/>
                <a:gd name="T5" fmla="*/ 335 h 406"/>
                <a:gd name="T6" fmla="*/ 334 w 1536"/>
                <a:gd name="T7" fmla="*/ 276 h 406"/>
                <a:gd name="T8" fmla="*/ 0 w 1536"/>
                <a:gd name="T9" fmla="*/ 0 h 406"/>
              </a:gdLst>
              <a:ahLst/>
              <a:cxnLst>
                <a:cxn ang="0">
                  <a:pos x="T0" y="T1"/>
                </a:cxn>
                <a:cxn ang="0">
                  <a:pos x="T2" y="T3"/>
                </a:cxn>
                <a:cxn ang="0">
                  <a:pos x="T4" y="T5"/>
                </a:cxn>
                <a:cxn ang="0">
                  <a:pos x="T6" y="T7"/>
                </a:cxn>
                <a:cxn ang="0">
                  <a:pos x="T8" y="T9"/>
                </a:cxn>
              </a:cxnLst>
              <a:rect l="0" t="0" r="r" b="b"/>
              <a:pathLst>
                <a:path w="1536" h="406">
                  <a:moveTo>
                    <a:pt x="0" y="0"/>
                  </a:moveTo>
                  <a:lnTo>
                    <a:pt x="1536" y="0"/>
                  </a:lnTo>
                  <a:cubicBezTo>
                    <a:pt x="1398" y="138"/>
                    <a:pt x="1249" y="278"/>
                    <a:pt x="1056" y="335"/>
                  </a:cubicBezTo>
                  <a:cubicBezTo>
                    <a:pt x="819" y="406"/>
                    <a:pt x="554" y="394"/>
                    <a:pt x="334" y="276"/>
                  </a:cubicBezTo>
                  <a:cubicBezTo>
                    <a:pt x="206" y="207"/>
                    <a:pt x="78" y="126"/>
                    <a:pt x="0" y="0"/>
                  </a:cubicBez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Line 13">
              <a:extLst>
                <a:ext uri="{FF2B5EF4-FFF2-40B4-BE49-F238E27FC236}">
                  <a16:creationId xmlns:a16="http://schemas.microsoft.com/office/drawing/2014/main" id="{58143CA5-DBFA-4F80-8564-3E520B236C96}"/>
                </a:ext>
              </a:extLst>
            </p:cNvPr>
            <p:cNvSpPr>
              <a:spLocks noChangeShapeType="1"/>
            </p:cNvSpPr>
            <p:nvPr/>
          </p:nvSpPr>
          <p:spPr bwMode="auto">
            <a:xfrm flipH="1" flipV="1">
              <a:off x="5768077" y="1454818"/>
              <a:ext cx="522408" cy="1419327"/>
            </a:xfrm>
            <a:prstGeom prst="line">
              <a:avLst/>
            </a:prstGeom>
            <a:grpFill/>
            <a:ln w="730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14">
              <a:extLst>
                <a:ext uri="{FF2B5EF4-FFF2-40B4-BE49-F238E27FC236}">
                  <a16:creationId xmlns:a16="http://schemas.microsoft.com/office/drawing/2014/main" id="{0B94736B-3144-4A8D-AAEE-321BBC4F05FC}"/>
                </a:ext>
              </a:extLst>
            </p:cNvPr>
            <p:cNvSpPr>
              <a:spLocks/>
            </p:cNvSpPr>
            <p:nvPr/>
          </p:nvSpPr>
          <p:spPr bwMode="auto">
            <a:xfrm>
              <a:off x="7198139" y="2852676"/>
              <a:ext cx="1123535" cy="296985"/>
            </a:xfrm>
            <a:custGeom>
              <a:avLst/>
              <a:gdLst>
                <a:gd name="T0" fmla="*/ 0 w 1536"/>
                <a:gd name="T1" fmla="*/ 0 h 406"/>
                <a:gd name="T2" fmla="*/ 1536 w 1536"/>
                <a:gd name="T3" fmla="*/ 0 h 406"/>
                <a:gd name="T4" fmla="*/ 1056 w 1536"/>
                <a:gd name="T5" fmla="*/ 335 h 406"/>
                <a:gd name="T6" fmla="*/ 334 w 1536"/>
                <a:gd name="T7" fmla="*/ 276 h 406"/>
                <a:gd name="T8" fmla="*/ 0 w 1536"/>
                <a:gd name="T9" fmla="*/ 0 h 406"/>
              </a:gdLst>
              <a:ahLst/>
              <a:cxnLst>
                <a:cxn ang="0">
                  <a:pos x="T0" y="T1"/>
                </a:cxn>
                <a:cxn ang="0">
                  <a:pos x="T2" y="T3"/>
                </a:cxn>
                <a:cxn ang="0">
                  <a:pos x="T4" y="T5"/>
                </a:cxn>
                <a:cxn ang="0">
                  <a:pos x="T6" y="T7"/>
                </a:cxn>
                <a:cxn ang="0">
                  <a:pos x="T8" y="T9"/>
                </a:cxn>
              </a:cxnLst>
              <a:rect l="0" t="0" r="r" b="b"/>
              <a:pathLst>
                <a:path w="1536" h="406">
                  <a:moveTo>
                    <a:pt x="0" y="0"/>
                  </a:moveTo>
                  <a:lnTo>
                    <a:pt x="1536" y="0"/>
                  </a:lnTo>
                  <a:cubicBezTo>
                    <a:pt x="1397" y="138"/>
                    <a:pt x="1248" y="278"/>
                    <a:pt x="1056" y="335"/>
                  </a:cubicBezTo>
                  <a:cubicBezTo>
                    <a:pt x="819" y="406"/>
                    <a:pt x="554" y="394"/>
                    <a:pt x="334" y="276"/>
                  </a:cubicBezTo>
                  <a:cubicBezTo>
                    <a:pt x="206" y="207"/>
                    <a:pt x="78" y="126"/>
                    <a:pt x="0" y="0"/>
                  </a:cubicBez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9">
              <a:extLst>
                <a:ext uri="{FF2B5EF4-FFF2-40B4-BE49-F238E27FC236}">
                  <a16:creationId xmlns:a16="http://schemas.microsoft.com/office/drawing/2014/main" id="{77CC63D6-DB41-488E-9C7A-66AE70FE6652}"/>
                </a:ext>
              </a:extLst>
            </p:cNvPr>
            <p:cNvSpPr>
              <a:spLocks/>
            </p:cNvSpPr>
            <p:nvPr/>
          </p:nvSpPr>
          <p:spPr bwMode="auto">
            <a:xfrm>
              <a:off x="5968453" y="1520417"/>
              <a:ext cx="1618511" cy="2290007"/>
            </a:xfrm>
            <a:custGeom>
              <a:avLst/>
              <a:gdLst>
                <a:gd name="T0" fmla="*/ 0 w 2210"/>
                <a:gd name="T1" fmla="*/ 3126 h 3126"/>
                <a:gd name="T2" fmla="*/ 2210 w 2210"/>
                <a:gd name="T3" fmla="*/ 3126 h 3126"/>
                <a:gd name="T4" fmla="*/ 1241 w 2210"/>
                <a:gd name="T5" fmla="*/ 2711 h 3126"/>
                <a:gd name="T6" fmla="*/ 1247 w 2210"/>
                <a:gd name="T7" fmla="*/ 2372 h 3126"/>
                <a:gd name="T8" fmla="*/ 1165 w 2210"/>
                <a:gd name="T9" fmla="*/ 0 h 3126"/>
                <a:gd name="T10" fmla="*/ 1054 w 2210"/>
                <a:gd name="T11" fmla="*/ 0 h 3126"/>
                <a:gd name="T12" fmla="*/ 972 w 2210"/>
                <a:gd name="T13" fmla="*/ 2372 h 3126"/>
                <a:gd name="T14" fmla="*/ 973 w 2210"/>
                <a:gd name="T15" fmla="*/ 2711 h 3126"/>
                <a:gd name="T16" fmla="*/ 0 w 2210"/>
                <a:gd name="T17" fmla="*/ 3126 h 3126"/>
                <a:gd name="T18" fmla="*/ 0 w 2210"/>
                <a:gd name="T19" fmla="*/ 3126 h 3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0" h="3126">
                  <a:moveTo>
                    <a:pt x="0" y="3126"/>
                  </a:moveTo>
                  <a:lnTo>
                    <a:pt x="2210" y="3126"/>
                  </a:lnTo>
                  <a:cubicBezTo>
                    <a:pt x="2210" y="3126"/>
                    <a:pt x="1453" y="2991"/>
                    <a:pt x="1241" y="2711"/>
                  </a:cubicBezTo>
                  <a:cubicBezTo>
                    <a:pt x="1172" y="2620"/>
                    <a:pt x="1250" y="2485"/>
                    <a:pt x="1247" y="2372"/>
                  </a:cubicBezTo>
                  <a:lnTo>
                    <a:pt x="1165" y="0"/>
                  </a:lnTo>
                  <a:lnTo>
                    <a:pt x="1054" y="0"/>
                  </a:lnTo>
                  <a:lnTo>
                    <a:pt x="972" y="2372"/>
                  </a:lnTo>
                  <a:cubicBezTo>
                    <a:pt x="969" y="2485"/>
                    <a:pt x="1043" y="2621"/>
                    <a:pt x="973" y="2711"/>
                  </a:cubicBezTo>
                  <a:cubicBezTo>
                    <a:pt x="758" y="2991"/>
                    <a:pt x="0" y="3126"/>
                    <a:pt x="0" y="3126"/>
                  </a:cubicBezTo>
                  <a:lnTo>
                    <a:pt x="0" y="3126"/>
                  </a:ln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20">
              <a:extLst>
                <a:ext uri="{FF2B5EF4-FFF2-40B4-BE49-F238E27FC236}">
                  <a16:creationId xmlns:a16="http://schemas.microsoft.com/office/drawing/2014/main" id="{83CA0E88-E011-4746-9FD1-E273432D2190}"/>
                </a:ext>
              </a:extLst>
            </p:cNvPr>
            <p:cNvSpPr>
              <a:spLocks/>
            </p:cNvSpPr>
            <p:nvPr/>
          </p:nvSpPr>
          <p:spPr bwMode="auto">
            <a:xfrm>
              <a:off x="5661926" y="914519"/>
              <a:ext cx="2231565" cy="623788"/>
            </a:xfrm>
            <a:custGeom>
              <a:avLst/>
              <a:gdLst>
                <a:gd name="T0" fmla="*/ 3031 w 3050"/>
                <a:gd name="T1" fmla="*/ 851 h 851"/>
                <a:gd name="T2" fmla="*/ 19 w 3050"/>
                <a:gd name="T3" fmla="*/ 851 h 851"/>
                <a:gd name="T4" fmla="*/ 1 w 3050"/>
                <a:gd name="T5" fmla="*/ 677 h 851"/>
                <a:gd name="T6" fmla="*/ 11 w 3050"/>
                <a:gd name="T7" fmla="*/ 648 h 851"/>
                <a:gd name="T8" fmla="*/ 42 w 3050"/>
                <a:gd name="T9" fmla="*/ 651 h 851"/>
                <a:gd name="T10" fmla="*/ 1146 w 3050"/>
                <a:gd name="T11" fmla="*/ 453 h 851"/>
                <a:gd name="T12" fmla="*/ 1381 w 3050"/>
                <a:gd name="T13" fmla="*/ 565 h 851"/>
                <a:gd name="T14" fmla="*/ 1405 w 3050"/>
                <a:gd name="T15" fmla="*/ 590 h 851"/>
                <a:gd name="T16" fmla="*/ 1468 w 3050"/>
                <a:gd name="T17" fmla="*/ 532 h 851"/>
                <a:gd name="T18" fmla="*/ 1525 w 3050"/>
                <a:gd name="T19" fmla="*/ 0 h 851"/>
                <a:gd name="T20" fmla="*/ 1582 w 3050"/>
                <a:gd name="T21" fmla="*/ 532 h 851"/>
                <a:gd name="T22" fmla="*/ 1645 w 3050"/>
                <a:gd name="T23" fmla="*/ 590 h 851"/>
                <a:gd name="T24" fmla="*/ 1669 w 3050"/>
                <a:gd name="T25" fmla="*/ 565 h 851"/>
                <a:gd name="T26" fmla="*/ 1904 w 3050"/>
                <a:gd name="T27" fmla="*/ 453 h 851"/>
                <a:gd name="T28" fmla="*/ 3008 w 3050"/>
                <a:gd name="T29" fmla="*/ 651 h 851"/>
                <a:gd name="T30" fmla="*/ 3039 w 3050"/>
                <a:gd name="T31" fmla="*/ 648 h 851"/>
                <a:gd name="T32" fmla="*/ 3049 w 3050"/>
                <a:gd name="T33" fmla="*/ 677 h 851"/>
                <a:gd name="T34" fmla="*/ 3031 w 3050"/>
                <a:gd name="T35"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0" h="851">
                  <a:moveTo>
                    <a:pt x="3031" y="851"/>
                  </a:moveTo>
                  <a:lnTo>
                    <a:pt x="19" y="851"/>
                  </a:lnTo>
                  <a:lnTo>
                    <a:pt x="1" y="677"/>
                  </a:lnTo>
                  <a:cubicBezTo>
                    <a:pt x="0" y="666"/>
                    <a:pt x="3" y="653"/>
                    <a:pt x="11" y="648"/>
                  </a:cubicBezTo>
                  <a:cubicBezTo>
                    <a:pt x="20" y="642"/>
                    <a:pt x="32" y="652"/>
                    <a:pt x="42" y="651"/>
                  </a:cubicBezTo>
                  <a:cubicBezTo>
                    <a:pt x="417" y="638"/>
                    <a:pt x="767" y="390"/>
                    <a:pt x="1146" y="453"/>
                  </a:cubicBezTo>
                  <a:cubicBezTo>
                    <a:pt x="1237" y="469"/>
                    <a:pt x="1315" y="502"/>
                    <a:pt x="1381" y="565"/>
                  </a:cubicBezTo>
                  <a:cubicBezTo>
                    <a:pt x="1389" y="573"/>
                    <a:pt x="1405" y="590"/>
                    <a:pt x="1405" y="590"/>
                  </a:cubicBezTo>
                  <a:cubicBezTo>
                    <a:pt x="1439" y="624"/>
                    <a:pt x="1453" y="576"/>
                    <a:pt x="1468" y="532"/>
                  </a:cubicBezTo>
                  <a:cubicBezTo>
                    <a:pt x="1497" y="436"/>
                    <a:pt x="1519" y="0"/>
                    <a:pt x="1525" y="0"/>
                  </a:cubicBezTo>
                  <a:cubicBezTo>
                    <a:pt x="1531" y="0"/>
                    <a:pt x="1553" y="436"/>
                    <a:pt x="1582" y="532"/>
                  </a:cubicBezTo>
                  <a:cubicBezTo>
                    <a:pt x="1597" y="576"/>
                    <a:pt x="1611" y="624"/>
                    <a:pt x="1645" y="590"/>
                  </a:cubicBezTo>
                  <a:cubicBezTo>
                    <a:pt x="1645" y="590"/>
                    <a:pt x="1661" y="573"/>
                    <a:pt x="1669" y="565"/>
                  </a:cubicBezTo>
                  <a:cubicBezTo>
                    <a:pt x="1731" y="496"/>
                    <a:pt x="1815" y="465"/>
                    <a:pt x="1904" y="453"/>
                  </a:cubicBezTo>
                  <a:cubicBezTo>
                    <a:pt x="2278" y="404"/>
                    <a:pt x="2639" y="600"/>
                    <a:pt x="3008" y="651"/>
                  </a:cubicBezTo>
                  <a:cubicBezTo>
                    <a:pt x="3018" y="652"/>
                    <a:pt x="3030" y="642"/>
                    <a:pt x="3039" y="648"/>
                  </a:cubicBezTo>
                  <a:cubicBezTo>
                    <a:pt x="3047" y="653"/>
                    <a:pt x="3050" y="666"/>
                    <a:pt x="3049" y="677"/>
                  </a:cubicBezTo>
                  <a:lnTo>
                    <a:pt x="3031" y="851"/>
                  </a:ln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19D433D9-C53B-46C1-BCD5-8B6D795FE000}"/>
                </a:ext>
              </a:extLst>
            </p:cNvPr>
            <p:cNvSpPr/>
            <p:nvPr/>
          </p:nvSpPr>
          <p:spPr>
            <a:xfrm rot="1096452">
              <a:off x="5557631" y="1462430"/>
              <a:ext cx="8223" cy="14661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78A8140A-6DA1-43F9-8A46-5A96580CAB95}"/>
                </a:ext>
              </a:extLst>
            </p:cNvPr>
            <p:cNvSpPr/>
            <p:nvPr/>
          </p:nvSpPr>
          <p:spPr>
            <a:xfrm rot="20503548" flipH="1">
              <a:off x="6013136" y="1462428"/>
              <a:ext cx="8223" cy="14661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C69FBE63-7B38-43B5-ACB1-5927820D346D}"/>
                </a:ext>
              </a:extLst>
            </p:cNvPr>
            <p:cNvSpPr/>
            <p:nvPr/>
          </p:nvSpPr>
          <p:spPr>
            <a:xfrm rot="1096452">
              <a:off x="7534060" y="1423071"/>
              <a:ext cx="8223" cy="14661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5A01CCEB-ECBE-401D-B010-014BC86E1C12}"/>
                </a:ext>
              </a:extLst>
            </p:cNvPr>
            <p:cNvSpPr/>
            <p:nvPr/>
          </p:nvSpPr>
          <p:spPr>
            <a:xfrm rot="20503548" flipH="1">
              <a:off x="7989565" y="1423069"/>
              <a:ext cx="8223" cy="14661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050" name="Picture 2">
            <a:extLst>
              <a:ext uri="{FF2B5EF4-FFF2-40B4-BE49-F238E27FC236}">
                <a16:creationId xmlns:a16="http://schemas.microsoft.com/office/drawing/2014/main" id="{A4037B85-2F20-4FCB-B90D-46EFC51C5F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1638526" y="1456538"/>
            <a:ext cx="1037893" cy="885407"/>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A582C4DD-7CE7-4BCF-9434-52A20457BB08}"/>
              </a:ext>
            </a:extLst>
          </p:cNvPr>
          <p:cNvSpPr txBox="1"/>
          <p:nvPr/>
        </p:nvSpPr>
        <p:spPr>
          <a:xfrm>
            <a:off x="421227" y="3000801"/>
            <a:ext cx="3929932" cy="1600438"/>
          </a:xfrm>
          <a:prstGeom prst="rect">
            <a:avLst/>
          </a:prstGeom>
          <a:noFill/>
        </p:spPr>
        <p:txBody>
          <a:bodyPr wrap="square">
            <a:spAutoFit/>
          </a:bodyPr>
          <a:lstStyle/>
          <a:p>
            <a:r>
              <a:rPr lang="en-US" b="0" i="0" dirty="0">
                <a:solidFill>
                  <a:srgbClr val="202124"/>
                </a:solidFill>
                <a:effectLst/>
                <a:latin typeface="Roboto" panose="02000000000000000000" pitchFamily="2" charset="0"/>
              </a:rPr>
              <a:t>Data transformation may be used as a remedial measure to make data suitable for modeling with linear regression if the original data violates one or more assumptions of linear regression. </a:t>
            </a:r>
            <a:r>
              <a:rPr lang="en-US" b="1" i="0" dirty="0">
                <a:solidFill>
                  <a:srgbClr val="202124"/>
                </a:solidFill>
                <a:effectLst/>
                <a:latin typeface="Roboto" panose="02000000000000000000" pitchFamily="2" charset="0"/>
              </a:rPr>
              <a:t>Variance stabilizing transformation </a:t>
            </a:r>
            <a:r>
              <a:rPr lang="en-US" b="0" i="0" dirty="0">
                <a:solidFill>
                  <a:srgbClr val="202124"/>
                </a:solidFill>
                <a:effectLst/>
                <a:latin typeface="Roboto" panose="02000000000000000000" pitchFamily="2" charset="0"/>
              </a:rPr>
              <a:t>are used to meet the </a:t>
            </a:r>
            <a:r>
              <a:rPr lang="en-US" b="1" i="0" dirty="0">
                <a:solidFill>
                  <a:srgbClr val="202124"/>
                </a:solidFill>
                <a:effectLst/>
                <a:latin typeface="Roboto" panose="02000000000000000000" pitchFamily="2" charset="0"/>
              </a:rPr>
              <a:t>homogeneity </a:t>
            </a:r>
            <a:r>
              <a:rPr lang="en-US" b="0" i="0" dirty="0">
                <a:solidFill>
                  <a:srgbClr val="202124"/>
                </a:solidFill>
                <a:effectLst/>
                <a:latin typeface="Roboto" panose="02000000000000000000" pitchFamily="2" charset="0"/>
              </a:rPr>
              <a:t>of variance</a:t>
            </a:r>
            <a:endParaRPr lang="en-US" dirty="0"/>
          </a:p>
        </p:txBody>
      </p:sp>
    </p:spTree>
    <p:extLst>
      <p:ext uri="{BB962C8B-B14F-4D97-AF65-F5344CB8AC3E}">
        <p14:creationId xmlns:p14="http://schemas.microsoft.com/office/powerpoint/2010/main" val="2398759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lt1"/>
            </a:gs>
            <a:gs pos="50000">
              <a:schemeClr val="lt1"/>
            </a:gs>
            <a:gs pos="100000">
              <a:schemeClr val="lt2"/>
            </a:gs>
          </a:gsLst>
          <a:lin ang="2700006"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14003-7A2E-45A4-B8D3-74FB55394C25}"/>
              </a:ext>
            </a:extLst>
          </p:cNvPr>
          <p:cNvSpPr>
            <a:spLocks noGrp="1"/>
          </p:cNvSpPr>
          <p:nvPr>
            <p:ph type="title"/>
          </p:nvPr>
        </p:nvSpPr>
        <p:spPr>
          <a:xfrm>
            <a:off x="383882" y="131071"/>
            <a:ext cx="7068300" cy="396300"/>
          </a:xfrm>
        </p:spPr>
        <p:txBody>
          <a:bodyPr/>
          <a:lstStyle/>
          <a:p>
            <a:pPr marL="342900" indent="-342900">
              <a:buFont typeface="Arial" panose="020B0604020202020204" pitchFamily="34" charset="0"/>
              <a:buChar char="•"/>
            </a:pPr>
            <a:r>
              <a:rPr lang="en-US" sz="2400" dirty="0">
                <a:solidFill>
                  <a:srgbClr val="0070C0"/>
                </a:solidFill>
              </a:rPr>
              <a:t>Project By :</a:t>
            </a:r>
          </a:p>
        </p:txBody>
      </p:sp>
      <p:sp>
        <p:nvSpPr>
          <p:cNvPr id="3" name="Text Placeholder 2">
            <a:extLst>
              <a:ext uri="{FF2B5EF4-FFF2-40B4-BE49-F238E27FC236}">
                <a16:creationId xmlns:a16="http://schemas.microsoft.com/office/drawing/2014/main" id="{6B56FDFF-0C29-4CE9-B418-732BDFACF873}"/>
              </a:ext>
            </a:extLst>
          </p:cNvPr>
          <p:cNvSpPr>
            <a:spLocks noGrp="1"/>
          </p:cNvSpPr>
          <p:nvPr>
            <p:ph type="body" idx="1"/>
          </p:nvPr>
        </p:nvSpPr>
        <p:spPr>
          <a:xfrm>
            <a:off x="321888" y="658441"/>
            <a:ext cx="7068300" cy="3541599"/>
          </a:xfrm>
        </p:spPr>
        <p:txBody>
          <a:bodyPr/>
          <a:lstStyle/>
          <a:p>
            <a:pPr marL="533400" indent="-457200">
              <a:buFont typeface="+mj-lt"/>
              <a:buAutoNum type="arabicPeriod"/>
            </a:pPr>
            <a:r>
              <a:rPr lang="en-US" sz="1800" dirty="0"/>
              <a:t>Siddharth Singh</a:t>
            </a:r>
          </a:p>
          <a:p>
            <a:pPr marL="533400" indent="-457200">
              <a:buFont typeface="+mj-lt"/>
              <a:buAutoNum type="arabicPeriod"/>
            </a:pPr>
            <a:r>
              <a:rPr lang="en-US" sz="1800" dirty="0"/>
              <a:t>Ajay Dikondwar</a:t>
            </a:r>
          </a:p>
          <a:p>
            <a:pPr marL="533400" indent="-457200">
              <a:buFont typeface="+mj-lt"/>
              <a:buAutoNum type="arabicPeriod"/>
            </a:pPr>
            <a:r>
              <a:rPr lang="en-US" sz="1800" dirty="0"/>
              <a:t>Uday Paspule</a:t>
            </a:r>
          </a:p>
          <a:p>
            <a:pPr marL="533400" indent="-457200">
              <a:buFont typeface="+mj-lt"/>
              <a:buAutoNum type="arabicPeriod"/>
            </a:pPr>
            <a:r>
              <a:rPr lang="en-US" sz="1800" dirty="0"/>
              <a:t>Punam Gaware</a:t>
            </a:r>
          </a:p>
          <a:p>
            <a:pPr marL="533400" indent="-457200">
              <a:buFont typeface="+mj-lt"/>
              <a:buAutoNum type="arabicPeriod"/>
            </a:pPr>
            <a:r>
              <a:rPr lang="en-US" sz="1800" dirty="0"/>
              <a:t>Vishal Pawar</a:t>
            </a:r>
          </a:p>
          <a:p>
            <a:pPr marL="76200" indent="0">
              <a:buNone/>
            </a:pPr>
            <a:endParaRPr lang="en-US" sz="1800" dirty="0"/>
          </a:p>
          <a:p>
            <a:pPr>
              <a:buFont typeface="Arial" panose="020B0604020202020204" pitchFamily="34" charset="0"/>
              <a:buChar char="•"/>
            </a:pPr>
            <a:r>
              <a:rPr lang="en-US" sz="2000" b="1" dirty="0">
                <a:solidFill>
                  <a:srgbClr val="0070C0"/>
                </a:solidFill>
              </a:rPr>
              <a:t>Project Guide :  </a:t>
            </a:r>
          </a:p>
          <a:p>
            <a:pPr marL="76200" indent="0">
              <a:buNone/>
            </a:pPr>
            <a:r>
              <a:rPr lang="en-US" sz="2000" b="1" dirty="0"/>
              <a:t>Ms. Vanita Mhaske</a:t>
            </a:r>
          </a:p>
        </p:txBody>
      </p:sp>
      <p:pic>
        <p:nvPicPr>
          <p:cNvPr id="5" name="Picture 4">
            <a:extLst>
              <a:ext uri="{FF2B5EF4-FFF2-40B4-BE49-F238E27FC236}">
                <a16:creationId xmlns:a16="http://schemas.microsoft.com/office/drawing/2014/main" id="{B9E9B6CA-B605-4829-BA35-3B60DB5CB456}"/>
              </a:ext>
            </a:extLst>
          </p:cNvPr>
          <p:cNvPicPr>
            <a:picLocks noChangeAspect="1"/>
          </p:cNvPicPr>
          <p:nvPr/>
        </p:nvPicPr>
        <p:blipFill>
          <a:blip r:embed="rId2"/>
          <a:stretch>
            <a:fillRect/>
          </a:stretch>
        </p:blipFill>
        <p:spPr>
          <a:xfrm>
            <a:off x="4169044" y="0"/>
            <a:ext cx="4974958" cy="5143500"/>
          </a:xfrm>
          <a:prstGeom prst="rect">
            <a:avLst/>
          </a:prstGeom>
        </p:spPr>
      </p:pic>
    </p:spTree>
    <p:extLst>
      <p:ext uri="{BB962C8B-B14F-4D97-AF65-F5344CB8AC3E}">
        <p14:creationId xmlns:p14="http://schemas.microsoft.com/office/powerpoint/2010/main" val="10315447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95EAE-9523-4224-85E1-7992017D3042}"/>
              </a:ext>
            </a:extLst>
          </p:cNvPr>
          <p:cNvSpPr>
            <a:spLocks noGrp="1"/>
          </p:cNvSpPr>
          <p:nvPr>
            <p:ph type="title"/>
          </p:nvPr>
        </p:nvSpPr>
        <p:spPr>
          <a:xfrm>
            <a:off x="853578" y="283107"/>
            <a:ext cx="7068300" cy="396300"/>
          </a:xfrm>
        </p:spPr>
        <p:txBody>
          <a:bodyPr/>
          <a:lstStyle/>
          <a:p>
            <a:pPr algn="ctr"/>
            <a:r>
              <a:rPr lang="en-US" sz="3600" dirty="0">
                <a:solidFill>
                  <a:srgbClr val="0070C0"/>
                </a:solidFill>
              </a:rPr>
              <a:t>PCR Technique </a:t>
            </a:r>
          </a:p>
        </p:txBody>
      </p:sp>
      <p:sp>
        <p:nvSpPr>
          <p:cNvPr id="3" name="Text Placeholder 2">
            <a:extLst>
              <a:ext uri="{FF2B5EF4-FFF2-40B4-BE49-F238E27FC236}">
                <a16:creationId xmlns:a16="http://schemas.microsoft.com/office/drawing/2014/main" id="{33DD2F4B-91B0-4507-ABE7-233FA90A750A}"/>
              </a:ext>
            </a:extLst>
          </p:cNvPr>
          <p:cNvSpPr>
            <a:spLocks noGrp="1"/>
          </p:cNvSpPr>
          <p:nvPr>
            <p:ph type="body" idx="1"/>
          </p:nvPr>
        </p:nvSpPr>
        <p:spPr>
          <a:xfrm>
            <a:off x="717471" y="679407"/>
            <a:ext cx="7068300" cy="4182140"/>
          </a:xfrm>
        </p:spPr>
        <p:txBody>
          <a:bodyPr/>
          <a:lstStyle/>
          <a:p>
            <a:pPr algn="l">
              <a:buFont typeface="Arial" panose="020B0604020202020204" pitchFamily="34" charset="0"/>
              <a:buChar char="•"/>
            </a:pPr>
            <a:r>
              <a:rPr lang="en-US" sz="1500" b="0" i="0" dirty="0">
                <a:solidFill>
                  <a:srgbClr val="202124"/>
                </a:solidFill>
                <a:effectLst/>
                <a:latin typeface="Inter-Regular" panose="020B0604020202020204" charset="0"/>
                <a:ea typeface="Inter-Regular" panose="020B0604020202020204" charset="0"/>
              </a:rPr>
              <a:t>In statistics, Principal </a:t>
            </a:r>
            <a:r>
              <a:rPr lang="en-US" sz="1500" dirty="0">
                <a:solidFill>
                  <a:srgbClr val="202124"/>
                </a:solidFill>
                <a:latin typeface="Inter-Regular" panose="020B0604020202020204" charset="0"/>
                <a:ea typeface="Inter-Regular" panose="020B0604020202020204" charset="0"/>
              </a:rPr>
              <a:t>C</a:t>
            </a:r>
            <a:r>
              <a:rPr lang="en-US" sz="1500" b="0" i="0" dirty="0">
                <a:solidFill>
                  <a:srgbClr val="202124"/>
                </a:solidFill>
                <a:effectLst/>
                <a:latin typeface="Inter-Regular" panose="020B0604020202020204" charset="0"/>
                <a:ea typeface="Inter-Regular" panose="020B0604020202020204" charset="0"/>
              </a:rPr>
              <a:t>omponent </a:t>
            </a:r>
            <a:r>
              <a:rPr lang="en-US" sz="1500" dirty="0">
                <a:solidFill>
                  <a:srgbClr val="202124"/>
                </a:solidFill>
                <a:latin typeface="Inter-Regular" panose="020B0604020202020204" charset="0"/>
                <a:ea typeface="Inter-Regular" panose="020B0604020202020204" charset="0"/>
              </a:rPr>
              <a:t>R</a:t>
            </a:r>
            <a:r>
              <a:rPr lang="en-US" sz="1500" b="0" i="0" dirty="0">
                <a:solidFill>
                  <a:srgbClr val="202124"/>
                </a:solidFill>
                <a:effectLst/>
                <a:latin typeface="Inter-Regular" panose="020B0604020202020204" charset="0"/>
                <a:ea typeface="Inter-Regular" panose="020B0604020202020204" charset="0"/>
              </a:rPr>
              <a:t>egression (PCR) is a regression analysis technique that is based on </a:t>
            </a:r>
            <a:r>
              <a:rPr lang="en-US" sz="1500" dirty="0">
                <a:solidFill>
                  <a:srgbClr val="202124"/>
                </a:solidFill>
                <a:latin typeface="Inter-Regular" panose="020B0604020202020204" charset="0"/>
                <a:ea typeface="Inter-Regular" panose="020B0604020202020204" charset="0"/>
              </a:rPr>
              <a:t>P</a:t>
            </a:r>
            <a:r>
              <a:rPr lang="en-US" sz="1500" b="0" i="0" dirty="0">
                <a:solidFill>
                  <a:srgbClr val="202124"/>
                </a:solidFill>
                <a:effectLst/>
                <a:latin typeface="Inter-Regular" panose="020B0604020202020204" charset="0"/>
                <a:ea typeface="Inter-Regular" panose="020B0604020202020204" charset="0"/>
              </a:rPr>
              <a:t>rincipal </a:t>
            </a:r>
            <a:r>
              <a:rPr lang="en-US" sz="1500" dirty="0">
                <a:solidFill>
                  <a:srgbClr val="202124"/>
                </a:solidFill>
                <a:latin typeface="Inter-Regular" panose="020B0604020202020204" charset="0"/>
                <a:ea typeface="Inter-Regular" panose="020B0604020202020204" charset="0"/>
              </a:rPr>
              <a:t>C</a:t>
            </a:r>
            <a:r>
              <a:rPr lang="en-US" sz="1500" b="0" i="0" dirty="0">
                <a:solidFill>
                  <a:srgbClr val="202124"/>
                </a:solidFill>
                <a:effectLst/>
                <a:latin typeface="Inter-Regular" panose="020B0604020202020204" charset="0"/>
                <a:ea typeface="Inter-Regular" panose="020B0604020202020204" charset="0"/>
              </a:rPr>
              <a:t>omponent </a:t>
            </a:r>
            <a:r>
              <a:rPr lang="en-US" sz="1500" dirty="0">
                <a:solidFill>
                  <a:srgbClr val="202124"/>
                </a:solidFill>
                <a:latin typeface="Inter-Regular" panose="020B0604020202020204" charset="0"/>
                <a:ea typeface="Inter-Regular" panose="020B0604020202020204" charset="0"/>
              </a:rPr>
              <a:t>A</a:t>
            </a:r>
            <a:r>
              <a:rPr lang="en-US" sz="1500" b="0" i="0" dirty="0">
                <a:solidFill>
                  <a:srgbClr val="202124"/>
                </a:solidFill>
                <a:effectLst/>
                <a:latin typeface="Inter-Regular" panose="020B0604020202020204" charset="0"/>
                <a:ea typeface="Inter-Regular" panose="020B0604020202020204" charset="0"/>
              </a:rPr>
              <a:t>nalysis (PCA).</a:t>
            </a:r>
          </a:p>
          <a:p>
            <a:pPr algn="l">
              <a:buFont typeface="Arial" panose="020B0604020202020204" pitchFamily="34" charset="0"/>
              <a:buChar char="•"/>
            </a:pPr>
            <a:r>
              <a:rPr lang="en-US" sz="1500" b="0" i="0" dirty="0">
                <a:solidFill>
                  <a:srgbClr val="202124"/>
                </a:solidFill>
                <a:effectLst/>
                <a:latin typeface="Inter-Regular" panose="020B0604020202020204" charset="0"/>
                <a:ea typeface="Inter-Regular" panose="020B0604020202020204" charset="0"/>
              </a:rPr>
              <a:t>To sum up, the idea of PCA is simple — reduce the number of variables of a data set, while preserving as much information as possible.</a:t>
            </a:r>
          </a:p>
          <a:p>
            <a:pPr algn="l">
              <a:buFont typeface="Arial" panose="020B0604020202020204" pitchFamily="34" charset="0"/>
              <a:buChar char="•"/>
            </a:pPr>
            <a:r>
              <a:rPr lang="en-US" sz="1500" b="0" i="0" dirty="0">
                <a:solidFill>
                  <a:srgbClr val="202124"/>
                </a:solidFill>
                <a:effectLst/>
                <a:latin typeface="Inter-Regular" panose="020B0604020202020204" charset="0"/>
                <a:ea typeface="Inter-Regular" panose="020B0604020202020204" charset="0"/>
              </a:rPr>
              <a:t>In PCR, instead of regressing the dependent variable on the explanatory variables directly, the principal components of the explanatory variables are used as regressors. Major use of PCR lies in overcoming the multicollinearity problem &amp; preventing loss of information.</a:t>
            </a:r>
          </a:p>
          <a:p>
            <a:pPr algn="l">
              <a:buFont typeface="Arial" panose="020B0604020202020204" pitchFamily="34" charset="0"/>
              <a:buChar char="•"/>
            </a:pPr>
            <a:r>
              <a:rPr lang="en-US" sz="1500" b="0" i="0" dirty="0">
                <a:solidFill>
                  <a:srgbClr val="202124"/>
                </a:solidFill>
                <a:effectLst/>
                <a:latin typeface="Inter-Regular" panose="020B0604020202020204" charset="0"/>
                <a:ea typeface="Inter-Regular" panose="020B0604020202020204" charset="0"/>
              </a:rPr>
              <a:t>Define Y: dependent variable = Female </a:t>
            </a:r>
            <a:r>
              <a:rPr lang="en-US" sz="1500" dirty="0">
                <a:solidFill>
                  <a:srgbClr val="202124"/>
                </a:solidFill>
                <a:latin typeface="Inter-Regular" panose="020B0604020202020204" charset="0"/>
                <a:ea typeface="Inter-Regular" panose="020B0604020202020204" charset="0"/>
              </a:rPr>
              <a:t>L</a:t>
            </a:r>
            <a:r>
              <a:rPr lang="en-US" sz="1500" b="0" i="0" dirty="0">
                <a:solidFill>
                  <a:srgbClr val="202124"/>
                </a:solidFill>
                <a:effectLst/>
                <a:latin typeface="Inter-Regular" panose="020B0604020202020204" charset="0"/>
                <a:ea typeface="Inter-Regular" panose="020B0604020202020204" charset="0"/>
              </a:rPr>
              <a:t>abour Force </a:t>
            </a:r>
            <a:r>
              <a:rPr lang="en-US" sz="1500" dirty="0">
                <a:solidFill>
                  <a:srgbClr val="202124"/>
                </a:solidFill>
                <a:latin typeface="Inter-Regular" panose="020B0604020202020204" charset="0"/>
                <a:ea typeface="Inter-Regular" panose="020B0604020202020204" charset="0"/>
              </a:rPr>
              <a:t>P</a:t>
            </a:r>
            <a:r>
              <a:rPr lang="en-US" sz="1500" b="0" i="0" dirty="0">
                <a:solidFill>
                  <a:srgbClr val="202124"/>
                </a:solidFill>
                <a:effectLst/>
                <a:latin typeface="Inter-Regular" panose="020B0604020202020204" charset="0"/>
                <a:ea typeface="Inter-Regular" panose="020B0604020202020204" charset="0"/>
              </a:rPr>
              <a:t>articipation rate.</a:t>
            </a:r>
          </a:p>
          <a:p>
            <a:pPr algn="l">
              <a:buFont typeface="Arial" panose="020B0604020202020204" pitchFamily="34" charset="0"/>
              <a:buChar char="•"/>
            </a:pPr>
            <a:r>
              <a:rPr lang="en-US" sz="1500" b="0" i="0" dirty="0">
                <a:solidFill>
                  <a:srgbClr val="202124"/>
                </a:solidFill>
                <a:effectLst/>
                <a:latin typeface="Inter-Regular" panose="020B0604020202020204" charset="0"/>
                <a:ea typeface="Inter-Regular" panose="020B0604020202020204" charset="0"/>
              </a:rPr>
              <a:t>X1= Maternal Mortality </a:t>
            </a:r>
            <a:r>
              <a:rPr lang="en-US" sz="1500" dirty="0">
                <a:solidFill>
                  <a:srgbClr val="202124"/>
                </a:solidFill>
                <a:latin typeface="Inter-Regular" panose="020B0604020202020204" charset="0"/>
                <a:ea typeface="Inter-Regular" panose="020B0604020202020204" charset="0"/>
              </a:rPr>
              <a:t>R</a:t>
            </a:r>
            <a:r>
              <a:rPr lang="en-US" sz="1500" b="0" i="0" dirty="0">
                <a:solidFill>
                  <a:srgbClr val="202124"/>
                </a:solidFill>
                <a:effectLst/>
                <a:latin typeface="Inter-Regular" panose="020B0604020202020204" charset="0"/>
                <a:ea typeface="Inter-Regular" panose="020B0604020202020204" charset="0"/>
              </a:rPr>
              <a:t>atio, X2= Female Literacy Rate, </a:t>
            </a:r>
          </a:p>
          <a:p>
            <a:pPr marL="76200" indent="0" algn="l">
              <a:buNone/>
            </a:pPr>
            <a:r>
              <a:rPr lang="en-US" sz="1500" dirty="0">
                <a:solidFill>
                  <a:srgbClr val="202124"/>
                </a:solidFill>
                <a:latin typeface="Inter-Regular" panose="020B0604020202020204" charset="0"/>
                <a:ea typeface="Inter-Regular" panose="020B0604020202020204" charset="0"/>
              </a:rPr>
              <a:t>       X3=</a:t>
            </a:r>
            <a:r>
              <a:rPr lang="en-US" sz="1500" b="0" i="0" dirty="0">
                <a:solidFill>
                  <a:srgbClr val="202124"/>
                </a:solidFill>
                <a:effectLst/>
                <a:latin typeface="Inter-Regular" panose="020B0604020202020204" charset="0"/>
                <a:ea typeface="Inter-Regular" panose="020B0604020202020204" charset="0"/>
              </a:rPr>
              <a:t> Fertility Rate</a:t>
            </a:r>
          </a:p>
          <a:p>
            <a:pPr algn="l">
              <a:buFont typeface="Arial" panose="020B0604020202020204" pitchFamily="34" charset="0"/>
              <a:buChar char="•"/>
            </a:pPr>
            <a:endParaRPr lang="en-US" sz="2000" b="0" i="0" dirty="0">
              <a:solidFill>
                <a:srgbClr val="202124"/>
              </a:solidFill>
              <a:effectLst/>
              <a:latin typeface="Roboto" panose="02000000000000000000" pitchFamily="2" charset="0"/>
            </a:endParaRPr>
          </a:p>
          <a:p>
            <a:pPr algn="l">
              <a:buFont typeface="Arial" panose="020B0604020202020204" pitchFamily="34" charset="0"/>
              <a:buChar char="•"/>
            </a:pPr>
            <a:endParaRPr lang="en-US" sz="2000" b="0" i="0" dirty="0">
              <a:solidFill>
                <a:srgbClr val="202124"/>
              </a:solidFill>
              <a:effectLst/>
              <a:latin typeface="Roboto" panose="02000000000000000000" pitchFamily="2" charset="0"/>
            </a:endParaRPr>
          </a:p>
          <a:p>
            <a:pPr marL="76200" indent="0">
              <a:buNone/>
            </a:pPr>
            <a:endParaRPr lang="en-US" dirty="0"/>
          </a:p>
        </p:txBody>
      </p:sp>
      <p:pic>
        <p:nvPicPr>
          <p:cNvPr id="9" name="Picture 8">
            <a:extLst>
              <a:ext uri="{FF2B5EF4-FFF2-40B4-BE49-F238E27FC236}">
                <a16:creationId xmlns:a16="http://schemas.microsoft.com/office/drawing/2014/main" id="{A2E8A0C8-0C67-4077-9352-5DE7F6B39219}"/>
              </a:ext>
            </a:extLst>
          </p:cNvPr>
          <p:cNvPicPr>
            <a:picLocks noChangeAspect="1"/>
          </p:cNvPicPr>
          <p:nvPr/>
        </p:nvPicPr>
        <p:blipFill>
          <a:blip r:embed="rId2"/>
          <a:stretch>
            <a:fillRect/>
          </a:stretch>
        </p:blipFill>
        <p:spPr>
          <a:xfrm>
            <a:off x="7785771" y="165748"/>
            <a:ext cx="1017987" cy="961303"/>
          </a:xfrm>
          <a:prstGeom prst="rect">
            <a:avLst/>
          </a:prstGeom>
        </p:spPr>
      </p:pic>
    </p:spTree>
    <p:extLst>
      <p:ext uri="{BB962C8B-B14F-4D97-AF65-F5344CB8AC3E}">
        <p14:creationId xmlns:p14="http://schemas.microsoft.com/office/powerpoint/2010/main" val="25825738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09F83-4CA4-48CE-911F-28BF372CF109}"/>
              </a:ext>
            </a:extLst>
          </p:cNvPr>
          <p:cNvSpPr>
            <a:spLocks noGrp="1"/>
          </p:cNvSpPr>
          <p:nvPr>
            <p:ph type="title"/>
          </p:nvPr>
        </p:nvSpPr>
        <p:spPr>
          <a:xfrm>
            <a:off x="1037875" y="359352"/>
            <a:ext cx="7068300" cy="396300"/>
          </a:xfrm>
        </p:spPr>
        <p:txBody>
          <a:bodyPr/>
          <a:lstStyle/>
          <a:p>
            <a:pPr algn="ctr"/>
            <a:r>
              <a:rPr lang="en-US" sz="3600" dirty="0">
                <a:solidFill>
                  <a:srgbClr val="0070C0"/>
                </a:solidFill>
              </a:rPr>
              <a:t>Implementation in R</a:t>
            </a:r>
          </a:p>
        </p:txBody>
      </p:sp>
      <p:sp>
        <p:nvSpPr>
          <p:cNvPr id="3" name="Text Placeholder 2">
            <a:extLst>
              <a:ext uri="{FF2B5EF4-FFF2-40B4-BE49-F238E27FC236}">
                <a16:creationId xmlns:a16="http://schemas.microsoft.com/office/drawing/2014/main" id="{640AAF18-B26C-4A49-9D8E-CD88FD53A0D8}"/>
              </a:ext>
            </a:extLst>
          </p:cNvPr>
          <p:cNvSpPr>
            <a:spLocks noGrp="1"/>
          </p:cNvSpPr>
          <p:nvPr>
            <p:ph type="body" idx="1"/>
          </p:nvPr>
        </p:nvSpPr>
        <p:spPr>
          <a:xfrm>
            <a:off x="711810" y="992441"/>
            <a:ext cx="7068300" cy="3033900"/>
          </a:xfrm>
        </p:spPr>
        <p:txBody>
          <a:bodyPr/>
          <a:lstStyle/>
          <a:p>
            <a:pPr marL="76200" indent="0">
              <a:buNone/>
            </a:pPr>
            <a:r>
              <a:rPr lang="en-US" sz="1600" dirty="0"/>
              <a:t>Syntax- &gt;</a:t>
            </a:r>
            <a:r>
              <a:rPr lang="en-US" sz="2000" b="1" dirty="0">
                <a:latin typeface="Courier New" panose="02070309020205020404" pitchFamily="49" charset="0"/>
                <a:cs typeface="Courier New" panose="02070309020205020404" pitchFamily="49" charset="0"/>
              </a:rPr>
              <a:t>princomp(data,cor=TRUE,score=TRUE)</a:t>
            </a:r>
          </a:p>
          <a:p>
            <a:pPr marL="76200" indent="0">
              <a:buNone/>
            </a:pPr>
            <a:endParaRPr lang="en-US" sz="1600" dirty="0"/>
          </a:p>
        </p:txBody>
      </p:sp>
      <p:pic>
        <p:nvPicPr>
          <p:cNvPr id="12" name="Picture 11">
            <a:extLst>
              <a:ext uri="{FF2B5EF4-FFF2-40B4-BE49-F238E27FC236}">
                <a16:creationId xmlns:a16="http://schemas.microsoft.com/office/drawing/2014/main" id="{804FD5C6-8CAA-408D-8912-52C276D6C89C}"/>
              </a:ext>
            </a:extLst>
          </p:cNvPr>
          <p:cNvPicPr>
            <a:picLocks noChangeAspect="1"/>
          </p:cNvPicPr>
          <p:nvPr/>
        </p:nvPicPr>
        <p:blipFill>
          <a:blip r:embed="rId2"/>
          <a:stretch>
            <a:fillRect/>
          </a:stretch>
        </p:blipFill>
        <p:spPr>
          <a:xfrm>
            <a:off x="393544" y="1570317"/>
            <a:ext cx="4268343" cy="3398962"/>
          </a:xfrm>
          <a:prstGeom prst="rect">
            <a:avLst/>
          </a:prstGeom>
        </p:spPr>
      </p:pic>
      <p:sp>
        <p:nvSpPr>
          <p:cNvPr id="13" name="TextBox 12">
            <a:extLst>
              <a:ext uri="{FF2B5EF4-FFF2-40B4-BE49-F238E27FC236}">
                <a16:creationId xmlns:a16="http://schemas.microsoft.com/office/drawing/2014/main" id="{736289C0-4D80-49EA-8E2B-1FC24F161B6C}"/>
              </a:ext>
            </a:extLst>
          </p:cNvPr>
          <p:cNvSpPr txBox="1"/>
          <p:nvPr/>
        </p:nvSpPr>
        <p:spPr>
          <a:xfrm>
            <a:off x="5596792" y="1708585"/>
            <a:ext cx="3153664" cy="2554545"/>
          </a:xfrm>
          <a:prstGeom prst="rect">
            <a:avLst/>
          </a:prstGeom>
          <a:noFill/>
        </p:spPr>
        <p:txBody>
          <a:bodyPr wrap="square" rtlCol="0">
            <a:spAutoFit/>
          </a:bodyPr>
          <a:lstStyle/>
          <a:p>
            <a:r>
              <a:rPr lang="en-US" sz="1600" b="0" i="0" dirty="0">
                <a:solidFill>
                  <a:srgbClr val="202124"/>
                </a:solidFill>
                <a:effectLst/>
                <a:latin typeface="Inter-Regular" panose="020B0604020202020204" charset="0"/>
                <a:ea typeface="Inter-Regular" panose="020B0604020202020204" charset="0"/>
              </a:rPr>
              <a:t>The scree plot or elbow diagram is used to determine the number of factors to retain in principal components to keep in a </a:t>
            </a:r>
            <a:r>
              <a:rPr lang="en-US" sz="1600" b="1" i="0" dirty="0">
                <a:solidFill>
                  <a:srgbClr val="202124"/>
                </a:solidFill>
                <a:effectLst/>
                <a:latin typeface="Inter-Regular" panose="020B0604020202020204" charset="0"/>
                <a:ea typeface="Inter-Regular" panose="020B0604020202020204" charset="0"/>
              </a:rPr>
              <a:t>principal component analysis (PCA).</a:t>
            </a:r>
          </a:p>
          <a:p>
            <a:r>
              <a:rPr lang="en-US" sz="1600" dirty="0">
                <a:latin typeface="Inter-Regular" panose="020B0604020202020204" charset="0"/>
                <a:ea typeface="Inter-Regular" panose="020B0604020202020204" charset="0"/>
              </a:rPr>
              <a:t>Generally only the component above the elbow line are taken.</a:t>
            </a:r>
          </a:p>
        </p:txBody>
      </p:sp>
    </p:spTree>
    <p:extLst>
      <p:ext uri="{BB962C8B-B14F-4D97-AF65-F5344CB8AC3E}">
        <p14:creationId xmlns:p14="http://schemas.microsoft.com/office/powerpoint/2010/main" val="30399271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9">
            <a:extLst>
              <a:ext uri="{FF2B5EF4-FFF2-40B4-BE49-F238E27FC236}">
                <a16:creationId xmlns:a16="http://schemas.microsoft.com/office/drawing/2014/main" id="{3F80C097-B929-4A0D-818D-05F6BABC266B}"/>
              </a:ext>
            </a:extLst>
          </p:cNvPr>
          <p:cNvGraphicFramePr>
            <a:graphicFrameLocks noGrp="1"/>
          </p:cNvGraphicFramePr>
          <p:nvPr>
            <p:extLst>
              <p:ext uri="{D42A27DB-BD31-4B8C-83A1-F6EECF244321}">
                <p14:modId xmlns:p14="http://schemas.microsoft.com/office/powerpoint/2010/main" val="3580301290"/>
              </p:ext>
            </p:extLst>
          </p:nvPr>
        </p:nvGraphicFramePr>
        <p:xfrm>
          <a:off x="450111" y="1103580"/>
          <a:ext cx="8226056" cy="2235043"/>
        </p:xfrm>
        <a:graphic>
          <a:graphicData uri="http://schemas.openxmlformats.org/drawingml/2006/table">
            <a:tbl>
              <a:tblPr firstRow="1" bandRow="1">
                <a:tableStyleId>{3B4B98B0-60AC-42C2-AFA5-B58CD77FA1E5}</a:tableStyleId>
              </a:tblPr>
              <a:tblGrid>
                <a:gridCol w="2056514">
                  <a:extLst>
                    <a:ext uri="{9D8B030D-6E8A-4147-A177-3AD203B41FA5}">
                      <a16:colId xmlns:a16="http://schemas.microsoft.com/office/drawing/2014/main" val="233213828"/>
                    </a:ext>
                  </a:extLst>
                </a:gridCol>
                <a:gridCol w="2056514">
                  <a:extLst>
                    <a:ext uri="{9D8B030D-6E8A-4147-A177-3AD203B41FA5}">
                      <a16:colId xmlns:a16="http://schemas.microsoft.com/office/drawing/2014/main" val="4106559523"/>
                    </a:ext>
                  </a:extLst>
                </a:gridCol>
                <a:gridCol w="2056514">
                  <a:extLst>
                    <a:ext uri="{9D8B030D-6E8A-4147-A177-3AD203B41FA5}">
                      <a16:colId xmlns:a16="http://schemas.microsoft.com/office/drawing/2014/main" val="1569195827"/>
                    </a:ext>
                  </a:extLst>
                </a:gridCol>
                <a:gridCol w="2056514">
                  <a:extLst>
                    <a:ext uri="{9D8B030D-6E8A-4147-A177-3AD203B41FA5}">
                      <a16:colId xmlns:a16="http://schemas.microsoft.com/office/drawing/2014/main" val="2345473817"/>
                    </a:ext>
                  </a:extLst>
                </a:gridCol>
              </a:tblGrid>
              <a:tr h="366400">
                <a:tc>
                  <a:txBody>
                    <a:bodyPr/>
                    <a:lstStyle/>
                    <a:p>
                      <a:endParaRPr lang="en-US" dirty="0"/>
                    </a:p>
                  </a:txBody>
                  <a:tcPr/>
                </a:tc>
                <a:tc>
                  <a:txBody>
                    <a:bodyPr/>
                    <a:lstStyle/>
                    <a:p>
                      <a:r>
                        <a:rPr lang="en-US" dirty="0"/>
                        <a:t>Comp.1 </a:t>
                      </a:r>
                    </a:p>
                  </a:txBody>
                  <a:tcPr/>
                </a:tc>
                <a:tc>
                  <a:txBody>
                    <a:bodyPr/>
                    <a:lstStyle/>
                    <a:p>
                      <a:r>
                        <a:rPr lang="en-US" dirty="0"/>
                        <a:t>Comp.2</a:t>
                      </a:r>
                    </a:p>
                  </a:txBody>
                  <a:tcPr/>
                </a:tc>
                <a:tc>
                  <a:txBody>
                    <a:bodyPr/>
                    <a:lstStyle/>
                    <a:p>
                      <a:r>
                        <a:rPr lang="en-US" dirty="0"/>
                        <a:t>Comp.3</a:t>
                      </a:r>
                    </a:p>
                  </a:txBody>
                  <a:tcPr/>
                </a:tc>
                <a:extLst>
                  <a:ext uri="{0D108BD9-81ED-4DB2-BD59-A6C34878D82A}">
                    <a16:rowId xmlns:a16="http://schemas.microsoft.com/office/drawing/2014/main" val="2079993585"/>
                  </a:ext>
                </a:extLst>
              </a:tr>
              <a:tr h="622881">
                <a:tc>
                  <a:txBody>
                    <a:bodyPr/>
                    <a:lstStyle/>
                    <a:p>
                      <a:r>
                        <a:rPr lang="en-US" dirty="0"/>
                        <a:t>Standard deviation </a:t>
                      </a:r>
                    </a:p>
                  </a:txBody>
                  <a:tcPr/>
                </a:tc>
                <a:tc>
                  <a:txBody>
                    <a:bodyPr/>
                    <a:lstStyle/>
                    <a:p>
                      <a:r>
                        <a:rPr lang="en-US" dirty="0"/>
                        <a:t>1.7228405</a:t>
                      </a:r>
                    </a:p>
                  </a:txBody>
                  <a:tcPr/>
                </a:tc>
                <a:tc>
                  <a:txBody>
                    <a:bodyPr/>
                    <a:lstStyle/>
                    <a:p>
                      <a:r>
                        <a:rPr lang="en-US" dirty="0"/>
                        <a:t>0.16219729 </a:t>
                      </a:r>
                    </a:p>
                  </a:txBody>
                  <a:tcPr/>
                </a:tc>
                <a:tc>
                  <a:txBody>
                    <a:bodyPr/>
                    <a:lstStyle/>
                    <a:p>
                      <a:r>
                        <a:rPr lang="en-US" dirty="0"/>
                        <a:t>0.074246586</a:t>
                      </a:r>
                    </a:p>
                  </a:txBody>
                  <a:tcPr/>
                </a:tc>
                <a:extLst>
                  <a:ext uri="{0D108BD9-81ED-4DB2-BD59-A6C34878D82A}">
                    <a16:rowId xmlns:a16="http://schemas.microsoft.com/office/drawing/2014/main" val="3789118906"/>
                  </a:ext>
                </a:extLst>
              </a:tr>
              <a:tr h="622881">
                <a:tc>
                  <a:txBody>
                    <a:bodyPr/>
                    <a:lstStyle/>
                    <a:p>
                      <a:r>
                        <a:rPr lang="en-US" dirty="0"/>
                        <a:t>Proportion of Variance</a:t>
                      </a:r>
                    </a:p>
                  </a:txBody>
                  <a:tcPr/>
                </a:tc>
                <a:tc>
                  <a:txBody>
                    <a:bodyPr/>
                    <a:lstStyle/>
                    <a:p>
                      <a:r>
                        <a:rPr lang="en-US" dirty="0"/>
                        <a:t>0.9893932</a:t>
                      </a:r>
                    </a:p>
                  </a:txBody>
                  <a:tcPr/>
                </a:tc>
                <a:tc>
                  <a:txBody>
                    <a:bodyPr/>
                    <a:lstStyle/>
                    <a:p>
                      <a:r>
                        <a:rPr lang="en-US" dirty="0"/>
                        <a:t>0.00876932</a:t>
                      </a:r>
                    </a:p>
                  </a:txBody>
                  <a:tcPr/>
                </a:tc>
                <a:tc>
                  <a:txBody>
                    <a:bodyPr/>
                    <a:lstStyle/>
                    <a:p>
                      <a:r>
                        <a:rPr lang="en-US" dirty="0"/>
                        <a:t>0.001837519</a:t>
                      </a:r>
                    </a:p>
                  </a:txBody>
                  <a:tcPr/>
                </a:tc>
                <a:extLst>
                  <a:ext uri="{0D108BD9-81ED-4DB2-BD59-A6C34878D82A}">
                    <a16:rowId xmlns:a16="http://schemas.microsoft.com/office/drawing/2014/main" val="1197133744"/>
                  </a:ext>
                </a:extLst>
              </a:tr>
              <a:tr h="622881">
                <a:tc>
                  <a:txBody>
                    <a:bodyPr/>
                    <a:lstStyle/>
                    <a:p>
                      <a:r>
                        <a:rPr lang="en-US" dirty="0"/>
                        <a:t>Cumulative Proportion </a:t>
                      </a:r>
                    </a:p>
                  </a:txBody>
                  <a:tcPr/>
                </a:tc>
                <a:tc>
                  <a:txBody>
                    <a:bodyPr/>
                    <a:lstStyle/>
                    <a:p>
                      <a:r>
                        <a:rPr lang="en-US" dirty="0"/>
                        <a:t>0.9893932</a:t>
                      </a:r>
                    </a:p>
                  </a:txBody>
                  <a:tcPr/>
                </a:tc>
                <a:tc>
                  <a:txBody>
                    <a:bodyPr/>
                    <a:lstStyle/>
                    <a:p>
                      <a:r>
                        <a:rPr lang="en-US" dirty="0"/>
                        <a:t>0.99816248</a:t>
                      </a:r>
                    </a:p>
                  </a:txBody>
                  <a:tcPr/>
                </a:tc>
                <a:tc>
                  <a:txBody>
                    <a:bodyPr/>
                    <a:lstStyle/>
                    <a:p>
                      <a:r>
                        <a:rPr lang="en-US" dirty="0"/>
                        <a:t>1.000000000</a:t>
                      </a:r>
                    </a:p>
                  </a:txBody>
                  <a:tcPr/>
                </a:tc>
                <a:extLst>
                  <a:ext uri="{0D108BD9-81ED-4DB2-BD59-A6C34878D82A}">
                    <a16:rowId xmlns:a16="http://schemas.microsoft.com/office/drawing/2014/main" val="187816445"/>
                  </a:ext>
                </a:extLst>
              </a:tr>
            </a:tbl>
          </a:graphicData>
        </a:graphic>
      </p:graphicFrame>
      <p:sp>
        <p:nvSpPr>
          <p:cNvPr id="8" name="TextBox 7">
            <a:extLst>
              <a:ext uri="{FF2B5EF4-FFF2-40B4-BE49-F238E27FC236}">
                <a16:creationId xmlns:a16="http://schemas.microsoft.com/office/drawing/2014/main" id="{6ED07E22-55AB-4404-92A3-D7EE4A6FC545}"/>
              </a:ext>
            </a:extLst>
          </p:cNvPr>
          <p:cNvSpPr txBox="1"/>
          <p:nvPr/>
        </p:nvSpPr>
        <p:spPr>
          <a:xfrm>
            <a:off x="992372" y="269359"/>
            <a:ext cx="7010400" cy="584775"/>
          </a:xfrm>
          <a:prstGeom prst="rect">
            <a:avLst/>
          </a:prstGeom>
          <a:noFill/>
        </p:spPr>
        <p:txBody>
          <a:bodyPr wrap="square" rtlCol="0">
            <a:spAutoFit/>
          </a:bodyPr>
          <a:lstStyle/>
          <a:p>
            <a:pPr algn="ctr"/>
            <a:r>
              <a:rPr lang="en-US" sz="3200" b="1" dirty="0">
                <a:solidFill>
                  <a:srgbClr val="0070C0"/>
                </a:solidFill>
              </a:rPr>
              <a:t>Interpretation</a:t>
            </a:r>
          </a:p>
        </p:txBody>
      </p:sp>
      <p:sp>
        <p:nvSpPr>
          <p:cNvPr id="9" name="TextBox 8">
            <a:extLst>
              <a:ext uri="{FF2B5EF4-FFF2-40B4-BE49-F238E27FC236}">
                <a16:creationId xmlns:a16="http://schemas.microsoft.com/office/drawing/2014/main" id="{7FB90EA6-E4F7-40BC-AA16-6CC38D102799}"/>
              </a:ext>
            </a:extLst>
          </p:cNvPr>
          <p:cNvSpPr txBox="1"/>
          <p:nvPr/>
        </p:nvSpPr>
        <p:spPr>
          <a:xfrm>
            <a:off x="450110" y="3778310"/>
            <a:ext cx="8084289" cy="1323439"/>
          </a:xfrm>
          <a:prstGeom prst="rect">
            <a:avLst/>
          </a:prstGeom>
          <a:noFill/>
        </p:spPr>
        <p:txBody>
          <a:bodyPr wrap="square">
            <a:spAutoFit/>
          </a:bodyPr>
          <a:lstStyle/>
          <a:p>
            <a:pPr marL="285750" indent="-285750">
              <a:buFont typeface="Arial" panose="020B0604020202020204" pitchFamily="34" charset="0"/>
              <a:buChar char="•"/>
            </a:pPr>
            <a:r>
              <a:rPr lang="en-US" sz="1600" dirty="0">
                <a:latin typeface="Inter-Regular" panose="020B0604020202020204" charset="0"/>
                <a:ea typeface="Inter-Regular" panose="020B0604020202020204" charset="0"/>
              </a:rPr>
              <a:t>It can be observed that first component is responsible to explain 98.9% of the data. Also the elbow diagram indicate that one variable is enough to explain variation. So  we select first Principal Component thus reducing the dimension of our data from 3D to 1D with the help of PCA, preventing loss of information.</a:t>
            </a:r>
          </a:p>
        </p:txBody>
      </p:sp>
    </p:spTree>
    <p:extLst>
      <p:ext uri="{BB962C8B-B14F-4D97-AF65-F5344CB8AC3E}">
        <p14:creationId xmlns:p14="http://schemas.microsoft.com/office/powerpoint/2010/main" val="31418796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6B26A-4D95-4167-A61C-CB9A43991AA2}"/>
              </a:ext>
            </a:extLst>
          </p:cNvPr>
          <p:cNvSpPr>
            <a:spLocks noGrp="1"/>
          </p:cNvSpPr>
          <p:nvPr>
            <p:ph type="title"/>
          </p:nvPr>
        </p:nvSpPr>
        <p:spPr>
          <a:xfrm>
            <a:off x="888994" y="261842"/>
            <a:ext cx="7068300" cy="396300"/>
          </a:xfrm>
        </p:spPr>
        <p:txBody>
          <a:bodyPr/>
          <a:lstStyle/>
          <a:p>
            <a:pPr algn="ctr"/>
            <a:r>
              <a:rPr lang="en-US" sz="4000" dirty="0">
                <a:solidFill>
                  <a:srgbClr val="0070C0"/>
                </a:solidFill>
              </a:rPr>
              <a:t>Loadings </a:t>
            </a:r>
          </a:p>
        </p:txBody>
      </p:sp>
      <p:sp>
        <p:nvSpPr>
          <p:cNvPr id="3" name="Text Placeholder 2">
            <a:extLst>
              <a:ext uri="{FF2B5EF4-FFF2-40B4-BE49-F238E27FC236}">
                <a16:creationId xmlns:a16="http://schemas.microsoft.com/office/drawing/2014/main" id="{D01E28DB-6FBE-4998-ADD8-CF6ADDCFABD7}"/>
              </a:ext>
            </a:extLst>
          </p:cNvPr>
          <p:cNvSpPr>
            <a:spLocks noGrp="1"/>
          </p:cNvSpPr>
          <p:nvPr>
            <p:ph type="body" idx="1"/>
          </p:nvPr>
        </p:nvSpPr>
        <p:spPr>
          <a:xfrm>
            <a:off x="744279" y="907382"/>
            <a:ext cx="7768856" cy="4061568"/>
          </a:xfrm>
        </p:spPr>
        <p:txBody>
          <a:bodyPr/>
          <a:lstStyle/>
          <a:p>
            <a:pPr marL="76200" indent="0">
              <a:buNone/>
            </a:pPr>
            <a:r>
              <a:rPr lang="en-US" sz="1800" dirty="0"/>
              <a:t>Loadings are interpreted as the coefficients of the linear combination of the initial variables from which the principal components are constructed.</a:t>
            </a:r>
          </a:p>
          <a:p>
            <a:pPr marL="76200" indent="0">
              <a:buNone/>
            </a:pPr>
            <a:endParaRPr lang="en-US" sz="1800" dirty="0"/>
          </a:p>
          <a:p>
            <a:pPr marL="76200" indent="0">
              <a:buNone/>
            </a:pPr>
            <a:endParaRPr lang="en-US" sz="1800" dirty="0"/>
          </a:p>
          <a:p>
            <a:pPr marL="76200" indent="0">
              <a:buNone/>
            </a:pPr>
            <a:endParaRPr lang="en-US" sz="1800" dirty="0"/>
          </a:p>
          <a:p>
            <a:pPr marL="76200" indent="0">
              <a:buNone/>
            </a:pPr>
            <a:endParaRPr lang="en-US" sz="1800" dirty="0"/>
          </a:p>
          <a:p>
            <a:pPr marL="76200" indent="0">
              <a:buNone/>
            </a:pPr>
            <a:endParaRPr lang="en-US" sz="1800" dirty="0"/>
          </a:p>
          <a:p>
            <a:pPr marL="76200" indent="0">
              <a:buNone/>
            </a:pPr>
            <a:r>
              <a:rPr lang="en-US" sz="1800" dirty="0"/>
              <a:t>Since we have selected first Principal Component (Z)</a:t>
            </a:r>
          </a:p>
          <a:p>
            <a:pPr marL="76200" indent="0">
              <a:buNone/>
            </a:pPr>
            <a:r>
              <a:rPr lang="en-US" sz="1800" dirty="0"/>
              <a:t>Z= 0.576 X1 – 0.577 X2+ 0.579 X3</a:t>
            </a:r>
          </a:p>
        </p:txBody>
      </p:sp>
      <p:graphicFrame>
        <p:nvGraphicFramePr>
          <p:cNvPr id="5" name="Table 5">
            <a:extLst>
              <a:ext uri="{FF2B5EF4-FFF2-40B4-BE49-F238E27FC236}">
                <a16:creationId xmlns:a16="http://schemas.microsoft.com/office/drawing/2014/main" id="{0554C171-D094-4750-BE30-B9670E3C0BDA}"/>
              </a:ext>
            </a:extLst>
          </p:cNvPr>
          <p:cNvGraphicFramePr>
            <a:graphicFrameLocks noGrp="1"/>
          </p:cNvGraphicFramePr>
          <p:nvPr>
            <p:extLst>
              <p:ext uri="{D42A27DB-BD31-4B8C-83A1-F6EECF244321}">
                <p14:modId xmlns:p14="http://schemas.microsoft.com/office/powerpoint/2010/main" val="440083510"/>
              </p:ext>
            </p:extLst>
          </p:nvPr>
        </p:nvGraphicFramePr>
        <p:xfrm>
          <a:off x="822251" y="2255136"/>
          <a:ext cx="7135044" cy="1487524"/>
        </p:xfrm>
        <a:graphic>
          <a:graphicData uri="http://schemas.openxmlformats.org/drawingml/2006/table">
            <a:tbl>
              <a:tblPr firstRow="1" bandRow="1">
                <a:tableStyleId>{3B4B98B0-60AC-42C2-AFA5-B58CD77FA1E5}</a:tableStyleId>
              </a:tblPr>
              <a:tblGrid>
                <a:gridCol w="1783761">
                  <a:extLst>
                    <a:ext uri="{9D8B030D-6E8A-4147-A177-3AD203B41FA5}">
                      <a16:colId xmlns:a16="http://schemas.microsoft.com/office/drawing/2014/main" val="1025859578"/>
                    </a:ext>
                  </a:extLst>
                </a:gridCol>
                <a:gridCol w="1783761">
                  <a:extLst>
                    <a:ext uri="{9D8B030D-6E8A-4147-A177-3AD203B41FA5}">
                      <a16:colId xmlns:a16="http://schemas.microsoft.com/office/drawing/2014/main" val="1014749609"/>
                    </a:ext>
                  </a:extLst>
                </a:gridCol>
                <a:gridCol w="1783761">
                  <a:extLst>
                    <a:ext uri="{9D8B030D-6E8A-4147-A177-3AD203B41FA5}">
                      <a16:colId xmlns:a16="http://schemas.microsoft.com/office/drawing/2014/main" val="3571810070"/>
                    </a:ext>
                  </a:extLst>
                </a:gridCol>
                <a:gridCol w="1783761">
                  <a:extLst>
                    <a:ext uri="{9D8B030D-6E8A-4147-A177-3AD203B41FA5}">
                      <a16:colId xmlns:a16="http://schemas.microsoft.com/office/drawing/2014/main" val="3856762846"/>
                    </a:ext>
                  </a:extLst>
                </a:gridCol>
              </a:tblGrid>
              <a:tr h="371881">
                <a:tc>
                  <a:txBody>
                    <a:bodyPr/>
                    <a:lstStyle/>
                    <a:p>
                      <a:pPr algn="ctr"/>
                      <a:endParaRPr lang="en-US" dirty="0"/>
                    </a:p>
                  </a:txBody>
                  <a:tcPr/>
                </a:tc>
                <a:tc>
                  <a:txBody>
                    <a:bodyPr/>
                    <a:lstStyle/>
                    <a:p>
                      <a:pPr algn="ctr"/>
                      <a:r>
                        <a:rPr lang="en-US" dirty="0"/>
                        <a:t>Comp1</a:t>
                      </a:r>
                    </a:p>
                  </a:txBody>
                  <a:tcPr/>
                </a:tc>
                <a:tc>
                  <a:txBody>
                    <a:bodyPr/>
                    <a:lstStyle/>
                    <a:p>
                      <a:pPr algn="ctr"/>
                      <a:r>
                        <a:rPr lang="en-US" dirty="0"/>
                        <a:t>Comp2</a:t>
                      </a:r>
                    </a:p>
                  </a:txBody>
                  <a:tcPr/>
                </a:tc>
                <a:tc>
                  <a:txBody>
                    <a:bodyPr/>
                    <a:lstStyle/>
                    <a:p>
                      <a:pPr algn="ctr"/>
                      <a:r>
                        <a:rPr lang="en-US" dirty="0"/>
                        <a:t>Comp3</a:t>
                      </a:r>
                    </a:p>
                  </a:txBody>
                  <a:tcPr/>
                </a:tc>
                <a:extLst>
                  <a:ext uri="{0D108BD9-81ED-4DB2-BD59-A6C34878D82A}">
                    <a16:rowId xmlns:a16="http://schemas.microsoft.com/office/drawing/2014/main" val="4197381240"/>
                  </a:ext>
                </a:extLst>
              </a:tr>
              <a:tr h="371881">
                <a:tc>
                  <a:txBody>
                    <a:bodyPr/>
                    <a:lstStyle/>
                    <a:p>
                      <a:pPr algn="ctr"/>
                      <a:r>
                        <a:rPr lang="en-US" dirty="0"/>
                        <a:t>X1</a:t>
                      </a:r>
                    </a:p>
                  </a:txBody>
                  <a:tcPr/>
                </a:tc>
                <a:tc>
                  <a:txBody>
                    <a:bodyPr/>
                    <a:lstStyle/>
                    <a:p>
                      <a:pPr algn="ctr"/>
                      <a:r>
                        <a:rPr lang="en-US" dirty="0"/>
                        <a:t>0.576</a:t>
                      </a:r>
                    </a:p>
                  </a:txBody>
                  <a:tcPr/>
                </a:tc>
                <a:tc>
                  <a:txBody>
                    <a:bodyPr/>
                    <a:lstStyle/>
                    <a:p>
                      <a:pPr algn="ctr"/>
                      <a:r>
                        <a:rPr lang="en-US" dirty="0"/>
                        <a:t>0.732</a:t>
                      </a:r>
                    </a:p>
                  </a:txBody>
                  <a:tcPr/>
                </a:tc>
                <a:tc>
                  <a:txBody>
                    <a:bodyPr/>
                    <a:lstStyle/>
                    <a:p>
                      <a:pPr algn="ctr"/>
                      <a:r>
                        <a:rPr lang="en-US" dirty="0"/>
                        <a:t>0.364</a:t>
                      </a:r>
                    </a:p>
                  </a:txBody>
                  <a:tcPr/>
                </a:tc>
                <a:extLst>
                  <a:ext uri="{0D108BD9-81ED-4DB2-BD59-A6C34878D82A}">
                    <a16:rowId xmlns:a16="http://schemas.microsoft.com/office/drawing/2014/main" val="717263398"/>
                  </a:ext>
                </a:extLst>
              </a:tr>
              <a:tr h="371881">
                <a:tc>
                  <a:txBody>
                    <a:bodyPr/>
                    <a:lstStyle/>
                    <a:p>
                      <a:pPr algn="ctr"/>
                      <a:r>
                        <a:rPr lang="en-US" dirty="0"/>
                        <a:t>X2</a:t>
                      </a:r>
                    </a:p>
                  </a:txBody>
                  <a:tcPr/>
                </a:tc>
                <a:tc>
                  <a:txBody>
                    <a:bodyPr/>
                    <a:lstStyle/>
                    <a:p>
                      <a:pPr algn="ctr"/>
                      <a:r>
                        <a:rPr lang="en-US" dirty="0"/>
                        <a:t>-0.577</a:t>
                      </a:r>
                    </a:p>
                  </a:txBody>
                  <a:tcPr/>
                </a:tc>
                <a:tc>
                  <a:txBody>
                    <a:bodyPr/>
                    <a:lstStyle/>
                    <a:p>
                      <a:pPr algn="ctr"/>
                      <a:r>
                        <a:rPr lang="en-US" dirty="0"/>
                        <a:t>0.680</a:t>
                      </a:r>
                    </a:p>
                  </a:txBody>
                  <a:tcPr/>
                </a:tc>
                <a:tc>
                  <a:txBody>
                    <a:bodyPr/>
                    <a:lstStyle/>
                    <a:p>
                      <a:pPr algn="ctr"/>
                      <a:r>
                        <a:rPr lang="en-US" dirty="0"/>
                        <a:t>-0.453</a:t>
                      </a:r>
                    </a:p>
                  </a:txBody>
                  <a:tcPr/>
                </a:tc>
                <a:extLst>
                  <a:ext uri="{0D108BD9-81ED-4DB2-BD59-A6C34878D82A}">
                    <a16:rowId xmlns:a16="http://schemas.microsoft.com/office/drawing/2014/main" val="3471607658"/>
                  </a:ext>
                </a:extLst>
              </a:tr>
              <a:tr h="371881">
                <a:tc>
                  <a:txBody>
                    <a:bodyPr/>
                    <a:lstStyle/>
                    <a:p>
                      <a:pPr algn="ctr"/>
                      <a:r>
                        <a:rPr lang="en-US" dirty="0"/>
                        <a:t>X3</a:t>
                      </a:r>
                    </a:p>
                  </a:txBody>
                  <a:tcPr/>
                </a:tc>
                <a:tc>
                  <a:txBody>
                    <a:bodyPr/>
                    <a:lstStyle/>
                    <a:p>
                      <a:pPr algn="ctr"/>
                      <a:r>
                        <a:rPr lang="en-US" dirty="0"/>
                        <a:t>0.579</a:t>
                      </a:r>
                    </a:p>
                  </a:txBody>
                  <a:tcPr/>
                </a:tc>
                <a:tc>
                  <a:txBody>
                    <a:bodyPr/>
                    <a:lstStyle/>
                    <a:p>
                      <a:pPr algn="ctr"/>
                      <a:r>
                        <a:rPr lang="en-US" dirty="0"/>
                        <a:t>-</a:t>
                      </a:r>
                    </a:p>
                  </a:txBody>
                  <a:tcPr/>
                </a:tc>
                <a:tc>
                  <a:txBody>
                    <a:bodyPr/>
                    <a:lstStyle/>
                    <a:p>
                      <a:pPr algn="ctr"/>
                      <a:r>
                        <a:rPr lang="en-US" dirty="0"/>
                        <a:t>-0.813</a:t>
                      </a:r>
                    </a:p>
                  </a:txBody>
                  <a:tcPr/>
                </a:tc>
                <a:extLst>
                  <a:ext uri="{0D108BD9-81ED-4DB2-BD59-A6C34878D82A}">
                    <a16:rowId xmlns:a16="http://schemas.microsoft.com/office/drawing/2014/main" val="2300753058"/>
                  </a:ext>
                </a:extLst>
              </a:tr>
            </a:tbl>
          </a:graphicData>
        </a:graphic>
      </p:graphicFrame>
    </p:spTree>
    <p:extLst>
      <p:ext uri="{BB962C8B-B14F-4D97-AF65-F5344CB8AC3E}">
        <p14:creationId xmlns:p14="http://schemas.microsoft.com/office/powerpoint/2010/main" val="40871459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8A4B0A8-3D6E-41C4-A5DD-D3C4C66B7AA5}"/>
              </a:ext>
            </a:extLst>
          </p:cNvPr>
          <p:cNvSpPr>
            <a:spLocks noGrp="1"/>
          </p:cNvSpPr>
          <p:nvPr>
            <p:ph type="body" idx="1"/>
          </p:nvPr>
        </p:nvSpPr>
        <p:spPr>
          <a:xfrm>
            <a:off x="972811" y="130116"/>
            <a:ext cx="7068300" cy="3033900"/>
          </a:xfrm>
        </p:spPr>
        <p:txBody>
          <a:bodyPr/>
          <a:lstStyle/>
          <a:p>
            <a:pPr marL="76200" indent="0">
              <a:buNone/>
            </a:pPr>
            <a:r>
              <a:rPr lang="en-US" dirty="0"/>
              <a:t>Syntax: </a:t>
            </a:r>
            <a:r>
              <a:rPr lang="en-US" sz="2000" dirty="0"/>
              <a:t>&gt;</a:t>
            </a:r>
            <a:r>
              <a:rPr lang="en-US" sz="2000" b="1" dirty="0">
                <a:latin typeface="Courier New" panose="02070309020205020404" pitchFamily="49" charset="0"/>
                <a:cs typeface="Courier New" panose="02070309020205020404" pitchFamily="49" charset="0"/>
              </a:rPr>
              <a:t>Regression=lm(formula=y~pc)</a:t>
            </a:r>
          </a:p>
          <a:p>
            <a:pPr marL="76200" indent="0">
              <a:buNone/>
            </a:pPr>
            <a:r>
              <a:rPr lang="en-US" sz="2000" b="1" dirty="0">
                <a:latin typeface="Courier New" panose="02070309020205020404" pitchFamily="49" charset="0"/>
                <a:cs typeface="Courier New" panose="02070309020205020404" pitchFamily="49" charset="0"/>
              </a:rPr>
              <a:t>        &gt;Summary(Regression)</a:t>
            </a:r>
          </a:p>
        </p:txBody>
      </p:sp>
      <p:graphicFrame>
        <p:nvGraphicFramePr>
          <p:cNvPr id="2" name="Table 3">
            <a:extLst>
              <a:ext uri="{FF2B5EF4-FFF2-40B4-BE49-F238E27FC236}">
                <a16:creationId xmlns:a16="http://schemas.microsoft.com/office/drawing/2014/main" id="{DE4377AA-2A43-4563-B839-DB3DA109A080}"/>
              </a:ext>
            </a:extLst>
          </p:cNvPr>
          <p:cNvGraphicFramePr>
            <a:graphicFrameLocks noGrp="1"/>
          </p:cNvGraphicFramePr>
          <p:nvPr>
            <p:extLst>
              <p:ext uri="{D42A27DB-BD31-4B8C-83A1-F6EECF244321}">
                <p14:modId xmlns:p14="http://schemas.microsoft.com/office/powerpoint/2010/main" val="1891347389"/>
              </p:ext>
            </p:extLst>
          </p:nvPr>
        </p:nvGraphicFramePr>
        <p:xfrm>
          <a:off x="1102889" y="1231095"/>
          <a:ext cx="6762281" cy="2179320"/>
        </p:xfrm>
        <a:graphic>
          <a:graphicData uri="http://schemas.openxmlformats.org/drawingml/2006/table">
            <a:tbl>
              <a:tblPr firstRow="1" bandRow="1">
                <a:tableStyleId>{3B4B98B0-60AC-42C2-AFA5-B58CD77FA1E5}</a:tableStyleId>
              </a:tblPr>
              <a:tblGrid>
                <a:gridCol w="3397634">
                  <a:extLst>
                    <a:ext uri="{9D8B030D-6E8A-4147-A177-3AD203B41FA5}">
                      <a16:colId xmlns:a16="http://schemas.microsoft.com/office/drawing/2014/main" val="2036963613"/>
                    </a:ext>
                  </a:extLst>
                </a:gridCol>
                <a:gridCol w="3364647">
                  <a:extLst>
                    <a:ext uri="{9D8B030D-6E8A-4147-A177-3AD203B41FA5}">
                      <a16:colId xmlns:a16="http://schemas.microsoft.com/office/drawing/2014/main" val="2382200570"/>
                    </a:ext>
                  </a:extLst>
                </a:gridCol>
              </a:tblGrid>
              <a:tr h="368405">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100" u="none" strike="noStrike" dirty="0">
                          <a:effectLst/>
                        </a:rPr>
                        <a:t>Regression Statistics</a:t>
                      </a:r>
                      <a:endParaRPr lang="en-IN" sz="1100" b="1" u="none" strike="noStrike" dirty="0">
                        <a:solidFill>
                          <a:srgbClr val="FFFFFF"/>
                        </a:solidFill>
                        <a:effectLst/>
                      </a:endParaRPr>
                    </a:p>
                    <a:p>
                      <a:pPr algn="ctr"/>
                      <a:endParaRPr lang="en-US" sz="1100" dirty="0"/>
                    </a:p>
                  </a:txBody>
                  <a:tcPr/>
                </a:tc>
                <a:tc>
                  <a:txBody>
                    <a:bodyPr/>
                    <a:lstStyle/>
                    <a:p>
                      <a:pPr algn="ctr"/>
                      <a:endParaRPr lang="en-US" dirty="0"/>
                    </a:p>
                  </a:txBody>
                  <a:tcPr/>
                </a:tc>
                <a:extLst>
                  <a:ext uri="{0D108BD9-81ED-4DB2-BD59-A6C34878D82A}">
                    <a16:rowId xmlns:a16="http://schemas.microsoft.com/office/drawing/2014/main" val="1847589262"/>
                  </a:ext>
                </a:extLst>
              </a:tr>
              <a:tr h="420031">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100" u="none" strike="noStrike" dirty="0">
                          <a:effectLst/>
                        </a:rPr>
                        <a:t>Multiple R</a:t>
                      </a:r>
                      <a:endParaRPr lang="en-IN" sz="1100" b="0" u="none" strike="noStrike" dirty="0">
                        <a:solidFill>
                          <a:srgbClr val="000000"/>
                        </a:solidFill>
                        <a:effectLst/>
                      </a:endParaRPr>
                    </a:p>
                    <a:p>
                      <a:pPr algn="ctr"/>
                      <a:endParaRPr lang="en-US" sz="11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100" u="none" strike="noStrike" dirty="0">
                          <a:effectLst/>
                        </a:rPr>
                        <a:t>0.8194</a:t>
                      </a:r>
                      <a:endParaRPr lang="en-IN" sz="1100" b="0" u="none" strike="noStrike" dirty="0">
                        <a:solidFill>
                          <a:srgbClr val="000000"/>
                        </a:solidFill>
                        <a:effectLst/>
                      </a:endParaRPr>
                    </a:p>
                    <a:p>
                      <a:pPr algn="ctr"/>
                      <a:endParaRPr lang="en-US" dirty="0"/>
                    </a:p>
                  </a:txBody>
                  <a:tcPr/>
                </a:tc>
                <a:extLst>
                  <a:ext uri="{0D108BD9-81ED-4DB2-BD59-A6C34878D82A}">
                    <a16:rowId xmlns:a16="http://schemas.microsoft.com/office/drawing/2014/main" val="3684789084"/>
                  </a:ext>
                </a:extLst>
              </a:tr>
              <a:tr h="37938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100" u="none" strike="noStrike" dirty="0">
                          <a:effectLst/>
                        </a:rPr>
                        <a:t>Adjusted R Square</a:t>
                      </a:r>
                      <a:endParaRPr lang="en-IN" sz="1100" b="0" u="none" strike="noStrike" dirty="0">
                        <a:solidFill>
                          <a:srgbClr val="000000"/>
                        </a:solidFill>
                        <a:effectLst/>
                      </a:endParaRPr>
                    </a:p>
                    <a:p>
                      <a:pPr algn="ctr"/>
                      <a:endParaRPr lang="en-US" sz="11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100" u="none" strike="noStrike" dirty="0">
                          <a:effectLst/>
                        </a:rPr>
                        <a:t>0.8112</a:t>
                      </a:r>
                      <a:endParaRPr lang="en-IN" sz="1100" b="0" u="none" strike="noStrike" dirty="0">
                        <a:solidFill>
                          <a:srgbClr val="000000"/>
                        </a:solidFill>
                        <a:effectLst/>
                      </a:endParaRPr>
                    </a:p>
                    <a:p>
                      <a:pPr algn="ctr"/>
                      <a:endParaRPr lang="en-US" sz="1100" dirty="0"/>
                    </a:p>
                  </a:txBody>
                  <a:tcPr/>
                </a:tc>
                <a:extLst>
                  <a:ext uri="{0D108BD9-81ED-4DB2-BD59-A6C34878D82A}">
                    <a16:rowId xmlns:a16="http://schemas.microsoft.com/office/drawing/2014/main" val="779361246"/>
                  </a:ext>
                </a:extLst>
              </a:tr>
              <a:tr h="37938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100" u="none" strike="noStrike" dirty="0">
                          <a:effectLst/>
                        </a:rPr>
                        <a:t>Standard Error</a:t>
                      </a:r>
                      <a:endParaRPr lang="en-IN" sz="1100" b="0" u="none" strike="noStrike" dirty="0">
                        <a:solidFill>
                          <a:srgbClr val="000000"/>
                        </a:solidFill>
                        <a:effectLst/>
                      </a:endParaRPr>
                    </a:p>
                    <a:p>
                      <a:pPr algn="ctr"/>
                      <a:endParaRPr lang="en-US" sz="11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100" u="none" strike="noStrike" dirty="0">
                          <a:effectLst/>
                        </a:rPr>
                        <a:t>1.895</a:t>
                      </a:r>
                      <a:endParaRPr lang="en-IN" sz="1100" b="0" u="none" strike="noStrike" dirty="0">
                        <a:solidFill>
                          <a:srgbClr val="000000"/>
                        </a:solidFill>
                        <a:effectLst/>
                      </a:endParaRPr>
                    </a:p>
                    <a:p>
                      <a:pPr algn="ctr"/>
                      <a:endParaRPr lang="en-US" sz="1100" dirty="0"/>
                    </a:p>
                  </a:txBody>
                  <a:tcPr/>
                </a:tc>
                <a:extLst>
                  <a:ext uri="{0D108BD9-81ED-4DB2-BD59-A6C34878D82A}">
                    <a16:rowId xmlns:a16="http://schemas.microsoft.com/office/drawing/2014/main" val="2194262747"/>
                  </a:ext>
                </a:extLst>
              </a:tr>
              <a:tr h="37938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100" u="none" strike="noStrike" dirty="0">
                          <a:effectLst/>
                        </a:rPr>
                        <a:t>Observations</a:t>
                      </a:r>
                      <a:endParaRPr lang="en-IN" sz="1100" b="0" u="none" strike="noStrike" dirty="0">
                        <a:solidFill>
                          <a:srgbClr val="000000"/>
                        </a:solidFill>
                        <a:effectLst/>
                      </a:endParaRPr>
                    </a:p>
                    <a:p>
                      <a:pPr algn="ctr"/>
                      <a:endParaRPr lang="en-US" sz="1100"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1100" u="none" strike="noStrike" dirty="0">
                          <a:effectLst/>
                        </a:rPr>
                        <a:t>24</a:t>
                      </a:r>
                      <a:endParaRPr lang="en-IN" sz="1100" b="0" u="none" strike="noStrike" dirty="0">
                        <a:solidFill>
                          <a:srgbClr val="000000"/>
                        </a:solidFill>
                        <a:effectLst/>
                      </a:endParaRPr>
                    </a:p>
                    <a:p>
                      <a:pPr algn="ctr"/>
                      <a:endParaRPr lang="en-US" sz="1100" dirty="0"/>
                    </a:p>
                  </a:txBody>
                  <a:tcPr/>
                </a:tc>
                <a:extLst>
                  <a:ext uri="{0D108BD9-81ED-4DB2-BD59-A6C34878D82A}">
                    <a16:rowId xmlns:a16="http://schemas.microsoft.com/office/drawing/2014/main" val="1064973009"/>
                  </a:ext>
                </a:extLst>
              </a:tr>
            </a:tbl>
          </a:graphicData>
        </a:graphic>
      </p:graphicFrame>
      <p:graphicFrame>
        <p:nvGraphicFramePr>
          <p:cNvPr id="7" name="Table 6">
            <a:extLst>
              <a:ext uri="{FF2B5EF4-FFF2-40B4-BE49-F238E27FC236}">
                <a16:creationId xmlns:a16="http://schemas.microsoft.com/office/drawing/2014/main" id="{85B22161-4115-4173-9D30-A3681FE2B3D2}"/>
              </a:ext>
            </a:extLst>
          </p:cNvPr>
          <p:cNvGraphicFramePr>
            <a:graphicFrameLocks noGrp="1"/>
          </p:cNvGraphicFramePr>
          <p:nvPr>
            <p:extLst>
              <p:ext uri="{D42A27DB-BD31-4B8C-83A1-F6EECF244321}">
                <p14:modId xmlns:p14="http://schemas.microsoft.com/office/powerpoint/2010/main" val="3210041997"/>
              </p:ext>
            </p:extLst>
          </p:nvPr>
        </p:nvGraphicFramePr>
        <p:xfrm>
          <a:off x="1102889" y="3496434"/>
          <a:ext cx="6762281" cy="1473200"/>
        </p:xfrm>
        <a:graphic>
          <a:graphicData uri="http://schemas.openxmlformats.org/drawingml/2006/table">
            <a:tbl>
              <a:tblPr firstRow="1" bandRow="1">
                <a:tableStyleId>{3B4B98B0-60AC-42C2-AFA5-B58CD77FA1E5}</a:tableStyleId>
              </a:tblPr>
              <a:tblGrid>
                <a:gridCol w="1352456">
                  <a:extLst>
                    <a:ext uri="{9D8B030D-6E8A-4147-A177-3AD203B41FA5}">
                      <a16:colId xmlns:a16="http://schemas.microsoft.com/office/drawing/2014/main" val="809089980"/>
                    </a:ext>
                  </a:extLst>
                </a:gridCol>
                <a:gridCol w="1352456">
                  <a:extLst>
                    <a:ext uri="{9D8B030D-6E8A-4147-A177-3AD203B41FA5}">
                      <a16:colId xmlns:a16="http://schemas.microsoft.com/office/drawing/2014/main" val="2331586232"/>
                    </a:ext>
                  </a:extLst>
                </a:gridCol>
                <a:gridCol w="1407498">
                  <a:extLst>
                    <a:ext uri="{9D8B030D-6E8A-4147-A177-3AD203B41FA5}">
                      <a16:colId xmlns:a16="http://schemas.microsoft.com/office/drawing/2014/main" val="2609544969"/>
                    </a:ext>
                  </a:extLst>
                </a:gridCol>
                <a:gridCol w="1297415">
                  <a:extLst>
                    <a:ext uri="{9D8B030D-6E8A-4147-A177-3AD203B41FA5}">
                      <a16:colId xmlns:a16="http://schemas.microsoft.com/office/drawing/2014/main" val="979108872"/>
                    </a:ext>
                  </a:extLst>
                </a:gridCol>
                <a:gridCol w="1352456">
                  <a:extLst>
                    <a:ext uri="{9D8B030D-6E8A-4147-A177-3AD203B41FA5}">
                      <a16:colId xmlns:a16="http://schemas.microsoft.com/office/drawing/2014/main" val="2413054368"/>
                    </a:ext>
                  </a:extLst>
                </a:gridCol>
              </a:tblGrid>
              <a:tr h="561814">
                <a:tc>
                  <a:txBody>
                    <a:bodyPr/>
                    <a:lstStyle/>
                    <a:p>
                      <a:endParaRPr lang="en-US" sz="1200" dirty="0"/>
                    </a:p>
                  </a:txBody>
                  <a:tcPr/>
                </a:tc>
                <a:tc>
                  <a:txBody>
                    <a:bodyPr/>
                    <a:lstStyle/>
                    <a:p>
                      <a:r>
                        <a:rPr lang="en-US" sz="1200" dirty="0"/>
                        <a:t>Coefficient</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IN" sz="1200" u="none" strike="noStrike" dirty="0">
                          <a:effectLst/>
                        </a:rPr>
                        <a:t>Standard Error</a:t>
                      </a:r>
                      <a:endParaRPr lang="en-IN" sz="1200" b="1" u="none" strike="noStrike" dirty="0">
                        <a:solidFill>
                          <a:srgbClr val="FFFFFF"/>
                        </a:solidFill>
                        <a:effectLst/>
                      </a:endParaRPr>
                    </a:p>
                    <a:p>
                      <a:endParaRPr lang="en-US" sz="1200" dirty="0"/>
                    </a:p>
                  </a:txBody>
                  <a:tcPr/>
                </a:tc>
                <a:tc>
                  <a:txBody>
                    <a:bodyPr/>
                    <a:lstStyle/>
                    <a:p>
                      <a:r>
                        <a:rPr lang="en-US" sz="1200" dirty="0"/>
                        <a:t>t-stat</a:t>
                      </a:r>
                    </a:p>
                  </a:txBody>
                  <a:tcPr/>
                </a:tc>
                <a:tc>
                  <a:txBody>
                    <a:bodyPr/>
                    <a:lstStyle/>
                    <a:p>
                      <a:r>
                        <a:rPr lang="en-US" sz="1200" dirty="0"/>
                        <a:t>P-value</a:t>
                      </a:r>
                    </a:p>
                  </a:txBody>
                  <a:tcPr/>
                </a:tc>
                <a:extLst>
                  <a:ext uri="{0D108BD9-81ED-4DB2-BD59-A6C34878D82A}">
                    <a16:rowId xmlns:a16="http://schemas.microsoft.com/office/drawing/2014/main" val="2436950518"/>
                  </a:ext>
                </a:extLst>
              </a:tr>
              <a:tr h="455693">
                <a:tc>
                  <a:txBody>
                    <a:bodyPr/>
                    <a:lstStyle/>
                    <a:p>
                      <a:r>
                        <a:rPr lang="en-US" sz="1200" dirty="0"/>
                        <a:t>Intercept </a:t>
                      </a:r>
                    </a:p>
                  </a:txBody>
                  <a:tcPr/>
                </a:tc>
                <a:tc>
                  <a:txBody>
                    <a:bodyPr/>
                    <a:lstStyle/>
                    <a:p>
                      <a:r>
                        <a:rPr lang="en-US" sz="1200" dirty="0"/>
                        <a:t>28.357709</a:t>
                      </a:r>
                    </a:p>
                  </a:txBody>
                  <a:tcPr/>
                </a:tc>
                <a:tc>
                  <a:txBody>
                    <a:bodyPr/>
                    <a:lstStyle/>
                    <a:p>
                      <a:r>
                        <a:rPr lang="en-US" sz="1200" dirty="0"/>
                        <a:t>0.3867537</a:t>
                      </a:r>
                    </a:p>
                  </a:txBody>
                  <a:tcPr/>
                </a:tc>
                <a:tc>
                  <a:txBody>
                    <a:bodyPr/>
                    <a:lstStyle/>
                    <a:p>
                      <a:r>
                        <a:rPr lang="en-US" sz="1200" dirty="0"/>
                        <a:t>73.3224</a:t>
                      </a:r>
                    </a:p>
                  </a:txBody>
                  <a:tcPr/>
                </a:tc>
                <a:tc>
                  <a:txBody>
                    <a:bodyPr/>
                    <a:lstStyle/>
                    <a:p>
                      <a:r>
                        <a:rPr lang="en-US" sz="1200" dirty="0"/>
                        <a:t>8.68E-28</a:t>
                      </a:r>
                    </a:p>
                  </a:txBody>
                  <a:tcPr/>
                </a:tc>
                <a:extLst>
                  <a:ext uri="{0D108BD9-81ED-4DB2-BD59-A6C34878D82A}">
                    <a16:rowId xmlns:a16="http://schemas.microsoft.com/office/drawing/2014/main" val="2135861833"/>
                  </a:ext>
                </a:extLst>
              </a:tr>
              <a:tr h="455693">
                <a:tc>
                  <a:txBody>
                    <a:bodyPr/>
                    <a:lstStyle/>
                    <a:p>
                      <a:r>
                        <a:rPr lang="en-US" sz="1200" dirty="0"/>
                        <a:t>Z</a:t>
                      </a:r>
                    </a:p>
                  </a:txBody>
                  <a:tcPr/>
                </a:tc>
                <a:tc>
                  <a:txBody>
                    <a:bodyPr/>
                    <a:lstStyle/>
                    <a:p>
                      <a:r>
                        <a:rPr lang="en-US" sz="1200" dirty="0"/>
                        <a:t>2.242948</a:t>
                      </a:r>
                    </a:p>
                  </a:txBody>
                  <a:tcPr/>
                </a:tc>
                <a:tc>
                  <a:txBody>
                    <a:bodyPr/>
                    <a:lstStyle/>
                    <a:p>
                      <a:r>
                        <a:rPr lang="en-US" sz="1200" dirty="0"/>
                        <a:t>0.2244861</a:t>
                      </a:r>
                    </a:p>
                  </a:txBody>
                  <a:tcPr/>
                </a:tc>
                <a:tc>
                  <a:txBody>
                    <a:bodyPr/>
                    <a:lstStyle/>
                    <a:p>
                      <a:r>
                        <a:rPr lang="en-US" sz="1200" dirty="0"/>
                        <a:t>9.991479</a:t>
                      </a:r>
                    </a:p>
                  </a:txBody>
                  <a:tcPr/>
                </a:tc>
                <a:tc>
                  <a:txBody>
                    <a:bodyPr/>
                    <a:lstStyle/>
                    <a:p>
                      <a:r>
                        <a:rPr lang="en-US" sz="1200" dirty="0"/>
                        <a:t>1.23E-09</a:t>
                      </a:r>
                    </a:p>
                  </a:txBody>
                  <a:tcPr/>
                </a:tc>
                <a:extLst>
                  <a:ext uri="{0D108BD9-81ED-4DB2-BD59-A6C34878D82A}">
                    <a16:rowId xmlns:a16="http://schemas.microsoft.com/office/drawing/2014/main" val="1726603021"/>
                  </a:ext>
                </a:extLst>
              </a:tr>
            </a:tbl>
          </a:graphicData>
        </a:graphic>
      </p:graphicFrame>
    </p:spTree>
    <p:extLst>
      <p:ext uri="{BB962C8B-B14F-4D97-AF65-F5344CB8AC3E}">
        <p14:creationId xmlns:p14="http://schemas.microsoft.com/office/powerpoint/2010/main" val="23360975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77FB9-FE05-42A4-AAE1-B9056A8EE07A}"/>
              </a:ext>
            </a:extLst>
          </p:cNvPr>
          <p:cNvSpPr>
            <a:spLocks noGrp="1"/>
          </p:cNvSpPr>
          <p:nvPr>
            <p:ph type="title"/>
          </p:nvPr>
        </p:nvSpPr>
        <p:spPr>
          <a:xfrm>
            <a:off x="1037875" y="276018"/>
            <a:ext cx="7068300" cy="396300"/>
          </a:xfrm>
        </p:spPr>
        <p:txBody>
          <a:bodyPr/>
          <a:lstStyle/>
          <a:p>
            <a:pPr algn="ctr"/>
            <a:r>
              <a:rPr lang="en-US" dirty="0">
                <a:solidFill>
                  <a:srgbClr val="0070C0"/>
                </a:solidFill>
              </a:rPr>
              <a:t>Testing Significance of Regression</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45717BAD-6090-4C00-956D-FFBED345809B}"/>
                  </a:ext>
                </a:extLst>
              </p:cNvPr>
              <p:cNvSpPr txBox="1"/>
              <p:nvPr/>
            </p:nvSpPr>
            <p:spPr>
              <a:xfrm>
                <a:off x="758456" y="999460"/>
                <a:ext cx="7882270" cy="3151504"/>
              </a:xfrm>
              <a:prstGeom prst="rect">
                <a:avLst/>
              </a:prstGeom>
              <a:noFill/>
            </p:spPr>
            <p:txBody>
              <a:bodyPr wrap="square" rtlCol="0">
                <a:spAutoFit/>
              </a:bodyPr>
              <a:lstStyle/>
              <a:p>
                <a:r>
                  <a:rPr lang="en-US" sz="1800" dirty="0">
                    <a:latin typeface="Inter-Regular" panose="020B0604020202020204" charset="0"/>
                    <a:ea typeface="Inter-Regular" panose="020B0604020202020204" charset="0"/>
                  </a:rPr>
                  <a:t>To Test: H0: </a:t>
                </a:r>
                <a14:m>
                  <m:oMath xmlns:m="http://schemas.openxmlformats.org/officeDocument/2006/math">
                    <m:r>
                      <a:rPr lang="en-US" sz="1800" i="1" dirty="0" smtClean="0">
                        <a:latin typeface="Cambria Math" panose="02040503050406030204" pitchFamily="18" charset="0"/>
                      </a:rPr>
                      <m:t>𝛽</m:t>
                    </m:r>
                    <m:r>
                      <a:rPr lang="en-IN" sz="1800" b="0" i="1" dirty="0" smtClean="0">
                        <a:latin typeface="Cambria Math" panose="02040503050406030204" pitchFamily="18" charset="0"/>
                      </a:rPr>
                      <m:t>′</m:t>
                    </m:r>
                  </m:oMath>
                </a14:m>
                <a:r>
                  <a:rPr lang="en-US" sz="1800" dirty="0">
                    <a:latin typeface="Inter-Regular" panose="020B0604020202020204" charset="0"/>
                    <a:ea typeface="Inter-Regular" panose="020B0604020202020204" charset="0"/>
                  </a:rPr>
                  <a:t>=0   VS  H1: </a:t>
                </a:r>
                <a14:m>
                  <m:oMath xmlns:m="http://schemas.openxmlformats.org/officeDocument/2006/math">
                    <m:r>
                      <a:rPr lang="en-US" sz="1800" i="1" dirty="0">
                        <a:latin typeface="Cambria Math" panose="02040503050406030204" pitchFamily="18" charset="0"/>
                      </a:rPr>
                      <m:t>𝛽</m:t>
                    </m:r>
                    <m:r>
                      <a:rPr lang="en-IN" sz="1800" i="1" dirty="0">
                        <a:latin typeface="Cambria Math" panose="02040503050406030204" pitchFamily="18" charset="0"/>
                      </a:rPr>
                      <m:t>′</m:t>
                    </m:r>
                  </m:oMath>
                </a14:m>
                <a:r>
                  <a:rPr lang="en-US" sz="1800" dirty="0">
                    <a:latin typeface="Inter-Regular" panose="020B0604020202020204" charset="0"/>
                    <a:ea typeface="Inter-Regular" panose="020B0604020202020204" charset="0"/>
                  </a:rPr>
                  <a:t> </a:t>
                </a:r>
                <a14:m>
                  <m:oMath xmlns:m="http://schemas.openxmlformats.org/officeDocument/2006/math">
                    <m:r>
                      <a:rPr lang="en-US" sz="1800" dirty="0" smtClean="0">
                        <a:latin typeface="Cambria Math" panose="02040503050406030204" pitchFamily="18" charset="0"/>
                      </a:rPr>
                      <m:t>≠</m:t>
                    </m:r>
                  </m:oMath>
                </a14:m>
                <a:r>
                  <a:rPr lang="en-US" sz="1800" dirty="0">
                    <a:latin typeface="Inter-Regular" panose="020B0604020202020204" charset="0"/>
                    <a:ea typeface="Inter-Regular" panose="020B0604020202020204" charset="0"/>
                  </a:rPr>
                  <a:t> 0</a:t>
                </a:r>
              </a:p>
              <a:p>
                <a:r>
                  <a:rPr lang="en-US" sz="1800" dirty="0">
                    <a:latin typeface="Inter-Regular" panose="020B0604020202020204" charset="0"/>
                    <a:ea typeface="Inter-Regular" panose="020B0604020202020204" charset="0"/>
                  </a:rPr>
                  <a:t>Null hypothesis : Regression model is not significant.   VS </a:t>
                </a:r>
              </a:p>
              <a:p>
                <a:r>
                  <a:rPr lang="en-US" sz="1800" dirty="0">
                    <a:latin typeface="Inter-Regular" panose="020B0604020202020204" charset="0"/>
                    <a:ea typeface="Inter-Regular" panose="020B0604020202020204" charset="0"/>
                  </a:rPr>
                  <a:t>Alternative hypothesis: Regression model is significant.</a:t>
                </a:r>
              </a:p>
              <a:p>
                <a:r>
                  <a:rPr lang="en-US" sz="1800" dirty="0">
                    <a:latin typeface="Inter-Regular" panose="020B0604020202020204" charset="0"/>
                    <a:ea typeface="Inter-Regular" panose="020B0604020202020204" charset="0"/>
                  </a:rPr>
                  <a:t>Test Statistic : F cal= 99.83 (Using R)</a:t>
                </a:r>
              </a:p>
              <a:p>
                <a:r>
                  <a:rPr lang="en-US" sz="1800" dirty="0">
                    <a:latin typeface="Inter-Regular" panose="020B0604020202020204" charset="0"/>
                    <a:ea typeface="Inter-Regular" panose="020B0604020202020204" charset="0"/>
                  </a:rPr>
                  <a:t>Decision Rule: Reject H0 at </a:t>
                </a:r>
                <a14:m>
                  <m:oMath xmlns:m="http://schemas.openxmlformats.org/officeDocument/2006/math">
                    <m:r>
                      <a:rPr lang="en-US" sz="1800" i="1" dirty="0" smtClean="0">
                        <a:latin typeface="Cambria Math" panose="02040503050406030204" pitchFamily="18" charset="0"/>
                      </a:rPr>
                      <m:t>𝛼</m:t>
                    </m:r>
                    <m:r>
                      <a:rPr lang="en-IN" sz="1800" b="0" i="1" dirty="0" smtClean="0">
                        <a:latin typeface="Cambria Math" panose="02040503050406030204" pitchFamily="18" charset="0"/>
                      </a:rPr>
                      <m:t> % </m:t>
                    </m:r>
                  </m:oMath>
                </a14:m>
                <a:r>
                  <a:rPr lang="en-US" sz="1800" dirty="0">
                    <a:latin typeface="Inter-Regular" panose="020B0604020202020204" charset="0"/>
                    <a:ea typeface="Inter-Regular" panose="020B0604020202020204" charset="0"/>
                  </a:rPr>
                  <a:t>Level of Significance if F cal </a:t>
                </a:r>
                <a14:m>
                  <m:oMath xmlns:m="http://schemas.openxmlformats.org/officeDocument/2006/math">
                    <m:r>
                      <a:rPr lang="en-US" sz="1800" dirty="0" smtClean="0">
                        <a:latin typeface="Cambria Math" panose="02040503050406030204" pitchFamily="18" charset="0"/>
                      </a:rPr>
                      <m:t>≥</m:t>
                    </m:r>
                    <m:r>
                      <m:rPr>
                        <m:sty m:val="p"/>
                      </m:rPr>
                      <a:rPr lang="en-IN" sz="1800" b="0" i="0" dirty="0" smtClean="0">
                        <a:latin typeface="Cambria Math" panose="02040503050406030204" pitchFamily="18" charset="0"/>
                      </a:rPr>
                      <m:t>F</m:t>
                    </m:r>
                  </m:oMath>
                </a14:m>
                <a:r>
                  <a:rPr lang="en-US" sz="1800" dirty="0">
                    <a:latin typeface="Inter-Regular" panose="020B0604020202020204" charset="0"/>
                    <a:ea typeface="Inter-Regular" panose="020B0604020202020204" charset="0"/>
                  </a:rPr>
                  <a:t> tab.</a:t>
                </a:r>
              </a:p>
              <a:p>
                <a:r>
                  <a:rPr lang="en-US" sz="1800" dirty="0">
                    <a:latin typeface="Inter-Regular" panose="020B0604020202020204" charset="0"/>
                    <a:ea typeface="Inter-Regular" panose="020B0604020202020204" charset="0"/>
                  </a:rPr>
                  <a:t>F tab = </a:t>
                </a:r>
                <a14:m>
                  <m:oMath xmlns:m="http://schemas.openxmlformats.org/officeDocument/2006/math">
                    <m:sSub>
                      <m:sSubPr>
                        <m:ctrlPr>
                          <a:rPr lang="en-US" sz="1800" b="1" i="1" dirty="0" smtClean="0">
                            <a:solidFill>
                              <a:srgbClr val="836967"/>
                            </a:solidFill>
                            <a:latin typeface="Cambria Math" panose="02040503050406030204" pitchFamily="18" charset="0"/>
                          </a:rPr>
                        </m:ctrlPr>
                      </m:sSubPr>
                      <m:e>
                        <m:r>
                          <a:rPr lang="en-US" sz="1800" b="1" i="1" dirty="0">
                            <a:latin typeface="Cambria Math" panose="02040503050406030204" pitchFamily="18" charset="0"/>
                          </a:rPr>
                          <m:t>𝑭</m:t>
                        </m:r>
                      </m:e>
                      <m:sub>
                        <m:r>
                          <a:rPr lang="en-US" sz="1800" b="1" i="0" dirty="0">
                            <a:latin typeface="Cambria Math" panose="02040503050406030204" pitchFamily="18" charset="0"/>
                          </a:rPr>
                          <m:t>𝟏</m:t>
                        </m:r>
                        <m:r>
                          <a:rPr lang="en-US" sz="1800" b="1" i="0" dirty="0">
                            <a:latin typeface="Cambria Math" panose="02040503050406030204" pitchFamily="18" charset="0"/>
                          </a:rPr>
                          <m:t>,</m:t>
                        </m:r>
                        <m:r>
                          <a:rPr lang="en-US" sz="1800" b="1" i="0" dirty="0">
                            <a:latin typeface="Cambria Math" panose="02040503050406030204" pitchFamily="18" charset="0"/>
                          </a:rPr>
                          <m:t>𝟐𝟐</m:t>
                        </m:r>
                        <m:r>
                          <a:rPr lang="en-US" sz="1800" b="1" i="0" dirty="0">
                            <a:latin typeface="Cambria Math" panose="02040503050406030204" pitchFamily="18" charset="0"/>
                          </a:rPr>
                          <m:t>,</m:t>
                        </m:r>
                        <m:r>
                          <a:rPr lang="en-US" sz="1800" b="1" i="0" dirty="0">
                            <a:latin typeface="Cambria Math" panose="02040503050406030204" pitchFamily="18" charset="0"/>
                          </a:rPr>
                          <m:t>𝟎</m:t>
                        </m:r>
                        <m:r>
                          <a:rPr lang="en-US" sz="1800" b="1" i="0" dirty="0">
                            <a:latin typeface="Cambria Math" panose="02040503050406030204" pitchFamily="18" charset="0"/>
                          </a:rPr>
                          <m:t>.</m:t>
                        </m:r>
                        <m:r>
                          <a:rPr lang="en-US" sz="1800" b="1" i="0" dirty="0">
                            <a:latin typeface="Cambria Math" panose="02040503050406030204" pitchFamily="18" charset="0"/>
                          </a:rPr>
                          <m:t>𝟎𝟓</m:t>
                        </m:r>
                      </m:sub>
                    </m:sSub>
                  </m:oMath>
                </a14:m>
                <a:r>
                  <a:rPr lang="en-US" sz="1800" dirty="0">
                    <a:latin typeface="Inter-Regular" panose="020B0604020202020204" charset="0"/>
                    <a:ea typeface="Inter-Regular" panose="020B0604020202020204" charset="0"/>
                  </a:rPr>
                  <a:t> = 4.30  . Here F cal = 99.83 &gt; 4.30 </a:t>
                </a:r>
              </a:p>
              <a:p>
                <a:r>
                  <a:rPr lang="en-US" sz="1800" dirty="0">
                    <a:latin typeface="Inter-Regular" panose="020B0604020202020204" charset="0"/>
                    <a:ea typeface="Inter-Regular" panose="020B0604020202020204" charset="0"/>
                  </a:rPr>
                  <a:t>So we reject H0 at 5% level of significance.</a:t>
                </a:r>
              </a:p>
              <a:p>
                <a:r>
                  <a:rPr lang="en-US" sz="1800" dirty="0">
                    <a:latin typeface="Inter-Regular" panose="020B0604020202020204" charset="0"/>
                    <a:ea typeface="Inter-Regular" panose="020B0604020202020204" charset="0"/>
                  </a:rPr>
                  <a:t>Conclusion: Regression Model is significant and Z is contributing significantly to explain variation in Y.</a:t>
                </a:r>
              </a:p>
              <a:p>
                <a:r>
                  <a:rPr lang="en-US" sz="1800" dirty="0">
                    <a:latin typeface="Inter-Regular" panose="020B0604020202020204" charset="0"/>
                    <a:ea typeface="Inter-Regular" panose="020B0604020202020204" charset="0"/>
                  </a:rPr>
                  <a:t>Where ,</a:t>
                </a:r>
              </a:p>
              <a:p>
                <a:r>
                  <a:rPr lang="en-US" sz="1800" dirty="0">
                    <a:latin typeface="Inter-Regular" panose="020B0604020202020204" charset="0"/>
                    <a:ea typeface="Inter-Regular" panose="020B0604020202020204" charset="0"/>
                  </a:rPr>
                  <a:t>Z = Linear combination of X1, X2, X3 obtained by PCA.</a:t>
                </a:r>
                <a:endParaRPr lang="en-US" sz="1600" dirty="0">
                  <a:latin typeface="Inter-Regular" panose="020B0604020202020204" charset="0"/>
                  <a:ea typeface="Inter-Regular" panose="020B0604020202020204" charset="0"/>
                </a:endParaRPr>
              </a:p>
            </p:txBody>
          </p:sp>
        </mc:Choice>
        <mc:Fallback xmlns="">
          <p:sp>
            <p:nvSpPr>
              <p:cNvPr id="6" name="TextBox 5">
                <a:extLst>
                  <a:ext uri="{FF2B5EF4-FFF2-40B4-BE49-F238E27FC236}">
                    <a16:creationId xmlns:a16="http://schemas.microsoft.com/office/drawing/2014/main" id="{45717BAD-6090-4C00-956D-FFBED345809B}"/>
                  </a:ext>
                </a:extLst>
              </p:cNvPr>
              <p:cNvSpPr txBox="1">
                <a:spLocks noRot="1" noChangeAspect="1" noMove="1" noResize="1" noEditPoints="1" noAdjustHandles="1" noChangeArrowheads="1" noChangeShapeType="1" noTextEdit="1"/>
              </p:cNvSpPr>
              <p:nvPr/>
            </p:nvSpPr>
            <p:spPr>
              <a:xfrm>
                <a:off x="758456" y="999460"/>
                <a:ext cx="7882270" cy="3151504"/>
              </a:xfrm>
              <a:prstGeom prst="rect">
                <a:avLst/>
              </a:prstGeom>
              <a:blipFill>
                <a:blip r:embed="rId2"/>
                <a:stretch>
                  <a:fillRect l="-619" t="-1161" b="-2128"/>
                </a:stretch>
              </a:blipFill>
            </p:spPr>
            <p:txBody>
              <a:bodyPr/>
              <a:lstStyle/>
              <a:p>
                <a:r>
                  <a:rPr lang="en-US">
                    <a:noFill/>
                  </a:rPr>
                  <a:t> </a:t>
                </a:r>
              </a:p>
            </p:txBody>
          </p:sp>
        </mc:Fallback>
      </mc:AlternateContent>
    </p:spTree>
    <p:extLst>
      <p:ext uri="{BB962C8B-B14F-4D97-AF65-F5344CB8AC3E}">
        <p14:creationId xmlns:p14="http://schemas.microsoft.com/office/powerpoint/2010/main" val="26061744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8D5F5-76F6-4B30-A201-385EB93FB078}"/>
              </a:ext>
            </a:extLst>
          </p:cNvPr>
          <p:cNvSpPr>
            <a:spLocks noGrp="1"/>
          </p:cNvSpPr>
          <p:nvPr>
            <p:ph type="title"/>
          </p:nvPr>
        </p:nvSpPr>
        <p:spPr>
          <a:xfrm>
            <a:off x="1037875" y="173481"/>
            <a:ext cx="7068300" cy="396300"/>
          </a:xfrm>
        </p:spPr>
        <p:txBody>
          <a:bodyPr/>
          <a:lstStyle/>
          <a:p>
            <a:pPr algn="ctr"/>
            <a:r>
              <a:rPr lang="en-US" sz="3600" dirty="0">
                <a:solidFill>
                  <a:srgbClr val="0070C0"/>
                </a:solidFill>
              </a:rPr>
              <a:t>Residual Analysis</a:t>
            </a:r>
          </a:p>
        </p:txBody>
      </p:sp>
      <p:sp>
        <p:nvSpPr>
          <p:cNvPr id="3" name="Text Placeholder 2">
            <a:extLst>
              <a:ext uri="{FF2B5EF4-FFF2-40B4-BE49-F238E27FC236}">
                <a16:creationId xmlns:a16="http://schemas.microsoft.com/office/drawing/2014/main" id="{D6257A87-785F-45DB-B1AF-13339FE1CF0F}"/>
              </a:ext>
            </a:extLst>
          </p:cNvPr>
          <p:cNvSpPr>
            <a:spLocks noGrp="1"/>
          </p:cNvSpPr>
          <p:nvPr>
            <p:ph type="body" idx="1"/>
          </p:nvPr>
        </p:nvSpPr>
        <p:spPr>
          <a:xfrm>
            <a:off x="1037825" y="3656515"/>
            <a:ext cx="7004505" cy="1486985"/>
          </a:xfrm>
        </p:spPr>
        <p:txBody>
          <a:bodyPr/>
          <a:lstStyle/>
          <a:p>
            <a:pPr marL="76200" indent="0">
              <a:buNone/>
            </a:pPr>
            <a:r>
              <a:rPr lang="en-US" sz="1400" dirty="0"/>
              <a:t>Normal QQ plot Shows that our data is from normal population.</a:t>
            </a:r>
          </a:p>
          <a:p>
            <a:pPr marL="76200" indent="0">
              <a:buNone/>
            </a:pPr>
            <a:r>
              <a:rPr lang="en-US" sz="1400" dirty="0"/>
              <a:t>Residual Plot: Here, most of the observation  lies in horizontal bandwidth. The Residual line is nearly straight towards the start but as we move forward a slight fall can be seen. This is because the later observation differ largely than expected. </a:t>
            </a:r>
          </a:p>
        </p:txBody>
      </p:sp>
      <p:pic>
        <p:nvPicPr>
          <p:cNvPr id="6" name="Picture 5">
            <a:extLst>
              <a:ext uri="{FF2B5EF4-FFF2-40B4-BE49-F238E27FC236}">
                <a16:creationId xmlns:a16="http://schemas.microsoft.com/office/drawing/2014/main" id="{36871D7F-2D9B-495F-8120-4BE5DDAEAE0A}"/>
              </a:ext>
            </a:extLst>
          </p:cNvPr>
          <p:cNvPicPr>
            <a:picLocks noChangeAspect="1"/>
          </p:cNvPicPr>
          <p:nvPr/>
        </p:nvPicPr>
        <p:blipFill>
          <a:blip r:embed="rId2"/>
          <a:stretch>
            <a:fillRect/>
          </a:stretch>
        </p:blipFill>
        <p:spPr>
          <a:xfrm>
            <a:off x="1037825" y="569781"/>
            <a:ext cx="6801916" cy="2998422"/>
          </a:xfrm>
          <a:prstGeom prst="rect">
            <a:avLst/>
          </a:prstGeom>
        </p:spPr>
      </p:pic>
    </p:spTree>
    <p:extLst>
      <p:ext uri="{BB962C8B-B14F-4D97-AF65-F5344CB8AC3E}">
        <p14:creationId xmlns:p14="http://schemas.microsoft.com/office/powerpoint/2010/main" val="30237106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B482C35C-8B3B-49D0-A5DB-BE3D2651902B}"/>
                  </a:ext>
                </a:extLst>
              </p:cNvPr>
              <p:cNvSpPr>
                <a:spLocks noGrp="1"/>
              </p:cNvSpPr>
              <p:nvPr>
                <p:ph type="body" idx="1"/>
              </p:nvPr>
            </p:nvSpPr>
            <p:spPr>
              <a:xfrm>
                <a:off x="4940594" y="297714"/>
                <a:ext cx="3856076" cy="3366974"/>
              </a:xfrm>
            </p:spPr>
            <p:txBody>
              <a:bodyPr/>
              <a:lstStyle/>
              <a:p>
                <a:pPr marL="76200" indent="0">
                  <a:buNone/>
                </a:pPr>
                <a:r>
                  <a:rPr lang="en-US" sz="1600" b="1" dirty="0">
                    <a:latin typeface="Calibri" panose="020F0502020204030204" pitchFamily="34" charset="0"/>
                    <a:cs typeface="Calibri" panose="020F0502020204030204" pitchFamily="34" charset="0"/>
                  </a:rPr>
                  <a:t>News by Business Standard  confirms that the later observation differ rapidly due to declined female labour force participation rate. </a:t>
                </a:r>
              </a:p>
              <a:p>
                <a:pPr marL="76200" indent="0">
                  <a:buNone/>
                </a:pPr>
                <a:r>
                  <a:rPr lang="en-US" sz="1600" b="1" dirty="0">
                    <a:latin typeface="Calibri" panose="020F0502020204030204" pitchFamily="34" charset="0"/>
                    <a:cs typeface="Calibri" panose="020F0502020204030204" pitchFamily="34" charset="0"/>
                  </a:rPr>
                  <a:t>Required PCR model : Y=</a:t>
                </a:r>
                <a14:m>
                  <m:oMath xmlns:m="http://schemas.openxmlformats.org/officeDocument/2006/math">
                    <m:sSub>
                      <m:sSubPr>
                        <m:ctrlPr>
                          <a:rPr lang="en-US" sz="1600" b="1" i="1" smtClean="0">
                            <a:solidFill>
                              <a:srgbClr val="836967"/>
                            </a:solidFill>
                            <a:latin typeface="Cambria Math" panose="02040503050406030204" pitchFamily="18" charset="0"/>
                          </a:rPr>
                        </m:ctrlPr>
                      </m:sSubPr>
                      <m:e>
                        <m:r>
                          <a:rPr lang="en-US" sz="1600" b="1" i="1" smtClean="0">
                            <a:latin typeface="Cambria Math" panose="02040503050406030204" pitchFamily="18" charset="0"/>
                          </a:rPr>
                          <m:t>𝜷</m:t>
                        </m:r>
                      </m:e>
                      <m:sub>
                        <m:r>
                          <a:rPr lang="en-US" sz="1600" b="1" i="0" smtClean="0">
                            <a:latin typeface="Cambria Math" panose="02040503050406030204" pitchFamily="18" charset="0"/>
                          </a:rPr>
                          <m:t>𝟎</m:t>
                        </m:r>
                      </m:sub>
                    </m:sSub>
                    <m:r>
                      <a:rPr lang="en-US" sz="1600" b="1" i="0" smtClean="0">
                        <a:latin typeface="Cambria Math" panose="02040503050406030204" pitchFamily="18" charset="0"/>
                      </a:rPr>
                      <m:t>+</m:t>
                    </m:r>
                    <m:r>
                      <a:rPr lang="en-US" sz="1600" b="1" i="1" smtClean="0">
                        <a:latin typeface="Cambria Math" panose="02040503050406030204" pitchFamily="18" charset="0"/>
                      </a:rPr>
                      <m:t>𝜷</m:t>
                    </m:r>
                  </m:oMath>
                </a14:m>
                <a:r>
                  <a:rPr lang="en-US" sz="1600" b="1" dirty="0">
                    <a:latin typeface="Calibri" panose="020F0502020204030204" pitchFamily="34" charset="0"/>
                    <a:cs typeface="Calibri" panose="020F0502020204030204" pitchFamily="34" charset="0"/>
                  </a:rPr>
                  <a:t>’Z+</a:t>
                </a:r>
                <a14:m>
                  <m:oMath xmlns:m="http://schemas.openxmlformats.org/officeDocument/2006/math">
                    <m:r>
                      <a:rPr lang="en-US" sz="1600" b="1" i="1" dirty="0" smtClean="0">
                        <a:latin typeface="Cambria Math" panose="02040503050406030204" pitchFamily="18" charset="0"/>
                      </a:rPr>
                      <m:t>𝜺</m:t>
                    </m:r>
                  </m:oMath>
                </a14:m>
                <a:endParaRPr lang="en-US" sz="1600" b="1" dirty="0">
                  <a:latin typeface="Calibri" panose="020F0502020204030204" pitchFamily="34" charset="0"/>
                  <a:cs typeface="Calibri" panose="020F0502020204030204" pitchFamily="34" charset="0"/>
                </a:endParaRPr>
              </a:p>
              <a:p>
                <a:pPr marL="76200" indent="0">
                  <a:buNone/>
                </a:pPr>
                <a:r>
                  <a:rPr lang="en-US" sz="1600" b="1" dirty="0">
                    <a:latin typeface="Calibri" panose="020F0502020204030204" pitchFamily="34" charset="0"/>
                    <a:cs typeface="Calibri" panose="020F0502020204030204" pitchFamily="34" charset="0"/>
                  </a:rPr>
                  <a:t>Y= </a:t>
                </a:r>
                <a:r>
                  <a:rPr lang="en-IN" sz="1600" b="1" u="none" strike="noStrike" dirty="0">
                    <a:effectLst/>
                    <a:latin typeface="Calibri" panose="020F0502020204030204" pitchFamily="34" charset="0"/>
                    <a:cs typeface="Calibri" panose="020F0502020204030204" pitchFamily="34" charset="0"/>
                  </a:rPr>
                  <a:t>28.357709+ 2.242948*Z </a:t>
                </a:r>
              </a:p>
              <a:p>
                <a:pPr marL="76200" indent="0">
                  <a:buNone/>
                </a:pPr>
                <a:r>
                  <a:rPr lang="en-IN" sz="1600" b="1" i="0" dirty="0">
                    <a:solidFill>
                      <a:srgbClr val="000000"/>
                    </a:solidFill>
                    <a:latin typeface="Calibri" panose="020F0502020204030204" pitchFamily="34" charset="0"/>
                  </a:rPr>
                  <a:t>Here adjusted R square = </a:t>
                </a:r>
                <a:r>
                  <a:rPr lang="en-IN" sz="1600" b="1" dirty="0">
                    <a:solidFill>
                      <a:srgbClr val="000000"/>
                    </a:solidFill>
                    <a:latin typeface="Calibri" panose="020F0502020204030204" pitchFamily="34" charset="0"/>
                  </a:rPr>
                  <a:t>81.12% which suggest that 81.12% variation in female labour force participation  rate is explained by our Principal Component Variable (Z). </a:t>
                </a:r>
                <a:endParaRPr lang="en-IN" sz="1600" b="1" i="0" u="none" strike="noStrike" dirty="0">
                  <a:solidFill>
                    <a:srgbClr val="000000"/>
                  </a:solidFill>
                  <a:effectLst/>
                  <a:latin typeface="Calibri" panose="020F0502020204030204" pitchFamily="34" charset="0"/>
                </a:endParaRPr>
              </a:p>
              <a:p>
                <a:pPr marL="76200" indent="0">
                  <a:buNone/>
                </a:pPr>
                <a:endParaRPr lang="en-IN" sz="1400" b="0" i="0" u="none" strike="noStrike" dirty="0">
                  <a:solidFill>
                    <a:srgbClr val="000000"/>
                  </a:solidFill>
                  <a:effectLst/>
                  <a:latin typeface="Calibri" panose="020F0502020204030204" pitchFamily="34" charset="0"/>
                </a:endParaRPr>
              </a:p>
              <a:p>
                <a:pPr marL="76200" indent="0">
                  <a:buNone/>
                </a:pPr>
                <a:endParaRPr lang="en-US" sz="1400" b="1" dirty="0"/>
              </a:p>
              <a:p>
                <a:pPr marL="76200" indent="0">
                  <a:buNone/>
                </a:pPr>
                <a:endParaRPr lang="en-US" sz="1400" b="1" dirty="0"/>
              </a:p>
            </p:txBody>
          </p:sp>
        </mc:Choice>
        <mc:Fallback xmlns="">
          <p:sp>
            <p:nvSpPr>
              <p:cNvPr id="3" name="Text Placeholder 2">
                <a:extLst>
                  <a:ext uri="{FF2B5EF4-FFF2-40B4-BE49-F238E27FC236}">
                    <a16:creationId xmlns:a16="http://schemas.microsoft.com/office/drawing/2014/main" id="{B482C35C-8B3B-49D0-A5DB-BE3D2651902B}"/>
                  </a:ext>
                </a:extLst>
              </p:cNvPr>
              <p:cNvSpPr>
                <a:spLocks noGrp="1" noRot="1" noChangeAspect="1" noMove="1" noResize="1" noEditPoints="1" noAdjustHandles="1" noChangeArrowheads="1" noChangeShapeType="1" noTextEdit="1"/>
              </p:cNvSpPr>
              <p:nvPr>
                <p:ph type="body" idx="1"/>
              </p:nvPr>
            </p:nvSpPr>
            <p:spPr>
              <a:xfrm>
                <a:off x="4940594" y="297714"/>
                <a:ext cx="3856076" cy="3366974"/>
              </a:xfrm>
              <a:blipFill>
                <a:blip r:embed="rId2"/>
                <a:stretch>
                  <a:fillRect l="-1106" r="-948"/>
                </a:stretch>
              </a:blipFill>
            </p:spPr>
            <p:txBody>
              <a:bodyPr/>
              <a:lstStyle/>
              <a:p>
                <a:r>
                  <a:rPr lang="en-US">
                    <a:noFill/>
                  </a:rPr>
                  <a:t> </a:t>
                </a:r>
              </a:p>
            </p:txBody>
          </p:sp>
        </mc:Fallback>
      </mc:AlternateContent>
      <p:pic>
        <p:nvPicPr>
          <p:cNvPr id="5" name="Picture 4">
            <a:extLst>
              <a:ext uri="{FF2B5EF4-FFF2-40B4-BE49-F238E27FC236}">
                <a16:creationId xmlns:a16="http://schemas.microsoft.com/office/drawing/2014/main" id="{7E5A70BD-5235-455F-8A7D-138EDF44A97B}"/>
              </a:ext>
            </a:extLst>
          </p:cNvPr>
          <p:cNvPicPr>
            <a:picLocks noChangeAspect="1"/>
          </p:cNvPicPr>
          <p:nvPr/>
        </p:nvPicPr>
        <p:blipFill>
          <a:blip r:embed="rId3"/>
          <a:stretch>
            <a:fillRect/>
          </a:stretch>
        </p:blipFill>
        <p:spPr>
          <a:xfrm>
            <a:off x="254963" y="297713"/>
            <a:ext cx="4076032" cy="3175589"/>
          </a:xfrm>
          <a:prstGeom prst="rect">
            <a:avLst/>
          </a:prstGeom>
        </p:spPr>
      </p:pic>
    </p:spTree>
    <p:extLst>
      <p:ext uri="{BB962C8B-B14F-4D97-AF65-F5344CB8AC3E}">
        <p14:creationId xmlns:p14="http://schemas.microsoft.com/office/powerpoint/2010/main" val="4021625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F6E45-EE67-49CE-97CD-28587723471D}"/>
              </a:ext>
            </a:extLst>
          </p:cNvPr>
          <p:cNvSpPr>
            <a:spLocks noGrp="1"/>
          </p:cNvSpPr>
          <p:nvPr>
            <p:ph type="title"/>
          </p:nvPr>
        </p:nvSpPr>
        <p:spPr>
          <a:xfrm>
            <a:off x="775580" y="183041"/>
            <a:ext cx="7068300" cy="396300"/>
          </a:xfrm>
        </p:spPr>
        <p:txBody>
          <a:bodyPr/>
          <a:lstStyle/>
          <a:p>
            <a:pPr algn="ctr"/>
            <a:r>
              <a:rPr lang="en-US" dirty="0">
                <a:solidFill>
                  <a:srgbClr val="0070C0"/>
                </a:solidFill>
              </a:rPr>
              <a:t>Testing Of Hypothesis</a:t>
            </a:r>
          </a:p>
        </p:txBody>
      </p:sp>
      <p:sp>
        <p:nvSpPr>
          <p:cNvPr id="3" name="Text Placeholder 2">
            <a:extLst>
              <a:ext uri="{FF2B5EF4-FFF2-40B4-BE49-F238E27FC236}">
                <a16:creationId xmlns:a16="http://schemas.microsoft.com/office/drawing/2014/main" id="{8F52F042-ECD1-4616-8EE9-DF5DEC1914D7}"/>
              </a:ext>
            </a:extLst>
          </p:cNvPr>
          <p:cNvSpPr>
            <a:spLocks noGrp="1"/>
          </p:cNvSpPr>
          <p:nvPr>
            <p:ph type="body" idx="1"/>
          </p:nvPr>
        </p:nvSpPr>
        <p:spPr>
          <a:xfrm>
            <a:off x="640901" y="642565"/>
            <a:ext cx="7695000" cy="4424220"/>
          </a:xfrm>
        </p:spPr>
        <p:txBody>
          <a:bodyPr/>
          <a:lstStyle/>
          <a:p>
            <a:pPr>
              <a:buFont typeface="Arial" panose="020B0604020202020204" pitchFamily="34" charset="0"/>
              <a:buChar char="•"/>
            </a:pPr>
            <a:r>
              <a:rPr lang="en-US" sz="1100" u="sng" dirty="0">
                <a:solidFill>
                  <a:srgbClr val="002060"/>
                </a:solidFill>
                <a:latin typeface="Inter-Regular" panose="020B0604020202020204" charset="0"/>
                <a:ea typeface="Inter-Regular" panose="020B0604020202020204" charset="0"/>
              </a:rPr>
              <a:t>Shapiro-Wilk Test in R Programming</a:t>
            </a:r>
            <a:r>
              <a:rPr lang="en-US" sz="1100" dirty="0">
                <a:solidFill>
                  <a:srgbClr val="002060"/>
                </a:solidFill>
                <a:latin typeface="Inter-Regular" panose="020B0604020202020204" charset="0"/>
                <a:ea typeface="Inter-Regular" panose="020B0604020202020204" charset="0"/>
              </a:rPr>
              <a:t>:</a:t>
            </a:r>
            <a:endParaRPr lang="en-IN" sz="1100" dirty="0">
              <a:solidFill>
                <a:srgbClr val="002060"/>
              </a:solidFill>
              <a:latin typeface="Inter-Regular" panose="020B0604020202020204" charset="0"/>
              <a:ea typeface="Inter-Regular" panose="020B0604020202020204" charset="0"/>
            </a:endParaRPr>
          </a:p>
          <a:p>
            <a:pPr marL="76200" indent="0">
              <a:buNone/>
            </a:pPr>
            <a:r>
              <a:rPr lang="en-US" sz="1000" dirty="0">
                <a:solidFill>
                  <a:srgbClr val="002060"/>
                </a:solidFill>
                <a:latin typeface="Inter-Regular" panose="020B0604020202020204" charset="0"/>
                <a:ea typeface="Inter-Regular" panose="020B0604020202020204" charset="0"/>
              </a:rPr>
              <a:t>The Shapiro-Wilk's test or Shapiro test is a normality test in frequentist statistics. The null hypothesis of Shapiro's test is that the</a:t>
            </a:r>
            <a:r>
              <a:rPr lang="en-IN" sz="1000" dirty="0">
                <a:solidFill>
                  <a:srgbClr val="002060"/>
                </a:solidFill>
                <a:latin typeface="Inter-Regular" panose="020B0604020202020204" charset="0"/>
                <a:ea typeface="Inter-Regular" panose="020B0604020202020204" charset="0"/>
              </a:rPr>
              <a:t> population is distributed normally. </a:t>
            </a:r>
          </a:p>
          <a:p>
            <a:pPr marL="76200" indent="0">
              <a:buNone/>
            </a:pPr>
            <a:r>
              <a:rPr lang="en-US" sz="1000" dirty="0">
                <a:solidFill>
                  <a:srgbClr val="002060"/>
                </a:solidFill>
                <a:latin typeface="Inter-Regular" panose="020B0604020202020204" charset="0"/>
                <a:ea typeface="Inter-Regular" panose="020B0604020202020204" charset="0"/>
              </a:rPr>
              <a:t>It is among the three tests for normality designed for detecting all kinds of departure from normality. </a:t>
            </a:r>
          </a:p>
          <a:p>
            <a:pPr marL="76200" indent="0">
              <a:buNone/>
            </a:pPr>
            <a:r>
              <a:rPr lang="en-US" sz="1000" dirty="0">
                <a:solidFill>
                  <a:srgbClr val="002060"/>
                </a:solidFill>
                <a:latin typeface="Inter-Regular" panose="020B0604020202020204" charset="0"/>
                <a:ea typeface="Inter-Regular" panose="020B0604020202020204" charset="0"/>
              </a:rPr>
              <a:t>If the value of p is equal to or </a:t>
            </a:r>
            <a:r>
              <a:rPr lang="en-IN" sz="1000" dirty="0">
                <a:solidFill>
                  <a:srgbClr val="002060"/>
                </a:solidFill>
                <a:latin typeface="Inter-Regular" panose="020B0604020202020204" charset="0"/>
                <a:ea typeface="Inter-Regular" panose="020B0604020202020204" charset="0"/>
              </a:rPr>
              <a:t>less than 0.05, </a:t>
            </a:r>
          </a:p>
          <a:p>
            <a:pPr marL="76200" indent="0">
              <a:buNone/>
            </a:pPr>
            <a:r>
              <a:rPr lang="en-US" sz="1000" dirty="0">
                <a:solidFill>
                  <a:srgbClr val="002060"/>
                </a:solidFill>
                <a:latin typeface="Inter-Regular" panose="020B0604020202020204" charset="0"/>
                <a:ea typeface="Inter-Regular" panose="020B0604020202020204" charset="0"/>
              </a:rPr>
              <a:t>then the hypothesis of normality will be rejected by the Shapiro test. On failing, the test can state that the data will not fit the</a:t>
            </a:r>
            <a:r>
              <a:rPr lang="en-IN" sz="1000" dirty="0">
                <a:solidFill>
                  <a:srgbClr val="002060"/>
                </a:solidFill>
                <a:latin typeface="Inter-Regular" panose="020B0604020202020204" charset="0"/>
                <a:ea typeface="Inter-Regular" panose="020B0604020202020204" charset="0"/>
              </a:rPr>
              <a:t> distribution normally with 95% confidence. </a:t>
            </a:r>
          </a:p>
          <a:p>
            <a:pPr marL="76200" indent="0">
              <a:buNone/>
            </a:pPr>
            <a:r>
              <a:rPr lang="en-IN" sz="1000" dirty="0">
                <a:solidFill>
                  <a:srgbClr val="002060"/>
                </a:solidFill>
                <a:latin typeface="Inter-Regular" panose="020B0604020202020204" charset="0"/>
                <a:ea typeface="Inter-Regular" panose="020B0604020202020204" charset="0"/>
              </a:rPr>
              <a:t>However,</a:t>
            </a:r>
            <a:r>
              <a:rPr lang="en-US" sz="1000" dirty="0">
                <a:solidFill>
                  <a:srgbClr val="002060"/>
                </a:solidFill>
                <a:latin typeface="Inter-Regular" panose="020B0604020202020204" charset="0"/>
                <a:ea typeface="Inter-Regular" panose="020B0604020202020204" charset="0"/>
              </a:rPr>
              <a:t>on passing, the test can state that there exists no significant departure from normality. This test can be done very easily in R programming.</a:t>
            </a:r>
          </a:p>
          <a:p>
            <a:pPr marL="76200" indent="0">
              <a:buNone/>
            </a:pPr>
            <a:endParaRPr lang="en-IN" sz="1050" dirty="0">
              <a:solidFill>
                <a:srgbClr val="002060"/>
              </a:solidFill>
              <a:latin typeface="Inter-Regular" panose="020B0604020202020204" charset="0"/>
              <a:ea typeface="Inter-Regular" panose="020B0604020202020204" charset="0"/>
            </a:endParaRPr>
          </a:p>
          <a:p>
            <a:pPr>
              <a:buFont typeface="Arial" panose="020B0604020202020204" pitchFamily="34" charset="0"/>
              <a:buChar char="•"/>
            </a:pPr>
            <a:r>
              <a:rPr lang="en-IN" sz="1050" b="1" u="sng" dirty="0">
                <a:solidFill>
                  <a:srgbClr val="002060"/>
                </a:solidFill>
                <a:latin typeface="Inter-Regular" panose="020B0604020202020204" charset="0"/>
                <a:ea typeface="Inter-Regular" panose="020B0604020202020204" charset="0"/>
              </a:rPr>
              <a:t>Implementation in R:</a:t>
            </a:r>
          </a:p>
          <a:p>
            <a:pPr marL="76200" indent="0">
              <a:buNone/>
            </a:pPr>
            <a:r>
              <a:rPr lang="en-US" sz="1050" b="1" dirty="0">
                <a:solidFill>
                  <a:srgbClr val="002060"/>
                </a:solidFill>
                <a:latin typeface="Courier New" panose="02070309020205020404" pitchFamily="49" charset="0"/>
              </a:rPr>
              <a:t>To perform the Shapiro Wilk Test, R provides </a:t>
            </a:r>
            <a:r>
              <a:rPr lang="en-US" sz="1050" b="1" dirty="0">
                <a:solidFill>
                  <a:srgbClr val="FF0000"/>
                </a:solidFill>
                <a:latin typeface="Courier New" panose="02070309020205020404" pitchFamily="49" charset="0"/>
              </a:rPr>
              <a:t>Shapiro.test() </a:t>
            </a:r>
            <a:r>
              <a:rPr lang="en-US" sz="1050" b="1" dirty="0">
                <a:solidFill>
                  <a:srgbClr val="002060"/>
                </a:solidFill>
                <a:latin typeface="Courier New" panose="02070309020205020404" pitchFamily="49" charset="0"/>
              </a:rPr>
              <a:t>function.</a:t>
            </a:r>
          </a:p>
          <a:p>
            <a:pPr marL="76200" indent="0">
              <a:buNone/>
            </a:pPr>
            <a:r>
              <a:rPr lang="en-IN" sz="1000" b="1" dirty="0">
                <a:solidFill>
                  <a:srgbClr val="002060"/>
                </a:solidFill>
                <a:latin typeface="Courier New" panose="02070309020205020404" pitchFamily="49" charset="0"/>
              </a:rPr>
              <a:t>&gt; # Syntax:</a:t>
            </a:r>
          </a:p>
          <a:p>
            <a:pPr marL="76200" indent="0">
              <a:buNone/>
            </a:pPr>
            <a:r>
              <a:rPr lang="en-IN" sz="1000" dirty="0">
                <a:solidFill>
                  <a:srgbClr val="FF0000"/>
                </a:solidFill>
                <a:latin typeface="Courier New" panose="02070309020205020404" pitchFamily="49" charset="0"/>
              </a:rPr>
              <a:t>&gt; </a:t>
            </a:r>
            <a:r>
              <a:rPr lang="en-IN" sz="1000" b="1" dirty="0">
                <a:solidFill>
                  <a:srgbClr val="FF0000"/>
                </a:solidFill>
                <a:latin typeface="Courier New" panose="02070309020205020404" pitchFamily="49" charset="0"/>
              </a:rPr>
              <a:t>shapiro.test(x)</a:t>
            </a:r>
          </a:p>
        </p:txBody>
      </p:sp>
    </p:spTree>
    <p:extLst>
      <p:ext uri="{BB962C8B-B14F-4D97-AF65-F5344CB8AC3E}">
        <p14:creationId xmlns:p14="http://schemas.microsoft.com/office/powerpoint/2010/main" val="11308115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DE5AA10-181E-43DF-9422-D021769C59A3}"/>
              </a:ext>
            </a:extLst>
          </p:cNvPr>
          <p:cNvSpPr>
            <a:spLocks noGrp="1"/>
          </p:cNvSpPr>
          <p:nvPr>
            <p:ph type="body" idx="1"/>
          </p:nvPr>
        </p:nvSpPr>
        <p:spPr>
          <a:xfrm>
            <a:off x="541689" y="255250"/>
            <a:ext cx="7068300" cy="4557755"/>
          </a:xfrm>
        </p:spPr>
        <p:txBody>
          <a:bodyPr/>
          <a:lstStyle/>
          <a:p>
            <a:pPr marL="76200" indent="0">
              <a:buNone/>
            </a:pPr>
            <a:r>
              <a:rPr lang="en-US" sz="1000" b="1" u="sng" dirty="0">
                <a:solidFill>
                  <a:srgbClr val="002060"/>
                </a:solidFill>
                <a:latin typeface="Inter-Regular" panose="020B0604020202020204" charset="0"/>
                <a:ea typeface="Inter-Regular" panose="020B0604020202020204" charset="0"/>
              </a:rPr>
              <a:t>Testing normality of maternal mortality rate:</a:t>
            </a:r>
          </a:p>
          <a:p>
            <a:pPr marL="76200" indent="0">
              <a:buNone/>
            </a:pPr>
            <a:r>
              <a:rPr lang="en-US" sz="1000" dirty="0">
                <a:solidFill>
                  <a:srgbClr val="002060"/>
                </a:solidFill>
                <a:latin typeface="Inter-Regular" panose="020B0604020202020204" charset="0"/>
                <a:ea typeface="Inter-Regular" panose="020B0604020202020204" charset="0"/>
              </a:rPr>
              <a:t>we claim under H0 :data is from normal population </a:t>
            </a:r>
          </a:p>
          <a:p>
            <a:pPr marL="76200" indent="0">
              <a:buNone/>
            </a:pPr>
            <a:r>
              <a:rPr lang="en-US" sz="1000" dirty="0">
                <a:solidFill>
                  <a:srgbClr val="002060"/>
                </a:solidFill>
                <a:latin typeface="Inter-Regular" panose="020B0604020202020204" charset="0"/>
                <a:ea typeface="Inter-Regular" panose="020B0604020202020204" charset="0"/>
              </a:rPr>
              <a:t>VS                         H1: data is from non normal population</a:t>
            </a:r>
          </a:p>
          <a:p>
            <a:pPr marL="76200" indent="0">
              <a:buNone/>
            </a:pPr>
            <a:r>
              <a:rPr lang="en-US" sz="1000" dirty="0">
                <a:solidFill>
                  <a:srgbClr val="002060"/>
                </a:solidFill>
                <a:latin typeface="Inter-Regular" panose="020B0604020202020204" charset="0"/>
                <a:ea typeface="Inter-Regular" panose="020B0604020202020204" charset="0"/>
              </a:rPr>
              <a:t>let x= maternal mortality rate</a:t>
            </a:r>
          </a:p>
          <a:p>
            <a:pPr marL="76200" indent="0">
              <a:buNone/>
            </a:pPr>
            <a:r>
              <a:rPr lang="en-IN" sz="1000" b="1" dirty="0">
                <a:solidFill>
                  <a:srgbClr val="FF0000"/>
                </a:solidFill>
                <a:latin typeface="Courier New" panose="02070309020205020404" pitchFamily="49" charset="0"/>
              </a:rPr>
              <a:t>&gt;x=c(20.64,20.14,19.87,19.59,19.31,19.04,18.76,18.44,18.12,17.81,17.48,17.16,16.7,16.25,15.79,15.341,14.88,14.63,14.38,14.13,13.87,13.62,14.72,14.41)</a:t>
            </a:r>
          </a:p>
          <a:p>
            <a:pPr marL="76200" indent="0">
              <a:buNone/>
            </a:pPr>
            <a:r>
              <a:rPr lang="en-IN" sz="1000" b="1" dirty="0">
                <a:solidFill>
                  <a:srgbClr val="FF0000"/>
                </a:solidFill>
                <a:latin typeface="Courier New" panose="02070309020205020404" pitchFamily="49" charset="0"/>
              </a:rPr>
              <a:t>&gt;</a:t>
            </a:r>
            <a:r>
              <a:rPr lang="en-IN" sz="1000" dirty="0">
                <a:solidFill>
                  <a:srgbClr val="FF0000"/>
                </a:solidFill>
                <a:latin typeface="Courier New" panose="02070309020205020404" pitchFamily="49" charset="0"/>
              </a:rPr>
              <a:t> </a:t>
            </a:r>
            <a:r>
              <a:rPr lang="en-IN" sz="1000" b="1" dirty="0">
                <a:solidFill>
                  <a:srgbClr val="FF0000"/>
                </a:solidFill>
                <a:latin typeface="Courier New" panose="02070309020205020404" pitchFamily="49" charset="0"/>
              </a:rPr>
              <a:t>shapiro.test(x)</a:t>
            </a:r>
          </a:p>
          <a:p>
            <a:pPr marL="76200" indent="0">
              <a:buNone/>
            </a:pPr>
            <a:r>
              <a:rPr lang="en-IN" sz="1000" b="1" dirty="0">
                <a:latin typeface="Courier New" panose="02070309020205020404" pitchFamily="49" charset="0"/>
              </a:rPr>
              <a:t> </a:t>
            </a:r>
            <a:r>
              <a:rPr lang="en-IN" sz="1000" dirty="0">
                <a:latin typeface="Courier New" panose="02070309020205020404" pitchFamily="49" charset="0"/>
              </a:rPr>
              <a:t> </a:t>
            </a:r>
            <a:r>
              <a:rPr lang="en-IN" sz="1000" b="1" dirty="0">
                <a:solidFill>
                  <a:srgbClr val="7030A0"/>
                </a:solidFill>
                <a:latin typeface="Courier New" panose="02070309020205020404" pitchFamily="49" charset="0"/>
              </a:rPr>
              <a:t>Shapiro-Wilk normality test</a:t>
            </a:r>
          </a:p>
          <a:p>
            <a:pPr marL="76200" indent="0">
              <a:buNone/>
            </a:pPr>
            <a:r>
              <a:rPr lang="en-IN" sz="1000" b="1" dirty="0">
                <a:solidFill>
                  <a:srgbClr val="7030A0"/>
                </a:solidFill>
                <a:latin typeface="Courier New" panose="02070309020205020404" pitchFamily="49" charset="0"/>
              </a:rPr>
              <a:t>  data:  x</a:t>
            </a:r>
          </a:p>
          <a:p>
            <a:pPr marL="76200" indent="0">
              <a:buNone/>
            </a:pPr>
            <a:r>
              <a:rPr lang="en-IN" sz="1000" b="1" dirty="0">
                <a:solidFill>
                  <a:srgbClr val="7030A0"/>
                </a:solidFill>
                <a:latin typeface="Courier New" panose="02070309020205020404" pitchFamily="49" charset="0"/>
              </a:rPr>
              <a:t>  W = 0.92914, p-value = 0.09328</a:t>
            </a:r>
          </a:p>
          <a:p>
            <a:pPr marL="76200" indent="0">
              <a:buNone/>
            </a:pPr>
            <a:r>
              <a:rPr lang="en-IN" sz="1050" b="1" u="sng" dirty="0">
                <a:solidFill>
                  <a:srgbClr val="002060"/>
                </a:solidFill>
                <a:latin typeface="Inter-Regular" panose="020B0604020202020204" charset="0"/>
                <a:ea typeface="Inter-Regular" panose="020B0604020202020204" charset="0"/>
              </a:rPr>
              <a:t> Interpretation: </a:t>
            </a:r>
            <a:endParaRPr lang="en-IN" sz="1000" b="1" u="sng" dirty="0">
              <a:solidFill>
                <a:srgbClr val="002060"/>
              </a:solidFill>
              <a:latin typeface="Inter-Regular" panose="020B0604020202020204" charset="0"/>
              <a:ea typeface="Inter-Regular" panose="020B0604020202020204" charset="0"/>
            </a:endParaRPr>
          </a:p>
          <a:p>
            <a:pPr marL="76200" indent="0">
              <a:buNone/>
            </a:pPr>
            <a:r>
              <a:rPr lang="en-US" sz="1000" dirty="0">
                <a:solidFill>
                  <a:srgbClr val="002060"/>
                </a:solidFill>
                <a:latin typeface="Inter-Regular" panose="020B0604020202020204" charset="0"/>
                <a:ea typeface="Inter-Regular" panose="020B0604020202020204" charset="0"/>
              </a:rPr>
              <a:t> Since, p value &gt; 0.05 we can say that data is from normal population</a:t>
            </a:r>
          </a:p>
          <a:p>
            <a:pPr marL="76200" indent="0">
              <a:buNone/>
            </a:pPr>
            <a:r>
              <a:rPr lang="en-US" sz="1000" b="1" u="sng" dirty="0">
                <a:solidFill>
                  <a:srgbClr val="002060"/>
                </a:solidFill>
                <a:latin typeface="Inter-Regular" panose="020B0604020202020204" charset="0"/>
                <a:ea typeface="Inter-Regular" panose="020B0604020202020204" charset="0"/>
              </a:rPr>
              <a:t> Testing normality of literacy rate :</a:t>
            </a:r>
            <a:endParaRPr lang="en-IN" sz="1000" b="1" u="sng" dirty="0">
              <a:solidFill>
                <a:srgbClr val="002060"/>
              </a:solidFill>
              <a:latin typeface="Inter-Regular" panose="020B0604020202020204" charset="0"/>
              <a:ea typeface="Inter-Regular" panose="020B0604020202020204" charset="0"/>
            </a:endParaRPr>
          </a:p>
          <a:p>
            <a:pPr marL="76200" indent="0">
              <a:buNone/>
            </a:pPr>
            <a:r>
              <a:rPr lang="en-US" sz="1000" dirty="0">
                <a:solidFill>
                  <a:srgbClr val="002060"/>
                </a:solidFill>
                <a:latin typeface="Inter-Regular" panose="020B0604020202020204" charset="0"/>
                <a:ea typeface="Inter-Regular" panose="020B0604020202020204" charset="0"/>
              </a:rPr>
              <a:t> we claim under H0 :data is from normal population</a:t>
            </a:r>
          </a:p>
          <a:p>
            <a:pPr marL="76200" indent="0">
              <a:buNone/>
            </a:pPr>
            <a:r>
              <a:rPr lang="en-US" sz="1000" dirty="0">
                <a:solidFill>
                  <a:srgbClr val="002060"/>
                </a:solidFill>
                <a:latin typeface="Inter-Regular" panose="020B0604020202020204" charset="0"/>
                <a:ea typeface="Inter-Regular" panose="020B0604020202020204" charset="0"/>
              </a:rPr>
              <a:t> VS                         H1: data is from non normal population</a:t>
            </a:r>
            <a:endParaRPr lang="en-IN" sz="1000" dirty="0">
              <a:solidFill>
                <a:srgbClr val="002060"/>
              </a:solidFill>
              <a:latin typeface="Inter-Regular" panose="020B0604020202020204" charset="0"/>
              <a:ea typeface="Inter-Regular" panose="020B0604020202020204" charset="0"/>
            </a:endParaRPr>
          </a:p>
          <a:p>
            <a:pPr marL="76200" indent="0">
              <a:buNone/>
            </a:pPr>
            <a:r>
              <a:rPr lang="en-IN" sz="1000" dirty="0">
                <a:solidFill>
                  <a:srgbClr val="002060"/>
                </a:solidFill>
                <a:latin typeface="Inter-Regular" panose="020B0604020202020204" charset="0"/>
                <a:ea typeface="Inter-Regular" panose="020B0604020202020204" charset="0"/>
              </a:rPr>
              <a:t> let y= Literacy rate</a:t>
            </a:r>
          </a:p>
          <a:p>
            <a:pPr marL="76200" indent="0">
              <a:buNone/>
            </a:pPr>
            <a:r>
              <a:rPr lang="en-IN" sz="1000" b="1" dirty="0">
                <a:solidFill>
                  <a:srgbClr val="FF0000"/>
                </a:solidFill>
                <a:latin typeface="Courier New" panose="02070309020205020404" pitchFamily="49" charset="0"/>
              </a:rPr>
              <a:t>&gt; y=c(45.3,46.7,48.35,50.75,52.31,53.79,54.7,56.02,58.3,59.45,61.2,62.2,63.82,64.33,65.2,65.78,66.72,67.32,68.12,69.44,70.21,71.22,73.22,73.38)</a:t>
            </a:r>
          </a:p>
          <a:p>
            <a:pPr marL="76200" indent="0">
              <a:buNone/>
            </a:pPr>
            <a:r>
              <a:rPr lang="en-IN" sz="1000" b="1" dirty="0">
                <a:solidFill>
                  <a:srgbClr val="FF0000"/>
                </a:solidFill>
                <a:latin typeface="Courier New" panose="02070309020205020404" pitchFamily="49" charset="0"/>
              </a:rPr>
              <a:t> </a:t>
            </a:r>
            <a:endParaRPr lang="en-US" sz="1000" b="1" dirty="0">
              <a:solidFill>
                <a:srgbClr val="FF0000"/>
              </a:solidFill>
              <a:latin typeface="Courier New" panose="02070309020205020404" pitchFamily="49" charset="0"/>
            </a:endParaRPr>
          </a:p>
        </p:txBody>
      </p:sp>
    </p:spTree>
    <p:extLst>
      <p:ext uri="{BB962C8B-B14F-4D97-AF65-F5344CB8AC3E}">
        <p14:creationId xmlns:p14="http://schemas.microsoft.com/office/powerpoint/2010/main" val="861550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D2998-E4FA-4F84-BD4C-61AB65778896}"/>
              </a:ext>
            </a:extLst>
          </p:cNvPr>
          <p:cNvSpPr>
            <a:spLocks noGrp="1"/>
          </p:cNvSpPr>
          <p:nvPr>
            <p:ph type="title"/>
          </p:nvPr>
        </p:nvSpPr>
        <p:spPr>
          <a:xfrm>
            <a:off x="1122910" y="262831"/>
            <a:ext cx="7068300" cy="396300"/>
          </a:xfrm>
        </p:spPr>
        <p:txBody>
          <a:bodyPr/>
          <a:lstStyle/>
          <a:p>
            <a:r>
              <a:rPr lang="en-US" b="1" dirty="0">
                <a:solidFill>
                  <a:srgbClr val="0070C0"/>
                </a:solidFill>
              </a:rPr>
              <a:t>Data Sources: </a:t>
            </a:r>
          </a:p>
        </p:txBody>
      </p:sp>
      <p:sp>
        <p:nvSpPr>
          <p:cNvPr id="3" name="Text Placeholder 2">
            <a:extLst>
              <a:ext uri="{FF2B5EF4-FFF2-40B4-BE49-F238E27FC236}">
                <a16:creationId xmlns:a16="http://schemas.microsoft.com/office/drawing/2014/main" id="{754D64A6-CC38-492E-8010-B9EA7D2A7E2A}"/>
              </a:ext>
            </a:extLst>
          </p:cNvPr>
          <p:cNvSpPr>
            <a:spLocks noGrp="1"/>
          </p:cNvSpPr>
          <p:nvPr>
            <p:ph type="body" idx="1"/>
          </p:nvPr>
        </p:nvSpPr>
        <p:spPr>
          <a:xfrm>
            <a:off x="1037850" y="1034970"/>
            <a:ext cx="6886950" cy="3671709"/>
          </a:xfrm>
        </p:spPr>
        <p:txBody>
          <a:bodyPr/>
          <a:lstStyle/>
          <a:p>
            <a:pPr>
              <a:buFont typeface="Arial" panose="020B0604020202020204" pitchFamily="34" charset="0"/>
              <a:buChar char="•"/>
            </a:pPr>
            <a:r>
              <a:rPr lang="en-US" sz="2000" b="1" dirty="0"/>
              <a:t>World Data Bank</a:t>
            </a:r>
          </a:p>
          <a:p>
            <a:pPr marL="76200" indent="0">
              <a:buNone/>
            </a:pPr>
            <a:r>
              <a:rPr lang="en-US" sz="1400" b="1" u="sng" dirty="0">
                <a:solidFill>
                  <a:schemeClr val="tx1">
                    <a:lumMod val="50000"/>
                    <a:lumOff val="50000"/>
                  </a:schemeClr>
                </a:solidFill>
              </a:rPr>
              <a:t> https://data.worldbank.org/indicator/SL.TLF.ACTI.FE.ZS?locations=IN</a:t>
            </a:r>
          </a:p>
          <a:p>
            <a:pPr>
              <a:buFont typeface="Arial" panose="020B0604020202020204" pitchFamily="34" charset="0"/>
              <a:buChar char="•"/>
            </a:pPr>
            <a:r>
              <a:rPr lang="en-US" sz="2000" b="1" dirty="0"/>
              <a:t>Our world in Data</a:t>
            </a:r>
          </a:p>
          <a:p>
            <a:pPr marL="76200" indent="0">
              <a:buNone/>
            </a:pPr>
            <a:r>
              <a:rPr lang="en-US" sz="1400" b="1" u="sng" dirty="0">
                <a:solidFill>
                  <a:schemeClr val="tx1">
                    <a:lumMod val="50000"/>
                    <a:lumOff val="50000"/>
                  </a:schemeClr>
                </a:solidFill>
              </a:rPr>
              <a:t>https://ourworldindata.org/female-labor-force-participation-key-facts</a:t>
            </a:r>
          </a:p>
          <a:p>
            <a:pPr>
              <a:buFont typeface="Arial" panose="020B0604020202020204" pitchFamily="34" charset="0"/>
              <a:buChar char="•"/>
            </a:pPr>
            <a:endParaRPr lang="en-US" sz="2000" b="1" dirty="0"/>
          </a:p>
          <a:p>
            <a:pPr>
              <a:buFont typeface="Arial" panose="020B0604020202020204" pitchFamily="34" charset="0"/>
              <a:buChar char="•"/>
            </a:pPr>
            <a:endParaRPr lang="en-US" sz="2000" b="1" dirty="0"/>
          </a:p>
          <a:p>
            <a:pPr>
              <a:buFont typeface="Arial" panose="020B0604020202020204" pitchFamily="34" charset="0"/>
              <a:buChar char="•"/>
            </a:pPr>
            <a:r>
              <a:rPr lang="en-US" sz="2000" b="1" dirty="0"/>
              <a:t>R Software </a:t>
            </a:r>
          </a:p>
          <a:p>
            <a:pPr>
              <a:buFont typeface="Arial" panose="020B0604020202020204" pitchFamily="34" charset="0"/>
              <a:buChar char="•"/>
            </a:pPr>
            <a:r>
              <a:rPr lang="en-US" sz="2000" b="1" dirty="0"/>
              <a:t>R Studio</a:t>
            </a:r>
          </a:p>
          <a:p>
            <a:pPr>
              <a:buFont typeface="Arial" panose="020B0604020202020204" pitchFamily="34" charset="0"/>
              <a:buChar char="•"/>
            </a:pPr>
            <a:r>
              <a:rPr lang="en-US" sz="2000" b="1" dirty="0"/>
              <a:t>MS Excel</a:t>
            </a:r>
          </a:p>
          <a:p>
            <a:pPr marL="76200" indent="0">
              <a:buNone/>
            </a:pPr>
            <a:endParaRPr lang="en-US" sz="2000" b="1" dirty="0"/>
          </a:p>
          <a:p>
            <a:pPr marL="76200" indent="0">
              <a:buNone/>
            </a:pPr>
            <a:endParaRPr lang="en-US" sz="2000" b="1" dirty="0"/>
          </a:p>
        </p:txBody>
      </p:sp>
      <p:sp>
        <p:nvSpPr>
          <p:cNvPr id="5" name="TextBox 4">
            <a:extLst>
              <a:ext uri="{FF2B5EF4-FFF2-40B4-BE49-F238E27FC236}">
                <a16:creationId xmlns:a16="http://schemas.microsoft.com/office/drawing/2014/main" id="{84E2E359-34F8-4DFC-BDFB-A1E1AC533806}"/>
              </a:ext>
            </a:extLst>
          </p:cNvPr>
          <p:cNvSpPr txBox="1"/>
          <p:nvPr/>
        </p:nvSpPr>
        <p:spPr>
          <a:xfrm>
            <a:off x="1037850" y="2812755"/>
            <a:ext cx="5536019" cy="584775"/>
          </a:xfrm>
          <a:prstGeom prst="rect">
            <a:avLst/>
          </a:prstGeom>
          <a:noFill/>
        </p:spPr>
        <p:txBody>
          <a:bodyPr wrap="square" rtlCol="0">
            <a:spAutoFit/>
          </a:bodyPr>
          <a:lstStyle/>
          <a:p>
            <a:r>
              <a:rPr lang="en-US" sz="3200" b="1" dirty="0">
                <a:solidFill>
                  <a:srgbClr val="0070C0"/>
                </a:solidFill>
                <a:latin typeface="Inter-Regular" panose="020B0604020202020204" charset="0"/>
                <a:ea typeface="Inter-Regular" panose="020B0604020202020204" charset="0"/>
              </a:rPr>
              <a:t>Statistical Tools:</a:t>
            </a:r>
          </a:p>
        </p:txBody>
      </p:sp>
    </p:spTree>
    <p:extLst>
      <p:ext uri="{BB962C8B-B14F-4D97-AF65-F5344CB8AC3E}">
        <p14:creationId xmlns:p14="http://schemas.microsoft.com/office/powerpoint/2010/main" val="28510608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C534EB3-D388-4D57-AE8A-F3430B0F2216}"/>
              </a:ext>
            </a:extLst>
          </p:cNvPr>
          <p:cNvSpPr>
            <a:spLocks noGrp="1"/>
          </p:cNvSpPr>
          <p:nvPr>
            <p:ph type="body" idx="1"/>
          </p:nvPr>
        </p:nvSpPr>
        <p:spPr>
          <a:xfrm>
            <a:off x="591658" y="156203"/>
            <a:ext cx="7836416" cy="4834847"/>
          </a:xfrm>
        </p:spPr>
        <p:txBody>
          <a:bodyPr/>
          <a:lstStyle/>
          <a:p>
            <a:pPr marL="76200" indent="0">
              <a:buNone/>
            </a:pPr>
            <a:r>
              <a:rPr lang="en-IN" sz="1000" b="1" dirty="0">
                <a:solidFill>
                  <a:srgbClr val="FF0000"/>
                </a:solidFill>
                <a:latin typeface="Courier New" panose="02070309020205020404" pitchFamily="49" charset="0"/>
              </a:rPr>
              <a:t>&gt;shapiro.test(y)</a:t>
            </a:r>
          </a:p>
          <a:p>
            <a:pPr marL="76200" indent="0">
              <a:buNone/>
            </a:pPr>
            <a:r>
              <a:rPr lang="en-IN" sz="1000" b="1" dirty="0">
                <a:solidFill>
                  <a:srgbClr val="7030A0"/>
                </a:solidFill>
                <a:latin typeface="Courier New" panose="02070309020205020404" pitchFamily="49" charset="0"/>
              </a:rPr>
              <a:t>Shapiro-Wilk normality test</a:t>
            </a:r>
          </a:p>
          <a:p>
            <a:pPr marL="76200" indent="0">
              <a:buNone/>
            </a:pPr>
            <a:r>
              <a:rPr lang="en-IN" sz="1000" b="1" dirty="0">
                <a:solidFill>
                  <a:srgbClr val="7030A0"/>
                </a:solidFill>
                <a:latin typeface="Courier New" panose="02070309020205020404" pitchFamily="49" charset="0"/>
              </a:rPr>
              <a:t>data:  y</a:t>
            </a:r>
          </a:p>
          <a:p>
            <a:pPr marL="76200" indent="0">
              <a:buNone/>
            </a:pPr>
            <a:r>
              <a:rPr lang="en-IN" sz="1000" b="1" dirty="0">
                <a:solidFill>
                  <a:srgbClr val="7030A0"/>
                </a:solidFill>
                <a:latin typeface="Courier New" panose="02070309020205020404" pitchFamily="49" charset="0"/>
              </a:rPr>
              <a:t>W = 0.95002, p-value = 0.2712</a:t>
            </a:r>
          </a:p>
          <a:p>
            <a:pPr marL="76200" indent="0">
              <a:buNone/>
            </a:pPr>
            <a:r>
              <a:rPr lang="en-IN" sz="1000" b="1" u="sng" dirty="0">
                <a:solidFill>
                  <a:srgbClr val="002060"/>
                </a:solidFill>
                <a:latin typeface="Inter-Regular" panose="020B0604020202020204" charset="0"/>
                <a:ea typeface="Inter-Regular" panose="020B0604020202020204" charset="0"/>
              </a:rPr>
              <a:t>Interpretation: </a:t>
            </a:r>
          </a:p>
          <a:p>
            <a:pPr marL="76200" indent="0">
              <a:buNone/>
            </a:pPr>
            <a:r>
              <a:rPr lang="en-US" sz="1000" dirty="0">
                <a:solidFill>
                  <a:srgbClr val="002060"/>
                </a:solidFill>
                <a:latin typeface="Inter-Regular" panose="020B0604020202020204" charset="0"/>
                <a:ea typeface="Inter-Regular" panose="020B0604020202020204" charset="0"/>
              </a:rPr>
              <a:t> Decision: As p-value &gt;0.05 we can say that data is from normal population</a:t>
            </a:r>
          </a:p>
          <a:p>
            <a:pPr marL="76200" indent="0">
              <a:buNone/>
            </a:pPr>
            <a:r>
              <a:rPr lang="en-IN" sz="1000" b="1" u="sng" dirty="0">
                <a:solidFill>
                  <a:srgbClr val="002060"/>
                </a:solidFill>
                <a:latin typeface="Inter-Regular" panose="020B0604020202020204" charset="0"/>
                <a:ea typeface="Inter-Regular" panose="020B0604020202020204" charset="0"/>
              </a:rPr>
              <a:t>Testing normality fertility rate:</a:t>
            </a:r>
          </a:p>
          <a:p>
            <a:pPr marL="76200" indent="0">
              <a:buNone/>
            </a:pPr>
            <a:r>
              <a:rPr lang="en-US" sz="1000" dirty="0">
                <a:solidFill>
                  <a:srgbClr val="002060"/>
                </a:solidFill>
                <a:latin typeface="Inter-Regular" panose="020B0604020202020204" charset="0"/>
                <a:ea typeface="Inter-Regular" panose="020B0604020202020204" charset="0"/>
              </a:rPr>
              <a:t> we claim under H0 :data is from normal population </a:t>
            </a:r>
          </a:p>
          <a:p>
            <a:pPr marL="76200" indent="0">
              <a:buNone/>
            </a:pPr>
            <a:r>
              <a:rPr lang="en-US" sz="1000" dirty="0">
                <a:solidFill>
                  <a:srgbClr val="002060"/>
                </a:solidFill>
                <a:latin typeface="Inter-Regular" panose="020B0604020202020204" charset="0"/>
                <a:ea typeface="Inter-Regular" panose="020B0604020202020204" charset="0"/>
              </a:rPr>
              <a:t> VS                         H1: data is from non normal population</a:t>
            </a:r>
          </a:p>
          <a:p>
            <a:pPr marL="76200" indent="0">
              <a:buNone/>
            </a:pPr>
            <a:r>
              <a:rPr lang="en-IN" sz="1000" dirty="0">
                <a:solidFill>
                  <a:srgbClr val="002060"/>
                </a:solidFill>
                <a:latin typeface="Inter-Regular" panose="020B0604020202020204" charset="0"/>
                <a:ea typeface="Inter-Regular" panose="020B0604020202020204" charset="0"/>
              </a:rPr>
              <a:t> Let z= fertility rate </a:t>
            </a:r>
          </a:p>
          <a:p>
            <a:pPr marL="76200" indent="0">
              <a:buNone/>
            </a:pPr>
            <a:r>
              <a:rPr lang="en-IN" sz="1000" b="1" dirty="0">
                <a:solidFill>
                  <a:srgbClr val="FF0000"/>
                </a:solidFill>
                <a:latin typeface="Courier New" panose="02070309020205020404" pitchFamily="49" charset="0"/>
              </a:rPr>
              <a:t>&gt; z=c(3.582,3.514,3.446,3.379,3.311,3.244,3.176,3.109,3.041,2.972,2.899,2.823,2.743,2.661,2.581,2.506,2.439,2.381,2.333,2.295,2.266,2.243,2.222,2.035980237)</a:t>
            </a:r>
          </a:p>
          <a:p>
            <a:pPr marL="76200" indent="0">
              <a:buNone/>
            </a:pPr>
            <a:r>
              <a:rPr lang="en-IN" sz="1000" b="1" dirty="0">
                <a:solidFill>
                  <a:srgbClr val="FF0000"/>
                </a:solidFill>
                <a:latin typeface="Courier New" panose="02070309020205020404" pitchFamily="49" charset="0"/>
              </a:rPr>
              <a:t>&gt; shapiro.test(z)</a:t>
            </a:r>
          </a:p>
          <a:p>
            <a:pPr marL="76200" indent="0">
              <a:buNone/>
            </a:pPr>
            <a:r>
              <a:rPr lang="en-IN" sz="1000" b="1" dirty="0">
                <a:solidFill>
                  <a:srgbClr val="7030A0"/>
                </a:solidFill>
                <a:latin typeface="Courier New" panose="02070309020205020404" pitchFamily="49" charset="0"/>
              </a:rPr>
              <a:t>Shapiro-Wilk normality test</a:t>
            </a:r>
          </a:p>
          <a:p>
            <a:pPr marL="76200" indent="0">
              <a:buNone/>
            </a:pPr>
            <a:r>
              <a:rPr lang="en-IN" sz="1000" b="1" dirty="0">
                <a:solidFill>
                  <a:srgbClr val="7030A0"/>
                </a:solidFill>
                <a:latin typeface="Courier New" panose="02070309020205020404" pitchFamily="49" charset="0"/>
              </a:rPr>
              <a:t>data:  z</a:t>
            </a:r>
          </a:p>
          <a:p>
            <a:pPr marL="76200" indent="0">
              <a:buNone/>
            </a:pPr>
            <a:r>
              <a:rPr lang="en-IN" sz="1000" b="1" dirty="0">
                <a:solidFill>
                  <a:srgbClr val="7030A0"/>
                </a:solidFill>
                <a:latin typeface="Courier New" panose="02070309020205020404" pitchFamily="49" charset="0"/>
              </a:rPr>
              <a:t> W = 0.94516, p-value = 0.2123</a:t>
            </a:r>
          </a:p>
          <a:p>
            <a:pPr marL="76200" indent="0">
              <a:buNone/>
            </a:pPr>
            <a:r>
              <a:rPr lang="en-IN" sz="1000" b="1" u="sng" dirty="0">
                <a:solidFill>
                  <a:srgbClr val="002060"/>
                </a:solidFill>
                <a:latin typeface="Inter-Regular" panose="020B0604020202020204" charset="0"/>
                <a:ea typeface="Inter-Regular" panose="020B0604020202020204" charset="0"/>
              </a:rPr>
              <a:t>Interpretation: </a:t>
            </a:r>
          </a:p>
          <a:p>
            <a:pPr marL="76200" indent="0">
              <a:buNone/>
            </a:pPr>
            <a:r>
              <a:rPr lang="en-US" sz="1000" dirty="0">
                <a:solidFill>
                  <a:srgbClr val="002060"/>
                </a:solidFill>
                <a:latin typeface="Inter-Regular" panose="020B0604020202020204" charset="0"/>
                <a:ea typeface="Inter-Regular" panose="020B0604020202020204" charset="0"/>
              </a:rPr>
              <a:t>Decision: As p-value &gt;0.05 we cany say that data is from normal population</a:t>
            </a:r>
          </a:p>
          <a:p>
            <a:pPr marL="76200" indent="0">
              <a:buNone/>
            </a:pPr>
            <a:endParaRPr lang="en-US" sz="1000" dirty="0"/>
          </a:p>
        </p:txBody>
      </p:sp>
    </p:spTree>
    <p:extLst>
      <p:ext uri="{BB962C8B-B14F-4D97-AF65-F5344CB8AC3E}">
        <p14:creationId xmlns:p14="http://schemas.microsoft.com/office/powerpoint/2010/main" val="28585060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DCEEFA-48E7-4B53-9743-D2413CA682CE}"/>
              </a:ext>
            </a:extLst>
          </p:cNvPr>
          <p:cNvSpPr>
            <a:spLocks noGrp="1"/>
          </p:cNvSpPr>
          <p:nvPr>
            <p:ph type="body" idx="1"/>
          </p:nvPr>
        </p:nvSpPr>
        <p:spPr>
          <a:xfrm>
            <a:off x="540202" y="702561"/>
            <a:ext cx="8063595" cy="4847634"/>
          </a:xfrm>
        </p:spPr>
        <p:txBody>
          <a:bodyPr/>
          <a:lstStyle/>
          <a:p>
            <a:pPr marL="76200" indent="0">
              <a:buNone/>
            </a:pPr>
            <a:r>
              <a:rPr lang="en-US" sz="1000" dirty="0">
                <a:solidFill>
                  <a:srgbClr val="002060"/>
                </a:solidFill>
                <a:latin typeface="Inter-Regular" panose="020B0604020202020204" charset="0"/>
                <a:ea typeface="Inter-Regular" panose="020B0604020202020204" charset="0"/>
                <a:cs typeface="Courier New" panose="02070309020205020404" pitchFamily="49" charset="0"/>
              </a:rPr>
              <a:t>x= female labour force before the introduction of MNREGA scheme</a:t>
            </a:r>
          </a:p>
          <a:p>
            <a:pPr marL="76200" indent="0">
              <a:buNone/>
            </a:pPr>
            <a:r>
              <a:rPr lang="en-US" sz="1000" dirty="0">
                <a:solidFill>
                  <a:srgbClr val="002060"/>
                </a:solidFill>
                <a:latin typeface="Inter-Regular" panose="020B0604020202020204" charset="0"/>
                <a:ea typeface="Inter-Regular" panose="020B0604020202020204" charset="0"/>
                <a:cs typeface="Courier New" panose="02070309020205020404" pitchFamily="49" charset="0"/>
              </a:rPr>
              <a:t>y= female labour force after the introduction of MNREGA scheme</a:t>
            </a:r>
          </a:p>
          <a:p>
            <a:pPr marL="76200" indent="0">
              <a:buNone/>
            </a:pPr>
            <a:r>
              <a:rPr lang="en-US" sz="1000" b="1" dirty="0">
                <a:solidFill>
                  <a:srgbClr val="FF0000"/>
                </a:solidFill>
                <a:latin typeface="Courier New" panose="02070309020205020404" pitchFamily="49" charset="0"/>
                <a:cs typeface="Courier New" panose="02070309020205020404" pitchFamily="49" charset="0"/>
              </a:rPr>
              <a:t>&gt;x=c(31.97699928,31.99399948,32.01399994,32.03300095,32.06700134,32.2519989,32.54600143,32.84400177,33.14699936,33.45700073)</a:t>
            </a:r>
          </a:p>
          <a:p>
            <a:pPr marL="76200" indent="0">
              <a:buNone/>
            </a:pPr>
            <a:r>
              <a:rPr lang="en-US" sz="1000" b="1" dirty="0">
                <a:solidFill>
                  <a:srgbClr val="FF0000"/>
                </a:solidFill>
                <a:latin typeface="Courier New" panose="02070309020205020404" pitchFamily="49" charset="0"/>
                <a:cs typeface="Courier New" panose="02070309020205020404" pitchFamily="49" charset="0"/>
              </a:rPr>
              <a:t>&gt; &gt;y=c(23.02700043,23.36100006,23.71999931,24.1060009,25.49500084,26.9489994,28.16699982,29.42499924,30.72400093,31.96500015)</a:t>
            </a:r>
          </a:p>
          <a:p>
            <a:pPr marL="76200" indent="0">
              <a:buNone/>
            </a:pPr>
            <a:r>
              <a:rPr lang="en-US" sz="1000" dirty="0">
                <a:solidFill>
                  <a:srgbClr val="002060"/>
                </a:solidFill>
                <a:latin typeface="Inter-Regular" panose="020B0604020202020204" charset="0"/>
                <a:ea typeface="Inter-Regular" panose="020B0604020202020204" charset="0"/>
                <a:cs typeface="Courier New" panose="02070309020205020404" pitchFamily="49" charset="0"/>
              </a:rPr>
              <a:t>Firstly we test the assumption of paired t test  i.e. normality of the difference by shapiro wilk test</a:t>
            </a:r>
          </a:p>
          <a:p>
            <a:pPr marL="76200" indent="0">
              <a:buNone/>
            </a:pPr>
            <a:r>
              <a:rPr lang="en-US" sz="1000" b="1" dirty="0">
                <a:solidFill>
                  <a:srgbClr val="FF0000"/>
                </a:solidFill>
                <a:latin typeface="Courier New" panose="02070309020205020404" pitchFamily="49" charset="0"/>
                <a:cs typeface="Courier New" panose="02070309020205020404" pitchFamily="49" charset="0"/>
              </a:rPr>
              <a:t>&gt; x-y</a:t>
            </a:r>
          </a:p>
          <a:p>
            <a:pPr marL="76200" indent="0">
              <a:buNone/>
            </a:pPr>
            <a:r>
              <a:rPr lang="en-US" sz="1000" dirty="0">
                <a:latin typeface="Courier New" panose="02070309020205020404" pitchFamily="49" charset="0"/>
                <a:cs typeface="Courier New" panose="02070309020205020404" pitchFamily="49" charset="0"/>
              </a:rPr>
              <a:t> </a:t>
            </a:r>
            <a:r>
              <a:rPr lang="en-US" sz="1000" b="1" dirty="0">
                <a:solidFill>
                  <a:srgbClr val="7030A0"/>
                </a:solidFill>
                <a:latin typeface="Courier New" panose="02070309020205020404" pitchFamily="49" charset="0"/>
                <a:cs typeface="Courier New" panose="02070309020205020404" pitchFamily="49" charset="0"/>
              </a:rPr>
              <a:t>[1] 8.949999 8.632999 8.294001 7.927000 6.572000 5.302999 4.379002 3.419003 2.422998 1.492001</a:t>
            </a:r>
          </a:p>
          <a:p>
            <a:pPr marL="76200" indent="0">
              <a:buNone/>
            </a:pPr>
            <a:r>
              <a:rPr lang="en-US" sz="1000" b="1" dirty="0">
                <a:solidFill>
                  <a:srgbClr val="FF0000"/>
                </a:solidFill>
                <a:latin typeface="Courier New" panose="02070309020205020404" pitchFamily="49" charset="0"/>
                <a:cs typeface="Courier New" panose="02070309020205020404" pitchFamily="49" charset="0"/>
              </a:rPr>
              <a:t>&gt;z=c(8.949999,8.632999,8.294001,7.927000,6.572000,5.302999,4.379002,3.419003,2.422998,1.492001</a:t>
            </a:r>
            <a:r>
              <a:rPr lang="en-US" sz="1000" b="1" dirty="0">
                <a:latin typeface="Courier New" panose="02070309020205020404" pitchFamily="49" charset="0"/>
                <a:cs typeface="Courier New" panose="02070309020205020404" pitchFamily="49" charset="0"/>
              </a:rPr>
              <a:t>)</a:t>
            </a:r>
          </a:p>
          <a:p>
            <a:pPr marL="76200" indent="0">
              <a:buNone/>
            </a:pPr>
            <a:r>
              <a:rPr lang="en-US" sz="1000" b="1" u="sng" dirty="0">
                <a:solidFill>
                  <a:srgbClr val="002060"/>
                </a:solidFill>
                <a:latin typeface="Inter-Regular" panose="020B0604020202020204" charset="0"/>
                <a:ea typeface="Inter-Regular" panose="020B0604020202020204" charset="0"/>
                <a:cs typeface="Courier New" panose="02070309020205020404" pitchFamily="49" charset="0"/>
              </a:rPr>
              <a:t>Shapiro-Wilk normality test data: </a:t>
            </a:r>
          </a:p>
          <a:p>
            <a:pPr marL="76200" indent="0">
              <a:buNone/>
            </a:pPr>
            <a:r>
              <a:rPr lang="en-US" sz="1000" b="1" dirty="0">
                <a:solidFill>
                  <a:srgbClr val="FF0000"/>
                </a:solidFill>
                <a:latin typeface="Courier New" panose="02070309020205020404" pitchFamily="49" charset="0"/>
                <a:cs typeface="Courier New" panose="02070309020205020404" pitchFamily="49" charset="0"/>
              </a:rPr>
              <a:t>&gt;shapiro.test(z)</a:t>
            </a:r>
            <a:r>
              <a:rPr lang="en-US" sz="1000" b="1" dirty="0">
                <a:latin typeface="Courier New" panose="02070309020205020404" pitchFamily="49" charset="0"/>
                <a:cs typeface="Courier New" panose="02070309020205020404" pitchFamily="49" charset="0"/>
              </a:rPr>
              <a:t>	</a:t>
            </a:r>
          </a:p>
          <a:p>
            <a:pPr marL="76200" indent="0">
              <a:buNone/>
            </a:pPr>
            <a:r>
              <a:rPr lang="en-US" sz="1000" b="1" dirty="0">
                <a:solidFill>
                  <a:srgbClr val="7030A0"/>
                </a:solidFill>
                <a:latin typeface="Courier New" panose="02070309020205020404" pitchFamily="49" charset="0"/>
                <a:cs typeface="Courier New" panose="02070309020205020404" pitchFamily="49" charset="0"/>
              </a:rPr>
              <a:t>&gt;z = 0.91842, p-value = 0.344</a:t>
            </a:r>
          </a:p>
          <a:p>
            <a:pPr marL="76200" indent="0">
              <a:buNone/>
            </a:pPr>
            <a:r>
              <a:rPr lang="en-US" sz="1000" dirty="0">
                <a:solidFill>
                  <a:srgbClr val="002060"/>
                </a:solidFill>
                <a:latin typeface="Inter-Regular" panose="020B0604020202020204" charset="0"/>
                <a:ea typeface="Inter-Regular" panose="020B0604020202020204" charset="0"/>
                <a:cs typeface="Courier New" panose="02070309020205020404" pitchFamily="49" charset="0"/>
              </a:rPr>
              <a:t>Since p-value &gt;0.05 we can say that differences are normally distributed with 95% Confidence interval.</a:t>
            </a:r>
          </a:p>
          <a:p>
            <a:pPr marL="76200" indent="0">
              <a:buNone/>
            </a:pPr>
            <a:r>
              <a:rPr lang="en-US" sz="1000" dirty="0">
                <a:solidFill>
                  <a:srgbClr val="002060"/>
                </a:solidFill>
                <a:latin typeface="Inter-Regular" panose="020B0604020202020204" charset="0"/>
                <a:ea typeface="Inter-Regular" panose="020B0604020202020204" charset="0"/>
                <a:cs typeface="Courier New" panose="02070309020205020404" pitchFamily="49" charset="0"/>
              </a:rPr>
              <a:t>To test under H0:z=0</a:t>
            </a:r>
          </a:p>
          <a:p>
            <a:pPr marL="76200" indent="0">
              <a:buNone/>
            </a:pPr>
            <a:r>
              <a:rPr lang="en-US" sz="1000" dirty="0">
                <a:solidFill>
                  <a:srgbClr val="002060"/>
                </a:solidFill>
                <a:latin typeface="Inter-Regular" panose="020B0604020202020204" charset="0"/>
                <a:ea typeface="Inter-Regular" panose="020B0604020202020204" charset="0"/>
                <a:cs typeface="Courier New" panose="02070309020205020404" pitchFamily="49" charset="0"/>
              </a:rPr>
              <a:t>VS                     H1:z&lt;0</a:t>
            </a:r>
          </a:p>
        </p:txBody>
      </p:sp>
      <p:sp>
        <p:nvSpPr>
          <p:cNvPr id="5" name="TextBox 4">
            <a:extLst>
              <a:ext uri="{FF2B5EF4-FFF2-40B4-BE49-F238E27FC236}">
                <a16:creationId xmlns:a16="http://schemas.microsoft.com/office/drawing/2014/main" id="{6809B8F9-2021-4EB5-811F-86A308A36EDC}"/>
              </a:ext>
            </a:extLst>
          </p:cNvPr>
          <p:cNvSpPr txBox="1"/>
          <p:nvPr/>
        </p:nvSpPr>
        <p:spPr>
          <a:xfrm>
            <a:off x="694661" y="106326"/>
            <a:ext cx="7194697" cy="400110"/>
          </a:xfrm>
          <a:prstGeom prst="rect">
            <a:avLst/>
          </a:prstGeom>
          <a:noFill/>
        </p:spPr>
        <p:txBody>
          <a:bodyPr wrap="square" rtlCol="0">
            <a:spAutoFit/>
          </a:bodyPr>
          <a:lstStyle/>
          <a:p>
            <a:pPr algn="ctr"/>
            <a:r>
              <a:rPr lang="en-US" sz="2000" b="1" dirty="0">
                <a:solidFill>
                  <a:srgbClr val="0070C0"/>
                </a:solidFill>
              </a:rPr>
              <a:t>Paired t-test</a:t>
            </a:r>
          </a:p>
        </p:txBody>
      </p:sp>
    </p:spTree>
    <p:extLst>
      <p:ext uri="{BB962C8B-B14F-4D97-AF65-F5344CB8AC3E}">
        <p14:creationId xmlns:p14="http://schemas.microsoft.com/office/powerpoint/2010/main" val="2299027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Text Placeholder 2">
                <a:extLst>
                  <a:ext uri="{FF2B5EF4-FFF2-40B4-BE49-F238E27FC236}">
                    <a16:creationId xmlns:a16="http://schemas.microsoft.com/office/drawing/2014/main" id="{15993D36-608E-40D7-A858-90451730B97E}"/>
                  </a:ext>
                </a:extLst>
              </p:cNvPr>
              <p:cNvSpPr>
                <a:spLocks noGrp="1"/>
              </p:cNvSpPr>
              <p:nvPr>
                <p:ph type="body" idx="1"/>
              </p:nvPr>
            </p:nvSpPr>
            <p:spPr>
              <a:xfrm>
                <a:off x="143378" y="280857"/>
                <a:ext cx="5516204" cy="3819872"/>
              </a:xfrm>
            </p:spPr>
            <p:txBody>
              <a:bodyPr/>
              <a:lstStyle/>
              <a:p>
                <a:pPr marL="76200" indent="0">
                  <a:buNone/>
                </a:pPr>
                <a:r>
                  <a:rPr lang="en-US" sz="1000" b="1" dirty="0">
                    <a:solidFill>
                      <a:srgbClr val="FF0000"/>
                    </a:solidFill>
                    <a:latin typeface="Courier New" panose="02070309020205020404" pitchFamily="49" charset="0"/>
                    <a:cs typeface="Courier New" panose="02070309020205020404" pitchFamily="49" charset="0"/>
                  </a:rPr>
                  <a:t>&gt; t.test(x,y, paired = TRUE, alternative = “less")	</a:t>
                </a:r>
              </a:p>
              <a:p>
                <a:pPr marL="76200" indent="0">
                  <a:buNone/>
                </a:pPr>
                <a:r>
                  <a:rPr lang="en-US" sz="1000" b="1" dirty="0">
                    <a:solidFill>
                      <a:srgbClr val="7030A0"/>
                    </a:solidFill>
                    <a:latin typeface="Courier New" panose="02070309020205020404" pitchFamily="49" charset="0"/>
                    <a:cs typeface="Courier New" panose="02070309020205020404" pitchFamily="49" charset="0"/>
                  </a:rPr>
                  <a:t>Paired t-test data:  x and y</a:t>
                </a:r>
              </a:p>
              <a:p>
                <a:pPr marL="76200" indent="0">
                  <a:buNone/>
                </a:pPr>
                <a:r>
                  <a:rPr lang="en-US" sz="1000" b="1" dirty="0">
                    <a:solidFill>
                      <a:srgbClr val="7030A0"/>
                    </a:solidFill>
                    <a:latin typeface="Courier New" panose="02070309020205020404" pitchFamily="49" charset="0"/>
                    <a:cs typeface="Courier New" panose="02070309020205020404" pitchFamily="49" charset="0"/>
                  </a:rPr>
                  <a:t>t= 6.6443, df = 9, p-value = 1</a:t>
                </a:r>
              </a:p>
              <a:p>
                <a:pPr marL="76200" indent="0">
                  <a:buNone/>
                </a:pPr>
                <a:r>
                  <a:rPr lang="en-US" sz="1000" b="1" dirty="0">
                    <a:solidFill>
                      <a:srgbClr val="7030A0"/>
                    </a:solidFill>
                    <a:latin typeface="Courier New" panose="02070309020205020404" pitchFamily="49" charset="0"/>
                    <a:cs typeface="Courier New" panose="02070309020205020404" pitchFamily="49" charset="0"/>
                  </a:rPr>
                  <a:t>alternative hypothesis: true difference in means is greater</a:t>
                </a:r>
              </a:p>
              <a:p>
                <a:pPr marL="76200" indent="0">
                  <a:buNone/>
                </a:pPr>
                <a:r>
                  <a:rPr lang="en-US" sz="1000" b="1" dirty="0">
                    <a:solidFill>
                      <a:srgbClr val="7030A0"/>
                    </a:solidFill>
                    <a:latin typeface="Courier New" panose="02070309020205020404" pitchFamily="49" charset="0"/>
                    <a:cs typeface="Courier New" panose="02070309020205020404" pitchFamily="49" charset="0"/>
                  </a:rPr>
                  <a:t> than 0.95 percent </a:t>
                </a:r>
              </a:p>
              <a:p>
                <a:pPr marL="76200" indent="0">
                  <a:buNone/>
                </a:pPr>
                <a:r>
                  <a:rPr lang="en-US" sz="1000" b="1" dirty="0">
                    <a:solidFill>
                      <a:srgbClr val="7030A0"/>
                    </a:solidFill>
                    <a:latin typeface="Courier New" panose="02070309020205020404" pitchFamily="49" charset="0"/>
                    <a:cs typeface="Courier New" panose="02070309020205020404" pitchFamily="49" charset="0"/>
                  </a:rPr>
                  <a:t>confidence interval: -Inf 7.322601 </a:t>
                </a:r>
              </a:p>
              <a:p>
                <a:pPr marL="76200" indent="0">
                  <a:buNone/>
                </a:pPr>
                <a:r>
                  <a:rPr lang="en-US" sz="1000" b="1" dirty="0">
                    <a:solidFill>
                      <a:srgbClr val="7030A0"/>
                    </a:solidFill>
                    <a:latin typeface="Courier New" panose="02070309020205020404" pitchFamily="49" charset="0"/>
                    <a:cs typeface="Courier New" panose="02070309020205020404" pitchFamily="49" charset="0"/>
                  </a:rPr>
                  <a:t>sample estimates: </a:t>
                </a:r>
              </a:p>
              <a:p>
                <a:pPr marL="76200" indent="0">
                  <a:buNone/>
                </a:pPr>
                <a:r>
                  <a:rPr lang="en-US" sz="1000" b="1" dirty="0">
                    <a:solidFill>
                      <a:srgbClr val="7030A0"/>
                    </a:solidFill>
                    <a:latin typeface="Courier New" panose="02070309020205020404" pitchFamily="49" charset="0"/>
                    <a:cs typeface="Courier New" panose="02070309020205020404" pitchFamily="49" charset="0"/>
                  </a:rPr>
                  <a:t>mean of the differences 5.7392</a:t>
                </a:r>
              </a:p>
              <a:p>
                <a:pPr marL="76200" indent="0">
                  <a:buNone/>
                </a:pPr>
                <a:r>
                  <a:rPr lang="en-US" sz="1000" b="1" u="sng" dirty="0">
                    <a:solidFill>
                      <a:srgbClr val="002060"/>
                    </a:solidFill>
                    <a:latin typeface="Inter-Regular" panose="020B0604020202020204" charset="0"/>
                    <a:ea typeface="Inter-Regular" panose="020B0604020202020204" charset="0"/>
                    <a:cs typeface="Courier New" panose="02070309020205020404" pitchFamily="49" charset="0"/>
                  </a:rPr>
                  <a:t>Decision: </a:t>
                </a:r>
                <a:r>
                  <a:rPr lang="en-US" sz="1000" b="1" dirty="0">
                    <a:solidFill>
                      <a:srgbClr val="002060"/>
                    </a:solidFill>
                    <a:latin typeface="Inter-Regular" panose="020B0604020202020204" charset="0"/>
                    <a:ea typeface="Inter-Regular" panose="020B0604020202020204" charset="0"/>
                    <a:cs typeface="Courier New" panose="02070309020205020404" pitchFamily="49" charset="0"/>
                  </a:rPr>
                  <a:t>Reject H0 if p-value &lt; </a:t>
                </a:r>
                <a14:m>
                  <m:oMath xmlns:m="http://schemas.openxmlformats.org/officeDocument/2006/math">
                    <m:r>
                      <a:rPr lang="en-US" sz="1400" b="1" i="1" dirty="0" smtClean="0">
                        <a:solidFill>
                          <a:srgbClr val="002060"/>
                        </a:solidFill>
                        <a:latin typeface="Cambria Math" panose="02040503050406030204" pitchFamily="18" charset="0"/>
                      </a:rPr>
                      <m:t>𝛼</m:t>
                    </m:r>
                  </m:oMath>
                </a14:m>
                <a:r>
                  <a:rPr lang="en-US" sz="1050" b="1" dirty="0">
                    <a:solidFill>
                      <a:srgbClr val="002060"/>
                    </a:solidFill>
                    <a:latin typeface="Inter-Regular" panose="020B0604020202020204" charset="0"/>
                    <a:ea typeface="Inter-Regular" panose="020B0604020202020204" charset="0"/>
                    <a:cs typeface="Courier New" panose="02070309020205020404" pitchFamily="49" charset="0"/>
                  </a:rPr>
                  <a:t> </a:t>
                </a:r>
                <a:r>
                  <a:rPr lang="en-US" sz="1000" b="1" dirty="0">
                    <a:solidFill>
                      <a:srgbClr val="002060"/>
                    </a:solidFill>
                    <a:latin typeface="Inter-Regular" panose="020B0604020202020204" charset="0"/>
                    <a:ea typeface="Inter-Regular" panose="020B0604020202020204" charset="0"/>
                    <a:cs typeface="Courier New" panose="02070309020205020404" pitchFamily="49" charset="0"/>
                  </a:rPr>
                  <a:t>otherwise, Accept H0.</a:t>
                </a:r>
              </a:p>
              <a:p>
                <a:pPr marL="76200" indent="0">
                  <a:buNone/>
                </a:pPr>
                <a:r>
                  <a:rPr lang="en-US" sz="1000" b="1" dirty="0">
                    <a:solidFill>
                      <a:srgbClr val="002060"/>
                    </a:solidFill>
                    <a:latin typeface="Inter-Regular" panose="020B0604020202020204" charset="0"/>
                    <a:ea typeface="Inter-Regular" panose="020B0604020202020204" charset="0"/>
                    <a:cs typeface="Courier New" panose="02070309020205020404" pitchFamily="49" charset="0"/>
                  </a:rPr>
                  <a:t>Here, p-value = 1 &gt; 0.05 .</a:t>
                </a:r>
              </a:p>
              <a:p>
                <a:pPr marL="76200" indent="0">
                  <a:buNone/>
                </a:pPr>
                <a:r>
                  <a:rPr lang="en-US" sz="1000" b="1" dirty="0">
                    <a:solidFill>
                      <a:srgbClr val="002060"/>
                    </a:solidFill>
                    <a:latin typeface="Inter-Regular" panose="020B0604020202020204" charset="0"/>
                    <a:ea typeface="Inter-Regular" panose="020B0604020202020204" charset="0"/>
                    <a:cs typeface="Courier New" panose="02070309020205020404" pitchFamily="49" charset="0"/>
                  </a:rPr>
                  <a:t>So </a:t>
                </a:r>
                <a:r>
                  <a:rPr lang="en-US" sz="1000" b="1">
                    <a:solidFill>
                      <a:srgbClr val="002060"/>
                    </a:solidFill>
                    <a:latin typeface="Inter-Regular" panose="020B0604020202020204" charset="0"/>
                    <a:ea typeface="Inter-Regular" panose="020B0604020202020204" charset="0"/>
                    <a:cs typeface="Courier New" panose="02070309020205020404" pitchFamily="49" charset="0"/>
                  </a:rPr>
                  <a:t>we accept </a:t>
                </a:r>
                <a:r>
                  <a:rPr lang="en-US" sz="1000" b="1" dirty="0">
                    <a:solidFill>
                      <a:srgbClr val="002060"/>
                    </a:solidFill>
                    <a:latin typeface="Inter-Regular" panose="020B0604020202020204" charset="0"/>
                    <a:ea typeface="Inter-Regular" panose="020B0604020202020204" charset="0"/>
                    <a:cs typeface="Courier New" panose="02070309020205020404" pitchFamily="49" charset="0"/>
                  </a:rPr>
                  <a:t>null hypothesis at 5% level of significance</a:t>
                </a:r>
                <a:r>
                  <a:rPr lang="en-US" sz="1000" b="1" dirty="0">
                    <a:solidFill>
                      <a:srgbClr val="7030A0"/>
                    </a:solidFill>
                    <a:latin typeface="Courier New" panose="02070309020205020404" pitchFamily="49" charset="0"/>
                    <a:cs typeface="Courier New" panose="02070309020205020404" pitchFamily="49" charset="0"/>
                  </a:rPr>
                  <a:t>.</a:t>
                </a:r>
              </a:p>
              <a:p>
                <a:pPr marL="76200" indent="0">
                  <a:buNone/>
                </a:pPr>
                <a:r>
                  <a:rPr lang="en-US" sz="1000" b="1" u="sng" dirty="0">
                    <a:solidFill>
                      <a:srgbClr val="002060"/>
                    </a:solidFill>
                    <a:latin typeface="Inter-Regular" panose="020B0604020202020204" charset="0"/>
                    <a:ea typeface="Inter-Regular" panose="020B0604020202020204" charset="0"/>
                    <a:cs typeface="Courier New" panose="02070309020205020404" pitchFamily="49" charset="0"/>
                  </a:rPr>
                  <a:t>Interpretation:</a:t>
                </a:r>
                <a:r>
                  <a:rPr lang="en-US" sz="1000" dirty="0">
                    <a:solidFill>
                      <a:srgbClr val="002060"/>
                    </a:solidFill>
                    <a:latin typeface="Inter-Regular" panose="020B0604020202020204" charset="0"/>
                    <a:ea typeface="Inter-Regular" panose="020B0604020202020204" charset="0"/>
                    <a:cs typeface="Courier New" panose="02070309020205020404" pitchFamily="49" charset="0"/>
                  </a:rPr>
                  <a:t> Female labour force after introducing  MNREGA Scheme has</a:t>
                </a:r>
              </a:p>
              <a:p>
                <a:pPr marL="76200" indent="0">
                  <a:buNone/>
                </a:pPr>
                <a:r>
                  <a:rPr lang="en-US" sz="1000" dirty="0">
                    <a:solidFill>
                      <a:srgbClr val="002060"/>
                    </a:solidFill>
                    <a:latin typeface="Inter-Regular" panose="020B0604020202020204" charset="0"/>
                    <a:ea typeface="Inter-Regular" panose="020B0604020202020204" charset="0"/>
                    <a:cs typeface="Courier New" panose="02070309020205020404" pitchFamily="49" charset="0"/>
                  </a:rPr>
                  <a:t> not increased significantly.</a:t>
                </a:r>
              </a:p>
              <a:p>
                <a:pPr marL="76200" indent="0">
                  <a:buNone/>
                </a:pPr>
                <a:endParaRPr lang="en-US" dirty="0"/>
              </a:p>
            </p:txBody>
          </p:sp>
        </mc:Choice>
        <mc:Fallback>
          <p:sp>
            <p:nvSpPr>
              <p:cNvPr id="3" name="Text Placeholder 2">
                <a:extLst>
                  <a:ext uri="{FF2B5EF4-FFF2-40B4-BE49-F238E27FC236}">
                    <a16:creationId xmlns:a16="http://schemas.microsoft.com/office/drawing/2014/main" id="{15993D36-608E-40D7-A858-90451730B97E}"/>
                  </a:ext>
                </a:extLst>
              </p:cNvPr>
              <p:cNvSpPr>
                <a:spLocks noGrp="1" noRot="1" noChangeAspect="1" noMove="1" noResize="1" noEditPoints="1" noAdjustHandles="1" noChangeArrowheads="1" noChangeShapeType="1" noTextEdit="1"/>
              </p:cNvSpPr>
              <p:nvPr>
                <p:ph type="body" idx="1"/>
              </p:nvPr>
            </p:nvSpPr>
            <p:spPr>
              <a:xfrm>
                <a:off x="143378" y="280857"/>
                <a:ext cx="5516204" cy="3819872"/>
              </a:xfrm>
              <a:blipFill>
                <a:blip r:embed="rId2"/>
                <a:stretch>
                  <a:fillRect/>
                </a:stretch>
              </a:blipFill>
            </p:spPr>
            <p:txBody>
              <a:bodyPr/>
              <a:lstStyle/>
              <a:p>
                <a:r>
                  <a:rPr lang="en-IN">
                    <a:noFill/>
                  </a:rPr>
                  <a:t> </a:t>
                </a:r>
              </a:p>
            </p:txBody>
          </p:sp>
        </mc:Fallback>
      </mc:AlternateContent>
      <p:pic>
        <p:nvPicPr>
          <p:cNvPr id="2" name="Picture 1">
            <a:extLst>
              <a:ext uri="{FF2B5EF4-FFF2-40B4-BE49-F238E27FC236}">
                <a16:creationId xmlns:a16="http://schemas.microsoft.com/office/drawing/2014/main" id="{C15B5D6E-A729-4C43-B42D-108714CF7AE2}"/>
              </a:ext>
            </a:extLst>
          </p:cNvPr>
          <p:cNvPicPr>
            <a:picLocks noChangeAspect="1"/>
          </p:cNvPicPr>
          <p:nvPr/>
        </p:nvPicPr>
        <p:blipFill>
          <a:blip r:embed="rId3"/>
          <a:stretch>
            <a:fillRect/>
          </a:stretch>
        </p:blipFill>
        <p:spPr>
          <a:xfrm>
            <a:off x="4919330" y="0"/>
            <a:ext cx="4224671" cy="5071981"/>
          </a:xfrm>
          <a:prstGeom prst="rect">
            <a:avLst/>
          </a:prstGeom>
        </p:spPr>
      </p:pic>
    </p:spTree>
    <p:extLst>
      <p:ext uri="{BB962C8B-B14F-4D97-AF65-F5344CB8AC3E}">
        <p14:creationId xmlns:p14="http://schemas.microsoft.com/office/powerpoint/2010/main" val="1349595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Shape 54"/>
        <p:cNvGrpSpPr/>
        <p:nvPr/>
      </p:nvGrpSpPr>
      <p:grpSpPr>
        <a:xfrm>
          <a:off x="0" y="0"/>
          <a:ext cx="0" cy="0"/>
          <a:chOff x="0" y="0"/>
          <a:chExt cx="0" cy="0"/>
        </a:xfrm>
      </p:grpSpPr>
      <p:grpSp>
        <p:nvGrpSpPr>
          <p:cNvPr id="55" name="Google Shape;55;p15"/>
          <p:cNvGrpSpPr/>
          <p:nvPr/>
        </p:nvGrpSpPr>
        <p:grpSpPr>
          <a:xfrm>
            <a:off x="4597738" y="2831221"/>
            <a:ext cx="4272794" cy="1741030"/>
            <a:chOff x="4597738" y="2832537"/>
            <a:chExt cx="3836113" cy="1471338"/>
          </a:xfrm>
        </p:grpSpPr>
        <p:sp>
          <p:nvSpPr>
            <p:cNvPr id="56" name="Google Shape;56;p15"/>
            <p:cNvSpPr/>
            <p:nvPr/>
          </p:nvSpPr>
          <p:spPr>
            <a:xfrm>
              <a:off x="4597738" y="2856225"/>
              <a:ext cx="1146000" cy="1146000"/>
            </a:xfrm>
            <a:custGeom>
              <a:avLst/>
              <a:gdLst/>
              <a:ahLst/>
              <a:cxnLst/>
              <a:rect l="l" t="t" r="r" b="b"/>
              <a:pathLst>
                <a:path w="45840" h="45840" extrusionOk="0">
                  <a:moveTo>
                    <a:pt x="17431" y="1"/>
                  </a:moveTo>
                  <a:cubicBezTo>
                    <a:pt x="16920" y="9407"/>
                    <a:pt x="9395" y="16932"/>
                    <a:pt x="1" y="17444"/>
                  </a:cubicBezTo>
                  <a:lnTo>
                    <a:pt x="1" y="45840"/>
                  </a:lnTo>
                  <a:cubicBezTo>
                    <a:pt x="12514" y="45578"/>
                    <a:pt x="23825" y="40399"/>
                    <a:pt x="32076" y="32160"/>
                  </a:cubicBezTo>
                  <a:cubicBezTo>
                    <a:pt x="31409" y="30755"/>
                    <a:pt x="31028" y="29183"/>
                    <a:pt x="31028" y="27528"/>
                  </a:cubicBezTo>
                  <a:cubicBezTo>
                    <a:pt x="31028" y="21599"/>
                    <a:pt x="35839" y="16789"/>
                    <a:pt x="41768" y="16789"/>
                  </a:cubicBezTo>
                  <a:cubicBezTo>
                    <a:pt x="41958" y="16789"/>
                    <a:pt x="42149" y="16801"/>
                    <a:pt x="42339" y="16801"/>
                  </a:cubicBezTo>
                  <a:cubicBezTo>
                    <a:pt x="44471" y="11609"/>
                    <a:pt x="45709" y="5942"/>
                    <a:pt x="45840" y="1"/>
                  </a:cubicBezTo>
                  <a:close/>
                </a:path>
              </a:pathLst>
            </a:custGeom>
            <a:solidFill>
              <a:srgbClr val="5EB2FC"/>
            </a:solidFill>
            <a:ln>
              <a:noFill/>
            </a:ln>
          </p:spPr>
          <p:txBody>
            <a:bodyPr spcFirstLastPara="1" wrap="square" lIns="91425" tIns="91425" rIns="182875" bIns="91425" anchor="ctr" anchorCtr="0">
              <a:noAutofit/>
            </a:bodyPr>
            <a:lstStyle/>
            <a:p>
              <a:pPr marL="0" lvl="0" indent="0" algn="ctr" rtl="0">
                <a:spcBef>
                  <a:spcPts val="0"/>
                </a:spcBef>
                <a:spcAft>
                  <a:spcPts val="0"/>
                </a:spcAft>
                <a:buClr>
                  <a:schemeClr val="dk1"/>
                </a:buClr>
                <a:buSzPts val="1100"/>
                <a:buFont typeface="Arial"/>
                <a:buNone/>
              </a:pPr>
              <a:r>
                <a:rPr lang="en" sz="3000">
                  <a:solidFill>
                    <a:srgbClr val="FFFFFF"/>
                  </a:solidFill>
                  <a:latin typeface="Fira Sans Extra Condensed Medium"/>
                  <a:ea typeface="Fira Sans Extra Condensed Medium"/>
                  <a:cs typeface="Fira Sans Extra Condensed Medium"/>
                  <a:sym typeface="Fira Sans Extra Condensed Medium"/>
                </a:rPr>
                <a:t>T</a:t>
              </a:r>
              <a:endParaRPr sz="3000">
                <a:solidFill>
                  <a:srgbClr val="FFFFFF"/>
                </a:solidFill>
              </a:endParaRPr>
            </a:p>
          </p:txBody>
        </p:sp>
        <p:sp>
          <p:nvSpPr>
            <p:cNvPr id="57" name="Google Shape;57;p15"/>
            <p:cNvSpPr/>
            <p:nvPr/>
          </p:nvSpPr>
          <p:spPr>
            <a:xfrm>
              <a:off x="5425538" y="3328025"/>
              <a:ext cx="432800" cy="432800"/>
            </a:xfrm>
            <a:custGeom>
              <a:avLst/>
              <a:gdLst/>
              <a:ahLst/>
              <a:cxnLst/>
              <a:rect l="l" t="t" r="r" b="b"/>
              <a:pathLst>
                <a:path w="17312" h="17312" extrusionOk="0">
                  <a:moveTo>
                    <a:pt x="8656" y="0"/>
                  </a:moveTo>
                  <a:cubicBezTo>
                    <a:pt x="3870" y="0"/>
                    <a:pt x="0" y="3870"/>
                    <a:pt x="0" y="8656"/>
                  </a:cubicBezTo>
                  <a:cubicBezTo>
                    <a:pt x="0" y="13442"/>
                    <a:pt x="3870" y="17312"/>
                    <a:pt x="8656" y="17312"/>
                  </a:cubicBezTo>
                  <a:cubicBezTo>
                    <a:pt x="13442" y="17312"/>
                    <a:pt x="17312" y="13442"/>
                    <a:pt x="17312" y="8656"/>
                  </a:cubicBezTo>
                  <a:cubicBezTo>
                    <a:pt x="17312" y="3870"/>
                    <a:pt x="13442" y="0"/>
                    <a:pt x="8656" y="0"/>
                  </a:cubicBezTo>
                  <a:close/>
                </a:path>
              </a:pathLst>
            </a:custGeom>
            <a:solidFill>
              <a:srgbClr val="5EB2F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8;p15"/>
            <p:cNvSpPr/>
            <p:nvPr/>
          </p:nvSpPr>
          <p:spPr>
            <a:xfrm>
              <a:off x="5870126" y="2879880"/>
              <a:ext cx="2563725" cy="1369870"/>
            </a:xfrm>
            <a:prstGeom prst="roundRect">
              <a:avLst>
                <a:gd name="adj" fmla="val 7657"/>
              </a:avLst>
            </a:prstGeom>
            <a:solidFill>
              <a:srgbClr val="F3F3F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9" name="Google Shape;59;p15"/>
            <p:cNvGrpSpPr/>
            <p:nvPr/>
          </p:nvGrpSpPr>
          <p:grpSpPr>
            <a:xfrm>
              <a:off x="6186083" y="2832537"/>
              <a:ext cx="2083304" cy="1471338"/>
              <a:chOff x="6165558" y="2756337"/>
              <a:chExt cx="2083304" cy="1471338"/>
            </a:xfrm>
          </p:grpSpPr>
          <p:sp>
            <p:nvSpPr>
              <p:cNvPr id="60" name="Google Shape;60;p15"/>
              <p:cNvSpPr txBox="1"/>
              <p:nvPr/>
            </p:nvSpPr>
            <p:spPr>
              <a:xfrm>
                <a:off x="6165558" y="2756337"/>
                <a:ext cx="1884600" cy="4296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2200" b="1" dirty="0">
                    <a:solidFill>
                      <a:schemeClr val="accent1"/>
                    </a:solidFill>
                    <a:latin typeface="Fira Sans Extra Condensed Medium"/>
                    <a:ea typeface="Fira Sans Extra Condensed Medium"/>
                    <a:cs typeface="Fira Sans Extra Condensed Medium"/>
                    <a:sym typeface="Fira Sans Extra Condensed Medium"/>
                  </a:rPr>
                  <a:t>Threats</a:t>
                </a:r>
                <a:endParaRPr sz="2200" b="1" dirty="0">
                  <a:solidFill>
                    <a:schemeClr val="accent1"/>
                  </a:solidFill>
                  <a:latin typeface="Fira Sans Extra Condensed Medium"/>
                  <a:ea typeface="Fira Sans Extra Condensed Medium"/>
                  <a:cs typeface="Fira Sans Extra Condensed Medium"/>
                  <a:sym typeface="Fira Sans Extra Condensed Medium"/>
                </a:endParaRPr>
              </a:p>
            </p:txBody>
          </p:sp>
          <p:sp>
            <p:nvSpPr>
              <p:cNvPr id="61" name="Google Shape;61;p15"/>
              <p:cNvSpPr txBox="1"/>
              <p:nvPr/>
            </p:nvSpPr>
            <p:spPr>
              <a:xfrm>
                <a:off x="6311196" y="3185937"/>
                <a:ext cx="1937666" cy="1041738"/>
              </a:xfrm>
              <a:prstGeom prst="rect">
                <a:avLst/>
              </a:prstGeom>
              <a:noFill/>
              <a:ln>
                <a:noFill/>
              </a:ln>
            </p:spPr>
            <p:txBody>
              <a:bodyPr spcFirstLastPara="1" wrap="square" lIns="91425" tIns="91425" rIns="91425" bIns="91425" anchor="ctr" anchorCtr="0">
                <a:noAutofit/>
              </a:bodyPr>
              <a:lstStyle/>
              <a:p>
                <a:pPr marL="171450" lvl="0" indent="-171450" algn="l"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High Unemployment Rate</a:t>
                </a:r>
              </a:p>
              <a:p>
                <a:pPr marL="171450" lvl="0" indent="-171450" algn="l"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Inferior FLPR</a:t>
                </a:r>
              </a:p>
              <a:p>
                <a:pPr marL="171450" indent="-171450">
                  <a:buFont typeface="Arial" panose="020B0604020202020204" pitchFamily="34" charset="0"/>
                  <a:buChar char="•"/>
                </a:pPr>
                <a:r>
                  <a:rPr lang="en-US" sz="1100" dirty="0">
                    <a:solidFill>
                      <a:srgbClr val="434343"/>
                    </a:solidFill>
                    <a:latin typeface="Roboto"/>
                    <a:ea typeface="Roboto"/>
                    <a:cs typeface="Roboto"/>
                    <a:sym typeface="Roboto"/>
                  </a:rPr>
                  <a:t>SDG-5 &amp; 8 a Far Fetched Goal</a:t>
                </a:r>
                <a:endParaRPr lang="en-IN" sz="1100" dirty="0">
                  <a:solidFill>
                    <a:srgbClr val="434343"/>
                  </a:solidFill>
                  <a:latin typeface="Roboto"/>
                  <a:ea typeface="Roboto"/>
                  <a:cs typeface="Roboto"/>
                  <a:sym typeface="Roboto"/>
                </a:endParaRPr>
              </a:p>
              <a:p>
                <a:pPr marL="171450" lvl="0" indent="-171450" algn="l"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Positive Factors Having Negative Impact</a:t>
                </a:r>
              </a:p>
            </p:txBody>
          </p:sp>
        </p:grpSp>
      </p:grpSp>
      <p:grpSp>
        <p:nvGrpSpPr>
          <p:cNvPr id="62" name="Google Shape;62;p15"/>
          <p:cNvGrpSpPr/>
          <p:nvPr/>
        </p:nvGrpSpPr>
        <p:grpSpPr>
          <a:xfrm>
            <a:off x="4597738" y="1044987"/>
            <a:ext cx="4272794" cy="1760064"/>
            <a:chOff x="4597738" y="1335400"/>
            <a:chExt cx="3836112" cy="1469650"/>
          </a:xfrm>
        </p:grpSpPr>
        <p:sp>
          <p:nvSpPr>
            <p:cNvPr id="63" name="Google Shape;63;p15"/>
            <p:cNvSpPr/>
            <p:nvPr/>
          </p:nvSpPr>
          <p:spPr>
            <a:xfrm>
              <a:off x="4597738" y="1658775"/>
              <a:ext cx="1146000" cy="1146275"/>
            </a:xfrm>
            <a:custGeom>
              <a:avLst/>
              <a:gdLst/>
              <a:ahLst/>
              <a:cxnLst/>
              <a:rect l="l" t="t" r="r" b="b"/>
              <a:pathLst>
                <a:path w="45840" h="45851" extrusionOk="0">
                  <a:moveTo>
                    <a:pt x="1" y="0"/>
                  </a:moveTo>
                  <a:lnTo>
                    <a:pt x="1" y="28408"/>
                  </a:lnTo>
                  <a:cubicBezTo>
                    <a:pt x="9395" y="28920"/>
                    <a:pt x="16920" y="36445"/>
                    <a:pt x="17431" y="45851"/>
                  </a:cubicBezTo>
                  <a:lnTo>
                    <a:pt x="45840" y="45851"/>
                  </a:lnTo>
                  <a:cubicBezTo>
                    <a:pt x="45709" y="39910"/>
                    <a:pt x="44471" y="34242"/>
                    <a:pt x="42339" y="29039"/>
                  </a:cubicBezTo>
                  <a:cubicBezTo>
                    <a:pt x="42149" y="29051"/>
                    <a:pt x="41958" y="29063"/>
                    <a:pt x="41768" y="29063"/>
                  </a:cubicBezTo>
                  <a:cubicBezTo>
                    <a:pt x="35839" y="29063"/>
                    <a:pt x="31028" y="24253"/>
                    <a:pt x="31028" y="18324"/>
                  </a:cubicBezTo>
                  <a:cubicBezTo>
                    <a:pt x="31028" y="16669"/>
                    <a:pt x="31409" y="15097"/>
                    <a:pt x="32076" y="13692"/>
                  </a:cubicBezTo>
                  <a:cubicBezTo>
                    <a:pt x="23825" y="5453"/>
                    <a:pt x="12514" y="274"/>
                    <a:pt x="1" y="0"/>
                  </a:cubicBezTo>
                  <a:close/>
                </a:path>
              </a:pathLst>
            </a:custGeom>
            <a:solidFill>
              <a:srgbClr val="69E781"/>
            </a:solidFill>
            <a:ln>
              <a:noFill/>
            </a:ln>
          </p:spPr>
          <p:txBody>
            <a:bodyPr spcFirstLastPara="1" wrap="square" lIns="91425" tIns="91425" rIns="182875" bIns="91425" anchor="ctr" anchorCtr="0">
              <a:noAutofit/>
            </a:bodyPr>
            <a:lstStyle/>
            <a:p>
              <a:pPr marL="0" lvl="0" indent="0" algn="ctr" rtl="0">
                <a:spcBef>
                  <a:spcPts val="0"/>
                </a:spcBef>
                <a:spcAft>
                  <a:spcPts val="0"/>
                </a:spcAft>
                <a:buClr>
                  <a:schemeClr val="dk1"/>
                </a:buClr>
                <a:buSzPts val="1100"/>
                <a:buFont typeface="Arial"/>
                <a:buNone/>
              </a:pPr>
              <a:r>
                <a:rPr lang="en" sz="3000">
                  <a:solidFill>
                    <a:srgbClr val="FFFFFF"/>
                  </a:solidFill>
                  <a:latin typeface="Fira Sans Extra Condensed Medium"/>
                  <a:ea typeface="Fira Sans Extra Condensed Medium"/>
                  <a:cs typeface="Fira Sans Extra Condensed Medium"/>
                  <a:sym typeface="Fira Sans Extra Condensed Medium"/>
                </a:rPr>
                <a:t>W</a:t>
              </a:r>
              <a:endParaRPr sz="3000">
                <a:solidFill>
                  <a:srgbClr val="FFFFFF"/>
                </a:solidFill>
              </a:endParaRPr>
            </a:p>
          </p:txBody>
        </p:sp>
        <p:sp>
          <p:nvSpPr>
            <p:cNvPr id="64" name="Google Shape;64;p15"/>
            <p:cNvSpPr/>
            <p:nvPr/>
          </p:nvSpPr>
          <p:spPr>
            <a:xfrm>
              <a:off x="5421672" y="1951821"/>
              <a:ext cx="432800" cy="381453"/>
            </a:xfrm>
            <a:custGeom>
              <a:avLst/>
              <a:gdLst/>
              <a:ahLst/>
              <a:cxnLst/>
              <a:rect l="l" t="t" r="r" b="b"/>
              <a:pathLst>
                <a:path w="17312" h="17312" extrusionOk="0">
                  <a:moveTo>
                    <a:pt x="8656" y="0"/>
                  </a:moveTo>
                  <a:cubicBezTo>
                    <a:pt x="3870" y="0"/>
                    <a:pt x="0" y="3870"/>
                    <a:pt x="0" y="8656"/>
                  </a:cubicBezTo>
                  <a:cubicBezTo>
                    <a:pt x="0" y="13442"/>
                    <a:pt x="3870" y="17312"/>
                    <a:pt x="8656" y="17312"/>
                  </a:cubicBezTo>
                  <a:cubicBezTo>
                    <a:pt x="13442" y="17312"/>
                    <a:pt x="17312" y="13442"/>
                    <a:pt x="17312" y="8656"/>
                  </a:cubicBezTo>
                  <a:cubicBezTo>
                    <a:pt x="17312" y="3870"/>
                    <a:pt x="13442" y="0"/>
                    <a:pt x="8656" y="0"/>
                  </a:cubicBezTo>
                  <a:close/>
                </a:path>
              </a:pathLst>
            </a:custGeom>
            <a:solidFill>
              <a:srgbClr val="69E7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5" name="Google Shape;65;p15"/>
            <p:cNvSpPr/>
            <p:nvPr/>
          </p:nvSpPr>
          <p:spPr>
            <a:xfrm>
              <a:off x="5858338" y="1391311"/>
              <a:ext cx="2575512" cy="1248140"/>
            </a:xfrm>
            <a:prstGeom prst="roundRect">
              <a:avLst>
                <a:gd name="adj" fmla="val 7657"/>
              </a:avLst>
            </a:prstGeom>
            <a:solidFill>
              <a:srgbClr val="F3F3F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66;p15"/>
            <p:cNvGrpSpPr/>
            <p:nvPr/>
          </p:nvGrpSpPr>
          <p:grpSpPr>
            <a:xfrm>
              <a:off x="6258249" y="1335400"/>
              <a:ext cx="2068777" cy="1159215"/>
              <a:chOff x="6237724" y="1259188"/>
              <a:chExt cx="2068777" cy="1159215"/>
            </a:xfrm>
          </p:grpSpPr>
          <p:sp>
            <p:nvSpPr>
              <p:cNvPr id="67" name="Google Shape;67;p15"/>
              <p:cNvSpPr txBox="1"/>
              <p:nvPr/>
            </p:nvSpPr>
            <p:spPr>
              <a:xfrm>
                <a:off x="6421901" y="1259188"/>
                <a:ext cx="1884600" cy="429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200" b="1" dirty="0">
                    <a:solidFill>
                      <a:schemeClr val="accent3"/>
                    </a:solidFill>
                    <a:latin typeface="Fira Sans Extra Condensed Medium"/>
                    <a:ea typeface="Fira Sans Extra Condensed Medium"/>
                    <a:cs typeface="Fira Sans Extra Condensed Medium"/>
                    <a:sym typeface="Fira Sans Extra Condensed Medium"/>
                  </a:rPr>
                  <a:t>Weaknesses</a:t>
                </a:r>
                <a:endParaRPr sz="2200" b="1" dirty="0">
                  <a:solidFill>
                    <a:schemeClr val="accent3"/>
                  </a:solidFill>
                  <a:latin typeface="Fira Sans Extra Condensed Medium"/>
                  <a:ea typeface="Fira Sans Extra Condensed Medium"/>
                  <a:cs typeface="Fira Sans Extra Condensed Medium"/>
                  <a:sym typeface="Fira Sans Extra Condensed Medium"/>
                </a:endParaRPr>
              </a:p>
            </p:txBody>
          </p:sp>
          <p:sp>
            <p:nvSpPr>
              <p:cNvPr id="68" name="Google Shape;68;p15"/>
              <p:cNvSpPr txBox="1"/>
              <p:nvPr/>
            </p:nvSpPr>
            <p:spPr>
              <a:xfrm>
                <a:off x="6237724" y="1653403"/>
                <a:ext cx="1884600" cy="765000"/>
              </a:xfrm>
              <a:prstGeom prst="rect">
                <a:avLst/>
              </a:prstGeom>
              <a:noFill/>
              <a:ln>
                <a:noFill/>
              </a:ln>
            </p:spPr>
            <p:txBody>
              <a:bodyPr spcFirstLastPara="1" wrap="square" lIns="91425" tIns="91425" rIns="91425" bIns="91425" anchor="ctr" anchorCtr="0">
                <a:noAutofit/>
              </a:bodyPr>
              <a:lstStyle/>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Gender Inequality</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Failure of Govt. Schemes</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Under Utilisation </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Demand Skill Mismatch</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Lack of Security</a:t>
                </a:r>
                <a:endParaRPr sz="1100" dirty="0">
                  <a:solidFill>
                    <a:srgbClr val="434343"/>
                  </a:solidFill>
                  <a:latin typeface="Roboto"/>
                  <a:ea typeface="Roboto"/>
                  <a:cs typeface="Roboto"/>
                  <a:sym typeface="Roboto"/>
                </a:endParaRPr>
              </a:p>
            </p:txBody>
          </p:sp>
        </p:grpSp>
      </p:grpSp>
      <p:grpSp>
        <p:nvGrpSpPr>
          <p:cNvPr id="69" name="Google Shape;69;p15"/>
          <p:cNvGrpSpPr/>
          <p:nvPr/>
        </p:nvGrpSpPr>
        <p:grpSpPr>
          <a:xfrm>
            <a:off x="205563" y="2866165"/>
            <a:ext cx="4340700" cy="1776719"/>
            <a:chOff x="715573" y="2856225"/>
            <a:chExt cx="3830690" cy="1506470"/>
          </a:xfrm>
        </p:grpSpPr>
        <p:sp>
          <p:nvSpPr>
            <p:cNvPr id="70" name="Google Shape;70;p15"/>
            <p:cNvSpPr/>
            <p:nvPr/>
          </p:nvSpPr>
          <p:spPr>
            <a:xfrm>
              <a:off x="3400263" y="2856225"/>
              <a:ext cx="1146000" cy="1146000"/>
            </a:xfrm>
            <a:custGeom>
              <a:avLst/>
              <a:gdLst/>
              <a:ahLst/>
              <a:cxnLst/>
              <a:rect l="l" t="t" r="r" b="b"/>
              <a:pathLst>
                <a:path w="45840" h="45840" extrusionOk="0">
                  <a:moveTo>
                    <a:pt x="1" y="1"/>
                  </a:moveTo>
                  <a:cubicBezTo>
                    <a:pt x="132" y="5942"/>
                    <a:pt x="1358" y="11609"/>
                    <a:pt x="3501" y="16801"/>
                  </a:cubicBezTo>
                  <a:cubicBezTo>
                    <a:pt x="3692" y="16801"/>
                    <a:pt x="3882" y="16789"/>
                    <a:pt x="4073" y="16789"/>
                  </a:cubicBezTo>
                  <a:cubicBezTo>
                    <a:pt x="10002" y="16789"/>
                    <a:pt x="14800" y="21599"/>
                    <a:pt x="14800" y="27528"/>
                  </a:cubicBezTo>
                  <a:cubicBezTo>
                    <a:pt x="14800" y="29183"/>
                    <a:pt x="14431" y="30755"/>
                    <a:pt x="13753" y="32160"/>
                  </a:cubicBezTo>
                  <a:cubicBezTo>
                    <a:pt x="22016" y="40399"/>
                    <a:pt x="33326" y="45578"/>
                    <a:pt x="45840" y="45840"/>
                  </a:cubicBezTo>
                  <a:lnTo>
                    <a:pt x="45840" y="17444"/>
                  </a:lnTo>
                  <a:cubicBezTo>
                    <a:pt x="36446" y="16932"/>
                    <a:pt x="28909" y="9407"/>
                    <a:pt x="28397" y="1"/>
                  </a:cubicBezTo>
                  <a:close/>
                </a:path>
              </a:pathLst>
            </a:custGeom>
            <a:solidFill>
              <a:srgbClr val="4949E7"/>
            </a:solidFill>
            <a:ln>
              <a:noFill/>
            </a:ln>
          </p:spPr>
          <p:txBody>
            <a:bodyPr spcFirstLastPara="1" wrap="square" lIns="182875" tIns="91425" rIns="91425" bIns="91425" anchor="ctr" anchorCtr="0">
              <a:noAutofit/>
            </a:bodyPr>
            <a:lstStyle/>
            <a:p>
              <a:pPr marL="0" lvl="0" indent="0" algn="ctr" rtl="0">
                <a:spcBef>
                  <a:spcPts val="0"/>
                </a:spcBef>
                <a:spcAft>
                  <a:spcPts val="0"/>
                </a:spcAft>
                <a:buClr>
                  <a:schemeClr val="dk1"/>
                </a:buClr>
                <a:buSzPts val="1100"/>
                <a:buFont typeface="Arial"/>
                <a:buNone/>
              </a:pPr>
              <a:r>
                <a:rPr lang="en" sz="3000" dirty="0">
                  <a:solidFill>
                    <a:srgbClr val="FFFFFF"/>
                  </a:solidFill>
                  <a:latin typeface="Fira Sans Extra Condensed Medium"/>
                  <a:ea typeface="Fira Sans Extra Condensed Medium"/>
                  <a:cs typeface="Fira Sans Extra Condensed Medium"/>
                  <a:sym typeface="Fira Sans Extra Condensed Medium"/>
                </a:rPr>
                <a:t>O</a:t>
              </a:r>
              <a:endParaRPr sz="3000" dirty="0">
                <a:solidFill>
                  <a:srgbClr val="FFFFFF"/>
                </a:solidFill>
              </a:endParaRPr>
            </a:p>
          </p:txBody>
        </p:sp>
        <p:sp>
          <p:nvSpPr>
            <p:cNvPr id="71" name="Google Shape;71;p15"/>
            <p:cNvSpPr/>
            <p:nvPr/>
          </p:nvSpPr>
          <p:spPr>
            <a:xfrm>
              <a:off x="3285663" y="3328025"/>
              <a:ext cx="432825" cy="432800"/>
            </a:xfrm>
            <a:custGeom>
              <a:avLst/>
              <a:gdLst/>
              <a:ahLst/>
              <a:cxnLst/>
              <a:rect l="l" t="t" r="r" b="b"/>
              <a:pathLst>
                <a:path w="17313" h="17312" extrusionOk="0">
                  <a:moveTo>
                    <a:pt x="8657" y="0"/>
                  </a:moveTo>
                  <a:cubicBezTo>
                    <a:pt x="3871" y="0"/>
                    <a:pt x="1" y="3870"/>
                    <a:pt x="1" y="8656"/>
                  </a:cubicBezTo>
                  <a:cubicBezTo>
                    <a:pt x="1" y="13442"/>
                    <a:pt x="3871" y="17312"/>
                    <a:pt x="8657" y="17312"/>
                  </a:cubicBezTo>
                  <a:cubicBezTo>
                    <a:pt x="13431" y="17312"/>
                    <a:pt x="17313" y="13442"/>
                    <a:pt x="17313" y="8656"/>
                  </a:cubicBezTo>
                  <a:cubicBezTo>
                    <a:pt x="17313" y="3870"/>
                    <a:pt x="13431" y="0"/>
                    <a:pt x="8657" y="0"/>
                  </a:cubicBezTo>
                  <a:close/>
                </a:path>
              </a:pathLst>
            </a:custGeom>
            <a:solidFill>
              <a:srgbClr val="4949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 name="Google Shape;72;p15"/>
            <p:cNvGrpSpPr/>
            <p:nvPr/>
          </p:nvGrpSpPr>
          <p:grpSpPr>
            <a:xfrm>
              <a:off x="715573" y="2856225"/>
              <a:ext cx="2549182" cy="1506470"/>
              <a:chOff x="715573" y="2780025"/>
              <a:chExt cx="2549182" cy="1506470"/>
            </a:xfrm>
          </p:grpSpPr>
          <p:sp>
            <p:nvSpPr>
              <p:cNvPr id="73" name="Google Shape;73;p15"/>
              <p:cNvSpPr/>
              <p:nvPr/>
            </p:nvSpPr>
            <p:spPr>
              <a:xfrm>
                <a:off x="715573" y="2780025"/>
                <a:ext cx="2549182" cy="1506470"/>
              </a:xfrm>
              <a:prstGeom prst="roundRect">
                <a:avLst>
                  <a:gd name="adj" fmla="val 7657"/>
                </a:avLst>
              </a:prstGeom>
              <a:solidFill>
                <a:srgbClr val="F3F3F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oogle Shape;74;p15"/>
              <p:cNvGrpSpPr/>
              <p:nvPr/>
            </p:nvGrpSpPr>
            <p:grpSpPr>
              <a:xfrm>
                <a:off x="877246" y="2780025"/>
                <a:ext cx="1915740" cy="1422102"/>
                <a:chOff x="877246" y="2780025"/>
                <a:chExt cx="1915740" cy="1422102"/>
              </a:xfrm>
            </p:grpSpPr>
            <p:sp>
              <p:nvSpPr>
                <p:cNvPr id="75" name="Google Shape;75;p15"/>
                <p:cNvSpPr txBox="1"/>
                <p:nvPr/>
              </p:nvSpPr>
              <p:spPr>
                <a:xfrm>
                  <a:off x="877246" y="2780025"/>
                  <a:ext cx="1884600" cy="429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sz="2200" b="1" dirty="0">
                      <a:solidFill>
                        <a:schemeClr val="accent2"/>
                      </a:solidFill>
                      <a:latin typeface="Fira Sans Extra Condensed Medium"/>
                      <a:ea typeface="Fira Sans Extra Condensed Medium"/>
                      <a:cs typeface="Fira Sans Extra Condensed Medium"/>
                      <a:sym typeface="Fira Sans Extra Condensed Medium"/>
                    </a:rPr>
                    <a:t>Opportunities</a:t>
                  </a:r>
                  <a:endParaRPr sz="2200" b="1" dirty="0">
                    <a:solidFill>
                      <a:schemeClr val="accent2"/>
                    </a:solidFill>
                    <a:latin typeface="Fira Sans Extra Condensed Medium"/>
                    <a:ea typeface="Fira Sans Extra Condensed Medium"/>
                    <a:cs typeface="Fira Sans Extra Condensed Medium"/>
                    <a:sym typeface="Fira Sans Extra Condensed Medium"/>
                  </a:endParaRPr>
                </a:p>
              </p:txBody>
            </p:sp>
            <p:sp>
              <p:nvSpPr>
                <p:cNvPr id="76" name="Google Shape;76;p15"/>
                <p:cNvSpPr txBox="1"/>
                <p:nvPr/>
              </p:nvSpPr>
              <p:spPr>
                <a:xfrm>
                  <a:off x="908386" y="3266006"/>
                  <a:ext cx="1884600" cy="936121"/>
                </a:xfrm>
                <a:prstGeom prst="rect">
                  <a:avLst/>
                </a:prstGeom>
                <a:noFill/>
                <a:ln>
                  <a:noFill/>
                </a:ln>
              </p:spPr>
              <p:txBody>
                <a:bodyPr spcFirstLastPara="1" wrap="square" lIns="91425" tIns="91425" rIns="91425" bIns="91425" anchor="ctr" anchorCtr="0">
                  <a:noAutofit/>
                </a:bodyPr>
                <a:lstStyle/>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Gender Focused Planning </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Policy Approach</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Promoting Entrepreneurship</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Creating Safe Nation</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Fem- U</a:t>
                  </a:r>
                </a:p>
                <a:p>
                  <a:pPr marL="171450" lvl="0" indent="-171450" rtl="0">
                    <a:spcBef>
                      <a:spcPts val="0"/>
                    </a:spcBef>
                    <a:spcAft>
                      <a:spcPts val="0"/>
                    </a:spcAft>
                    <a:buFont typeface="Arial" panose="020B0604020202020204" pitchFamily="34" charset="0"/>
                    <a:buChar char="•"/>
                  </a:pPr>
                  <a:endParaRPr sz="1200" dirty="0">
                    <a:solidFill>
                      <a:srgbClr val="434343"/>
                    </a:solidFill>
                    <a:latin typeface="Roboto"/>
                    <a:ea typeface="Roboto"/>
                    <a:cs typeface="Roboto"/>
                    <a:sym typeface="Roboto"/>
                  </a:endParaRPr>
                </a:p>
              </p:txBody>
            </p:sp>
          </p:grpSp>
        </p:grpSp>
      </p:grpSp>
      <p:grpSp>
        <p:nvGrpSpPr>
          <p:cNvPr id="77" name="Google Shape;77;p15"/>
          <p:cNvGrpSpPr/>
          <p:nvPr/>
        </p:nvGrpSpPr>
        <p:grpSpPr>
          <a:xfrm>
            <a:off x="0" y="1002610"/>
            <a:ext cx="4546264" cy="1802441"/>
            <a:chOff x="591407" y="1300015"/>
            <a:chExt cx="3954856" cy="1505035"/>
          </a:xfrm>
        </p:grpSpPr>
        <p:sp>
          <p:nvSpPr>
            <p:cNvPr id="78" name="Google Shape;78;p15"/>
            <p:cNvSpPr/>
            <p:nvPr/>
          </p:nvSpPr>
          <p:spPr>
            <a:xfrm>
              <a:off x="3400263" y="1658775"/>
              <a:ext cx="1146000" cy="1146275"/>
            </a:xfrm>
            <a:custGeom>
              <a:avLst/>
              <a:gdLst/>
              <a:ahLst/>
              <a:cxnLst/>
              <a:rect l="l" t="t" r="r" b="b"/>
              <a:pathLst>
                <a:path w="45840" h="45851" extrusionOk="0">
                  <a:moveTo>
                    <a:pt x="45840" y="0"/>
                  </a:moveTo>
                  <a:cubicBezTo>
                    <a:pt x="33315" y="274"/>
                    <a:pt x="22016" y="5453"/>
                    <a:pt x="13753" y="13692"/>
                  </a:cubicBezTo>
                  <a:cubicBezTo>
                    <a:pt x="14431" y="15097"/>
                    <a:pt x="14800" y="16669"/>
                    <a:pt x="14800" y="18324"/>
                  </a:cubicBezTo>
                  <a:cubicBezTo>
                    <a:pt x="14800" y="24253"/>
                    <a:pt x="10002" y="29063"/>
                    <a:pt x="4073" y="29063"/>
                  </a:cubicBezTo>
                  <a:cubicBezTo>
                    <a:pt x="3882" y="29063"/>
                    <a:pt x="3692" y="29051"/>
                    <a:pt x="3501" y="29039"/>
                  </a:cubicBezTo>
                  <a:cubicBezTo>
                    <a:pt x="1358" y="34242"/>
                    <a:pt x="132" y="39910"/>
                    <a:pt x="1" y="45851"/>
                  </a:cubicBezTo>
                  <a:lnTo>
                    <a:pt x="28397" y="45851"/>
                  </a:lnTo>
                  <a:cubicBezTo>
                    <a:pt x="28909" y="36445"/>
                    <a:pt x="36446" y="28920"/>
                    <a:pt x="45840" y="28408"/>
                  </a:cubicBezTo>
                  <a:lnTo>
                    <a:pt x="45840" y="0"/>
                  </a:lnTo>
                  <a:close/>
                </a:path>
              </a:pathLst>
            </a:custGeom>
            <a:solidFill>
              <a:srgbClr val="FCBD24"/>
            </a:solidFill>
            <a:ln>
              <a:noFill/>
            </a:ln>
          </p:spPr>
          <p:txBody>
            <a:bodyPr spcFirstLastPara="1" wrap="square" lIns="182875" tIns="91425" rIns="91425" bIns="91425" anchor="ctr" anchorCtr="0">
              <a:noAutofit/>
            </a:bodyPr>
            <a:lstStyle/>
            <a:p>
              <a:pPr marL="0" lvl="0" indent="0" algn="ctr" rtl="0">
                <a:spcBef>
                  <a:spcPts val="0"/>
                </a:spcBef>
                <a:spcAft>
                  <a:spcPts val="0"/>
                </a:spcAft>
                <a:buClr>
                  <a:schemeClr val="dk1"/>
                </a:buClr>
                <a:buSzPts val="1100"/>
                <a:buFont typeface="Arial"/>
                <a:buNone/>
              </a:pPr>
              <a:r>
                <a:rPr lang="en" sz="3000" dirty="0">
                  <a:solidFill>
                    <a:srgbClr val="FFFFFF"/>
                  </a:solidFill>
                  <a:latin typeface="Fira Sans Extra Condensed Medium"/>
                  <a:ea typeface="Fira Sans Extra Condensed Medium"/>
                  <a:cs typeface="Fira Sans Extra Condensed Medium"/>
                  <a:sym typeface="Fira Sans Extra Condensed Medium"/>
                </a:rPr>
                <a:t>S</a:t>
              </a:r>
              <a:endParaRPr sz="3000" dirty="0">
                <a:solidFill>
                  <a:srgbClr val="FFFFFF"/>
                </a:solidFill>
              </a:endParaRPr>
            </a:p>
          </p:txBody>
        </p:sp>
        <p:sp>
          <p:nvSpPr>
            <p:cNvPr id="79" name="Google Shape;79;p15"/>
            <p:cNvSpPr/>
            <p:nvPr/>
          </p:nvSpPr>
          <p:spPr>
            <a:xfrm>
              <a:off x="3285663" y="1900475"/>
              <a:ext cx="432825" cy="432800"/>
            </a:xfrm>
            <a:custGeom>
              <a:avLst/>
              <a:gdLst/>
              <a:ahLst/>
              <a:cxnLst/>
              <a:rect l="l" t="t" r="r" b="b"/>
              <a:pathLst>
                <a:path w="17313" h="17312" extrusionOk="0">
                  <a:moveTo>
                    <a:pt x="8657" y="0"/>
                  </a:moveTo>
                  <a:cubicBezTo>
                    <a:pt x="3871" y="0"/>
                    <a:pt x="1" y="3870"/>
                    <a:pt x="1" y="8656"/>
                  </a:cubicBezTo>
                  <a:cubicBezTo>
                    <a:pt x="1" y="13442"/>
                    <a:pt x="3871" y="17312"/>
                    <a:pt x="8657" y="17312"/>
                  </a:cubicBezTo>
                  <a:cubicBezTo>
                    <a:pt x="13431" y="17312"/>
                    <a:pt x="17313" y="13442"/>
                    <a:pt x="17313" y="8656"/>
                  </a:cubicBezTo>
                  <a:cubicBezTo>
                    <a:pt x="17313" y="3870"/>
                    <a:pt x="13431" y="0"/>
                    <a:pt x="8657" y="0"/>
                  </a:cubicBezTo>
                  <a:close/>
                </a:path>
              </a:pathLst>
            </a:custGeom>
            <a:solidFill>
              <a:srgbClr val="FCBD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80" name="Google Shape;80;p15"/>
            <p:cNvGrpSpPr/>
            <p:nvPr/>
          </p:nvGrpSpPr>
          <p:grpSpPr>
            <a:xfrm>
              <a:off x="591407" y="1300015"/>
              <a:ext cx="2677710" cy="1441981"/>
              <a:chOff x="591407" y="1223815"/>
              <a:chExt cx="2677710" cy="1441981"/>
            </a:xfrm>
          </p:grpSpPr>
          <p:sp>
            <p:nvSpPr>
              <p:cNvPr id="81" name="Google Shape;81;p15"/>
              <p:cNvSpPr/>
              <p:nvPr/>
            </p:nvSpPr>
            <p:spPr>
              <a:xfrm>
                <a:off x="699138" y="1223816"/>
                <a:ext cx="2569979" cy="1441980"/>
              </a:xfrm>
              <a:prstGeom prst="roundRect">
                <a:avLst>
                  <a:gd name="adj" fmla="val 7657"/>
                </a:avLst>
              </a:prstGeom>
              <a:solidFill>
                <a:srgbClr val="F3F3F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 name="Google Shape;82;p15"/>
              <p:cNvGrpSpPr/>
              <p:nvPr/>
            </p:nvGrpSpPr>
            <p:grpSpPr>
              <a:xfrm>
                <a:off x="591407" y="1223815"/>
                <a:ext cx="2414365" cy="1337470"/>
                <a:chOff x="591407" y="1223815"/>
                <a:chExt cx="2414365" cy="1337470"/>
              </a:xfrm>
            </p:grpSpPr>
            <p:sp>
              <p:nvSpPr>
                <p:cNvPr id="83" name="Google Shape;83;p15"/>
                <p:cNvSpPr txBox="1"/>
                <p:nvPr/>
              </p:nvSpPr>
              <p:spPr>
                <a:xfrm>
                  <a:off x="856601" y="1686836"/>
                  <a:ext cx="2149171" cy="874449"/>
                </a:xfrm>
                <a:prstGeom prst="rect">
                  <a:avLst/>
                </a:prstGeom>
                <a:noFill/>
                <a:ln>
                  <a:noFill/>
                </a:ln>
              </p:spPr>
              <p:txBody>
                <a:bodyPr spcFirstLastPara="1" wrap="square" lIns="91425" tIns="91425" rIns="91425" bIns="91425" anchor="ctr" anchorCtr="0">
                  <a:noAutofit/>
                </a:bodyPr>
                <a:lstStyle/>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Financial Independence</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Gaining Confidence &amp; Respect</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Job Providers</a:t>
                  </a:r>
                </a:p>
                <a:p>
                  <a:pPr marL="171450" lvl="0" indent="-171450" rtl="0">
                    <a:spcBef>
                      <a:spcPts val="0"/>
                    </a:spcBef>
                    <a:spcAft>
                      <a:spcPts val="0"/>
                    </a:spcAft>
                    <a:buFont typeface="Arial" panose="020B0604020202020204" pitchFamily="34" charset="0"/>
                    <a:buChar char="•"/>
                  </a:pPr>
                  <a:r>
                    <a:rPr lang="en-IN" sz="1100" dirty="0">
                      <a:solidFill>
                        <a:srgbClr val="434343"/>
                      </a:solidFill>
                      <a:latin typeface="Roboto"/>
                      <a:ea typeface="Roboto"/>
                      <a:cs typeface="Roboto"/>
                      <a:sym typeface="Roboto"/>
                    </a:rPr>
                    <a:t>Rise in Women Entrepreneurship</a:t>
                  </a:r>
                </a:p>
                <a:p>
                  <a:pPr marL="171450" lvl="0" indent="-171450" rtl="0">
                    <a:spcBef>
                      <a:spcPts val="0"/>
                    </a:spcBef>
                    <a:spcAft>
                      <a:spcPts val="0"/>
                    </a:spcAft>
                    <a:buFont typeface="Arial" panose="020B0604020202020204" pitchFamily="34" charset="0"/>
                    <a:buChar char="•"/>
                  </a:pPr>
                  <a:endParaRPr sz="1200" dirty="0">
                    <a:solidFill>
                      <a:srgbClr val="434343"/>
                    </a:solidFill>
                    <a:latin typeface="Roboto"/>
                    <a:ea typeface="Roboto"/>
                    <a:cs typeface="Roboto"/>
                    <a:sym typeface="Roboto"/>
                  </a:endParaRPr>
                </a:p>
              </p:txBody>
            </p:sp>
            <p:sp>
              <p:nvSpPr>
                <p:cNvPr id="84" name="Google Shape;84;p15"/>
                <p:cNvSpPr txBox="1"/>
                <p:nvPr/>
              </p:nvSpPr>
              <p:spPr>
                <a:xfrm>
                  <a:off x="591407" y="1223815"/>
                  <a:ext cx="1884600" cy="429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sz="2400" b="1" dirty="0">
                      <a:solidFill>
                        <a:schemeClr val="accent5"/>
                      </a:solidFill>
                      <a:latin typeface="Fira Sans Extra Condensed Medium"/>
                      <a:ea typeface="Fira Sans Extra Condensed Medium"/>
                      <a:cs typeface="Fira Sans Extra Condensed Medium"/>
                      <a:sym typeface="Fira Sans Extra Condensed Medium"/>
                    </a:rPr>
                    <a:t>Strengths</a:t>
                  </a:r>
                  <a:endParaRPr sz="2400" b="1" dirty="0">
                    <a:solidFill>
                      <a:schemeClr val="accent5"/>
                    </a:solidFill>
                    <a:latin typeface="Fira Sans Extra Condensed Medium"/>
                    <a:ea typeface="Fira Sans Extra Condensed Medium"/>
                    <a:cs typeface="Fira Sans Extra Condensed Medium"/>
                    <a:sym typeface="Fira Sans Extra Condensed Medium"/>
                  </a:endParaRPr>
                </a:p>
              </p:txBody>
            </p:sp>
          </p:grpSp>
        </p:grpSp>
      </p:grpSp>
      <p:sp>
        <p:nvSpPr>
          <p:cNvPr id="85" name="Google Shape;85;p15"/>
          <p:cNvSpPr txBox="1">
            <a:spLocks noGrp="1"/>
          </p:cNvSpPr>
          <p:nvPr>
            <p:ph type="title"/>
          </p:nvPr>
        </p:nvSpPr>
        <p:spPr>
          <a:xfrm>
            <a:off x="684514" y="171194"/>
            <a:ext cx="7723500" cy="4812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dirty="0">
                <a:solidFill>
                  <a:srgbClr val="0070C0"/>
                </a:solidFill>
              </a:rPr>
              <a:t>SWOT Analysis</a:t>
            </a:r>
            <a:endParaRPr b="1" dirty="0">
              <a:solidFill>
                <a:srgbClr val="0070C0"/>
              </a:solidFill>
            </a:endParaRPr>
          </a:p>
        </p:txBody>
      </p:sp>
      <p:grpSp>
        <p:nvGrpSpPr>
          <p:cNvPr id="90" name="Google Shape;90;p15"/>
          <p:cNvGrpSpPr/>
          <p:nvPr/>
        </p:nvGrpSpPr>
        <p:grpSpPr>
          <a:xfrm>
            <a:off x="3207045" y="1943011"/>
            <a:ext cx="271775" cy="89925"/>
            <a:chOff x="3366038" y="2071900"/>
            <a:chExt cx="271775" cy="89925"/>
          </a:xfrm>
        </p:grpSpPr>
        <p:sp>
          <p:nvSpPr>
            <p:cNvPr id="91" name="Google Shape;91;p15"/>
            <p:cNvSpPr/>
            <p:nvPr/>
          </p:nvSpPr>
          <p:spPr>
            <a:xfrm>
              <a:off x="3366038" y="2109125"/>
              <a:ext cx="271775" cy="15500"/>
            </a:xfrm>
            <a:custGeom>
              <a:avLst/>
              <a:gdLst/>
              <a:ahLst/>
              <a:cxnLst/>
              <a:rect l="l" t="t" r="r" b="b"/>
              <a:pathLst>
                <a:path w="10871" h="620" extrusionOk="0">
                  <a:moveTo>
                    <a:pt x="1" y="0"/>
                  </a:moveTo>
                  <a:lnTo>
                    <a:pt x="1" y="619"/>
                  </a:lnTo>
                  <a:lnTo>
                    <a:pt x="10871" y="619"/>
                  </a:lnTo>
                  <a:lnTo>
                    <a:pt x="1087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2" name="Google Shape;92;p15"/>
            <p:cNvSpPr/>
            <p:nvPr/>
          </p:nvSpPr>
          <p:spPr>
            <a:xfrm>
              <a:off x="3382413" y="2071900"/>
              <a:ext cx="32175" cy="89925"/>
            </a:xfrm>
            <a:custGeom>
              <a:avLst/>
              <a:gdLst/>
              <a:ahLst/>
              <a:cxnLst/>
              <a:rect l="l" t="t" r="r" b="b"/>
              <a:pathLst>
                <a:path w="1287" h="3597" extrusionOk="0">
                  <a:moveTo>
                    <a:pt x="1" y="1"/>
                  </a:moveTo>
                  <a:lnTo>
                    <a:pt x="1" y="3597"/>
                  </a:lnTo>
                  <a:lnTo>
                    <a:pt x="1286" y="3597"/>
                  </a:lnTo>
                  <a:lnTo>
                    <a:pt x="1286"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15"/>
            <p:cNvSpPr/>
            <p:nvPr/>
          </p:nvSpPr>
          <p:spPr>
            <a:xfrm>
              <a:off x="3589588" y="2071900"/>
              <a:ext cx="32175" cy="89925"/>
            </a:xfrm>
            <a:custGeom>
              <a:avLst/>
              <a:gdLst/>
              <a:ahLst/>
              <a:cxnLst/>
              <a:rect l="l" t="t" r="r" b="b"/>
              <a:pathLst>
                <a:path w="1287" h="3597" extrusionOk="0">
                  <a:moveTo>
                    <a:pt x="0" y="1"/>
                  </a:moveTo>
                  <a:lnTo>
                    <a:pt x="0" y="3597"/>
                  </a:lnTo>
                  <a:lnTo>
                    <a:pt x="1286" y="3597"/>
                  </a:lnTo>
                  <a:lnTo>
                    <a:pt x="1286"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4" name="Google Shape;94;p15"/>
            <p:cNvSpPr/>
            <p:nvPr/>
          </p:nvSpPr>
          <p:spPr>
            <a:xfrm>
              <a:off x="3376163" y="2090950"/>
              <a:ext cx="20550" cy="51825"/>
            </a:xfrm>
            <a:custGeom>
              <a:avLst/>
              <a:gdLst/>
              <a:ahLst/>
              <a:cxnLst/>
              <a:rect l="l" t="t" r="r" b="b"/>
              <a:pathLst>
                <a:path w="822" h="2073" extrusionOk="0">
                  <a:moveTo>
                    <a:pt x="0" y="1"/>
                  </a:moveTo>
                  <a:lnTo>
                    <a:pt x="0" y="2073"/>
                  </a:lnTo>
                  <a:lnTo>
                    <a:pt x="822" y="2073"/>
                  </a:lnTo>
                  <a:lnTo>
                    <a:pt x="82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95;p15"/>
            <p:cNvSpPr/>
            <p:nvPr/>
          </p:nvSpPr>
          <p:spPr>
            <a:xfrm>
              <a:off x="3607138" y="2090950"/>
              <a:ext cx="20575" cy="51825"/>
            </a:xfrm>
            <a:custGeom>
              <a:avLst/>
              <a:gdLst/>
              <a:ahLst/>
              <a:cxnLst/>
              <a:rect l="l" t="t" r="r" b="b"/>
              <a:pathLst>
                <a:path w="823" h="2073" extrusionOk="0">
                  <a:moveTo>
                    <a:pt x="1" y="1"/>
                  </a:moveTo>
                  <a:lnTo>
                    <a:pt x="1" y="2073"/>
                  </a:lnTo>
                  <a:lnTo>
                    <a:pt x="822" y="2073"/>
                  </a:lnTo>
                  <a:lnTo>
                    <a:pt x="82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3" name="Picture 2">
            <a:extLst>
              <a:ext uri="{FF2B5EF4-FFF2-40B4-BE49-F238E27FC236}">
                <a16:creationId xmlns:a16="http://schemas.microsoft.com/office/drawing/2014/main" id="{AE2455DE-C6D9-497A-9843-F907AF84B8CE}"/>
              </a:ext>
            </a:extLst>
          </p:cNvPr>
          <p:cNvPicPr>
            <a:picLocks noChangeAspect="1"/>
          </p:cNvPicPr>
          <p:nvPr/>
        </p:nvPicPr>
        <p:blipFill>
          <a:blip r:embed="rId3"/>
          <a:stretch>
            <a:fillRect/>
          </a:stretch>
        </p:blipFill>
        <p:spPr>
          <a:xfrm>
            <a:off x="3217146" y="3530327"/>
            <a:ext cx="292633" cy="286537"/>
          </a:xfrm>
          <a:prstGeom prst="rect">
            <a:avLst/>
          </a:prstGeom>
        </p:spPr>
      </p:pic>
      <p:pic>
        <p:nvPicPr>
          <p:cNvPr id="4" name="Picture 3">
            <a:extLst>
              <a:ext uri="{FF2B5EF4-FFF2-40B4-BE49-F238E27FC236}">
                <a16:creationId xmlns:a16="http://schemas.microsoft.com/office/drawing/2014/main" id="{65CC731C-AC33-4629-AAC5-3330826AFB0A}"/>
              </a:ext>
            </a:extLst>
          </p:cNvPr>
          <p:cNvPicPr>
            <a:picLocks noChangeAspect="1"/>
          </p:cNvPicPr>
          <p:nvPr/>
        </p:nvPicPr>
        <p:blipFill>
          <a:blip r:embed="rId4"/>
          <a:stretch>
            <a:fillRect/>
          </a:stretch>
        </p:blipFill>
        <p:spPr>
          <a:xfrm>
            <a:off x="5613229" y="3480180"/>
            <a:ext cx="298730" cy="274344"/>
          </a:xfrm>
          <a:prstGeom prst="rect">
            <a:avLst/>
          </a:prstGeom>
        </p:spPr>
      </p:pic>
      <p:pic>
        <p:nvPicPr>
          <p:cNvPr id="5" name="Picture 4">
            <a:extLst>
              <a:ext uri="{FF2B5EF4-FFF2-40B4-BE49-F238E27FC236}">
                <a16:creationId xmlns:a16="http://schemas.microsoft.com/office/drawing/2014/main" id="{F453B6CE-9014-40A2-B56E-CBD718D63F01}"/>
              </a:ext>
            </a:extLst>
          </p:cNvPr>
          <p:cNvPicPr>
            <a:picLocks noChangeAspect="1"/>
          </p:cNvPicPr>
          <p:nvPr/>
        </p:nvPicPr>
        <p:blipFill>
          <a:blip r:embed="rId5"/>
          <a:stretch>
            <a:fillRect/>
          </a:stretch>
        </p:blipFill>
        <p:spPr>
          <a:xfrm>
            <a:off x="5601036" y="1889667"/>
            <a:ext cx="310923" cy="286537"/>
          </a:xfrm>
          <a:prstGeom prst="rect">
            <a:avLst/>
          </a:prstGeom>
        </p:spPr>
      </p:pic>
      <p:pic>
        <p:nvPicPr>
          <p:cNvPr id="7" name="Picture 6">
            <a:extLst>
              <a:ext uri="{FF2B5EF4-FFF2-40B4-BE49-F238E27FC236}">
                <a16:creationId xmlns:a16="http://schemas.microsoft.com/office/drawing/2014/main" id="{4590C26F-67B8-4DA7-9663-08A5FB9220A0}"/>
              </a:ext>
            </a:extLst>
          </p:cNvPr>
          <p:cNvPicPr>
            <a:picLocks noChangeAspect="1"/>
          </p:cNvPicPr>
          <p:nvPr/>
        </p:nvPicPr>
        <p:blipFill>
          <a:blip r:embed="rId6"/>
          <a:stretch>
            <a:fillRect/>
          </a:stretch>
        </p:blipFill>
        <p:spPr>
          <a:xfrm>
            <a:off x="4259154" y="2411019"/>
            <a:ext cx="614318" cy="788064"/>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0C11276-07A4-4BC9-9433-65A211669E12}"/>
              </a:ext>
            </a:extLst>
          </p:cNvPr>
          <p:cNvPicPr>
            <a:picLocks noChangeAspect="1"/>
          </p:cNvPicPr>
          <p:nvPr/>
        </p:nvPicPr>
        <p:blipFill>
          <a:blip r:embed="rId2"/>
          <a:stretch>
            <a:fillRect/>
          </a:stretch>
        </p:blipFill>
        <p:spPr>
          <a:xfrm>
            <a:off x="4641274" y="1282995"/>
            <a:ext cx="4502726" cy="3794696"/>
          </a:xfrm>
          <a:prstGeom prst="rect">
            <a:avLst/>
          </a:prstGeom>
        </p:spPr>
      </p:pic>
      <p:pic>
        <p:nvPicPr>
          <p:cNvPr id="2" name="Picture 1">
            <a:extLst>
              <a:ext uri="{FF2B5EF4-FFF2-40B4-BE49-F238E27FC236}">
                <a16:creationId xmlns:a16="http://schemas.microsoft.com/office/drawing/2014/main" id="{6297A573-CE85-47BF-8ED8-1E2141778C85}"/>
              </a:ext>
            </a:extLst>
          </p:cNvPr>
          <p:cNvPicPr>
            <a:picLocks noChangeAspect="1"/>
          </p:cNvPicPr>
          <p:nvPr/>
        </p:nvPicPr>
        <p:blipFill>
          <a:blip r:embed="rId3"/>
          <a:stretch>
            <a:fillRect/>
          </a:stretch>
        </p:blipFill>
        <p:spPr>
          <a:xfrm>
            <a:off x="0" y="1298864"/>
            <a:ext cx="4641274" cy="3844636"/>
          </a:xfrm>
          <a:prstGeom prst="rect">
            <a:avLst/>
          </a:prstGeom>
        </p:spPr>
      </p:pic>
      <p:sp>
        <p:nvSpPr>
          <p:cNvPr id="5" name="TextBox 4">
            <a:extLst>
              <a:ext uri="{FF2B5EF4-FFF2-40B4-BE49-F238E27FC236}">
                <a16:creationId xmlns:a16="http://schemas.microsoft.com/office/drawing/2014/main" id="{AAC68387-694C-4AD4-AAC0-CC63BB3E94D5}"/>
              </a:ext>
            </a:extLst>
          </p:cNvPr>
          <p:cNvSpPr txBox="1"/>
          <p:nvPr/>
        </p:nvSpPr>
        <p:spPr>
          <a:xfrm>
            <a:off x="1607126" y="225716"/>
            <a:ext cx="6054437" cy="584775"/>
          </a:xfrm>
          <a:prstGeom prst="rect">
            <a:avLst/>
          </a:prstGeom>
          <a:noFill/>
          <a:ln>
            <a:solidFill>
              <a:schemeClr val="bg1"/>
            </a:solidFill>
          </a:ln>
        </p:spPr>
        <p:txBody>
          <a:bodyPr wrap="square" rtlCol="0">
            <a:spAutoFit/>
          </a:bodyPr>
          <a:lstStyle/>
          <a:p>
            <a:pPr algn="ctr"/>
            <a:r>
              <a:rPr lang="en-US" sz="3200" b="1" dirty="0">
                <a:solidFill>
                  <a:srgbClr val="0070C0"/>
                </a:solidFill>
                <a:latin typeface="Inter-Regular" panose="020B0604020202020204" charset="0"/>
                <a:ea typeface="Inter-Regular" panose="020B0604020202020204" charset="0"/>
              </a:rPr>
              <a:t>What is expected ?</a:t>
            </a:r>
          </a:p>
        </p:txBody>
      </p:sp>
    </p:spTree>
    <p:extLst>
      <p:ext uri="{BB962C8B-B14F-4D97-AF65-F5344CB8AC3E}">
        <p14:creationId xmlns:p14="http://schemas.microsoft.com/office/powerpoint/2010/main" val="11934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1"/>
        <p:cNvGrpSpPr/>
        <p:nvPr/>
      </p:nvGrpSpPr>
      <p:grpSpPr>
        <a:xfrm>
          <a:off x="0" y="0"/>
          <a:ext cx="0" cy="0"/>
          <a:chOff x="0" y="0"/>
          <a:chExt cx="0" cy="0"/>
        </a:xfrm>
      </p:grpSpPr>
      <p:sp>
        <p:nvSpPr>
          <p:cNvPr id="62" name="Google Shape;62;p13"/>
          <p:cNvSpPr txBox="1">
            <a:spLocks noGrp="1"/>
          </p:cNvSpPr>
          <p:nvPr>
            <p:ph type="title"/>
          </p:nvPr>
        </p:nvSpPr>
        <p:spPr>
          <a:xfrm>
            <a:off x="818085" y="444558"/>
            <a:ext cx="7068300" cy="396300"/>
          </a:xfrm>
          <a:prstGeom prst="rect">
            <a:avLst/>
          </a:prstGeom>
        </p:spPr>
        <p:txBody>
          <a:bodyPr spcFirstLastPara="1" wrap="square" lIns="0" tIns="0" rIns="0" bIns="0" anchor="b" anchorCtr="0">
            <a:noAutofit/>
          </a:bodyPr>
          <a:lstStyle/>
          <a:p>
            <a:pPr marL="0" lvl="0" indent="0" algn="ctr" rtl="0">
              <a:spcBef>
                <a:spcPts val="0"/>
              </a:spcBef>
              <a:spcAft>
                <a:spcPts val="0"/>
              </a:spcAft>
              <a:buNone/>
            </a:pPr>
            <a:r>
              <a:rPr lang="en-US" sz="4800" dirty="0">
                <a:solidFill>
                  <a:srgbClr val="0070C0"/>
                </a:solidFill>
              </a:rPr>
              <a:t>Overview</a:t>
            </a:r>
          </a:p>
        </p:txBody>
      </p:sp>
      <p:sp>
        <p:nvSpPr>
          <p:cNvPr id="7" name="Text Placeholder 6">
            <a:extLst>
              <a:ext uri="{FF2B5EF4-FFF2-40B4-BE49-F238E27FC236}">
                <a16:creationId xmlns:a16="http://schemas.microsoft.com/office/drawing/2014/main" id="{CC3EEEA2-E0BA-4FA7-B2AA-53CAB44ECE88}"/>
              </a:ext>
            </a:extLst>
          </p:cNvPr>
          <p:cNvSpPr>
            <a:spLocks noGrp="1"/>
          </p:cNvSpPr>
          <p:nvPr>
            <p:ph type="body" idx="1"/>
          </p:nvPr>
        </p:nvSpPr>
        <p:spPr>
          <a:xfrm>
            <a:off x="818085" y="1112945"/>
            <a:ext cx="7149245" cy="3132990"/>
          </a:xfrm>
        </p:spPr>
        <p:txBody>
          <a:bodyPr/>
          <a:lstStyle/>
          <a:p>
            <a:pPr marL="101600" indent="0">
              <a:buNone/>
            </a:pPr>
            <a:r>
              <a:rPr lang="en-US" sz="1600" b="1" dirty="0"/>
              <a:t>One of the major factor that USA is developed and China is near about developed country in the world is due to contribution of women in their particular economies. Now a days we are seeing the increased number of women's in all the sectors of economy with immediate results in a positive manner. If we scrutiny between the work of women in comparison with men we will get that women are more skill-full. Besides physical difference, there is no any other significant factor can affect their work. If we look towards Indian population we realize that there is astonishingly large number of women and if we utilize this population in creative and productive manner, we will get positive outlook in terms of economic development.</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72" name="Google Shape;72;p14"/>
          <p:cNvSpPr txBox="1">
            <a:spLocks noGrp="1"/>
          </p:cNvSpPr>
          <p:nvPr>
            <p:ph type="ctrTitle" idx="4294967295"/>
          </p:nvPr>
        </p:nvSpPr>
        <p:spPr>
          <a:xfrm>
            <a:off x="1359107" y="0"/>
            <a:ext cx="5889600" cy="969300"/>
          </a:xfrm>
          <a:prstGeom prst="rect">
            <a:avLst/>
          </a:prstGeom>
        </p:spPr>
        <p:txBody>
          <a:bodyPr spcFirstLastPara="1" wrap="square" lIns="0" tIns="0" rIns="0" bIns="0" anchor="b" anchorCtr="0">
            <a:noAutofit/>
          </a:bodyPr>
          <a:lstStyle/>
          <a:p>
            <a:pPr marL="0" lvl="0" indent="0" algn="ctr" rtl="0">
              <a:spcBef>
                <a:spcPts val="0"/>
              </a:spcBef>
              <a:spcAft>
                <a:spcPts val="0"/>
              </a:spcAft>
              <a:buNone/>
            </a:pPr>
            <a:r>
              <a:rPr lang="en-US" sz="4800" dirty="0">
                <a:solidFill>
                  <a:srgbClr val="0070C0"/>
                </a:solidFill>
              </a:rPr>
              <a:t>Objectives</a:t>
            </a:r>
          </a:p>
        </p:txBody>
      </p:sp>
      <p:sp>
        <p:nvSpPr>
          <p:cNvPr id="73" name="Google Shape;73;p14"/>
          <p:cNvSpPr txBox="1">
            <a:spLocks noGrp="1"/>
          </p:cNvSpPr>
          <p:nvPr>
            <p:ph type="subTitle" idx="4294967295"/>
          </p:nvPr>
        </p:nvSpPr>
        <p:spPr>
          <a:xfrm>
            <a:off x="627321" y="1226127"/>
            <a:ext cx="7889358" cy="3588327"/>
          </a:xfrm>
          <a:prstGeom prst="rect">
            <a:avLst/>
          </a:prstGeom>
        </p:spPr>
        <p:txBody>
          <a:bodyPr spcFirstLastPara="1" wrap="square" lIns="0" tIns="0" rIns="0" bIns="0" anchor="t" anchorCtr="0">
            <a:noAutofit/>
          </a:bodyPr>
          <a:lstStyle/>
          <a:p>
            <a:pPr marL="285750" indent="-285750">
              <a:buFont typeface="Arial" panose="020B0604020202020204" pitchFamily="34" charset="0"/>
              <a:buChar char="•"/>
            </a:pPr>
            <a:r>
              <a:rPr lang="en-US" sz="1800" b="1" dirty="0">
                <a:solidFill>
                  <a:srgbClr val="202124"/>
                </a:solidFill>
                <a:latin typeface="Inter-Regular" panose="020B0604020202020204" charset="0"/>
                <a:ea typeface="Inter-Regular" panose="020B0604020202020204" charset="0"/>
              </a:rPr>
              <a:t>T</a:t>
            </a:r>
            <a:r>
              <a:rPr lang="en-US" sz="1800" b="1" i="0" dirty="0">
                <a:solidFill>
                  <a:srgbClr val="202124"/>
                </a:solidFill>
                <a:effectLst/>
                <a:latin typeface="Inter-Regular" panose="020B0604020202020204" charset="0"/>
                <a:ea typeface="Inter-Regular" panose="020B0604020202020204" charset="0"/>
              </a:rPr>
              <a:t>o identify trends and pattern of changes in women’s employment structure over years consequent upon the structural changes in the Indian Economy.</a:t>
            </a:r>
            <a:endParaRPr lang="en-US" sz="1800" b="1" dirty="0"/>
          </a:p>
          <a:p>
            <a:pPr marL="285750" indent="-285750">
              <a:buFont typeface="Arial" panose="020B0604020202020204" pitchFamily="34" charset="0"/>
              <a:buChar char="•"/>
            </a:pPr>
            <a:r>
              <a:rPr lang="en-US" sz="1800" b="1" dirty="0"/>
              <a:t>To analyze India’s growth towards Sustainable Developmental Goal(SDG)-5 &amp; 8.</a:t>
            </a:r>
          </a:p>
          <a:p>
            <a:pPr marL="285750" indent="-285750">
              <a:buFont typeface="Arial" panose="020B0604020202020204" pitchFamily="34" charset="0"/>
              <a:buChar char="•"/>
            </a:pPr>
            <a:r>
              <a:rPr lang="en-US" sz="1800" b="1" dirty="0"/>
              <a:t>To provide a way to cope-up with the economic collapse we faced in the recent pandemic.</a:t>
            </a:r>
          </a:p>
          <a:p>
            <a:pPr marL="285750" indent="-285750">
              <a:buFont typeface="Arial" panose="020B0604020202020204" pitchFamily="34" charset="0"/>
              <a:buChar char="•"/>
            </a:pPr>
            <a:r>
              <a:rPr lang="en-US" sz="1800" b="1" i="0" dirty="0">
                <a:solidFill>
                  <a:srgbClr val="202124"/>
                </a:solidFill>
                <a:effectLst/>
                <a:latin typeface="Inter-Regular" panose="020B0604020202020204" charset="0"/>
                <a:ea typeface="Inter-Regular" panose="020B0604020202020204" charset="0"/>
              </a:rPr>
              <a:t>To examine how severe is the problem of Gender Disparity in India.</a:t>
            </a:r>
            <a:endParaRPr lang="en-US" b="1" dirty="0">
              <a:latin typeface="Inter-Regular" panose="020B0604020202020204" charset="0"/>
              <a:ea typeface="Inter-Regular" panose="020B060402020202020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r>
              <a:rPr lang="en-US" dirty="0"/>
              <a:t>Sample 1</a:t>
            </a:r>
          </a:p>
        </p:txBody>
      </p:sp>
      <mc:AlternateContent xmlns:mc="http://schemas.openxmlformats.org/markup-compatibility/2006" xmlns:p14="http://schemas.microsoft.com/office/powerpoint/2010/main" xmlns:aink="http://schemas.microsoft.com/office/drawing/2016/ink">
        <mc:Choice Requires="p14 aink">
          <p:contentPart p14:bwMode="auto" r:id="rId3">
            <p14:nvContentPartPr>
              <p14:cNvPr id="8" name="Ink 7">
                <a:extLst>
                  <a:ext uri="{FF2B5EF4-FFF2-40B4-BE49-F238E27FC236}">
                    <a16:creationId xmlns:a16="http://schemas.microsoft.com/office/drawing/2014/main" id="{C860AD65-AB12-48C5-B033-83464D6938A1}"/>
                  </a:ext>
                </a:extLst>
              </p14:cNvPr>
              <p14:cNvContentPartPr/>
              <p14:nvPr/>
            </p14:nvContentPartPr>
            <p14:xfrm>
              <a:off x="5167127" y="3352393"/>
              <a:ext cx="360" cy="360"/>
            </p14:xfrm>
          </p:contentPart>
        </mc:Choice>
        <mc:Fallback xmlns="">
          <p:pic>
            <p:nvPicPr>
              <p:cNvPr id="8" name="Ink 7">
                <a:extLst>
                  <a:ext uri="{FF2B5EF4-FFF2-40B4-BE49-F238E27FC236}">
                    <a16:creationId xmlns:a16="http://schemas.microsoft.com/office/drawing/2014/main" id="{C860AD65-AB12-48C5-B033-83464D6938A1}"/>
                  </a:ext>
                </a:extLst>
              </p:cNvPr>
              <p:cNvPicPr/>
              <p:nvPr/>
            </p:nvPicPr>
            <p:blipFill>
              <a:blip r:embed="rId4"/>
              <a:stretch>
                <a:fillRect/>
              </a:stretch>
            </p:blipFill>
            <p:spPr>
              <a:xfrm>
                <a:off x="5149127" y="3244393"/>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
            <p14:nvContentPartPr>
              <p14:cNvPr id="9" name="Ink 8">
                <a:extLst>
                  <a:ext uri="{FF2B5EF4-FFF2-40B4-BE49-F238E27FC236}">
                    <a16:creationId xmlns:a16="http://schemas.microsoft.com/office/drawing/2014/main" id="{DDE315CF-69E3-4D0F-AA09-E691119AD5CE}"/>
                  </a:ext>
                </a:extLst>
              </p14:cNvPr>
              <p14:cNvContentPartPr/>
              <p14:nvPr/>
            </p14:nvContentPartPr>
            <p14:xfrm>
              <a:off x="5294567" y="2941273"/>
              <a:ext cx="45720" cy="999720"/>
            </p14:xfrm>
          </p:contentPart>
        </mc:Choice>
        <mc:Fallback xmlns="">
          <p:pic>
            <p:nvPicPr>
              <p:cNvPr id="9" name="Ink 8">
                <a:extLst>
                  <a:ext uri="{FF2B5EF4-FFF2-40B4-BE49-F238E27FC236}">
                    <a16:creationId xmlns:a16="http://schemas.microsoft.com/office/drawing/2014/main" id="{DDE315CF-69E3-4D0F-AA09-E691119AD5CE}"/>
                  </a:ext>
                </a:extLst>
              </p:cNvPr>
              <p:cNvPicPr/>
              <p:nvPr/>
            </p:nvPicPr>
            <p:blipFill>
              <a:blip r:embed="rId6"/>
              <a:stretch>
                <a:fillRect/>
              </a:stretch>
            </p:blipFill>
            <p:spPr>
              <a:xfrm>
                <a:off x="5276927" y="2833633"/>
                <a:ext cx="81360" cy="121536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7">
            <p14:nvContentPartPr>
              <p14:cNvPr id="10" name="Ink 9">
                <a:extLst>
                  <a:ext uri="{FF2B5EF4-FFF2-40B4-BE49-F238E27FC236}">
                    <a16:creationId xmlns:a16="http://schemas.microsoft.com/office/drawing/2014/main" id="{D8F2BD63-FD46-4A5A-B53D-AB24D607257D}"/>
                  </a:ext>
                </a:extLst>
              </p14:cNvPr>
              <p14:cNvContentPartPr/>
              <p14:nvPr/>
            </p14:nvContentPartPr>
            <p14:xfrm>
              <a:off x="5139047" y="4259953"/>
              <a:ext cx="360" cy="360"/>
            </p14:xfrm>
          </p:contentPart>
        </mc:Choice>
        <mc:Fallback xmlns="">
          <p:pic>
            <p:nvPicPr>
              <p:cNvPr id="10" name="Ink 9">
                <a:extLst>
                  <a:ext uri="{FF2B5EF4-FFF2-40B4-BE49-F238E27FC236}">
                    <a16:creationId xmlns:a16="http://schemas.microsoft.com/office/drawing/2014/main" id="{D8F2BD63-FD46-4A5A-B53D-AB24D607257D}"/>
                  </a:ext>
                </a:extLst>
              </p:cNvPr>
              <p:cNvPicPr/>
              <p:nvPr/>
            </p:nvPicPr>
            <p:blipFill>
              <a:blip r:embed="rId8"/>
              <a:stretch>
                <a:fillRect/>
              </a:stretch>
            </p:blipFill>
            <p:spPr>
              <a:xfrm>
                <a:off x="5121047" y="4151953"/>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9">
            <p14:nvContentPartPr>
              <p14:cNvPr id="11" name="Ink 10">
                <a:extLst>
                  <a:ext uri="{FF2B5EF4-FFF2-40B4-BE49-F238E27FC236}">
                    <a16:creationId xmlns:a16="http://schemas.microsoft.com/office/drawing/2014/main" id="{11E1959D-C866-48BB-91C7-682051D2E93C}"/>
                  </a:ext>
                </a:extLst>
              </p14:cNvPr>
              <p14:cNvContentPartPr/>
              <p14:nvPr/>
            </p14:nvContentPartPr>
            <p14:xfrm>
              <a:off x="5585447" y="2494873"/>
              <a:ext cx="360" cy="360"/>
            </p14:xfrm>
          </p:contentPart>
        </mc:Choice>
        <mc:Fallback xmlns="">
          <p:pic>
            <p:nvPicPr>
              <p:cNvPr id="11" name="Ink 10">
                <a:extLst>
                  <a:ext uri="{FF2B5EF4-FFF2-40B4-BE49-F238E27FC236}">
                    <a16:creationId xmlns:a16="http://schemas.microsoft.com/office/drawing/2014/main" id="{11E1959D-C866-48BB-91C7-682051D2E93C}"/>
                  </a:ext>
                </a:extLst>
              </p:cNvPr>
              <p:cNvPicPr/>
              <p:nvPr/>
            </p:nvPicPr>
            <p:blipFill>
              <a:blip r:embed="rId10"/>
              <a:stretch>
                <a:fillRect/>
              </a:stretch>
            </p:blipFill>
            <p:spPr>
              <a:xfrm>
                <a:off x="5567447" y="2386873"/>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1">
            <p14:nvContentPartPr>
              <p14:cNvPr id="12" name="Ink 11">
                <a:extLst>
                  <a:ext uri="{FF2B5EF4-FFF2-40B4-BE49-F238E27FC236}">
                    <a16:creationId xmlns:a16="http://schemas.microsoft.com/office/drawing/2014/main" id="{CE1D7412-DD2B-4EDC-8C67-E259283D0ED0}"/>
                  </a:ext>
                </a:extLst>
              </p14:cNvPr>
              <p14:cNvContentPartPr/>
              <p14:nvPr/>
            </p14:nvContentPartPr>
            <p14:xfrm>
              <a:off x="6216167" y="3394873"/>
              <a:ext cx="360" cy="360"/>
            </p14:xfrm>
          </p:contentPart>
        </mc:Choice>
        <mc:Fallback xmlns="">
          <p:pic>
            <p:nvPicPr>
              <p:cNvPr id="12" name="Ink 11">
                <a:extLst>
                  <a:ext uri="{FF2B5EF4-FFF2-40B4-BE49-F238E27FC236}">
                    <a16:creationId xmlns:a16="http://schemas.microsoft.com/office/drawing/2014/main" id="{CE1D7412-DD2B-4EDC-8C67-E259283D0ED0}"/>
                  </a:ext>
                </a:extLst>
              </p:cNvPr>
              <p:cNvPicPr/>
              <p:nvPr/>
            </p:nvPicPr>
            <p:blipFill>
              <a:blip r:embed="rId12"/>
              <a:stretch>
                <a:fillRect/>
              </a:stretch>
            </p:blipFill>
            <p:spPr>
              <a:xfrm>
                <a:off x="6198527" y="3286873"/>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3">
            <p14:nvContentPartPr>
              <p14:cNvPr id="13" name="Ink 12">
                <a:extLst>
                  <a:ext uri="{FF2B5EF4-FFF2-40B4-BE49-F238E27FC236}">
                    <a16:creationId xmlns:a16="http://schemas.microsoft.com/office/drawing/2014/main" id="{0A488078-3F2A-4FE0-9C8C-022AE4D178F9}"/>
                  </a:ext>
                </a:extLst>
              </p14:cNvPr>
              <p14:cNvContentPartPr/>
              <p14:nvPr/>
            </p14:nvContentPartPr>
            <p14:xfrm>
              <a:off x="5514167" y="2647873"/>
              <a:ext cx="360" cy="3240"/>
            </p14:xfrm>
          </p:contentPart>
        </mc:Choice>
        <mc:Fallback xmlns="">
          <p:pic>
            <p:nvPicPr>
              <p:cNvPr id="13" name="Ink 12">
                <a:extLst>
                  <a:ext uri="{FF2B5EF4-FFF2-40B4-BE49-F238E27FC236}">
                    <a16:creationId xmlns:a16="http://schemas.microsoft.com/office/drawing/2014/main" id="{0A488078-3F2A-4FE0-9C8C-022AE4D178F9}"/>
                  </a:ext>
                </a:extLst>
              </p:cNvPr>
              <p:cNvPicPr/>
              <p:nvPr/>
            </p:nvPicPr>
            <p:blipFill>
              <a:blip r:embed="rId14"/>
              <a:stretch>
                <a:fillRect/>
              </a:stretch>
            </p:blipFill>
            <p:spPr>
              <a:xfrm>
                <a:off x="5496527" y="2540233"/>
                <a:ext cx="36000" cy="2188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5">
            <p14:nvContentPartPr>
              <p14:cNvPr id="14" name="Ink 13">
                <a:extLst>
                  <a:ext uri="{FF2B5EF4-FFF2-40B4-BE49-F238E27FC236}">
                    <a16:creationId xmlns:a16="http://schemas.microsoft.com/office/drawing/2014/main" id="{CD61DF2A-BD67-41AD-A99A-CAD45C23EE67}"/>
                  </a:ext>
                </a:extLst>
              </p14:cNvPr>
              <p14:cNvContentPartPr/>
              <p14:nvPr/>
            </p14:nvContentPartPr>
            <p14:xfrm>
              <a:off x="4231487" y="1849753"/>
              <a:ext cx="360" cy="360"/>
            </p14:xfrm>
          </p:contentPart>
        </mc:Choice>
        <mc:Fallback xmlns="">
          <p:pic>
            <p:nvPicPr>
              <p:cNvPr id="14" name="Ink 13">
                <a:extLst>
                  <a:ext uri="{FF2B5EF4-FFF2-40B4-BE49-F238E27FC236}">
                    <a16:creationId xmlns:a16="http://schemas.microsoft.com/office/drawing/2014/main" id="{CD61DF2A-BD67-41AD-A99A-CAD45C23EE67}"/>
                  </a:ext>
                </a:extLst>
              </p:cNvPr>
              <p:cNvPicPr/>
              <p:nvPr/>
            </p:nvPicPr>
            <p:blipFill>
              <a:blip r:embed="rId16"/>
              <a:stretch>
                <a:fillRect/>
              </a:stretch>
            </p:blipFill>
            <p:spPr>
              <a:xfrm>
                <a:off x="4213487" y="1741753"/>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7">
            <p14:nvContentPartPr>
              <p14:cNvPr id="15" name="Ink 14">
                <a:extLst>
                  <a:ext uri="{FF2B5EF4-FFF2-40B4-BE49-F238E27FC236}">
                    <a16:creationId xmlns:a16="http://schemas.microsoft.com/office/drawing/2014/main" id="{68632BA1-89C2-4536-9DBD-CB12DD8B2C82}"/>
                  </a:ext>
                </a:extLst>
              </p14:cNvPr>
              <p14:cNvContentPartPr/>
              <p14:nvPr/>
            </p14:nvContentPartPr>
            <p14:xfrm>
              <a:off x="3437687" y="1346473"/>
              <a:ext cx="360" cy="360"/>
            </p14:xfrm>
          </p:contentPart>
        </mc:Choice>
        <mc:Fallback xmlns="">
          <p:pic>
            <p:nvPicPr>
              <p:cNvPr id="15" name="Ink 14">
                <a:extLst>
                  <a:ext uri="{FF2B5EF4-FFF2-40B4-BE49-F238E27FC236}">
                    <a16:creationId xmlns:a16="http://schemas.microsoft.com/office/drawing/2014/main" id="{68632BA1-89C2-4536-9DBD-CB12DD8B2C82}"/>
                  </a:ext>
                </a:extLst>
              </p:cNvPr>
              <p:cNvPicPr/>
              <p:nvPr/>
            </p:nvPicPr>
            <p:blipFill>
              <a:blip r:embed="rId18"/>
              <a:stretch>
                <a:fillRect/>
              </a:stretch>
            </p:blipFill>
            <p:spPr>
              <a:xfrm>
                <a:off x="3419687" y="1238473"/>
                <a:ext cx="36000" cy="216000"/>
              </a:xfrm>
              <a:prstGeom prst="rect">
                <a:avLst/>
              </a:prstGeom>
            </p:spPr>
          </p:pic>
        </mc:Fallback>
      </mc:AlternateContent>
      <p:grpSp>
        <p:nvGrpSpPr>
          <p:cNvPr id="39" name="POWER_USER_DATA_MAP" descr="{&quot;IsGrandientColor&quot;:true,&quot;GradientColor&quot;:&quot;#7F7F7F&quot;,&quot;IsRangesColor&quot;:false,&quot;RangesSettings&quot;:[{&quot;RangeColorHexa&quot;:&quot;#25A6E0&quot;,&quot;ComparisonValue&quot;:1.0,&quot;RangeOperator&quot;:1,&quot;RangeComparison&quot;:0},{&quot;RangeColorHexa&quot;:&quot;#104499&quot;,&quot;ComparisonValue&quot;:1.0,&quot;RangeOperator&quot;:1,&quot;RangeComparison&quot;:0}],&quot;RangeName&quot;:&quot;POWER_USER_EXCEL_MAP_D6018E6F_DA80_42DB_B092_26D253542303&quot;,&quot;Version&quot;:&quot;1.6.1146.0&quot;}">
            <a:extLst>
              <a:ext uri="{FF2B5EF4-FFF2-40B4-BE49-F238E27FC236}">
                <a16:creationId xmlns:a16="http://schemas.microsoft.com/office/drawing/2014/main" id="{C4D3DA1D-456A-47F6-8A3A-6E772E923A77}"/>
              </a:ext>
            </a:extLst>
          </p:cNvPr>
          <p:cNvGrpSpPr>
            <a:grpSpLocks noChangeAspect="1"/>
          </p:cNvGrpSpPr>
          <p:nvPr/>
        </p:nvGrpSpPr>
        <p:grpSpPr>
          <a:xfrm>
            <a:off x="-172066" y="567873"/>
            <a:ext cx="2618147" cy="2071360"/>
            <a:chOff x="818783" y="-235157"/>
            <a:chExt cx="7985177" cy="6317519"/>
          </a:xfrm>
          <a:solidFill>
            <a:srgbClr val="0070C0"/>
          </a:solidFill>
        </p:grpSpPr>
        <p:grpSp>
          <p:nvGrpSpPr>
            <p:cNvPr id="2218" name="China_Provinces">
              <a:extLst>
                <a:ext uri="{FF2B5EF4-FFF2-40B4-BE49-F238E27FC236}">
                  <a16:creationId xmlns:a16="http://schemas.microsoft.com/office/drawing/2014/main" id="{52AA33F0-F6B4-4CAE-9715-981A77F3A2C7}"/>
                </a:ext>
              </a:extLst>
            </p:cNvPr>
            <p:cNvGrpSpPr>
              <a:grpSpLocks noChangeAspect="1"/>
            </p:cNvGrpSpPr>
            <p:nvPr/>
          </p:nvGrpSpPr>
          <p:grpSpPr>
            <a:xfrm>
              <a:off x="818783" y="452232"/>
              <a:ext cx="7736506" cy="5630130"/>
              <a:chOff x="1927283" y="1073150"/>
              <a:chExt cx="7736506" cy="5630130"/>
            </a:xfrm>
            <a:grpFill/>
          </p:grpSpPr>
          <p:grpSp>
            <p:nvGrpSpPr>
              <p:cNvPr id="2219" name="Group 2218">
                <a:extLst>
                  <a:ext uri="{FF2B5EF4-FFF2-40B4-BE49-F238E27FC236}">
                    <a16:creationId xmlns:a16="http://schemas.microsoft.com/office/drawing/2014/main" id="{02E6DD4A-C22D-40F8-BE54-A85ACE6D8F61}"/>
                  </a:ext>
                </a:extLst>
              </p:cNvPr>
              <p:cNvGrpSpPr/>
              <p:nvPr/>
            </p:nvGrpSpPr>
            <p:grpSpPr>
              <a:xfrm>
                <a:off x="2693193" y="1073150"/>
                <a:ext cx="6740525" cy="5507038"/>
                <a:chOff x="2693193" y="1073150"/>
                <a:chExt cx="6740525" cy="5507038"/>
              </a:xfrm>
              <a:grpFill/>
            </p:grpSpPr>
            <p:sp>
              <p:nvSpPr>
                <p:cNvPr id="2277" name="Heilongjiang" descr="{&quot;Key&quot;:&quot;heilongjiang&quot;,&quot;Name&quot;:&quot;Heilongjiang&quot;,&quot;Value&quot;:1.0,&quot;Formula&quot;:&quot;&quot;,&quot;Text&quot;:&quot;&quot;,&quot;OfficeApplication&quot;:1,&quot;HasValue&quot;:true}">
                  <a:extLst>
                    <a:ext uri="{FF2B5EF4-FFF2-40B4-BE49-F238E27FC236}">
                      <a16:creationId xmlns:a16="http://schemas.microsoft.com/office/drawing/2014/main" id="{1FC02FE3-A2AA-4720-9483-1F4E366A13C2}"/>
                    </a:ext>
                  </a:extLst>
                </p:cNvPr>
                <p:cNvSpPr>
                  <a:spLocks/>
                </p:cNvSpPr>
                <p:nvPr/>
              </p:nvSpPr>
              <p:spPr bwMode="auto">
                <a:xfrm>
                  <a:off x="7890668" y="1073150"/>
                  <a:ext cx="1543050" cy="1460500"/>
                </a:xfrm>
                <a:custGeom>
                  <a:avLst/>
                  <a:gdLst>
                    <a:gd name="T0" fmla="*/ 723 w 782"/>
                    <a:gd name="T1" fmla="*/ 560 h 740"/>
                    <a:gd name="T2" fmla="*/ 741 w 782"/>
                    <a:gd name="T3" fmla="*/ 456 h 740"/>
                    <a:gd name="T4" fmla="*/ 739 w 782"/>
                    <a:gd name="T5" fmla="*/ 395 h 740"/>
                    <a:gd name="T6" fmla="*/ 742 w 782"/>
                    <a:gd name="T7" fmla="*/ 301 h 740"/>
                    <a:gd name="T8" fmla="*/ 644 w 782"/>
                    <a:gd name="T9" fmla="*/ 378 h 740"/>
                    <a:gd name="T10" fmla="*/ 552 w 782"/>
                    <a:gd name="T11" fmla="*/ 375 h 740"/>
                    <a:gd name="T12" fmla="*/ 535 w 782"/>
                    <a:gd name="T13" fmla="*/ 320 h 740"/>
                    <a:gd name="T14" fmla="*/ 446 w 782"/>
                    <a:gd name="T15" fmla="*/ 290 h 740"/>
                    <a:gd name="T16" fmla="*/ 358 w 782"/>
                    <a:gd name="T17" fmla="*/ 239 h 740"/>
                    <a:gd name="T18" fmla="*/ 318 w 782"/>
                    <a:gd name="T19" fmla="*/ 172 h 740"/>
                    <a:gd name="T20" fmla="*/ 286 w 782"/>
                    <a:gd name="T21" fmla="*/ 120 h 740"/>
                    <a:gd name="T22" fmla="*/ 274 w 782"/>
                    <a:gd name="T23" fmla="*/ 91 h 740"/>
                    <a:gd name="T24" fmla="*/ 195 w 782"/>
                    <a:gd name="T25" fmla="*/ 38 h 740"/>
                    <a:gd name="T26" fmla="*/ 69 w 782"/>
                    <a:gd name="T27" fmla="*/ 30 h 740"/>
                    <a:gd name="T28" fmla="*/ 43 w 782"/>
                    <a:gd name="T29" fmla="*/ 112 h 740"/>
                    <a:gd name="T30" fmla="*/ 97 w 782"/>
                    <a:gd name="T31" fmla="*/ 122 h 740"/>
                    <a:gd name="T32" fmla="*/ 153 w 782"/>
                    <a:gd name="T33" fmla="*/ 189 h 740"/>
                    <a:gd name="T34" fmla="*/ 254 w 782"/>
                    <a:gd name="T35" fmla="*/ 170 h 740"/>
                    <a:gd name="T36" fmla="*/ 242 w 782"/>
                    <a:gd name="T37" fmla="*/ 346 h 740"/>
                    <a:gd name="T38" fmla="*/ 236 w 782"/>
                    <a:gd name="T39" fmla="*/ 424 h 740"/>
                    <a:gd name="T40" fmla="*/ 138 w 782"/>
                    <a:gd name="T41" fmla="*/ 492 h 740"/>
                    <a:gd name="T42" fmla="*/ 194 w 782"/>
                    <a:gd name="T43" fmla="*/ 529 h 740"/>
                    <a:gd name="T44" fmla="*/ 184 w 782"/>
                    <a:gd name="T45" fmla="*/ 573 h 740"/>
                    <a:gd name="T46" fmla="*/ 208 w 782"/>
                    <a:gd name="T47" fmla="*/ 577 h 740"/>
                    <a:gd name="T48" fmla="*/ 294 w 782"/>
                    <a:gd name="T49" fmla="*/ 625 h 740"/>
                    <a:gd name="T50" fmla="*/ 362 w 782"/>
                    <a:gd name="T51" fmla="*/ 636 h 740"/>
                    <a:gd name="T52" fmla="*/ 438 w 782"/>
                    <a:gd name="T53" fmla="*/ 668 h 740"/>
                    <a:gd name="T54" fmla="*/ 490 w 782"/>
                    <a:gd name="T55" fmla="*/ 671 h 740"/>
                    <a:gd name="T56" fmla="*/ 541 w 782"/>
                    <a:gd name="T57" fmla="*/ 719 h 740"/>
                    <a:gd name="T58" fmla="*/ 589 w 782"/>
                    <a:gd name="T59" fmla="*/ 686 h 740"/>
                    <a:gd name="T60" fmla="*/ 651 w 782"/>
                    <a:gd name="T61" fmla="*/ 708 h 740"/>
                    <a:gd name="T62" fmla="*/ 618 w 782"/>
                    <a:gd name="T63" fmla="*/ 608 h 740"/>
                    <a:gd name="T64" fmla="*/ 646 w 782"/>
                    <a:gd name="T65" fmla="*/ 584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740">
                      <a:moveTo>
                        <a:pt x="646" y="584"/>
                      </a:moveTo>
                      <a:cubicBezTo>
                        <a:pt x="650" y="548"/>
                        <a:pt x="725" y="588"/>
                        <a:pt x="723" y="560"/>
                      </a:cubicBezTo>
                      <a:cubicBezTo>
                        <a:pt x="720" y="514"/>
                        <a:pt x="730" y="538"/>
                        <a:pt x="729" y="512"/>
                      </a:cubicBezTo>
                      <a:cubicBezTo>
                        <a:pt x="729" y="499"/>
                        <a:pt x="747" y="475"/>
                        <a:pt x="741" y="456"/>
                      </a:cubicBezTo>
                      <a:cubicBezTo>
                        <a:pt x="738" y="449"/>
                        <a:pt x="741" y="442"/>
                        <a:pt x="738" y="424"/>
                      </a:cubicBezTo>
                      <a:cubicBezTo>
                        <a:pt x="735" y="412"/>
                        <a:pt x="744" y="406"/>
                        <a:pt x="739" y="395"/>
                      </a:cubicBezTo>
                      <a:cubicBezTo>
                        <a:pt x="731" y="374"/>
                        <a:pt x="782" y="365"/>
                        <a:pt x="749" y="338"/>
                      </a:cubicBezTo>
                      <a:cubicBezTo>
                        <a:pt x="739" y="330"/>
                        <a:pt x="756" y="304"/>
                        <a:pt x="742" y="301"/>
                      </a:cubicBezTo>
                      <a:cubicBezTo>
                        <a:pt x="721" y="297"/>
                        <a:pt x="698" y="331"/>
                        <a:pt x="679" y="338"/>
                      </a:cubicBezTo>
                      <a:cubicBezTo>
                        <a:pt x="654" y="347"/>
                        <a:pt x="650" y="376"/>
                        <a:pt x="644" y="378"/>
                      </a:cubicBezTo>
                      <a:cubicBezTo>
                        <a:pt x="598" y="393"/>
                        <a:pt x="596" y="387"/>
                        <a:pt x="585" y="390"/>
                      </a:cubicBezTo>
                      <a:cubicBezTo>
                        <a:pt x="559" y="396"/>
                        <a:pt x="584" y="408"/>
                        <a:pt x="552" y="375"/>
                      </a:cubicBezTo>
                      <a:cubicBezTo>
                        <a:pt x="538" y="361"/>
                        <a:pt x="551" y="370"/>
                        <a:pt x="550" y="351"/>
                      </a:cubicBezTo>
                      <a:cubicBezTo>
                        <a:pt x="548" y="330"/>
                        <a:pt x="534" y="349"/>
                        <a:pt x="535" y="320"/>
                      </a:cubicBezTo>
                      <a:cubicBezTo>
                        <a:pt x="535" y="298"/>
                        <a:pt x="522" y="332"/>
                        <a:pt x="483" y="295"/>
                      </a:cubicBezTo>
                      <a:cubicBezTo>
                        <a:pt x="457" y="269"/>
                        <a:pt x="462" y="303"/>
                        <a:pt x="446" y="290"/>
                      </a:cubicBezTo>
                      <a:cubicBezTo>
                        <a:pt x="419" y="268"/>
                        <a:pt x="412" y="289"/>
                        <a:pt x="383" y="286"/>
                      </a:cubicBezTo>
                      <a:cubicBezTo>
                        <a:pt x="358" y="283"/>
                        <a:pt x="366" y="244"/>
                        <a:pt x="358" y="239"/>
                      </a:cubicBezTo>
                      <a:cubicBezTo>
                        <a:pt x="344" y="229"/>
                        <a:pt x="354" y="229"/>
                        <a:pt x="338" y="202"/>
                      </a:cubicBezTo>
                      <a:cubicBezTo>
                        <a:pt x="326" y="183"/>
                        <a:pt x="321" y="196"/>
                        <a:pt x="318" y="172"/>
                      </a:cubicBezTo>
                      <a:cubicBezTo>
                        <a:pt x="317" y="166"/>
                        <a:pt x="309" y="162"/>
                        <a:pt x="308" y="154"/>
                      </a:cubicBezTo>
                      <a:cubicBezTo>
                        <a:pt x="304" y="138"/>
                        <a:pt x="287" y="121"/>
                        <a:pt x="286" y="120"/>
                      </a:cubicBezTo>
                      <a:cubicBezTo>
                        <a:pt x="285" y="114"/>
                        <a:pt x="288" y="107"/>
                        <a:pt x="285" y="101"/>
                      </a:cubicBezTo>
                      <a:cubicBezTo>
                        <a:pt x="284" y="98"/>
                        <a:pt x="276" y="105"/>
                        <a:pt x="274" y="91"/>
                      </a:cubicBezTo>
                      <a:cubicBezTo>
                        <a:pt x="273" y="88"/>
                        <a:pt x="253" y="57"/>
                        <a:pt x="252" y="56"/>
                      </a:cubicBezTo>
                      <a:cubicBezTo>
                        <a:pt x="234" y="46"/>
                        <a:pt x="217" y="23"/>
                        <a:pt x="195" y="38"/>
                      </a:cubicBezTo>
                      <a:cubicBezTo>
                        <a:pt x="180" y="48"/>
                        <a:pt x="151" y="0"/>
                        <a:pt x="98" y="25"/>
                      </a:cubicBezTo>
                      <a:cubicBezTo>
                        <a:pt x="88" y="30"/>
                        <a:pt x="73" y="24"/>
                        <a:pt x="69" y="30"/>
                      </a:cubicBezTo>
                      <a:cubicBezTo>
                        <a:pt x="64" y="35"/>
                        <a:pt x="44" y="38"/>
                        <a:pt x="31" y="41"/>
                      </a:cubicBezTo>
                      <a:cubicBezTo>
                        <a:pt x="86" y="73"/>
                        <a:pt x="0" y="93"/>
                        <a:pt x="43" y="112"/>
                      </a:cubicBezTo>
                      <a:cubicBezTo>
                        <a:pt x="60" y="119"/>
                        <a:pt x="59" y="129"/>
                        <a:pt x="71" y="109"/>
                      </a:cubicBezTo>
                      <a:cubicBezTo>
                        <a:pt x="79" y="97"/>
                        <a:pt x="90" y="119"/>
                        <a:pt x="97" y="122"/>
                      </a:cubicBezTo>
                      <a:cubicBezTo>
                        <a:pt x="114" y="130"/>
                        <a:pt x="91" y="119"/>
                        <a:pt x="103" y="146"/>
                      </a:cubicBezTo>
                      <a:cubicBezTo>
                        <a:pt x="114" y="168"/>
                        <a:pt x="120" y="206"/>
                        <a:pt x="153" y="189"/>
                      </a:cubicBezTo>
                      <a:cubicBezTo>
                        <a:pt x="167" y="181"/>
                        <a:pt x="175" y="188"/>
                        <a:pt x="207" y="175"/>
                      </a:cubicBezTo>
                      <a:cubicBezTo>
                        <a:pt x="232" y="165"/>
                        <a:pt x="206" y="126"/>
                        <a:pt x="254" y="170"/>
                      </a:cubicBezTo>
                      <a:cubicBezTo>
                        <a:pt x="285" y="199"/>
                        <a:pt x="282" y="198"/>
                        <a:pt x="254" y="267"/>
                      </a:cubicBezTo>
                      <a:cubicBezTo>
                        <a:pt x="242" y="294"/>
                        <a:pt x="277" y="333"/>
                        <a:pt x="242" y="346"/>
                      </a:cubicBezTo>
                      <a:cubicBezTo>
                        <a:pt x="229" y="351"/>
                        <a:pt x="242" y="383"/>
                        <a:pt x="233" y="392"/>
                      </a:cubicBezTo>
                      <a:cubicBezTo>
                        <a:pt x="229" y="397"/>
                        <a:pt x="246" y="418"/>
                        <a:pt x="236" y="424"/>
                      </a:cubicBezTo>
                      <a:cubicBezTo>
                        <a:pt x="223" y="431"/>
                        <a:pt x="226" y="377"/>
                        <a:pt x="211" y="406"/>
                      </a:cubicBezTo>
                      <a:cubicBezTo>
                        <a:pt x="196" y="434"/>
                        <a:pt x="144" y="477"/>
                        <a:pt x="138" y="492"/>
                      </a:cubicBezTo>
                      <a:cubicBezTo>
                        <a:pt x="132" y="507"/>
                        <a:pt x="158" y="514"/>
                        <a:pt x="166" y="530"/>
                      </a:cubicBezTo>
                      <a:cubicBezTo>
                        <a:pt x="182" y="563"/>
                        <a:pt x="185" y="507"/>
                        <a:pt x="194" y="529"/>
                      </a:cubicBezTo>
                      <a:cubicBezTo>
                        <a:pt x="195" y="532"/>
                        <a:pt x="208" y="524"/>
                        <a:pt x="206" y="537"/>
                      </a:cubicBezTo>
                      <a:cubicBezTo>
                        <a:pt x="203" y="552"/>
                        <a:pt x="160" y="542"/>
                        <a:pt x="184" y="573"/>
                      </a:cubicBezTo>
                      <a:cubicBezTo>
                        <a:pt x="185" y="574"/>
                        <a:pt x="186" y="575"/>
                        <a:pt x="186" y="577"/>
                      </a:cubicBezTo>
                      <a:cubicBezTo>
                        <a:pt x="193" y="577"/>
                        <a:pt x="202" y="578"/>
                        <a:pt x="208" y="577"/>
                      </a:cubicBezTo>
                      <a:cubicBezTo>
                        <a:pt x="245" y="567"/>
                        <a:pt x="224" y="588"/>
                        <a:pt x="241" y="611"/>
                      </a:cubicBezTo>
                      <a:cubicBezTo>
                        <a:pt x="268" y="647"/>
                        <a:pt x="282" y="617"/>
                        <a:pt x="294" y="625"/>
                      </a:cubicBezTo>
                      <a:cubicBezTo>
                        <a:pt x="307" y="634"/>
                        <a:pt x="315" y="612"/>
                        <a:pt x="326" y="615"/>
                      </a:cubicBezTo>
                      <a:cubicBezTo>
                        <a:pt x="327" y="615"/>
                        <a:pt x="346" y="650"/>
                        <a:pt x="362" y="636"/>
                      </a:cubicBezTo>
                      <a:cubicBezTo>
                        <a:pt x="381" y="621"/>
                        <a:pt x="410" y="628"/>
                        <a:pt x="407" y="646"/>
                      </a:cubicBezTo>
                      <a:cubicBezTo>
                        <a:pt x="398" y="686"/>
                        <a:pt x="437" y="655"/>
                        <a:pt x="438" y="668"/>
                      </a:cubicBezTo>
                      <a:cubicBezTo>
                        <a:pt x="441" y="708"/>
                        <a:pt x="478" y="705"/>
                        <a:pt x="473" y="691"/>
                      </a:cubicBezTo>
                      <a:cubicBezTo>
                        <a:pt x="467" y="673"/>
                        <a:pt x="483" y="648"/>
                        <a:pt x="490" y="671"/>
                      </a:cubicBezTo>
                      <a:cubicBezTo>
                        <a:pt x="498" y="696"/>
                        <a:pt x="500" y="693"/>
                        <a:pt x="512" y="713"/>
                      </a:cubicBezTo>
                      <a:cubicBezTo>
                        <a:pt x="528" y="740"/>
                        <a:pt x="544" y="726"/>
                        <a:pt x="541" y="719"/>
                      </a:cubicBezTo>
                      <a:cubicBezTo>
                        <a:pt x="534" y="700"/>
                        <a:pt x="554" y="707"/>
                        <a:pt x="563" y="695"/>
                      </a:cubicBezTo>
                      <a:cubicBezTo>
                        <a:pt x="577" y="674"/>
                        <a:pt x="581" y="701"/>
                        <a:pt x="589" y="686"/>
                      </a:cubicBezTo>
                      <a:cubicBezTo>
                        <a:pt x="598" y="671"/>
                        <a:pt x="603" y="702"/>
                        <a:pt x="613" y="705"/>
                      </a:cubicBezTo>
                      <a:cubicBezTo>
                        <a:pt x="637" y="713"/>
                        <a:pt x="626" y="714"/>
                        <a:pt x="651" y="708"/>
                      </a:cubicBezTo>
                      <a:cubicBezTo>
                        <a:pt x="651" y="707"/>
                        <a:pt x="651" y="706"/>
                        <a:pt x="650" y="705"/>
                      </a:cubicBezTo>
                      <a:cubicBezTo>
                        <a:pt x="642" y="675"/>
                        <a:pt x="659" y="675"/>
                        <a:pt x="618" y="608"/>
                      </a:cubicBezTo>
                      <a:cubicBezTo>
                        <a:pt x="616" y="604"/>
                        <a:pt x="645" y="593"/>
                        <a:pt x="646" y="584"/>
                      </a:cubicBezTo>
                      <a:cubicBezTo>
                        <a:pt x="646" y="584"/>
                        <a:pt x="646" y="584"/>
                        <a:pt x="646" y="584"/>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78" name="Jilin" descr="{&quot;Key&quot;:&quot;jilin&quot;,&quot;Name&quot;:&quot;Jilin&quot;,&quot;Value&quot;:1.0,&quot;Formula&quot;:&quot;&quot;,&quot;Text&quot;:&quot;&quot;,&quot;OfficeApplication&quot;:1,&quot;HasValue&quot;:true}">
                  <a:extLst>
                    <a:ext uri="{FF2B5EF4-FFF2-40B4-BE49-F238E27FC236}">
                      <a16:creationId xmlns:a16="http://schemas.microsoft.com/office/drawing/2014/main" id="{D8A08CF9-894A-475A-9297-B3E6719C4533}"/>
                    </a:ext>
                  </a:extLst>
                </p:cNvPr>
                <p:cNvSpPr>
                  <a:spLocks/>
                </p:cNvSpPr>
                <p:nvPr/>
              </p:nvSpPr>
              <p:spPr bwMode="auto">
                <a:xfrm>
                  <a:off x="8104981" y="2192338"/>
                  <a:ext cx="1076325" cy="776288"/>
                </a:xfrm>
                <a:custGeom>
                  <a:avLst/>
                  <a:gdLst>
                    <a:gd name="T0" fmla="*/ 365 w 546"/>
                    <a:gd name="T1" fmla="*/ 124 h 393"/>
                    <a:gd name="T2" fmla="*/ 330 w 546"/>
                    <a:gd name="T3" fmla="*/ 101 h 393"/>
                    <a:gd name="T4" fmla="*/ 299 w 546"/>
                    <a:gd name="T5" fmla="*/ 79 h 393"/>
                    <a:gd name="T6" fmla="*/ 254 w 546"/>
                    <a:gd name="T7" fmla="*/ 69 h 393"/>
                    <a:gd name="T8" fmla="*/ 218 w 546"/>
                    <a:gd name="T9" fmla="*/ 48 h 393"/>
                    <a:gd name="T10" fmla="*/ 186 w 546"/>
                    <a:gd name="T11" fmla="*/ 58 h 393"/>
                    <a:gd name="T12" fmla="*/ 133 w 546"/>
                    <a:gd name="T13" fmla="*/ 44 h 393"/>
                    <a:gd name="T14" fmla="*/ 100 w 546"/>
                    <a:gd name="T15" fmla="*/ 10 h 393"/>
                    <a:gd name="T16" fmla="*/ 78 w 546"/>
                    <a:gd name="T17" fmla="*/ 10 h 393"/>
                    <a:gd name="T18" fmla="*/ 64 w 546"/>
                    <a:gd name="T19" fmla="*/ 35 h 393"/>
                    <a:gd name="T20" fmla="*/ 47 w 546"/>
                    <a:gd name="T21" fmla="*/ 46 h 393"/>
                    <a:gd name="T22" fmla="*/ 24 w 546"/>
                    <a:gd name="T23" fmla="*/ 42 h 393"/>
                    <a:gd name="T24" fmla="*/ 6 w 546"/>
                    <a:gd name="T25" fmla="*/ 58 h 393"/>
                    <a:gd name="T26" fmla="*/ 22 w 546"/>
                    <a:gd name="T27" fmla="*/ 69 h 393"/>
                    <a:gd name="T28" fmla="*/ 34 w 546"/>
                    <a:gd name="T29" fmla="*/ 100 h 393"/>
                    <a:gd name="T30" fmla="*/ 36 w 546"/>
                    <a:gd name="T31" fmla="*/ 120 h 393"/>
                    <a:gd name="T32" fmla="*/ 54 w 546"/>
                    <a:gd name="T33" fmla="*/ 164 h 393"/>
                    <a:gd name="T34" fmla="*/ 90 w 546"/>
                    <a:gd name="T35" fmla="*/ 145 h 393"/>
                    <a:gd name="T36" fmla="*/ 105 w 546"/>
                    <a:gd name="T37" fmla="*/ 158 h 393"/>
                    <a:gd name="T38" fmla="*/ 119 w 546"/>
                    <a:gd name="T39" fmla="*/ 184 h 393"/>
                    <a:gd name="T40" fmla="*/ 123 w 546"/>
                    <a:gd name="T41" fmla="*/ 206 h 393"/>
                    <a:gd name="T42" fmla="*/ 128 w 546"/>
                    <a:gd name="T43" fmla="*/ 220 h 393"/>
                    <a:gd name="T44" fmla="*/ 138 w 546"/>
                    <a:gd name="T45" fmla="*/ 221 h 393"/>
                    <a:gd name="T46" fmla="*/ 145 w 546"/>
                    <a:gd name="T47" fmla="*/ 217 h 393"/>
                    <a:gd name="T48" fmla="*/ 177 w 546"/>
                    <a:gd name="T49" fmla="*/ 237 h 393"/>
                    <a:gd name="T50" fmla="*/ 195 w 546"/>
                    <a:gd name="T51" fmla="*/ 238 h 393"/>
                    <a:gd name="T52" fmla="*/ 205 w 546"/>
                    <a:gd name="T53" fmla="*/ 246 h 393"/>
                    <a:gd name="T54" fmla="*/ 235 w 546"/>
                    <a:gd name="T55" fmla="*/ 292 h 393"/>
                    <a:gd name="T56" fmla="*/ 248 w 546"/>
                    <a:gd name="T57" fmla="*/ 299 h 393"/>
                    <a:gd name="T58" fmla="*/ 246 w 546"/>
                    <a:gd name="T59" fmla="*/ 333 h 393"/>
                    <a:gd name="T60" fmla="*/ 266 w 546"/>
                    <a:gd name="T61" fmla="*/ 358 h 393"/>
                    <a:gd name="T62" fmla="*/ 278 w 546"/>
                    <a:gd name="T63" fmla="*/ 393 h 393"/>
                    <a:gd name="T64" fmla="*/ 283 w 546"/>
                    <a:gd name="T65" fmla="*/ 390 h 393"/>
                    <a:gd name="T66" fmla="*/ 311 w 546"/>
                    <a:gd name="T67" fmla="*/ 351 h 393"/>
                    <a:gd name="T68" fmla="*/ 342 w 546"/>
                    <a:gd name="T69" fmla="*/ 321 h 393"/>
                    <a:gd name="T70" fmla="*/ 398 w 546"/>
                    <a:gd name="T71" fmla="*/ 331 h 393"/>
                    <a:gd name="T72" fmla="*/ 400 w 546"/>
                    <a:gd name="T73" fmla="*/ 303 h 393"/>
                    <a:gd name="T74" fmla="*/ 401 w 546"/>
                    <a:gd name="T75" fmla="*/ 282 h 393"/>
                    <a:gd name="T76" fmla="*/ 460 w 546"/>
                    <a:gd name="T77" fmla="*/ 238 h 393"/>
                    <a:gd name="T78" fmla="*/ 474 w 546"/>
                    <a:gd name="T79" fmla="*/ 235 h 393"/>
                    <a:gd name="T80" fmla="*/ 473 w 546"/>
                    <a:gd name="T81" fmla="*/ 207 h 393"/>
                    <a:gd name="T82" fmla="*/ 482 w 546"/>
                    <a:gd name="T83" fmla="*/ 191 h 393"/>
                    <a:gd name="T84" fmla="*/ 522 w 546"/>
                    <a:gd name="T85" fmla="*/ 224 h 393"/>
                    <a:gd name="T86" fmla="*/ 515 w 546"/>
                    <a:gd name="T87" fmla="*/ 209 h 393"/>
                    <a:gd name="T88" fmla="*/ 543 w 546"/>
                    <a:gd name="T89" fmla="*/ 171 h 393"/>
                    <a:gd name="T90" fmla="*/ 543 w 546"/>
                    <a:gd name="T91" fmla="*/ 141 h 393"/>
                    <a:gd name="T92" fmla="*/ 505 w 546"/>
                    <a:gd name="T93" fmla="*/ 138 h 393"/>
                    <a:gd name="T94" fmla="*/ 481 w 546"/>
                    <a:gd name="T95" fmla="*/ 119 h 393"/>
                    <a:gd name="T96" fmla="*/ 455 w 546"/>
                    <a:gd name="T97" fmla="*/ 128 h 393"/>
                    <a:gd name="T98" fmla="*/ 433 w 546"/>
                    <a:gd name="T99" fmla="*/ 152 h 393"/>
                    <a:gd name="T100" fmla="*/ 404 w 546"/>
                    <a:gd name="T101" fmla="*/ 146 h 393"/>
                    <a:gd name="T102" fmla="*/ 382 w 546"/>
                    <a:gd name="T103" fmla="*/ 104 h 393"/>
                    <a:gd name="T104" fmla="*/ 365 w 546"/>
                    <a:gd name="T105" fmla="*/ 124 h 393"/>
                    <a:gd name="T106" fmla="*/ 365 w 546"/>
                    <a:gd name="T107" fmla="*/ 12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6" h="393">
                      <a:moveTo>
                        <a:pt x="365" y="124"/>
                      </a:moveTo>
                      <a:cubicBezTo>
                        <a:pt x="370" y="138"/>
                        <a:pt x="333" y="141"/>
                        <a:pt x="330" y="101"/>
                      </a:cubicBezTo>
                      <a:cubicBezTo>
                        <a:pt x="329" y="88"/>
                        <a:pt x="290" y="119"/>
                        <a:pt x="299" y="79"/>
                      </a:cubicBezTo>
                      <a:cubicBezTo>
                        <a:pt x="302" y="61"/>
                        <a:pt x="273" y="54"/>
                        <a:pt x="254" y="69"/>
                      </a:cubicBezTo>
                      <a:cubicBezTo>
                        <a:pt x="238" y="83"/>
                        <a:pt x="219" y="48"/>
                        <a:pt x="218" y="48"/>
                      </a:cubicBezTo>
                      <a:cubicBezTo>
                        <a:pt x="207" y="45"/>
                        <a:pt x="199" y="67"/>
                        <a:pt x="186" y="58"/>
                      </a:cubicBezTo>
                      <a:cubicBezTo>
                        <a:pt x="174" y="50"/>
                        <a:pt x="160" y="80"/>
                        <a:pt x="133" y="44"/>
                      </a:cubicBezTo>
                      <a:cubicBezTo>
                        <a:pt x="116" y="21"/>
                        <a:pt x="137" y="0"/>
                        <a:pt x="100" y="10"/>
                      </a:cubicBezTo>
                      <a:cubicBezTo>
                        <a:pt x="94" y="11"/>
                        <a:pt x="85" y="10"/>
                        <a:pt x="78" y="10"/>
                      </a:cubicBezTo>
                      <a:cubicBezTo>
                        <a:pt x="78" y="35"/>
                        <a:pt x="53" y="19"/>
                        <a:pt x="64" y="35"/>
                      </a:cubicBezTo>
                      <a:cubicBezTo>
                        <a:pt x="67" y="40"/>
                        <a:pt x="70" y="66"/>
                        <a:pt x="47" y="46"/>
                      </a:cubicBezTo>
                      <a:cubicBezTo>
                        <a:pt x="34" y="35"/>
                        <a:pt x="50" y="61"/>
                        <a:pt x="24" y="42"/>
                      </a:cubicBezTo>
                      <a:cubicBezTo>
                        <a:pt x="7" y="30"/>
                        <a:pt x="16" y="46"/>
                        <a:pt x="6" y="58"/>
                      </a:cubicBezTo>
                      <a:cubicBezTo>
                        <a:pt x="0" y="66"/>
                        <a:pt x="19" y="54"/>
                        <a:pt x="22" y="69"/>
                      </a:cubicBezTo>
                      <a:cubicBezTo>
                        <a:pt x="24" y="77"/>
                        <a:pt x="45" y="84"/>
                        <a:pt x="34" y="100"/>
                      </a:cubicBezTo>
                      <a:cubicBezTo>
                        <a:pt x="28" y="110"/>
                        <a:pt x="43" y="110"/>
                        <a:pt x="36" y="120"/>
                      </a:cubicBezTo>
                      <a:cubicBezTo>
                        <a:pt x="30" y="129"/>
                        <a:pt x="52" y="148"/>
                        <a:pt x="54" y="164"/>
                      </a:cubicBezTo>
                      <a:cubicBezTo>
                        <a:pt x="56" y="176"/>
                        <a:pt x="70" y="159"/>
                        <a:pt x="90" y="145"/>
                      </a:cubicBezTo>
                      <a:cubicBezTo>
                        <a:pt x="108" y="133"/>
                        <a:pt x="85" y="146"/>
                        <a:pt x="105" y="158"/>
                      </a:cubicBezTo>
                      <a:cubicBezTo>
                        <a:pt x="113" y="163"/>
                        <a:pt x="105" y="167"/>
                        <a:pt x="119" y="184"/>
                      </a:cubicBezTo>
                      <a:cubicBezTo>
                        <a:pt x="119" y="184"/>
                        <a:pt x="127" y="203"/>
                        <a:pt x="123" y="206"/>
                      </a:cubicBezTo>
                      <a:cubicBezTo>
                        <a:pt x="108" y="219"/>
                        <a:pt x="121" y="215"/>
                        <a:pt x="128" y="220"/>
                      </a:cubicBezTo>
                      <a:cubicBezTo>
                        <a:pt x="132" y="224"/>
                        <a:pt x="129" y="220"/>
                        <a:pt x="138" y="221"/>
                      </a:cubicBezTo>
                      <a:cubicBezTo>
                        <a:pt x="142" y="210"/>
                        <a:pt x="144" y="215"/>
                        <a:pt x="145" y="217"/>
                      </a:cubicBezTo>
                      <a:cubicBezTo>
                        <a:pt x="159" y="230"/>
                        <a:pt x="175" y="224"/>
                        <a:pt x="177" y="237"/>
                      </a:cubicBezTo>
                      <a:cubicBezTo>
                        <a:pt x="183" y="275"/>
                        <a:pt x="195" y="238"/>
                        <a:pt x="195" y="238"/>
                      </a:cubicBezTo>
                      <a:cubicBezTo>
                        <a:pt x="207" y="218"/>
                        <a:pt x="205" y="236"/>
                        <a:pt x="205" y="246"/>
                      </a:cubicBezTo>
                      <a:cubicBezTo>
                        <a:pt x="205" y="250"/>
                        <a:pt x="231" y="283"/>
                        <a:pt x="235" y="292"/>
                      </a:cubicBezTo>
                      <a:cubicBezTo>
                        <a:pt x="244" y="307"/>
                        <a:pt x="257" y="291"/>
                        <a:pt x="248" y="299"/>
                      </a:cubicBezTo>
                      <a:cubicBezTo>
                        <a:pt x="248" y="299"/>
                        <a:pt x="236" y="325"/>
                        <a:pt x="246" y="333"/>
                      </a:cubicBezTo>
                      <a:cubicBezTo>
                        <a:pt x="260" y="343"/>
                        <a:pt x="259" y="351"/>
                        <a:pt x="266" y="358"/>
                      </a:cubicBezTo>
                      <a:cubicBezTo>
                        <a:pt x="295" y="386"/>
                        <a:pt x="258" y="373"/>
                        <a:pt x="278" y="393"/>
                      </a:cubicBezTo>
                      <a:cubicBezTo>
                        <a:pt x="280" y="392"/>
                        <a:pt x="281" y="391"/>
                        <a:pt x="283" y="390"/>
                      </a:cubicBezTo>
                      <a:cubicBezTo>
                        <a:pt x="296" y="388"/>
                        <a:pt x="303" y="364"/>
                        <a:pt x="311" y="351"/>
                      </a:cubicBezTo>
                      <a:cubicBezTo>
                        <a:pt x="317" y="341"/>
                        <a:pt x="324" y="299"/>
                        <a:pt x="342" y="321"/>
                      </a:cubicBezTo>
                      <a:cubicBezTo>
                        <a:pt x="361" y="345"/>
                        <a:pt x="377" y="326"/>
                        <a:pt x="398" y="331"/>
                      </a:cubicBezTo>
                      <a:cubicBezTo>
                        <a:pt x="409" y="334"/>
                        <a:pt x="417" y="324"/>
                        <a:pt x="400" y="303"/>
                      </a:cubicBezTo>
                      <a:cubicBezTo>
                        <a:pt x="397" y="299"/>
                        <a:pt x="389" y="284"/>
                        <a:pt x="401" y="282"/>
                      </a:cubicBezTo>
                      <a:cubicBezTo>
                        <a:pt x="466" y="272"/>
                        <a:pt x="447" y="238"/>
                        <a:pt x="460" y="238"/>
                      </a:cubicBezTo>
                      <a:cubicBezTo>
                        <a:pt x="472" y="237"/>
                        <a:pt x="461" y="244"/>
                        <a:pt x="474" y="235"/>
                      </a:cubicBezTo>
                      <a:cubicBezTo>
                        <a:pt x="484" y="228"/>
                        <a:pt x="469" y="218"/>
                        <a:pt x="473" y="207"/>
                      </a:cubicBezTo>
                      <a:cubicBezTo>
                        <a:pt x="474" y="204"/>
                        <a:pt x="479" y="191"/>
                        <a:pt x="482" y="191"/>
                      </a:cubicBezTo>
                      <a:cubicBezTo>
                        <a:pt x="485" y="191"/>
                        <a:pt x="521" y="222"/>
                        <a:pt x="522" y="224"/>
                      </a:cubicBezTo>
                      <a:cubicBezTo>
                        <a:pt x="523" y="225"/>
                        <a:pt x="525" y="214"/>
                        <a:pt x="515" y="209"/>
                      </a:cubicBezTo>
                      <a:cubicBezTo>
                        <a:pt x="493" y="195"/>
                        <a:pt x="543" y="200"/>
                        <a:pt x="543" y="171"/>
                      </a:cubicBezTo>
                      <a:cubicBezTo>
                        <a:pt x="542" y="160"/>
                        <a:pt x="546" y="152"/>
                        <a:pt x="543" y="141"/>
                      </a:cubicBezTo>
                      <a:cubicBezTo>
                        <a:pt x="518" y="147"/>
                        <a:pt x="529" y="146"/>
                        <a:pt x="505" y="138"/>
                      </a:cubicBezTo>
                      <a:cubicBezTo>
                        <a:pt x="495" y="135"/>
                        <a:pt x="490" y="104"/>
                        <a:pt x="481" y="119"/>
                      </a:cubicBezTo>
                      <a:cubicBezTo>
                        <a:pt x="473" y="134"/>
                        <a:pt x="469" y="107"/>
                        <a:pt x="455" y="128"/>
                      </a:cubicBezTo>
                      <a:cubicBezTo>
                        <a:pt x="446" y="140"/>
                        <a:pt x="426" y="133"/>
                        <a:pt x="433" y="152"/>
                      </a:cubicBezTo>
                      <a:cubicBezTo>
                        <a:pt x="436" y="159"/>
                        <a:pt x="420" y="173"/>
                        <a:pt x="404" y="146"/>
                      </a:cubicBezTo>
                      <a:cubicBezTo>
                        <a:pt x="392" y="126"/>
                        <a:pt x="390" y="129"/>
                        <a:pt x="382" y="104"/>
                      </a:cubicBezTo>
                      <a:cubicBezTo>
                        <a:pt x="375" y="81"/>
                        <a:pt x="359" y="106"/>
                        <a:pt x="365" y="124"/>
                      </a:cubicBezTo>
                      <a:cubicBezTo>
                        <a:pt x="365" y="124"/>
                        <a:pt x="365" y="124"/>
                        <a:pt x="365" y="124"/>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79" name="Liaoning" descr="{&quot;Key&quot;:&quot;liaoning&quot;,&quot;Name&quot;:&quot;Liaoning&quot;,&quot;Value&quot;:1.0,&quot;Formula&quot;:&quot;&quot;,&quot;Text&quot;:&quot;&quot;,&quot;OfficeApplication&quot;:1,&quot;HasValue&quot;:true}">
                  <a:extLst>
                    <a:ext uri="{FF2B5EF4-FFF2-40B4-BE49-F238E27FC236}">
                      <a16:creationId xmlns:a16="http://schemas.microsoft.com/office/drawing/2014/main" id="{AFFDE58E-0FCD-4DC0-A1D8-6B6014CAB07F}"/>
                    </a:ext>
                  </a:extLst>
                </p:cNvPr>
                <p:cNvSpPr>
                  <a:spLocks noEditPoints="1"/>
                </p:cNvSpPr>
                <p:nvPr/>
              </p:nvSpPr>
              <p:spPr bwMode="auto">
                <a:xfrm>
                  <a:off x="7862093" y="2606675"/>
                  <a:ext cx="823913" cy="754063"/>
                </a:xfrm>
                <a:custGeom>
                  <a:avLst/>
                  <a:gdLst>
                    <a:gd name="T0" fmla="*/ 328 w 418"/>
                    <a:gd name="T1" fmla="*/ 36 h 382"/>
                    <a:gd name="T2" fmla="*/ 300 w 418"/>
                    <a:gd name="T3" fmla="*/ 27 h 382"/>
                    <a:gd name="T4" fmla="*/ 261 w 418"/>
                    <a:gd name="T5" fmla="*/ 11 h 382"/>
                    <a:gd name="T6" fmla="*/ 194 w 418"/>
                    <a:gd name="T7" fmla="*/ 64 h 382"/>
                    <a:gd name="T8" fmla="*/ 152 w 418"/>
                    <a:gd name="T9" fmla="*/ 92 h 382"/>
                    <a:gd name="T10" fmla="*/ 73 w 418"/>
                    <a:gd name="T11" fmla="*/ 157 h 382"/>
                    <a:gd name="T12" fmla="*/ 29 w 418"/>
                    <a:gd name="T13" fmla="*/ 133 h 382"/>
                    <a:gd name="T14" fmla="*/ 30 w 418"/>
                    <a:gd name="T15" fmla="*/ 195 h 382"/>
                    <a:gd name="T16" fmla="*/ 34 w 418"/>
                    <a:gd name="T17" fmla="*/ 248 h 382"/>
                    <a:gd name="T18" fmla="*/ 74 w 418"/>
                    <a:gd name="T19" fmla="*/ 291 h 382"/>
                    <a:gd name="T20" fmla="*/ 160 w 418"/>
                    <a:gd name="T21" fmla="*/ 209 h 382"/>
                    <a:gd name="T22" fmla="*/ 198 w 418"/>
                    <a:gd name="T23" fmla="*/ 222 h 382"/>
                    <a:gd name="T24" fmla="*/ 173 w 418"/>
                    <a:gd name="T25" fmla="*/ 302 h 382"/>
                    <a:gd name="T26" fmla="*/ 182 w 418"/>
                    <a:gd name="T27" fmla="*/ 334 h 382"/>
                    <a:gd name="T28" fmla="*/ 217 w 418"/>
                    <a:gd name="T29" fmla="*/ 328 h 382"/>
                    <a:gd name="T30" fmla="*/ 282 w 418"/>
                    <a:gd name="T31" fmla="*/ 282 h 382"/>
                    <a:gd name="T32" fmla="*/ 340 w 418"/>
                    <a:gd name="T33" fmla="*/ 243 h 382"/>
                    <a:gd name="T34" fmla="*/ 383 w 418"/>
                    <a:gd name="T35" fmla="*/ 202 h 382"/>
                    <a:gd name="T36" fmla="*/ 389 w 418"/>
                    <a:gd name="T37" fmla="*/ 148 h 382"/>
                    <a:gd name="T38" fmla="*/ 371 w 418"/>
                    <a:gd name="T39" fmla="*/ 89 h 382"/>
                    <a:gd name="T40" fmla="*/ 358 w 418"/>
                    <a:gd name="T41" fmla="*/ 82 h 382"/>
                    <a:gd name="T42" fmla="*/ 158 w 418"/>
                    <a:gd name="T43" fmla="*/ 373 h 382"/>
                    <a:gd name="T44" fmla="*/ 189 w 418"/>
                    <a:gd name="T45" fmla="*/ 360 h 382"/>
                    <a:gd name="T46" fmla="*/ 165 w 418"/>
                    <a:gd name="T47" fmla="*/ 356 h 382"/>
                    <a:gd name="T48" fmla="*/ 251 w 418"/>
                    <a:gd name="T49" fmla="*/ 346 h 382"/>
                    <a:gd name="T50" fmla="*/ 251 w 418"/>
                    <a:gd name="T51" fmla="*/ 338 h 382"/>
                    <a:gd name="T52" fmla="*/ 277 w 418"/>
                    <a:gd name="T53" fmla="*/ 337 h 382"/>
                    <a:gd name="T54" fmla="*/ 271 w 418"/>
                    <a:gd name="T55" fmla="*/ 334 h 382"/>
                    <a:gd name="T56" fmla="*/ 227 w 418"/>
                    <a:gd name="T57" fmla="*/ 330 h 382"/>
                    <a:gd name="T58" fmla="*/ 227 w 418"/>
                    <a:gd name="T59" fmla="*/ 330 h 382"/>
                    <a:gd name="T60" fmla="*/ 253 w 418"/>
                    <a:gd name="T61" fmla="*/ 326 h 382"/>
                    <a:gd name="T62" fmla="*/ 239 w 418"/>
                    <a:gd name="T63" fmla="*/ 326 h 382"/>
                    <a:gd name="T64" fmla="*/ 260 w 418"/>
                    <a:gd name="T65" fmla="*/ 322 h 382"/>
                    <a:gd name="T66" fmla="*/ 263 w 418"/>
                    <a:gd name="T67" fmla="*/ 318 h 382"/>
                    <a:gd name="T68" fmla="*/ 260 w 418"/>
                    <a:gd name="T69" fmla="*/ 322 h 382"/>
                    <a:gd name="T70" fmla="*/ 267 w 418"/>
                    <a:gd name="T71" fmla="*/ 313 h 382"/>
                    <a:gd name="T72" fmla="*/ 263 w 418"/>
                    <a:gd name="T73" fmla="*/ 302 h 382"/>
                    <a:gd name="T74" fmla="*/ 263 w 418"/>
                    <a:gd name="T75" fmla="*/ 302 h 382"/>
                    <a:gd name="T76" fmla="*/ 128 w 418"/>
                    <a:gd name="T77" fmla="*/ 246 h 382"/>
                    <a:gd name="T78" fmla="*/ 131 w 418"/>
                    <a:gd name="T79" fmla="*/ 25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8" h="382">
                      <a:moveTo>
                        <a:pt x="358" y="82"/>
                      </a:moveTo>
                      <a:cubicBezTo>
                        <a:pt x="354" y="73"/>
                        <a:pt x="328" y="40"/>
                        <a:pt x="328" y="36"/>
                      </a:cubicBezTo>
                      <a:cubicBezTo>
                        <a:pt x="328" y="26"/>
                        <a:pt x="330" y="8"/>
                        <a:pt x="318" y="28"/>
                      </a:cubicBezTo>
                      <a:cubicBezTo>
                        <a:pt x="318" y="28"/>
                        <a:pt x="306" y="65"/>
                        <a:pt x="300" y="27"/>
                      </a:cubicBezTo>
                      <a:cubicBezTo>
                        <a:pt x="298" y="14"/>
                        <a:pt x="282" y="20"/>
                        <a:pt x="268" y="7"/>
                      </a:cubicBezTo>
                      <a:cubicBezTo>
                        <a:pt x="267" y="5"/>
                        <a:pt x="265" y="0"/>
                        <a:pt x="261" y="11"/>
                      </a:cubicBezTo>
                      <a:cubicBezTo>
                        <a:pt x="261" y="71"/>
                        <a:pt x="250" y="15"/>
                        <a:pt x="236" y="55"/>
                      </a:cubicBezTo>
                      <a:cubicBezTo>
                        <a:pt x="230" y="75"/>
                        <a:pt x="189" y="54"/>
                        <a:pt x="194" y="64"/>
                      </a:cubicBezTo>
                      <a:cubicBezTo>
                        <a:pt x="196" y="69"/>
                        <a:pt x="209" y="68"/>
                        <a:pt x="177" y="73"/>
                      </a:cubicBezTo>
                      <a:cubicBezTo>
                        <a:pt x="160" y="75"/>
                        <a:pt x="180" y="96"/>
                        <a:pt x="152" y="92"/>
                      </a:cubicBezTo>
                      <a:cubicBezTo>
                        <a:pt x="143" y="91"/>
                        <a:pt x="138" y="108"/>
                        <a:pt x="116" y="116"/>
                      </a:cubicBezTo>
                      <a:cubicBezTo>
                        <a:pt x="88" y="126"/>
                        <a:pt x="79" y="169"/>
                        <a:pt x="73" y="157"/>
                      </a:cubicBezTo>
                      <a:cubicBezTo>
                        <a:pt x="51" y="114"/>
                        <a:pt x="59" y="132"/>
                        <a:pt x="43" y="119"/>
                      </a:cubicBezTo>
                      <a:cubicBezTo>
                        <a:pt x="39" y="116"/>
                        <a:pt x="16" y="119"/>
                        <a:pt x="29" y="133"/>
                      </a:cubicBezTo>
                      <a:cubicBezTo>
                        <a:pt x="37" y="144"/>
                        <a:pt x="27" y="150"/>
                        <a:pt x="37" y="180"/>
                      </a:cubicBezTo>
                      <a:cubicBezTo>
                        <a:pt x="39" y="184"/>
                        <a:pt x="45" y="186"/>
                        <a:pt x="30" y="195"/>
                      </a:cubicBezTo>
                      <a:cubicBezTo>
                        <a:pt x="30" y="202"/>
                        <a:pt x="28" y="205"/>
                        <a:pt x="24" y="212"/>
                      </a:cubicBezTo>
                      <a:cubicBezTo>
                        <a:pt x="0" y="249"/>
                        <a:pt x="22" y="235"/>
                        <a:pt x="34" y="248"/>
                      </a:cubicBezTo>
                      <a:cubicBezTo>
                        <a:pt x="47" y="261"/>
                        <a:pt x="52" y="242"/>
                        <a:pt x="58" y="261"/>
                      </a:cubicBezTo>
                      <a:cubicBezTo>
                        <a:pt x="69" y="293"/>
                        <a:pt x="69" y="271"/>
                        <a:pt x="74" y="291"/>
                      </a:cubicBezTo>
                      <a:cubicBezTo>
                        <a:pt x="80" y="286"/>
                        <a:pt x="88" y="280"/>
                        <a:pt x="98" y="274"/>
                      </a:cubicBezTo>
                      <a:cubicBezTo>
                        <a:pt x="116" y="263"/>
                        <a:pt x="134" y="201"/>
                        <a:pt x="160" y="209"/>
                      </a:cubicBezTo>
                      <a:cubicBezTo>
                        <a:pt x="180" y="215"/>
                        <a:pt x="173" y="193"/>
                        <a:pt x="185" y="202"/>
                      </a:cubicBezTo>
                      <a:cubicBezTo>
                        <a:pt x="190" y="206"/>
                        <a:pt x="184" y="209"/>
                        <a:pt x="198" y="222"/>
                      </a:cubicBezTo>
                      <a:cubicBezTo>
                        <a:pt x="214" y="236"/>
                        <a:pt x="203" y="251"/>
                        <a:pt x="195" y="267"/>
                      </a:cubicBezTo>
                      <a:cubicBezTo>
                        <a:pt x="188" y="281"/>
                        <a:pt x="163" y="292"/>
                        <a:pt x="173" y="302"/>
                      </a:cubicBezTo>
                      <a:cubicBezTo>
                        <a:pt x="177" y="307"/>
                        <a:pt x="144" y="320"/>
                        <a:pt x="167" y="327"/>
                      </a:cubicBezTo>
                      <a:cubicBezTo>
                        <a:pt x="174" y="330"/>
                        <a:pt x="192" y="323"/>
                        <a:pt x="182" y="334"/>
                      </a:cubicBezTo>
                      <a:cubicBezTo>
                        <a:pt x="180" y="336"/>
                        <a:pt x="192" y="359"/>
                        <a:pt x="202" y="347"/>
                      </a:cubicBezTo>
                      <a:cubicBezTo>
                        <a:pt x="217" y="328"/>
                        <a:pt x="217" y="328"/>
                        <a:pt x="217" y="328"/>
                      </a:cubicBezTo>
                      <a:cubicBezTo>
                        <a:pt x="226" y="317"/>
                        <a:pt x="251" y="296"/>
                        <a:pt x="265" y="292"/>
                      </a:cubicBezTo>
                      <a:cubicBezTo>
                        <a:pt x="273" y="290"/>
                        <a:pt x="273" y="282"/>
                        <a:pt x="282" y="282"/>
                      </a:cubicBezTo>
                      <a:cubicBezTo>
                        <a:pt x="292" y="281"/>
                        <a:pt x="302" y="274"/>
                        <a:pt x="313" y="273"/>
                      </a:cubicBezTo>
                      <a:cubicBezTo>
                        <a:pt x="333" y="271"/>
                        <a:pt x="323" y="263"/>
                        <a:pt x="340" y="243"/>
                      </a:cubicBezTo>
                      <a:cubicBezTo>
                        <a:pt x="352" y="230"/>
                        <a:pt x="349" y="229"/>
                        <a:pt x="365" y="218"/>
                      </a:cubicBezTo>
                      <a:cubicBezTo>
                        <a:pt x="373" y="213"/>
                        <a:pt x="365" y="212"/>
                        <a:pt x="383" y="202"/>
                      </a:cubicBezTo>
                      <a:cubicBezTo>
                        <a:pt x="390" y="198"/>
                        <a:pt x="395" y="188"/>
                        <a:pt x="401" y="183"/>
                      </a:cubicBezTo>
                      <a:cubicBezTo>
                        <a:pt x="381" y="163"/>
                        <a:pt x="418" y="176"/>
                        <a:pt x="389" y="148"/>
                      </a:cubicBezTo>
                      <a:cubicBezTo>
                        <a:pt x="382" y="141"/>
                        <a:pt x="383" y="133"/>
                        <a:pt x="369" y="123"/>
                      </a:cubicBezTo>
                      <a:cubicBezTo>
                        <a:pt x="359" y="115"/>
                        <a:pt x="371" y="89"/>
                        <a:pt x="371" y="89"/>
                      </a:cubicBezTo>
                      <a:cubicBezTo>
                        <a:pt x="380" y="81"/>
                        <a:pt x="367" y="97"/>
                        <a:pt x="358" y="82"/>
                      </a:cubicBezTo>
                      <a:cubicBezTo>
                        <a:pt x="358" y="82"/>
                        <a:pt x="358" y="82"/>
                        <a:pt x="358" y="82"/>
                      </a:cubicBezTo>
                      <a:close/>
                      <a:moveTo>
                        <a:pt x="165" y="356"/>
                      </a:moveTo>
                      <a:cubicBezTo>
                        <a:pt x="151" y="369"/>
                        <a:pt x="158" y="357"/>
                        <a:pt x="158" y="373"/>
                      </a:cubicBezTo>
                      <a:cubicBezTo>
                        <a:pt x="157" y="382"/>
                        <a:pt x="164" y="371"/>
                        <a:pt x="170" y="370"/>
                      </a:cubicBezTo>
                      <a:cubicBezTo>
                        <a:pt x="175" y="369"/>
                        <a:pt x="189" y="360"/>
                        <a:pt x="189" y="360"/>
                      </a:cubicBezTo>
                      <a:cubicBezTo>
                        <a:pt x="190" y="358"/>
                        <a:pt x="185" y="352"/>
                        <a:pt x="184" y="351"/>
                      </a:cubicBezTo>
                      <a:cubicBezTo>
                        <a:pt x="184" y="351"/>
                        <a:pt x="168" y="353"/>
                        <a:pt x="165" y="356"/>
                      </a:cubicBezTo>
                      <a:close/>
                      <a:moveTo>
                        <a:pt x="251" y="338"/>
                      </a:moveTo>
                      <a:cubicBezTo>
                        <a:pt x="246" y="339"/>
                        <a:pt x="247" y="346"/>
                        <a:pt x="251" y="346"/>
                      </a:cubicBezTo>
                      <a:cubicBezTo>
                        <a:pt x="254" y="343"/>
                        <a:pt x="268" y="337"/>
                        <a:pt x="254" y="338"/>
                      </a:cubicBezTo>
                      <a:cubicBezTo>
                        <a:pt x="253" y="338"/>
                        <a:pt x="252" y="338"/>
                        <a:pt x="251" y="338"/>
                      </a:cubicBezTo>
                      <a:close/>
                      <a:moveTo>
                        <a:pt x="271" y="334"/>
                      </a:moveTo>
                      <a:cubicBezTo>
                        <a:pt x="270" y="338"/>
                        <a:pt x="273" y="342"/>
                        <a:pt x="277" y="337"/>
                      </a:cubicBezTo>
                      <a:cubicBezTo>
                        <a:pt x="278" y="337"/>
                        <a:pt x="279" y="337"/>
                        <a:pt x="279" y="337"/>
                      </a:cubicBezTo>
                      <a:cubicBezTo>
                        <a:pt x="279" y="334"/>
                        <a:pt x="272" y="333"/>
                        <a:pt x="271" y="334"/>
                      </a:cubicBezTo>
                      <a:cubicBezTo>
                        <a:pt x="271" y="334"/>
                        <a:pt x="271" y="334"/>
                        <a:pt x="271" y="334"/>
                      </a:cubicBezTo>
                      <a:close/>
                      <a:moveTo>
                        <a:pt x="227" y="330"/>
                      </a:moveTo>
                      <a:cubicBezTo>
                        <a:pt x="217" y="339"/>
                        <a:pt x="231" y="344"/>
                        <a:pt x="231" y="332"/>
                      </a:cubicBezTo>
                      <a:cubicBezTo>
                        <a:pt x="231" y="330"/>
                        <a:pt x="228" y="330"/>
                        <a:pt x="227" y="330"/>
                      </a:cubicBezTo>
                      <a:close/>
                      <a:moveTo>
                        <a:pt x="239" y="326"/>
                      </a:moveTo>
                      <a:cubicBezTo>
                        <a:pt x="246" y="336"/>
                        <a:pt x="257" y="326"/>
                        <a:pt x="253" y="326"/>
                      </a:cubicBezTo>
                      <a:cubicBezTo>
                        <a:pt x="237" y="325"/>
                        <a:pt x="239" y="320"/>
                        <a:pt x="234" y="322"/>
                      </a:cubicBezTo>
                      <a:cubicBezTo>
                        <a:pt x="232" y="323"/>
                        <a:pt x="238" y="326"/>
                        <a:pt x="239" y="326"/>
                      </a:cubicBezTo>
                      <a:cubicBezTo>
                        <a:pt x="239" y="326"/>
                        <a:pt x="239" y="326"/>
                        <a:pt x="239" y="326"/>
                      </a:cubicBezTo>
                      <a:close/>
                      <a:moveTo>
                        <a:pt x="260" y="322"/>
                      </a:moveTo>
                      <a:cubicBezTo>
                        <a:pt x="255" y="326"/>
                        <a:pt x="272" y="328"/>
                        <a:pt x="266" y="319"/>
                      </a:cubicBezTo>
                      <a:cubicBezTo>
                        <a:pt x="265" y="318"/>
                        <a:pt x="263" y="318"/>
                        <a:pt x="263" y="318"/>
                      </a:cubicBezTo>
                      <a:cubicBezTo>
                        <a:pt x="261" y="321"/>
                        <a:pt x="268" y="316"/>
                        <a:pt x="260" y="322"/>
                      </a:cubicBezTo>
                      <a:cubicBezTo>
                        <a:pt x="260" y="322"/>
                        <a:pt x="260" y="322"/>
                        <a:pt x="260" y="322"/>
                      </a:cubicBezTo>
                      <a:close/>
                      <a:moveTo>
                        <a:pt x="264" y="306"/>
                      </a:moveTo>
                      <a:cubicBezTo>
                        <a:pt x="262" y="307"/>
                        <a:pt x="262" y="317"/>
                        <a:pt x="267" y="313"/>
                      </a:cubicBezTo>
                      <a:cubicBezTo>
                        <a:pt x="267" y="312"/>
                        <a:pt x="268" y="305"/>
                        <a:pt x="264" y="306"/>
                      </a:cubicBezTo>
                      <a:close/>
                      <a:moveTo>
                        <a:pt x="263" y="302"/>
                      </a:moveTo>
                      <a:cubicBezTo>
                        <a:pt x="252" y="297"/>
                        <a:pt x="255" y="311"/>
                        <a:pt x="262" y="305"/>
                      </a:cubicBezTo>
                      <a:cubicBezTo>
                        <a:pt x="263" y="304"/>
                        <a:pt x="263" y="303"/>
                        <a:pt x="263" y="302"/>
                      </a:cubicBezTo>
                      <a:close/>
                      <a:moveTo>
                        <a:pt x="131" y="251"/>
                      </a:moveTo>
                      <a:cubicBezTo>
                        <a:pt x="131" y="251"/>
                        <a:pt x="142" y="246"/>
                        <a:pt x="128" y="246"/>
                      </a:cubicBezTo>
                      <a:cubicBezTo>
                        <a:pt x="127" y="246"/>
                        <a:pt x="127" y="246"/>
                        <a:pt x="127" y="246"/>
                      </a:cubicBezTo>
                      <a:cubicBezTo>
                        <a:pt x="127" y="246"/>
                        <a:pt x="125" y="257"/>
                        <a:pt x="131" y="251"/>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0" name="Hebei" descr="{&quot;Key&quot;:&quot;hebei&quot;,&quot;Name&quot;:&quot;Hebei&quot;,&quot;Value&quot;:1.0,&quot;Formula&quot;:&quot;&quot;,&quot;Text&quot;:&quot;&quot;,&quot;OfficeApplication&quot;:1,&quot;HasValue&quot;:true}">
                  <a:extLst>
                    <a:ext uri="{FF2B5EF4-FFF2-40B4-BE49-F238E27FC236}">
                      <a16:creationId xmlns:a16="http://schemas.microsoft.com/office/drawing/2014/main" id="{9DA52575-1AD0-45FC-94F9-CA6448213426}"/>
                    </a:ext>
                  </a:extLst>
                </p:cNvPr>
                <p:cNvSpPr>
                  <a:spLocks noEditPoints="1"/>
                </p:cNvSpPr>
                <p:nvPr/>
              </p:nvSpPr>
              <p:spPr bwMode="auto">
                <a:xfrm>
                  <a:off x="7255668" y="2813050"/>
                  <a:ext cx="752475" cy="1016000"/>
                </a:xfrm>
                <a:custGeom>
                  <a:avLst/>
                  <a:gdLst>
                    <a:gd name="T0" fmla="*/ 337 w 381"/>
                    <a:gd name="T1" fmla="*/ 91 h 515"/>
                    <a:gd name="T2" fmla="*/ 321 w 381"/>
                    <a:gd name="T3" fmla="*/ 92 h 515"/>
                    <a:gd name="T4" fmla="*/ 309 w 381"/>
                    <a:gd name="T5" fmla="*/ 91 h 515"/>
                    <a:gd name="T6" fmla="*/ 293 w 381"/>
                    <a:gd name="T7" fmla="*/ 92 h 515"/>
                    <a:gd name="T8" fmla="*/ 284 w 381"/>
                    <a:gd name="T9" fmla="*/ 90 h 515"/>
                    <a:gd name="T10" fmla="*/ 280 w 381"/>
                    <a:gd name="T11" fmla="*/ 75 h 515"/>
                    <a:gd name="T12" fmla="*/ 271 w 381"/>
                    <a:gd name="T13" fmla="*/ 63 h 515"/>
                    <a:gd name="T14" fmla="*/ 281 w 381"/>
                    <a:gd name="T15" fmla="*/ 53 h 515"/>
                    <a:gd name="T16" fmla="*/ 267 w 381"/>
                    <a:gd name="T17" fmla="*/ 39 h 515"/>
                    <a:gd name="T18" fmla="*/ 260 w 381"/>
                    <a:gd name="T19" fmla="*/ 22 h 515"/>
                    <a:gd name="T20" fmla="*/ 253 w 381"/>
                    <a:gd name="T21" fmla="*/ 9 h 515"/>
                    <a:gd name="T22" fmla="*/ 241 w 381"/>
                    <a:gd name="T23" fmla="*/ 0 h 515"/>
                    <a:gd name="T24" fmla="*/ 227 w 381"/>
                    <a:gd name="T25" fmla="*/ 4 h 515"/>
                    <a:gd name="T26" fmla="*/ 216 w 381"/>
                    <a:gd name="T27" fmla="*/ 12 h 515"/>
                    <a:gd name="T28" fmla="*/ 200 w 381"/>
                    <a:gd name="T29" fmla="*/ 16 h 515"/>
                    <a:gd name="T30" fmla="*/ 198 w 381"/>
                    <a:gd name="T31" fmla="*/ 27 h 515"/>
                    <a:gd name="T32" fmla="*/ 198 w 381"/>
                    <a:gd name="T33" fmla="*/ 35 h 515"/>
                    <a:gd name="T34" fmla="*/ 198 w 381"/>
                    <a:gd name="T35" fmla="*/ 43 h 515"/>
                    <a:gd name="T36" fmla="*/ 195 w 381"/>
                    <a:gd name="T37" fmla="*/ 53 h 515"/>
                    <a:gd name="T38" fmla="*/ 178 w 381"/>
                    <a:gd name="T39" fmla="*/ 55 h 515"/>
                    <a:gd name="T40" fmla="*/ 167 w 381"/>
                    <a:gd name="T41" fmla="*/ 52 h 515"/>
                    <a:gd name="T42" fmla="*/ 160 w 381"/>
                    <a:gd name="T43" fmla="*/ 59 h 515"/>
                    <a:gd name="T44" fmla="*/ 152 w 381"/>
                    <a:gd name="T45" fmla="*/ 67 h 515"/>
                    <a:gd name="T46" fmla="*/ 143 w 381"/>
                    <a:gd name="T47" fmla="*/ 62 h 515"/>
                    <a:gd name="T48" fmla="*/ 128 w 381"/>
                    <a:gd name="T49" fmla="*/ 65 h 515"/>
                    <a:gd name="T50" fmla="*/ 113 w 381"/>
                    <a:gd name="T51" fmla="*/ 77 h 515"/>
                    <a:gd name="T52" fmla="*/ 103 w 381"/>
                    <a:gd name="T53" fmla="*/ 91 h 515"/>
                    <a:gd name="T54" fmla="*/ 86 w 381"/>
                    <a:gd name="T55" fmla="*/ 93 h 515"/>
                    <a:gd name="T56" fmla="*/ 85 w 381"/>
                    <a:gd name="T57" fmla="*/ 71 h 515"/>
                    <a:gd name="T58" fmla="*/ 79 w 381"/>
                    <a:gd name="T59" fmla="*/ 53 h 515"/>
                    <a:gd name="T60" fmla="*/ 65 w 381"/>
                    <a:gd name="T61" fmla="*/ 53 h 515"/>
                    <a:gd name="T62" fmla="*/ 51 w 381"/>
                    <a:gd name="T63" fmla="*/ 70 h 515"/>
                    <a:gd name="T64" fmla="*/ 45 w 381"/>
                    <a:gd name="T65" fmla="*/ 85 h 515"/>
                    <a:gd name="T66" fmla="*/ 34 w 381"/>
                    <a:gd name="T67" fmla="*/ 96 h 515"/>
                    <a:gd name="T68" fmla="*/ 28 w 381"/>
                    <a:gd name="T69" fmla="*/ 114 h 515"/>
                    <a:gd name="T70" fmla="*/ 32 w 381"/>
                    <a:gd name="T71" fmla="*/ 127 h 515"/>
                    <a:gd name="T72" fmla="*/ 33 w 381"/>
                    <a:gd name="T73" fmla="*/ 136 h 515"/>
                    <a:gd name="T74" fmla="*/ 40 w 381"/>
                    <a:gd name="T75" fmla="*/ 148 h 515"/>
                    <a:gd name="T76" fmla="*/ 63 w 381"/>
                    <a:gd name="T77" fmla="*/ 227 h 515"/>
                    <a:gd name="T78" fmla="*/ 25 w 381"/>
                    <a:gd name="T79" fmla="*/ 316 h 515"/>
                    <a:gd name="T80" fmla="*/ 31 w 381"/>
                    <a:gd name="T81" fmla="*/ 449 h 515"/>
                    <a:gd name="T82" fmla="*/ 130 w 381"/>
                    <a:gd name="T83" fmla="*/ 504 h 515"/>
                    <a:gd name="T84" fmla="*/ 180 w 381"/>
                    <a:gd name="T85" fmla="*/ 408 h 515"/>
                    <a:gd name="T86" fmla="*/ 256 w 381"/>
                    <a:gd name="T87" fmla="*/ 360 h 515"/>
                    <a:gd name="T88" fmla="*/ 260 w 381"/>
                    <a:gd name="T89" fmla="*/ 311 h 515"/>
                    <a:gd name="T90" fmla="*/ 208 w 381"/>
                    <a:gd name="T91" fmla="*/ 236 h 515"/>
                    <a:gd name="T92" fmla="*/ 134 w 381"/>
                    <a:gd name="T93" fmla="*/ 240 h 515"/>
                    <a:gd name="T94" fmla="*/ 147 w 381"/>
                    <a:gd name="T95" fmla="*/ 160 h 515"/>
                    <a:gd name="T96" fmla="*/ 238 w 381"/>
                    <a:gd name="T97" fmla="*/ 184 h 515"/>
                    <a:gd name="T98" fmla="*/ 274 w 381"/>
                    <a:gd name="T99" fmla="*/ 249 h 515"/>
                    <a:gd name="T100" fmla="*/ 315 w 381"/>
                    <a:gd name="T101" fmla="*/ 257 h 515"/>
                    <a:gd name="T102" fmla="*/ 365 w 381"/>
                    <a:gd name="T103" fmla="*/ 157 h 515"/>
                    <a:gd name="T104" fmla="*/ 228 w 381"/>
                    <a:gd name="T105" fmla="*/ 217 h 515"/>
                    <a:gd name="T106" fmla="*/ 212 w 381"/>
                    <a:gd name="T107" fmla="*/ 226 h 515"/>
                    <a:gd name="T108" fmla="*/ 228 w 381"/>
                    <a:gd name="T109" fmla="*/ 21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515">
                      <a:moveTo>
                        <a:pt x="341" y="144"/>
                      </a:moveTo>
                      <a:cubicBezTo>
                        <a:pt x="329" y="131"/>
                        <a:pt x="307" y="145"/>
                        <a:pt x="331" y="108"/>
                      </a:cubicBezTo>
                      <a:cubicBezTo>
                        <a:pt x="335" y="101"/>
                        <a:pt x="337" y="98"/>
                        <a:pt x="337" y="91"/>
                      </a:cubicBezTo>
                      <a:cubicBezTo>
                        <a:pt x="332" y="92"/>
                        <a:pt x="332" y="92"/>
                        <a:pt x="332" y="92"/>
                      </a:cubicBezTo>
                      <a:cubicBezTo>
                        <a:pt x="328" y="92"/>
                        <a:pt x="328" y="92"/>
                        <a:pt x="328" y="92"/>
                      </a:cubicBezTo>
                      <a:cubicBezTo>
                        <a:pt x="321" y="92"/>
                        <a:pt x="321" y="92"/>
                        <a:pt x="321" y="92"/>
                      </a:cubicBezTo>
                      <a:cubicBezTo>
                        <a:pt x="315" y="92"/>
                        <a:pt x="315" y="92"/>
                        <a:pt x="315" y="92"/>
                      </a:cubicBezTo>
                      <a:cubicBezTo>
                        <a:pt x="312" y="89"/>
                        <a:pt x="312" y="89"/>
                        <a:pt x="312" y="89"/>
                      </a:cubicBezTo>
                      <a:cubicBezTo>
                        <a:pt x="309" y="91"/>
                        <a:pt x="309" y="91"/>
                        <a:pt x="309" y="91"/>
                      </a:cubicBezTo>
                      <a:cubicBezTo>
                        <a:pt x="305" y="92"/>
                        <a:pt x="305" y="92"/>
                        <a:pt x="305" y="92"/>
                      </a:cubicBezTo>
                      <a:cubicBezTo>
                        <a:pt x="300" y="92"/>
                        <a:pt x="300" y="92"/>
                        <a:pt x="300" y="92"/>
                      </a:cubicBezTo>
                      <a:cubicBezTo>
                        <a:pt x="293" y="92"/>
                        <a:pt x="293" y="92"/>
                        <a:pt x="293" y="92"/>
                      </a:cubicBezTo>
                      <a:cubicBezTo>
                        <a:pt x="291" y="95"/>
                        <a:pt x="291" y="95"/>
                        <a:pt x="291" y="95"/>
                      </a:cubicBezTo>
                      <a:cubicBezTo>
                        <a:pt x="286" y="95"/>
                        <a:pt x="286" y="95"/>
                        <a:pt x="286" y="95"/>
                      </a:cubicBezTo>
                      <a:cubicBezTo>
                        <a:pt x="284" y="90"/>
                        <a:pt x="284" y="90"/>
                        <a:pt x="284" y="90"/>
                      </a:cubicBezTo>
                      <a:cubicBezTo>
                        <a:pt x="284" y="85"/>
                        <a:pt x="284" y="85"/>
                        <a:pt x="284" y="85"/>
                      </a:cubicBezTo>
                      <a:cubicBezTo>
                        <a:pt x="283" y="80"/>
                        <a:pt x="283" y="80"/>
                        <a:pt x="283" y="80"/>
                      </a:cubicBezTo>
                      <a:cubicBezTo>
                        <a:pt x="280" y="75"/>
                        <a:pt x="280" y="75"/>
                        <a:pt x="280" y="75"/>
                      </a:cubicBezTo>
                      <a:cubicBezTo>
                        <a:pt x="273" y="73"/>
                        <a:pt x="273" y="73"/>
                        <a:pt x="273" y="73"/>
                      </a:cubicBezTo>
                      <a:cubicBezTo>
                        <a:pt x="271" y="68"/>
                        <a:pt x="271" y="68"/>
                        <a:pt x="271" y="68"/>
                      </a:cubicBezTo>
                      <a:cubicBezTo>
                        <a:pt x="271" y="63"/>
                        <a:pt x="271" y="63"/>
                        <a:pt x="271" y="63"/>
                      </a:cubicBezTo>
                      <a:cubicBezTo>
                        <a:pt x="276" y="59"/>
                        <a:pt x="276" y="59"/>
                        <a:pt x="276" y="59"/>
                      </a:cubicBezTo>
                      <a:cubicBezTo>
                        <a:pt x="280" y="57"/>
                        <a:pt x="280" y="57"/>
                        <a:pt x="280" y="57"/>
                      </a:cubicBezTo>
                      <a:cubicBezTo>
                        <a:pt x="281" y="53"/>
                        <a:pt x="281" y="53"/>
                        <a:pt x="281" y="53"/>
                      </a:cubicBezTo>
                      <a:cubicBezTo>
                        <a:pt x="275" y="49"/>
                        <a:pt x="275" y="49"/>
                        <a:pt x="275" y="49"/>
                      </a:cubicBezTo>
                      <a:cubicBezTo>
                        <a:pt x="271" y="44"/>
                        <a:pt x="271" y="44"/>
                        <a:pt x="271" y="44"/>
                      </a:cubicBezTo>
                      <a:cubicBezTo>
                        <a:pt x="267" y="39"/>
                        <a:pt x="267" y="39"/>
                        <a:pt x="267" y="39"/>
                      </a:cubicBezTo>
                      <a:cubicBezTo>
                        <a:pt x="265" y="33"/>
                        <a:pt x="265" y="33"/>
                        <a:pt x="265" y="33"/>
                      </a:cubicBezTo>
                      <a:cubicBezTo>
                        <a:pt x="261" y="29"/>
                        <a:pt x="261" y="29"/>
                        <a:pt x="261" y="29"/>
                      </a:cubicBezTo>
                      <a:cubicBezTo>
                        <a:pt x="260" y="22"/>
                        <a:pt x="260" y="22"/>
                        <a:pt x="260" y="22"/>
                      </a:cubicBezTo>
                      <a:cubicBezTo>
                        <a:pt x="260" y="17"/>
                        <a:pt x="260" y="17"/>
                        <a:pt x="260" y="17"/>
                      </a:cubicBezTo>
                      <a:cubicBezTo>
                        <a:pt x="257" y="13"/>
                        <a:pt x="257" y="13"/>
                        <a:pt x="257" y="13"/>
                      </a:cubicBezTo>
                      <a:cubicBezTo>
                        <a:pt x="253" y="9"/>
                        <a:pt x="253" y="9"/>
                        <a:pt x="253" y="9"/>
                      </a:cubicBezTo>
                      <a:cubicBezTo>
                        <a:pt x="250" y="5"/>
                        <a:pt x="250" y="5"/>
                        <a:pt x="250" y="5"/>
                      </a:cubicBezTo>
                      <a:cubicBezTo>
                        <a:pt x="246" y="2"/>
                        <a:pt x="246" y="2"/>
                        <a:pt x="246" y="2"/>
                      </a:cubicBezTo>
                      <a:cubicBezTo>
                        <a:pt x="241" y="0"/>
                        <a:pt x="241" y="0"/>
                        <a:pt x="241" y="0"/>
                      </a:cubicBezTo>
                      <a:cubicBezTo>
                        <a:pt x="236" y="0"/>
                        <a:pt x="236" y="0"/>
                        <a:pt x="236" y="0"/>
                      </a:cubicBezTo>
                      <a:cubicBezTo>
                        <a:pt x="230" y="1"/>
                        <a:pt x="230" y="1"/>
                        <a:pt x="230" y="1"/>
                      </a:cubicBezTo>
                      <a:cubicBezTo>
                        <a:pt x="227" y="4"/>
                        <a:pt x="227" y="4"/>
                        <a:pt x="227" y="4"/>
                      </a:cubicBezTo>
                      <a:cubicBezTo>
                        <a:pt x="224" y="8"/>
                        <a:pt x="224" y="8"/>
                        <a:pt x="224" y="8"/>
                      </a:cubicBezTo>
                      <a:cubicBezTo>
                        <a:pt x="221" y="10"/>
                        <a:pt x="221" y="10"/>
                        <a:pt x="221" y="10"/>
                      </a:cubicBezTo>
                      <a:cubicBezTo>
                        <a:pt x="216" y="12"/>
                        <a:pt x="216" y="12"/>
                        <a:pt x="216" y="12"/>
                      </a:cubicBezTo>
                      <a:cubicBezTo>
                        <a:pt x="208" y="12"/>
                        <a:pt x="208" y="12"/>
                        <a:pt x="208" y="12"/>
                      </a:cubicBezTo>
                      <a:cubicBezTo>
                        <a:pt x="203" y="12"/>
                        <a:pt x="203" y="12"/>
                        <a:pt x="203" y="12"/>
                      </a:cubicBezTo>
                      <a:cubicBezTo>
                        <a:pt x="200" y="16"/>
                        <a:pt x="200" y="16"/>
                        <a:pt x="200" y="16"/>
                      </a:cubicBezTo>
                      <a:cubicBezTo>
                        <a:pt x="197" y="20"/>
                        <a:pt x="197" y="20"/>
                        <a:pt x="197" y="20"/>
                      </a:cubicBezTo>
                      <a:cubicBezTo>
                        <a:pt x="197" y="24"/>
                        <a:pt x="197" y="24"/>
                        <a:pt x="197" y="24"/>
                      </a:cubicBezTo>
                      <a:cubicBezTo>
                        <a:pt x="198" y="27"/>
                        <a:pt x="198" y="27"/>
                        <a:pt x="198" y="27"/>
                      </a:cubicBezTo>
                      <a:cubicBezTo>
                        <a:pt x="199" y="29"/>
                        <a:pt x="199" y="29"/>
                        <a:pt x="199" y="29"/>
                      </a:cubicBezTo>
                      <a:cubicBezTo>
                        <a:pt x="199" y="32"/>
                        <a:pt x="199" y="32"/>
                        <a:pt x="199" y="32"/>
                      </a:cubicBezTo>
                      <a:cubicBezTo>
                        <a:pt x="198" y="35"/>
                        <a:pt x="198" y="35"/>
                        <a:pt x="198" y="35"/>
                      </a:cubicBezTo>
                      <a:cubicBezTo>
                        <a:pt x="195" y="38"/>
                        <a:pt x="195" y="38"/>
                        <a:pt x="195" y="38"/>
                      </a:cubicBezTo>
                      <a:cubicBezTo>
                        <a:pt x="196" y="41"/>
                        <a:pt x="196" y="41"/>
                        <a:pt x="196" y="41"/>
                      </a:cubicBezTo>
                      <a:cubicBezTo>
                        <a:pt x="198" y="43"/>
                        <a:pt x="198" y="43"/>
                        <a:pt x="198" y="43"/>
                      </a:cubicBezTo>
                      <a:cubicBezTo>
                        <a:pt x="200" y="45"/>
                        <a:pt x="200" y="45"/>
                        <a:pt x="200" y="45"/>
                      </a:cubicBezTo>
                      <a:cubicBezTo>
                        <a:pt x="197" y="49"/>
                        <a:pt x="197" y="49"/>
                        <a:pt x="197" y="49"/>
                      </a:cubicBezTo>
                      <a:cubicBezTo>
                        <a:pt x="195" y="53"/>
                        <a:pt x="195" y="53"/>
                        <a:pt x="195" y="53"/>
                      </a:cubicBezTo>
                      <a:cubicBezTo>
                        <a:pt x="190" y="55"/>
                        <a:pt x="190" y="55"/>
                        <a:pt x="190" y="55"/>
                      </a:cubicBezTo>
                      <a:cubicBezTo>
                        <a:pt x="184" y="56"/>
                        <a:pt x="184" y="56"/>
                        <a:pt x="184" y="56"/>
                      </a:cubicBezTo>
                      <a:cubicBezTo>
                        <a:pt x="178" y="55"/>
                        <a:pt x="178" y="55"/>
                        <a:pt x="178" y="55"/>
                      </a:cubicBezTo>
                      <a:cubicBezTo>
                        <a:pt x="174" y="55"/>
                        <a:pt x="174" y="55"/>
                        <a:pt x="174" y="55"/>
                      </a:cubicBezTo>
                      <a:cubicBezTo>
                        <a:pt x="170" y="52"/>
                        <a:pt x="170" y="52"/>
                        <a:pt x="170" y="52"/>
                      </a:cubicBezTo>
                      <a:cubicBezTo>
                        <a:pt x="167" y="52"/>
                        <a:pt x="167" y="52"/>
                        <a:pt x="167" y="52"/>
                      </a:cubicBezTo>
                      <a:cubicBezTo>
                        <a:pt x="165" y="53"/>
                        <a:pt x="165" y="53"/>
                        <a:pt x="165" y="53"/>
                      </a:cubicBezTo>
                      <a:cubicBezTo>
                        <a:pt x="164" y="55"/>
                        <a:pt x="164" y="55"/>
                        <a:pt x="164" y="55"/>
                      </a:cubicBezTo>
                      <a:cubicBezTo>
                        <a:pt x="160" y="59"/>
                        <a:pt x="160" y="59"/>
                        <a:pt x="160" y="59"/>
                      </a:cubicBezTo>
                      <a:cubicBezTo>
                        <a:pt x="157" y="62"/>
                        <a:pt x="157" y="62"/>
                        <a:pt x="157" y="62"/>
                      </a:cubicBezTo>
                      <a:cubicBezTo>
                        <a:pt x="155" y="65"/>
                        <a:pt x="155" y="65"/>
                        <a:pt x="155" y="65"/>
                      </a:cubicBezTo>
                      <a:cubicBezTo>
                        <a:pt x="152" y="67"/>
                        <a:pt x="152" y="67"/>
                        <a:pt x="152" y="67"/>
                      </a:cubicBezTo>
                      <a:cubicBezTo>
                        <a:pt x="150" y="68"/>
                        <a:pt x="150" y="68"/>
                        <a:pt x="150" y="68"/>
                      </a:cubicBezTo>
                      <a:cubicBezTo>
                        <a:pt x="145" y="66"/>
                        <a:pt x="145" y="66"/>
                        <a:pt x="145" y="66"/>
                      </a:cubicBezTo>
                      <a:cubicBezTo>
                        <a:pt x="143" y="62"/>
                        <a:pt x="143" y="62"/>
                        <a:pt x="143" y="62"/>
                      </a:cubicBezTo>
                      <a:cubicBezTo>
                        <a:pt x="140" y="58"/>
                        <a:pt x="140" y="58"/>
                        <a:pt x="140" y="58"/>
                      </a:cubicBezTo>
                      <a:cubicBezTo>
                        <a:pt x="133" y="60"/>
                        <a:pt x="133" y="60"/>
                        <a:pt x="133" y="60"/>
                      </a:cubicBezTo>
                      <a:cubicBezTo>
                        <a:pt x="128" y="65"/>
                        <a:pt x="128" y="65"/>
                        <a:pt x="128" y="65"/>
                      </a:cubicBezTo>
                      <a:cubicBezTo>
                        <a:pt x="123" y="68"/>
                        <a:pt x="123" y="68"/>
                        <a:pt x="123" y="68"/>
                      </a:cubicBezTo>
                      <a:cubicBezTo>
                        <a:pt x="118" y="73"/>
                        <a:pt x="118" y="73"/>
                        <a:pt x="118" y="73"/>
                      </a:cubicBezTo>
                      <a:cubicBezTo>
                        <a:pt x="113" y="77"/>
                        <a:pt x="113" y="77"/>
                        <a:pt x="113" y="77"/>
                      </a:cubicBezTo>
                      <a:cubicBezTo>
                        <a:pt x="109" y="80"/>
                        <a:pt x="109" y="80"/>
                        <a:pt x="109" y="80"/>
                      </a:cubicBezTo>
                      <a:cubicBezTo>
                        <a:pt x="106" y="85"/>
                        <a:pt x="106" y="85"/>
                        <a:pt x="106" y="85"/>
                      </a:cubicBezTo>
                      <a:cubicBezTo>
                        <a:pt x="103" y="91"/>
                        <a:pt x="103" y="91"/>
                        <a:pt x="103" y="91"/>
                      </a:cubicBezTo>
                      <a:cubicBezTo>
                        <a:pt x="99" y="93"/>
                        <a:pt x="99" y="93"/>
                        <a:pt x="99" y="93"/>
                      </a:cubicBezTo>
                      <a:cubicBezTo>
                        <a:pt x="92" y="93"/>
                        <a:pt x="92" y="93"/>
                        <a:pt x="92" y="93"/>
                      </a:cubicBezTo>
                      <a:cubicBezTo>
                        <a:pt x="86" y="93"/>
                        <a:pt x="86" y="93"/>
                        <a:pt x="86" y="93"/>
                      </a:cubicBezTo>
                      <a:cubicBezTo>
                        <a:pt x="83" y="86"/>
                        <a:pt x="83" y="86"/>
                        <a:pt x="83" y="86"/>
                      </a:cubicBezTo>
                      <a:cubicBezTo>
                        <a:pt x="83" y="78"/>
                        <a:pt x="83" y="78"/>
                        <a:pt x="83" y="78"/>
                      </a:cubicBezTo>
                      <a:cubicBezTo>
                        <a:pt x="85" y="71"/>
                        <a:pt x="85" y="71"/>
                        <a:pt x="85" y="71"/>
                      </a:cubicBezTo>
                      <a:cubicBezTo>
                        <a:pt x="88" y="63"/>
                        <a:pt x="88" y="63"/>
                        <a:pt x="88" y="63"/>
                      </a:cubicBezTo>
                      <a:cubicBezTo>
                        <a:pt x="84" y="59"/>
                        <a:pt x="84" y="59"/>
                        <a:pt x="84" y="59"/>
                      </a:cubicBezTo>
                      <a:cubicBezTo>
                        <a:pt x="79" y="53"/>
                        <a:pt x="79" y="53"/>
                        <a:pt x="79" y="53"/>
                      </a:cubicBezTo>
                      <a:cubicBezTo>
                        <a:pt x="75" y="50"/>
                        <a:pt x="75" y="50"/>
                        <a:pt x="75" y="50"/>
                      </a:cubicBezTo>
                      <a:cubicBezTo>
                        <a:pt x="70" y="49"/>
                        <a:pt x="70" y="49"/>
                        <a:pt x="70" y="49"/>
                      </a:cubicBezTo>
                      <a:cubicBezTo>
                        <a:pt x="65" y="53"/>
                        <a:pt x="65" y="53"/>
                        <a:pt x="65" y="53"/>
                      </a:cubicBezTo>
                      <a:cubicBezTo>
                        <a:pt x="60" y="60"/>
                        <a:pt x="60" y="60"/>
                        <a:pt x="60" y="60"/>
                      </a:cubicBezTo>
                      <a:cubicBezTo>
                        <a:pt x="56" y="65"/>
                        <a:pt x="56" y="65"/>
                        <a:pt x="56" y="65"/>
                      </a:cubicBezTo>
                      <a:cubicBezTo>
                        <a:pt x="51" y="70"/>
                        <a:pt x="51" y="70"/>
                        <a:pt x="51" y="70"/>
                      </a:cubicBezTo>
                      <a:cubicBezTo>
                        <a:pt x="49" y="75"/>
                        <a:pt x="49" y="75"/>
                        <a:pt x="49" y="75"/>
                      </a:cubicBezTo>
                      <a:cubicBezTo>
                        <a:pt x="47" y="80"/>
                        <a:pt x="47" y="80"/>
                        <a:pt x="47" y="80"/>
                      </a:cubicBezTo>
                      <a:cubicBezTo>
                        <a:pt x="45" y="85"/>
                        <a:pt x="45" y="85"/>
                        <a:pt x="45" y="85"/>
                      </a:cubicBezTo>
                      <a:cubicBezTo>
                        <a:pt x="44" y="91"/>
                        <a:pt x="44" y="91"/>
                        <a:pt x="44" y="91"/>
                      </a:cubicBezTo>
                      <a:cubicBezTo>
                        <a:pt x="41" y="96"/>
                        <a:pt x="41" y="96"/>
                        <a:pt x="41" y="96"/>
                      </a:cubicBezTo>
                      <a:cubicBezTo>
                        <a:pt x="34" y="96"/>
                        <a:pt x="34" y="96"/>
                        <a:pt x="34" y="96"/>
                      </a:cubicBezTo>
                      <a:cubicBezTo>
                        <a:pt x="31" y="103"/>
                        <a:pt x="31" y="103"/>
                        <a:pt x="31" y="103"/>
                      </a:cubicBezTo>
                      <a:cubicBezTo>
                        <a:pt x="31" y="110"/>
                        <a:pt x="31" y="110"/>
                        <a:pt x="31" y="110"/>
                      </a:cubicBezTo>
                      <a:cubicBezTo>
                        <a:pt x="28" y="114"/>
                        <a:pt x="28" y="114"/>
                        <a:pt x="28" y="114"/>
                      </a:cubicBezTo>
                      <a:cubicBezTo>
                        <a:pt x="31" y="118"/>
                        <a:pt x="31" y="118"/>
                        <a:pt x="31" y="118"/>
                      </a:cubicBezTo>
                      <a:cubicBezTo>
                        <a:pt x="33" y="123"/>
                        <a:pt x="33" y="123"/>
                        <a:pt x="33" y="123"/>
                      </a:cubicBezTo>
                      <a:cubicBezTo>
                        <a:pt x="32" y="127"/>
                        <a:pt x="32" y="127"/>
                        <a:pt x="32" y="127"/>
                      </a:cubicBezTo>
                      <a:cubicBezTo>
                        <a:pt x="31" y="129"/>
                        <a:pt x="31" y="129"/>
                        <a:pt x="31" y="129"/>
                      </a:cubicBezTo>
                      <a:cubicBezTo>
                        <a:pt x="30" y="133"/>
                        <a:pt x="30" y="133"/>
                        <a:pt x="30" y="133"/>
                      </a:cubicBezTo>
                      <a:cubicBezTo>
                        <a:pt x="33" y="136"/>
                        <a:pt x="33" y="136"/>
                        <a:pt x="33" y="136"/>
                      </a:cubicBezTo>
                      <a:cubicBezTo>
                        <a:pt x="35" y="140"/>
                        <a:pt x="35" y="140"/>
                        <a:pt x="35" y="140"/>
                      </a:cubicBezTo>
                      <a:cubicBezTo>
                        <a:pt x="38" y="143"/>
                        <a:pt x="38" y="143"/>
                        <a:pt x="38" y="143"/>
                      </a:cubicBezTo>
                      <a:cubicBezTo>
                        <a:pt x="40" y="148"/>
                        <a:pt x="40" y="148"/>
                        <a:pt x="40" y="148"/>
                      </a:cubicBezTo>
                      <a:cubicBezTo>
                        <a:pt x="51" y="169"/>
                        <a:pt x="48" y="158"/>
                        <a:pt x="56" y="180"/>
                      </a:cubicBezTo>
                      <a:cubicBezTo>
                        <a:pt x="59" y="190"/>
                        <a:pt x="89" y="178"/>
                        <a:pt x="44" y="199"/>
                      </a:cubicBezTo>
                      <a:cubicBezTo>
                        <a:pt x="15" y="212"/>
                        <a:pt x="61" y="219"/>
                        <a:pt x="63" y="227"/>
                      </a:cubicBezTo>
                      <a:cubicBezTo>
                        <a:pt x="73" y="267"/>
                        <a:pt x="77" y="216"/>
                        <a:pt x="67" y="273"/>
                      </a:cubicBezTo>
                      <a:cubicBezTo>
                        <a:pt x="64" y="291"/>
                        <a:pt x="35" y="275"/>
                        <a:pt x="27" y="293"/>
                      </a:cubicBezTo>
                      <a:cubicBezTo>
                        <a:pt x="25" y="298"/>
                        <a:pt x="41" y="305"/>
                        <a:pt x="25" y="316"/>
                      </a:cubicBezTo>
                      <a:cubicBezTo>
                        <a:pt x="18" y="321"/>
                        <a:pt x="8" y="345"/>
                        <a:pt x="26" y="351"/>
                      </a:cubicBezTo>
                      <a:cubicBezTo>
                        <a:pt x="33" y="354"/>
                        <a:pt x="55" y="392"/>
                        <a:pt x="55" y="392"/>
                      </a:cubicBezTo>
                      <a:cubicBezTo>
                        <a:pt x="55" y="394"/>
                        <a:pt x="32" y="434"/>
                        <a:pt x="31" y="449"/>
                      </a:cubicBezTo>
                      <a:cubicBezTo>
                        <a:pt x="30" y="470"/>
                        <a:pt x="0" y="453"/>
                        <a:pt x="35" y="492"/>
                      </a:cubicBezTo>
                      <a:cubicBezTo>
                        <a:pt x="41" y="493"/>
                        <a:pt x="108" y="508"/>
                        <a:pt x="108" y="508"/>
                      </a:cubicBezTo>
                      <a:cubicBezTo>
                        <a:pt x="119" y="515"/>
                        <a:pt x="116" y="487"/>
                        <a:pt x="130" y="504"/>
                      </a:cubicBezTo>
                      <a:cubicBezTo>
                        <a:pt x="136" y="511"/>
                        <a:pt x="136" y="505"/>
                        <a:pt x="143" y="501"/>
                      </a:cubicBezTo>
                      <a:cubicBezTo>
                        <a:pt x="146" y="490"/>
                        <a:pt x="111" y="472"/>
                        <a:pt x="149" y="451"/>
                      </a:cubicBezTo>
                      <a:cubicBezTo>
                        <a:pt x="166" y="442"/>
                        <a:pt x="160" y="415"/>
                        <a:pt x="180" y="408"/>
                      </a:cubicBezTo>
                      <a:cubicBezTo>
                        <a:pt x="187" y="405"/>
                        <a:pt x="185" y="391"/>
                        <a:pt x="191" y="392"/>
                      </a:cubicBezTo>
                      <a:cubicBezTo>
                        <a:pt x="198" y="394"/>
                        <a:pt x="188" y="408"/>
                        <a:pt x="213" y="375"/>
                      </a:cubicBezTo>
                      <a:cubicBezTo>
                        <a:pt x="221" y="364"/>
                        <a:pt x="253" y="374"/>
                        <a:pt x="256" y="360"/>
                      </a:cubicBezTo>
                      <a:cubicBezTo>
                        <a:pt x="260" y="344"/>
                        <a:pt x="258" y="354"/>
                        <a:pt x="269" y="347"/>
                      </a:cubicBezTo>
                      <a:cubicBezTo>
                        <a:pt x="273" y="344"/>
                        <a:pt x="271" y="342"/>
                        <a:pt x="274" y="337"/>
                      </a:cubicBezTo>
                      <a:cubicBezTo>
                        <a:pt x="264" y="330"/>
                        <a:pt x="279" y="338"/>
                        <a:pt x="260" y="311"/>
                      </a:cubicBezTo>
                      <a:cubicBezTo>
                        <a:pt x="259" y="310"/>
                        <a:pt x="259" y="309"/>
                        <a:pt x="258" y="308"/>
                      </a:cubicBezTo>
                      <a:cubicBezTo>
                        <a:pt x="227" y="313"/>
                        <a:pt x="186" y="294"/>
                        <a:pt x="210" y="277"/>
                      </a:cubicBezTo>
                      <a:cubicBezTo>
                        <a:pt x="223" y="267"/>
                        <a:pt x="207" y="269"/>
                        <a:pt x="208" y="236"/>
                      </a:cubicBezTo>
                      <a:cubicBezTo>
                        <a:pt x="202" y="235"/>
                        <a:pt x="194" y="234"/>
                        <a:pt x="190" y="238"/>
                      </a:cubicBezTo>
                      <a:cubicBezTo>
                        <a:pt x="160" y="262"/>
                        <a:pt x="187" y="241"/>
                        <a:pt x="162" y="240"/>
                      </a:cubicBezTo>
                      <a:cubicBezTo>
                        <a:pt x="137" y="239"/>
                        <a:pt x="162" y="251"/>
                        <a:pt x="134" y="240"/>
                      </a:cubicBezTo>
                      <a:cubicBezTo>
                        <a:pt x="114" y="232"/>
                        <a:pt x="130" y="229"/>
                        <a:pt x="127" y="220"/>
                      </a:cubicBezTo>
                      <a:cubicBezTo>
                        <a:pt x="118" y="195"/>
                        <a:pt x="120" y="213"/>
                        <a:pt x="145" y="192"/>
                      </a:cubicBezTo>
                      <a:cubicBezTo>
                        <a:pt x="158" y="182"/>
                        <a:pt x="122" y="163"/>
                        <a:pt x="147" y="160"/>
                      </a:cubicBezTo>
                      <a:cubicBezTo>
                        <a:pt x="153" y="159"/>
                        <a:pt x="175" y="141"/>
                        <a:pt x="175" y="141"/>
                      </a:cubicBezTo>
                      <a:cubicBezTo>
                        <a:pt x="193" y="104"/>
                        <a:pt x="195" y="149"/>
                        <a:pt x="215" y="149"/>
                      </a:cubicBezTo>
                      <a:cubicBezTo>
                        <a:pt x="271" y="146"/>
                        <a:pt x="201" y="158"/>
                        <a:pt x="238" y="184"/>
                      </a:cubicBezTo>
                      <a:cubicBezTo>
                        <a:pt x="245" y="183"/>
                        <a:pt x="265" y="199"/>
                        <a:pt x="255" y="200"/>
                      </a:cubicBezTo>
                      <a:cubicBezTo>
                        <a:pt x="237" y="203"/>
                        <a:pt x="251" y="230"/>
                        <a:pt x="265" y="232"/>
                      </a:cubicBezTo>
                      <a:cubicBezTo>
                        <a:pt x="284" y="235"/>
                        <a:pt x="260" y="242"/>
                        <a:pt x="274" y="249"/>
                      </a:cubicBezTo>
                      <a:cubicBezTo>
                        <a:pt x="277" y="251"/>
                        <a:pt x="276" y="252"/>
                        <a:pt x="277" y="255"/>
                      </a:cubicBezTo>
                      <a:cubicBezTo>
                        <a:pt x="279" y="254"/>
                        <a:pt x="280" y="255"/>
                        <a:pt x="282" y="256"/>
                      </a:cubicBezTo>
                      <a:cubicBezTo>
                        <a:pt x="314" y="277"/>
                        <a:pt x="290" y="271"/>
                        <a:pt x="315" y="257"/>
                      </a:cubicBezTo>
                      <a:cubicBezTo>
                        <a:pt x="319" y="254"/>
                        <a:pt x="333" y="265"/>
                        <a:pt x="347" y="245"/>
                      </a:cubicBezTo>
                      <a:cubicBezTo>
                        <a:pt x="356" y="232"/>
                        <a:pt x="344" y="216"/>
                        <a:pt x="381" y="187"/>
                      </a:cubicBezTo>
                      <a:cubicBezTo>
                        <a:pt x="376" y="167"/>
                        <a:pt x="376" y="189"/>
                        <a:pt x="365" y="157"/>
                      </a:cubicBezTo>
                      <a:cubicBezTo>
                        <a:pt x="359" y="138"/>
                        <a:pt x="354" y="157"/>
                        <a:pt x="341" y="144"/>
                      </a:cubicBezTo>
                      <a:cubicBezTo>
                        <a:pt x="341" y="144"/>
                        <a:pt x="341" y="144"/>
                        <a:pt x="341" y="144"/>
                      </a:cubicBezTo>
                      <a:close/>
                      <a:moveTo>
                        <a:pt x="228" y="217"/>
                      </a:moveTo>
                      <a:cubicBezTo>
                        <a:pt x="228" y="209"/>
                        <a:pt x="222" y="216"/>
                        <a:pt x="224" y="200"/>
                      </a:cubicBezTo>
                      <a:cubicBezTo>
                        <a:pt x="216" y="200"/>
                        <a:pt x="195" y="198"/>
                        <a:pt x="204" y="212"/>
                      </a:cubicBezTo>
                      <a:cubicBezTo>
                        <a:pt x="208" y="219"/>
                        <a:pt x="215" y="214"/>
                        <a:pt x="212" y="226"/>
                      </a:cubicBezTo>
                      <a:cubicBezTo>
                        <a:pt x="211" y="227"/>
                        <a:pt x="212" y="227"/>
                        <a:pt x="212" y="229"/>
                      </a:cubicBezTo>
                      <a:cubicBezTo>
                        <a:pt x="216" y="229"/>
                        <a:pt x="230" y="240"/>
                        <a:pt x="228" y="217"/>
                      </a:cubicBezTo>
                      <a:cubicBezTo>
                        <a:pt x="228" y="217"/>
                        <a:pt x="228" y="217"/>
                        <a:pt x="228" y="217"/>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1" name="Shandong" descr="{&quot;Key&quot;:&quot;shandong&quot;,&quot;Name&quot;:&quot;Shandong&quot;,&quot;Value&quot;:1.0,&quot;Formula&quot;:&quot;&quot;,&quot;Text&quot;:&quot;&quot;,&quot;OfficeApplication&quot;:1,&quot;HasValue&quot;:true}">
                  <a:extLst>
                    <a:ext uri="{FF2B5EF4-FFF2-40B4-BE49-F238E27FC236}">
                      <a16:creationId xmlns:a16="http://schemas.microsoft.com/office/drawing/2014/main" id="{BA9A264E-5720-41F6-96F4-43EB37FAF6CD}"/>
                    </a:ext>
                  </a:extLst>
                </p:cNvPr>
                <p:cNvSpPr>
                  <a:spLocks noEditPoints="1"/>
                </p:cNvSpPr>
                <p:nvPr/>
              </p:nvSpPr>
              <p:spPr bwMode="auto">
                <a:xfrm>
                  <a:off x="7441406" y="3406775"/>
                  <a:ext cx="949325" cy="663575"/>
                </a:xfrm>
                <a:custGeom>
                  <a:avLst/>
                  <a:gdLst>
                    <a:gd name="T0" fmla="*/ 87 w 481"/>
                    <a:gd name="T1" fmla="*/ 203 h 336"/>
                    <a:gd name="T2" fmla="*/ 220 w 481"/>
                    <a:gd name="T3" fmla="*/ 47 h 336"/>
                    <a:gd name="T4" fmla="*/ 185 w 481"/>
                    <a:gd name="T5" fmla="*/ 40 h 336"/>
                    <a:gd name="T6" fmla="*/ 175 w 481"/>
                    <a:gd name="T7" fmla="*/ 46 h 336"/>
                    <a:gd name="T8" fmla="*/ 119 w 481"/>
                    <a:gd name="T9" fmla="*/ 74 h 336"/>
                    <a:gd name="T10" fmla="*/ 86 w 481"/>
                    <a:gd name="T11" fmla="*/ 107 h 336"/>
                    <a:gd name="T12" fmla="*/ 49 w 481"/>
                    <a:gd name="T13" fmla="*/ 200 h 336"/>
                    <a:gd name="T14" fmla="*/ 55 w 481"/>
                    <a:gd name="T15" fmla="*/ 220 h 336"/>
                    <a:gd name="T16" fmla="*/ 87 w 481"/>
                    <a:gd name="T17" fmla="*/ 203 h 336"/>
                    <a:gd name="T18" fmla="*/ 46 w 481"/>
                    <a:gd name="T19" fmla="*/ 244 h 336"/>
                    <a:gd name="T20" fmla="*/ 19 w 481"/>
                    <a:gd name="T21" fmla="*/ 291 h 336"/>
                    <a:gd name="T22" fmla="*/ 102 w 481"/>
                    <a:gd name="T23" fmla="*/ 319 h 336"/>
                    <a:gd name="T24" fmla="*/ 121 w 481"/>
                    <a:gd name="T25" fmla="*/ 291 h 336"/>
                    <a:gd name="T26" fmla="*/ 136 w 481"/>
                    <a:gd name="T27" fmla="*/ 286 h 336"/>
                    <a:gd name="T28" fmla="*/ 147 w 481"/>
                    <a:gd name="T29" fmla="*/ 285 h 336"/>
                    <a:gd name="T30" fmla="*/ 169 w 481"/>
                    <a:gd name="T31" fmla="*/ 307 h 336"/>
                    <a:gd name="T32" fmla="*/ 221 w 481"/>
                    <a:gd name="T33" fmla="*/ 308 h 336"/>
                    <a:gd name="T34" fmla="*/ 257 w 481"/>
                    <a:gd name="T35" fmla="*/ 293 h 336"/>
                    <a:gd name="T36" fmla="*/ 291 w 481"/>
                    <a:gd name="T37" fmla="*/ 262 h 336"/>
                    <a:gd name="T38" fmla="*/ 336 w 481"/>
                    <a:gd name="T39" fmla="*/ 185 h 336"/>
                    <a:gd name="T40" fmla="*/ 366 w 481"/>
                    <a:gd name="T41" fmla="*/ 173 h 336"/>
                    <a:gd name="T42" fmla="*/ 377 w 481"/>
                    <a:gd name="T43" fmla="*/ 141 h 336"/>
                    <a:gd name="T44" fmla="*/ 430 w 481"/>
                    <a:gd name="T45" fmla="*/ 109 h 336"/>
                    <a:gd name="T46" fmla="*/ 465 w 481"/>
                    <a:gd name="T47" fmla="*/ 97 h 336"/>
                    <a:gd name="T48" fmla="*/ 462 w 481"/>
                    <a:gd name="T49" fmla="*/ 67 h 336"/>
                    <a:gd name="T50" fmla="*/ 409 w 481"/>
                    <a:gd name="T51" fmla="*/ 71 h 336"/>
                    <a:gd name="T52" fmla="*/ 353 w 481"/>
                    <a:gd name="T53" fmla="*/ 50 h 336"/>
                    <a:gd name="T54" fmla="*/ 309 w 481"/>
                    <a:gd name="T55" fmla="*/ 97 h 336"/>
                    <a:gd name="T56" fmla="*/ 255 w 481"/>
                    <a:gd name="T57" fmla="*/ 64 h 336"/>
                    <a:gd name="T58" fmla="*/ 246 w 481"/>
                    <a:gd name="T59" fmla="*/ 43 h 336"/>
                    <a:gd name="T60" fmla="*/ 366 w 481"/>
                    <a:gd name="T61" fmla="*/ 5 h 336"/>
                    <a:gd name="T62" fmla="*/ 359 w 481"/>
                    <a:gd name="T63" fmla="*/ 10 h 336"/>
                    <a:gd name="T64" fmla="*/ 359 w 481"/>
                    <a:gd name="T65" fmla="*/ 10 h 336"/>
                    <a:gd name="T66" fmla="*/ 353 w 481"/>
                    <a:gd name="T67" fmla="*/ 26 h 336"/>
                    <a:gd name="T68" fmla="*/ 363 w 481"/>
                    <a:gd name="T69" fmla="*/ 30 h 336"/>
                    <a:gd name="T70" fmla="*/ 363 w 481"/>
                    <a:gd name="T71" fmla="*/ 30 h 336"/>
                    <a:gd name="T72" fmla="*/ 343 w 481"/>
                    <a:gd name="T73" fmla="*/ 37 h 336"/>
                    <a:gd name="T74" fmla="*/ 354 w 481"/>
                    <a:gd name="T75" fmla="*/ 4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1" h="336">
                      <a:moveTo>
                        <a:pt x="87" y="203"/>
                      </a:moveTo>
                      <a:cubicBezTo>
                        <a:pt x="87" y="203"/>
                        <a:pt x="87" y="203"/>
                        <a:pt x="87" y="203"/>
                      </a:cubicBezTo>
                      <a:moveTo>
                        <a:pt x="246" y="43"/>
                      </a:moveTo>
                      <a:cubicBezTo>
                        <a:pt x="232" y="30"/>
                        <a:pt x="236" y="54"/>
                        <a:pt x="220" y="47"/>
                      </a:cubicBezTo>
                      <a:cubicBezTo>
                        <a:pt x="205" y="40"/>
                        <a:pt x="203" y="62"/>
                        <a:pt x="193" y="48"/>
                      </a:cubicBezTo>
                      <a:cubicBezTo>
                        <a:pt x="191" y="45"/>
                        <a:pt x="189" y="42"/>
                        <a:pt x="185" y="40"/>
                      </a:cubicBezTo>
                      <a:cubicBezTo>
                        <a:pt x="183" y="38"/>
                        <a:pt x="181" y="37"/>
                        <a:pt x="180" y="36"/>
                      </a:cubicBezTo>
                      <a:cubicBezTo>
                        <a:pt x="177" y="41"/>
                        <a:pt x="179" y="43"/>
                        <a:pt x="175" y="46"/>
                      </a:cubicBezTo>
                      <a:cubicBezTo>
                        <a:pt x="164" y="53"/>
                        <a:pt x="166" y="43"/>
                        <a:pt x="162" y="59"/>
                      </a:cubicBezTo>
                      <a:cubicBezTo>
                        <a:pt x="159" y="73"/>
                        <a:pt x="127" y="63"/>
                        <a:pt x="119" y="74"/>
                      </a:cubicBezTo>
                      <a:cubicBezTo>
                        <a:pt x="94" y="107"/>
                        <a:pt x="104" y="93"/>
                        <a:pt x="97" y="91"/>
                      </a:cubicBezTo>
                      <a:cubicBezTo>
                        <a:pt x="91" y="90"/>
                        <a:pt x="93" y="104"/>
                        <a:pt x="86" y="107"/>
                      </a:cubicBezTo>
                      <a:cubicBezTo>
                        <a:pt x="66" y="114"/>
                        <a:pt x="72" y="141"/>
                        <a:pt x="55" y="150"/>
                      </a:cubicBezTo>
                      <a:cubicBezTo>
                        <a:pt x="17" y="171"/>
                        <a:pt x="52" y="189"/>
                        <a:pt x="49" y="200"/>
                      </a:cubicBezTo>
                      <a:cubicBezTo>
                        <a:pt x="55" y="210"/>
                        <a:pt x="44" y="215"/>
                        <a:pt x="42" y="219"/>
                      </a:cubicBezTo>
                      <a:cubicBezTo>
                        <a:pt x="34" y="237"/>
                        <a:pt x="55" y="220"/>
                        <a:pt x="55" y="220"/>
                      </a:cubicBezTo>
                      <a:cubicBezTo>
                        <a:pt x="71" y="217"/>
                        <a:pt x="60" y="214"/>
                        <a:pt x="71" y="212"/>
                      </a:cubicBezTo>
                      <a:cubicBezTo>
                        <a:pt x="81" y="209"/>
                        <a:pt x="85" y="205"/>
                        <a:pt x="87" y="203"/>
                      </a:cubicBezTo>
                      <a:cubicBezTo>
                        <a:pt x="86" y="204"/>
                        <a:pt x="86" y="204"/>
                        <a:pt x="86" y="206"/>
                      </a:cubicBezTo>
                      <a:cubicBezTo>
                        <a:pt x="82" y="220"/>
                        <a:pt x="46" y="236"/>
                        <a:pt x="46" y="244"/>
                      </a:cubicBezTo>
                      <a:cubicBezTo>
                        <a:pt x="45" y="260"/>
                        <a:pt x="30" y="254"/>
                        <a:pt x="26" y="263"/>
                      </a:cubicBezTo>
                      <a:cubicBezTo>
                        <a:pt x="23" y="271"/>
                        <a:pt x="0" y="291"/>
                        <a:pt x="19" y="291"/>
                      </a:cubicBezTo>
                      <a:cubicBezTo>
                        <a:pt x="50" y="291"/>
                        <a:pt x="31" y="294"/>
                        <a:pt x="42" y="298"/>
                      </a:cubicBezTo>
                      <a:cubicBezTo>
                        <a:pt x="74" y="310"/>
                        <a:pt x="22" y="322"/>
                        <a:pt x="102" y="319"/>
                      </a:cubicBezTo>
                      <a:cubicBezTo>
                        <a:pt x="110" y="314"/>
                        <a:pt x="107" y="315"/>
                        <a:pt x="112" y="311"/>
                      </a:cubicBezTo>
                      <a:cubicBezTo>
                        <a:pt x="119" y="306"/>
                        <a:pt x="108" y="292"/>
                        <a:pt x="121" y="291"/>
                      </a:cubicBezTo>
                      <a:cubicBezTo>
                        <a:pt x="136" y="290"/>
                        <a:pt x="132" y="282"/>
                        <a:pt x="136" y="286"/>
                      </a:cubicBezTo>
                      <a:cubicBezTo>
                        <a:pt x="136" y="286"/>
                        <a:pt x="136" y="286"/>
                        <a:pt x="136" y="286"/>
                      </a:cubicBezTo>
                      <a:cubicBezTo>
                        <a:pt x="124" y="272"/>
                        <a:pt x="115" y="271"/>
                        <a:pt x="129" y="260"/>
                      </a:cubicBezTo>
                      <a:cubicBezTo>
                        <a:pt x="135" y="256"/>
                        <a:pt x="130" y="267"/>
                        <a:pt x="147" y="285"/>
                      </a:cubicBezTo>
                      <a:cubicBezTo>
                        <a:pt x="157" y="296"/>
                        <a:pt x="157" y="296"/>
                        <a:pt x="157" y="296"/>
                      </a:cubicBezTo>
                      <a:cubicBezTo>
                        <a:pt x="160" y="299"/>
                        <a:pt x="164" y="302"/>
                        <a:pt x="169" y="307"/>
                      </a:cubicBezTo>
                      <a:cubicBezTo>
                        <a:pt x="170" y="308"/>
                        <a:pt x="171" y="309"/>
                        <a:pt x="172" y="310"/>
                      </a:cubicBezTo>
                      <a:cubicBezTo>
                        <a:pt x="200" y="336"/>
                        <a:pt x="205" y="282"/>
                        <a:pt x="221" y="308"/>
                      </a:cubicBezTo>
                      <a:cubicBezTo>
                        <a:pt x="232" y="327"/>
                        <a:pt x="241" y="318"/>
                        <a:pt x="241" y="313"/>
                      </a:cubicBezTo>
                      <a:cubicBezTo>
                        <a:pt x="246" y="281"/>
                        <a:pt x="250" y="304"/>
                        <a:pt x="257" y="293"/>
                      </a:cubicBezTo>
                      <a:cubicBezTo>
                        <a:pt x="271" y="269"/>
                        <a:pt x="254" y="273"/>
                        <a:pt x="288" y="264"/>
                      </a:cubicBezTo>
                      <a:cubicBezTo>
                        <a:pt x="289" y="263"/>
                        <a:pt x="290" y="263"/>
                        <a:pt x="291" y="262"/>
                      </a:cubicBezTo>
                      <a:cubicBezTo>
                        <a:pt x="303" y="258"/>
                        <a:pt x="302" y="221"/>
                        <a:pt x="316" y="219"/>
                      </a:cubicBezTo>
                      <a:cubicBezTo>
                        <a:pt x="325" y="217"/>
                        <a:pt x="343" y="192"/>
                        <a:pt x="336" y="185"/>
                      </a:cubicBezTo>
                      <a:cubicBezTo>
                        <a:pt x="324" y="173"/>
                        <a:pt x="348" y="165"/>
                        <a:pt x="346" y="181"/>
                      </a:cubicBezTo>
                      <a:cubicBezTo>
                        <a:pt x="345" y="189"/>
                        <a:pt x="366" y="178"/>
                        <a:pt x="366" y="173"/>
                      </a:cubicBezTo>
                      <a:cubicBezTo>
                        <a:pt x="367" y="167"/>
                        <a:pt x="360" y="157"/>
                        <a:pt x="368" y="151"/>
                      </a:cubicBezTo>
                      <a:cubicBezTo>
                        <a:pt x="370" y="150"/>
                        <a:pt x="386" y="158"/>
                        <a:pt x="377" y="141"/>
                      </a:cubicBezTo>
                      <a:cubicBezTo>
                        <a:pt x="374" y="136"/>
                        <a:pt x="358" y="141"/>
                        <a:pt x="373" y="137"/>
                      </a:cubicBezTo>
                      <a:cubicBezTo>
                        <a:pt x="394" y="131"/>
                        <a:pt x="413" y="123"/>
                        <a:pt x="430" y="109"/>
                      </a:cubicBezTo>
                      <a:cubicBezTo>
                        <a:pt x="437" y="104"/>
                        <a:pt x="448" y="102"/>
                        <a:pt x="453" y="109"/>
                      </a:cubicBezTo>
                      <a:cubicBezTo>
                        <a:pt x="459" y="117"/>
                        <a:pt x="476" y="103"/>
                        <a:pt x="465" y="97"/>
                      </a:cubicBezTo>
                      <a:cubicBezTo>
                        <a:pt x="460" y="94"/>
                        <a:pt x="470" y="84"/>
                        <a:pt x="470" y="78"/>
                      </a:cubicBezTo>
                      <a:cubicBezTo>
                        <a:pt x="470" y="70"/>
                        <a:pt x="481" y="60"/>
                        <a:pt x="462" y="67"/>
                      </a:cubicBezTo>
                      <a:cubicBezTo>
                        <a:pt x="448" y="72"/>
                        <a:pt x="441" y="55"/>
                        <a:pt x="434" y="63"/>
                      </a:cubicBezTo>
                      <a:cubicBezTo>
                        <a:pt x="424" y="72"/>
                        <a:pt x="419" y="69"/>
                        <a:pt x="409" y="71"/>
                      </a:cubicBezTo>
                      <a:cubicBezTo>
                        <a:pt x="401" y="72"/>
                        <a:pt x="403" y="61"/>
                        <a:pt x="390" y="62"/>
                      </a:cubicBezTo>
                      <a:cubicBezTo>
                        <a:pt x="377" y="63"/>
                        <a:pt x="370" y="38"/>
                        <a:pt x="353" y="50"/>
                      </a:cubicBezTo>
                      <a:cubicBezTo>
                        <a:pt x="343" y="57"/>
                        <a:pt x="333" y="56"/>
                        <a:pt x="330" y="68"/>
                      </a:cubicBezTo>
                      <a:cubicBezTo>
                        <a:pt x="327" y="81"/>
                        <a:pt x="313" y="80"/>
                        <a:pt x="309" y="97"/>
                      </a:cubicBezTo>
                      <a:cubicBezTo>
                        <a:pt x="303" y="123"/>
                        <a:pt x="234" y="108"/>
                        <a:pt x="252" y="88"/>
                      </a:cubicBezTo>
                      <a:cubicBezTo>
                        <a:pt x="255" y="83"/>
                        <a:pt x="258" y="67"/>
                        <a:pt x="255" y="64"/>
                      </a:cubicBezTo>
                      <a:cubicBezTo>
                        <a:pt x="243" y="56"/>
                        <a:pt x="261" y="57"/>
                        <a:pt x="246" y="43"/>
                      </a:cubicBezTo>
                      <a:cubicBezTo>
                        <a:pt x="246" y="43"/>
                        <a:pt x="246" y="43"/>
                        <a:pt x="246" y="43"/>
                      </a:cubicBezTo>
                      <a:close/>
                      <a:moveTo>
                        <a:pt x="360" y="1"/>
                      </a:moveTo>
                      <a:cubicBezTo>
                        <a:pt x="360" y="1"/>
                        <a:pt x="357" y="15"/>
                        <a:pt x="366" y="5"/>
                      </a:cubicBezTo>
                      <a:cubicBezTo>
                        <a:pt x="370" y="0"/>
                        <a:pt x="360" y="1"/>
                        <a:pt x="360" y="1"/>
                      </a:cubicBezTo>
                      <a:close/>
                      <a:moveTo>
                        <a:pt x="359" y="10"/>
                      </a:moveTo>
                      <a:cubicBezTo>
                        <a:pt x="357" y="9"/>
                        <a:pt x="353" y="9"/>
                        <a:pt x="352" y="10"/>
                      </a:cubicBezTo>
                      <a:cubicBezTo>
                        <a:pt x="351" y="11"/>
                        <a:pt x="366" y="23"/>
                        <a:pt x="359" y="10"/>
                      </a:cubicBezTo>
                      <a:close/>
                      <a:moveTo>
                        <a:pt x="359" y="22"/>
                      </a:moveTo>
                      <a:cubicBezTo>
                        <a:pt x="347" y="15"/>
                        <a:pt x="335" y="35"/>
                        <a:pt x="353" y="26"/>
                      </a:cubicBezTo>
                      <a:cubicBezTo>
                        <a:pt x="356" y="24"/>
                        <a:pt x="363" y="24"/>
                        <a:pt x="359" y="22"/>
                      </a:cubicBezTo>
                      <a:close/>
                      <a:moveTo>
                        <a:pt x="363" y="30"/>
                      </a:moveTo>
                      <a:cubicBezTo>
                        <a:pt x="362" y="31"/>
                        <a:pt x="366" y="39"/>
                        <a:pt x="368" y="33"/>
                      </a:cubicBezTo>
                      <a:cubicBezTo>
                        <a:pt x="370" y="26"/>
                        <a:pt x="364" y="29"/>
                        <a:pt x="363" y="30"/>
                      </a:cubicBezTo>
                      <a:close/>
                      <a:moveTo>
                        <a:pt x="354" y="44"/>
                      </a:moveTo>
                      <a:cubicBezTo>
                        <a:pt x="360" y="54"/>
                        <a:pt x="361" y="32"/>
                        <a:pt x="343" y="37"/>
                      </a:cubicBezTo>
                      <a:cubicBezTo>
                        <a:pt x="343" y="37"/>
                        <a:pt x="343" y="38"/>
                        <a:pt x="343" y="38"/>
                      </a:cubicBezTo>
                      <a:cubicBezTo>
                        <a:pt x="344" y="44"/>
                        <a:pt x="350" y="37"/>
                        <a:pt x="354" y="44"/>
                      </a:cubicBezTo>
                      <a:cubicBezTo>
                        <a:pt x="354" y="44"/>
                        <a:pt x="354" y="44"/>
                        <a:pt x="354" y="44"/>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2" name="Jiangsu" descr="{&quot;Key&quot;:&quot;jiangsu&quot;,&quot;Name&quot;:&quot;Jiangsu&quot;,&quot;Value&quot;:1.0,&quot;Formula&quot;:&quot;&quot;,&quot;Text&quot;:&quot;&quot;,&quot;OfficeApplication&quot;:1,&quot;HasValue&quot;:true}">
                  <a:extLst>
                    <a:ext uri="{FF2B5EF4-FFF2-40B4-BE49-F238E27FC236}">
                      <a16:creationId xmlns:a16="http://schemas.microsoft.com/office/drawing/2014/main" id="{9EC7488F-49E4-4C28-9F4E-A4B103B1DB88}"/>
                    </a:ext>
                  </a:extLst>
                </p:cNvPr>
                <p:cNvSpPr>
                  <a:spLocks noEditPoints="1"/>
                </p:cNvSpPr>
                <p:nvPr/>
              </p:nvSpPr>
              <p:spPr bwMode="auto">
                <a:xfrm>
                  <a:off x="7654131" y="3927475"/>
                  <a:ext cx="754063" cy="622300"/>
                </a:xfrm>
                <a:custGeom>
                  <a:avLst/>
                  <a:gdLst>
                    <a:gd name="T0" fmla="*/ 288 w 382"/>
                    <a:gd name="T1" fmla="*/ 292 h 315"/>
                    <a:gd name="T2" fmla="*/ 133 w 382"/>
                    <a:gd name="T3" fmla="*/ 49 h 315"/>
                    <a:gd name="T4" fmla="*/ 64 w 382"/>
                    <a:gd name="T5" fmla="*/ 46 h 315"/>
                    <a:gd name="T6" fmla="*/ 53 w 382"/>
                    <a:gd name="T7" fmla="*/ 52 h 315"/>
                    <a:gd name="T8" fmla="*/ 36 w 382"/>
                    <a:gd name="T9" fmla="*/ 27 h 315"/>
                    <a:gd name="T10" fmla="*/ 28 w 382"/>
                    <a:gd name="T11" fmla="*/ 22 h 315"/>
                    <a:gd name="T12" fmla="*/ 4 w 382"/>
                    <a:gd name="T13" fmla="*/ 47 h 315"/>
                    <a:gd name="T14" fmla="*/ 94 w 382"/>
                    <a:gd name="T15" fmla="*/ 108 h 315"/>
                    <a:gd name="T16" fmla="*/ 129 w 382"/>
                    <a:gd name="T17" fmla="*/ 149 h 315"/>
                    <a:gd name="T18" fmla="*/ 151 w 382"/>
                    <a:gd name="T19" fmla="*/ 137 h 315"/>
                    <a:gd name="T20" fmla="*/ 153 w 382"/>
                    <a:gd name="T21" fmla="*/ 120 h 315"/>
                    <a:gd name="T22" fmla="*/ 154 w 382"/>
                    <a:gd name="T23" fmla="*/ 160 h 315"/>
                    <a:gd name="T24" fmla="*/ 141 w 382"/>
                    <a:gd name="T25" fmla="*/ 156 h 315"/>
                    <a:gd name="T26" fmla="*/ 131 w 382"/>
                    <a:gd name="T27" fmla="*/ 150 h 315"/>
                    <a:gd name="T28" fmla="*/ 193 w 382"/>
                    <a:gd name="T29" fmla="*/ 177 h 315"/>
                    <a:gd name="T30" fmla="*/ 162 w 382"/>
                    <a:gd name="T31" fmla="*/ 202 h 315"/>
                    <a:gd name="T32" fmla="*/ 176 w 382"/>
                    <a:gd name="T33" fmla="*/ 284 h 315"/>
                    <a:gd name="T34" fmla="*/ 234 w 382"/>
                    <a:gd name="T35" fmla="*/ 295 h 315"/>
                    <a:gd name="T36" fmla="*/ 283 w 382"/>
                    <a:gd name="T37" fmla="*/ 267 h 315"/>
                    <a:gd name="T38" fmla="*/ 282 w 382"/>
                    <a:gd name="T39" fmla="*/ 281 h 315"/>
                    <a:gd name="T40" fmla="*/ 288 w 382"/>
                    <a:gd name="T41" fmla="*/ 292 h 315"/>
                    <a:gd name="T42" fmla="*/ 284 w 382"/>
                    <a:gd name="T43" fmla="*/ 294 h 315"/>
                    <a:gd name="T44" fmla="*/ 286 w 382"/>
                    <a:gd name="T45" fmla="*/ 310 h 315"/>
                    <a:gd name="T46" fmla="*/ 294 w 382"/>
                    <a:gd name="T47" fmla="*/ 315 h 315"/>
                    <a:gd name="T48" fmla="*/ 318 w 382"/>
                    <a:gd name="T49" fmla="*/ 294 h 315"/>
                    <a:gd name="T50" fmla="*/ 338 w 382"/>
                    <a:gd name="T51" fmla="*/ 258 h 315"/>
                    <a:gd name="T52" fmla="*/ 309 w 382"/>
                    <a:gd name="T53" fmla="*/ 239 h 315"/>
                    <a:gd name="T54" fmla="*/ 259 w 382"/>
                    <a:gd name="T55" fmla="*/ 231 h 315"/>
                    <a:gd name="T56" fmla="*/ 324 w 382"/>
                    <a:gd name="T57" fmla="*/ 232 h 315"/>
                    <a:gd name="T58" fmla="*/ 334 w 382"/>
                    <a:gd name="T59" fmla="*/ 195 h 315"/>
                    <a:gd name="T60" fmla="*/ 266 w 382"/>
                    <a:gd name="T61" fmla="*/ 81 h 315"/>
                    <a:gd name="T62" fmla="*/ 185 w 382"/>
                    <a:gd name="T63" fmla="*/ 23 h 315"/>
                    <a:gd name="T64" fmla="*/ 149 w 382"/>
                    <a:gd name="T65" fmla="*/ 2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2" h="315">
                      <a:moveTo>
                        <a:pt x="288" y="292"/>
                      </a:moveTo>
                      <a:cubicBezTo>
                        <a:pt x="288" y="292"/>
                        <a:pt x="288" y="292"/>
                        <a:pt x="288" y="292"/>
                      </a:cubicBezTo>
                      <a:moveTo>
                        <a:pt x="149" y="29"/>
                      </a:moveTo>
                      <a:cubicBezTo>
                        <a:pt x="142" y="40"/>
                        <a:pt x="138" y="17"/>
                        <a:pt x="133" y="49"/>
                      </a:cubicBezTo>
                      <a:cubicBezTo>
                        <a:pt x="133" y="54"/>
                        <a:pt x="124" y="63"/>
                        <a:pt x="113" y="44"/>
                      </a:cubicBezTo>
                      <a:cubicBezTo>
                        <a:pt x="97" y="18"/>
                        <a:pt x="92" y="72"/>
                        <a:pt x="64" y="46"/>
                      </a:cubicBezTo>
                      <a:cubicBezTo>
                        <a:pt x="61" y="43"/>
                        <a:pt x="61" y="43"/>
                        <a:pt x="61" y="43"/>
                      </a:cubicBezTo>
                      <a:cubicBezTo>
                        <a:pt x="67" y="58"/>
                        <a:pt x="55" y="59"/>
                        <a:pt x="53" y="52"/>
                      </a:cubicBezTo>
                      <a:cubicBezTo>
                        <a:pt x="53" y="49"/>
                        <a:pt x="39" y="29"/>
                        <a:pt x="38" y="29"/>
                      </a:cubicBezTo>
                      <a:cubicBezTo>
                        <a:pt x="36" y="27"/>
                        <a:pt x="36" y="27"/>
                        <a:pt x="36" y="27"/>
                      </a:cubicBezTo>
                      <a:cubicBezTo>
                        <a:pt x="34" y="27"/>
                        <a:pt x="32" y="25"/>
                        <a:pt x="28" y="22"/>
                      </a:cubicBezTo>
                      <a:cubicBezTo>
                        <a:pt x="28" y="22"/>
                        <a:pt x="28" y="22"/>
                        <a:pt x="28" y="22"/>
                      </a:cubicBezTo>
                      <a:cubicBezTo>
                        <a:pt x="24" y="18"/>
                        <a:pt x="28" y="26"/>
                        <a:pt x="13" y="27"/>
                      </a:cubicBezTo>
                      <a:cubicBezTo>
                        <a:pt x="0" y="28"/>
                        <a:pt x="11" y="42"/>
                        <a:pt x="4" y="47"/>
                      </a:cubicBezTo>
                      <a:cubicBezTo>
                        <a:pt x="34" y="69"/>
                        <a:pt x="29" y="52"/>
                        <a:pt x="49" y="80"/>
                      </a:cubicBezTo>
                      <a:cubicBezTo>
                        <a:pt x="64" y="100"/>
                        <a:pt x="82" y="72"/>
                        <a:pt x="94" y="108"/>
                      </a:cubicBezTo>
                      <a:cubicBezTo>
                        <a:pt x="98" y="119"/>
                        <a:pt x="136" y="84"/>
                        <a:pt x="112" y="139"/>
                      </a:cubicBezTo>
                      <a:cubicBezTo>
                        <a:pt x="103" y="161"/>
                        <a:pt x="123" y="151"/>
                        <a:pt x="129" y="149"/>
                      </a:cubicBezTo>
                      <a:cubicBezTo>
                        <a:pt x="118" y="141"/>
                        <a:pt x="135" y="146"/>
                        <a:pt x="140" y="142"/>
                      </a:cubicBezTo>
                      <a:cubicBezTo>
                        <a:pt x="150" y="134"/>
                        <a:pt x="161" y="145"/>
                        <a:pt x="151" y="137"/>
                      </a:cubicBezTo>
                      <a:cubicBezTo>
                        <a:pt x="145" y="133"/>
                        <a:pt x="136" y="109"/>
                        <a:pt x="149" y="115"/>
                      </a:cubicBezTo>
                      <a:cubicBezTo>
                        <a:pt x="151" y="116"/>
                        <a:pt x="153" y="117"/>
                        <a:pt x="153" y="120"/>
                      </a:cubicBezTo>
                      <a:cubicBezTo>
                        <a:pt x="158" y="134"/>
                        <a:pt x="175" y="130"/>
                        <a:pt x="169" y="144"/>
                      </a:cubicBezTo>
                      <a:cubicBezTo>
                        <a:pt x="158" y="169"/>
                        <a:pt x="154" y="160"/>
                        <a:pt x="154" y="160"/>
                      </a:cubicBezTo>
                      <a:cubicBezTo>
                        <a:pt x="149" y="159"/>
                        <a:pt x="145" y="171"/>
                        <a:pt x="142" y="163"/>
                      </a:cubicBezTo>
                      <a:cubicBezTo>
                        <a:pt x="141" y="159"/>
                        <a:pt x="141" y="157"/>
                        <a:pt x="141" y="156"/>
                      </a:cubicBezTo>
                      <a:cubicBezTo>
                        <a:pt x="140" y="155"/>
                        <a:pt x="139" y="155"/>
                        <a:pt x="138" y="154"/>
                      </a:cubicBezTo>
                      <a:cubicBezTo>
                        <a:pt x="135" y="153"/>
                        <a:pt x="133" y="151"/>
                        <a:pt x="131" y="150"/>
                      </a:cubicBezTo>
                      <a:cubicBezTo>
                        <a:pt x="134" y="161"/>
                        <a:pt x="130" y="196"/>
                        <a:pt x="159" y="181"/>
                      </a:cubicBezTo>
                      <a:cubicBezTo>
                        <a:pt x="165" y="178"/>
                        <a:pt x="177" y="142"/>
                        <a:pt x="193" y="177"/>
                      </a:cubicBezTo>
                      <a:cubicBezTo>
                        <a:pt x="198" y="186"/>
                        <a:pt x="197" y="203"/>
                        <a:pt x="180" y="195"/>
                      </a:cubicBezTo>
                      <a:cubicBezTo>
                        <a:pt x="170" y="190"/>
                        <a:pt x="143" y="188"/>
                        <a:pt x="162" y="202"/>
                      </a:cubicBezTo>
                      <a:cubicBezTo>
                        <a:pt x="181" y="216"/>
                        <a:pt x="146" y="224"/>
                        <a:pt x="146" y="228"/>
                      </a:cubicBezTo>
                      <a:cubicBezTo>
                        <a:pt x="144" y="268"/>
                        <a:pt x="199" y="257"/>
                        <a:pt x="176" y="284"/>
                      </a:cubicBezTo>
                      <a:cubicBezTo>
                        <a:pt x="162" y="302"/>
                        <a:pt x="207" y="285"/>
                        <a:pt x="213" y="289"/>
                      </a:cubicBezTo>
                      <a:cubicBezTo>
                        <a:pt x="221" y="294"/>
                        <a:pt x="225" y="295"/>
                        <a:pt x="234" y="295"/>
                      </a:cubicBezTo>
                      <a:cubicBezTo>
                        <a:pt x="238" y="290"/>
                        <a:pt x="241" y="290"/>
                        <a:pt x="250" y="290"/>
                      </a:cubicBezTo>
                      <a:cubicBezTo>
                        <a:pt x="250" y="267"/>
                        <a:pt x="273" y="260"/>
                        <a:pt x="283" y="267"/>
                      </a:cubicBezTo>
                      <a:cubicBezTo>
                        <a:pt x="286" y="270"/>
                        <a:pt x="275" y="266"/>
                        <a:pt x="281" y="273"/>
                      </a:cubicBezTo>
                      <a:cubicBezTo>
                        <a:pt x="286" y="279"/>
                        <a:pt x="273" y="276"/>
                        <a:pt x="282" y="281"/>
                      </a:cubicBezTo>
                      <a:cubicBezTo>
                        <a:pt x="293" y="287"/>
                        <a:pt x="283" y="286"/>
                        <a:pt x="286" y="290"/>
                      </a:cubicBezTo>
                      <a:cubicBezTo>
                        <a:pt x="287" y="291"/>
                        <a:pt x="288" y="292"/>
                        <a:pt x="288" y="292"/>
                      </a:cubicBezTo>
                      <a:cubicBezTo>
                        <a:pt x="288" y="292"/>
                        <a:pt x="287" y="292"/>
                        <a:pt x="285" y="294"/>
                      </a:cubicBezTo>
                      <a:cubicBezTo>
                        <a:pt x="285" y="294"/>
                        <a:pt x="285" y="294"/>
                        <a:pt x="284" y="294"/>
                      </a:cubicBezTo>
                      <a:cubicBezTo>
                        <a:pt x="285" y="295"/>
                        <a:pt x="286" y="299"/>
                        <a:pt x="286" y="307"/>
                      </a:cubicBezTo>
                      <a:cubicBezTo>
                        <a:pt x="286" y="310"/>
                        <a:pt x="286" y="310"/>
                        <a:pt x="286" y="310"/>
                      </a:cubicBezTo>
                      <a:cubicBezTo>
                        <a:pt x="291" y="315"/>
                        <a:pt x="291" y="315"/>
                        <a:pt x="291" y="315"/>
                      </a:cubicBezTo>
                      <a:cubicBezTo>
                        <a:pt x="294" y="315"/>
                        <a:pt x="294" y="315"/>
                        <a:pt x="294" y="315"/>
                      </a:cubicBezTo>
                      <a:cubicBezTo>
                        <a:pt x="298" y="309"/>
                        <a:pt x="305" y="307"/>
                        <a:pt x="307" y="301"/>
                      </a:cubicBezTo>
                      <a:cubicBezTo>
                        <a:pt x="312" y="298"/>
                        <a:pt x="313" y="295"/>
                        <a:pt x="318" y="294"/>
                      </a:cubicBezTo>
                      <a:cubicBezTo>
                        <a:pt x="318" y="288"/>
                        <a:pt x="318" y="288"/>
                        <a:pt x="318" y="288"/>
                      </a:cubicBezTo>
                      <a:cubicBezTo>
                        <a:pt x="335" y="278"/>
                        <a:pt x="322" y="264"/>
                        <a:pt x="338" y="258"/>
                      </a:cubicBezTo>
                      <a:cubicBezTo>
                        <a:pt x="344" y="254"/>
                        <a:pt x="344" y="254"/>
                        <a:pt x="344" y="254"/>
                      </a:cubicBezTo>
                      <a:cubicBezTo>
                        <a:pt x="340" y="249"/>
                        <a:pt x="342" y="246"/>
                        <a:pt x="309" y="239"/>
                      </a:cubicBezTo>
                      <a:cubicBezTo>
                        <a:pt x="296" y="236"/>
                        <a:pt x="300" y="204"/>
                        <a:pt x="276" y="228"/>
                      </a:cubicBezTo>
                      <a:cubicBezTo>
                        <a:pt x="273" y="230"/>
                        <a:pt x="258" y="232"/>
                        <a:pt x="259" y="231"/>
                      </a:cubicBezTo>
                      <a:cubicBezTo>
                        <a:pt x="260" y="228"/>
                        <a:pt x="269" y="228"/>
                        <a:pt x="273" y="225"/>
                      </a:cubicBezTo>
                      <a:cubicBezTo>
                        <a:pt x="300" y="200"/>
                        <a:pt x="308" y="240"/>
                        <a:pt x="324" y="232"/>
                      </a:cubicBezTo>
                      <a:cubicBezTo>
                        <a:pt x="347" y="219"/>
                        <a:pt x="382" y="257"/>
                        <a:pt x="374" y="229"/>
                      </a:cubicBezTo>
                      <a:cubicBezTo>
                        <a:pt x="366" y="202"/>
                        <a:pt x="336" y="217"/>
                        <a:pt x="334" y="195"/>
                      </a:cubicBezTo>
                      <a:cubicBezTo>
                        <a:pt x="332" y="177"/>
                        <a:pt x="304" y="190"/>
                        <a:pt x="302" y="158"/>
                      </a:cubicBezTo>
                      <a:cubicBezTo>
                        <a:pt x="301" y="145"/>
                        <a:pt x="270" y="103"/>
                        <a:pt x="266" y="81"/>
                      </a:cubicBezTo>
                      <a:cubicBezTo>
                        <a:pt x="266" y="81"/>
                        <a:pt x="250" y="48"/>
                        <a:pt x="241" y="47"/>
                      </a:cubicBezTo>
                      <a:cubicBezTo>
                        <a:pt x="217" y="44"/>
                        <a:pt x="191" y="23"/>
                        <a:pt x="185" y="23"/>
                      </a:cubicBezTo>
                      <a:cubicBezTo>
                        <a:pt x="176" y="23"/>
                        <a:pt x="174" y="5"/>
                        <a:pt x="180" y="0"/>
                      </a:cubicBezTo>
                      <a:cubicBezTo>
                        <a:pt x="146" y="9"/>
                        <a:pt x="163" y="5"/>
                        <a:pt x="149" y="29"/>
                      </a:cubicBezTo>
                      <a:cubicBezTo>
                        <a:pt x="149" y="29"/>
                        <a:pt x="149" y="29"/>
                        <a:pt x="149" y="29"/>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3" name="Zhejiang" descr="{&quot;Key&quot;:&quot;zhejiang&quot;,&quot;Name&quot;:&quot;Zhejiang&quot;,&quot;Value&quot;:1.0,&quot;Formula&quot;:&quot;&quot;,&quot;Text&quot;:&quot;&quot;,&quot;OfficeApplication&quot;:1,&quot;HasValue&quot;:true}">
                  <a:extLst>
                    <a:ext uri="{FF2B5EF4-FFF2-40B4-BE49-F238E27FC236}">
                      <a16:creationId xmlns:a16="http://schemas.microsoft.com/office/drawing/2014/main" id="{1A05D11E-E8A6-4340-9E18-5F8454F5066E}"/>
                    </a:ext>
                  </a:extLst>
                </p:cNvPr>
                <p:cNvSpPr>
                  <a:spLocks noEditPoints="1"/>
                </p:cNvSpPr>
                <p:nvPr/>
              </p:nvSpPr>
              <p:spPr bwMode="auto">
                <a:xfrm>
                  <a:off x="7920831" y="4440238"/>
                  <a:ext cx="650875" cy="654050"/>
                </a:xfrm>
                <a:custGeom>
                  <a:avLst/>
                  <a:gdLst>
                    <a:gd name="T0" fmla="*/ 288 w 330"/>
                    <a:gd name="T1" fmla="*/ 41 h 331"/>
                    <a:gd name="T2" fmla="*/ 292 w 330"/>
                    <a:gd name="T3" fmla="*/ 50 h 331"/>
                    <a:gd name="T4" fmla="*/ 298 w 330"/>
                    <a:gd name="T5" fmla="*/ 33 h 331"/>
                    <a:gd name="T6" fmla="*/ 310 w 330"/>
                    <a:gd name="T7" fmla="*/ 40 h 331"/>
                    <a:gd name="T8" fmla="*/ 313 w 330"/>
                    <a:gd name="T9" fmla="*/ 85 h 331"/>
                    <a:gd name="T10" fmla="*/ 312 w 330"/>
                    <a:gd name="T11" fmla="*/ 84 h 331"/>
                    <a:gd name="T12" fmla="*/ 285 w 330"/>
                    <a:gd name="T13" fmla="*/ 61 h 331"/>
                    <a:gd name="T14" fmla="*/ 260 w 330"/>
                    <a:gd name="T15" fmla="*/ 85 h 331"/>
                    <a:gd name="T16" fmla="*/ 274 w 330"/>
                    <a:gd name="T17" fmla="*/ 75 h 331"/>
                    <a:gd name="T18" fmla="*/ 274 w 330"/>
                    <a:gd name="T19" fmla="*/ 75 h 331"/>
                    <a:gd name="T20" fmla="*/ 269 w 330"/>
                    <a:gd name="T21" fmla="*/ 90 h 331"/>
                    <a:gd name="T22" fmla="*/ 289 w 330"/>
                    <a:gd name="T23" fmla="*/ 117 h 331"/>
                    <a:gd name="T24" fmla="*/ 281 w 330"/>
                    <a:gd name="T25" fmla="*/ 129 h 331"/>
                    <a:gd name="T26" fmla="*/ 280 w 330"/>
                    <a:gd name="T27" fmla="*/ 145 h 331"/>
                    <a:gd name="T28" fmla="*/ 272 w 330"/>
                    <a:gd name="T29" fmla="*/ 163 h 331"/>
                    <a:gd name="T30" fmla="*/ 260 w 330"/>
                    <a:gd name="T31" fmla="*/ 177 h 331"/>
                    <a:gd name="T32" fmla="*/ 261 w 330"/>
                    <a:gd name="T33" fmla="*/ 203 h 331"/>
                    <a:gd name="T34" fmla="*/ 269 w 330"/>
                    <a:gd name="T35" fmla="*/ 219 h 331"/>
                    <a:gd name="T36" fmla="*/ 252 w 330"/>
                    <a:gd name="T37" fmla="*/ 238 h 331"/>
                    <a:gd name="T38" fmla="*/ 222 w 330"/>
                    <a:gd name="T39" fmla="*/ 267 h 331"/>
                    <a:gd name="T40" fmla="*/ 220 w 330"/>
                    <a:gd name="T41" fmla="*/ 279 h 331"/>
                    <a:gd name="T42" fmla="*/ 230 w 330"/>
                    <a:gd name="T43" fmla="*/ 274 h 331"/>
                    <a:gd name="T44" fmla="*/ 148 w 330"/>
                    <a:gd name="T45" fmla="*/ 7 h 331"/>
                    <a:gd name="T46" fmla="*/ 99 w 330"/>
                    <a:gd name="T47" fmla="*/ 40 h 331"/>
                    <a:gd name="T48" fmla="*/ 94 w 330"/>
                    <a:gd name="T49" fmla="*/ 54 h 331"/>
                    <a:gd name="T50" fmla="*/ 91 w 330"/>
                    <a:gd name="T51" fmla="*/ 65 h 331"/>
                    <a:gd name="T52" fmla="*/ 81 w 330"/>
                    <a:gd name="T53" fmla="*/ 74 h 331"/>
                    <a:gd name="T54" fmla="*/ 81 w 330"/>
                    <a:gd name="T55" fmla="*/ 83 h 331"/>
                    <a:gd name="T56" fmla="*/ 85 w 330"/>
                    <a:gd name="T57" fmla="*/ 95 h 331"/>
                    <a:gd name="T58" fmla="*/ 72 w 330"/>
                    <a:gd name="T59" fmla="*/ 103 h 331"/>
                    <a:gd name="T60" fmla="*/ 60 w 330"/>
                    <a:gd name="T61" fmla="*/ 99 h 331"/>
                    <a:gd name="T62" fmla="*/ 54 w 330"/>
                    <a:gd name="T63" fmla="*/ 113 h 331"/>
                    <a:gd name="T64" fmla="*/ 59 w 330"/>
                    <a:gd name="T65" fmla="*/ 124 h 331"/>
                    <a:gd name="T66" fmla="*/ 57 w 330"/>
                    <a:gd name="T67" fmla="*/ 133 h 331"/>
                    <a:gd name="T68" fmla="*/ 52 w 330"/>
                    <a:gd name="T69" fmla="*/ 142 h 331"/>
                    <a:gd name="T70" fmla="*/ 47 w 330"/>
                    <a:gd name="T71" fmla="*/ 148 h 331"/>
                    <a:gd name="T72" fmla="*/ 40 w 330"/>
                    <a:gd name="T73" fmla="*/ 158 h 331"/>
                    <a:gd name="T74" fmla="*/ 30 w 330"/>
                    <a:gd name="T75" fmla="*/ 168 h 331"/>
                    <a:gd name="T76" fmla="*/ 19 w 330"/>
                    <a:gd name="T77" fmla="*/ 175 h 331"/>
                    <a:gd name="T78" fmla="*/ 39 w 330"/>
                    <a:gd name="T79" fmla="*/ 247 h 331"/>
                    <a:gd name="T80" fmla="*/ 93 w 330"/>
                    <a:gd name="T81" fmla="*/ 322 h 331"/>
                    <a:gd name="T82" fmla="*/ 192 w 330"/>
                    <a:gd name="T83" fmla="*/ 300 h 331"/>
                    <a:gd name="T84" fmla="*/ 233 w 330"/>
                    <a:gd name="T85" fmla="*/ 247 h 331"/>
                    <a:gd name="T86" fmla="*/ 249 w 330"/>
                    <a:gd name="T87" fmla="*/ 193 h 331"/>
                    <a:gd name="T88" fmla="*/ 259 w 330"/>
                    <a:gd name="T89" fmla="*/ 165 h 331"/>
                    <a:gd name="T90" fmla="*/ 231 w 330"/>
                    <a:gd name="T91" fmla="*/ 149 h 331"/>
                    <a:gd name="T92" fmla="*/ 151 w 330"/>
                    <a:gd name="T93" fmla="*/ 98 h 331"/>
                    <a:gd name="T94" fmla="*/ 206 w 330"/>
                    <a:gd name="T95" fmla="*/ 51 h 331"/>
                    <a:gd name="T96" fmla="*/ 172 w 330"/>
                    <a:gd name="T97" fmla="*/ 41 h 331"/>
                    <a:gd name="T98" fmla="*/ 151 w 330"/>
                    <a:gd name="T99" fmla="*/ 47 h 331"/>
                    <a:gd name="T100" fmla="*/ 152 w 330"/>
                    <a:gd name="T101" fmla="*/ 32 h 331"/>
                    <a:gd name="T102" fmla="*/ 147 w 330"/>
                    <a:gd name="T103" fmla="*/ 2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0" h="331">
                      <a:moveTo>
                        <a:pt x="259" y="165"/>
                      </a:moveTo>
                      <a:cubicBezTo>
                        <a:pt x="259" y="165"/>
                        <a:pt x="259" y="165"/>
                        <a:pt x="259" y="165"/>
                      </a:cubicBezTo>
                      <a:moveTo>
                        <a:pt x="292" y="50"/>
                      </a:moveTo>
                      <a:cubicBezTo>
                        <a:pt x="293" y="56"/>
                        <a:pt x="302" y="47"/>
                        <a:pt x="288" y="41"/>
                      </a:cubicBezTo>
                      <a:cubicBezTo>
                        <a:pt x="286" y="42"/>
                        <a:pt x="285" y="42"/>
                        <a:pt x="285" y="44"/>
                      </a:cubicBezTo>
                      <a:cubicBezTo>
                        <a:pt x="284" y="50"/>
                        <a:pt x="288" y="48"/>
                        <a:pt x="293" y="49"/>
                      </a:cubicBezTo>
                      <a:cubicBezTo>
                        <a:pt x="292" y="50"/>
                        <a:pt x="291" y="49"/>
                        <a:pt x="292" y="50"/>
                      </a:cubicBezTo>
                      <a:cubicBezTo>
                        <a:pt x="292" y="50"/>
                        <a:pt x="292" y="50"/>
                        <a:pt x="292" y="50"/>
                      </a:cubicBezTo>
                      <a:close/>
                      <a:moveTo>
                        <a:pt x="298" y="33"/>
                      </a:moveTo>
                      <a:cubicBezTo>
                        <a:pt x="294" y="33"/>
                        <a:pt x="296" y="38"/>
                        <a:pt x="305" y="37"/>
                      </a:cubicBezTo>
                      <a:cubicBezTo>
                        <a:pt x="305" y="35"/>
                        <a:pt x="304" y="30"/>
                        <a:pt x="302" y="30"/>
                      </a:cubicBezTo>
                      <a:cubicBezTo>
                        <a:pt x="301" y="30"/>
                        <a:pt x="300" y="33"/>
                        <a:pt x="298" y="33"/>
                      </a:cubicBezTo>
                      <a:cubicBezTo>
                        <a:pt x="298" y="33"/>
                        <a:pt x="298" y="33"/>
                        <a:pt x="298" y="33"/>
                      </a:cubicBezTo>
                      <a:close/>
                      <a:moveTo>
                        <a:pt x="310" y="40"/>
                      </a:moveTo>
                      <a:cubicBezTo>
                        <a:pt x="300" y="43"/>
                        <a:pt x="310" y="46"/>
                        <a:pt x="316" y="45"/>
                      </a:cubicBezTo>
                      <a:cubicBezTo>
                        <a:pt x="317" y="42"/>
                        <a:pt x="311" y="40"/>
                        <a:pt x="310" y="40"/>
                      </a:cubicBezTo>
                      <a:close/>
                      <a:moveTo>
                        <a:pt x="321" y="61"/>
                      </a:moveTo>
                      <a:cubicBezTo>
                        <a:pt x="316" y="69"/>
                        <a:pt x="330" y="64"/>
                        <a:pt x="324" y="59"/>
                      </a:cubicBezTo>
                      <a:cubicBezTo>
                        <a:pt x="323" y="58"/>
                        <a:pt x="322" y="61"/>
                        <a:pt x="321" y="61"/>
                      </a:cubicBezTo>
                      <a:close/>
                      <a:moveTo>
                        <a:pt x="313" y="85"/>
                      </a:moveTo>
                      <a:cubicBezTo>
                        <a:pt x="314" y="92"/>
                        <a:pt x="314" y="92"/>
                        <a:pt x="314" y="92"/>
                      </a:cubicBezTo>
                      <a:cubicBezTo>
                        <a:pt x="317" y="92"/>
                        <a:pt x="318" y="85"/>
                        <a:pt x="313" y="85"/>
                      </a:cubicBezTo>
                      <a:close/>
                      <a:moveTo>
                        <a:pt x="305" y="81"/>
                      </a:moveTo>
                      <a:cubicBezTo>
                        <a:pt x="303" y="85"/>
                        <a:pt x="310" y="85"/>
                        <a:pt x="312" y="84"/>
                      </a:cubicBezTo>
                      <a:cubicBezTo>
                        <a:pt x="311" y="81"/>
                        <a:pt x="305" y="79"/>
                        <a:pt x="305" y="81"/>
                      </a:cubicBezTo>
                      <a:close/>
                      <a:moveTo>
                        <a:pt x="278" y="69"/>
                      </a:moveTo>
                      <a:cubicBezTo>
                        <a:pt x="279" y="71"/>
                        <a:pt x="292" y="70"/>
                        <a:pt x="293" y="68"/>
                      </a:cubicBezTo>
                      <a:cubicBezTo>
                        <a:pt x="293" y="68"/>
                        <a:pt x="285" y="67"/>
                        <a:pt x="285" y="61"/>
                      </a:cubicBezTo>
                      <a:cubicBezTo>
                        <a:pt x="282" y="61"/>
                        <a:pt x="279" y="61"/>
                        <a:pt x="277" y="62"/>
                      </a:cubicBezTo>
                      <a:cubicBezTo>
                        <a:pt x="277" y="62"/>
                        <a:pt x="277" y="68"/>
                        <a:pt x="278" y="69"/>
                      </a:cubicBezTo>
                      <a:cubicBezTo>
                        <a:pt x="278" y="69"/>
                        <a:pt x="278" y="69"/>
                        <a:pt x="278" y="69"/>
                      </a:cubicBezTo>
                      <a:close/>
                      <a:moveTo>
                        <a:pt x="260" y="85"/>
                      </a:moveTo>
                      <a:cubicBezTo>
                        <a:pt x="261" y="85"/>
                        <a:pt x="261" y="79"/>
                        <a:pt x="261" y="79"/>
                      </a:cubicBezTo>
                      <a:cubicBezTo>
                        <a:pt x="258" y="78"/>
                        <a:pt x="258" y="78"/>
                        <a:pt x="258" y="78"/>
                      </a:cubicBezTo>
                      <a:cubicBezTo>
                        <a:pt x="257" y="79"/>
                        <a:pt x="257" y="86"/>
                        <a:pt x="260" y="85"/>
                      </a:cubicBezTo>
                      <a:close/>
                      <a:moveTo>
                        <a:pt x="274" y="75"/>
                      </a:moveTo>
                      <a:cubicBezTo>
                        <a:pt x="262" y="75"/>
                        <a:pt x="269" y="93"/>
                        <a:pt x="291" y="83"/>
                      </a:cubicBezTo>
                      <a:cubicBezTo>
                        <a:pt x="290" y="83"/>
                        <a:pt x="285" y="75"/>
                        <a:pt x="286" y="79"/>
                      </a:cubicBezTo>
                      <a:cubicBezTo>
                        <a:pt x="283" y="84"/>
                        <a:pt x="282" y="79"/>
                        <a:pt x="278" y="77"/>
                      </a:cubicBezTo>
                      <a:cubicBezTo>
                        <a:pt x="277" y="76"/>
                        <a:pt x="275" y="76"/>
                        <a:pt x="274" y="75"/>
                      </a:cubicBezTo>
                      <a:cubicBezTo>
                        <a:pt x="274" y="75"/>
                        <a:pt x="274" y="75"/>
                        <a:pt x="274" y="75"/>
                      </a:cubicBezTo>
                      <a:close/>
                      <a:moveTo>
                        <a:pt x="266" y="103"/>
                      </a:moveTo>
                      <a:cubicBezTo>
                        <a:pt x="276" y="103"/>
                        <a:pt x="279" y="109"/>
                        <a:pt x="288" y="109"/>
                      </a:cubicBezTo>
                      <a:cubicBezTo>
                        <a:pt x="310" y="110"/>
                        <a:pt x="274" y="91"/>
                        <a:pt x="269" y="90"/>
                      </a:cubicBezTo>
                      <a:cubicBezTo>
                        <a:pt x="263" y="88"/>
                        <a:pt x="252" y="104"/>
                        <a:pt x="266" y="103"/>
                      </a:cubicBezTo>
                      <a:close/>
                      <a:moveTo>
                        <a:pt x="281" y="129"/>
                      </a:moveTo>
                      <a:cubicBezTo>
                        <a:pt x="285" y="127"/>
                        <a:pt x="294" y="126"/>
                        <a:pt x="285" y="123"/>
                      </a:cubicBezTo>
                      <a:cubicBezTo>
                        <a:pt x="285" y="119"/>
                        <a:pt x="289" y="122"/>
                        <a:pt x="289" y="117"/>
                      </a:cubicBezTo>
                      <a:cubicBezTo>
                        <a:pt x="289" y="115"/>
                        <a:pt x="285" y="113"/>
                        <a:pt x="283" y="114"/>
                      </a:cubicBezTo>
                      <a:cubicBezTo>
                        <a:pt x="281" y="115"/>
                        <a:pt x="281" y="122"/>
                        <a:pt x="277" y="122"/>
                      </a:cubicBezTo>
                      <a:cubicBezTo>
                        <a:pt x="269" y="124"/>
                        <a:pt x="273" y="124"/>
                        <a:pt x="277" y="129"/>
                      </a:cubicBezTo>
                      <a:cubicBezTo>
                        <a:pt x="280" y="132"/>
                        <a:pt x="278" y="130"/>
                        <a:pt x="281" y="129"/>
                      </a:cubicBezTo>
                      <a:cubicBezTo>
                        <a:pt x="281" y="129"/>
                        <a:pt x="281" y="129"/>
                        <a:pt x="281" y="129"/>
                      </a:cubicBezTo>
                      <a:close/>
                      <a:moveTo>
                        <a:pt x="280" y="148"/>
                      </a:moveTo>
                      <a:cubicBezTo>
                        <a:pt x="291" y="151"/>
                        <a:pt x="283" y="140"/>
                        <a:pt x="281" y="141"/>
                      </a:cubicBezTo>
                      <a:cubicBezTo>
                        <a:pt x="280" y="142"/>
                        <a:pt x="281" y="144"/>
                        <a:pt x="280" y="145"/>
                      </a:cubicBezTo>
                      <a:cubicBezTo>
                        <a:pt x="280" y="148"/>
                        <a:pt x="280" y="148"/>
                        <a:pt x="280" y="148"/>
                      </a:cubicBezTo>
                      <a:close/>
                      <a:moveTo>
                        <a:pt x="272" y="163"/>
                      </a:moveTo>
                      <a:cubicBezTo>
                        <a:pt x="268" y="167"/>
                        <a:pt x="277" y="174"/>
                        <a:pt x="277" y="168"/>
                      </a:cubicBezTo>
                      <a:cubicBezTo>
                        <a:pt x="277" y="167"/>
                        <a:pt x="274" y="162"/>
                        <a:pt x="272" y="163"/>
                      </a:cubicBezTo>
                      <a:close/>
                      <a:moveTo>
                        <a:pt x="260" y="177"/>
                      </a:moveTo>
                      <a:cubicBezTo>
                        <a:pt x="273" y="187"/>
                        <a:pt x="273" y="171"/>
                        <a:pt x="265" y="173"/>
                      </a:cubicBezTo>
                      <a:cubicBezTo>
                        <a:pt x="264" y="174"/>
                        <a:pt x="264" y="174"/>
                        <a:pt x="264" y="174"/>
                      </a:cubicBezTo>
                      <a:cubicBezTo>
                        <a:pt x="263" y="174"/>
                        <a:pt x="260" y="176"/>
                        <a:pt x="260" y="177"/>
                      </a:cubicBezTo>
                      <a:cubicBezTo>
                        <a:pt x="260" y="177"/>
                        <a:pt x="260" y="177"/>
                        <a:pt x="260" y="177"/>
                      </a:cubicBezTo>
                      <a:close/>
                      <a:moveTo>
                        <a:pt x="261" y="203"/>
                      </a:moveTo>
                      <a:cubicBezTo>
                        <a:pt x="256" y="207"/>
                        <a:pt x="268" y="211"/>
                        <a:pt x="266" y="207"/>
                      </a:cubicBezTo>
                      <a:cubicBezTo>
                        <a:pt x="265" y="203"/>
                        <a:pt x="264" y="204"/>
                        <a:pt x="261" y="203"/>
                      </a:cubicBezTo>
                      <a:close/>
                      <a:moveTo>
                        <a:pt x="269" y="219"/>
                      </a:moveTo>
                      <a:cubicBezTo>
                        <a:pt x="269" y="225"/>
                        <a:pt x="276" y="244"/>
                        <a:pt x="278" y="227"/>
                      </a:cubicBezTo>
                      <a:cubicBezTo>
                        <a:pt x="278" y="222"/>
                        <a:pt x="277" y="219"/>
                        <a:pt x="272" y="217"/>
                      </a:cubicBezTo>
                      <a:cubicBezTo>
                        <a:pt x="269" y="219"/>
                        <a:pt x="269" y="219"/>
                        <a:pt x="269" y="219"/>
                      </a:cubicBezTo>
                      <a:cubicBezTo>
                        <a:pt x="269" y="219"/>
                        <a:pt x="269" y="219"/>
                        <a:pt x="269" y="219"/>
                      </a:cubicBezTo>
                      <a:close/>
                      <a:moveTo>
                        <a:pt x="252" y="238"/>
                      </a:moveTo>
                      <a:cubicBezTo>
                        <a:pt x="250" y="249"/>
                        <a:pt x="262" y="244"/>
                        <a:pt x="257" y="239"/>
                      </a:cubicBezTo>
                      <a:cubicBezTo>
                        <a:pt x="256" y="238"/>
                        <a:pt x="253" y="238"/>
                        <a:pt x="252" y="238"/>
                      </a:cubicBezTo>
                      <a:close/>
                      <a:moveTo>
                        <a:pt x="222" y="267"/>
                      </a:moveTo>
                      <a:cubicBezTo>
                        <a:pt x="223" y="270"/>
                        <a:pt x="240" y="274"/>
                        <a:pt x="232" y="259"/>
                      </a:cubicBezTo>
                      <a:cubicBezTo>
                        <a:pt x="231" y="259"/>
                        <a:pt x="230" y="259"/>
                        <a:pt x="229" y="260"/>
                      </a:cubicBezTo>
                      <a:cubicBezTo>
                        <a:pt x="222" y="267"/>
                        <a:pt x="222" y="267"/>
                        <a:pt x="222" y="267"/>
                      </a:cubicBezTo>
                      <a:cubicBezTo>
                        <a:pt x="222" y="267"/>
                        <a:pt x="222" y="267"/>
                        <a:pt x="222" y="267"/>
                      </a:cubicBezTo>
                      <a:close/>
                      <a:moveTo>
                        <a:pt x="220" y="279"/>
                      </a:moveTo>
                      <a:cubicBezTo>
                        <a:pt x="222" y="275"/>
                        <a:pt x="223" y="272"/>
                        <a:pt x="217" y="272"/>
                      </a:cubicBezTo>
                      <a:cubicBezTo>
                        <a:pt x="216" y="275"/>
                        <a:pt x="218" y="277"/>
                        <a:pt x="220" y="279"/>
                      </a:cubicBezTo>
                      <a:close/>
                      <a:moveTo>
                        <a:pt x="230" y="274"/>
                      </a:moveTo>
                      <a:cubicBezTo>
                        <a:pt x="227" y="275"/>
                        <a:pt x="228" y="277"/>
                        <a:pt x="225" y="277"/>
                      </a:cubicBezTo>
                      <a:cubicBezTo>
                        <a:pt x="216" y="277"/>
                        <a:pt x="234" y="291"/>
                        <a:pt x="233" y="277"/>
                      </a:cubicBezTo>
                      <a:cubicBezTo>
                        <a:pt x="233" y="276"/>
                        <a:pt x="232" y="273"/>
                        <a:pt x="230" y="274"/>
                      </a:cubicBezTo>
                      <a:cubicBezTo>
                        <a:pt x="230" y="274"/>
                        <a:pt x="230" y="274"/>
                        <a:pt x="230" y="274"/>
                      </a:cubicBezTo>
                      <a:close/>
                      <a:moveTo>
                        <a:pt x="149" y="34"/>
                      </a:moveTo>
                      <a:cubicBezTo>
                        <a:pt x="149" y="34"/>
                        <a:pt x="149" y="34"/>
                        <a:pt x="149" y="34"/>
                      </a:cubicBezTo>
                      <a:moveTo>
                        <a:pt x="148" y="7"/>
                      </a:moveTo>
                      <a:cubicBezTo>
                        <a:pt x="138" y="0"/>
                        <a:pt x="115" y="7"/>
                        <a:pt x="115" y="30"/>
                      </a:cubicBezTo>
                      <a:cubicBezTo>
                        <a:pt x="106" y="30"/>
                        <a:pt x="103" y="30"/>
                        <a:pt x="99" y="35"/>
                      </a:cubicBezTo>
                      <a:cubicBezTo>
                        <a:pt x="98" y="37"/>
                        <a:pt x="98" y="37"/>
                        <a:pt x="98" y="37"/>
                      </a:cubicBezTo>
                      <a:cubicBezTo>
                        <a:pt x="99" y="40"/>
                        <a:pt x="99" y="40"/>
                        <a:pt x="99" y="40"/>
                      </a:cubicBezTo>
                      <a:cubicBezTo>
                        <a:pt x="99" y="43"/>
                        <a:pt x="99" y="43"/>
                        <a:pt x="99" y="43"/>
                      </a:cubicBezTo>
                      <a:cubicBezTo>
                        <a:pt x="97" y="48"/>
                        <a:pt x="97" y="48"/>
                        <a:pt x="97" y="48"/>
                      </a:cubicBezTo>
                      <a:cubicBezTo>
                        <a:pt x="96" y="51"/>
                        <a:pt x="96" y="51"/>
                        <a:pt x="96" y="51"/>
                      </a:cubicBezTo>
                      <a:cubicBezTo>
                        <a:pt x="94" y="54"/>
                        <a:pt x="94" y="54"/>
                        <a:pt x="94" y="54"/>
                      </a:cubicBezTo>
                      <a:cubicBezTo>
                        <a:pt x="94" y="57"/>
                        <a:pt x="94" y="57"/>
                        <a:pt x="94" y="57"/>
                      </a:cubicBezTo>
                      <a:cubicBezTo>
                        <a:pt x="94" y="61"/>
                        <a:pt x="94" y="61"/>
                        <a:pt x="94" y="61"/>
                      </a:cubicBezTo>
                      <a:cubicBezTo>
                        <a:pt x="93" y="63"/>
                        <a:pt x="93" y="63"/>
                        <a:pt x="93" y="63"/>
                      </a:cubicBezTo>
                      <a:cubicBezTo>
                        <a:pt x="91" y="65"/>
                        <a:pt x="91" y="65"/>
                        <a:pt x="91" y="65"/>
                      </a:cubicBezTo>
                      <a:cubicBezTo>
                        <a:pt x="91" y="69"/>
                        <a:pt x="91" y="69"/>
                        <a:pt x="91" y="69"/>
                      </a:cubicBezTo>
                      <a:cubicBezTo>
                        <a:pt x="88" y="71"/>
                        <a:pt x="88" y="71"/>
                        <a:pt x="88" y="71"/>
                      </a:cubicBezTo>
                      <a:cubicBezTo>
                        <a:pt x="85" y="72"/>
                        <a:pt x="85" y="72"/>
                        <a:pt x="85" y="72"/>
                      </a:cubicBezTo>
                      <a:cubicBezTo>
                        <a:pt x="81" y="74"/>
                        <a:pt x="81" y="74"/>
                        <a:pt x="81" y="74"/>
                      </a:cubicBezTo>
                      <a:cubicBezTo>
                        <a:pt x="79" y="76"/>
                        <a:pt x="79" y="76"/>
                        <a:pt x="79" y="76"/>
                      </a:cubicBezTo>
                      <a:cubicBezTo>
                        <a:pt x="75" y="78"/>
                        <a:pt x="75" y="78"/>
                        <a:pt x="75" y="78"/>
                      </a:cubicBezTo>
                      <a:cubicBezTo>
                        <a:pt x="79" y="81"/>
                        <a:pt x="79" y="81"/>
                        <a:pt x="79" y="81"/>
                      </a:cubicBezTo>
                      <a:cubicBezTo>
                        <a:pt x="81" y="83"/>
                        <a:pt x="81" y="83"/>
                        <a:pt x="81" y="83"/>
                      </a:cubicBezTo>
                      <a:cubicBezTo>
                        <a:pt x="84" y="86"/>
                        <a:pt x="84" y="86"/>
                        <a:pt x="84" y="86"/>
                      </a:cubicBezTo>
                      <a:cubicBezTo>
                        <a:pt x="86" y="89"/>
                        <a:pt x="86" y="89"/>
                        <a:pt x="86" y="89"/>
                      </a:cubicBezTo>
                      <a:cubicBezTo>
                        <a:pt x="86" y="92"/>
                        <a:pt x="86" y="92"/>
                        <a:pt x="86" y="92"/>
                      </a:cubicBezTo>
                      <a:cubicBezTo>
                        <a:pt x="85" y="95"/>
                        <a:pt x="85" y="95"/>
                        <a:pt x="85" y="95"/>
                      </a:cubicBezTo>
                      <a:cubicBezTo>
                        <a:pt x="82" y="98"/>
                        <a:pt x="82" y="98"/>
                        <a:pt x="82" y="98"/>
                      </a:cubicBezTo>
                      <a:cubicBezTo>
                        <a:pt x="80" y="100"/>
                        <a:pt x="80" y="100"/>
                        <a:pt x="80" y="100"/>
                      </a:cubicBezTo>
                      <a:cubicBezTo>
                        <a:pt x="77" y="103"/>
                        <a:pt x="77" y="103"/>
                        <a:pt x="77" y="103"/>
                      </a:cubicBezTo>
                      <a:cubicBezTo>
                        <a:pt x="72" y="103"/>
                        <a:pt x="72" y="103"/>
                        <a:pt x="72" y="103"/>
                      </a:cubicBezTo>
                      <a:cubicBezTo>
                        <a:pt x="69" y="101"/>
                        <a:pt x="69" y="101"/>
                        <a:pt x="69" y="101"/>
                      </a:cubicBezTo>
                      <a:cubicBezTo>
                        <a:pt x="66" y="99"/>
                        <a:pt x="66" y="99"/>
                        <a:pt x="66" y="99"/>
                      </a:cubicBezTo>
                      <a:cubicBezTo>
                        <a:pt x="63" y="98"/>
                        <a:pt x="63" y="98"/>
                        <a:pt x="63" y="98"/>
                      </a:cubicBezTo>
                      <a:cubicBezTo>
                        <a:pt x="60" y="99"/>
                        <a:pt x="60" y="99"/>
                        <a:pt x="60" y="99"/>
                      </a:cubicBezTo>
                      <a:cubicBezTo>
                        <a:pt x="57" y="102"/>
                        <a:pt x="57" y="102"/>
                        <a:pt x="57" y="102"/>
                      </a:cubicBezTo>
                      <a:cubicBezTo>
                        <a:pt x="54" y="105"/>
                        <a:pt x="54" y="105"/>
                        <a:pt x="54" y="105"/>
                      </a:cubicBezTo>
                      <a:cubicBezTo>
                        <a:pt x="54" y="108"/>
                        <a:pt x="54" y="108"/>
                        <a:pt x="54" y="108"/>
                      </a:cubicBezTo>
                      <a:cubicBezTo>
                        <a:pt x="54" y="113"/>
                        <a:pt x="54" y="113"/>
                        <a:pt x="54" y="113"/>
                      </a:cubicBezTo>
                      <a:cubicBezTo>
                        <a:pt x="54" y="114"/>
                        <a:pt x="54" y="114"/>
                        <a:pt x="54" y="114"/>
                      </a:cubicBezTo>
                      <a:cubicBezTo>
                        <a:pt x="56" y="119"/>
                        <a:pt x="56" y="119"/>
                        <a:pt x="56" y="119"/>
                      </a:cubicBezTo>
                      <a:cubicBezTo>
                        <a:pt x="57" y="121"/>
                        <a:pt x="57" y="121"/>
                        <a:pt x="57" y="121"/>
                      </a:cubicBezTo>
                      <a:cubicBezTo>
                        <a:pt x="59" y="124"/>
                        <a:pt x="59" y="124"/>
                        <a:pt x="59" y="124"/>
                      </a:cubicBezTo>
                      <a:cubicBezTo>
                        <a:pt x="59" y="125"/>
                        <a:pt x="59" y="125"/>
                        <a:pt x="59" y="125"/>
                      </a:cubicBezTo>
                      <a:cubicBezTo>
                        <a:pt x="59" y="128"/>
                        <a:pt x="59" y="128"/>
                        <a:pt x="59" y="128"/>
                      </a:cubicBezTo>
                      <a:cubicBezTo>
                        <a:pt x="58" y="132"/>
                        <a:pt x="58" y="132"/>
                        <a:pt x="58" y="132"/>
                      </a:cubicBezTo>
                      <a:cubicBezTo>
                        <a:pt x="57" y="133"/>
                        <a:pt x="57" y="133"/>
                        <a:pt x="57" y="133"/>
                      </a:cubicBezTo>
                      <a:cubicBezTo>
                        <a:pt x="55" y="136"/>
                        <a:pt x="55" y="136"/>
                        <a:pt x="55" y="136"/>
                      </a:cubicBezTo>
                      <a:cubicBezTo>
                        <a:pt x="53" y="138"/>
                        <a:pt x="53" y="138"/>
                        <a:pt x="53" y="138"/>
                      </a:cubicBezTo>
                      <a:cubicBezTo>
                        <a:pt x="53" y="141"/>
                        <a:pt x="53" y="141"/>
                        <a:pt x="53" y="141"/>
                      </a:cubicBezTo>
                      <a:cubicBezTo>
                        <a:pt x="52" y="142"/>
                        <a:pt x="52" y="142"/>
                        <a:pt x="52" y="142"/>
                      </a:cubicBezTo>
                      <a:cubicBezTo>
                        <a:pt x="50" y="144"/>
                        <a:pt x="50" y="144"/>
                        <a:pt x="50" y="144"/>
                      </a:cubicBezTo>
                      <a:cubicBezTo>
                        <a:pt x="49" y="145"/>
                        <a:pt x="49" y="145"/>
                        <a:pt x="49" y="145"/>
                      </a:cubicBezTo>
                      <a:cubicBezTo>
                        <a:pt x="48" y="147"/>
                        <a:pt x="48" y="147"/>
                        <a:pt x="48" y="147"/>
                      </a:cubicBezTo>
                      <a:cubicBezTo>
                        <a:pt x="47" y="148"/>
                        <a:pt x="47" y="148"/>
                        <a:pt x="47" y="148"/>
                      </a:cubicBezTo>
                      <a:cubicBezTo>
                        <a:pt x="46" y="151"/>
                        <a:pt x="46" y="151"/>
                        <a:pt x="46" y="151"/>
                      </a:cubicBezTo>
                      <a:cubicBezTo>
                        <a:pt x="43" y="153"/>
                        <a:pt x="43" y="153"/>
                        <a:pt x="43" y="153"/>
                      </a:cubicBezTo>
                      <a:cubicBezTo>
                        <a:pt x="42" y="156"/>
                        <a:pt x="42" y="156"/>
                        <a:pt x="42" y="156"/>
                      </a:cubicBezTo>
                      <a:cubicBezTo>
                        <a:pt x="40" y="158"/>
                        <a:pt x="40" y="158"/>
                        <a:pt x="40" y="158"/>
                      </a:cubicBezTo>
                      <a:cubicBezTo>
                        <a:pt x="38" y="161"/>
                        <a:pt x="38" y="161"/>
                        <a:pt x="38" y="161"/>
                      </a:cubicBezTo>
                      <a:cubicBezTo>
                        <a:pt x="35" y="164"/>
                        <a:pt x="35" y="164"/>
                        <a:pt x="35" y="164"/>
                      </a:cubicBezTo>
                      <a:cubicBezTo>
                        <a:pt x="33" y="166"/>
                        <a:pt x="33" y="166"/>
                        <a:pt x="33" y="166"/>
                      </a:cubicBezTo>
                      <a:cubicBezTo>
                        <a:pt x="30" y="168"/>
                        <a:pt x="30" y="168"/>
                        <a:pt x="30" y="168"/>
                      </a:cubicBezTo>
                      <a:cubicBezTo>
                        <a:pt x="27" y="170"/>
                        <a:pt x="27" y="170"/>
                        <a:pt x="27" y="170"/>
                      </a:cubicBezTo>
                      <a:cubicBezTo>
                        <a:pt x="25" y="171"/>
                        <a:pt x="25" y="171"/>
                        <a:pt x="25" y="171"/>
                      </a:cubicBezTo>
                      <a:cubicBezTo>
                        <a:pt x="22" y="173"/>
                        <a:pt x="22" y="173"/>
                        <a:pt x="22" y="173"/>
                      </a:cubicBezTo>
                      <a:cubicBezTo>
                        <a:pt x="19" y="175"/>
                        <a:pt x="19" y="175"/>
                        <a:pt x="19" y="175"/>
                      </a:cubicBezTo>
                      <a:cubicBezTo>
                        <a:pt x="17" y="175"/>
                        <a:pt x="17" y="175"/>
                        <a:pt x="17" y="175"/>
                      </a:cubicBezTo>
                      <a:cubicBezTo>
                        <a:pt x="14" y="176"/>
                        <a:pt x="14" y="176"/>
                        <a:pt x="14" y="176"/>
                      </a:cubicBezTo>
                      <a:cubicBezTo>
                        <a:pt x="15" y="182"/>
                        <a:pt x="7" y="190"/>
                        <a:pt x="7" y="190"/>
                      </a:cubicBezTo>
                      <a:cubicBezTo>
                        <a:pt x="0" y="206"/>
                        <a:pt x="36" y="217"/>
                        <a:pt x="39" y="247"/>
                      </a:cubicBezTo>
                      <a:cubicBezTo>
                        <a:pt x="40" y="255"/>
                        <a:pt x="41" y="259"/>
                        <a:pt x="43" y="261"/>
                      </a:cubicBezTo>
                      <a:cubicBezTo>
                        <a:pt x="51" y="267"/>
                        <a:pt x="63" y="247"/>
                        <a:pt x="63" y="279"/>
                      </a:cubicBezTo>
                      <a:cubicBezTo>
                        <a:pt x="64" y="292"/>
                        <a:pt x="75" y="303"/>
                        <a:pt x="75" y="317"/>
                      </a:cubicBezTo>
                      <a:cubicBezTo>
                        <a:pt x="75" y="328"/>
                        <a:pt x="86" y="317"/>
                        <a:pt x="93" y="322"/>
                      </a:cubicBezTo>
                      <a:cubicBezTo>
                        <a:pt x="106" y="330"/>
                        <a:pt x="119" y="294"/>
                        <a:pt x="126" y="305"/>
                      </a:cubicBezTo>
                      <a:cubicBezTo>
                        <a:pt x="142" y="328"/>
                        <a:pt x="133" y="330"/>
                        <a:pt x="161" y="319"/>
                      </a:cubicBezTo>
                      <a:cubicBezTo>
                        <a:pt x="172" y="315"/>
                        <a:pt x="179" y="324"/>
                        <a:pt x="185" y="331"/>
                      </a:cubicBezTo>
                      <a:cubicBezTo>
                        <a:pt x="200" y="327"/>
                        <a:pt x="191" y="303"/>
                        <a:pt x="192" y="300"/>
                      </a:cubicBezTo>
                      <a:cubicBezTo>
                        <a:pt x="196" y="289"/>
                        <a:pt x="211" y="279"/>
                        <a:pt x="195" y="272"/>
                      </a:cubicBezTo>
                      <a:cubicBezTo>
                        <a:pt x="166" y="259"/>
                        <a:pt x="212" y="273"/>
                        <a:pt x="215" y="263"/>
                      </a:cubicBezTo>
                      <a:cubicBezTo>
                        <a:pt x="218" y="250"/>
                        <a:pt x="224" y="256"/>
                        <a:pt x="217" y="245"/>
                      </a:cubicBezTo>
                      <a:cubicBezTo>
                        <a:pt x="213" y="237"/>
                        <a:pt x="225" y="234"/>
                        <a:pt x="233" y="247"/>
                      </a:cubicBezTo>
                      <a:cubicBezTo>
                        <a:pt x="239" y="257"/>
                        <a:pt x="240" y="234"/>
                        <a:pt x="252" y="235"/>
                      </a:cubicBezTo>
                      <a:cubicBezTo>
                        <a:pt x="256" y="235"/>
                        <a:pt x="263" y="239"/>
                        <a:pt x="249" y="220"/>
                      </a:cubicBezTo>
                      <a:cubicBezTo>
                        <a:pt x="236" y="203"/>
                        <a:pt x="219" y="210"/>
                        <a:pt x="247" y="205"/>
                      </a:cubicBezTo>
                      <a:cubicBezTo>
                        <a:pt x="256" y="204"/>
                        <a:pt x="258" y="196"/>
                        <a:pt x="249" y="193"/>
                      </a:cubicBezTo>
                      <a:cubicBezTo>
                        <a:pt x="225" y="187"/>
                        <a:pt x="281" y="199"/>
                        <a:pt x="240" y="177"/>
                      </a:cubicBezTo>
                      <a:cubicBezTo>
                        <a:pt x="234" y="174"/>
                        <a:pt x="243" y="167"/>
                        <a:pt x="245" y="163"/>
                      </a:cubicBezTo>
                      <a:cubicBezTo>
                        <a:pt x="249" y="156"/>
                        <a:pt x="253" y="182"/>
                        <a:pt x="258" y="168"/>
                      </a:cubicBezTo>
                      <a:cubicBezTo>
                        <a:pt x="259" y="167"/>
                        <a:pt x="259" y="166"/>
                        <a:pt x="259" y="165"/>
                      </a:cubicBezTo>
                      <a:cubicBezTo>
                        <a:pt x="260" y="166"/>
                        <a:pt x="260" y="166"/>
                        <a:pt x="260" y="168"/>
                      </a:cubicBezTo>
                      <a:cubicBezTo>
                        <a:pt x="260" y="171"/>
                        <a:pt x="272" y="178"/>
                        <a:pt x="268" y="156"/>
                      </a:cubicBezTo>
                      <a:cubicBezTo>
                        <a:pt x="261" y="120"/>
                        <a:pt x="267" y="138"/>
                        <a:pt x="247" y="146"/>
                      </a:cubicBezTo>
                      <a:cubicBezTo>
                        <a:pt x="246" y="146"/>
                        <a:pt x="227" y="161"/>
                        <a:pt x="231" y="149"/>
                      </a:cubicBezTo>
                      <a:cubicBezTo>
                        <a:pt x="231" y="149"/>
                        <a:pt x="242" y="146"/>
                        <a:pt x="258" y="128"/>
                      </a:cubicBezTo>
                      <a:cubicBezTo>
                        <a:pt x="271" y="114"/>
                        <a:pt x="278" y="120"/>
                        <a:pt x="247" y="110"/>
                      </a:cubicBezTo>
                      <a:cubicBezTo>
                        <a:pt x="224" y="103"/>
                        <a:pt x="224" y="72"/>
                        <a:pt x="196" y="97"/>
                      </a:cubicBezTo>
                      <a:cubicBezTo>
                        <a:pt x="172" y="120"/>
                        <a:pt x="180" y="80"/>
                        <a:pt x="151" y="98"/>
                      </a:cubicBezTo>
                      <a:cubicBezTo>
                        <a:pt x="134" y="109"/>
                        <a:pt x="153" y="87"/>
                        <a:pt x="171" y="87"/>
                      </a:cubicBezTo>
                      <a:cubicBezTo>
                        <a:pt x="200" y="88"/>
                        <a:pt x="183" y="79"/>
                        <a:pt x="200" y="67"/>
                      </a:cubicBezTo>
                      <a:cubicBezTo>
                        <a:pt x="206" y="64"/>
                        <a:pt x="210" y="59"/>
                        <a:pt x="214" y="55"/>
                      </a:cubicBezTo>
                      <a:cubicBezTo>
                        <a:pt x="209" y="55"/>
                        <a:pt x="208" y="55"/>
                        <a:pt x="206" y="51"/>
                      </a:cubicBezTo>
                      <a:cubicBezTo>
                        <a:pt x="201" y="51"/>
                        <a:pt x="200" y="51"/>
                        <a:pt x="199" y="48"/>
                      </a:cubicBezTo>
                      <a:cubicBezTo>
                        <a:pt x="193" y="47"/>
                        <a:pt x="193" y="47"/>
                        <a:pt x="193" y="47"/>
                      </a:cubicBezTo>
                      <a:cubicBezTo>
                        <a:pt x="186" y="40"/>
                        <a:pt x="197" y="36"/>
                        <a:pt x="183" y="34"/>
                      </a:cubicBezTo>
                      <a:cubicBezTo>
                        <a:pt x="178" y="35"/>
                        <a:pt x="177" y="38"/>
                        <a:pt x="172" y="41"/>
                      </a:cubicBezTo>
                      <a:cubicBezTo>
                        <a:pt x="170" y="47"/>
                        <a:pt x="163" y="49"/>
                        <a:pt x="159" y="55"/>
                      </a:cubicBezTo>
                      <a:cubicBezTo>
                        <a:pt x="156" y="55"/>
                        <a:pt x="156" y="55"/>
                        <a:pt x="156" y="55"/>
                      </a:cubicBezTo>
                      <a:cubicBezTo>
                        <a:pt x="151" y="50"/>
                        <a:pt x="151" y="50"/>
                        <a:pt x="151" y="50"/>
                      </a:cubicBezTo>
                      <a:cubicBezTo>
                        <a:pt x="151" y="47"/>
                        <a:pt x="151" y="47"/>
                        <a:pt x="151" y="47"/>
                      </a:cubicBezTo>
                      <a:cubicBezTo>
                        <a:pt x="151" y="39"/>
                        <a:pt x="150" y="35"/>
                        <a:pt x="149" y="34"/>
                      </a:cubicBezTo>
                      <a:cubicBezTo>
                        <a:pt x="150" y="34"/>
                        <a:pt x="150" y="34"/>
                        <a:pt x="150" y="34"/>
                      </a:cubicBezTo>
                      <a:cubicBezTo>
                        <a:pt x="150" y="34"/>
                        <a:pt x="150" y="34"/>
                        <a:pt x="150" y="34"/>
                      </a:cubicBezTo>
                      <a:cubicBezTo>
                        <a:pt x="151" y="33"/>
                        <a:pt x="151" y="33"/>
                        <a:pt x="152" y="32"/>
                      </a:cubicBezTo>
                      <a:cubicBezTo>
                        <a:pt x="152" y="32"/>
                        <a:pt x="152" y="32"/>
                        <a:pt x="152" y="32"/>
                      </a:cubicBezTo>
                      <a:cubicBezTo>
                        <a:pt x="153" y="32"/>
                        <a:pt x="153" y="32"/>
                        <a:pt x="153" y="32"/>
                      </a:cubicBezTo>
                      <a:cubicBezTo>
                        <a:pt x="153" y="32"/>
                        <a:pt x="152" y="31"/>
                        <a:pt x="151" y="30"/>
                      </a:cubicBezTo>
                      <a:cubicBezTo>
                        <a:pt x="148" y="26"/>
                        <a:pt x="158" y="27"/>
                        <a:pt x="147" y="21"/>
                      </a:cubicBezTo>
                      <a:cubicBezTo>
                        <a:pt x="138" y="16"/>
                        <a:pt x="151" y="19"/>
                        <a:pt x="146" y="13"/>
                      </a:cubicBezTo>
                      <a:cubicBezTo>
                        <a:pt x="140" y="6"/>
                        <a:pt x="151" y="10"/>
                        <a:pt x="148" y="7"/>
                      </a:cubicBezTo>
                      <a:cubicBezTo>
                        <a:pt x="148" y="7"/>
                        <a:pt x="148" y="7"/>
                        <a:pt x="148" y="7"/>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4" name="Henan" descr="{&quot;Key&quot;:&quot;henan&quot;,&quot;Name&quot;:&quot;Henan&quot;,&quot;Value&quot;:1.0,&quot;Formula&quot;:&quot;&quot;,&quot;Text&quot;:&quot;&quot;,&quot;OfficeApplication&quot;:1,&quot;HasValue&quot;:true}">
                  <a:extLst>
                    <a:ext uri="{FF2B5EF4-FFF2-40B4-BE49-F238E27FC236}">
                      <a16:creationId xmlns:a16="http://schemas.microsoft.com/office/drawing/2014/main" id="{BB91E7D2-FAAF-41E1-ABC1-0EFB8756B861}"/>
                    </a:ext>
                  </a:extLst>
                </p:cNvPr>
                <p:cNvSpPr>
                  <a:spLocks/>
                </p:cNvSpPr>
                <p:nvPr/>
              </p:nvSpPr>
              <p:spPr bwMode="auto">
                <a:xfrm>
                  <a:off x="6914356" y="3773488"/>
                  <a:ext cx="811213" cy="747713"/>
                </a:xfrm>
                <a:custGeom>
                  <a:avLst/>
                  <a:gdLst>
                    <a:gd name="T0" fmla="*/ 363 w 411"/>
                    <a:gd name="T1" fmla="*/ 318 h 379"/>
                    <a:gd name="T2" fmla="*/ 334 w 411"/>
                    <a:gd name="T3" fmla="*/ 294 h 379"/>
                    <a:gd name="T4" fmla="*/ 312 w 411"/>
                    <a:gd name="T5" fmla="*/ 275 h 379"/>
                    <a:gd name="T6" fmla="*/ 293 w 411"/>
                    <a:gd name="T7" fmla="*/ 255 h 379"/>
                    <a:gd name="T8" fmla="*/ 302 w 411"/>
                    <a:gd name="T9" fmla="*/ 248 h 379"/>
                    <a:gd name="T10" fmla="*/ 324 w 411"/>
                    <a:gd name="T11" fmla="*/ 213 h 379"/>
                    <a:gd name="T12" fmla="*/ 337 w 411"/>
                    <a:gd name="T13" fmla="*/ 173 h 379"/>
                    <a:gd name="T14" fmla="*/ 381 w 411"/>
                    <a:gd name="T15" fmla="*/ 193 h 379"/>
                    <a:gd name="T16" fmla="*/ 393 w 411"/>
                    <a:gd name="T17" fmla="*/ 162 h 379"/>
                    <a:gd name="T18" fmla="*/ 369 w 411"/>
                    <a:gd name="T19" fmla="*/ 133 h 379"/>
                    <a:gd name="T20" fmla="*/ 309 w 411"/>
                    <a:gd name="T21" fmla="*/ 112 h 379"/>
                    <a:gd name="T22" fmla="*/ 286 w 411"/>
                    <a:gd name="T23" fmla="*/ 105 h 379"/>
                    <a:gd name="T24" fmla="*/ 293 w 411"/>
                    <a:gd name="T25" fmla="*/ 77 h 379"/>
                    <a:gd name="T26" fmla="*/ 313 w 411"/>
                    <a:gd name="T27" fmla="*/ 58 h 379"/>
                    <a:gd name="T28" fmla="*/ 353 w 411"/>
                    <a:gd name="T29" fmla="*/ 20 h 379"/>
                    <a:gd name="T30" fmla="*/ 353 w 411"/>
                    <a:gd name="T31" fmla="*/ 19 h 379"/>
                    <a:gd name="T32" fmla="*/ 353 w 411"/>
                    <a:gd name="T33" fmla="*/ 17 h 379"/>
                    <a:gd name="T34" fmla="*/ 354 w 411"/>
                    <a:gd name="T35" fmla="*/ 17 h 379"/>
                    <a:gd name="T36" fmla="*/ 338 w 411"/>
                    <a:gd name="T37" fmla="*/ 26 h 379"/>
                    <a:gd name="T38" fmla="*/ 322 w 411"/>
                    <a:gd name="T39" fmla="*/ 34 h 379"/>
                    <a:gd name="T40" fmla="*/ 309 w 411"/>
                    <a:gd name="T41" fmla="*/ 33 h 379"/>
                    <a:gd name="T42" fmla="*/ 316 w 411"/>
                    <a:gd name="T43" fmla="*/ 14 h 379"/>
                    <a:gd name="T44" fmla="*/ 303 w 411"/>
                    <a:gd name="T45" fmla="*/ 17 h 379"/>
                    <a:gd name="T46" fmla="*/ 281 w 411"/>
                    <a:gd name="T47" fmla="*/ 21 h 379"/>
                    <a:gd name="T48" fmla="*/ 208 w 411"/>
                    <a:gd name="T49" fmla="*/ 5 h 379"/>
                    <a:gd name="T50" fmla="*/ 168 w 411"/>
                    <a:gd name="T51" fmla="*/ 84 h 379"/>
                    <a:gd name="T52" fmla="*/ 125 w 411"/>
                    <a:gd name="T53" fmla="*/ 93 h 379"/>
                    <a:gd name="T54" fmla="*/ 100 w 411"/>
                    <a:gd name="T55" fmla="*/ 105 h 379"/>
                    <a:gd name="T56" fmla="*/ 57 w 411"/>
                    <a:gd name="T57" fmla="*/ 127 h 379"/>
                    <a:gd name="T58" fmla="*/ 4 w 411"/>
                    <a:gd name="T59" fmla="*/ 145 h 379"/>
                    <a:gd name="T60" fmla="*/ 0 w 411"/>
                    <a:gd name="T61" fmla="*/ 146 h 379"/>
                    <a:gd name="T62" fmla="*/ 12 w 411"/>
                    <a:gd name="T63" fmla="*/ 173 h 379"/>
                    <a:gd name="T64" fmla="*/ 20 w 411"/>
                    <a:gd name="T65" fmla="*/ 196 h 379"/>
                    <a:gd name="T66" fmla="*/ 29 w 411"/>
                    <a:gd name="T67" fmla="*/ 209 h 379"/>
                    <a:gd name="T68" fmla="*/ 40 w 411"/>
                    <a:gd name="T69" fmla="*/ 241 h 379"/>
                    <a:gd name="T70" fmla="*/ 41 w 411"/>
                    <a:gd name="T71" fmla="*/ 243 h 379"/>
                    <a:gd name="T72" fmla="*/ 41 w 411"/>
                    <a:gd name="T73" fmla="*/ 243 h 379"/>
                    <a:gd name="T74" fmla="*/ 57 w 411"/>
                    <a:gd name="T75" fmla="*/ 266 h 379"/>
                    <a:gd name="T76" fmla="*/ 85 w 411"/>
                    <a:gd name="T77" fmla="*/ 293 h 379"/>
                    <a:gd name="T78" fmla="*/ 133 w 411"/>
                    <a:gd name="T79" fmla="*/ 310 h 379"/>
                    <a:gd name="T80" fmla="*/ 164 w 411"/>
                    <a:gd name="T81" fmla="*/ 307 h 379"/>
                    <a:gd name="T82" fmla="*/ 212 w 411"/>
                    <a:gd name="T83" fmla="*/ 306 h 379"/>
                    <a:gd name="T84" fmla="*/ 221 w 411"/>
                    <a:gd name="T85" fmla="*/ 332 h 379"/>
                    <a:gd name="T86" fmla="*/ 233 w 411"/>
                    <a:gd name="T87" fmla="*/ 347 h 379"/>
                    <a:gd name="T88" fmla="*/ 250 w 411"/>
                    <a:gd name="T89" fmla="*/ 348 h 379"/>
                    <a:gd name="T90" fmla="*/ 277 w 411"/>
                    <a:gd name="T91" fmla="*/ 356 h 379"/>
                    <a:gd name="T92" fmla="*/ 296 w 411"/>
                    <a:gd name="T93" fmla="*/ 372 h 379"/>
                    <a:gd name="T94" fmla="*/ 321 w 411"/>
                    <a:gd name="T95" fmla="*/ 374 h 379"/>
                    <a:gd name="T96" fmla="*/ 329 w 411"/>
                    <a:gd name="T97" fmla="*/ 377 h 379"/>
                    <a:gd name="T98" fmla="*/ 363 w 411"/>
                    <a:gd name="T99" fmla="*/ 318 h 379"/>
                    <a:gd name="T100" fmla="*/ 363 w 411"/>
                    <a:gd name="T101" fmla="*/ 318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1" h="379">
                      <a:moveTo>
                        <a:pt x="363" y="318"/>
                      </a:moveTo>
                      <a:cubicBezTo>
                        <a:pt x="354" y="261"/>
                        <a:pt x="348" y="310"/>
                        <a:pt x="334" y="294"/>
                      </a:cubicBezTo>
                      <a:cubicBezTo>
                        <a:pt x="319" y="276"/>
                        <a:pt x="313" y="293"/>
                        <a:pt x="312" y="275"/>
                      </a:cubicBezTo>
                      <a:cubicBezTo>
                        <a:pt x="311" y="257"/>
                        <a:pt x="297" y="265"/>
                        <a:pt x="293" y="255"/>
                      </a:cubicBezTo>
                      <a:cubicBezTo>
                        <a:pt x="286" y="239"/>
                        <a:pt x="298" y="248"/>
                        <a:pt x="302" y="248"/>
                      </a:cubicBezTo>
                      <a:cubicBezTo>
                        <a:pt x="339" y="248"/>
                        <a:pt x="304" y="217"/>
                        <a:pt x="324" y="213"/>
                      </a:cubicBezTo>
                      <a:cubicBezTo>
                        <a:pt x="352" y="207"/>
                        <a:pt x="317" y="183"/>
                        <a:pt x="337" y="173"/>
                      </a:cubicBezTo>
                      <a:cubicBezTo>
                        <a:pt x="361" y="162"/>
                        <a:pt x="357" y="211"/>
                        <a:pt x="381" y="193"/>
                      </a:cubicBezTo>
                      <a:cubicBezTo>
                        <a:pt x="411" y="170"/>
                        <a:pt x="395" y="184"/>
                        <a:pt x="393" y="162"/>
                      </a:cubicBezTo>
                      <a:cubicBezTo>
                        <a:pt x="391" y="143"/>
                        <a:pt x="368" y="165"/>
                        <a:pt x="369" y="133"/>
                      </a:cubicBezTo>
                      <a:cubicBezTo>
                        <a:pt x="289" y="136"/>
                        <a:pt x="341" y="124"/>
                        <a:pt x="309" y="112"/>
                      </a:cubicBezTo>
                      <a:cubicBezTo>
                        <a:pt x="298" y="108"/>
                        <a:pt x="317" y="105"/>
                        <a:pt x="286" y="105"/>
                      </a:cubicBezTo>
                      <a:cubicBezTo>
                        <a:pt x="267" y="105"/>
                        <a:pt x="290" y="85"/>
                        <a:pt x="293" y="77"/>
                      </a:cubicBezTo>
                      <a:cubicBezTo>
                        <a:pt x="297" y="68"/>
                        <a:pt x="312" y="74"/>
                        <a:pt x="313" y="58"/>
                      </a:cubicBezTo>
                      <a:cubicBezTo>
                        <a:pt x="313" y="50"/>
                        <a:pt x="349" y="34"/>
                        <a:pt x="353" y="20"/>
                      </a:cubicBezTo>
                      <a:cubicBezTo>
                        <a:pt x="353" y="19"/>
                        <a:pt x="353" y="19"/>
                        <a:pt x="353" y="19"/>
                      </a:cubicBezTo>
                      <a:cubicBezTo>
                        <a:pt x="353" y="18"/>
                        <a:pt x="353" y="18"/>
                        <a:pt x="353" y="17"/>
                      </a:cubicBezTo>
                      <a:cubicBezTo>
                        <a:pt x="353" y="17"/>
                        <a:pt x="353" y="17"/>
                        <a:pt x="354" y="17"/>
                      </a:cubicBezTo>
                      <a:cubicBezTo>
                        <a:pt x="352" y="19"/>
                        <a:pt x="348" y="23"/>
                        <a:pt x="338" y="26"/>
                      </a:cubicBezTo>
                      <a:cubicBezTo>
                        <a:pt x="327" y="28"/>
                        <a:pt x="338" y="31"/>
                        <a:pt x="322" y="34"/>
                      </a:cubicBezTo>
                      <a:cubicBezTo>
                        <a:pt x="322" y="34"/>
                        <a:pt x="301" y="51"/>
                        <a:pt x="309" y="33"/>
                      </a:cubicBezTo>
                      <a:cubicBezTo>
                        <a:pt x="311" y="29"/>
                        <a:pt x="322" y="24"/>
                        <a:pt x="316" y="14"/>
                      </a:cubicBezTo>
                      <a:cubicBezTo>
                        <a:pt x="309" y="18"/>
                        <a:pt x="309" y="24"/>
                        <a:pt x="303" y="17"/>
                      </a:cubicBezTo>
                      <a:cubicBezTo>
                        <a:pt x="289" y="0"/>
                        <a:pt x="292" y="28"/>
                        <a:pt x="281" y="21"/>
                      </a:cubicBezTo>
                      <a:cubicBezTo>
                        <a:pt x="281" y="21"/>
                        <a:pt x="214" y="6"/>
                        <a:pt x="208" y="5"/>
                      </a:cubicBezTo>
                      <a:cubicBezTo>
                        <a:pt x="203" y="54"/>
                        <a:pt x="208" y="71"/>
                        <a:pt x="168" y="84"/>
                      </a:cubicBezTo>
                      <a:cubicBezTo>
                        <a:pt x="142" y="93"/>
                        <a:pt x="184" y="91"/>
                        <a:pt x="125" y="93"/>
                      </a:cubicBezTo>
                      <a:cubicBezTo>
                        <a:pt x="91" y="94"/>
                        <a:pt x="125" y="97"/>
                        <a:pt x="100" y="105"/>
                      </a:cubicBezTo>
                      <a:cubicBezTo>
                        <a:pt x="65" y="115"/>
                        <a:pt x="101" y="120"/>
                        <a:pt x="57" y="127"/>
                      </a:cubicBezTo>
                      <a:cubicBezTo>
                        <a:pt x="40" y="129"/>
                        <a:pt x="45" y="137"/>
                        <a:pt x="4" y="145"/>
                      </a:cubicBezTo>
                      <a:cubicBezTo>
                        <a:pt x="3" y="145"/>
                        <a:pt x="1" y="146"/>
                        <a:pt x="0" y="146"/>
                      </a:cubicBezTo>
                      <a:cubicBezTo>
                        <a:pt x="8" y="156"/>
                        <a:pt x="8" y="170"/>
                        <a:pt x="12" y="173"/>
                      </a:cubicBezTo>
                      <a:cubicBezTo>
                        <a:pt x="15" y="175"/>
                        <a:pt x="24" y="192"/>
                        <a:pt x="20" y="196"/>
                      </a:cubicBezTo>
                      <a:cubicBezTo>
                        <a:pt x="19" y="198"/>
                        <a:pt x="24" y="200"/>
                        <a:pt x="29" y="209"/>
                      </a:cubicBezTo>
                      <a:cubicBezTo>
                        <a:pt x="42" y="229"/>
                        <a:pt x="40" y="201"/>
                        <a:pt x="40" y="241"/>
                      </a:cubicBezTo>
                      <a:cubicBezTo>
                        <a:pt x="41" y="242"/>
                        <a:pt x="41" y="242"/>
                        <a:pt x="41" y="243"/>
                      </a:cubicBezTo>
                      <a:cubicBezTo>
                        <a:pt x="41" y="243"/>
                        <a:pt x="41" y="243"/>
                        <a:pt x="41" y="243"/>
                      </a:cubicBezTo>
                      <a:cubicBezTo>
                        <a:pt x="43" y="249"/>
                        <a:pt x="52" y="249"/>
                        <a:pt x="57" y="266"/>
                      </a:cubicBezTo>
                      <a:cubicBezTo>
                        <a:pt x="60" y="274"/>
                        <a:pt x="76" y="293"/>
                        <a:pt x="85" y="293"/>
                      </a:cubicBezTo>
                      <a:cubicBezTo>
                        <a:pt x="101" y="293"/>
                        <a:pt x="119" y="317"/>
                        <a:pt x="133" y="310"/>
                      </a:cubicBezTo>
                      <a:cubicBezTo>
                        <a:pt x="149" y="303"/>
                        <a:pt x="150" y="313"/>
                        <a:pt x="164" y="307"/>
                      </a:cubicBezTo>
                      <a:cubicBezTo>
                        <a:pt x="191" y="296"/>
                        <a:pt x="188" y="325"/>
                        <a:pt x="212" y="306"/>
                      </a:cubicBezTo>
                      <a:cubicBezTo>
                        <a:pt x="228" y="294"/>
                        <a:pt x="219" y="330"/>
                        <a:pt x="221" y="332"/>
                      </a:cubicBezTo>
                      <a:cubicBezTo>
                        <a:pt x="224" y="336"/>
                        <a:pt x="229" y="344"/>
                        <a:pt x="233" y="347"/>
                      </a:cubicBezTo>
                      <a:cubicBezTo>
                        <a:pt x="245" y="354"/>
                        <a:pt x="231" y="355"/>
                        <a:pt x="250" y="348"/>
                      </a:cubicBezTo>
                      <a:cubicBezTo>
                        <a:pt x="252" y="347"/>
                        <a:pt x="277" y="354"/>
                        <a:pt x="277" y="356"/>
                      </a:cubicBezTo>
                      <a:cubicBezTo>
                        <a:pt x="280" y="368"/>
                        <a:pt x="284" y="366"/>
                        <a:pt x="296" y="372"/>
                      </a:cubicBezTo>
                      <a:cubicBezTo>
                        <a:pt x="310" y="379"/>
                        <a:pt x="317" y="343"/>
                        <a:pt x="321" y="374"/>
                      </a:cubicBezTo>
                      <a:cubicBezTo>
                        <a:pt x="322" y="375"/>
                        <a:pt x="325" y="376"/>
                        <a:pt x="329" y="377"/>
                      </a:cubicBezTo>
                      <a:cubicBezTo>
                        <a:pt x="337" y="322"/>
                        <a:pt x="371" y="366"/>
                        <a:pt x="363" y="318"/>
                      </a:cubicBezTo>
                      <a:cubicBezTo>
                        <a:pt x="363" y="318"/>
                        <a:pt x="363" y="318"/>
                        <a:pt x="363" y="318"/>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5" name="Shanxi" descr="{&quot;Key&quot;:&quot;shanxi&quot;,&quot;Name&quot;:&quot;Shanxi&quot;,&quot;Value&quot;:1.0,&quot;Formula&quot;:&quot;&quot;,&quot;Text&quot;:&quot;&quot;,&quot;OfficeApplication&quot;:1,&quot;HasValue&quot;:true}">
                  <a:extLst>
                    <a:ext uri="{FF2B5EF4-FFF2-40B4-BE49-F238E27FC236}">
                      <a16:creationId xmlns:a16="http://schemas.microsoft.com/office/drawing/2014/main" id="{FF09F9F2-6101-40C4-A526-1DBE730A819A}"/>
                    </a:ext>
                  </a:extLst>
                </p:cNvPr>
                <p:cNvSpPr>
                  <a:spLocks/>
                </p:cNvSpPr>
                <p:nvPr/>
              </p:nvSpPr>
              <p:spPr bwMode="auto">
                <a:xfrm>
                  <a:off x="6865143" y="3105150"/>
                  <a:ext cx="566738" cy="957263"/>
                </a:xfrm>
                <a:custGeom>
                  <a:avLst/>
                  <a:gdLst>
                    <a:gd name="T0" fmla="*/ 193 w 287"/>
                    <a:gd name="T1" fmla="*/ 423 h 485"/>
                    <a:gd name="T2" fmla="*/ 233 w 287"/>
                    <a:gd name="T3" fmla="*/ 344 h 485"/>
                    <a:gd name="T4" fmla="*/ 229 w 287"/>
                    <a:gd name="T5" fmla="*/ 301 h 485"/>
                    <a:gd name="T6" fmla="*/ 253 w 287"/>
                    <a:gd name="T7" fmla="*/ 244 h 485"/>
                    <a:gd name="T8" fmla="*/ 224 w 287"/>
                    <a:gd name="T9" fmla="*/ 203 h 485"/>
                    <a:gd name="T10" fmla="*/ 223 w 287"/>
                    <a:gd name="T11" fmla="*/ 168 h 485"/>
                    <a:gd name="T12" fmla="*/ 225 w 287"/>
                    <a:gd name="T13" fmla="*/ 145 h 485"/>
                    <a:gd name="T14" fmla="*/ 265 w 287"/>
                    <a:gd name="T15" fmla="*/ 125 h 485"/>
                    <a:gd name="T16" fmla="*/ 261 w 287"/>
                    <a:gd name="T17" fmla="*/ 79 h 485"/>
                    <a:gd name="T18" fmla="*/ 242 w 287"/>
                    <a:gd name="T19" fmla="*/ 51 h 485"/>
                    <a:gd name="T20" fmla="*/ 254 w 287"/>
                    <a:gd name="T21" fmla="*/ 32 h 485"/>
                    <a:gd name="T22" fmla="*/ 238 w 287"/>
                    <a:gd name="T23" fmla="*/ 0 h 485"/>
                    <a:gd name="T24" fmla="*/ 214 w 287"/>
                    <a:gd name="T25" fmla="*/ 36 h 485"/>
                    <a:gd name="T26" fmla="*/ 173 w 287"/>
                    <a:gd name="T27" fmla="*/ 45 h 485"/>
                    <a:gd name="T28" fmla="*/ 130 w 287"/>
                    <a:gd name="T29" fmla="*/ 58 h 485"/>
                    <a:gd name="T30" fmla="*/ 118 w 287"/>
                    <a:gd name="T31" fmla="*/ 96 h 485"/>
                    <a:gd name="T32" fmla="*/ 86 w 287"/>
                    <a:gd name="T33" fmla="*/ 104 h 485"/>
                    <a:gd name="T34" fmla="*/ 66 w 287"/>
                    <a:gd name="T35" fmla="*/ 113 h 485"/>
                    <a:gd name="T36" fmla="*/ 62 w 287"/>
                    <a:gd name="T37" fmla="*/ 148 h 485"/>
                    <a:gd name="T38" fmla="*/ 39 w 287"/>
                    <a:gd name="T39" fmla="*/ 198 h 485"/>
                    <a:gd name="T40" fmla="*/ 38 w 287"/>
                    <a:gd name="T41" fmla="*/ 230 h 485"/>
                    <a:gd name="T42" fmla="*/ 43 w 287"/>
                    <a:gd name="T43" fmla="*/ 273 h 485"/>
                    <a:gd name="T44" fmla="*/ 32 w 287"/>
                    <a:gd name="T45" fmla="*/ 335 h 485"/>
                    <a:gd name="T46" fmla="*/ 36 w 287"/>
                    <a:gd name="T47" fmla="*/ 384 h 485"/>
                    <a:gd name="T48" fmla="*/ 21 w 287"/>
                    <a:gd name="T49" fmla="*/ 481 h 485"/>
                    <a:gd name="T50" fmla="*/ 25 w 287"/>
                    <a:gd name="T51" fmla="*/ 485 h 485"/>
                    <a:gd name="T52" fmla="*/ 29 w 287"/>
                    <a:gd name="T53" fmla="*/ 484 h 485"/>
                    <a:gd name="T54" fmla="*/ 82 w 287"/>
                    <a:gd name="T55" fmla="*/ 466 h 485"/>
                    <a:gd name="T56" fmla="*/ 125 w 287"/>
                    <a:gd name="T57" fmla="*/ 444 h 485"/>
                    <a:gd name="T58" fmla="*/ 150 w 287"/>
                    <a:gd name="T59" fmla="*/ 432 h 485"/>
                    <a:gd name="T60" fmla="*/ 193 w 287"/>
                    <a:gd name="T61" fmla="*/ 42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7" h="485">
                      <a:moveTo>
                        <a:pt x="193" y="423"/>
                      </a:moveTo>
                      <a:cubicBezTo>
                        <a:pt x="233" y="410"/>
                        <a:pt x="228" y="393"/>
                        <a:pt x="233" y="344"/>
                      </a:cubicBezTo>
                      <a:cubicBezTo>
                        <a:pt x="198" y="305"/>
                        <a:pt x="228" y="322"/>
                        <a:pt x="229" y="301"/>
                      </a:cubicBezTo>
                      <a:cubicBezTo>
                        <a:pt x="230" y="286"/>
                        <a:pt x="253" y="246"/>
                        <a:pt x="253" y="244"/>
                      </a:cubicBezTo>
                      <a:cubicBezTo>
                        <a:pt x="253" y="244"/>
                        <a:pt x="231" y="206"/>
                        <a:pt x="224" y="203"/>
                      </a:cubicBezTo>
                      <a:cubicBezTo>
                        <a:pt x="206" y="197"/>
                        <a:pt x="216" y="173"/>
                        <a:pt x="223" y="168"/>
                      </a:cubicBezTo>
                      <a:cubicBezTo>
                        <a:pt x="239" y="157"/>
                        <a:pt x="223" y="150"/>
                        <a:pt x="225" y="145"/>
                      </a:cubicBezTo>
                      <a:cubicBezTo>
                        <a:pt x="233" y="127"/>
                        <a:pt x="262" y="143"/>
                        <a:pt x="265" y="125"/>
                      </a:cubicBezTo>
                      <a:cubicBezTo>
                        <a:pt x="275" y="68"/>
                        <a:pt x="271" y="119"/>
                        <a:pt x="261" y="79"/>
                      </a:cubicBezTo>
                      <a:cubicBezTo>
                        <a:pt x="259" y="71"/>
                        <a:pt x="213" y="64"/>
                        <a:pt x="242" y="51"/>
                      </a:cubicBezTo>
                      <a:cubicBezTo>
                        <a:pt x="287" y="30"/>
                        <a:pt x="257" y="42"/>
                        <a:pt x="254" y="32"/>
                      </a:cubicBezTo>
                      <a:cubicBezTo>
                        <a:pt x="246" y="10"/>
                        <a:pt x="249" y="21"/>
                        <a:pt x="238" y="0"/>
                      </a:cubicBezTo>
                      <a:cubicBezTo>
                        <a:pt x="242" y="35"/>
                        <a:pt x="229" y="19"/>
                        <a:pt x="214" y="36"/>
                      </a:cubicBezTo>
                      <a:cubicBezTo>
                        <a:pt x="204" y="48"/>
                        <a:pt x="183" y="32"/>
                        <a:pt x="173" y="45"/>
                      </a:cubicBezTo>
                      <a:cubicBezTo>
                        <a:pt x="160" y="64"/>
                        <a:pt x="142" y="33"/>
                        <a:pt x="130" y="58"/>
                      </a:cubicBezTo>
                      <a:cubicBezTo>
                        <a:pt x="126" y="66"/>
                        <a:pt x="120" y="88"/>
                        <a:pt x="118" y="96"/>
                      </a:cubicBezTo>
                      <a:cubicBezTo>
                        <a:pt x="114" y="110"/>
                        <a:pt x="102" y="87"/>
                        <a:pt x="86" y="104"/>
                      </a:cubicBezTo>
                      <a:cubicBezTo>
                        <a:pt x="72" y="119"/>
                        <a:pt x="79" y="108"/>
                        <a:pt x="66" y="113"/>
                      </a:cubicBezTo>
                      <a:cubicBezTo>
                        <a:pt x="66" y="130"/>
                        <a:pt x="81" y="114"/>
                        <a:pt x="62" y="148"/>
                      </a:cubicBezTo>
                      <a:cubicBezTo>
                        <a:pt x="57" y="158"/>
                        <a:pt x="63" y="182"/>
                        <a:pt x="39" y="198"/>
                      </a:cubicBezTo>
                      <a:cubicBezTo>
                        <a:pt x="30" y="203"/>
                        <a:pt x="33" y="224"/>
                        <a:pt x="38" y="230"/>
                      </a:cubicBezTo>
                      <a:cubicBezTo>
                        <a:pt x="63" y="261"/>
                        <a:pt x="37" y="252"/>
                        <a:pt x="43" y="273"/>
                      </a:cubicBezTo>
                      <a:cubicBezTo>
                        <a:pt x="46" y="282"/>
                        <a:pt x="18" y="290"/>
                        <a:pt x="32" y="335"/>
                      </a:cubicBezTo>
                      <a:cubicBezTo>
                        <a:pt x="36" y="350"/>
                        <a:pt x="24" y="370"/>
                        <a:pt x="36" y="384"/>
                      </a:cubicBezTo>
                      <a:cubicBezTo>
                        <a:pt x="52" y="404"/>
                        <a:pt x="0" y="464"/>
                        <a:pt x="21" y="481"/>
                      </a:cubicBezTo>
                      <a:cubicBezTo>
                        <a:pt x="23" y="483"/>
                        <a:pt x="24" y="484"/>
                        <a:pt x="25" y="485"/>
                      </a:cubicBezTo>
                      <a:cubicBezTo>
                        <a:pt x="26" y="485"/>
                        <a:pt x="28" y="484"/>
                        <a:pt x="29" y="484"/>
                      </a:cubicBezTo>
                      <a:cubicBezTo>
                        <a:pt x="70" y="476"/>
                        <a:pt x="65" y="468"/>
                        <a:pt x="82" y="466"/>
                      </a:cubicBezTo>
                      <a:cubicBezTo>
                        <a:pt x="126" y="459"/>
                        <a:pt x="90" y="454"/>
                        <a:pt x="125" y="444"/>
                      </a:cubicBezTo>
                      <a:cubicBezTo>
                        <a:pt x="150" y="436"/>
                        <a:pt x="116" y="433"/>
                        <a:pt x="150" y="432"/>
                      </a:cubicBezTo>
                      <a:cubicBezTo>
                        <a:pt x="209" y="430"/>
                        <a:pt x="167" y="432"/>
                        <a:pt x="193" y="423"/>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6" name="Shaanxi" descr="{&quot;Key&quot;:&quot;shaanxi&quot;,&quot;Name&quot;:&quot;Shaanxi&quot;,&quot;Value&quot;:1.0,&quot;Formula&quot;:&quot;&quot;,&quot;Text&quot;:&quot;&quot;,&quot;OfficeApplication&quot;:1,&quot;HasValue&quot;:true}">
                  <a:extLst>
                    <a:ext uri="{FF2B5EF4-FFF2-40B4-BE49-F238E27FC236}">
                      <a16:creationId xmlns:a16="http://schemas.microsoft.com/office/drawing/2014/main" id="{BCB00129-C470-48E2-8BCB-8AA84ED5FA67}"/>
                    </a:ext>
                  </a:extLst>
                </p:cNvPr>
                <p:cNvSpPr>
                  <a:spLocks noEditPoints="1"/>
                </p:cNvSpPr>
                <p:nvPr/>
              </p:nvSpPr>
              <p:spPr bwMode="auto">
                <a:xfrm>
                  <a:off x="6295231" y="3294063"/>
                  <a:ext cx="730250" cy="1203325"/>
                </a:xfrm>
                <a:custGeom>
                  <a:avLst/>
                  <a:gdLst>
                    <a:gd name="T0" fmla="*/ 234 w 370"/>
                    <a:gd name="T1" fmla="*/ 124 h 610"/>
                    <a:gd name="T2" fmla="*/ 234 w 370"/>
                    <a:gd name="T3" fmla="*/ 124 h 610"/>
                    <a:gd name="T4" fmla="*/ 310 w 370"/>
                    <a:gd name="T5" fmla="*/ 385 h 610"/>
                    <a:gd name="T6" fmla="*/ 325 w 370"/>
                    <a:gd name="T7" fmla="*/ 288 h 610"/>
                    <a:gd name="T8" fmla="*/ 321 w 370"/>
                    <a:gd name="T9" fmla="*/ 239 h 610"/>
                    <a:gd name="T10" fmla="*/ 332 w 370"/>
                    <a:gd name="T11" fmla="*/ 177 h 610"/>
                    <a:gd name="T12" fmla="*/ 327 w 370"/>
                    <a:gd name="T13" fmla="*/ 134 h 610"/>
                    <a:gd name="T14" fmla="*/ 328 w 370"/>
                    <a:gd name="T15" fmla="*/ 102 h 610"/>
                    <a:gd name="T16" fmla="*/ 351 w 370"/>
                    <a:gd name="T17" fmla="*/ 52 h 610"/>
                    <a:gd name="T18" fmla="*/ 355 w 370"/>
                    <a:gd name="T19" fmla="*/ 17 h 610"/>
                    <a:gd name="T20" fmla="*/ 334 w 370"/>
                    <a:gd name="T21" fmla="*/ 23 h 610"/>
                    <a:gd name="T22" fmla="*/ 315 w 370"/>
                    <a:gd name="T23" fmla="*/ 23 h 610"/>
                    <a:gd name="T24" fmla="*/ 295 w 370"/>
                    <a:gd name="T25" fmla="*/ 19 h 610"/>
                    <a:gd name="T26" fmla="*/ 295 w 370"/>
                    <a:gd name="T27" fmla="*/ 31 h 610"/>
                    <a:gd name="T28" fmla="*/ 276 w 370"/>
                    <a:gd name="T29" fmla="*/ 46 h 610"/>
                    <a:gd name="T30" fmla="*/ 260 w 370"/>
                    <a:gd name="T31" fmla="*/ 64 h 610"/>
                    <a:gd name="T32" fmla="*/ 227 w 370"/>
                    <a:gd name="T33" fmla="*/ 115 h 610"/>
                    <a:gd name="T34" fmla="*/ 234 w 370"/>
                    <a:gd name="T35" fmla="*/ 124 h 610"/>
                    <a:gd name="T36" fmla="*/ 221 w 370"/>
                    <a:gd name="T37" fmla="*/ 124 h 610"/>
                    <a:gd name="T38" fmla="*/ 199 w 370"/>
                    <a:gd name="T39" fmla="*/ 148 h 610"/>
                    <a:gd name="T40" fmla="*/ 167 w 370"/>
                    <a:gd name="T41" fmla="*/ 143 h 610"/>
                    <a:gd name="T42" fmla="*/ 150 w 370"/>
                    <a:gd name="T43" fmla="*/ 138 h 610"/>
                    <a:gd name="T44" fmla="*/ 134 w 370"/>
                    <a:gd name="T45" fmla="*/ 152 h 610"/>
                    <a:gd name="T46" fmla="*/ 126 w 370"/>
                    <a:gd name="T47" fmla="*/ 192 h 610"/>
                    <a:gd name="T48" fmla="*/ 170 w 370"/>
                    <a:gd name="T49" fmla="*/ 228 h 610"/>
                    <a:gd name="T50" fmla="*/ 210 w 370"/>
                    <a:gd name="T51" fmla="*/ 276 h 610"/>
                    <a:gd name="T52" fmla="*/ 204 w 370"/>
                    <a:gd name="T53" fmla="*/ 317 h 610"/>
                    <a:gd name="T54" fmla="*/ 145 w 370"/>
                    <a:gd name="T55" fmla="*/ 337 h 610"/>
                    <a:gd name="T56" fmla="*/ 122 w 370"/>
                    <a:gd name="T57" fmla="*/ 360 h 610"/>
                    <a:gd name="T58" fmla="*/ 74 w 370"/>
                    <a:gd name="T59" fmla="*/ 346 h 610"/>
                    <a:gd name="T60" fmla="*/ 68 w 370"/>
                    <a:gd name="T61" fmla="*/ 372 h 610"/>
                    <a:gd name="T62" fmla="*/ 85 w 370"/>
                    <a:gd name="T63" fmla="*/ 401 h 610"/>
                    <a:gd name="T64" fmla="*/ 66 w 370"/>
                    <a:gd name="T65" fmla="*/ 435 h 610"/>
                    <a:gd name="T66" fmla="*/ 50 w 370"/>
                    <a:gd name="T67" fmla="*/ 458 h 610"/>
                    <a:gd name="T68" fmla="*/ 17 w 370"/>
                    <a:gd name="T69" fmla="*/ 472 h 610"/>
                    <a:gd name="T70" fmla="*/ 19 w 370"/>
                    <a:gd name="T71" fmla="*/ 507 h 610"/>
                    <a:gd name="T72" fmla="*/ 1 w 370"/>
                    <a:gd name="T73" fmla="*/ 517 h 610"/>
                    <a:gd name="T74" fmla="*/ 10 w 370"/>
                    <a:gd name="T75" fmla="*/ 525 h 610"/>
                    <a:gd name="T76" fmla="*/ 43 w 370"/>
                    <a:gd name="T77" fmla="*/ 523 h 610"/>
                    <a:gd name="T78" fmla="*/ 102 w 370"/>
                    <a:gd name="T79" fmla="*/ 532 h 610"/>
                    <a:gd name="T80" fmla="*/ 127 w 370"/>
                    <a:gd name="T81" fmla="*/ 545 h 610"/>
                    <a:gd name="T82" fmla="*/ 146 w 370"/>
                    <a:gd name="T83" fmla="*/ 559 h 610"/>
                    <a:gd name="T84" fmla="*/ 167 w 370"/>
                    <a:gd name="T85" fmla="*/ 563 h 610"/>
                    <a:gd name="T86" fmla="*/ 186 w 370"/>
                    <a:gd name="T87" fmla="*/ 565 h 610"/>
                    <a:gd name="T88" fmla="*/ 222 w 370"/>
                    <a:gd name="T89" fmla="*/ 585 h 610"/>
                    <a:gd name="T90" fmla="*/ 234 w 370"/>
                    <a:gd name="T91" fmla="*/ 593 h 610"/>
                    <a:gd name="T92" fmla="*/ 267 w 370"/>
                    <a:gd name="T93" fmla="*/ 604 h 610"/>
                    <a:gd name="T94" fmla="*/ 266 w 370"/>
                    <a:gd name="T95" fmla="*/ 578 h 610"/>
                    <a:gd name="T96" fmla="*/ 266 w 370"/>
                    <a:gd name="T97" fmla="*/ 540 h 610"/>
                    <a:gd name="T98" fmla="*/ 303 w 370"/>
                    <a:gd name="T99" fmla="*/ 530 h 610"/>
                    <a:gd name="T100" fmla="*/ 280 w 370"/>
                    <a:gd name="T101" fmla="*/ 508 h 610"/>
                    <a:gd name="T102" fmla="*/ 257 w 370"/>
                    <a:gd name="T103" fmla="*/ 494 h 610"/>
                    <a:gd name="T104" fmla="*/ 302 w 370"/>
                    <a:gd name="T105" fmla="*/ 491 h 610"/>
                    <a:gd name="T106" fmla="*/ 330 w 370"/>
                    <a:gd name="T107" fmla="*/ 494 h 610"/>
                    <a:gd name="T108" fmla="*/ 355 w 370"/>
                    <a:gd name="T109" fmla="*/ 486 h 610"/>
                    <a:gd name="T110" fmla="*/ 355 w 370"/>
                    <a:gd name="T111" fmla="*/ 486 h 610"/>
                    <a:gd name="T112" fmla="*/ 354 w 370"/>
                    <a:gd name="T113" fmla="*/ 484 h 610"/>
                    <a:gd name="T114" fmla="*/ 343 w 370"/>
                    <a:gd name="T115" fmla="*/ 452 h 610"/>
                    <a:gd name="T116" fmla="*/ 334 w 370"/>
                    <a:gd name="T117" fmla="*/ 439 h 610"/>
                    <a:gd name="T118" fmla="*/ 326 w 370"/>
                    <a:gd name="T119" fmla="*/ 416 h 610"/>
                    <a:gd name="T120" fmla="*/ 314 w 370"/>
                    <a:gd name="T121" fmla="*/ 389 h 610"/>
                    <a:gd name="T122" fmla="*/ 310 w 370"/>
                    <a:gd name="T123" fmla="*/ 385 h 610"/>
                    <a:gd name="T124" fmla="*/ 310 w 370"/>
                    <a:gd name="T125" fmla="*/ 38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0" h="610">
                      <a:moveTo>
                        <a:pt x="234" y="124"/>
                      </a:moveTo>
                      <a:cubicBezTo>
                        <a:pt x="234" y="124"/>
                        <a:pt x="234" y="124"/>
                        <a:pt x="234" y="124"/>
                      </a:cubicBezTo>
                      <a:moveTo>
                        <a:pt x="310" y="385"/>
                      </a:moveTo>
                      <a:cubicBezTo>
                        <a:pt x="289" y="368"/>
                        <a:pt x="341" y="308"/>
                        <a:pt x="325" y="288"/>
                      </a:cubicBezTo>
                      <a:cubicBezTo>
                        <a:pt x="313" y="274"/>
                        <a:pt x="325" y="254"/>
                        <a:pt x="321" y="239"/>
                      </a:cubicBezTo>
                      <a:cubicBezTo>
                        <a:pt x="307" y="194"/>
                        <a:pt x="335" y="186"/>
                        <a:pt x="332" y="177"/>
                      </a:cubicBezTo>
                      <a:cubicBezTo>
                        <a:pt x="326" y="156"/>
                        <a:pt x="352" y="165"/>
                        <a:pt x="327" y="134"/>
                      </a:cubicBezTo>
                      <a:cubicBezTo>
                        <a:pt x="322" y="128"/>
                        <a:pt x="319" y="107"/>
                        <a:pt x="328" y="102"/>
                      </a:cubicBezTo>
                      <a:cubicBezTo>
                        <a:pt x="352" y="86"/>
                        <a:pt x="346" y="62"/>
                        <a:pt x="351" y="52"/>
                      </a:cubicBezTo>
                      <a:cubicBezTo>
                        <a:pt x="370" y="18"/>
                        <a:pt x="355" y="34"/>
                        <a:pt x="355" y="17"/>
                      </a:cubicBezTo>
                      <a:cubicBezTo>
                        <a:pt x="361" y="0"/>
                        <a:pt x="343" y="7"/>
                        <a:pt x="334" y="23"/>
                      </a:cubicBezTo>
                      <a:cubicBezTo>
                        <a:pt x="327" y="34"/>
                        <a:pt x="333" y="20"/>
                        <a:pt x="315" y="23"/>
                      </a:cubicBezTo>
                      <a:cubicBezTo>
                        <a:pt x="314" y="23"/>
                        <a:pt x="293" y="12"/>
                        <a:pt x="295" y="19"/>
                      </a:cubicBezTo>
                      <a:cubicBezTo>
                        <a:pt x="295" y="20"/>
                        <a:pt x="313" y="29"/>
                        <a:pt x="295" y="31"/>
                      </a:cubicBezTo>
                      <a:cubicBezTo>
                        <a:pt x="283" y="33"/>
                        <a:pt x="297" y="25"/>
                        <a:pt x="276" y="46"/>
                      </a:cubicBezTo>
                      <a:cubicBezTo>
                        <a:pt x="268" y="53"/>
                        <a:pt x="281" y="52"/>
                        <a:pt x="260" y="64"/>
                      </a:cubicBezTo>
                      <a:cubicBezTo>
                        <a:pt x="258" y="65"/>
                        <a:pt x="222" y="105"/>
                        <a:pt x="227" y="115"/>
                      </a:cubicBezTo>
                      <a:cubicBezTo>
                        <a:pt x="230" y="120"/>
                        <a:pt x="232" y="123"/>
                        <a:pt x="234" y="124"/>
                      </a:cubicBezTo>
                      <a:cubicBezTo>
                        <a:pt x="232" y="123"/>
                        <a:pt x="228" y="122"/>
                        <a:pt x="221" y="124"/>
                      </a:cubicBezTo>
                      <a:cubicBezTo>
                        <a:pt x="209" y="127"/>
                        <a:pt x="239" y="162"/>
                        <a:pt x="199" y="148"/>
                      </a:cubicBezTo>
                      <a:cubicBezTo>
                        <a:pt x="186" y="144"/>
                        <a:pt x="198" y="164"/>
                        <a:pt x="167" y="143"/>
                      </a:cubicBezTo>
                      <a:cubicBezTo>
                        <a:pt x="160" y="139"/>
                        <a:pt x="155" y="136"/>
                        <a:pt x="150" y="138"/>
                      </a:cubicBezTo>
                      <a:cubicBezTo>
                        <a:pt x="145" y="139"/>
                        <a:pt x="140" y="143"/>
                        <a:pt x="134" y="152"/>
                      </a:cubicBezTo>
                      <a:cubicBezTo>
                        <a:pt x="125" y="164"/>
                        <a:pt x="127" y="177"/>
                        <a:pt x="126" y="192"/>
                      </a:cubicBezTo>
                      <a:cubicBezTo>
                        <a:pt x="124" y="220"/>
                        <a:pt x="135" y="202"/>
                        <a:pt x="170" y="228"/>
                      </a:cubicBezTo>
                      <a:cubicBezTo>
                        <a:pt x="199" y="250"/>
                        <a:pt x="222" y="241"/>
                        <a:pt x="210" y="276"/>
                      </a:cubicBezTo>
                      <a:cubicBezTo>
                        <a:pt x="204" y="296"/>
                        <a:pt x="188" y="275"/>
                        <a:pt x="204" y="317"/>
                      </a:cubicBezTo>
                      <a:cubicBezTo>
                        <a:pt x="215" y="345"/>
                        <a:pt x="142" y="322"/>
                        <a:pt x="145" y="337"/>
                      </a:cubicBezTo>
                      <a:cubicBezTo>
                        <a:pt x="146" y="339"/>
                        <a:pt x="171" y="360"/>
                        <a:pt x="122" y="360"/>
                      </a:cubicBezTo>
                      <a:cubicBezTo>
                        <a:pt x="106" y="360"/>
                        <a:pt x="96" y="332"/>
                        <a:pt x="74" y="346"/>
                      </a:cubicBezTo>
                      <a:cubicBezTo>
                        <a:pt x="58" y="355"/>
                        <a:pt x="84" y="354"/>
                        <a:pt x="68" y="372"/>
                      </a:cubicBezTo>
                      <a:cubicBezTo>
                        <a:pt x="45" y="397"/>
                        <a:pt x="81" y="382"/>
                        <a:pt x="85" y="401"/>
                      </a:cubicBezTo>
                      <a:cubicBezTo>
                        <a:pt x="86" y="408"/>
                        <a:pt x="66" y="395"/>
                        <a:pt x="66" y="435"/>
                      </a:cubicBezTo>
                      <a:cubicBezTo>
                        <a:pt x="66" y="464"/>
                        <a:pt x="101" y="460"/>
                        <a:pt x="50" y="458"/>
                      </a:cubicBezTo>
                      <a:cubicBezTo>
                        <a:pt x="39" y="458"/>
                        <a:pt x="41" y="446"/>
                        <a:pt x="17" y="472"/>
                      </a:cubicBezTo>
                      <a:cubicBezTo>
                        <a:pt x="20" y="479"/>
                        <a:pt x="50" y="501"/>
                        <a:pt x="19" y="507"/>
                      </a:cubicBezTo>
                      <a:cubicBezTo>
                        <a:pt x="10" y="509"/>
                        <a:pt x="0" y="501"/>
                        <a:pt x="1" y="517"/>
                      </a:cubicBezTo>
                      <a:cubicBezTo>
                        <a:pt x="2" y="516"/>
                        <a:pt x="3" y="518"/>
                        <a:pt x="10" y="525"/>
                      </a:cubicBezTo>
                      <a:cubicBezTo>
                        <a:pt x="11" y="526"/>
                        <a:pt x="38" y="502"/>
                        <a:pt x="43" y="523"/>
                      </a:cubicBezTo>
                      <a:cubicBezTo>
                        <a:pt x="47" y="541"/>
                        <a:pt x="98" y="516"/>
                        <a:pt x="102" y="532"/>
                      </a:cubicBezTo>
                      <a:cubicBezTo>
                        <a:pt x="109" y="559"/>
                        <a:pt x="125" y="537"/>
                        <a:pt x="127" y="545"/>
                      </a:cubicBezTo>
                      <a:cubicBezTo>
                        <a:pt x="129" y="555"/>
                        <a:pt x="137" y="549"/>
                        <a:pt x="146" y="559"/>
                      </a:cubicBezTo>
                      <a:cubicBezTo>
                        <a:pt x="158" y="572"/>
                        <a:pt x="157" y="568"/>
                        <a:pt x="167" y="563"/>
                      </a:cubicBezTo>
                      <a:cubicBezTo>
                        <a:pt x="172" y="561"/>
                        <a:pt x="179" y="562"/>
                        <a:pt x="186" y="565"/>
                      </a:cubicBezTo>
                      <a:cubicBezTo>
                        <a:pt x="230" y="580"/>
                        <a:pt x="202" y="580"/>
                        <a:pt x="222" y="585"/>
                      </a:cubicBezTo>
                      <a:cubicBezTo>
                        <a:pt x="234" y="588"/>
                        <a:pt x="230" y="588"/>
                        <a:pt x="234" y="593"/>
                      </a:cubicBezTo>
                      <a:cubicBezTo>
                        <a:pt x="246" y="610"/>
                        <a:pt x="260" y="604"/>
                        <a:pt x="267" y="604"/>
                      </a:cubicBezTo>
                      <a:cubicBezTo>
                        <a:pt x="269" y="582"/>
                        <a:pt x="256" y="594"/>
                        <a:pt x="266" y="578"/>
                      </a:cubicBezTo>
                      <a:cubicBezTo>
                        <a:pt x="272" y="569"/>
                        <a:pt x="247" y="562"/>
                        <a:pt x="266" y="540"/>
                      </a:cubicBezTo>
                      <a:cubicBezTo>
                        <a:pt x="272" y="533"/>
                        <a:pt x="305" y="546"/>
                        <a:pt x="303" y="530"/>
                      </a:cubicBezTo>
                      <a:cubicBezTo>
                        <a:pt x="302" y="509"/>
                        <a:pt x="282" y="522"/>
                        <a:pt x="280" y="508"/>
                      </a:cubicBezTo>
                      <a:cubicBezTo>
                        <a:pt x="278" y="493"/>
                        <a:pt x="258" y="496"/>
                        <a:pt x="257" y="494"/>
                      </a:cubicBezTo>
                      <a:cubicBezTo>
                        <a:pt x="253" y="484"/>
                        <a:pt x="297" y="490"/>
                        <a:pt x="302" y="491"/>
                      </a:cubicBezTo>
                      <a:cubicBezTo>
                        <a:pt x="337" y="498"/>
                        <a:pt x="315" y="477"/>
                        <a:pt x="330" y="494"/>
                      </a:cubicBezTo>
                      <a:cubicBezTo>
                        <a:pt x="338" y="503"/>
                        <a:pt x="346" y="490"/>
                        <a:pt x="355" y="486"/>
                      </a:cubicBezTo>
                      <a:cubicBezTo>
                        <a:pt x="355" y="486"/>
                        <a:pt x="355" y="486"/>
                        <a:pt x="355" y="486"/>
                      </a:cubicBezTo>
                      <a:cubicBezTo>
                        <a:pt x="355" y="485"/>
                        <a:pt x="355" y="485"/>
                        <a:pt x="354" y="484"/>
                      </a:cubicBezTo>
                      <a:cubicBezTo>
                        <a:pt x="354" y="444"/>
                        <a:pt x="356" y="472"/>
                        <a:pt x="343" y="452"/>
                      </a:cubicBezTo>
                      <a:cubicBezTo>
                        <a:pt x="338" y="443"/>
                        <a:pt x="333" y="441"/>
                        <a:pt x="334" y="439"/>
                      </a:cubicBezTo>
                      <a:cubicBezTo>
                        <a:pt x="338" y="435"/>
                        <a:pt x="329" y="418"/>
                        <a:pt x="326" y="416"/>
                      </a:cubicBezTo>
                      <a:cubicBezTo>
                        <a:pt x="322" y="413"/>
                        <a:pt x="322" y="399"/>
                        <a:pt x="314" y="389"/>
                      </a:cubicBezTo>
                      <a:cubicBezTo>
                        <a:pt x="313" y="388"/>
                        <a:pt x="312" y="387"/>
                        <a:pt x="310" y="385"/>
                      </a:cubicBezTo>
                      <a:cubicBezTo>
                        <a:pt x="310" y="385"/>
                        <a:pt x="310" y="385"/>
                        <a:pt x="310" y="385"/>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7" name="Gansu" descr="{&quot;Key&quot;:&quot;gansu&quot;,&quot;Name&quot;:&quot;Gansu&quot;,&quot;Value&quot;:1.0,&quot;Formula&quot;:&quot;&quot;,&quot;Text&quot;:&quot;&quot;,&quot;OfficeApplication&quot;:1,&quot;HasValue&quot;:true}">
                  <a:extLst>
                    <a:ext uri="{FF2B5EF4-FFF2-40B4-BE49-F238E27FC236}">
                      <a16:creationId xmlns:a16="http://schemas.microsoft.com/office/drawing/2014/main" id="{351CEC3E-8411-4712-BF93-BBDE3081D0A1}"/>
                    </a:ext>
                  </a:extLst>
                </p:cNvPr>
                <p:cNvSpPr>
                  <a:spLocks/>
                </p:cNvSpPr>
                <p:nvPr/>
              </p:nvSpPr>
              <p:spPr bwMode="auto">
                <a:xfrm>
                  <a:off x="4844256" y="2736850"/>
                  <a:ext cx="1889125" cy="1609725"/>
                </a:xfrm>
                <a:custGeom>
                  <a:avLst/>
                  <a:gdLst>
                    <a:gd name="T0" fmla="*/ 774 w 957"/>
                    <a:gd name="T1" fmla="*/ 587 h 815"/>
                    <a:gd name="T2" fmla="*/ 754 w 957"/>
                    <a:gd name="T3" fmla="*/ 539 h 815"/>
                    <a:gd name="T4" fmla="*/ 719 w 957"/>
                    <a:gd name="T5" fmla="*/ 463 h 815"/>
                    <a:gd name="T6" fmla="*/ 696 w 957"/>
                    <a:gd name="T7" fmla="*/ 441 h 815"/>
                    <a:gd name="T8" fmla="*/ 631 w 957"/>
                    <a:gd name="T9" fmla="*/ 405 h 815"/>
                    <a:gd name="T10" fmla="*/ 678 w 957"/>
                    <a:gd name="T11" fmla="*/ 334 h 815"/>
                    <a:gd name="T12" fmla="*/ 605 w 957"/>
                    <a:gd name="T13" fmla="*/ 312 h 815"/>
                    <a:gd name="T14" fmla="*/ 560 w 957"/>
                    <a:gd name="T15" fmla="*/ 326 h 815"/>
                    <a:gd name="T16" fmla="*/ 490 w 957"/>
                    <a:gd name="T17" fmla="*/ 301 h 815"/>
                    <a:gd name="T18" fmla="*/ 462 w 957"/>
                    <a:gd name="T19" fmla="*/ 261 h 815"/>
                    <a:gd name="T20" fmla="*/ 452 w 957"/>
                    <a:gd name="T21" fmla="*/ 202 h 815"/>
                    <a:gd name="T22" fmla="*/ 374 w 957"/>
                    <a:gd name="T23" fmla="*/ 179 h 815"/>
                    <a:gd name="T24" fmla="*/ 330 w 957"/>
                    <a:gd name="T25" fmla="*/ 119 h 815"/>
                    <a:gd name="T26" fmla="*/ 309 w 957"/>
                    <a:gd name="T27" fmla="*/ 5 h 815"/>
                    <a:gd name="T28" fmla="*/ 261 w 957"/>
                    <a:gd name="T29" fmla="*/ 0 h 815"/>
                    <a:gd name="T30" fmla="*/ 227 w 957"/>
                    <a:gd name="T31" fmla="*/ 58 h 815"/>
                    <a:gd name="T32" fmla="*/ 114 w 957"/>
                    <a:gd name="T33" fmla="*/ 104 h 815"/>
                    <a:gd name="T34" fmla="*/ 28 w 957"/>
                    <a:gd name="T35" fmla="*/ 178 h 815"/>
                    <a:gd name="T36" fmla="*/ 2 w 957"/>
                    <a:gd name="T37" fmla="*/ 243 h 815"/>
                    <a:gd name="T38" fmla="*/ 71 w 957"/>
                    <a:gd name="T39" fmla="*/ 280 h 815"/>
                    <a:gd name="T40" fmla="*/ 119 w 957"/>
                    <a:gd name="T41" fmla="*/ 319 h 815"/>
                    <a:gd name="T42" fmla="*/ 210 w 957"/>
                    <a:gd name="T43" fmla="*/ 338 h 815"/>
                    <a:gd name="T44" fmla="*/ 246 w 957"/>
                    <a:gd name="T45" fmla="*/ 314 h 815"/>
                    <a:gd name="T46" fmla="*/ 324 w 957"/>
                    <a:gd name="T47" fmla="*/ 307 h 815"/>
                    <a:gd name="T48" fmla="*/ 376 w 957"/>
                    <a:gd name="T49" fmla="*/ 298 h 815"/>
                    <a:gd name="T50" fmla="*/ 461 w 957"/>
                    <a:gd name="T51" fmla="*/ 363 h 815"/>
                    <a:gd name="T52" fmla="*/ 512 w 957"/>
                    <a:gd name="T53" fmla="*/ 407 h 815"/>
                    <a:gd name="T54" fmla="*/ 553 w 957"/>
                    <a:gd name="T55" fmla="*/ 433 h 815"/>
                    <a:gd name="T56" fmla="*/ 584 w 957"/>
                    <a:gd name="T57" fmla="*/ 499 h 815"/>
                    <a:gd name="T58" fmla="*/ 594 w 957"/>
                    <a:gd name="T59" fmla="*/ 548 h 815"/>
                    <a:gd name="T60" fmla="*/ 554 w 957"/>
                    <a:gd name="T61" fmla="*/ 603 h 815"/>
                    <a:gd name="T62" fmla="*/ 525 w 957"/>
                    <a:gd name="T63" fmla="*/ 679 h 815"/>
                    <a:gd name="T64" fmla="*/ 480 w 957"/>
                    <a:gd name="T65" fmla="*/ 714 h 815"/>
                    <a:gd name="T66" fmla="*/ 511 w 957"/>
                    <a:gd name="T67" fmla="*/ 724 h 815"/>
                    <a:gd name="T68" fmla="*/ 546 w 957"/>
                    <a:gd name="T69" fmla="*/ 724 h 815"/>
                    <a:gd name="T70" fmla="*/ 555 w 957"/>
                    <a:gd name="T71" fmla="*/ 687 h 815"/>
                    <a:gd name="T72" fmla="*/ 596 w 957"/>
                    <a:gd name="T73" fmla="*/ 697 h 815"/>
                    <a:gd name="T74" fmla="*/ 646 w 957"/>
                    <a:gd name="T75" fmla="*/ 724 h 815"/>
                    <a:gd name="T76" fmla="*/ 721 w 957"/>
                    <a:gd name="T77" fmla="*/ 808 h 815"/>
                    <a:gd name="T78" fmla="*/ 754 w 957"/>
                    <a:gd name="T79" fmla="*/ 789 h 815"/>
                    <a:gd name="T80" fmla="*/ 785 w 957"/>
                    <a:gd name="T81" fmla="*/ 740 h 815"/>
                    <a:gd name="T82" fmla="*/ 820 w 957"/>
                    <a:gd name="T83" fmla="*/ 683 h 815"/>
                    <a:gd name="T84" fmla="*/ 809 w 957"/>
                    <a:gd name="T85" fmla="*/ 628 h 815"/>
                    <a:gd name="T86" fmla="*/ 880 w 957"/>
                    <a:gd name="T87" fmla="*/ 619 h 815"/>
                    <a:gd name="T88" fmla="*/ 945 w 957"/>
                    <a:gd name="T89" fmla="*/ 558 h 815"/>
                    <a:gd name="T90" fmla="*/ 861 w 957"/>
                    <a:gd name="T91" fmla="*/ 474 h 815"/>
                    <a:gd name="T92" fmla="*/ 810 w 957"/>
                    <a:gd name="T93" fmla="*/ 516 h 815"/>
                    <a:gd name="T94" fmla="*/ 826 w 957"/>
                    <a:gd name="T95" fmla="*/ 577 h 815"/>
                    <a:gd name="T96" fmla="*/ 801 w 957"/>
                    <a:gd name="T97" fmla="*/ 609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7" h="815">
                      <a:moveTo>
                        <a:pt x="801" y="609"/>
                      </a:moveTo>
                      <a:cubicBezTo>
                        <a:pt x="798" y="609"/>
                        <a:pt x="774" y="587"/>
                        <a:pt x="774" y="587"/>
                      </a:cubicBezTo>
                      <a:cubicBezTo>
                        <a:pt x="753" y="580"/>
                        <a:pt x="782" y="584"/>
                        <a:pt x="754" y="573"/>
                      </a:cubicBezTo>
                      <a:cubicBezTo>
                        <a:pt x="725" y="563"/>
                        <a:pt x="753" y="544"/>
                        <a:pt x="754" y="539"/>
                      </a:cubicBezTo>
                      <a:cubicBezTo>
                        <a:pt x="754" y="512"/>
                        <a:pt x="723" y="517"/>
                        <a:pt x="744" y="495"/>
                      </a:cubicBezTo>
                      <a:cubicBezTo>
                        <a:pt x="750" y="488"/>
                        <a:pt x="725" y="476"/>
                        <a:pt x="719" y="463"/>
                      </a:cubicBezTo>
                      <a:cubicBezTo>
                        <a:pt x="715" y="454"/>
                        <a:pt x="694" y="463"/>
                        <a:pt x="706" y="455"/>
                      </a:cubicBezTo>
                      <a:cubicBezTo>
                        <a:pt x="718" y="449"/>
                        <a:pt x="704" y="442"/>
                        <a:pt x="696" y="441"/>
                      </a:cubicBezTo>
                      <a:cubicBezTo>
                        <a:pt x="661" y="442"/>
                        <a:pt x="665" y="431"/>
                        <a:pt x="640" y="413"/>
                      </a:cubicBezTo>
                      <a:cubicBezTo>
                        <a:pt x="638" y="410"/>
                        <a:pt x="633" y="408"/>
                        <a:pt x="631" y="405"/>
                      </a:cubicBezTo>
                      <a:cubicBezTo>
                        <a:pt x="624" y="390"/>
                        <a:pt x="646" y="383"/>
                        <a:pt x="639" y="369"/>
                      </a:cubicBezTo>
                      <a:cubicBezTo>
                        <a:pt x="635" y="360"/>
                        <a:pt x="659" y="365"/>
                        <a:pt x="678" y="334"/>
                      </a:cubicBezTo>
                      <a:cubicBezTo>
                        <a:pt x="693" y="309"/>
                        <a:pt x="678" y="320"/>
                        <a:pt x="678" y="298"/>
                      </a:cubicBezTo>
                      <a:cubicBezTo>
                        <a:pt x="677" y="270"/>
                        <a:pt x="619" y="320"/>
                        <a:pt x="605" y="312"/>
                      </a:cubicBezTo>
                      <a:cubicBezTo>
                        <a:pt x="581" y="298"/>
                        <a:pt x="578" y="305"/>
                        <a:pt x="570" y="306"/>
                      </a:cubicBezTo>
                      <a:cubicBezTo>
                        <a:pt x="529" y="307"/>
                        <a:pt x="567" y="319"/>
                        <a:pt x="560" y="326"/>
                      </a:cubicBezTo>
                      <a:cubicBezTo>
                        <a:pt x="539" y="348"/>
                        <a:pt x="543" y="352"/>
                        <a:pt x="506" y="318"/>
                      </a:cubicBezTo>
                      <a:cubicBezTo>
                        <a:pt x="494" y="307"/>
                        <a:pt x="486" y="319"/>
                        <a:pt x="490" y="301"/>
                      </a:cubicBezTo>
                      <a:cubicBezTo>
                        <a:pt x="497" y="278"/>
                        <a:pt x="481" y="283"/>
                        <a:pt x="471" y="271"/>
                      </a:cubicBezTo>
                      <a:cubicBezTo>
                        <a:pt x="466" y="266"/>
                        <a:pt x="464" y="269"/>
                        <a:pt x="462" y="261"/>
                      </a:cubicBezTo>
                      <a:cubicBezTo>
                        <a:pt x="461" y="256"/>
                        <a:pt x="451" y="251"/>
                        <a:pt x="445" y="247"/>
                      </a:cubicBezTo>
                      <a:cubicBezTo>
                        <a:pt x="415" y="224"/>
                        <a:pt x="396" y="255"/>
                        <a:pt x="452" y="202"/>
                      </a:cubicBezTo>
                      <a:cubicBezTo>
                        <a:pt x="486" y="170"/>
                        <a:pt x="457" y="155"/>
                        <a:pt x="410" y="160"/>
                      </a:cubicBezTo>
                      <a:cubicBezTo>
                        <a:pt x="352" y="168"/>
                        <a:pt x="380" y="163"/>
                        <a:pt x="374" y="179"/>
                      </a:cubicBezTo>
                      <a:cubicBezTo>
                        <a:pt x="371" y="186"/>
                        <a:pt x="347" y="182"/>
                        <a:pt x="356" y="164"/>
                      </a:cubicBezTo>
                      <a:cubicBezTo>
                        <a:pt x="361" y="154"/>
                        <a:pt x="337" y="129"/>
                        <a:pt x="330" y="119"/>
                      </a:cubicBezTo>
                      <a:cubicBezTo>
                        <a:pt x="312" y="92"/>
                        <a:pt x="329" y="108"/>
                        <a:pt x="334" y="88"/>
                      </a:cubicBezTo>
                      <a:cubicBezTo>
                        <a:pt x="336" y="79"/>
                        <a:pt x="314" y="18"/>
                        <a:pt x="309" y="5"/>
                      </a:cubicBezTo>
                      <a:cubicBezTo>
                        <a:pt x="293" y="3"/>
                        <a:pt x="278" y="2"/>
                        <a:pt x="269" y="1"/>
                      </a:cubicBezTo>
                      <a:cubicBezTo>
                        <a:pt x="265" y="1"/>
                        <a:pt x="262" y="1"/>
                        <a:pt x="261" y="0"/>
                      </a:cubicBezTo>
                      <a:cubicBezTo>
                        <a:pt x="242" y="16"/>
                        <a:pt x="241" y="14"/>
                        <a:pt x="247" y="39"/>
                      </a:cubicBezTo>
                      <a:cubicBezTo>
                        <a:pt x="249" y="47"/>
                        <a:pt x="254" y="58"/>
                        <a:pt x="227" y="58"/>
                      </a:cubicBezTo>
                      <a:cubicBezTo>
                        <a:pt x="204" y="59"/>
                        <a:pt x="206" y="72"/>
                        <a:pt x="195" y="65"/>
                      </a:cubicBezTo>
                      <a:cubicBezTo>
                        <a:pt x="171" y="49"/>
                        <a:pt x="128" y="87"/>
                        <a:pt x="114" y="104"/>
                      </a:cubicBezTo>
                      <a:cubicBezTo>
                        <a:pt x="106" y="114"/>
                        <a:pt x="75" y="147"/>
                        <a:pt x="63" y="142"/>
                      </a:cubicBezTo>
                      <a:cubicBezTo>
                        <a:pt x="28" y="127"/>
                        <a:pt x="41" y="142"/>
                        <a:pt x="28" y="178"/>
                      </a:cubicBezTo>
                      <a:cubicBezTo>
                        <a:pt x="21" y="198"/>
                        <a:pt x="33" y="215"/>
                        <a:pt x="12" y="230"/>
                      </a:cubicBezTo>
                      <a:cubicBezTo>
                        <a:pt x="0" y="239"/>
                        <a:pt x="2" y="243"/>
                        <a:pt x="2" y="243"/>
                      </a:cubicBezTo>
                      <a:cubicBezTo>
                        <a:pt x="12" y="252"/>
                        <a:pt x="33" y="253"/>
                        <a:pt x="34" y="268"/>
                      </a:cubicBezTo>
                      <a:cubicBezTo>
                        <a:pt x="35" y="278"/>
                        <a:pt x="90" y="272"/>
                        <a:pt x="71" y="280"/>
                      </a:cubicBezTo>
                      <a:cubicBezTo>
                        <a:pt x="55" y="287"/>
                        <a:pt x="78" y="289"/>
                        <a:pt x="89" y="286"/>
                      </a:cubicBezTo>
                      <a:cubicBezTo>
                        <a:pt x="107" y="282"/>
                        <a:pt x="97" y="321"/>
                        <a:pt x="119" y="319"/>
                      </a:cubicBezTo>
                      <a:cubicBezTo>
                        <a:pt x="173" y="312"/>
                        <a:pt x="138" y="323"/>
                        <a:pt x="184" y="332"/>
                      </a:cubicBezTo>
                      <a:cubicBezTo>
                        <a:pt x="197" y="335"/>
                        <a:pt x="199" y="325"/>
                        <a:pt x="210" y="338"/>
                      </a:cubicBezTo>
                      <a:cubicBezTo>
                        <a:pt x="223" y="354"/>
                        <a:pt x="224" y="335"/>
                        <a:pt x="234" y="338"/>
                      </a:cubicBezTo>
                      <a:cubicBezTo>
                        <a:pt x="249" y="343"/>
                        <a:pt x="235" y="320"/>
                        <a:pt x="246" y="314"/>
                      </a:cubicBezTo>
                      <a:cubicBezTo>
                        <a:pt x="273" y="301"/>
                        <a:pt x="241" y="236"/>
                        <a:pt x="297" y="285"/>
                      </a:cubicBezTo>
                      <a:cubicBezTo>
                        <a:pt x="324" y="307"/>
                        <a:pt x="324" y="307"/>
                        <a:pt x="324" y="307"/>
                      </a:cubicBezTo>
                      <a:cubicBezTo>
                        <a:pt x="333" y="309"/>
                        <a:pt x="333" y="289"/>
                        <a:pt x="344" y="295"/>
                      </a:cubicBezTo>
                      <a:cubicBezTo>
                        <a:pt x="360" y="303"/>
                        <a:pt x="365" y="281"/>
                        <a:pt x="376" y="298"/>
                      </a:cubicBezTo>
                      <a:cubicBezTo>
                        <a:pt x="381" y="305"/>
                        <a:pt x="442" y="376"/>
                        <a:pt x="441" y="353"/>
                      </a:cubicBezTo>
                      <a:cubicBezTo>
                        <a:pt x="441" y="329"/>
                        <a:pt x="452" y="360"/>
                        <a:pt x="461" y="363"/>
                      </a:cubicBezTo>
                      <a:cubicBezTo>
                        <a:pt x="470" y="366"/>
                        <a:pt x="460" y="368"/>
                        <a:pt x="482" y="384"/>
                      </a:cubicBezTo>
                      <a:cubicBezTo>
                        <a:pt x="497" y="395"/>
                        <a:pt x="489" y="385"/>
                        <a:pt x="512" y="407"/>
                      </a:cubicBezTo>
                      <a:cubicBezTo>
                        <a:pt x="542" y="437"/>
                        <a:pt x="532" y="410"/>
                        <a:pt x="545" y="410"/>
                      </a:cubicBezTo>
                      <a:cubicBezTo>
                        <a:pt x="555" y="410"/>
                        <a:pt x="547" y="429"/>
                        <a:pt x="553" y="433"/>
                      </a:cubicBezTo>
                      <a:cubicBezTo>
                        <a:pt x="603" y="466"/>
                        <a:pt x="559" y="459"/>
                        <a:pt x="583" y="483"/>
                      </a:cubicBezTo>
                      <a:cubicBezTo>
                        <a:pt x="589" y="489"/>
                        <a:pt x="573" y="488"/>
                        <a:pt x="584" y="499"/>
                      </a:cubicBezTo>
                      <a:cubicBezTo>
                        <a:pt x="592" y="508"/>
                        <a:pt x="587" y="514"/>
                        <a:pt x="597" y="522"/>
                      </a:cubicBezTo>
                      <a:cubicBezTo>
                        <a:pt x="609" y="531"/>
                        <a:pt x="594" y="537"/>
                        <a:pt x="594" y="548"/>
                      </a:cubicBezTo>
                      <a:cubicBezTo>
                        <a:pt x="594" y="562"/>
                        <a:pt x="581" y="553"/>
                        <a:pt x="581" y="570"/>
                      </a:cubicBezTo>
                      <a:cubicBezTo>
                        <a:pt x="581" y="589"/>
                        <a:pt x="546" y="576"/>
                        <a:pt x="554" y="603"/>
                      </a:cubicBezTo>
                      <a:cubicBezTo>
                        <a:pt x="558" y="616"/>
                        <a:pt x="504" y="622"/>
                        <a:pt x="523" y="645"/>
                      </a:cubicBezTo>
                      <a:cubicBezTo>
                        <a:pt x="547" y="673"/>
                        <a:pt x="546" y="654"/>
                        <a:pt x="525" y="679"/>
                      </a:cubicBezTo>
                      <a:cubicBezTo>
                        <a:pt x="507" y="700"/>
                        <a:pt x="462" y="635"/>
                        <a:pt x="450" y="670"/>
                      </a:cubicBezTo>
                      <a:cubicBezTo>
                        <a:pt x="449" y="673"/>
                        <a:pt x="476" y="713"/>
                        <a:pt x="480" y="714"/>
                      </a:cubicBezTo>
                      <a:cubicBezTo>
                        <a:pt x="495" y="718"/>
                        <a:pt x="495" y="712"/>
                        <a:pt x="504" y="727"/>
                      </a:cubicBezTo>
                      <a:cubicBezTo>
                        <a:pt x="505" y="724"/>
                        <a:pt x="507" y="723"/>
                        <a:pt x="511" y="724"/>
                      </a:cubicBezTo>
                      <a:cubicBezTo>
                        <a:pt x="522" y="726"/>
                        <a:pt x="496" y="770"/>
                        <a:pt x="521" y="752"/>
                      </a:cubicBezTo>
                      <a:cubicBezTo>
                        <a:pt x="545" y="735"/>
                        <a:pt x="554" y="734"/>
                        <a:pt x="546" y="724"/>
                      </a:cubicBezTo>
                      <a:cubicBezTo>
                        <a:pt x="524" y="698"/>
                        <a:pt x="546" y="696"/>
                        <a:pt x="549" y="693"/>
                      </a:cubicBezTo>
                      <a:cubicBezTo>
                        <a:pt x="552" y="691"/>
                        <a:pt x="548" y="689"/>
                        <a:pt x="555" y="687"/>
                      </a:cubicBezTo>
                      <a:cubicBezTo>
                        <a:pt x="574" y="684"/>
                        <a:pt x="568" y="664"/>
                        <a:pt x="585" y="679"/>
                      </a:cubicBezTo>
                      <a:cubicBezTo>
                        <a:pt x="593" y="685"/>
                        <a:pt x="599" y="687"/>
                        <a:pt x="596" y="697"/>
                      </a:cubicBezTo>
                      <a:cubicBezTo>
                        <a:pt x="588" y="720"/>
                        <a:pt x="614" y="718"/>
                        <a:pt x="617" y="720"/>
                      </a:cubicBezTo>
                      <a:cubicBezTo>
                        <a:pt x="627" y="727"/>
                        <a:pt x="635" y="722"/>
                        <a:pt x="646" y="724"/>
                      </a:cubicBezTo>
                      <a:cubicBezTo>
                        <a:pt x="659" y="727"/>
                        <a:pt x="674" y="769"/>
                        <a:pt x="664" y="784"/>
                      </a:cubicBezTo>
                      <a:cubicBezTo>
                        <a:pt x="656" y="797"/>
                        <a:pt x="708" y="815"/>
                        <a:pt x="721" y="808"/>
                      </a:cubicBezTo>
                      <a:cubicBezTo>
                        <a:pt x="729" y="803"/>
                        <a:pt x="733" y="800"/>
                        <a:pt x="736" y="799"/>
                      </a:cubicBezTo>
                      <a:cubicBezTo>
                        <a:pt x="735" y="783"/>
                        <a:pt x="745" y="791"/>
                        <a:pt x="754" y="789"/>
                      </a:cubicBezTo>
                      <a:cubicBezTo>
                        <a:pt x="785" y="783"/>
                        <a:pt x="755" y="761"/>
                        <a:pt x="752" y="754"/>
                      </a:cubicBezTo>
                      <a:cubicBezTo>
                        <a:pt x="776" y="728"/>
                        <a:pt x="774" y="740"/>
                        <a:pt x="785" y="740"/>
                      </a:cubicBezTo>
                      <a:cubicBezTo>
                        <a:pt x="836" y="742"/>
                        <a:pt x="801" y="746"/>
                        <a:pt x="801" y="717"/>
                      </a:cubicBezTo>
                      <a:cubicBezTo>
                        <a:pt x="801" y="677"/>
                        <a:pt x="821" y="690"/>
                        <a:pt x="820" y="683"/>
                      </a:cubicBezTo>
                      <a:cubicBezTo>
                        <a:pt x="816" y="664"/>
                        <a:pt x="780" y="679"/>
                        <a:pt x="803" y="654"/>
                      </a:cubicBezTo>
                      <a:cubicBezTo>
                        <a:pt x="819" y="636"/>
                        <a:pt x="793" y="637"/>
                        <a:pt x="809" y="628"/>
                      </a:cubicBezTo>
                      <a:cubicBezTo>
                        <a:pt x="831" y="614"/>
                        <a:pt x="841" y="642"/>
                        <a:pt x="857" y="642"/>
                      </a:cubicBezTo>
                      <a:cubicBezTo>
                        <a:pt x="906" y="642"/>
                        <a:pt x="881" y="621"/>
                        <a:pt x="880" y="619"/>
                      </a:cubicBezTo>
                      <a:cubicBezTo>
                        <a:pt x="877" y="604"/>
                        <a:pt x="950" y="627"/>
                        <a:pt x="939" y="599"/>
                      </a:cubicBezTo>
                      <a:cubicBezTo>
                        <a:pt x="923" y="557"/>
                        <a:pt x="939" y="578"/>
                        <a:pt x="945" y="558"/>
                      </a:cubicBezTo>
                      <a:cubicBezTo>
                        <a:pt x="957" y="523"/>
                        <a:pt x="934" y="532"/>
                        <a:pt x="905" y="510"/>
                      </a:cubicBezTo>
                      <a:cubicBezTo>
                        <a:pt x="870" y="484"/>
                        <a:pt x="859" y="502"/>
                        <a:pt x="861" y="474"/>
                      </a:cubicBezTo>
                      <a:cubicBezTo>
                        <a:pt x="809" y="478"/>
                        <a:pt x="825" y="463"/>
                        <a:pt x="822" y="495"/>
                      </a:cubicBezTo>
                      <a:cubicBezTo>
                        <a:pt x="821" y="503"/>
                        <a:pt x="802" y="509"/>
                        <a:pt x="810" y="516"/>
                      </a:cubicBezTo>
                      <a:cubicBezTo>
                        <a:pt x="823" y="529"/>
                        <a:pt x="800" y="533"/>
                        <a:pt x="817" y="535"/>
                      </a:cubicBezTo>
                      <a:cubicBezTo>
                        <a:pt x="850" y="538"/>
                        <a:pt x="839" y="578"/>
                        <a:pt x="826" y="577"/>
                      </a:cubicBezTo>
                      <a:cubicBezTo>
                        <a:pt x="811" y="576"/>
                        <a:pt x="812" y="565"/>
                        <a:pt x="807" y="591"/>
                      </a:cubicBezTo>
                      <a:cubicBezTo>
                        <a:pt x="806" y="593"/>
                        <a:pt x="816" y="610"/>
                        <a:pt x="801" y="609"/>
                      </a:cubicBezTo>
                      <a:cubicBezTo>
                        <a:pt x="801" y="609"/>
                        <a:pt x="801" y="609"/>
                        <a:pt x="801" y="609"/>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8" name="Hubei" descr="{&quot;Key&quot;:&quot;hubei&quot;,&quot;Name&quot;:&quot;Hubei&quot;,&quot;Value&quot;:1.0,&quot;Formula&quot;:&quot;&quot;,&quot;Text&quot;:&quot;&quot;,&quot;OfficeApplication&quot;:1,&quot;HasValue&quot;:true}">
                  <a:extLst>
                    <a:ext uri="{FF2B5EF4-FFF2-40B4-BE49-F238E27FC236}">
                      <a16:creationId xmlns:a16="http://schemas.microsoft.com/office/drawing/2014/main" id="{88635A1B-7722-486B-AA0C-07307900288D}"/>
                    </a:ext>
                  </a:extLst>
                </p:cNvPr>
                <p:cNvSpPr>
                  <a:spLocks/>
                </p:cNvSpPr>
                <p:nvPr/>
              </p:nvSpPr>
              <p:spPr bwMode="auto">
                <a:xfrm>
                  <a:off x="6654006" y="4235450"/>
                  <a:ext cx="1028700" cy="652463"/>
                </a:xfrm>
                <a:custGeom>
                  <a:avLst/>
                  <a:gdLst>
                    <a:gd name="T0" fmla="*/ 84 w 521"/>
                    <a:gd name="T1" fmla="*/ 63 h 331"/>
                    <a:gd name="T2" fmla="*/ 84 w 521"/>
                    <a:gd name="T3" fmla="*/ 101 h 331"/>
                    <a:gd name="T4" fmla="*/ 85 w 521"/>
                    <a:gd name="T5" fmla="*/ 127 h 331"/>
                    <a:gd name="T6" fmla="*/ 91 w 521"/>
                    <a:gd name="T7" fmla="*/ 131 h 331"/>
                    <a:gd name="T8" fmla="*/ 96 w 521"/>
                    <a:gd name="T9" fmla="*/ 139 h 331"/>
                    <a:gd name="T10" fmla="*/ 120 w 521"/>
                    <a:gd name="T11" fmla="*/ 173 h 331"/>
                    <a:gd name="T12" fmla="*/ 103 w 521"/>
                    <a:gd name="T13" fmla="*/ 193 h 331"/>
                    <a:gd name="T14" fmla="*/ 48 w 521"/>
                    <a:gd name="T15" fmla="*/ 214 h 331"/>
                    <a:gd name="T16" fmla="*/ 38 w 521"/>
                    <a:gd name="T17" fmla="*/ 215 h 331"/>
                    <a:gd name="T18" fmla="*/ 11 w 521"/>
                    <a:gd name="T19" fmla="*/ 222 h 331"/>
                    <a:gd name="T20" fmla="*/ 12 w 521"/>
                    <a:gd name="T21" fmla="*/ 237 h 331"/>
                    <a:gd name="T22" fmla="*/ 10 w 521"/>
                    <a:gd name="T23" fmla="*/ 264 h 331"/>
                    <a:gd name="T24" fmla="*/ 14 w 521"/>
                    <a:gd name="T25" fmla="*/ 274 h 331"/>
                    <a:gd name="T26" fmla="*/ 24 w 521"/>
                    <a:gd name="T27" fmla="*/ 282 h 331"/>
                    <a:gd name="T28" fmla="*/ 44 w 521"/>
                    <a:gd name="T29" fmla="*/ 307 h 331"/>
                    <a:gd name="T30" fmla="*/ 54 w 521"/>
                    <a:gd name="T31" fmla="*/ 325 h 331"/>
                    <a:gd name="T32" fmla="*/ 56 w 521"/>
                    <a:gd name="T33" fmla="*/ 326 h 331"/>
                    <a:gd name="T34" fmla="*/ 78 w 521"/>
                    <a:gd name="T35" fmla="*/ 290 h 331"/>
                    <a:gd name="T36" fmla="*/ 127 w 521"/>
                    <a:gd name="T37" fmla="*/ 281 h 331"/>
                    <a:gd name="T38" fmla="*/ 151 w 521"/>
                    <a:gd name="T39" fmla="*/ 277 h 331"/>
                    <a:gd name="T40" fmla="*/ 145 w 521"/>
                    <a:gd name="T41" fmla="*/ 257 h 331"/>
                    <a:gd name="T42" fmla="*/ 159 w 521"/>
                    <a:gd name="T43" fmla="*/ 254 h 331"/>
                    <a:gd name="T44" fmla="*/ 178 w 521"/>
                    <a:gd name="T45" fmla="*/ 254 h 331"/>
                    <a:gd name="T46" fmla="*/ 219 w 521"/>
                    <a:gd name="T47" fmla="*/ 266 h 331"/>
                    <a:gd name="T48" fmla="*/ 259 w 521"/>
                    <a:gd name="T49" fmla="*/ 286 h 331"/>
                    <a:gd name="T50" fmla="*/ 280 w 521"/>
                    <a:gd name="T51" fmla="*/ 286 h 331"/>
                    <a:gd name="T52" fmla="*/ 302 w 521"/>
                    <a:gd name="T53" fmla="*/ 273 h 331"/>
                    <a:gd name="T54" fmla="*/ 309 w 521"/>
                    <a:gd name="T55" fmla="*/ 287 h 331"/>
                    <a:gd name="T56" fmla="*/ 344 w 521"/>
                    <a:gd name="T57" fmla="*/ 271 h 331"/>
                    <a:gd name="T58" fmla="*/ 350 w 521"/>
                    <a:gd name="T59" fmla="*/ 279 h 331"/>
                    <a:gd name="T60" fmla="*/ 357 w 521"/>
                    <a:gd name="T61" fmla="*/ 317 h 331"/>
                    <a:gd name="T62" fmla="*/ 377 w 521"/>
                    <a:gd name="T63" fmla="*/ 331 h 331"/>
                    <a:gd name="T64" fmla="*/ 397 w 521"/>
                    <a:gd name="T65" fmla="*/ 306 h 331"/>
                    <a:gd name="T66" fmla="*/ 420 w 521"/>
                    <a:gd name="T67" fmla="*/ 299 h 331"/>
                    <a:gd name="T68" fmla="*/ 452 w 521"/>
                    <a:gd name="T69" fmla="*/ 284 h 331"/>
                    <a:gd name="T70" fmla="*/ 460 w 521"/>
                    <a:gd name="T71" fmla="*/ 275 h 331"/>
                    <a:gd name="T72" fmla="*/ 480 w 521"/>
                    <a:gd name="T73" fmla="*/ 260 h 331"/>
                    <a:gd name="T74" fmla="*/ 521 w 521"/>
                    <a:gd name="T75" fmla="*/ 258 h 331"/>
                    <a:gd name="T76" fmla="*/ 517 w 521"/>
                    <a:gd name="T77" fmla="*/ 249 h 331"/>
                    <a:gd name="T78" fmla="*/ 502 w 521"/>
                    <a:gd name="T79" fmla="*/ 216 h 331"/>
                    <a:gd name="T80" fmla="*/ 493 w 521"/>
                    <a:gd name="T81" fmla="*/ 187 h 331"/>
                    <a:gd name="T82" fmla="*/ 500 w 521"/>
                    <a:gd name="T83" fmla="*/ 162 h 331"/>
                    <a:gd name="T84" fmla="*/ 474 w 521"/>
                    <a:gd name="T85" fmla="*/ 154 h 331"/>
                    <a:gd name="T86" fmla="*/ 461 w 521"/>
                    <a:gd name="T87" fmla="*/ 143 h 331"/>
                    <a:gd name="T88" fmla="*/ 453 w 521"/>
                    <a:gd name="T89" fmla="*/ 140 h 331"/>
                    <a:gd name="T90" fmla="*/ 428 w 521"/>
                    <a:gd name="T91" fmla="*/ 138 h 331"/>
                    <a:gd name="T92" fmla="*/ 409 w 521"/>
                    <a:gd name="T93" fmla="*/ 122 h 331"/>
                    <a:gd name="T94" fmla="*/ 382 w 521"/>
                    <a:gd name="T95" fmla="*/ 114 h 331"/>
                    <a:gd name="T96" fmla="*/ 365 w 521"/>
                    <a:gd name="T97" fmla="*/ 113 h 331"/>
                    <a:gd name="T98" fmla="*/ 353 w 521"/>
                    <a:gd name="T99" fmla="*/ 98 h 331"/>
                    <a:gd name="T100" fmla="*/ 344 w 521"/>
                    <a:gd name="T101" fmla="*/ 72 h 331"/>
                    <a:gd name="T102" fmla="*/ 296 w 521"/>
                    <a:gd name="T103" fmla="*/ 73 h 331"/>
                    <a:gd name="T104" fmla="*/ 265 w 521"/>
                    <a:gd name="T105" fmla="*/ 76 h 331"/>
                    <a:gd name="T106" fmla="*/ 217 w 521"/>
                    <a:gd name="T107" fmla="*/ 59 h 331"/>
                    <a:gd name="T108" fmla="*/ 189 w 521"/>
                    <a:gd name="T109" fmla="*/ 32 h 331"/>
                    <a:gd name="T110" fmla="*/ 173 w 521"/>
                    <a:gd name="T111" fmla="*/ 9 h 331"/>
                    <a:gd name="T112" fmla="*/ 148 w 521"/>
                    <a:gd name="T113" fmla="*/ 17 h 331"/>
                    <a:gd name="T114" fmla="*/ 120 w 521"/>
                    <a:gd name="T115" fmla="*/ 14 h 331"/>
                    <a:gd name="T116" fmla="*/ 75 w 521"/>
                    <a:gd name="T117" fmla="*/ 17 h 331"/>
                    <a:gd name="T118" fmla="*/ 98 w 521"/>
                    <a:gd name="T119" fmla="*/ 31 h 331"/>
                    <a:gd name="T120" fmla="*/ 121 w 521"/>
                    <a:gd name="T121" fmla="*/ 53 h 331"/>
                    <a:gd name="T122" fmla="*/ 84 w 521"/>
                    <a:gd name="T123" fmla="*/ 63 h 331"/>
                    <a:gd name="T124" fmla="*/ 84 w 521"/>
                    <a:gd name="T125" fmla="*/ 6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1" h="331">
                      <a:moveTo>
                        <a:pt x="84" y="63"/>
                      </a:moveTo>
                      <a:cubicBezTo>
                        <a:pt x="65" y="85"/>
                        <a:pt x="90" y="92"/>
                        <a:pt x="84" y="101"/>
                      </a:cubicBezTo>
                      <a:cubicBezTo>
                        <a:pt x="74" y="117"/>
                        <a:pt x="87" y="105"/>
                        <a:pt x="85" y="127"/>
                      </a:cubicBezTo>
                      <a:cubicBezTo>
                        <a:pt x="88" y="127"/>
                        <a:pt x="90" y="128"/>
                        <a:pt x="91" y="131"/>
                      </a:cubicBezTo>
                      <a:cubicBezTo>
                        <a:pt x="97" y="141"/>
                        <a:pt x="88" y="139"/>
                        <a:pt x="96" y="139"/>
                      </a:cubicBezTo>
                      <a:cubicBezTo>
                        <a:pt x="102" y="139"/>
                        <a:pt x="127" y="155"/>
                        <a:pt x="120" y="173"/>
                      </a:cubicBezTo>
                      <a:cubicBezTo>
                        <a:pt x="115" y="184"/>
                        <a:pt x="120" y="197"/>
                        <a:pt x="103" y="193"/>
                      </a:cubicBezTo>
                      <a:cubicBezTo>
                        <a:pt x="86" y="188"/>
                        <a:pt x="74" y="232"/>
                        <a:pt x="48" y="214"/>
                      </a:cubicBezTo>
                      <a:cubicBezTo>
                        <a:pt x="44" y="212"/>
                        <a:pt x="41" y="210"/>
                        <a:pt x="38" y="215"/>
                      </a:cubicBezTo>
                      <a:cubicBezTo>
                        <a:pt x="29" y="226"/>
                        <a:pt x="27" y="215"/>
                        <a:pt x="11" y="222"/>
                      </a:cubicBezTo>
                      <a:cubicBezTo>
                        <a:pt x="0" y="227"/>
                        <a:pt x="5" y="231"/>
                        <a:pt x="12" y="237"/>
                      </a:cubicBezTo>
                      <a:cubicBezTo>
                        <a:pt x="15" y="241"/>
                        <a:pt x="14" y="260"/>
                        <a:pt x="10" y="264"/>
                      </a:cubicBezTo>
                      <a:cubicBezTo>
                        <a:pt x="0" y="275"/>
                        <a:pt x="8" y="283"/>
                        <a:pt x="14" y="274"/>
                      </a:cubicBezTo>
                      <a:cubicBezTo>
                        <a:pt x="20" y="265"/>
                        <a:pt x="20" y="280"/>
                        <a:pt x="24" y="282"/>
                      </a:cubicBezTo>
                      <a:cubicBezTo>
                        <a:pt x="33" y="289"/>
                        <a:pt x="33" y="305"/>
                        <a:pt x="44" y="307"/>
                      </a:cubicBezTo>
                      <a:cubicBezTo>
                        <a:pt x="51" y="308"/>
                        <a:pt x="48" y="320"/>
                        <a:pt x="54" y="325"/>
                      </a:cubicBezTo>
                      <a:cubicBezTo>
                        <a:pt x="55" y="325"/>
                        <a:pt x="56" y="326"/>
                        <a:pt x="56" y="326"/>
                      </a:cubicBezTo>
                      <a:cubicBezTo>
                        <a:pt x="61" y="322"/>
                        <a:pt x="74" y="290"/>
                        <a:pt x="78" y="290"/>
                      </a:cubicBezTo>
                      <a:cubicBezTo>
                        <a:pt x="93" y="287"/>
                        <a:pt x="112" y="265"/>
                        <a:pt x="127" y="281"/>
                      </a:cubicBezTo>
                      <a:cubicBezTo>
                        <a:pt x="137" y="292"/>
                        <a:pt x="152" y="278"/>
                        <a:pt x="151" y="277"/>
                      </a:cubicBezTo>
                      <a:cubicBezTo>
                        <a:pt x="152" y="272"/>
                        <a:pt x="143" y="270"/>
                        <a:pt x="145" y="257"/>
                      </a:cubicBezTo>
                      <a:cubicBezTo>
                        <a:pt x="149" y="255"/>
                        <a:pt x="155" y="256"/>
                        <a:pt x="159" y="254"/>
                      </a:cubicBezTo>
                      <a:cubicBezTo>
                        <a:pt x="162" y="247"/>
                        <a:pt x="172" y="254"/>
                        <a:pt x="178" y="254"/>
                      </a:cubicBezTo>
                      <a:cubicBezTo>
                        <a:pt x="193" y="256"/>
                        <a:pt x="204" y="266"/>
                        <a:pt x="219" y="266"/>
                      </a:cubicBezTo>
                      <a:cubicBezTo>
                        <a:pt x="233" y="266"/>
                        <a:pt x="255" y="281"/>
                        <a:pt x="259" y="286"/>
                      </a:cubicBezTo>
                      <a:cubicBezTo>
                        <a:pt x="267" y="295"/>
                        <a:pt x="270" y="286"/>
                        <a:pt x="280" y="286"/>
                      </a:cubicBezTo>
                      <a:cubicBezTo>
                        <a:pt x="301" y="286"/>
                        <a:pt x="293" y="275"/>
                        <a:pt x="302" y="273"/>
                      </a:cubicBezTo>
                      <a:cubicBezTo>
                        <a:pt x="318" y="269"/>
                        <a:pt x="309" y="282"/>
                        <a:pt x="309" y="287"/>
                      </a:cubicBezTo>
                      <a:cubicBezTo>
                        <a:pt x="309" y="320"/>
                        <a:pt x="338" y="278"/>
                        <a:pt x="344" y="271"/>
                      </a:cubicBezTo>
                      <a:cubicBezTo>
                        <a:pt x="354" y="257"/>
                        <a:pt x="344" y="276"/>
                        <a:pt x="350" y="279"/>
                      </a:cubicBezTo>
                      <a:cubicBezTo>
                        <a:pt x="375" y="294"/>
                        <a:pt x="356" y="295"/>
                        <a:pt x="357" y="317"/>
                      </a:cubicBezTo>
                      <a:cubicBezTo>
                        <a:pt x="357" y="321"/>
                        <a:pt x="368" y="324"/>
                        <a:pt x="377" y="331"/>
                      </a:cubicBezTo>
                      <a:cubicBezTo>
                        <a:pt x="376" y="313"/>
                        <a:pt x="388" y="318"/>
                        <a:pt x="397" y="306"/>
                      </a:cubicBezTo>
                      <a:cubicBezTo>
                        <a:pt x="397" y="305"/>
                        <a:pt x="420" y="299"/>
                        <a:pt x="420" y="299"/>
                      </a:cubicBezTo>
                      <a:cubicBezTo>
                        <a:pt x="442" y="299"/>
                        <a:pt x="442" y="273"/>
                        <a:pt x="452" y="284"/>
                      </a:cubicBezTo>
                      <a:cubicBezTo>
                        <a:pt x="459" y="291"/>
                        <a:pt x="453" y="275"/>
                        <a:pt x="460" y="275"/>
                      </a:cubicBezTo>
                      <a:cubicBezTo>
                        <a:pt x="481" y="275"/>
                        <a:pt x="473" y="264"/>
                        <a:pt x="480" y="260"/>
                      </a:cubicBezTo>
                      <a:cubicBezTo>
                        <a:pt x="500" y="250"/>
                        <a:pt x="493" y="283"/>
                        <a:pt x="521" y="258"/>
                      </a:cubicBezTo>
                      <a:cubicBezTo>
                        <a:pt x="519" y="257"/>
                        <a:pt x="518" y="254"/>
                        <a:pt x="517" y="249"/>
                      </a:cubicBezTo>
                      <a:cubicBezTo>
                        <a:pt x="506" y="207"/>
                        <a:pt x="505" y="234"/>
                        <a:pt x="502" y="216"/>
                      </a:cubicBezTo>
                      <a:cubicBezTo>
                        <a:pt x="500" y="206"/>
                        <a:pt x="489" y="195"/>
                        <a:pt x="493" y="187"/>
                      </a:cubicBezTo>
                      <a:cubicBezTo>
                        <a:pt x="505" y="165"/>
                        <a:pt x="516" y="175"/>
                        <a:pt x="500" y="162"/>
                      </a:cubicBezTo>
                      <a:cubicBezTo>
                        <a:pt x="489" y="154"/>
                        <a:pt x="476" y="159"/>
                        <a:pt x="474" y="154"/>
                      </a:cubicBezTo>
                      <a:cubicBezTo>
                        <a:pt x="470" y="149"/>
                        <a:pt x="465" y="145"/>
                        <a:pt x="461" y="143"/>
                      </a:cubicBezTo>
                      <a:cubicBezTo>
                        <a:pt x="457" y="142"/>
                        <a:pt x="454" y="141"/>
                        <a:pt x="453" y="140"/>
                      </a:cubicBezTo>
                      <a:cubicBezTo>
                        <a:pt x="449" y="109"/>
                        <a:pt x="442" y="145"/>
                        <a:pt x="428" y="138"/>
                      </a:cubicBezTo>
                      <a:cubicBezTo>
                        <a:pt x="416" y="132"/>
                        <a:pt x="412" y="134"/>
                        <a:pt x="409" y="122"/>
                      </a:cubicBezTo>
                      <a:cubicBezTo>
                        <a:pt x="409" y="120"/>
                        <a:pt x="384" y="113"/>
                        <a:pt x="382" y="114"/>
                      </a:cubicBezTo>
                      <a:cubicBezTo>
                        <a:pt x="363" y="121"/>
                        <a:pt x="377" y="120"/>
                        <a:pt x="365" y="113"/>
                      </a:cubicBezTo>
                      <a:cubicBezTo>
                        <a:pt x="361" y="110"/>
                        <a:pt x="356" y="102"/>
                        <a:pt x="353" y="98"/>
                      </a:cubicBezTo>
                      <a:cubicBezTo>
                        <a:pt x="351" y="96"/>
                        <a:pt x="360" y="60"/>
                        <a:pt x="344" y="72"/>
                      </a:cubicBezTo>
                      <a:cubicBezTo>
                        <a:pt x="320" y="91"/>
                        <a:pt x="323" y="62"/>
                        <a:pt x="296" y="73"/>
                      </a:cubicBezTo>
                      <a:cubicBezTo>
                        <a:pt x="282" y="79"/>
                        <a:pt x="281" y="69"/>
                        <a:pt x="265" y="76"/>
                      </a:cubicBezTo>
                      <a:cubicBezTo>
                        <a:pt x="251" y="83"/>
                        <a:pt x="233" y="59"/>
                        <a:pt x="217" y="59"/>
                      </a:cubicBezTo>
                      <a:cubicBezTo>
                        <a:pt x="208" y="59"/>
                        <a:pt x="192" y="40"/>
                        <a:pt x="189" y="32"/>
                      </a:cubicBezTo>
                      <a:cubicBezTo>
                        <a:pt x="184" y="15"/>
                        <a:pt x="175" y="15"/>
                        <a:pt x="173" y="9"/>
                      </a:cubicBezTo>
                      <a:cubicBezTo>
                        <a:pt x="164" y="13"/>
                        <a:pt x="156" y="26"/>
                        <a:pt x="148" y="17"/>
                      </a:cubicBezTo>
                      <a:cubicBezTo>
                        <a:pt x="133" y="0"/>
                        <a:pt x="155" y="21"/>
                        <a:pt x="120" y="14"/>
                      </a:cubicBezTo>
                      <a:cubicBezTo>
                        <a:pt x="115" y="13"/>
                        <a:pt x="71" y="7"/>
                        <a:pt x="75" y="17"/>
                      </a:cubicBezTo>
                      <a:cubicBezTo>
                        <a:pt x="76" y="19"/>
                        <a:pt x="96" y="16"/>
                        <a:pt x="98" y="31"/>
                      </a:cubicBezTo>
                      <a:cubicBezTo>
                        <a:pt x="100" y="45"/>
                        <a:pt x="120" y="32"/>
                        <a:pt x="121" y="53"/>
                      </a:cubicBezTo>
                      <a:cubicBezTo>
                        <a:pt x="123" y="69"/>
                        <a:pt x="90" y="56"/>
                        <a:pt x="84" y="63"/>
                      </a:cubicBezTo>
                      <a:cubicBezTo>
                        <a:pt x="84" y="63"/>
                        <a:pt x="84" y="63"/>
                        <a:pt x="84" y="63"/>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89" name="Jiangxi" descr="{&quot;Key&quot;:&quot;jiangxi&quot;,&quot;Name&quot;:&quot;Jiangxi&quot;,&quot;Value&quot;:1.0,&quot;Formula&quot;:&quot;&quot;,&quot;Text&quot;:&quot;&quot;,&quot;OfficeApplication&quot;:1,&quot;HasValue&quot;:true}">
                  <a:extLst>
                    <a:ext uri="{FF2B5EF4-FFF2-40B4-BE49-F238E27FC236}">
                      <a16:creationId xmlns:a16="http://schemas.microsoft.com/office/drawing/2014/main" id="{DF1FDC72-932A-423E-8221-F91F38D2E636}"/>
                    </a:ext>
                  </a:extLst>
                </p:cNvPr>
                <p:cNvSpPr>
                  <a:spLocks/>
                </p:cNvSpPr>
                <p:nvPr/>
              </p:nvSpPr>
              <p:spPr bwMode="auto">
                <a:xfrm>
                  <a:off x="7346156" y="4699000"/>
                  <a:ext cx="665163" cy="876300"/>
                </a:xfrm>
                <a:custGeom>
                  <a:avLst/>
                  <a:gdLst>
                    <a:gd name="T0" fmla="*/ 39 w 337"/>
                    <a:gd name="T1" fmla="*/ 118 h 444"/>
                    <a:gd name="T2" fmla="*/ 39 w 337"/>
                    <a:gd name="T3" fmla="*/ 154 h 444"/>
                    <a:gd name="T4" fmla="*/ 28 w 337"/>
                    <a:gd name="T5" fmla="*/ 173 h 444"/>
                    <a:gd name="T6" fmla="*/ 11 w 337"/>
                    <a:gd name="T7" fmla="*/ 197 h 444"/>
                    <a:gd name="T8" fmla="*/ 14 w 337"/>
                    <a:gd name="T9" fmla="*/ 224 h 444"/>
                    <a:gd name="T10" fmla="*/ 27 w 337"/>
                    <a:gd name="T11" fmla="*/ 252 h 444"/>
                    <a:gd name="T12" fmla="*/ 31 w 337"/>
                    <a:gd name="T13" fmla="*/ 280 h 444"/>
                    <a:gd name="T14" fmla="*/ 41 w 337"/>
                    <a:gd name="T15" fmla="*/ 293 h 444"/>
                    <a:gd name="T16" fmla="*/ 35 w 337"/>
                    <a:gd name="T17" fmla="*/ 313 h 444"/>
                    <a:gd name="T18" fmla="*/ 53 w 337"/>
                    <a:gd name="T19" fmla="*/ 309 h 444"/>
                    <a:gd name="T20" fmla="*/ 42 w 337"/>
                    <a:gd name="T21" fmla="*/ 322 h 444"/>
                    <a:gd name="T22" fmla="*/ 33 w 337"/>
                    <a:gd name="T23" fmla="*/ 345 h 444"/>
                    <a:gd name="T24" fmla="*/ 38 w 337"/>
                    <a:gd name="T25" fmla="*/ 371 h 444"/>
                    <a:gd name="T26" fmla="*/ 46 w 337"/>
                    <a:gd name="T27" fmla="*/ 383 h 444"/>
                    <a:gd name="T28" fmla="*/ 90 w 337"/>
                    <a:gd name="T29" fmla="*/ 382 h 444"/>
                    <a:gd name="T30" fmla="*/ 90 w 337"/>
                    <a:gd name="T31" fmla="*/ 386 h 444"/>
                    <a:gd name="T32" fmla="*/ 70 w 337"/>
                    <a:gd name="T33" fmla="*/ 415 h 444"/>
                    <a:gd name="T34" fmla="*/ 56 w 337"/>
                    <a:gd name="T35" fmla="*/ 432 h 444"/>
                    <a:gd name="T36" fmla="*/ 90 w 337"/>
                    <a:gd name="T37" fmla="*/ 436 h 444"/>
                    <a:gd name="T38" fmla="*/ 115 w 337"/>
                    <a:gd name="T39" fmla="*/ 425 h 444"/>
                    <a:gd name="T40" fmla="*/ 143 w 337"/>
                    <a:gd name="T41" fmla="*/ 417 h 444"/>
                    <a:gd name="T42" fmla="*/ 165 w 337"/>
                    <a:gd name="T43" fmla="*/ 436 h 444"/>
                    <a:gd name="T44" fmla="*/ 166 w 337"/>
                    <a:gd name="T45" fmla="*/ 422 h 444"/>
                    <a:gd name="T46" fmla="*/ 174 w 337"/>
                    <a:gd name="T47" fmla="*/ 405 h 444"/>
                    <a:gd name="T48" fmla="*/ 182 w 337"/>
                    <a:gd name="T49" fmla="*/ 354 h 444"/>
                    <a:gd name="T50" fmla="*/ 209 w 337"/>
                    <a:gd name="T51" fmla="*/ 305 h 444"/>
                    <a:gd name="T52" fmla="*/ 218 w 337"/>
                    <a:gd name="T53" fmla="*/ 279 h 444"/>
                    <a:gd name="T54" fmla="*/ 235 w 337"/>
                    <a:gd name="T55" fmla="*/ 236 h 444"/>
                    <a:gd name="T56" fmla="*/ 247 w 337"/>
                    <a:gd name="T57" fmla="*/ 208 h 444"/>
                    <a:gd name="T58" fmla="*/ 247 w 337"/>
                    <a:gd name="T59" fmla="*/ 185 h 444"/>
                    <a:gd name="T60" fmla="*/ 275 w 337"/>
                    <a:gd name="T61" fmla="*/ 163 h 444"/>
                    <a:gd name="T62" fmla="*/ 302 w 337"/>
                    <a:gd name="T63" fmla="*/ 156 h 444"/>
                    <a:gd name="T64" fmla="*/ 317 w 337"/>
                    <a:gd name="T65" fmla="*/ 148 h 444"/>
                    <a:gd name="T66" fmla="*/ 334 w 337"/>
                    <a:gd name="T67" fmla="*/ 130 h 444"/>
                    <a:gd name="T68" fmla="*/ 330 w 337"/>
                    <a:gd name="T69" fmla="*/ 116 h 444"/>
                    <a:gd name="T70" fmla="*/ 298 w 337"/>
                    <a:gd name="T71" fmla="*/ 59 h 444"/>
                    <a:gd name="T72" fmla="*/ 305 w 337"/>
                    <a:gd name="T73" fmla="*/ 45 h 444"/>
                    <a:gd name="T74" fmla="*/ 283 w 337"/>
                    <a:gd name="T75" fmla="*/ 36 h 444"/>
                    <a:gd name="T76" fmla="*/ 246 w 337"/>
                    <a:gd name="T77" fmla="*/ 16 h 444"/>
                    <a:gd name="T78" fmla="*/ 242 w 337"/>
                    <a:gd name="T79" fmla="*/ 13 h 444"/>
                    <a:gd name="T80" fmla="*/ 231 w 337"/>
                    <a:gd name="T81" fmla="*/ 20 h 444"/>
                    <a:gd name="T82" fmla="*/ 205 w 337"/>
                    <a:gd name="T83" fmla="*/ 35 h 444"/>
                    <a:gd name="T84" fmla="*/ 207 w 337"/>
                    <a:gd name="T85" fmla="*/ 4 h 444"/>
                    <a:gd name="T86" fmla="*/ 170 w 337"/>
                    <a:gd name="T87" fmla="*/ 23 h 444"/>
                    <a:gd name="T88" fmla="*/ 129 w 337"/>
                    <a:gd name="T89" fmla="*/ 25 h 444"/>
                    <a:gd name="T90" fmla="*/ 109 w 337"/>
                    <a:gd name="T91" fmla="*/ 40 h 444"/>
                    <a:gd name="T92" fmla="*/ 101 w 337"/>
                    <a:gd name="T93" fmla="*/ 49 h 444"/>
                    <a:gd name="T94" fmla="*/ 69 w 337"/>
                    <a:gd name="T95" fmla="*/ 64 h 444"/>
                    <a:gd name="T96" fmla="*/ 46 w 337"/>
                    <a:gd name="T97" fmla="*/ 71 h 444"/>
                    <a:gd name="T98" fmla="*/ 26 w 337"/>
                    <a:gd name="T99" fmla="*/ 96 h 444"/>
                    <a:gd name="T100" fmla="*/ 39 w 337"/>
                    <a:gd name="T101" fmla="*/ 118 h 444"/>
                    <a:gd name="T102" fmla="*/ 39 w 337"/>
                    <a:gd name="T103" fmla="*/ 118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 h="444">
                      <a:moveTo>
                        <a:pt x="39" y="118"/>
                      </a:moveTo>
                      <a:cubicBezTo>
                        <a:pt x="41" y="132"/>
                        <a:pt x="53" y="145"/>
                        <a:pt x="39" y="154"/>
                      </a:cubicBezTo>
                      <a:cubicBezTo>
                        <a:pt x="31" y="159"/>
                        <a:pt x="35" y="168"/>
                        <a:pt x="28" y="173"/>
                      </a:cubicBezTo>
                      <a:cubicBezTo>
                        <a:pt x="12" y="183"/>
                        <a:pt x="19" y="184"/>
                        <a:pt x="11" y="197"/>
                      </a:cubicBezTo>
                      <a:cubicBezTo>
                        <a:pt x="6" y="204"/>
                        <a:pt x="0" y="224"/>
                        <a:pt x="14" y="224"/>
                      </a:cubicBezTo>
                      <a:cubicBezTo>
                        <a:pt x="42" y="224"/>
                        <a:pt x="12" y="233"/>
                        <a:pt x="27" y="252"/>
                      </a:cubicBezTo>
                      <a:cubicBezTo>
                        <a:pt x="32" y="258"/>
                        <a:pt x="19" y="279"/>
                        <a:pt x="31" y="280"/>
                      </a:cubicBezTo>
                      <a:cubicBezTo>
                        <a:pt x="44" y="281"/>
                        <a:pt x="39" y="284"/>
                        <a:pt x="41" y="293"/>
                      </a:cubicBezTo>
                      <a:cubicBezTo>
                        <a:pt x="43" y="298"/>
                        <a:pt x="35" y="312"/>
                        <a:pt x="35" y="313"/>
                      </a:cubicBezTo>
                      <a:cubicBezTo>
                        <a:pt x="41" y="323"/>
                        <a:pt x="50" y="307"/>
                        <a:pt x="53" y="309"/>
                      </a:cubicBezTo>
                      <a:cubicBezTo>
                        <a:pt x="56" y="311"/>
                        <a:pt x="42" y="321"/>
                        <a:pt x="42" y="322"/>
                      </a:cubicBezTo>
                      <a:cubicBezTo>
                        <a:pt x="42" y="334"/>
                        <a:pt x="39" y="336"/>
                        <a:pt x="33" y="345"/>
                      </a:cubicBezTo>
                      <a:cubicBezTo>
                        <a:pt x="33" y="345"/>
                        <a:pt x="35" y="360"/>
                        <a:pt x="38" y="371"/>
                      </a:cubicBezTo>
                      <a:cubicBezTo>
                        <a:pt x="40" y="378"/>
                        <a:pt x="43" y="383"/>
                        <a:pt x="46" y="383"/>
                      </a:cubicBezTo>
                      <a:cubicBezTo>
                        <a:pt x="78" y="382"/>
                        <a:pt x="69" y="363"/>
                        <a:pt x="90" y="382"/>
                      </a:cubicBezTo>
                      <a:cubicBezTo>
                        <a:pt x="90" y="386"/>
                        <a:pt x="90" y="386"/>
                        <a:pt x="90" y="386"/>
                      </a:cubicBezTo>
                      <a:cubicBezTo>
                        <a:pt x="92" y="402"/>
                        <a:pt x="78" y="393"/>
                        <a:pt x="70" y="415"/>
                      </a:cubicBezTo>
                      <a:cubicBezTo>
                        <a:pt x="69" y="420"/>
                        <a:pt x="56" y="431"/>
                        <a:pt x="56" y="432"/>
                      </a:cubicBezTo>
                      <a:cubicBezTo>
                        <a:pt x="58" y="444"/>
                        <a:pt x="83" y="437"/>
                        <a:pt x="90" y="436"/>
                      </a:cubicBezTo>
                      <a:cubicBezTo>
                        <a:pt x="110" y="434"/>
                        <a:pt x="108" y="425"/>
                        <a:pt x="115" y="425"/>
                      </a:cubicBezTo>
                      <a:cubicBezTo>
                        <a:pt x="130" y="424"/>
                        <a:pt x="136" y="417"/>
                        <a:pt x="143" y="417"/>
                      </a:cubicBezTo>
                      <a:cubicBezTo>
                        <a:pt x="146" y="420"/>
                        <a:pt x="162" y="435"/>
                        <a:pt x="165" y="436"/>
                      </a:cubicBezTo>
                      <a:cubicBezTo>
                        <a:pt x="175" y="436"/>
                        <a:pt x="167" y="424"/>
                        <a:pt x="166" y="422"/>
                      </a:cubicBezTo>
                      <a:cubicBezTo>
                        <a:pt x="164" y="411"/>
                        <a:pt x="168" y="406"/>
                        <a:pt x="174" y="405"/>
                      </a:cubicBezTo>
                      <a:cubicBezTo>
                        <a:pt x="175" y="365"/>
                        <a:pt x="176" y="385"/>
                        <a:pt x="182" y="354"/>
                      </a:cubicBezTo>
                      <a:cubicBezTo>
                        <a:pt x="191" y="304"/>
                        <a:pt x="219" y="319"/>
                        <a:pt x="209" y="305"/>
                      </a:cubicBezTo>
                      <a:cubicBezTo>
                        <a:pt x="195" y="284"/>
                        <a:pt x="223" y="292"/>
                        <a:pt x="218" y="279"/>
                      </a:cubicBezTo>
                      <a:cubicBezTo>
                        <a:pt x="201" y="242"/>
                        <a:pt x="220" y="244"/>
                        <a:pt x="235" y="236"/>
                      </a:cubicBezTo>
                      <a:cubicBezTo>
                        <a:pt x="254" y="225"/>
                        <a:pt x="247" y="208"/>
                        <a:pt x="247" y="208"/>
                      </a:cubicBezTo>
                      <a:cubicBezTo>
                        <a:pt x="244" y="187"/>
                        <a:pt x="237" y="189"/>
                        <a:pt x="247" y="185"/>
                      </a:cubicBezTo>
                      <a:cubicBezTo>
                        <a:pt x="254" y="183"/>
                        <a:pt x="267" y="152"/>
                        <a:pt x="275" y="163"/>
                      </a:cubicBezTo>
                      <a:cubicBezTo>
                        <a:pt x="290" y="180"/>
                        <a:pt x="285" y="159"/>
                        <a:pt x="302" y="156"/>
                      </a:cubicBezTo>
                      <a:cubicBezTo>
                        <a:pt x="317" y="154"/>
                        <a:pt x="311" y="148"/>
                        <a:pt x="317" y="148"/>
                      </a:cubicBezTo>
                      <a:cubicBezTo>
                        <a:pt x="337" y="146"/>
                        <a:pt x="312" y="143"/>
                        <a:pt x="334" y="130"/>
                      </a:cubicBezTo>
                      <a:cubicBezTo>
                        <a:pt x="332" y="128"/>
                        <a:pt x="331" y="124"/>
                        <a:pt x="330" y="116"/>
                      </a:cubicBezTo>
                      <a:cubicBezTo>
                        <a:pt x="327" y="86"/>
                        <a:pt x="291" y="75"/>
                        <a:pt x="298" y="59"/>
                      </a:cubicBezTo>
                      <a:cubicBezTo>
                        <a:pt x="298" y="59"/>
                        <a:pt x="306" y="51"/>
                        <a:pt x="305" y="45"/>
                      </a:cubicBezTo>
                      <a:cubicBezTo>
                        <a:pt x="305" y="40"/>
                        <a:pt x="300" y="36"/>
                        <a:pt x="283" y="36"/>
                      </a:cubicBezTo>
                      <a:cubicBezTo>
                        <a:pt x="241" y="37"/>
                        <a:pt x="266" y="16"/>
                        <a:pt x="246" y="16"/>
                      </a:cubicBezTo>
                      <a:cubicBezTo>
                        <a:pt x="240" y="17"/>
                        <a:pt x="244" y="17"/>
                        <a:pt x="242" y="13"/>
                      </a:cubicBezTo>
                      <a:cubicBezTo>
                        <a:pt x="238" y="8"/>
                        <a:pt x="228" y="15"/>
                        <a:pt x="231" y="20"/>
                      </a:cubicBezTo>
                      <a:cubicBezTo>
                        <a:pt x="237" y="28"/>
                        <a:pt x="207" y="49"/>
                        <a:pt x="205" y="35"/>
                      </a:cubicBezTo>
                      <a:cubicBezTo>
                        <a:pt x="202" y="18"/>
                        <a:pt x="233" y="15"/>
                        <a:pt x="207" y="4"/>
                      </a:cubicBezTo>
                      <a:cubicBezTo>
                        <a:pt x="197" y="0"/>
                        <a:pt x="180" y="32"/>
                        <a:pt x="170" y="23"/>
                      </a:cubicBezTo>
                      <a:cubicBezTo>
                        <a:pt x="142" y="48"/>
                        <a:pt x="149" y="15"/>
                        <a:pt x="129" y="25"/>
                      </a:cubicBezTo>
                      <a:cubicBezTo>
                        <a:pt x="122" y="29"/>
                        <a:pt x="130" y="40"/>
                        <a:pt x="109" y="40"/>
                      </a:cubicBezTo>
                      <a:cubicBezTo>
                        <a:pt x="102" y="40"/>
                        <a:pt x="108" y="56"/>
                        <a:pt x="101" y="49"/>
                      </a:cubicBezTo>
                      <a:cubicBezTo>
                        <a:pt x="91" y="38"/>
                        <a:pt x="91" y="64"/>
                        <a:pt x="69" y="64"/>
                      </a:cubicBezTo>
                      <a:cubicBezTo>
                        <a:pt x="69" y="64"/>
                        <a:pt x="46" y="70"/>
                        <a:pt x="46" y="71"/>
                      </a:cubicBezTo>
                      <a:cubicBezTo>
                        <a:pt x="37" y="83"/>
                        <a:pt x="25" y="78"/>
                        <a:pt x="26" y="96"/>
                      </a:cubicBezTo>
                      <a:cubicBezTo>
                        <a:pt x="32" y="101"/>
                        <a:pt x="38" y="107"/>
                        <a:pt x="39" y="118"/>
                      </a:cubicBezTo>
                      <a:cubicBezTo>
                        <a:pt x="39" y="118"/>
                        <a:pt x="39" y="118"/>
                        <a:pt x="39" y="118"/>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90" name="Hunan" descr="{&quot;Key&quot;:&quot;hunan&quot;,&quot;Name&quot;:&quot;Hunan&quot;,&quot;Value&quot;:1.0,&quot;Formula&quot;:&quot;&quot;,&quot;Text&quot;:&quot;&quot;,&quot;OfficeApplication&quot;:1,&quot;HasValue&quot;:true}">
                  <a:extLst>
                    <a:ext uri="{FF2B5EF4-FFF2-40B4-BE49-F238E27FC236}">
                      <a16:creationId xmlns:a16="http://schemas.microsoft.com/office/drawing/2014/main" id="{2DC77178-E5C1-4CEF-9D8B-1BF2DB521D6D}"/>
                    </a:ext>
                  </a:extLst>
                </p:cNvPr>
                <p:cNvSpPr>
                  <a:spLocks/>
                </p:cNvSpPr>
                <p:nvPr/>
              </p:nvSpPr>
              <p:spPr bwMode="auto">
                <a:xfrm>
                  <a:off x="6684168" y="4722813"/>
                  <a:ext cx="773113" cy="850900"/>
                </a:xfrm>
                <a:custGeom>
                  <a:avLst/>
                  <a:gdLst>
                    <a:gd name="T0" fmla="*/ 374 w 392"/>
                    <a:gd name="T1" fmla="*/ 359 h 431"/>
                    <a:gd name="T2" fmla="*/ 369 w 392"/>
                    <a:gd name="T3" fmla="*/ 333 h 431"/>
                    <a:gd name="T4" fmla="*/ 378 w 392"/>
                    <a:gd name="T5" fmla="*/ 310 h 431"/>
                    <a:gd name="T6" fmla="*/ 389 w 392"/>
                    <a:gd name="T7" fmla="*/ 297 h 431"/>
                    <a:gd name="T8" fmla="*/ 371 w 392"/>
                    <a:gd name="T9" fmla="*/ 301 h 431"/>
                    <a:gd name="T10" fmla="*/ 377 w 392"/>
                    <a:gd name="T11" fmla="*/ 281 h 431"/>
                    <a:gd name="T12" fmla="*/ 367 w 392"/>
                    <a:gd name="T13" fmla="*/ 268 h 431"/>
                    <a:gd name="T14" fmla="*/ 363 w 392"/>
                    <a:gd name="T15" fmla="*/ 240 h 431"/>
                    <a:gd name="T16" fmla="*/ 350 w 392"/>
                    <a:gd name="T17" fmla="*/ 212 h 431"/>
                    <a:gd name="T18" fmla="*/ 347 w 392"/>
                    <a:gd name="T19" fmla="*/ 185 h 431"/>
                    <a:gd name="T20" fmla="*/ 364 w 392"/>
                    <a:gd name="T21" fmla="*/ 161 h 431"/>
                    <a:gd name="T22" fmla="*/ 375 w 392"/>
                    <a:gd name="T23" fmla="*/ 142 h 431"/>
                    <a:gd name="T24" fmla="*/ 375 w 392"/>
                    <a:gd name="T25" fmla="*/ 106 h 431"/>
                    <a:gd name="T26" fmla="*/ 362 w 392"/>
                    <a:gd name="T27" fmla="*/ 84 h 431"/>
                    <a:gd name="T28" fmla="*/ 342 w 392"/>
                    <a:gd name="T29" fmla="*/ 70 h 431"/>
                    <a:gd name="T30" fmla="*/ 335 w 392"/>
                    <a:gd name="T31" fmla="*/ 32 h 431"/>
                    <a:gd name="T32" fmla="*/ 329 w 392"/>
                    <a:gd name="T33" fmla="*/ 24 h 431"/>
                    <a:gd name="T34" fmla="*/ 294 w 392"/>
                    <a:gd name="T35" fmla="*/ 40 h 431"/>
                    <a:gd name="T36" fmla="*/ 287 w 392"/>
                    <a:gd name="T37" fmla="*/ 26 h 431"/>
                    <a:gd name="T38" fmla="*/ 265 w 392"/>
                    <a:gd name="T39" fmla="*/ 39 h 431"/>
                    <a:gd name="T40" fmla="*/ 244 w 392"/>
                    <a:gd name="T41" fmla="*/ 39 h 431"/>
                    <a:gd name="T42" fmla="*/ 204 w 392"/>
                    <a:gd name="T43" fmla="*/ 19 h 431"/>
                    <a:gd name="T44" fmla="*/ 163 w 392"/>
                    <a:gd name="T45" fmla="*/ 7 h 431"/>
                    <a:gd name="T46" fmla="*/ 144 w 392"/>
                    <a:gd name="T47" fmla="*/ 7 h 431"/>
                    <a:gd name="T48" fmla="*/ 130 w 392"/>
                    <a:gd name="T49" fmla="*/ 10 h 431"/>
                    <a:gd name="T50" fmla="*/ 136 w 392"/>
                    <a:gd name="T51" fmla="*/ 30 h 431"/>
                    <a:gd name="T52" fmla="*/ 112 w 392"/>
                    <a:gd name="T53" fmla="*/ 34 h 431"/>
                    <a:gd name="T54" fmla="*/ 63 w 392"/>
                    <a:gd name="T55" fmla="*/ 43 h 431"/>
                    <a:gd name="T56" fmla="*/ 41 w 392"/>
                    <a:gd name="T57" fmla="*/ 79 h 431"/>
                    <a:gd name="T58" fmla="*/ 41 w 392"/>
                    <a:gd name="T59" fmla="*/ 103 h 431"/>
                    <a:gd name="T60" fmla="*/ 44 w 392"/>
                    <a:gd name="T61" fmla="*/ 110 h 431"/>
                    <a:gd name="T62" fmla="*/ 42 w 392"/>
                    <a:gd name="T63" fmla="*/ 120 h 431"/>
                    <a:gd name="T64" fmla="*/ 41 w 392"/>
                    <a:gd name="T65" fmla="*/ 131 h 431"/>
                    <a:gd name="T66" fmla="*/ 50 w 392"/>
                    <a:gd name="T67" fmla="*/ 154 h 431"/>
                    <a:gd name="T68" fmla="*/ 57 w 392"/>
                    <a:gd name="T69" fmla="*/ 198 h 431"/>
                    <a:gd name="T70" fmla="*/ 14 w 392"/>
                    <a:gd name="T71" fmla="*/ 236 h 431"/>
                    <a:gd name="T72" fmla="*/ 61 w 392"/>
                    <a:gd name="T73" fmla="*/ 238 h 431"/>
                    <a:gd name="T74" fmla="*/ 59 w 392"/>
                    <a:gd name="T75" fmla="*/ 252 h 431"/>
                    <a:gd name="T76" fmla="*/ 49 w 392"/>
                    <a:gd name="T77" fmla="*/ 271 h 431"/>
                    <a:gd name="T78" fmla="*/ 46 w 392"/>
                    <a:gd name="T79" fmla="*/ 299 h 431"/>
                    <a:gd name="T80" fmla="*/ 56 w 392"/>
                    <a:gd name="T81" fmla="*/ 300 h 431"/>
                    <a:gd name="T82" fmla="*/ 58 w 392"/>
                    <a:gd name="T83" fmla="*/ 322 h 431"/>
                    <a:gd name="T84" fmla="*/ 73 w 392"/>
                    <a:gd name="T85" fmla="*/ 325 h 431"/>
                    <a:gd name="T86" fmla="*/ 82 w 392"/>
                    <a:gd name="T87" fmla="*/ 322 h 431"/>
                    <a:gd name="T88" fmla="*/ 102 w 392"/>
                    <a:gd name="T89" fmla="*/ 315 h 431"/>
                    <a:gd name="T90" fmla="*/ 145 w 392"/>
                    <a:gd name="T91" fmla="*/ 298 h 431"/>
                    <a:gd name="T92" fmla="*/ 181 w 392"/>
                    <a:gd name="T93" fmla="*/ 300 h 431"/>
                    <a:gd name="T94" fmla="*/ 189 w 392"/>
                    <a:gd name="T95" fmla="*/ 327 h 431"/>
                    <a:gd name="T96" fmla="*/ 185 w 392"/>
                    <a:gd name="T97" fmla="*/ 356 h 431"/>
                    <a:gd name="T98" fmla="*/ 166 w 392"/>
                    <a:gd name="T99" fmla="*/ 400 h 431"/>
                    <a:gd name="T100" fmla="*/ 198 w 392"/>
                    <a:gd name="T101" fmla="*/ 397 h 431"/>
                    <a:gd name="T102" fmla="*/ 208 w 392"/>
                    <a:gd name="T103" fmla="*/ 423 h 431"/>
                    <a:gd name="T104" fmla="*/ 233 w 392"/>
                    <a:gd name="T105" fmla="*/ 417 h 431"/>
                    <a:gd name="T106" fmla="*/ 251 w 392"/>
                    <a:gd name="T107" fmla="*/ 384 h 431"/>
                    <a:gd name="T108" fmla="*/ 303 w 392"/>
                    <a:gd name="T109" fmla="*/ 399 h 431"/>
                    <a:gd name="T110" fmla="*/ 301 w 392"/>
                    <a:gd name="T111" fmla="*/ 375 h 431"/>
                    <a:gd name="T112" fmla="*/ 314 w 392"/>
                    <a:gd name="T113" fmla="*/ 361 h 431"/>
                    <a:gd name="T114" fmla="*/ 367 w 392"/>
                    <a:gd name="T115" fmla="*/ 362 h 431"/>
                    <a:gd name="T116" fmla="*/ 374 w 392"/>
                    <a:gd name="T117" fmla="*/ 359 h 431"/>
                    <a:gd name="T118" fmla="*/ 374 w 392"/>
                    <a:gd name="T119" fmla="*/ 359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2" h="431">
                      <a:moveTo>
                        <a:pt x="374" y="359"/>
                      </a:moveTo>
                      <a:cubicBezTo>
                        <a:pt x="371" y="348"/>
                        <a:pt x="369" y="333"/>
                        <a:pt x="369" y="333"/>
                      </a:cubicBezTo>
                      <a:cubicBezTo>
                        <a:pt x="375" y="324"/>
                        <a:pt x="378" y="322"/>
                        <a:pt x="378" y="310"/>
                      </a:cubicBezTo>
                      <a:cubicBezTo>
                        <a:pt x="378" y="309"/>
                        <a:pt x="392" y="299"/>
                        <a:pt x="389" y="297"/>
                      </a:cubicBezTo>
                      <a:cubicBezTo>
                        <a:pt x="386" y="295"/>
                        <a:pt x="377" y="311"/>
                        <a:pt x="371" y="301"/>
                      </a:cubicBezTo>
                      <a:cubicBezTo>
                        <a:pt x="371" y="300"/>
                        <a:pt x="379" y="286"/>
                        <a:pt x="377" y="281"/>
                      </a:cubicBezTo>
                      <a:cubicBezTo>
                        <a:pt x="375" y="272"/>
                        <a:pt x="380" y="269"/>
                        <a:pt x="367" y="268"/>
                      </a:cubicBezTo>
                      <a:cubicBezTo>
                        <a:pt x="355" y="267"/>
                        <a:pt x="368" y="246"/>
                        <a:pt x="363" y="240"/>
                      </a:cubicBezTo>
                      <a:cubicBezTo>
                        <a:pt x="348" y="221"/>
                        <a:pt x="378" y="212"/>
                        <a:pt x="350" y="212"/>
                      </a:cubicBezTo>
                      <a:cubicBezTo>
                        <a:pt x="336" y="212"/>
                        <a:pt x="342" y="192"/>
                        <a:pt x="347" y="185"/>
                      </a:cubicBezTo>
                      <a:cubicBezTo>
                        <a:pt x="355" y="172"/>
                        <a:pt x="348" y="171"/>
                        <a:pt x="364" y="161"/>
                      </a:cubicBezTo>
                      <a:cubicBezTo>
                        <a:pt x="371" y="156"/>
                        <a:pt x="367" y="147"/>
                        <a:pt x="375" y="142"/>
                      </a:cubicBezTo>
                      <a:cubicBezTo>
                        <a:pt x="389" y="133"/>
                        <a:pt x="377" y="120"/>
                        <a:pt x="375" y="106"/>
                      </a:cubicBezTo>
                      <a:cubicBezTo>
                        <a:pt x="374" y="95"/>
                        <a:pt x="368" y="89"/>
                        <a:pt x="362" y="84"/>
                      </a:cubicBezTo>
                      <a:cubicBezTo>
                        <a:pt x="353" y="77"/>
                        <a:pt x="342" y="74"/>
                        <a:pt x="342" y="70"/>
                      </a:cubicBezTo>
                      <a:cubicBezTo>
                        <a:pt x="341" y="49"/>
                        <a:pt x="360" y="47"/>
                        <a:pt x="335" y="32"/>
                      </a:cubicBezTo>
                      <a:cubicBezTo>
                        <a:pt x="329" y="29"/>
                        <a:pt x="339" y="10"/>
                        <a:pt x="329" y="24"/>
                      </a:cubicBezTo>
                      <a:cubicBezTo>
                        <a:pt x="323" y="31"/>
                        <a:pt x="294" y="73"/>
                        <a:pt x="294" y="40"/>
                      </a:cubicBezTo>
                      <a:cubicBezTo>
                        <a:pt x="294" y="35"/>
                        <a:pt x="303" y="22"/>
                        <a:pt x="287" y="26"/>
                      </a:cubicBezTo>
                      <a:cubicBezTo>
                        <a:pt x="278" y="28"/>
                        <a:pt x="286" y="39"/>
                        <a:pt x="265" y="39"/>
                      </a:cubicBezTo>
                      <a:cubicBezTo>
                        <a:pt x="255" y="39"/>
                        <a:pt x="252" y="49"/>
                        <a:pt x="244" y="39"/>
                      </a:cubicBezTo>
                      <a:cubicBezTo>
                        <a:pt x="240" y="34"/>
                        <a:pt x="218" y="19"/>
                        <a:pt x="204" y="19"/>
                      </a:cubicBezTo>
                      <a:cubicBezTo>
                        <a:pt x="189" y="19"/>
                        <a:pt x="178" y="9"/>
                        <a:pt x="163" y="7"/>
                      </a:cubicBezTo>
                      <a:cubicBezTo>
                        <a:pt x="157" y="7"/>
                        <a:pt x="147" y="0"/>
                        <a:pt x="144" y="7"/>
                      </a:cubicBezTo>
                      <a:cubicBezTo>
                        <a:pt x="140" y="9"/>
                        <a:pt x="134" y="8"/>
                        <a:pt x="130" y="10"/>
                      </a:cubicBezTo>
                      <a:cubicBezTo>
                        <a:pt x="128" y="23"/>
                        <a:pt x="137" y="25"/>
                        <a:pt x="136" y="30"/>
                      </a:cubicBezTo>
                      <a:cubicBezTo>
                        <a:pt x="137" y="31"/>
                        <a:pt x="122" y="45"/>
                        <a:pt x="112" y="34"/>
                      </a:cubicBezTo>
                      <a:cubicBezTo>
                        <a:pt x="97" y="18"/>
                        <a:pt x="78" y="40"/>
                        <a:pt x="63" y="43"/>
                      </a:cubicBezTo>
                      <a:cubicBezTo>
                        <a:pt x="59" y="43"/>
                        <a:pt x="46" y="75"/>
                        <a:pt x="41" y="79"/>
                      </a:cubicBezTo>
                      <a:cubicBezTo>
                        <a:pt x="51" y="86"/>
                        <a:pt x="42" y="92"/>
                        <a:pt x="41" y="103"/>
                      </a:cubicBezTo>
                      <a:cubicBezTo>
                        <a:pt x="41" y="106"/>
                        <a:pt x="47" y="109"/>
                        <a:pt x="44" y="110"/>
                      </a:cubicBezTo>
                      <a:cubicBezTo>
                        <a:pt x="42" y="112"/>
                        <a:pt x="39" y="117"/>
                        <a:pt x="42" y="120"/>
                      </a:cubicBezTo>
                      <a:cubicBezTo>
                        <a:pt x="47" y="127"/>
                        <a:pt x="43" y="124"/>
                        <a:pt x="41" y="131"/>
                      </a:cubicBezTo>
                      <a:cubicBezTo>
                        <a:pt x="44" y="150"/>
                        <a:pt x="54" y="145"/>
                        <a:pt x="50" y="154"/>
                      </a:cubicBezTo>
                      <a:cubicBezTo>
                        <a:pt x="34" y="190"/>
                        <a:pt x="64" y="185"/>
                        <a:pt x="57" y="198"/>
                      </a:cubicBezTo>
                      <a:cubicBezTo>
                        <a:pt x="49" y="216"/>
                        <a:pt x="36" y="204"/>
                        <a:pt x="14" y="236"/>
                      </a:cubicBezTo>
                      <a:cubicBezTo>
                        <a:pt x="0" y="256"/>
                        <a:pt x="45" y="221"/>
                        <a:pt x="61" y="238"/>
                      </a:cubicBezTo>
                      <a:cubicBezTo>
                        <a:pt x="69" y="248"/>
                        <a:pt x="54" y="246"/>
                        <a:pt x="59" y="252"/>
                      </a:cubicBezTo>
                      <a:cubicBezTo>
                        <a:pt x="66" y="261"/>
                        <a:pt x="45" y="266"/>
                        <a:pt x="49" y="271"/>
                      </a:cubicBezTo>
                      <a:cubicBezTo>
                        <a:pt x="60" y="285"/>
                        <a:pt x="44" y="287"/>
                        <a:pt x="46" y="299"/>
                      </a:cubicBezTo>
                      <a:cubicBezTo>
                        <a:pt x="53" y="299"/>
                        <a:pt x="50" y="298"/>
                        <a:pt x="56" y="300"/>
                      </a:cubicBezTo>
                      <a:cubicBezTo>
                        <a:pt x="60" y="307"/>
                        <a:pt x="58" y="314"/>
                        <a:pt x="58" y="322"/>
                      </a:cubicBezTo>
                      <a:cubicBezTo>
                        <a:pt x="62" y="319"/>
                        <a:pt x="67" y="319"/>
                        <a:pt x="73" y="325"/>
                      </a:cubicBezTo>
                      <a:cubicBezTo>
                        <a:pt x="74" y="325"/>
                        <a:pt x="79" y="343"/>
                        <a:pt x="82" y="322"/>
                      </a:cubicBezTo>
                      <a:cubicBezTo>
                        <a:pt x="85" y="309"/>
                        <a:pt x="95" y="302"/>
                        <a:pt x="102" y="315"/>
                      </a:cubicBezTo>
                      <a:cubicBezTo>
                        <a:pt x="116" y="341"/>
                        <a:pt x="127" y="291"/>
                        <a:pt x="145" y="298"/>
                      </a:cubicBezTo>
                      <a:cubicBezTo>
                        <a:pt x="154" y="301"/>
                        <a:pt x="174" y="288"/>
                        <a:pt x="181" y="300"/>
                      </a:cubicBezTo>
                      <a:cubicBezTo>
                        <a:pt x="185" y="307"/>
                        <a:pt x="169" y="335"/>
                        <a:pt x="189" y="327"/>
                      </a:cubicBezTo>
                      <a:cubicBezTo>
                        <a:pt x="199" y="322"/>
                        <a:pt x="185" y="343"/>
                        <a:pt x="185" y="356"/>
                      </a:cubicBezTo>
                      <a:cubicBezTo>
                        <a:pt x="186" y="366"/>
                        <a:pt x="149" y="395"/>
                        <a:pt x="166" y="400"/>
                      </a:cubicBezTo>
                      <a:cubicBezTo>
                        <a:pt x="170" y="402"/>
                        <a:pt x="190" y="370"/>
                        <a:pt x="198" y="397"/>
                      </a:cubicBezTo>
                      <a:cubicBezTo>
                        <a:pt x="200" y="404"/>
                        <a:pt x="191" y="431"/>
                        <a:pt x="208" y="423"/>
                      </a:cubicBezTo>
                      <a:cubicBezTo>
                        <a:pt x="221" y="417"/>
                        <a:pt x="205" y="410"/>
                        <a:pt x="233" y="417"/>
                      </a:cubicBezTo>
                      <a:cubicBezTo>
                        <a:pt x="249" y="421"/>
                        <a:pt x="242" y="386"/>
                        <a:pt x="251" y="384"/>
                      </a:cubicBezTo>
                      <a:cubicBezTo>
                        <a:pt x="290" y="376"/>
                        <a:pt x="287" y="412"/>
                        <a:pt x="303" y="399"/>
                      </a:cubicBezTo>
                      <a:cubicBezTo>
                        <a:pt x="308" y="395"/>
                        <a:pt x="309" y="376"/>
                        <a:pt x="301" y="375"/>
                      </a:cubicBezTo>
                      <a:cubicBezTo>
                        <a:pt x="292" y="374"/>
                        <a:pt x="310" y="365"/>
                        <a:pt x="314" y="361"/>
                      </a:cubicBezTo>
                      <a:cubicBezTo>
                        <a:pt x="327" y="346"/>
                        <a:pt x="343" y="382"/>
                        <a:pt x="367" y="362"/>
                      </a:cubicBezTo>
                      <a:cubicBezTo>
                        <a:pt x="369" y="360"/>
                        <a:pt x="372" y="360"/>
                        <a:pt x="374" y="359"/>
                      </a:cubicBezTo>
                      <a:cubicBezTo>
                        <a:pt x="374" y="359"/>
                        <a:pt x="374" y="359"/>
                        <a:pt x="374" y="359"/>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91" name="Guizhou" descr="{&quot;Key&quot;:&quot;guizhou&quot;,&quot;Name&quot;:&quot;Guizhou&quot;,&quot;Value&quot;:1.0,&quot;Formula&quot;:&quot;&quot;,&quot;Text&quot;:&quot;&quot;,&quot;OfficeApplication&quot;:1,&quot;HasValue&quot;:true}">
                  <a:extLst>
                    <a:ext uri="{FF2B5EF4-FFF2-40B4-BE49-F238E27FC236}">
                      <a16:creationId xmlns:a16="http://schemas.microsoft.com/office/drawing/2014/main" id="{AE2316EB-94BF-4FCA-8279-15CD2CA59EA2}"/>
                    </a:ext>
                  </a:extLst>
                </p:cNvPr>
                <p:cNvSpPr>
                  <a:spLocks/>
                </p:cNvSpPr>
                <p:nvPr/>
              </p:nvSpPr>
              <p:spPr bwMode="auto">
                <a:xfrm>
                  <a:off x="5993606" y="4859338"/>
                  <a:ext cx="825500" cy="722313"/>
                </a:xfrm>
                <a:custGeom>
                  <a:avLst/>
                  <a:gdLst>
                    <a:gd name="T0" fmla="*/ 408 w 419"/>
                    <a:gd name="T1" fmla="*/ 253 h 366"/>
                    <a:gd name="T2" fmla="*/ 406 w 419"/>
                    <a:gd name="T3" fmla="*/ 231 h 366"/>
                    <a:gd name="T4" fmla="*/ 396 w 419"/>
                    <a:gd name="T5" fmla="*/ 230 h 366"/>
                    <a:gd name="T6" fmla="*/ 399 w 419"/>
                    <a:gd name="T7" fmla="*/ 202 h 366"/>
                    <a:gd name="T8" fmla="*/ 409 w 419"/>
                    <a:gd name="T9" fmla="*/ 183 h 366"/>
                    <a:gd name="T10" fmla="*/ 411 w 419"/>
                    <a:gd name="T11" fmla="*/ 169 h 366"/>
                    <a:gd name="T12" fmla="*/ 364 w 419"/>
                    <a:gd name="T13" fmla="*/ 167 h 366"/>
                    <a:gd name="T14" fmla="*/ 407 w 419"/>
                    <a:gd name="T15" fmla="*/ 129 h 366"/>
                    <a:gd name="T16" fmla="*/ 400 w 419"/>
                    <a:gd name="T17" fmla="*/ 85 h 366"/>
                    <a:gd name="T18" fmla="*/ 391 w 419"/>
                    <a:gd name="T19" fmla="*/ 62 h 366"/>
                    <a:gd name="T20" fmla="*/ 384 w 419"/>
                    <a:gd name="T21" fmla="*/ 70 h 366"/>
                    <a:gd name="T22" fmla="*/ 369 w 419"/>
                    <a:gd name="T23" fmla="*/ 78 h 366"/>
                    <a:gd name="T24" fmla="*/ 354 w 419"/>
                    <a:gd name="T25" fmla="*/ 61 h 366"/>
                    <a:gd name="T26" fmla="*/ 348 w 419"/>
                    <a:gd name="T27" fmla="*/ 53 h 366"/>
                    <a:gd name="T28" fmla="*/ 331 w 419"/>
                    <a:gd name="T29" fmla="*/ 37 h 366"/>
                    <a:gd name="T30" fmla="*/ 318 w 419"/>
                    <a:gd name="T31" fmla="*/ 17 h 366"/>
                    <a:gd name="T32" fmla="*/ 293 w 419"/>
                    <a:gd name="T33" fmla="*/ 13 h 366"/>
                    <a:gd name="T34" fmla="*/ 268 w 419"/>
                    <a:gd name="T35" fmla="*/ 10 h 366"/>
                    <a:gd name="T36" fmla="*/ 267 w 419"/>
                    <a:gd name="T37" fmla="*/ 27 h 366"/>
                    <a:gd name="T38" fmla="*/ 241 w 419"/>
                    <a:gd name="T39" fmla="*/ 29 h 366"/>
                    <a:gd name="T40" fmla="*/ 232 w 419"/>
                    <a:gd name="T41" fmla="*/ 37 h 366"/>
                    <a:gd name="T42" fmla="*/ 217 w 419"/>
                    <a:gd name="T43" fmla="*/ 49 h 366"/>
                    <a:gd name="T44" fmla="*/ 208 w 419"/>
                    <a:gd name="T45" fmla="*/ 43 h 366"/>
                    <a:gd name="T46" fmla="*/ 196 w 419"/>
                    <a:gd name="T47" fmla="*/ 51 h 366"/>
                    <a:gd name="T48" fmla="*/ 189 w 419"/>
                    <a:gd name="T49" fmla="*/ 48 h 366"/>
                    <a:gd name="T50" fmla="*/ 148 w 419"/>
                    <a:gd name="T51" fmla="*/ 54 h 366"/>
                    <a:gd name="T52" fmla="*/ 167 w 419"/>
                    <a:gd name="T53" fmla="*/ 78 h 366"/>
                    <a:gd name="T54" fmla="*/ 192 w 419"/>
                    <a:gd name="T55" fmla="*/ 106 h 366"/>
                    <a:gd name="T56" fmla="*/ 142 w 419"/>
                    <a:gd name="T57" fmla="*/ 112 h 366"/>
                    <a:gd name="T58" fmla="*/ 128 w 419"/>
                    <a:gd name="T59" fmla="*/ 110 h 366"/>
                    <a:gd name="T60" fmla="*/ 102 w 419"/>
                    <a:gd name="T61" fmla="*/ 140 h 366"/>
                    <a:gd name="T62" fmla="*/ 58 w 419"/>
                    <a:gd name="T63" fmla="*/ 131 h 366"/>
                    <a:gd name="T64" fmla="*/ 37 w 419"/>
                    <a:gd name="T65" fmla="*/ 134 h 366"/>
                    <a:gd name="T66" fmla="*/ 28 w 419"/>
                    <a:gd name="T67" fmla="*/ 133 h 366"/>
                    <a:gd name="T68" fmla="*/ 12 w 419"/>
                    <a:gd name="T69" fmla="*/ 159 h 366"/>
                    <a:gd name="T70" fmla="*/ 15 w 419"/>
                    <a:gd name="T71" fmla="*/ 185 h 366"/>
                    <a:gd name="T72" fmla="*/ 34 w 419"/>
                    <a:gd name="T73" fmla="*/ 198 h 366"/>
                    <a:gd name="T74" fmla="*/ 40 w 419"/>
                    <a:gd name="T75" fmla="*/ 192 h 366"/>
                    <a:gd name="T76" fmla="*/ 54 w 419"/>
                    <a:gd name="T77" fmla="*/ 191 h 366"/>
                    <a:gd name="T78" fmla="*/ 71 w 419"/>
                    <a:gd name="T79" fmla="*/ 219 h 366"/>
                    <a:gd name="T80" fmla="*/ 50 w 419"/>
                    <a:gd name="T81" fmla="*/ 272 h 366"/>
                    <a:gd name="T82" fmla="*/ 65 w 419"/>
                    <a:gd name="T83" fmla="*/ 289 h 366"/>
                    <a:gd name="T84" fmla="*/ 74 w 419"/>
                    <a:gd name="T85" fmla="*/ 307 h 366"/>
                    <a:gd name="T86" fmla="*/ 66 w 419"/>
                    <a:gd name="T87" fmla="*/ 323 h 366"/>
                    <a:gd name="T88" fmla="*/ 59 w 419"/>
                    <a:gd name="T89" fmla="*/ 332 h 366"/>
                    <a:gd name="T90" fmla="*/ 108 w 419"/>
                    <a:gd name="T91" fmla="*/ 322 h 366"/>
                    <a:gd name="T92" fmla="*/ 155 w 419"/>
                    <a:gd name="T93" fmla="*/ 344 h 366"/>
                    <a:gd name="T94" fmla="*/ 176 w 419"/>
                    <a:gd name="T95" fmla="*/ 329 h 366"/>
                    <a:gd name="T96" fmla="*/ 204 w 419"/>
                    <a:gd name="T97" fmla="*/ 316 h 366"/>
                    <a:gd name="T98" fmla="*/ 233 w 419"/>
                    <a:gd name="T99" fmla="*/ 295 h 366"/>
                    <a:gd name="T100" fmla="*/ 256 w 419"/>
                    <a:gd name="T101" fmla="*/ 288 h 366"/>
                    <a:gd name="T102" fmla="*/ 270 w 419"/>
                    <a:gd name="T103" fmla="*/ 307 h 366"/>
                    <a:gd name="T104" fmla="*/ 286 w 419"/>
                    <a:gd name="T105" fmla="*/ 312 h 366"/>
                    <a:gd name="T106" fmla="*/ 325 w 419"/>
                    <a:gd name="T107" fmla="*/ 286 h 366"/>
                    <a:gd name="T108" fmla="*/ 346 w 419"/>
                    <a:gd name="T109" fmla="*/ 294 h 366"/>
                    <a:gd name="T110" fmla="*/ 358 w 419"/>
                    <a:gd name="T111" fmla="*/ 281 h 366"/>
                    <a:gd name="T112" fmla="*/ 373 w 419"/>
                    <a:gd name="T113" fmla="*/ 275 h 366"/>
                    <a:gd name="T114" fmla="*/ 391 w 419"/>
                    <a:gd name="T115" fmla="*/ 269 h 366"/>
                    <a:gd name="T116" fmla="*/ 408 w 419"/>
                    <a:gd name="T117" fmla="*/ 253 h 366"/>
                    <a:gd name="T118" fmla="*/ 408 w 419"/>
                    <a:gd name="T119" fmla="*/ 253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9" h="366">
                      <a:moveTo>
                        <a:pt x="408" y="253"/>
                      </a:moveTo>
                      <a:cubicBezTo>
                        <a:pt x="408" y="245"/>
                        <a:pt x="410" y="238"/>
                        <a:pt x="406" y="231"/>
                      </a:cubicBezTo>
                      <a:cubicBezTo>
                        <a:pt x="400" y="229"/>
                        <a:pt x="403" y="230"/>
                        <a:pt x="396" y="230"/>
                      </a:cubicBezTo>
                      <a:cubicBezTo>
                        <a:pt x="394" y="218"/>
                        <a:pt x="410" y="216"/>
                        <a:pt x="399" y="202"/>
                      </a:cubicBezTo>
                      <a:cubicBezTo>
                        <a:pt x="395" y="197"/>
                        <a:pt x="416" y="192"/>
                        <a:pt x="409" y="183"/>
                      </a:cubicBezTo>
                      <a:cubicBezTo>
                        <a:pt x="404" y="177"/>
                        <a:pt x="419" y="179"/>
                        <a:pt x="411" y="169"/>
                      </a:cubicBezTo>
                      <a:cubicBezTo>
                        <a:pt x="395" y="152"/>
                        <a:pt x="350" y="187"/>
                        <a:pt x="364" y="167"/>
                      </a:cubicBezTo>
                      <a:cubicBezTo>
                        <a:pt x="386" y="135"/>
                        <a:pt x="399" y="147"/>
                        <a:pt x="407" y="129"/>
                      </a:cubicBezTo>
                      <a:cubicBezTo>
                        <a:pt x="414" y="116"/>
                        <a:pt x="384" y="121"/>
                        <a:pt x="400" y="85"/>
                      </a:cubicBezTo>
                      <a:cubicBezTo>
                        <a:pt x="404" y="76"/>
                        <a:pt x="394" y="81"/>
                        <a:pt x="391" y="62"/>
                      </a:cubicBezTo>
                      <a:cubicBezTo>
                        <a:pt x="390" y="67"/>
                        <a:pt x="386" y="65"/>
                        <a:pt x="384" y="70"/>
                      </a:cubicBezTo>
                      <a:cubicBezTo>
                        <a:pt x="375" y="95"/>
                        <a:pt x="376" y="80"/>
                        <a:pt x="369" y="78"/>
                      </a:cubicBezTo>
                      <a:cubicBezTo>
                        <a:pt x="354" y="75"/>
                        <a:pt x="360" y="54"/>
                        <a:pt x="354" y="61"/>
                      </a:cubicBezTo>
                      <a:cubicBezTo>
                        <a:pt x="349" y="66"/>
                        <a:pt x="348" y="78"/>
                        <a:pt x="348" y="53"/>
                      </a:cubicBezTo>
                      <a:cubicBezTo>
                        <a:pt x="348" y="45"/>
                        <a:pt x="332" y="49"/>
                        <a:pt x="331" y="37"/>
                      </a:cubicBezTo>
                      <a:cubicBezTo>
                        <a:pt x="329" y="6"/>
                        <a:pt x="332" y="23"/>
                        <a:pt x="318" y="17"/>
                      </a:cubicBezTo>
                      <a:cubicBezTo>
                        <a:pt x="304" y="11"/>
                        <a:pt x="301" y="31"/>
                        <a:pt x="293" y="13"/>
                      </a:cubicBezTo>
                      <a:cubicBezTo>
                        <a:pt x="287" y="0"/>
                        <a:pt x="268" y="6"/>
                        <a:pt x="268" y="10"/>
                      </a:cubicBezTo>
                      <a:cubicBezTo>
                        <a:pt x="267" y="19"/>
                        <a:pt x="273" y="21"/>
                        <a:pt x="267" y="27"/>
                      </a:cubicBezTo>
                      <a:cubicBezTo>
                        <a:pt x="251" y="43"/>
                        <a:pt x="251" y="16"/>
                        <a:pt x="241" y="29"/>
                      </a:cubicBezTo>
                      <a:cubicBezTo>
                        <a:pt x="232" y="40"/>
                        <a:pt x="227" y="24"/>
                        <a:pt x="232" y="37"/>
                      </a:cubicBezTo>
                      <a:cubicBezTo>
                        <a:pt x="234" y="43"/>
                        <a:pt x="217" y="65"/>
                        <a:pt x="217" y="49"/>
                      </a:cubicBezTo>
                      <a:cubicBezTo>
                        <a:pt x="217" y="38"/>
                        <a:pt x="207" y="20"/>
                        <a:pt x="208" y="43"/>
                      </a:cubicBezTo>
                      <a:cubicBezTo>
                        <a:pt x="208" y="52"/>
                        <a:pt x="202" y="53"/>
                        <a:pt x="196" y="51"/>
                      </a:cubicBezTo>
                      <a:cubicBezTo>
                        <a:pt x="193" y="51"/>
                        <a:pt x="191" y="49"/>
                        <a:pt x="189" y="48"/>
                      </a:cubicBezTo>
                      <a:cubicBezTo>
                        <a:pt x="179" y="37"/>
                        <a:pt x="151" y="41"/>
                        <a:pt x="148" y="54"/>
                      </a:cubicBezTo>
                      <a:cubicBezTo>
                        <a:pt x="143" y="72"/>
                        <a:pt x="159" y="68"/>
                        <a:pt x="167" y="78"/>
                      </a:cubicBezTo>
                      <a:cubicBezTo>
                        <a:pt x="170" y="82"/>
                        <a:pt x="209" y="86"/>
                        <a:pt x="192" y="106"/>
                      </a:cubicBezTo>
                      <a:cubicBezTo>
                        <a:pt x="187" y="112"/>
                        <a:pt x="148" y="116"/>
                        <a:pt x="142" y="112"/>
                      </a:cubicBezTo>
                      <a:cubicBezTo>
                        <a:pt x="138" y="109"/>
                        <a:pt x="133" y="110"/>
                        <a:pt x="128" y="110"/>
                      </a:cubicBezTo>
                      <a:cubicBezTo>
                        <a:pt x="119" y="117"/>
                        <a:pt x="126" y="136"/>
                        <a:pt x="102" y="140"/>
                      </a:cubicBezTo>
                      <a:cubicBezTo>
                        <a:pt x="57" y="146"/>
                        <a:pt x="73" y="130"/>
                        <a:pt x="58" y="131"/>
                      </a:cubicBezTo>
                      <a:cubicBezTo>
                        <a:pt x="46" y="132"/>
                        <a:pt x="54" y="148"/>
                        <a:pt x="37" y="134"/>
                      </a:cubicBezTo>
                      <a:cubicBezTo>
                        <a:pt x="32" y="130"/>
                        <a:pt x="33" y="133"/>
                        <a:pt x="28" y="133"/>
                      </a:cubicBezTo>
                      <a:cubicBezTo>
                        <a:pt x="27" y="145"/>
                        <a:pt x="0" y="151"/>
                        <a:pt x="12" y="159"/>
                      </a:cubicBezTo>
                      <a:cubicBezTo>
                        <a:pt x="22" y="167"/>
                        <a:pt x="5" y="180"/>
                        <a:pt x="15" y="185"/>
                      </a:cubicBezTo>
                      <a:cubicBezTo>
                        <a:pt x="16" y="186"/>
                        <a:pt x="16" y="208"/>
                        <a:pt x="34" y="198"/>
                      </a:cubicBezTo>
                      <a:cubicBezTo>
                        <a:pt x="36" y="197"/>
                        <a:pt x="38" y="194"/>
                        <a:pt x="40" y="192"/>
                      </a:cubicBezTo>
                      <a:cubicBezTo>
                        <a:pt x="47" y="192"/>
                        <a:pt x="48" y="194"/>
                        <a:pt x="54" y="191"/>
                      </a:cubicBezTo>
                      <a:cubicBezTo>
                        <a:pt x="65" y="185"/>
                        <a:pt x="83" y="210"/>
                        <a:pt x="71" y="219"/>
                      </a:cubicBezTo>
                      <a:cubicBezTo>
                        <a:pt x="65" y="224"/>
                        <a:pt x="42" y="263"/>
                        <a:pt x="50" y="272"/>
                      </a:cubicBezTo>
                      <a:cubicBezTo>
                        <a:pt x="56" y="279"/>
                        <a:pt x="61" y="280"/>
                        <a:pt x="65" y="289"/>
                      </a:cubicBezTo>
                      <a:cubicBezTo>
                        <a:pt x="70" y="299"/>
                        <a:pt x="87" y="297"/>
                        <a:pt x="74" y="307"/>
                      </a:cubicBezTo>
                      <a:cubicBezTo>
                        <a:pt x="70" y="310"/>
                        <a:pt x="71" y="318"/>
                        <a:pt x="66" y="323"/>
                      </a:cubicBezTo>
                      <a:cubicBezTo>
                        <a:pt x="63" y="326"/>
                        <a:pt x="61" y="329"/>
                        <a:pt x="59" y="332"/>
                      </a:cubicBezTo>
                      <a:cubicBezTo>
                        <a:pt x="66" y="366"/>
                        <a:pt x="97" y="318"/>
                        <a:pt x="108" y="322"/>
                      </a:cubicBezTo>
                      <a:cubicBezTo>
                        <a:pt x="125" y="328"/>
                        <a:pt x="137" y="341"/>
                        <a:pt x="155" y="344"/>
                      </a:cubicBezTo>
                      <a:cubicBezTo>
                        <a:pt x="155" y="344"/>
                        <a:pt x="172" y="362"/>
                        <a:pt x="176" y="329"/>
                      </a:cubicBezTo>
                      <a:cubicBezTo>
                        <a:pt x="177" y="321"/>
                        <a:pt x="192" y="326"/>
                        <a:pt x="204" y="316"/>
                      </a:cubicBezTo>
                      <a:cubicBezTo>
                        <a:pt x="211" y="310"/>
                        <a:pt x="239" y="311"/>
                        <a:pt x="233" y="295"/>
                      </a:cubicBezTo>
                      <a:cubicBezTo>
                        <a:pt x="228" y="279"/>
                        <a:pt x="253" y="273"/>
                        <a:pt x="256" y="288"/>
                      </a:cubicBezTo>
                      <a:cubicBezTo>
                        <a:pt x="257" y="293"/>
                        <a:pt x="266" y="309"/>
                        <a:pt x="270" y="307"/>
                      </a:cubicBezTo>
                      <a:cubicBezTo>
                        <a:pt x="284" y="303"/>
                        <a:pt x="273" y="300"/>
                        <a:pt x="286" y="312"/>
                      </a:cubicBezTo>
                      <a:cubicBezTo>
                        <a:pt x="304" y="329"/>
                        <a:pt x="318" y="289"/>
                        <a:pt x="325" y="286"/>
                      </a:cubicBezTo>
                      <a:cubicBezTo>
                        <a:pt x="334" y="283"/>
                        <a:pt x="346" y="309"/>
                        <a:pt x="346" y="294"/>
                      </a:cubicBezTo>
                      <a:cubicBezTo>
                        <a:pt x="346" y="288"/>
                        <a:pt x="352" y="275"/>
                        <a:pt x="358" y="281"/>
                      </a:cubicBezTo>
                      <a:cubicBezTo>
                        <a:pt x="369" y="292"/>
                        <a:pt x="383" y="278"/>
                        <a:pt x="373" y="275"/>
                      </a:cubicBezTo>
                      <a:cubicBezTo>
                        <a:pt x="356" y="269"/>
                        <a:pt x="385" y="268"/>
                        <a:pt x="391" y="269"/>
                      </a:cubicBezTo>
                      <a:cubicBezTo>
                        <a:pt x="395" y="269"/>
                        <a:pt x="400" y="257"/>
                        <a:pt x="408" y="253"/>
                      </a:cubicBezTo>
                      <a:cubicBezTo>
                        <a:pt x="408" y="253"/>
                        <a:pt x="408" y="253"/>
                        <a:pt x="408" y="253"/>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92" name="Sichuan" descr="{&quot;Key&quot;:&quot;sichuan&quot;,&quot;Name&quot;:&quot;Sichuan&quot;,&quot;Value&quot;:1.0,&quot;Formula&quot;:&quot;&quot;,&quot;Text&quot;:&quot;&quot;,&quot;OfficeApplication&quot;:1,&quot;HasValue&quot;:true}">
                  <a:extLst>
                    <a:ext uri="{FF2B5EF4-FFF2-40B4-BE49-F238E27FC236}">
                      <a16:creationId xmlns:a16="http://schemas.microsoft.com/office/drawing/2014/main" id="{E7375B0F-4BB0-4BA5-92AB-BD94BB902766}"/>
                    </a:ext>
                  </a:extLst>
                </p:cNvPr>
                <p:cNvSpPr>
                  <a:spLocks/>
                </p:cNvSpPr>
                <p:nvPr/>
              </p:nvSpPr>
              <p:spPr bwMode="auto">
                <a:xfrm>
                  <a:off x="5266531" y="4038600"/>
                  <a:ext cx="1446213" cy="1279525"/>
                </a:xfrm>
                <a:custGeom>
                  <a:avLst/>
                  <a:gdLst>
                    <a:gd name="T0" fmla="*/ 557 w 733"/>
                    <a:gd name="T1" fmla="*/ 464 h 649"/>
                    <a:gd name="T2" fmla="*/ 564 w 733"/>
                    <a:gd name="T3" fmla="*/ 465 h 649"/>
                    <a:gd name="T4" fmla="*/ 509 w 733"/>
                    <a:gd name="T5" fmla="*/ 404 h 649"/>
                    <a:gd name="T6" fmla="*/ 520 w 733"/>
                    <a:gd name="T7" fmla="*/ 367 h 649"/>
                    <a:gd name="T8" fmla="*/ 574 w 733"/>
                    <a:gd name="T9" fmla="*/ 334 h 649"/>
                    <a:gd name="T10" fmla="*/ 643 w 733"/>
                    <a:gd name="T11" fmla="*/ 312 h 649"/>
                    <a:gd name="T12" fmla="*/ 704 w 733"/>
                    <a:gd name="T13" fmla="*/ 238 h 649"/>
                    <a:gd name="T14" fmla="*/ 710 w 733"/>
                    <a:gd name="T15" fmla="*/ 201 h 649"/>
                    <a:gd name="T16" fmla="*/ 688 w 733"/>
                    <a:gd name="T17" fmla="*/ 186 h 649"/>
                    <a:gd name="T18" fmla="*/ 648 w 733"/>
                    <a:gd name="T19" fmla="*/ 168 h 649"/>
                    <a:gd name="T20" fmla="*/ 564 w 733"/>
                    <a:gd name="T21" fmla="*/ 146 h 649"/>
                    <a:gd name="T22" fmla="*/ 522 w 733"/>
                    <a:gd name="T23" fmla="*/ 140 h 649"/>
                    <a:gd name="T24" fmla="*/ 450 w 733"/>
                    <a:gd name="T25" fmla="*/ 125 h 649"/>
                    <a:gd name="T26" fmla="*/ 403 w 733"/>
                    <a:gd name="T27" fmla="*/ 61 h 649"/>
                    <a:gd name="T28" fmla="*/ 371 w 733"/>
                    <a:gd name="T29" fmla="*/ 20 h 649"/>
                    <a:gd name="T30" fmla="*/ 335 w 733"/>
                    <a:gd name="T31" fmla="*/ 34 h 649"/>
                    <a:gd name="T32" fmla="*/ 307 w 733"/>
                    <a:gd name="T33" fmla="*/ 93 h 649"/>
                    <a:gd name="T34" fmla="*/ 290 w 733"/>
                    <a:gd name="T35" fmla="*/ 68 h 649"/>
                    <a:gd name="T36" fmla="*/ 254 w 733"/>
                    <a:gd name="T37" fmla="*/ 116 h 649"/>
                    <a:gd name="T38" fmla="*/ 215 w 733"/>
                    <a:gd name="T39" fmla="*/ 139 h 649"/>
                    <a:gd name="T40" fmla="*/ 200 w 733"/>
                    <a:gd name="T41" fmla="*/ 120 h 649"/>
                    <a:gd name="T42" fmla="*/ 174 w 733"/>
                    <a:gd name="T43" fmla="*/ 100 h 649"/>
                    <a:gd name="T44" fmla="*/ 113 w 733"/>
                    <a:gd name="T45" fmla="*/ 84 h 649"/>
                    <a:gd name="T46" fmla="*/ 26 w 733"/>
                    <a:gd name="T47" fmla="*/ 18 h 649"/>
                    <a:gd name="T48" fmla="*/ 23 w 733"/>
                    <a:gd name="T49" fmla="*/ 68 h 649"/>
                    <a:gd name="T50" fmla="*/ 32 w 733"/>
                    <a:gd name="T51" fmla="*/ 117 h 649"/>
                    <a:gd name="T52" fmla="*/ 60 w 733"/>
                    <a:gd name="T53" fmla="*/ 148 h 649"/>
                    <a:gd name="T54" fmla="*/ 80 w 733"/>
                    <a:gd name="T55" fmla="*/ 197 h 649"/>
                    <a:gd name="T56" fmla="*/ 84 w 733"/>
                    <a:gd name="T57" fmla="*/ 246 h 649"/>
                    <a:gd name="T58" fmla="*/ 89 w 733"/>
                    <a:gd name="T59" fmla="*/ 333 h 649"/>
                    <a:gd name="T60" fmla="*/ 95 w 733"/>
                    <a:gd name="T61" fmla="*/ 456 h 649"/>
                    <a:gd name="T62" fmla="*/ 132 w 733"/>
                    <a:gd name="T63" fmla="*/ 431 h 649"/>
                    <a:gd name="T64" fmla="*/ 164 w 733"/>
                    <a:gd name="T65" fmla="*/ 497 h 649"/>
                    <a:gd name="T66" fmla="*/ 208 w 733"/>
                    <a:gd name="T67" fmla="*/ 556 h 649"/>
                    <a:gd name="T68" fmla="*/ 237 w 733"/>
                    <a:gd name="T69" fmla="*/ 618 h 649"/>
                    <a:gd name="T70" fmla="*/ 310 w 733"/>
                    <a:gd name="T71" fmla="*/ 632 h 649"/>
                    <a:gd name="T72" fmla="*/ 328 w 733"/>
                    <a:gd name="T73" fmla="*/ 582 h 649"/>
                    <a:gd name="T74" fmla="*/ 348 w 733"/>
                    <a:gd name="T75" fmla="*/ 532 h 649"/>
                    <a:gd name="T76" fmla="*/ 386 w 733"/>
                    <a:gd name="T77" fmla="*/ 481 h 649"/>
                    <a:gd name="T78" fmla="*/ 431 w 733"/>
                    <a:gd name="T79" fmla="*/ 459 h 649"/>
                    <a:gd name="T80" fmla="*/ 471 w 733"/>
                    <a:gd name="T81" fmla="*/ 502 h 649"/>
                    <a:gd name="T82" fmla="*/ 496 w 733"/>
                    <a:gd name="T83" fmla="*/ 526 h 649"/>
                    <a:gd name="T84" fmla="*/ 560 w 733"/>
                    <a:gd name="T85" fmla="*/ 522 h 649"/>
                    <a:gd name="T86" fmla="*/ 516 w 733"/>
                    <a:gd name="T87" fmla="*/ 47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49">
                      <a:moveTo>
                        <a:pt x="516" y="470"/>
                      </a:moveTo>
                      <a:cubicBezTo>
                        <a:pt x="519" y="457"/>
                        <a:pt x="547" y="453"/>
                        <a:pt x="557" y="464"/>
                      </a:cubicBezTo>
                      <a:cubicBezTo>
                        <a:pt x="559" y="465"/>
                        <a:pt x="561" y="467"/>
                        <a:pt x="564" y="467"/>
                      </a:cubicBezTo>
                      <a:cubicBezTo>
                        <a:pt x="564" y="467"/>
                        <a:pt x="564" y="466"/>
                        <a:pt x="564" y="465"/>
                      </a:cubicBezTo>
                      <a:cubicBezTo>
                        <a:pt x="569" y="423"/>
                        <a:pt x="530" y="438"/>
                        <a:pt x="529" y="429"/>
                      </a:cubicBezTo>
                      <a:cubicBezTo>
                        <a:pt x="525" y="394"/>
                        <a:pt x="517" y="417"/>
                        <a:pt x="509" y="404"/>
                      </a:cubicBezTo>
                      <a:cubicBezTo>
                        <a:pt x="496" y="386"/>
                        <a:pt x="496" y="386"/>
                        <a:pt x="496" y="386"/>
                      </a:cubicBezTo>
                      <a:cubicBezTo>
                        <a:pt x="496" y="386"/>
                        <a:pt x="517" y="368"/>
                        <a:pt x="520" y="367"/>
                      </a:cubicBezTo>
                      <a:cubicBezTo>
                        <a:pt x="546" y="353"/>
                        <a:pt x="516" y="351"/>
                        <a:pt x="523" y="338"/>
                      </a:cubicBezTo>
                      <a:cubicBezTo>
                        <a:pt x="542" y="298"/>
                        <a:pt x="559" y="350"/>
                        <a:pt x="574" y="334"/>
                      </a:cubicBezTo>
                      <a:cubicBezTo>
                        <a:pt x="590" y="318"/>
                        <a:pt x="582" y="357"/>
                        <a:pt x="615" y="352"/>
                      </a:cubicBezTo>
                      <a:cubicBezTo>
                        <a:pt x="623" y="350"/>
                        <a:pt x="643" y="319"/>
                        <a:pt x="643" y="312"/>
                      </a:cubicBezTo>
                      <a:cubicBezTo>
                        <a:pt x="643" y="284"/>
                        <a:pt x="655" y="295"/>
                        <a:pt x="670" y="295"/>
                      </a:cubicBezTo>
                      <a:cubicBezTo>
                        <a:pt x="677" y="295"/>
                        <a:pt x="692" y="245"/>
                        <a:pt x="704" y="238"/>
                      </a:cubicBezTo>
                      <a:cubicBezTo>
                        <a:pt x="733" y="221"/>
                        <a:pt x="694" y="219"/>
                        <a:pt x="702" y="208"/>
                      </a:cubicBezTo>
                      <a:cubicBezTo>
                        <a:pt x="707" y="200"/>
                        <a:pt x="709" y="201"/>
                        <a:pt x="710" y="201"/>
                      </a:cubicBezTo>
                      <a:cubicBezTo>
                        <a:pt x="709" y="200"/>
                        <a:pt x="708" y="197"/>
                        <a:pt x="707" y="188"/>
                      </a:cubicBezTo>
                      <a:cubicBezTo>
                        <a:pt x="700" y="185"/>
                        <a:pt x="693" y="184"/>
                        <a:pt x="688" y="186"/>
                      </a:cubicBezTo>
                      <a:cubicBezTo>
                        <a:pt x="678" y="191"/>
                        <a:pt x="679" y="195"/>
                        <a:pt x="667" y="182"/>
                      </a:cubicBezTo>
                      <a:cubicBezTo>
                        <a:pt x="658" y="172"/>
                        <a:pt x="650" y="178"/>
                        <a:pt x="648" y="168"/>
                      </a:cubicBezTo>
                      <a:cubicBezTo>
                        <a:pt x="646" y="160"/>
                        <a:pt x="630" y="182"/>
                        <a:pt x="623" y="155"/>
                      </a:cubicBezTo>
                      <a:cubicBezTo>
                        <a:pt x="619" y="139"/>
                        <a:pt x="568" y="164"/>
                        <a:pt x="564" y="146"/>
                      </a:cubicBezTo>
                      <a:cubicBezTo>
                        <a:pt x="559" y="125"/>
                        <a:pt x="532" y="149"/>
                        <a:pt x="531" y="148"/>
                      </a:cubicBezTo>
                      <a:cubicBezTo>
                        <a:pt x="524" y="141"/>
                        <a:pt x="523" y="139"/>
                        <a:pt x="522" y="140"/>
                      </a:cubicBezTo>
                      <a:cubicBezTo>
                        <a:pt x="519" y="141"/>
                        <a:pt x="515" y="144"/>
                        <a:pt x="507" y="149"/>
                      </a:cubicBezTo>
                      <a:cubicBezTo>
                        <a:pt x="494" y="156"/>
                        <a:pt x="442" y="138"/>
                        <a:pt x="450" y="125"/>
                      </a:cubicBezTo>
                      <a:cubicBezTo>
                        <a:pt x="460" y="110"/>
                        <a:pt x="445" y="68"/>
                        <a:pt x="432" y="65"/>
                      </a:cubicBezTo>
                      <a:cubicBezTo>
                        <a:pt x="421" y="63"/>
                        <a:pt x="413" y="68"/>
                        <a:pt x="403" y="61"/>
                      </a:cubicBezTo>
                      <a:cubicBezTo>
                        <a:pt x="400" y="59"/>
                        <a:pt x="374" y="61"/>
                        <a:pt x="382" y="38"/>
                      </a:cubicBezTo>
                      <a:cubicBezTo>
                        <a:pt x="385" y="28"/>
                        <a:pt x="379" y="26"/>
                        <a:pt x="371" y="20"/>
                      </a:cubicBezTo>
                      <a:cubicBezTo>
                        <a:pt x="354" y="5"/>
                        <a:pt x="360" y="25"/>
                        <a:pt x="341" y="28"/>
                      </a:cubicBezTo>
                      <a:cubicBezTo>
                        <a:pt x="334" y="30"/>
                        <a:pt x="338" y="32"/>
                        <a:pt x="335" y="34"/>
                      </a:cubicBezTo>
                      <a:cubicBezTo>
                        <a:pt x="332" y="37"/>
                        <a:pt x="310" y="39"/>
                        <a:pt x="332" y="65"/>
                      </a:cubicBezTo>
                      <a:cubicBezTo>
                        <a:pt x="340" y="75"/>
                        <a:pt x="331" y="76"/>
                        <a:pt x="307" y="93"/>
                      </a:cubicBezTo>
                      <a:cubicBezTo>
                        <a:pt x="282" y="111"/>
                        <a:pt x="308" y="67"/>
                        <a:pt x="297" y="65"/>
                      </a:cubicBezTo>
                      <a:cubicBezTo>
                        <a:pt x="293" y="64"/>
                        <a:pt x="291" y="65"/>
                        <a:pt x="290" y="68"/>
                      </a:cubicBezTo>
                      <a:cubicBezTo>
                        <a:pt x="286" y="79"/>
                        <a:pt x="296" y="107"/>
                        <a:pt x="275" y="94"/>
                      </a:cubicBezTo>
                      <a:cubicBezTo>
                        <a:pt x="259" y="83"/>
                        <a:pt x="246" y="101"/>
                        <a:pt x="254" y="116"/>
                      </a:cubicBezTo>
                      <a:cubicBezTo>
                        <a:pt x="260" y="130"/>
                        <a:pt x="236" y="134"/>
                        <a:pt x="225" y="133"/>
                      </a:cubicBezTo>
                      <a:cubicBezTo>
                        <a:pt x="215" y="131"/>
                        <a:pt x="225" y="131"/>
                        <a:pt x="215" y="139"/>
                      </a:cubicBezTo>
                      <a:cubicBezTo>
                        <a:pt x="212" y="141"/>
                        <a:pt x="198" y="145"/>
                        <a:pt x="203" y="138"/>
                      </a:cubicBezTo>
                      <a:cubicBezTo>
                        <a:pt x="204" y="135"/>
                        <a:pt x="219" y="130"/>
                        <a:pt x="200" y="120"/>
                      </a:cubicBezTo>
                      <a:cubicBezTo>
                        <a:pt x="194" y="117"/>
                        <a:pt x="179" y="142"/>
                        <a:pt x="180" y="124"/>
                      </a:cubicBezTo>
                      <a:cubicBezTo>
                        <a:pt x="182" y="112"/>
                        <a:pt x="196" y="119"/>
                        <a:pt x="174" y="100"/>
                      </a:cubicBezTo>
                      <a:cubicBezTo>
                        <a:pt x="160" y="88"/>
                        <a:pt x="172" y="136"/>
                        <a:pt x="134" y="102"/>
                      </a:cubicBezTo>
                      <a:cubicBezTo>
                        <a:pt x="126" y="95"/>
                        <a:pt x="123" y="89"/>
                        <a:pt x="113" y="84"/>
                      </a:cubicBezTo>
                      <a:cubicBezTo>
                        <a:pt x="90" y="72"/>
                        <a:pt x="114" y="16"/>
                        <a:pt x="65" y="15"/>
                      </a:cubicBezTo>
                      <a:cubicBezTo>
                        <a:pt x="40" y="14"/>
                        <a:pt x="45" y="0"/>
                        <a:pt x="26" y="18"/>
                      </a:cubicBezTo>
                      <a:cubicBezTo>
                        <a:pt x="7" y="36"/>
                        <a:pt x="44" y="48"/>
                        <a:pt x="38" y="54"/>
                      </a:cubicBezTo>
                      <a:cubicBezTo>
                        <a:pt x="38" y="54"/>
                        <a:pt x="34" y="54"/>
                        <a:pt x="23" y="68"/>
                      </a:cubicBezTo>
                      <a:cubicBezTo>
                        <a:pt x="18" y="74"/>
                        <a:pt x="22" y="77"/>
                        <a:pt x="15" y="82"/>
                      </a:cubicBezTo>
                      <a:cubicBezTo>
                        <a:pt x="0" y="94"/>
                        <a:pt x="22" y="113"/>
                        <a:pt x="32" y="117"/>
                      </a:cubicBezTo>
                      <a:cubicBezTo>
                        <a:pt x="34" y="118"/>
                        <a:pt x="35" y="119"/>
                        <a:pt x="36" y="120"/>
                      </a:cubicBezTo>
                      <a:cubicBezTo>
                        <a:pt x="44" y="122"/>
                        <a:pt x="59" y="135"/>
                        <a:pt x="60" y="148"/>
                      </a:cubicBezTo>
                      <a:cubicBezTo>
                        <a:pt x="61" y="153"/>
                        <a:pt x="68" y="157"/>
                        <a:pt x="67" y="176"/>
                      </a:cubicBezTo>
                      <a:cubicBezTo>
                        <a:pt x="67" y="180"/>
                        <a:pt x="78" y="192"/>
                        <a:pt x="80" y="197"/>
                      </a:cubicBezTo>
                      <a:cubicBezTo>
                        <a:pt x="81" y="200"/>
                        <a:pt x="101" y="225"/>
                        <a:pt x="84" y="219"/>
                      </a:cubicBezTo>
                      <a:cubicBezTo>
                        <a:pt x="65" y="212"/>
                        <a:pt x="85" y="239"/>
                        <a:pt x="84" y="246"/>
                      </a:cubicBezTo>
                      <a:cubicBezTo>
                        <a:pt x="82" y="253"/>
                        <a:pt x="95" y="250"/>
                        <a:pt x="88" y="276"/>
                      </a:cubicBezTo>
                      <a:cubicBezTo>
                        <a:pt x="83" y="295"/>
                        <a:pt x="100" y="316"/>
                        <a:pt x="89" y="333"/>
                      </a:cubicBezTo>
                      <a:cubicBezTo>
                        <a:pt x="88" y="333"/>
                        <a:pt x="88" y="356"/>
                        <a:pt x="88" y="383"/>
                      </a:cubicBezTo>
                      <a:cubicBezTo>
                        <a:pt x="88" y="414"/>
                        <a:pt x="89" y="450"/>
                        <a:pt x="95" y="456"/>
                      </a:cubicBezTo>
                      <a:cubicBezTo>
                        <a:pt x="107" y="469"/>
                        <a:pt x="91" y="444"/>
                        <a:pt x="107" y="432"/>
                      </a:cubicBezTo>
                      <a:cubicBezTo>
                        <a:pt x="118" y="424"/>
                        <a:pt x="125" y="404"/>
                        <a:pt x="132" y="431"/>
                      </a:cubicBezTo>
                      <a:cubicBezTo>
                        <a:pt x="136" y="446"/>
                        <a:pt x="161" y="452"/>
                        <a:pt x="145" y="468"/>
                      </a:cubicBezTo>
                      <a:cubicBezTo>
                        <a:pt x="137" y="477"/>
                        <a:pt x="158" y="504"/>
                        <a:pt x="164" y="497"/>
                      </a:cubicBezTo>
                      <a:cubicBezTo>
                        <a:pt x="167" y="494"/>
                        <a:pt x="183" y="491"/>
                        <a:pt x="184" y="493"/>
                      </a:cubicBezTo>
                      <a:cubicBezTo>
                        <a:pt x="187" y="501"/>
                        <a:pt x="207" y="550"/>
                        <a:pt x="208" y="556"/>
                      </a:cubicBezTo>
                      <a:cubicBezTo>
                        <a:pt x="209" y="566"/>
                        <a:pt x="233" y="581"/>
                        <a:pt x="228" y="589"/>
                      </a:cubicBezTo>
                      <a:cubicBezTo>
                        <a:pt x="216" y="609"/>
                        <a:pt x="237" y="601"/>
                        <a:pt x="237" y="618"/>
                      </a:cubicBezTo>
                      <a:cubicBezTo>
                        <a:pt x="238" y="636"/>
                        <a:pt x="267" y="641"/>
                        <a:pt x="281" y="629"/>
                      </a:cubicBezTo>
                      <a:cubicBezTo>
                        <a:pt x="316" y="599"/>
                        <a:pt x="297" y="649"/>
                        <a:pt x="310" y="632"/>
                      </a:cubicBezTo>
                      <a:cubicBezTo>
                        <a:pt x="316" y="625"/>
                        <a:pt x="313" y="624"/>
                        <a:pt x="323" y="623"/>
                      </a:cubicBezTo>
                      <a:cubicBezTo>
                        <a:pt x="329" y="621"/>
                        <a:pt x="334" y="603"/>
                        <a:pt x="328" y="582"/>
                      </a:cubicBezTo>
                      <a:cubicBezTo>
                        <a:pt x="327" y="579"/>
                        <a:pt x="327" y="545"/>
                        <a:pt x="328" y="544"/>
                      </a:cubicBezTo>
                      <a:cubicBezTo>
                        <a:pt x="336" y="540"/>
                        <a:pt x="343" y="541"/>
                        <a:pt x="348" y="532"/>
                      </a:cubicBezTo>
                      <a:cubicBezTo>
                        <a:pt x="358" y="517"/>
                        <a:pt x="380" y="517"/>
                        <a:pt x="371" y="494"/>
                      </a:cubicBezTo>
                      <a:cubicBezTo>
                        <a:pt x="368" y="488"/>
                        <a:pt x="379" y="473"/>
                        <a:pt x="386" y="481"/>
                      </a:cubicBezTo>
                      <a:cubicBezTo>
                        <a:pt x="392" y="488"/>
                        <a:pt x="404" y="472"/>
                        <a:pt x="396" y="466"/>
                      </a:cubicBezTo>
                      <a:cubicBezTo>
                        <a:pt x="372" y="446"/>
                        <a:pt x="450" y="448"/>
                        <a:pt x="431" y="459"/>
                      </a:cubicBezTo>
                      <a:cubicBezTo>
                        <a:pt x="408" y="472"/>
                        <a:pt x="446" y="476"/>
                        <a:pt x="432" y="499"/>
                      </a:cubicBezTo>
                      <a:cubicBezTo>
                        <a:pt x="422" y="515"/>
                        <a:pt x="454" y="522"/>
                        <a:pt x="471" y="502"/>
                      </a:cubicBezTo>
                      <a:cubicBezTo>
                        <a:pt x="482" y="490"/>
                        <a:pt x="495" y="502"/>
                        <a:pt x="490" y="516"/>
                      </a:cubicBezTo>
                      <a:cubicBezTo>
                        <a:pt x="486" y="527"/>
                        <a:pt x="490" y="527"/>
                        <a:pt x="496" y="526"/>
                      </a:cubicBezTo>
                      <a:cubicBezTo>
                        <a:pt x="501" y="526"/>
                        <a:pt x="506" y="525"/>
                        <a:pt x="510" y="528"/>
                      </a:cubicBezTo>
                      <a:cubicBezTo>
                        <a:pt x="516" y="532"/>
                        <a:pt x="555" y="528"/>
                        <a:pt x="560" y="522"/>
                      </a:cubicBezTo>
                      <a:cubicBezTo>
                        <a:pt x="577" y="502"/>
                        <a:pt x="538" y="498"/>
                        <a:pt x="535" y="494"/>
                      </a:cubicBezTo>
                      <a:cubicBezTo>
                        <a:pt x="527" y="484"/>
                        <a:pt x="511" y="488"/>
                        <a:pt x="516" y="470"/>
                      </a:cubicBezTo>
                      <a:cubicBezTo>
                        <a:pt x="516" y="470"/>
                        <a:pt x="516" y="470"/>
                        <a:pt x="516" y="470"/>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93" name="Yunnan" descr="{&quot;Key&quot;:&quot;yunnan&quot;,&quot;Name&quot;:&quot;Yunnan&quot;,&quot;Value&quot;:1.0,&quot;Formula&quot;:&quot;&quot;,&quot;Text&quot;:&quot;&quot;,&quot;OfficeApplication&quot;:1,&quot;HasValue&quot;:true}">
                  <a:extLst>
                    <a:ext uri="{FF2B5EF4-FFF2-40B4-BE49-F238E27FC236}">
                      <a16:creationId xmlns:a16="http://schemas.microsoft.com/office/drawing/2014/main" id="{4BF8893D-EC76-4A9E-A619-079A852D7FCD}"/>
                    </a:ext>
                  </a:extLst>
                </p:cNvPr>
                <p:cNvSpPr>
                  <a:spLocks/>
                </p:cNvSpPr>
                <p:nvPr/>
              </p:nvSpPr>
              <p:spPr bwMode="auto">
                <a:xfrm>
                  <a:off x="5137943" y="4794250"/>
                  <a:ext cx="1209675" cy="1270000"/>
                </a:xfrm>
                <a:custGeom>
                  <a:avLst/>
                  <a:gdLst>
                    <a:gd name="T0" fmla="*/ 445 w 613"/>
                    <a:gd name="T1" fmla="*/ 192 h 644"/>
                    <a:gd name="T2" fmla="*/ 470 w 613"/>
                    <a:gd name="T3" fmla="*/ 167 h 644"/>
                    <a:gd name="T4" fmla="*/ 535 w 613"/>
                    <a:gd name="T5" fmla="*/ 173 h 644"/>
                    <a:gd name="T6" fmla="*/ 555 w 613"/>
                    <a:gd name="T7" fmla="*/ 133 h 644"/>
                    <a:gd name="T8" fmla="*/ 497 w 613"/>
                    <a:gd name="T9" fmla="*/ 116 h 644"/>
                    <a:gd name="T10" fmla="*/ 461 w 613"/>
                    <a:gd name="T11" fmla="*/ 83 h 644"/>
                    <a:gd name="T12" fmla="*/ 436 w 613"/>
                    <a:gd name="T13" fmla="*/ 111 h 644"/>
                    <a:gd name="T14" fmla="*/ 393 w 613"/>
                    <a:gd name="T15" fmla="*/ 161 h 644"/>
                    <a:gd name="T16" fmla="*/ 388 w 613"/>
                    <a:gd name="T17" fmla="*/ 240 h 644"/>
                    <a:gd name="T18" fmla="*/ 346 w 613"/>
                    <a:gd name="T19" fmla="*/ 246 h 644"/>
                    <a:gd name="T20" fmla="*/ 293 w 613"/>
                    <a:gd name="T21" fmla="*/ 206 h 644"/>
                    <a:gd name="T22" fmla="*/ 249 w 613"/>
                    <a:gd name="T23" fmla="*/ 110 h 644"/>
                    <a:gd name="T24" fmla="*/ 210 w 613"/>
                    <a:gd name="T25" fmla="*/ 85 h 644"/>
                    <a:gd name="T26" fmla="*/ 172 w 613"/>
                    <a:gd name="T27" fmla="*/ 49 h 644"/>
                    <a:gd name="T28" fmla="*/ 153 w 613"/>
                    <a:gd name="T29" fmla="*/ 0 h 644"/>
                    <a:gd name="T30" fmla="*/ 131 w 613"/>
                    <a:gd name="T31" fmla="*/ 17 h 644"/>
                    <a:gd name="T32" fmla="*/ 114 w 613"/>
                    <a:gd name="T33" fmla="*/ 72 h 644"/>
                    <a:gd name="T34" fmla="*/ 79 w 613"/>
                    <a:gd name="T35" fmla="*/ 73 h 644"/>
                    <a:gd name="T36" fmla="*/ 94 w 613"/>
                    <a:gd name="T37" fmla="*/ 119 h 644"/>
                    <a:gd name="T38" fmla="*/ 109 w 613"/>
                    <a:gd name="T39" fmla="*/ 183 h 644"/>
                    <a:gd name="T40" fmla="*/ 94 w 613"/>
                    <a:gd name="T41" fmla="*/ 239 h 644"/>
                    <a:gd name="T42" fmla="*/ 54 w 613"/>
                    <a:gd name="T43" fmla="*/ 278 h 644"/>
                    <a:gd name="T44" fmla="*/ 11 w 613"/>
                    <a:gd name="T45" fmla="*/ 323 h 644"/>
                    <a:gd name="T46" fmla="*/ 0 w 613"/>
                    <a:gd name="T47" fmla="*/ 385 h 644"/>
                    <a:gd name="T48" fmla="*/ 79 w 613"/>
                    <a:gd name="T49" fmla="*/ 404 h 644"/>
                    <a:gd name="T50" fmla="*/ 90 w 613"/>
                    <a:gd name="T51" fmla="*/ 444 h 644"/>
                    <a:gd name="T52" fmla="*/ 110 w 613"/>
                    <a:gd name="T53" fmla="*/ 517 h 644"/>
                    <a:gd name="T54" fmla="*/ 164 w 613"/>
                    <a:gd name="T55" fmla="*/ 584 h 644"/>
                    <a:gd name="T56" fmla="*/ 237 w 613"/>
                    <a:gd name="T57" fmla="*/ 587 h 644"/>
                    <a:gd name="T58" fmla="*/ 278 w 613"/>
                    <a:gd name="T59" fmla="*/ 620 h 644"/>
                    <a:gd name="T60" fmla="*/ 290 w 613"/>
                    <a:gd name="T61" fmla="*/ 532 h 644"/>
                    <a:gd name="T62" fmla="*/ 391 w 613"/>
                    <a:gd name="T63" fmla="*/ 524 h 644"/>
                    <a:gd name="T64" fmla="*/ 446 w 613"/>
                    <a:gd name="T65" fmla="*/ 527 h 644"/>
                    <a:gd name="T66" fmla="*/ 504 w 613"/>
                    <a:gd name="T67" fmla="*/ 504 h 644"/>
                    <a:gd name="T68" fmla="*/ 554 w 613"/>
                    <a:gd name="T69" fmla="*/ 492 h 644"/>
                    <a:gd name="T70" fmla="*/ 591 w 613"/>
                    <a:gd name="T71" fmla="*/ 472 h 644"/>
                    <a:gd name="T72" fmla="*/ 558 w 613"/>
                    <a:gd name="T73" fmla="*/ 425 h 644"/>
                    <a:gd name="T74" fmla="*/ 532 w 613"/>
                    <a:gd name="T75" fmla="*/ 400 h 644"/>
                    <a:gd name="T76" fmla="*/ 492 w 613"/>
                    <a:gd name="T77" fmla="*/ 365 h 644"/>
                    <a:gd name="T78" fmla="*/ 507 w 613"/>
                    <a:gd name="T79" fmla="*/ 340 h 644"/>
                    <a:gd name="T80" fmla="*/ 483 w 613"/>
                    <a:gd name="T81" fmla="*/ 305 h 644"/>
                    <a:gd name="T82" fmla="*/ 487 w 613"/>
                    <a:gd name="T83" fmla="*/ 224 h 644"/>
                    <a:gd name="T84" fmla="*/ 467 w 613"/>
                    <a:gd name="T85" fmla="*/ 231 h 644"/>
                    <a:gd name="T86" fmla="*/ 448 w 613"/>
                    <a:gd name="T87" fmla="*/ 218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3" h="644">
                      <a:moveTo>
                        <a:pt x="448" y="218"/>
                      </a:moveTo>
                      <a:cubicBezTo>
                        <a:pt x="438" y="213"/>
                        <a:pt x="455" y="200"/>
                        <a:pt x="445" y="192"/>
                      </a:cubicBezTo>
                      <a:cubicBezTo>
                        <a:pt x="433" y="184"/>
                        <a:pt x="460" y="178"/>
                        <a:pt x="461" y="166"/>
                      </a:cubicBezTo>
                      <a:cubicBezTo>
                        <a:pt x="466" y="166"/>
                        <a:pt x="465" y="163"/>
                        <a:pt x="470" y="167"/>
                      </a:cubicBezTo>
                      <a:cubicBezTo>
                        <a:pt x="487" y="181"/>
                        <a:pt x="479" y="165"/>
                        <a:pt x="491" y="164"/>
                      </a:cubicBezTo>
                      <a:cubicBezTo>
                        <a:pt x="506" y="163"/>
                        <a:pt x="490" y="179"/>
                        <a:pt x="535" y="173"/>
                      </a:cubicBezTo>
                      <a:cubicBezTo>
                        <a:pt x="559" y="169"/>
                        <a:pt x="552" y="150"/>
                        <a:pt x="561" y="143"/>
                      </a:cubicBezTo>
                      <a:cubicBezTo>
                        <a:pt x="555" y="144"/>
                        <a:pt x="551" y="144"/>
                        <a:pt x="555" y="133"/>
                      </a:cubicBezTo>
                      <a:cubicBezTo>
                        <a:pt x="560" y="119"/>
                        <a:pt x="547" y="107"/>
                        <a:pt x="536" y="119"/>
                      </a:cubicBezTo>
                      <a:cubicBezTo>
                        <a:pt x="519" y="139"/>
                        <a:pt x="487" y="132"/>
                        <a:pt x="497" y="116"/>
                      </a:cubicBezTo>
                      <a:cubicBezTo>
                        <a:pt x="511" y="93"/>
                        <a:pt x="473" y="89"/>
                        <a:pt x="496" y="76"/>
                      </a:cubicBezTo>
                      <a:cubicBezTo>
                        <a:pt x="515" y="65"/>
                        <a:pt x="437" y="63"/>
                        <a:pt x="461" y="83"/>
                      </a:cubicBezTo>
                      <a:cubicBezTo>
                        <a:pt x="469" y="89"/>
                        <a:pt x="457" y="105"/>
                        <a:pt x="451" y="98"/>
                      </a:cubicBezTo>
                      <a:cubicBezTo>
                        <a:pt x="444" y="90"/>
                        <a:pt x="433" y="105"/>
                        <a:pt x="436" y="111"/>
                      </a:cubicBezTo>
                      <a:cubicBezTo>
                        <a:pt x="445" y="134"/>
                        <a:pt x="423" y="134"/>
                        <a:pt x="413" y="149"/>
                      </a:cubicBezTo>
                      <a:cubicBezTo>
                        <a:pt x="408" y="158"/>
                        <a:pt x="401" y="157"/>
                        <a:pt x="393" y="161"/>
                      </a:cubicBezTo>
                      <a:cubicBezTo>
                        <a:pt x="392" y="162"/>
                        <a:pt x="392" y="196"/>
                        <a:pt x="393" y="199"/>
                      </a:cubicBezTo>
                      <a:cubicBezTo>
                        <a:pt x="399" y="220"/>
                        <a:pt x="394" y="238"/>
                        <a:pt x="388" y="240"/>
                      </a:cubicBezTo>
                      <a:cubicBezTo>
                        <a:pt x="378" y="241"/>
                        <a:pt x="381" y="242"/>
                        <a:pt x="375" y="249"/>
                      </a:cubicBezTo>
                      <a:cubicBezTo>
                        <a:pt x="362" y="266"/>
                        <a:pt x="381" y="216"/>
                        <a:pt x="346" y="246"/>
                      </a:cubicBezTo>
                      <a:cubicBezTo>
                        <a:pt x="332" y="258"/>
                        <a:pt x="303" y="253"/>
                        <a:pt x="302" y="235"/>
                      </a:cubicBezTo>
                      <a:cubicBezTo>
                        <a:pt x="302" y="218"/>
                        <a:pt x="281" y="226"/>
                        <a:pt x="293" y="206"/>
                      </a:cubicBezTo>
                      <a:cubicBezTo>
                        <a:pt x="298" y="198"/>
                        <a:pt x="274" y="183"/>
                        <a:pt x="273" y="173"/>
                      </a:cubicBezTo>
                      <a:cubicBezTo>
                        <a:pt x="272" y="167"/>
                        <a:pt x="252" y="118"/>
                        <a:pt x="249" y="110"/>
                      </a:cubicBezTo>
                      <a:cubicBezTo>
                        <a:pt x="248" y="108"/>
                        <a:pt x="232" y="111"/>
                        <a:pt x="229" y="114"/>
                      </a:cubicBezTo>
                      <a:cubicBezTo>
                        <a:pt x="223" y="121"/>
                        <a:pt x="202" y="94"/>
                        <a:pt x="210" y="85"/>
                      </a:cubicBezTo>
                      <a:cubicBezTo>
                        <a:pt x="226" y="69"/>
                        <a:pt x="201" y="63"/>
                        <a:pt x="197" y="48"/>
                      </a:cubicBezTo>
                      <a:cubicBezTo>
                        <a:pt x="190" y="21"/>
                        <a:pt x="183" y="41"/>
                        <a:pt x="172" y="49"/>
                      </a:cubicBezTo>
                      <a:cubicBezTo>
                        <a:pt x="156" y="61"/>
                        <a:pt x="172" y="86"/>
                        <a:pt x="160" y="73"/>
                      </a:cubicBezTo>
                      <a:cubicBezTo>
                        <a:pt x="154" y="67"/>
                        <a:pt x="153" y="31"/>
                        <a:pt x="153" y="0"/>
                      </a:cubicBezTo>
                      <a:cubicBezTo>
                        <a:pt x="137" y="0"/>
                        <a:pt x="147" y="21"/>
                        <a:pt x="140" y="28"/>
                      </a:cubicBezTo>
                      <a:cubicBezTo>
                        <a:pt x="132" y="36"/>
                        <a:pt x="133" y="19"/>
                        <a:pt x="131" y="17"/>
                      </a:cubicBezTo>
                      <a:cubicBezTo>
                        <a:pt x="122" y="0"/>
                        <a:pt x="120" y="36"/>
                        <a:pt x="120" y="36"/>
                      </a:cubicBezTo>
                      <a:cubicBezTo>
                        <a:pt x="111" y="52"/>
                        <a:pt x="130" y="69"/>
                        <a:pt x="114" y="72"/>
                      </a:cubicBezTo>
                      <a:cubicBezTo>
                        <a:pt x="97" y="75"/>
                        <a:pt x="97" y="80"/>
                        <a:pt x="96" y="64"/>
                      </a:cubicBezTo>
                      <a:cubicBezTo>
                        <a:pt x="95" y="45"/>
                        <a:pt x="83" y="65"/>
                        <a:pt x="79" y="73"/>
                      </a:cubicBezTo>
                      <a:cubicBezTo>
                        <a:pt x="79" y="74"/>
                        <a:pt x="79" y="78"/>
                        <a:pt x="80" y="89"/>
                      </a:cubicBezTo>
                      <a:cubicBezTo>
                        <a:pt x="80" y="96"/>
                        <a:pt x="86" y="123"/>
                        <a:pt x="94" y="119"/>
                      </a:cubicBezTo>
                      <a:cubicBezTo>
                        <a:pt x="124" y="103"/>
                        <a:pt x="107" y="148"/>
                        <a:pt x="109" y="156"/>
                      </a:cubicBezTo>
                      <a:cubicBezTo>
                        <a:pt x="111" y="166"/>
                        <a:pt x="106" y="175"/>
                        <a:pt x="109" y="183"/>
                      </a:cubicBezTo>
                      <a:cubicBezTo>
                        <a:pt x="111" y="193"/>
                        <a:pt x="96" y="218"/>
                        <a:pt x="100" y="222"/>
                      </a:cubicBezTo>
                      <a:cubicBezTo>
                        <a:pt x="112" y="232"/>
                        <a:pt x="83" y="231"/>
                        <a:pt x="94" y="239"/>
                      </a:cubicBezTo>
                      <a:cubicBezTo>
                        <a:pt x="111" y="252"/>
                        <a:pt x="82" y="248"/>
                        <a:pt x="80" y="254"/>
                      </a:cubicBezTo>
                      <a:cubicBezTo>
                        <a:pt x="72" y="284"/>
                        <a:pt x="68" y="252"/>
                        <a:pt x="54" y="278"/>
                      </a:cubicBezTo>
                      <a:cubicBezTo>
                        <a:pt x="40" y="305"/>
                        <a:pt x="36" y="277"/>
                        <a:pt x="23" y="302"/>
                      </a:cubicBezTo>
                      <a:cubicBezTo>
                        <a:pt x="17" y="314"/>
                        <a:pt x="31" y="315"/>
                        <a:pt x="11" y="323"/>
                      </a:cubicBezTo>
                      <a:cubicBezTo>
                        <a:pt x="7" y="325"/>
                        <a:pt x="2" y="346"/>
                        <a:pt x="8" y="348"/>
                      </a:cubicBezTo>
                      <a:cubicBezTo>
                        <a:pt x="35" y="357"/>
                        <a:pt x="0" y="384"/>
                        <a:pt x="0" y="385"/>
                      </a:cubicBezTo>
                      <a:cubicBezTo>
                        <a:pt x="4" y="407"/>
                        <a:pt x="15" y="376"/>
                        <a:pt x="76" y="382"/>
                      </a:cubicBezTo>
                      <a:cubicBezTo>
                        <a:pt x="114" y="385"/>
                        <a:pt x="76" y="387"/>
                        <a:pt x="79" y="404"/>
                      </a:cubicBezTo>
                      <a:cubicBezTo>
                        <a:pt x="80" y="414"/>
                        <a:pt x="95" y="414"/>
                        <a:pt x="85" y="426"/>
                      </a:cubicBezTo>
                      <a:cubicBezTo>
                        <a:pt x="82" y="430"/>
                        <a:pt x="96" y="434"/>
                        <a:pt x="90" y="444"/>
                      </a:cubicBezTo>
                      <a:cubicBezTo>
                        <a:pt x="72" y="470"/>
                        <a:pt x="158" y="459"/>
                        <a:pt x="124" y="482"/>
                      </a:cubicBezTo>
                      <a:cubicBezTo>
                        <a:pt x="110" y="492"/>
                        <a:pt x="121" y="507"/>
                        <a:pt x="110" y="517"/>
                      </a:cubicBezTo>
                      <a:cubicBezTo>
                        <a:pt x="67" y="550"/>
                        <a:pt x="163" y="537"/>
                        <a:pt x="155" y="558"/>
                      </a:cubicBezTo>
                      <a:cubicBezTo>
                        <a:pt x="146" y="579"/>
                        <a:pt x="169" y="578"/>
                        <a:pt x="164" y="584"/>
                      </a:cubicBezTo>
                      <a:cubicBezTo>
                        <a:pt x="148" y="598"/>
                        <a:pt x="184" y="594"/>
                        <a:pt x="188" y="597"/>
                      </a:cubicBezTo>
                      <a:cubicBezTo>
                        <a:pt x="203" y="607"/>
                        <a:pt x="233" y="567"/>
                        <a:pt x="237" y="587"/>
                      </a:cubicBezTo>
                      <a:cubicBezTo>
                        <a:pt x="241" y="600"/>
                        <a:pt x="223" y="634"/>
                        <a:pt x="256" y="622"/>
                      </a:cubicBezTo>
                      <a:cubicBezTo>
                        <a:pt x="259" y="620"/>
                        <a:pt x="290" y="644"/>
                        <a:pt x="278" y="620"/>
                      </a:cubicBezTo>
                      <a:cubicBezTo>
                        <a:pt x="269" y="603"/>
                        <a:pt x="293" y="593"/>
                        <a:pt x="275" y="571"/>
                      </a:cubicBezTo>
                      <a:cubicBezTo>
                        <a:pt x="263" y="556"/>
                        <a:pt x="274" y="519"/>
                        <a:pt x="290" y="532"/>
                      </a:cubicBezTo>
                      <a:cubicBezTo>
                        <a:pt x="295" y="536"/>
                        <a:pt x="318" y="539"/>
                        <a:pt x="323" y="531"/>
                      </a:cubicBezTo>
                      <a:cubicBezTo>
                        <a:pt x="360" y="474"/>
                        <a:pt x="355" y="569"/>
                        <a:pt x="391" y="524"/>
                      </a:cubicBezTo>
                      <a:cubicBezTo>
                        <a:pt x="409" y="501"/>
                        <a:pt x="405" y="542"/>
                        <a:pt x="417" y="519"/>
                      </a:cubicBezTo>
                      <a:cubicBezTo>
                        <a:pt x="425" y="502"/>
                        <a:pt x="436" y="558"/>
                        <a:pt x="446" y="527"/>
                      </a:cubicBezTo>
                      <a:cubicBezTo>
                        <a:pt x="455" y="497"/>
                        <a:pt x="469" y="532"/>
                        <a:pt x="476" y="526"/>
                      </a:cubicBezTo>
                      <a:cubicBezTo>
                        <a:pt x="489" y="513"/>
                        <a:pt x="502" y="519"/>
                        <a:pt x="504" y="504"/>
                      </a:cubicBezTo>
                      <a:cubicBezTo>
                        <a:pt x="506" y="489"/>
                        <a:pt x="524" y="489"/>
                        <a:pt x="534" y="480"/>
                      </a:cubicBezTo>
                      <a:cubicBezTo>
                        <a:pt x="539" y="476"/>
                        <a:pt x="546" y="484"/>
                        <a:pt x="554" y="492"/>
                      </a:cubicBezTo>
                      <a:cubicBezTo>
                        <a:pt x="560" y="486"/>
                        <a:pt x="572" y="477"/>
                        <a:pt x="576" y="469"/>
                      </a:cubicBezTo>
                      <a:cubicBezTo>
                        <a:pt x="583" y="468"/>
                        <a:pt x="587" y="477"/>
                        <a:pt x="591" y="472"/>
                      </a:cubicBezTo>
                      <a:cubicBezTo>
                        <a:pt x="613" y="449"/>
                        <a:pt x="595" y="415"/>
                        <a:pt x="586" y="421"/>
                      </a:cubicBezTo>
                      <a:cubicBezTo>
                        <a:pt x="567" y="434"/>
                        <a:pt x="562" y="421"/>
                        <a:pt x="558" y="425"/>
                      </a:cubicBezTo>
                      <a:cubicBezTo>
                        <a:pt x="553" y="429"/>
                        <a:pt x="549" y="425"/>
                        <a:pt x="543" y="423"/>
                      </a:cubicBezTo>
                      <a:cubicBezTo>
                        <a:pt x="528" y="421"/>
                        <a:pt x="540" y="406"/>
                        <a:pt x="532" y="400"/>
                      </a:cubicBezTo>
                      <a:cubicBezTo>
                        <a:pt x="515" y="387"/>
                        <a:pt x="497" y="406"/>
                        <a:pt x="494" y="396"/>
                      </a:cubicBezTo>
                      <a:cubicBezTo>
                        <a:pt x="490" y="384"/>
                        <a:pt x="488" y="375"/>
                        <a:pt x="492" y="365"/>
                      </a:cubicBezTo>
                      <a:cubicBezTo>
                        <a:pt x="494" y="362"/>
                        <a:pt x="496" y="359"/>
                        <a:pt x="499" y="356"/>
                      </a:cubicBezTo>
                      <a:cubicBezTo>
                        <a:pt x="504" y="351"/>
                        <a:pt x="503" y="343"/>
                        <a:pt x="507" y="340"/>
                      </a:cubicBezTo>
                      <a:cubicBezTo>
                        <a:pt x="520" y="330"/>
                        <a:pt x="503" y="332"/>
                        <a:pt x="498" y="322"/>
                      </a:cubicBezTo>
                      <a:cubicBezTo>
                        <a:pt x="494" y="313"/>
                        <a:pt x="489" y="312"/>
                        <a:pt x="483" y="305"/>
                      </a:cubicBezTo>
                      <a:cubicBezTo>
                        <a:pt x="475" y="296"/>
                        <a:pt x="498" y="257"/>
                        <a:pt x="504" y="252"/>
                      </a:cubicBezTo>
                      <a:cubicBezTo>
                        <a:pt x="516" y="243"/>
                        <a:pt x="498" y="218"/>
                        <a:pt x="487" y="224"/>
                      </a:cubicBezTo>
                      <a:cubicBezTo>
                        <a:pt x="481" y="227"/>
                        <a:pt x="480" y="225"/>
                        <a:pt x="473" y="225"/>
                      </a:cubicBezTo>
                      <a:cubicBezTo>
                        <a:pt x="471" y="227"/>
                        <a:pt x="469" y="230"/>
                        <a:pt x="467" y="231"/>
                      </a:cubicBezTo>
                      <a:cubicBezTo>
                        <a:pt x="449" y="241"/>
                        <a:pt x="449" y="219"/>
                        <a:pt x="448" y="218"/>
                      </a:cubicBezTo>
                      <a:cubicBezTo>
                        <a:pt x="448" y="218"/>
                        <a:pt x="448" y="218"/>
                        <a:pt x="448" y="218"/>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grpSp>
              <p:nvGrpSpPr>
                <p:cNvPr id="2294" name="Qinghai">
                  <a:extLst>
                    <a:ext uri="{FF2B5EF4-FFF2-40B4-BE49-F238E27FC236}">
                      <a16:creationId xmlns:a16="http://schemas.microsoft.com/office/drawing/2014/main" id="{3DDFDCB8-893C-4E53-B25A-54668649FEAE}"/>
                    </a:ext>
                  </a:extLst>
                </p:cNvPr>
                <p:cNvGrpSpPr/>
                <p:nvPr/>
              </p:nvGrpSpPr>
              <p:grpSpPr>
                <a:xfrm>
                  <a:off x="4341018" y="3203575"/>
                  <a:ext cx="1704975" cy="1192213"/>
                  <a:chOff x="4341018" y="3203575"/>
                  <a:chExt cx="1704975" cy="1192213"/>
                </a:xfrm>
                <a:grpFill/>
              </p:grpSpPr>
              <p:sp>
                <p:nvSpPr>
                  <p:cNvPr id="2328" name="Qinghai" descr="{&quot;Key&quot;:&quot;qinghai&quot;,&quot;Name&quot;:&quot;Qinghai&quot;,&quot;Value&quot;:1.0,&quot;Formula&quot;:&quot;&quot;,&quot;Text&quot;:&quot;&quot;,&quot;OfficeApplication&quot;:1,&quot;HasValue&quot;:true}">
                    <a:extLst>
                      <a:ext uri="{FF2B5EF4-FFF2-40B4-BE49-F238E27FC236}">
                        <a16:creationId xmlns:a16="http://schemas.microsoft.com/office/drawing/2014/main" id="{385CCF13-76A0-41B8-9DEC-3947429C11B2}"/>
                      </a:ext>
                    </a:extLst>
                  </p:cNvPr>
                  <p:cNvSpPr>
                    <a:spLocks/>
                  </p:cNvSpPr>
                  <p:nvPr/>
                </p:nvSpPr>
                <p:spPr bwMode="auto">
                  <a:xfrm>
                    <a:off x="5612606" y="3600450"/>
                    <a:ext cx="158750" cy="130175"/>
                  </a:xfrm>
                  <a:custGeom>
                    <a:avLst/>
                    <a:gdLst>
                      <a:gd name="T0" fmla="*/ 77 w 81"/>
                      <a:gd name="T1" fmla="*/ 41 h 66"/>
                      <a:gd name="T2" fmla="*/ 73 w 81"/>
                      <a:gd name="T3" fmla="*/ 29 h 66"/>
                      <a:gd name="T4" fmla="*/ 31 w 81"/>
                      <a:gd name="T5" fmla="*/ 0 h 66"/>
                      <a:gd name="T6" fmla="*/ 25 w 81"/>
                      <a:gd name="T7" fmla="*/ 1 h 66"/>
                      <a:gd name="T8" fmla="*/ 15 w 81"/>
                      <a:gd name="T9" fmla="*/ 17 h 66"/>
                      <a:gd name="T10" fmla="*/ 49 w 81"/>
                      <a:gd name="T11" fmla="*/ 46 h 66"/>
                      <a:gd name="T12" fmla="*/ 77 w 81"/>
                      <a:gd name="T13" fmla="*/ 41 h 66"/>
                      <a:gd name="T14" fmla="*/ 77 w 81"/>
                      <a:gd name="T15" fmla="*/ 41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6">
                        <a:moveTo>
                          <a:pt x="77" y="41"/>
                        </a:moveTo>
                        <a:cubicBezTo>
                          <a:pt x="76" y="35"/>
                          <a:pt x="81" y="33"/>
                          <a:pt x="73" y="29"/>
                        </a:cubicBezTo>
                        <a:cubicBezTo>
                          <a:pt x="56" y="23"/>
                          <a:pt x="72" y="3"/>
                          <a:pt x="31" y="0"/>
                        </a:cubicBezTo>
                        <a:cubicBezTo>
                          <a:pt x="25" y="1"/>
                          <a:pt x="25" y="1"/>
                          <a:pt x="25" y="1"/>
                        </a:cubicBezTo>
                        <a:cubicBezTo>
                          <a:pt x="7" y="10"/>
                          <a:pt x="41" y="15"/>
                          <a:pt x="15" y="17"/>
                        </a:cubicBezTo>
                        <a:cubicBezTo>
                          <a:pt x="0" y="19"/>
                          <a:pt x="23" y="44"/>
                          <a:pt x="49" y="46"/>
                        </a:cubicBezTo>
                        <a:cubicBezTo>
                          <a:pt x="57" y="46"/>
                          <a:pt x="78" y="66"/>
                          <a:pt x="77" y="41"/>
                        </a:cubicBezTo>
                        <a:cubicBezTo>
                          <a:pt x="77" y="41"/>
                          <a:pt x="77" y="41"/>
                          <a:pt x="77" y="41"/>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29" name="Qinghai" descr="{&quot;Key&quot;:&quot;qinghai&quot;,&quot;Name&quot;:&quot;Qinghai&quot;,&quot;Value&quot;:1.0,&quot;Formula&quot;:&quot;&quot;,&quot;Text&quot;:&quot;&quot;,&quot;OfficeApplication&quot;:1,&quot;HasValue&quot;:true}">
                    <a:extLst>
                      <a:ext uri="{FF2B5EF4-FFF2-40B4-BE49-F238E27FC236}">
                        <a16:creationId xmlns:a16="http://schemas.microsoft.com/office/drawing/2014/main" id="{67E1374E-79DA-4248-93E7-29B52C85F997}"/>
                      </a:ext>
                    </a:extLst>
                  </p:cNvPr>
                  <p:cNvSpPr>
                    <a:spLocks noEditPoints="1"/>
                  </p:cNvSpPr>
                  <p:nvPr/>
                </p:nvSpPr>
                <p:spPr bwMode="auto">
                  <a:xfrm>
                    <a:off x="4341018" y="3203575"/>
                    <a:ext cx="1704975" cy="1192213"/>
                  </a:xfrm>
                  <a:custGeom>
                    <a:avLst/>
                    <a:gdLst>
                      <a:gd name="T0" fmla="*/ 582 w 864"/>
                      <a:gd name="T1" fmla="*/ 507 h 604"/>
                      <a:gd name="T2" fmla="*/ 643 w 864"/>
                      <a:gd name="T3" fmla="*/ 523 h 604"/>
                      <a:gd name="T4" fmla="*/ 669 w 864"/>
                      <a:gd name="T5" fmla="*/ 543 h 604"/>
                      <a:gd name="T6" fmla="*/ 684 w 864"/>
                      <a:gd name="T7" fmla="*/ 562 h 604"/>
                      <a:gd name="T8" fmla="*/ 723 w 864"/>
                      <a:gd name="T9" fmla="*/ 539 h 604"/>
                      <a:gd name="T10" fmla="*/ 759 w 864"/>
                      <a:gd name="T11" fmla="*/ 491 h 604"/>
                      <a:gd name="T12" fmla="*/ 705 w 864"/>
                      <a:gd name="T13" fmla="*/ 434 h 604"/>
                      <a:gd name="T14" fmla="*/ 778 w 864"/>
                      <a:gd name="T15" fmla="*/ 409 h 604"/>
                      <a:gd name="T16" fmla="*/ 836 w 864"/>
                      <a:gd name="T17" fmla="*/ 334 h 604"/>
                      <a:gd name="T18" fmla="*/ 852 w 864"/>
                      <a:gd name="T19" fmla="*/ 286 h 604"/>
                      <a:gd name="T20" fmla="*/ 838 w 864"/>
                      <a:gd name="T21" fmla="*/ 247 h 604"/>
                      <a:gd name="T22" fmla="*/ 800 w 864"/>
                      <a:gd name="T23" fmla="*/ 174 h 604"/>
                      <a:gd name="T24" fmla="*/ 737 w 864"/>
                      <a:gd name="T25" fmla="*/ 148 h 604"/>
                      <a:gd name="T26" fmla="*/ 696 w 864"/>
                      <a:gd name="T27" fmla="*/ 117 h 604"/>
                      <a:gd name="T28" fmla="*/ 599 w 864"/>
                      <a:gd name="T29" fmla="*/ 59 h 604"/>
                      <a:gd name="T30" fmla="*/ 552 w 864"/>
                      <a:gd name="T31" fmla="*/ 49 h 604"/>
                      <a:gd name="T32" fmla="*/ 489 w 864"/>
                      <a:gd name="T33" fmla="*/ 102 h 604"/>
                      <a:gd name="T34" fmla="*/ 439 w 864"/>
                      <a:gd name="T35" fmla="*/ 96 h 604"/>
                      <a:gd name="T36" fmla="*/ 344 w 864"/>
                      <a:gd name="T37" fmla="*/ 50 h 604"/>
                      <a:gd name="T38" fmla="*/ 289 w 864"/>
                      <a:gd name="T39" fmla="*/ 32 h 604"/>
                      <a:gd name="T40" fmla="*/ 234 w 864"/>
                      <a:gd name="T41" fmla="*/ 2 h 604"/>
                      <a:gd name="T42" fmla="*/ 114 w 864"/>
                      <a:gd name="T43" fmla="*/ 47 h 604"/>
                      <a:gd name="T44" fmla="*/ 138 w 864"/>
                      <a:gd name="T45" fmla="*/ 141 h 604"/>
                      <a:gd name="T46" fmla="*/ 103 w 864"/>
                      <a:gd name="T47" fmla="*/ 199 h 604"/>
                      <a:gd name="T48" fmla="*/ 42 w 864"/>
                      <a:gd name="T49" fmla="*/ 190 h 604"/>
                      <a:gd name="T50" fmla="*/ 44 w 864"/>
                      <a:gd name="T51" fmla="*/ 209 h 604"/>
                      <a:gd name="T52" fmla="*/ 37 w 864"/>
                      <a:gd name="T53" fmla="*/ 229 h 604"/>
                      <a:gd name="T54" fmla="*/ 25 w 864"/>
                      <a:gd name="T55" fmla="*/ 278 h 604"/>
                      <a:gd name="T56" fmla="*/ 25 w 864"/>
                      <a:gd name="T57" fmla="*/ 319 h 604"/>
                      <a:gd name="T58" fmla="*/ 44 w 864"/>
                      <a:gd name="T59" fmla="*/ 410 h 604"/>
                      <a:gd name="T60" fmla="*/ 142 w 864"/>
                      <a:gd name="T61" fmla="*/ 460 h 604"/>
                      <a:gd name="T62" fmla="*/ 234 w 864"/>
                      <a:gd name="T63" fmla="*/ 500 h 604"/>
                      <a:gd name="T64" fmla="*/ 333 w 864"/>
                      <a:gd name="T65" fmla="*/ 538 h 604"/>
                      <a:gd name="T66" fmla="*/ 365 w 864"/>
                      <a:gd name="T67" fmla="*/ 584 h 604"/>
                      <a:gd name="T68" fmla="*/ 394 w 864"/>
                      <a:gd name="T69" fmla="*/ 587 h 604"/>
                      <a:gd name="T70" fmla="*/ 429 w 864"/>
                      <a:gd name="T71" fmla="*/ 575 h 604"/>
                      <a:gd name="T72" fmla="*/ 504 w 864"/>
                      <a:gd name="T73" fmla="*/ 543 h 604"/>
                      <a:gd name="T74" fmla="*/ 501 w 864"/>
                      <a:gd name="T75" fmla="*/ 540 h 604"/>
                      <a:gd name="T76" fmla="*/ 492 w 864"/>
                      <a:gd name="T77" fmla="*/ 491 h 604"/>
                      <a:gd name="T78" fmla="*/ 495 w 864"/>
                      <a:gd name="T79" fmla="*/ 441 h 604"/>
                      <a:gd name="T80" fmla="*/ 534 w 864"/>
                      <a:gd name="T81" fmla="*/ 438 h 604"/>
                      <a:gd name="T82" fmla="*/ 669 w 864"/>
                      <a:gd name="T83" fmla="*/ 202 h 604"/>
                      <a:gd name="T84" fmla="*/ 717 w 864"/>
                      <a:gd name="T85" fmla="*/ 230 h 604"/>
                      <a:gd name="T86" fmla="*/ 693 w 864"/>
                      <a:gd name="T87" fmla="*/ 247 h 604"/>
                      <a:gd name="T88" fmla="*/ 659 w 864"/>
                      <a:gd name="T89" fmla="*/ 218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4" h="604">
                        <a:moveTo>
                          <a:pt x="534" y="438"/>
                        </a:moveTo>
                        <a:cubicBezTo>
                          <a:pt x="583" y="439"/>
                          <a:pt x="559" y="495"/>
                          <a:pt x="582" y="507"/>
                        </a:cubicBezTo>
                        <a:cubicBezTo>
                          <a:pt x="592" y="512"/>
                          <a:pt x="595" y="518"/>
                          <a:pt x="603" y="525"/>
                        </a:cubicBezTo>
                        <a:cubicBezTo>
                          <a:pt x="641" y="559"/>
                          <a:pt x="629" y="511"/>
                          <a:pt x="643" y="523"/>
                        </a:cubicBezTo>
                        <a:cubicBezTo>
                          <a:pt x="665" y="542"/>
                          <a:pt x="651" y="535"/>
                          <a:pt x="649" y="547"/>
                        </a:cubicBezTo>
                        <a:cubicBezTo>
                          <a:pt x="648" y="565"/>
                          <a:pt x="663" y="540"/>
                          <a:pt x="669" y="543"/>
                        </a:cubicBezTo>
                        <a:cubicBezTo>
                          <a:pt x="688" y="553"/>
                          <a:pt x="673" y="558"/>
                          <a:pt x="672" y="561"/>
                        </a:cubicBezTo>
                        <a:cubicBezTo>
                          <a:pt x="667" y="568"/>
                          <a:pt x="681" y="564"/>
                          <a:pt x="684" y="562"/>
                        </a:cubicBezTo>
                        <a:cubicBezTo>
                          <a:pt x="694" y="554"/>
                          <a:pt x="684" y="554"/>
                          <a:pt x="694" y="556"/>
                        </a:cubicBezTo>
                        <a:cubicBezTo>
                          <a:pt x="705" y="557"/>
                          <a:pt x="729" y="553"/>
                          <a:pt x="723" y="539"/>
                        </a:cubicBezTo>
                        <a:cubicBezTo>
                          <a:pt x="715" y="524"/>
                          <a:pt x="728" y="506"/>
                          <a:pt x="744" y="517"/>
                        </a:cubicBezTo>
                        <a:cubicBezTo>
                          <a:pt x="765" y="530"/>
                          <a:pt x="755" y="502"/>
                          <a:pt x="759" y="491"/>
                        </a:cubicBezTo>
                        <a:cubicBezTo>
                          <a:pt x="750" y="476"/>
                          <a:pt x="750" y="482"/>
                          <a:pt x="735" y="478"/>
                        </a:cubicBezTo>
                        <a:cubicBezTo>
                          <a:pt x="731" y="477"/>
                          <a:pt x="704" y="437"/>
                          <a:pt x="705" y="434"/>
                        </a:cubicBezTo>
                        <a:cubicBezTo>
                          <a:pt x="717" y="399"/>
                          <a:pt x="762" y="464"/>
                          <a:pt x="780" y="443"/>
                        </a:cubicBezTo>
                        <a:cubicBezTo>
                          <a:pt x="801" y="418"/>
                          <a:pt x="802" y="437"/>
                          <a:pt x="778" y="409"/>
                        </a:cubicBezTo>
                        <a:cubicBezTo>
                          <a:pt x="759" y="386"/>
                          <a:pt x="813" y="380"/>
                          <a:pt x="809" y="367"/>
                        </a:cubicBezTo>
                        <a:cubicBezTo>
                          <a:pt x="801" y="340"/>
                          <a:pt x="836" y="353"/>
                          <a:pt x="836" y="334"/>
                        </a:cubicBezTo>
                        <a:cubicBezTo>
                          <a:pt x="836" y="317"/>
                          <a:pt x="849" y="326"/>
                          <a:pt x="849" y="312"/>
                        </a:cubicBezTo>
                        <a:cubicBezTo>
                          <a:pt x="849" y="301"/>
                          <a:pt x="864" y="295"/>
                          <a:pt x="852" y="286"/>
                        </a:cubicBezTo>
                        <a:cubicBezTo>
                          <a:pt x="842" y="278"/>
                          <a:pt x="847" y="272"/>
                          <a:pt x="839" y="263"/>
                        </a:cubicBezTo>
                        <a:cubicBezTo>
                          <a:pt x="828" y="252"/>
                          <a:pt x="844" y="253"/>
                          <a:pt x="838" y="247"/>
                        </a:cubicBezTo>
                        <a:cubicBezTo>
                          <a:pt x="814" y="223"/>
                          <a:pt x="858" y="230"/>
                          <a:pt x="808" y="197"/>
                        </a:cubicBezTo>
                        <a:cubicBezTo>
                          <a:pt x="802" y="193"/>
                          <a:pt x="810" y="174"/>
                          <a:pt x="800" y="174"/>
                        </a:cubicBezTo>
                        <a:cubicBezTo>
                          <a:pt x="787" y="174"/>
                          <a:pt x="797" y="201"/>
                          <a:pt x="767" y="171"/>
                        </a:cubicBezTo>
                        <a:cubicBezTo>
                          <a:pt x="744" y="149"/>
                          <a:pt x="752" y="159"/>
                          <a:pt x="737" y="148"/>
                        </a:cubicBezTo>
                        <a:cubicBezTo>
                          <a:pt x="715" y="132"/>
                          <a:pt x="725" y="130"/>
                          <a:pt x="716" y="127"/>
                        </a:cubicBezTo>
                        <a:cubicBezTo>
                          <a:pt x="707" y="124"/>
                          <a:pt x="696" y="93"/>
                          <a:pt x="696" y="117"/>
                        </a:cubicBezTo>
                        <a:cubicBezTo>
                          <a:pt x="697" y="140"/>
                          <a:pt x="636" y="69"/>
                          <a:pt x="631" y="62"/>
                        </a:cubicBezTo>
                        <a:cubicBezTo>
                          <a:pt x="620" y="45"/>
                          <a:pt x="615" y="67"/>
                          <a:pt x="599" y="59"/>
                        </a:cubicBezTo>
                        <a:cubicBezTo>
                          <a:pt x="588" y="53"/>
                          <a:pt x="588" y="73"/>
                          <a:pt x="579" y="71"/>
                        </a:cubicBezTo>
                        <a:cubicBezTo>
                          <a:pt x="552" y="49"/>
                          <a:pt x="552" y="49"/>
                          <a:pt x="552" y="49"/>
                        </a:cubicBezTo>
                        <a:cubicBezTo>
                          <a:pt x="496" y="0"/>
                          <a:pt x="528" y="65"/>
                          <a:pt x="501" y="78"/>
                        </a:cubicBezTo>
                        <a:cubicBezTo>
                          <a:pt x="490" y="84"/>
                          <a:pt x="504" y="107"/>
                          <a:pt x="489" y="102"/>
                        </a:cubicBezTo>
                        <a:cubicBezTo>
                          <a:pt x="479" y="99"/>
                          <a:pt x="478" y="118"/>
                          <a:pt x="465" y="102"/>
                        </a:cubicBezTo>
                        <a:cubicBezTo>
                          <a:pt x="454" y="89"/>
                          <a:pt x="452" y="99"/>
                          <a:pt x="439" y="96"/>
                        </a:cubicBezTo>
                        <a:cubicBezTo>
                          <a:pt x="393" y="87"/>
                          <a:pt x="428" y="76"/>
                          <a:pt x="374" y="83"/>
                        </a:cubicBezTo>
                        <a:cubicBezTo>
                          <a:pt x="352" y="85"/>
                          <a:pt x="362" y="46"/>
                          <a:pt x="344" y="50"/>
                        </a:cubicBezTo>
                        <a:cubicBezTo>
                          <a:pt x="333" y="53"/>
                          <a:pt x="310" y="51"/>
                          <a:pt x="326" y="44"/>
                        </a:cubicBezTo>
                        <a:cubicBezTo>
                          <a:pt x="345" y="36"/>
                          <a:pt x="290" y="42"/>
                          <a:pt x="289" y="32"/>
                        </a:cubicBezTo>
                        <a:cubicBezTo>
                          <a:pt x="288" y="17"/>
                          <a:pt x="267" y="16"/>
                          <a:pt x="257" y="7"/>
                        </a:cubicBezTo>
                        <a:cubicBezTo>
                          <a:pt x="257" y="7"/>
                          <a:pt x="255" y="5"/>
                          <a:pt x="234" y="2"/>
                        </a:cubicBezTo>
                        <a:cubicBezTo>
                          <a:pt x="218" y="1"/>
                          <a:pt x="105" y="14"/>
                          <a:pt x="104" y="24"/>
                        </a:cubicBezTo>
                        <a:cubicBezTo>
                          <a:pt x="103" y="37"/>
                          <a:pt x="123" y="27"/>
                          <a:pt x="114" y="47"/>
                        </a:cubicBezTo>
                        <a:cubicBezTo>
                          <a:pt x="100" y="77"/>
                          <a:pt x="144" y="90"/>
                          <a:pt x="145" y="116"/>
                        </a:cubicBezTo>
                        <a:cubicBezTo>
                          <a:pt x="146" y="128"/>
                          <a:pt x="168" y="142"/>
                          <a:pt x="138" y="141"/>
                        </a:cubicBezTo>
                        <a:cubicBezTo>
                          <a:pt x="124" y="140"/>
                          <a:pt x="87" y="157"/>
                          <a:pt x="124" y="170"/>
                        </a:cubicBezTo>
                        <a:cubicBezTo>
                          <a:pt x="134" y="174"/>
                          <a:pt x="136" y="225"/>
                          <a:pt x="103" y="199"/>
                        </a:cubicBezTo>
                        <a:cubicBezTo>
                          <a:pt x="93" y="191"/>
                          <a:pt x="80" y="192"/>
                          <a:pt x="70" y="183"/>
                        </a:cubicBezTo>
                        <a:cubicBezTo>
                          <a:pt x="61" y="174"/>
                          <a:pt x="72" y="191"/>
                          <a:pt x="42" y="190"/>
                        </a:cubicBezTo>
                        <a:cubicBezTo>
                          <a:pt x="40" y="190"/>
                          <a:pt x="40" y="190"/>
                          <a:pt x="40" y="190"/>
                        </a:cubicBezTo>
                        <a:cubicBezTo>
                          <a:pt x="2" y="189"/>
                          <a:pt x="44" y="205"/>
                          <a:pt x="44" y="209"/>
                        </a:cubicBezTo>
                        <a:cubicBezTo>
                          <a:pt x="44" y="209"/>
                          <a:pt x="42" y="210"/>
                          <a:pt x="42" y="213"/>
                        </a:cubicBezTo>
                        <a:cubicBezTo>
                          <a:pt x="42" y="218"/>
                          <a:pt x="37" y="222"/>
                          <a:pt x="37" y="229"/>
                        </a:cubicBezTo>
                        <a:cubicBezTo>
                          <a:pt x="36" y="245"/>
                          <a:pt x="7" y="235"/>
                          <a:pt x="19" y="261"/>
                        </a:cubicBezTo>
                        <a:cubicBezTo>
                          <a:pt x="23" y="270"/>
                          <a:pt x="11" y="275"/>
                          <a:pt x="25" y="278"/>
                        </a:cubicBezTo>
                        <a:cubicBezTo>
                          <a:pt x="42" y="280"/>
                          <a:pt x="16" y="292"/>
                          <a:pt x="21" y="297"/>
                        </a:cubicBezTo>
                        <a:cubicBezTo>
                          <a:pt x="26" y="303"/>
                          <a:pt x="26" y="306"/>
                          <a:pt x="25" y="319"/>
                        </a:cubicBezTo>
                        <a:cubicBezTo>
                          <a:pt x="24" y="334"/>
                          <a:pt x="0" y="335"/>
                          <a:pt x="12" y="349"/>
                        </a:cubicBezTo>
                        <a:cubicBezTo>
                          <a:pt x="23" y="362"/>
                          <a:pt x="37" y="406"/>
                          <a:pt x="44" y="410"/>
                        </a:cubicBezTo>
                        <a:cubicBezTo>
                          <a:pt x="89" y="437"/>
                          <a:pt x="88" y="410"/>
                          <a:pt x="99" y="413"/>
                        </a:cubicBezTo>
                        <a:cubicBezTo>
                          <a:pt x="102" y="414"/>
                          <a:pt x="113" y="449"/>
                          <a:pt x="142" y="460"/>
                        </a:cubicBezTo>
                        <a:cubicBezTo>
                          <a:pt x="162" y="468"/>
                          <a:pt x="151" y="468"/>
                          <a:pt x="190" y="478"/>
                        </a:cubicBezTo>
                        <a:cubicBezTo>
                          <a:pt x="221" y="485"/>
                          <a:pt x="222" y="509"/>
                          <a:pt x="234" y="500"/>
                        </a:cubicBezTo>
                        <a:cubicBezTo>
                          <a:pt x="244" y="493"/>
                          <a:pt x="257" y="522"/>
                          <a:pt x="284" y="507"/>
                        </a:cubicBezTo>
                        <a:cubicBezTo>
                          <a:pt x="315" y="490"/>
                          <a:pt x="310" y="538"/>
                          <a:pt x="333" y="538"/>
                        </a:cubicBezTo>
                        <a:cubicBezTo>
                          <a:pt x="355" y="538"/>
                          <a:pt x="337" y="563"/>
                          <a:pt x="340" y="568"/>
                        </a:cubicBezTo>
                        <a:cubicBezTo>
                          <a:pt x="350" y="582"/>
                          <a:pt x="349" y="576"/>
                          <a:pt x="365" y="584"/>
                        </a:cubicBezTo>
                        <a:cubicBezTo>
                          <a:pt x="378" y="590"/>
                          <a:pt x="379" y="581"/>
                          <a:pt x="386" y="594"/>
                        </a:cubicBezTo>
                        <a:cubicBezTo>
                          <a:pt x="391" y="604"/>
                          <a:pt x="401" y="594"/>
                          <a:pt x="394" y="587"/>
                        </a:cubicBezTo>
                        <a:cubicBezTo>
                          <a:pt x="391" y="583"/>
                          <a:pt x="391" y="561"/>
                          <a:pt x="410" y="587"/>
                        </a:cubicBezTo>
                        <a:cubicBezTo>
                          <a:pt x="423" y="604"/>
                          <a:pt x="430" y="591"/>
                          <a:pt x="429" y="575"/>
                        </a:cubicBezTo>
                        <a:cubicBezTo>
                          <a:pt x="429" y="572"/>
                          <a:pt x="458" y="578"/>
                          <a:pt x="465" y="562"/>
                        </a:cubicBezTo>
                        <a:cubicBezTo>
                          <a:pt x="475" y="540"/>
                          <a:pt x="478" y="540"/>
                          <a:pt x="504" y="543"/>
                        </a:cubicBezTo>
                        <a:cubicBezTo>
                          <a:pt x="504" y="543"/>
                          <a:pt x="504" y="543"/>
                          <a:pt x="505" y="543"/>
                        </a:cubicBezTo>
                        <a:cubicBezTo>
                          <a:pt x="504" y="542"/>
                          <a:pt x="503" y="541"/>
                          <a:pt x="501" y="540"/>
                        </a:cubicBezTo>
                        <a:cubicBezTo>
                          <a:pt x="491" y="536"/>
                          <a:pt x="469" y="517"/>
                          <a:pt x="484" y="505"/>
                        </a:cubicBezTo>
                        <a:cubicBezTo>
                          <a:pt x="491" y="500"/>
                          <a:pt x="487" y="497"/>
                          <a:pt x="492" y="491"/>
                        </a:cubicBezTo>
                        <a:cubicBezTo>
                          <a:pt x="503" y="477"/>
                          <a:pt x="507" y="477"/>
                          <a:pt x="507" y="477"/>
                        </a:cubicBezTo>
                        <a:cubicBezTo>
                          <a:pt x="513" y="471"/>
                          <a:pt x="476" y="459"/>
                          <a:pt x="495" y="441"/>
                        </a:cubicBezTo>
                        <a:cubicBezTo>
                          <a:pt x="514" y="423"/>
                          <a:pt x="509" y="437"/>
                          <a:pt x="534" y="438"/>
                        </a:cubicBezTo>
                        <a:cubicBezTo>
                          <a:pt x="534" y="438"/>
                          <a:pt x="534" y="438"/>
                          <a:pt x="534" y="438"/>
                        </a:cubicBezTo>
                        <a:close/>
                        <a:moveTo>
                          <a:pt x="659" y="218"/>
                        </a:moveTo>
                        <a:cubicBezTo>
                          <a:pt x="685" y="216"/>
                          <a:pt x="651" y="211"/>
                          <a:pt x="669" y="202"/>
                        </a:cubicBezTo>
                        <a:cubicBezTo>
                          <a:pt x="675" y="201"/>
                          <a:pt x="675" y="201"/>
                          <a:pt x="675" y="201"/>
                        </a:cubicBezTo>
                        <a:cubicBezTo>
                          <a:pt x="716" y="204"/>
                          <a:pt x="700" y="224"/>
                          <a:pt x="717" y="230"/>
                        </a:cubicBezTo>
                        <a:cubicBezTo>
                          <a:pt x="725" y="234"/>
                          <a:pt x="720" y="236"/>
                          <a:pt x="721" y="242"/>
                        </a:cubicBezTo>
                        <a:cubicBezTo>
                          <a:pt x="722" y="267"/>
                          <a:pt x="701" y="247"/>
                          <a:pt x="693" y="247"/>
                        </a:cubicBezTo>
                        <a:cubicBezTo>
                          <a:pt x="667" y="245"/>
                          <a:pt x="644" y="220"/>
                          <a:pt x="659" y="218"/>
                        </a:cubicBezTo>
                        <a:cubicBezTo>
                          <a:pt x="659" y="218"/>
                          <a:pt x="659" y="218"/>
                          <a:pt x="659" y="218"/>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grpSp>
            <p:grpSp>
              <p:nvGrpSpPr>
                <p:cNvPr id="2295" name="Anhui">
                  <a:extLst>
                    <a:ext uri="{FF2B5EF4-FFF2-40B4-BE49-F238E27FC236}">
                      <a16:creationId xmlns:a16="http://schemas.microsoft.com/office/drawing/2014/main" id="{B8CACE09-AC89-49D2-8606-85DEEBAE7999}"/>
                    </a:ext>
                  </a:extLst>
                </p:cNvPr>
                <p:cNvGrpSpPr/>
                <p:nvPr/>
              </p:nvGrpSpPr>
              <p:grpSpPr>
                <a:xfrm>
                  <a:off x="7479506" y="4019550"/>
                  <a:ext cx="636588" cy="776288"/>
                  <a:chOff x="7479506" y="4019550"/>
                  <a:chExt cx="636588" cy="776288"/>
                </a:xfrm>
                <a:grpFill/>
              </p:grpSpPr>
              <p:sp>
                <p:nvSpPr>
                  <p:cNvPr id="2326" name="Anhui" descr="{&quot;Key&quot;:&quot;anhui&quot;,&quot;Name&quot;:&quot;Anhui&quot;,&quot;Value&quot;:1.0,&quot;Formula&quot;:&quot;&quot;,&quot;Text&quot;:&quot;&quot;,&quot;OfficeApplication&quot;:1,&quot;HasValue&quot;:true}">
                    <a:extLst>
                      <a:ext uri="{FF2B5EF4-FFF2-40B4-BE49-F238E27FC236}">
                        <a16:creationId xmlns:a16="http://schemas.microsoft.com/office/drawing/2014/main" id="{F26E2432-542D-481B-8928-BE8438D08575}"/>
                      </a:ext>
                    </a:extLst>
                  </p:cNvPr>
                  <p:cNvSpPr>
                    <a:spLocks/>
                  </p:cNvSpPr>
                  <p:nvPr/>
                </p:nvSpPr>
                <p:spPr bwMode="auto">
                  <a:xfrm>
                    <a:off x="7479506" y="4019550"/>
                    <a:ext cx="636588" cy="776288"/>
                  </a:xfrm>
                  <a:custGeom>
                    <a:avLst/>
                    <a:gdLst>
                      <a:gd name="T0" fmla="*/ 278 w 323"/>
                      <a:gd name="T1" fmla="*/ 318 h 393"/>
                      <a:gd name="T2" fmla="*/ 284 w 323"/>
                      <a:gd name="T3" fmla="*/ 312 h 393"/>
                      <a:gd name="T4" fmla="*/ 290 w 323"/>
                      <a:gd name="T5" fmla="*/ 312 h 393"/>
                      <a:gd name="T6" fmla="*/ 296 w 323"/>
                      <a:gd name="T7" fmla="*/ 316 h 393"/>
                      <a:gd name="T8" fmla="*/ 304 w 323"/>
                      <a:gd name="T9" fmla="*/ 313 h 393"/>
                      <a:gd name="T10" fmla="*/ 309 w 323"/>
                      <a:gd name="T11" fmla="*/ 308 h 393"/>
                      <a:gd name="T12" fmla="*/ 310 w 323"/>
                      <a:gd name="T13" fmla="*/ 302 h 393"/>
                      <a:gd name="T14" fmla="*/ 305 w 323"/>
                      <a:gd name="T15" fmla="*/ 296 h 393"/>
                      <a:gd name="T16" fmla="*/ 299 w 323"/>
                      <a:gd name="T17" fmla="*/ 291 h 393"/>
                      <a:gd name="T18" fmla="*/ 305 w 323"/>
                      <a:gd name="T19" fmla="*/ 287 h 393"/>
                      <a:gd name="T20" fmla="*/ 312 w 323"/>
                      <a:gd name="T21" fmla="*/ 284 h 393"/>
                      <a:gd name="T22" fmla="*/ 315 w 323"/>
                      <a:gd name="T23" fmla="*/ 278 h 393"/>
                      <a:gd name="T24" fmla="*/ 318 w 323"/>
                      <a:gd name="T25" fmla="*/ 274 h 393"/>
                      <a:gd name="T26" fmla="*/ 318 w 323"/>
                      <a:gd name="T27" fmla="*/ 267 h 393"/>
                      <a:gd name="T28" fmla="*/ 321 w 323"/>
                      <a:gd name="T29" fmla="*/ 261 h 393"/>
                      <a:gd name="T30" fmla="*/ 323 w 323"/>
                      <a:gd name="T31" fmla="*/ 253 h 393"/>
                      <a:gd name="T32" fmla="*/ 323 w 323"/>
                      <a:gd name="T33" fmla="*/ 248 h 393"/>
                      <a:gd name="T34" fmla="*/ 265 w 323"/>
                      <a:gd name="T35" fmla="*/ 237 h 393"/>
                      <a:gd name="T36" fmla="*/ 251 w 323"/>
                      <a:gd name="T37" fmla="*/ 155 h 393"/>
                      <a:gd name="T38" fmla="*/ 282 w 323"/>
                      <a:gd name="T39" fmla="*/ 130 h 393"/>
                      <a:gd name="T40" fmla="*/ 220 w 323"/>
                      <a:gd name="T41" fmla="*/ 103 h 393"/>
                      <a:gd name="T42" fmla="*/ 201 w 323"/>
                      <a:gd name="T43" fmla="*/ 92 h 393"/>
                      <a:gd name="T44" fmla="*/ 138 w 323"/>
                      <a:gd name="T45" fmla="*/ 33 h 393"/>
                      <a:gd name="T46" fmla="*/ 83 w 323"/>
                      <a:gd name="T47" fmla="*/ 8 h 393"/>
                      <a:gd name="T48" fmla="*/ 95 w 323"/>
                      <a:gd name="T49" fmla="*/ 68 h 393"/>
                      <a:gd name="T50" fmla="*/ 38 w 323"/>
                      <a:gd name="T51" fmla="*/ 88 h 393"/>
                      <a:gd name="T52" fmla="*/ 7 w 323"/>
                      <a:gd name="T53" fmla="*/ 130 h 393"/>
                      <a:gd name="T54" fmla="*/ 48 w 323"/>
                      <a:gd name="T55" fmla="*/ 169 h 393"/>
                      <a:gd name="T56" fmla="*/ 43 w 323"/>
                      <a:gd name="T57" fmla="*/ 252 h 393"/>
                      <a:gd name="T58" fmla="*/ 82 w 323"/>
                      <a:gd name="T59" fmla="*/ 271 h 393"/>
                      <a:gd name="T60" fmla="*/ 84 w 323"/>
                      <a:gd name="T61" fmla="*/ 325 h 393"/>
                      <a:gd name="T62" fmla="*/ 103 w 323"/>
                      <a:gd name="T63" fmla="*/ 367 h 393"/>
                      <a:gd name="T64" fmla="*/ 138 w 323"/>
                      <a:gd name="T65" fmla="*/ 379 h 393"/>
                      <a:gd name="T66" fmla="*/ 175 w 323"/>
                      <a:gd name="T67" fmla="*/ 357 h 393"/>
                      <a:gd name="T68" fmla="*/ 216 w 323"/>
                      <a:gd name="T69" fmla="*/ 380 h 393"/>
                      <a:gd name="T70" fmla="*/ 241 w 323"/>
                      <a:gd name="T71" fmla="*/ 388 h 393"/>
                      <a:gd name="T72" fmla="*/ 246 w 323"/>
                      <a:gd name="T73" fmla="*/ 386 h 393"/>
                      <a:gd name="T74" fmla="*/ 251 w 323"/>
                      <a:gd name="T75" fmla="*/ 383 h 393"/>
                      <a:gd name="T76" fmla="*/ 257 w 323"/>
                      <a:gd name="T77" fmla="*/ 379 h 393"/>
                      <a:gd name="T78" fmla="*/ 262 w 323"/>
                      <a:gd name="T79" fmla="*/ 374 h 393"/>
                      <a:gd name="T80" fmla="*/ 266 w 323"/>
                      <a:gd name="T81" fmla="*/ 369 h 393"/>
                      <a:gd name="T82" fmla="*/ 270 w 323"/>
                      <a:gd name="T83" fmla="*/ 364 h 393"/>
                      <a:gd name="T84" fmla="*/ 272 w 323"/>
                      <a:gd name="T85" fmla="*/ 360 h 393"/>
                      <a:gd name="T86" fmla="*/ 274 w 323"/>
                      <a:gd name="T87" fmla="*/ 357 h 393"/>
                      <a:gd name="T88" fmla="*/ 277 w 323"/>
                      <a:gd name="T89" fmla="*/ 354 h 393"/>
                      <a:gd name="T90" fmla="*/ 279 w 323"/>
                      <a:gd name="T91" fmla="*/ 349 h 393"/>
                      <a:gd name="T92" fmla="*/ 282 w 323"/>
                      <a:gd name="T93" fmla="*/ 345 h 393"/>
                      <a:gd name="T94" fmla="*/ 283 w 323"/>
                      <a:gd name="T95" fmla="*/ 338 h 393"/>
                      <a:gd name="T96" fmla="*/ 281 w 323"/>
                      <a:gd name="T97" fmla="*/ 334 h 393"/>
                      <a:gd name="T98" fmla="*/ 278 w 323"/>
                      <a:gd name="T99" fmla="*/ 327 h 393"/>
                      <a:gd name="T100" fmla="*/ 278 w 323"/>
                      <a:gd name="T101" fmla="*/ 321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393">
                        <a:moveTo>
                          <a:pt x="278" y="321"/>
                        </a:moveTo>
                        <a:cubicBezTo>
                          <a:pt x="278" y="318"/>
                          <a:pt x="278" y="318"/>
                          <a:pt x="278" y="318"/>
                        </a:cubicBezTo>
                        <a:cubicBezTo>
                          <a:pt x="281" y="315"/>
                          <a:pt x="281" y="315"/>
                          <a:pt x="281" y="315"/>
                        </a:cubicBezTo>
                        <a:cubicBezTo>
                          <a:pt x="284" y="312"/>
                          <a:pt x="284" y="312"/>
                          <a:pt x="284" y="312"/>
                        </a:cubicBezTo>
                        <a:cubicBezTo>
                          <a:pt x="287" y="311"/>
                          <a:pt x="287" y="311"/>
                          <a:pt x="287" y="311"/>
                        </a:cubicBezTo>
                        <a:cubicBezTo>
                          <a:pt x="290" y="312"/>
                          <a:pt x="290" y="312"/>
                          <a:pt x="290" y="312"/>
                        </a:cubicBezTo>
                        <a:cubicBezTo>
                          <a:pt x="293" y="314"/>
                          <a:pt x="293" y="314"/>
                          <a:pt x="293" y="314"/>
                        </a:cubicBezTo>
                        <a:cubicBezTo>
                          <a:pt x="296" y="316"/>
                          <a:pt x="296" y="316"/>
                          <a:pt x="296" y="316"/>
                        </a:cubicBezTo>
                        <a:cubicBezTo>
                          <a:pt x="301" y="316"/>
                          <a:pt x="301" y="316"/>
                          <a:pt x="301" y="316"/>
                        </a:cubicBezTo>
                        <a:cubicBezTo>
                          <a:pt x="304" y="313"/>
                          <a:pt x="304" y="313"/>
                          <a:pt x="304" y="313"/>
                        </a:cubicBezTo>
                        <a:cubicBezTo>
                          <a:pt x="306" y="311"/>
                          <a:pt x="306" y="311"/>
                          <a:pt x="306" y="311"/>
                        </a:cubicBezTo>
                        <a:cubicBezTo>
                          <a:pt x="309" y="308"/>
                          <a:pt x="309" y="308"/>
                          <a:pt x="309" y="308"/>
                        </a:cubicBezTo>
                        <a:cubicBezTo>
                          <a:pt x="310" y="305"/>
                          <a:pt x="310" y="305"/>
                          <a:pt x="310" y="305"/>
                        </a:cubicBezTo>
                        <a:cubicBezTo>
                          <a:pt x="310" y="302"/>
                          <a:pt x="310" y="302"/>
                          <a:pt x="310" y="302"/>
                        </a:cubicBezTo>
                        <a:cubicBezTo>
                          <a:pt x="308" y="299"/>
                          <a:pt x="308" y="299"/>
                          <a:pt x="308" y="299"/>
                        </a:cubicBezTo>
                        <a:cubicBezTo>
                          <a:pt x="305" y="296"/>
                          <a:pt x="305" y="296"/>
                          <a:pt x="305" y="296"/>
                        </a:cubicBezTo>
                        <a:cubicBezTo>
                          <a:pt x="303" y="294"/>
                          <a:pt x="303" y="294"/>
                          <a:pt x="303" y="294"/>
                        </a:cubicBezTo>
                        <a:cubicBezTo>
                          <a:pt x="299" y="291"/>
                          <a:pt x="299" y="291"/>
                          <a:pt x="299" y="291"/>
                        </a:cubicBezTo>
                        <a:cubicBezTo>
                          <a:pt x="303" y="289"/>
                          <a:pt x="303" y="289"/>
                          <a:pt x="303" y="289"/>
                        </a:cubicBezTo>
                        <a:cubicBezTo>
                          <a:pt x="305" y="287"/>
                          <a:pt x="305" y="287"/>
                          <a:pt x="305" y="287"/>
                        </a:cubicBezTo>
                        <a:cubicBezTo>
                          <a:pt x="309" y="285"/>
                          <a:pt x="309" y="285"/>
                          <a:pt x="309" y="285"/>
                        </a:cubicBezTo>
                        <a:cubicBezTo>
                          <a:pt x="312" y="284"/>
                          <a:pt x="312" y="284"/>
                          <a:pt x="312" y="284"/>
                        </a:cubicBezTo>
                        <a:cubicBezTo>
                          <a:pt x="315" y="282"/>
                          <a:pt x="315" y="282"/>
                          <a:pt x="315" y="282"/>
                        </a:cubicBezTo>
                        <a:cubicBezTo>
                          <a:pt x="315" y="278"/>
                          <a:pt x="315" y="278"/>
                          <a:pt x="315" y="278"/>
                        </a:cubicBezTo>
                        <a:cubicBezTo>
                          <a:pt x="317" y="276"/>
                          <a:pt x="317" y="276"/>
                          <a:pt x="317" y="276"/>
                        </a:cubicBezTo>
                        <a:cubicBezTo>
                          <a:pt x="318" y="274"/>
                          <a:pt x="318" y="274"/>
                          <a:pt x="318" y="274"/>
                        </a:cubicBezTo>
                        <a:cubicBezTo>
                          <a:pt x="318" y="270"/>
                          <a:pt x="318" y="270"/>
                          <a:pt x="318" y="270"/>
                        </a:cubicBezTo>
                        <a:cubicBezTo>
                          <a:pt x="318" y="267"/>
                          <a:pt x="318" y="267"/>
                          <a:pt x="318" y="267"/>
                        </a:cubicBezTo>
                        <a:cubicBezTo>
                          <a:pt x="320" y="264"/>
                          <a:pt x="320" y="264"/>
                          <a:pt x="320" y="264"/>
                        </a:cubicBezTo>
                        <a:cubicBezTo>
                          <a:pt x="321" y="261"/>
                          <a:pt x="321" y="261"/>
                          <a:pt x="321" y="261"/>
                        </a:cubicBezTo>
                        <a:cubicBezTo>
                          <a:pt x="323" y="256"/>
                          <a:pt x="323" y="256"/>
                          <a:pt x="323" y="256"/>
                        </a:cubicBezTo>
                        <a:cubicBezTo>
                          <a:pt x="323" y="253"/>
                          <a:pt x="323" y="253"/>
                          <a:pt x="323" y="253"/>
                        </a:cubicBezTo>
                        <a:cubicBezTo>
                          <a:pt x="322" y="250"/>
                          <a:pt x="322" y="250"/>
                          <a:pt x="322" y="250"/>
                        </a:cubicBezTo>
                        <a:cubicBezTo>
                          <a:pt x="323" y="248"/>
                          <a:pt x="323" y="248"/>
                          <a:pt x="323" y="248"/>
                        </a:cubicBezTo>
                        <a:cubicBezTo>
                          <a:pt x="314" y="248"/>
                          <a:pt x="310" y="247"/>
                          <a:pt x="302" y="242"/>
                        </a:cubicBezTo>
                        <a:cubicBezTo>
                          <a:pt x="296" y="238"/>
                          <a:pt x="251" y="255"/>
                          <a:pt x="265" y="237"/>
                        </a:cubicBezTo>
                        <a:cubicBezTo>
                          <a:pt x="288" y="210"/>
                          <a:pt x="233" y="221"/>
                          <a:pt x="235" y="181"/>
                        </a:cubicBezTo>
                        <a:cubicBezTo>
                          <a:pt x="235" y="177"/>
                          <a:pt x="270" y="169"/>
                          <a:pt x="251" y="155"/>
                        </a:cubicBezTo>
                        <a:cubicBezTo>
                          <a:pt x="232" y="141"/>
                          <a:pt x="259" y="143"/>
                          <a:pt x="269" y="148"/>
                        </a:cubicBezTo>
                        <a:cubicBezTo>
                          <a:pt x="286" y="156"/>
                          <a:pt x="287" y="139"/>
                          <a:pt x="282" y="130"/>
                        </a:cubicBezTo>
                        <a:cubicBezTo>
                          <a:pt x="266" y="95"/>
                          <a:pt x="254" y="131"/>
                          <a:pt x="248" y="134"/>
                        </a:cubicBezTo>
                        <a:cubicBezTo>
                          <a:pt x="219" y="149"/>
                          <a:pt x="223" y="114"/>
                          <a:pt x="220" y="103"/>
                        </a:cubicBezTo>
                        <a:cubicBezTo>
                          <a:pt x="219" y="103"/>
                          <a:pt x="218" y="102"/>
                          <a:pt x="218" y="102"/>
                        </a:cubicBezTo>
                        <a:cubicBezTo>
                          <a:pt x="212" y="104"/>
                          <a:pt x="192" y="114"/>
                          <a:pt x="201" y="92"/>
                        </a:cubicBezTo>
                        <a:cubicBezTo>
                          <a:pt x="225" y="37"/>
                          <a:pt x="187" y="72"/>
                          <a:pt x="183" y="61"/>
                        </a:cubicBezTo>
                        <a:cubicBezTo>
                          <a:pt x="171" y="25"/>
                          <a:pt x="153" y="53"/>
                          <a:pt x="138" y="33"/>
                        </a:cubicBezTo>
                        <a:cubicBezTo>
                          <a:pt x="119" y="5"/>
                          <a:pt x="123" y="22"/>
                          <a:pt x="93" y="0"/>
                        </a:cubicBezTo>
                        <a:cubicBezTo>
                          <a:pt x="88" y="4"/>
                          <a:pt x="91" y="3"/>
                          <a:pt x="83" y="8"/>
                        </a:cubicBezTo>
                        <a:cubicBezTo>
                          <a:pt x="82" y="40"/>
                          <a:pt x="105" y="18"/>
                          <a:pt x="107" y="37"/>
                        </a:cubicBezTo>
                        <a:cubicBezTo>
                          <a:pt x="109" y="59"/>
                          <a:pt x="125" y="45"/>
                          <a:pt x="95" y="68"/>
                        </a:cubicBezTo>
                        <a:cubicBezTo>
                          <a:pt x="71" y="86"/>
                          <a:pt x="75" y="37"/>
                          <a:pt x="51" y="48"/>
                        </a:cubicBezTo>
                        <a:cubicBezTo>
                          <a:pt x="31" y="58"/>
                          <a:pt x="66" y="82"/>
                          <a:pt x="38" y="88"/>
                        </a:cubicBezTo>
                        <a:cubicBezTo>
                          <a:pt x="18" y="92"/>
                          <a:pt x="53" y="123"/>
                          <a:pt x="16" y="123"/>
                        </a:cubicBezTo>
                        <a:cubicBezTo>
                          <a:pt x="12" y="123"/>
                          <a:pt x="0" y="114"/>
                          <a:pt x="7" y="130"/>
                        </a:cubicBezTo>
                        <a:cubicBezTo>
                          <a:pt x="11" y="140"/>
                          <a:pt x="25" y="132"/>
                          <a:pt x="26" y="150"/>
                        </a:cubicBezTo>
                        <a:cubicBezTo>
                          <a:pt x="27" y="168"/>
                          <a:pt x="33" y="151"/>
                          <a:pt x="48" y="169"/>
                        </a:cubicBezTo>
                        <a:cubicBezTo>
                          <a:pt x="62" y="185"/>
                          <a:pt x="68" y="136"/>
                          <a:pt x="77" y="193"/>
                        </a:cubicBezTo>
                        <a:cubicBezTo>
                          <a:pt x="85" y="241"/>
                          <a:pt x="51" y="197"/>
                          <a:pt x="43" y="252"/>
                        </a:cubicBezTo>
                        <a:cubicBezTo>
                          <a:pt x="47" y="254"/>
                          <a:pt x="52" y="258"/>
                          <a:pt x="56" y="263"/>
                        </a:cubicBezTo>
                        <a:cubicBezTo>
                          <a:pt x="58" y="268"/>
                          <a:pt x="71" y="263"/>
                          <a:pt x="82" y="271"/>
                        </a:cubicBezTo>
                        <a:cubicBezTo>
                          <a:pt x="98" y="284"/>
                          <a:pt x="87" y="274"/>
                          <a:pt x="75" y="296"/>
                        </a:cubicBezTo>
                        <a:cubicBezTo>
                          <a:pt x="71" y="304"/>
                          <a:pt x="82" y="315"/>
                          <a:pt x="84" y="325"/>
                        </a:cubicBezTo>
                        <a:cubicBezTo>
                          <a:pt x="87" y="343"/>
                          <a:pt x="88" y="316"/>
                          <a:pt x="99" y="358"/>
                        </a:cubicBezTo>
                        <a:cubicBezTo>
                          <a:pt x="100" y="363"/>
                          <a:pt x="101" y="366"/>
                          <a:pt x="103" y="367"/>
                        </a:cubicBezTo>
                        <a:cubicBezTo>
                          <a:pt x="113" y="376"/>
                          <a:pt x="130" y="344"/>
                          <a:pt x="140" y="348"/>
                        </a:cubicBezTo>
                        <a:cubicBezTo>
                          <a:pt x="166" y="359"/>
                          <a:pt x="135" y="362"/>
                          <a:pt x="138" y="379"/>
                        </a:cubicBezTo>
                        <a:cubicBezTo>
                          <a:pt x="140" y="393"/>
                          <a:pt x="170" y="372"/>
                          <a:pt x="164" y="364"/>
                        </a:cubicBezTo>
                        <a:cubicBezTo>
                          <a:pt x="161" y="359"/>
                          <a:pt x="171" y="352"/>
                          <a:pt x="175" y="357"/>
                        </a:cubicBezTo>
                        <a:cubicBezTo>
                          <a:pt x="177" y="361"/>
                          <a:pt x="173" y="361"/>
                          <a:pt x="179" y="360"/>
                        </a:cubicBezTo>
                        <a:cubicBezTo>
                          <a:pt x="199" y="360"/>
                          <a:pt x="174" y="381"/>
                          <a:pt x="216" y="380"/>
                        </a:cubicBezTo>
                        <a:cubicBezTo>
                          <a:pt x="233" y="380"/>
                          <a:pt x="238" y="384"/>
                          <a:pt x="238" y="389"/>
                        </a:cubicBezTo>
                        <a:cubicBezTo>
                          <a:pt x="241" y="388"/>
                          <a:pt x="241" y="388"/>
                          <a:pt x="241" y="388"/>
                        </a:cubicBezTo>
                        <a:cubicBezTo>
                          <a:pt x="243" y="388"/>
                          <a:pt x="243" y="388"/>
                          <a:pt x="243" y="388"/>
                        </a:cubicBezTo>
                        <a:cubicBezTo>
                          <a:pt x="246" y="386"/>
                          <a:pt x="246" y="386"/>
                          <a:pt x="246" y="386"/>
                        </a:cubicBezTo>
                        <a:cubicBezTo>
                          <a:pt x="249" y="384"/>
                          <a:pt x="249" y="384"/>
                          <a:pt x="249" y="384"/>
                        </a:cubicBezTo>
                        <a:cubicBezTo>
                          <a:pt x="251" y="383"/>
                          <a:pt x="251" y="383"/>
                          <a:pt x="251" y="383"/>
                        </a:cubicBezTo>
                        <a:cubicBezTo>
                          <a:pt x="254" y="381"/>
                          <a:pt x="254" y="381"/>
                          <a:pt x="254" y="381"/>
                        </a:cubicBezTo>
                        <a:cubicBezTo>
                          <a:pt x="257" y="379"/>
                          <a:pt x="257" y="379"/>
                          <a:pt x="257" y="379"/>
                        </a:cubicBezTo>
                        <a:cubicBezTo>
                          <a:pt x="259" y="377"/>
                          <a:pt x="259" y="377"/>
                          <a:pt x="259" y="377"/>
                        </a:cubicBezTo>
                        <a:cubicBezTo>
                          <a:pt x="262" y="374"/>
                          <a:pt x="262" y="374"/>
                          <a:pt x="262" y="374"/>
                        </a:cubicBezTo>
                        <a:cubicBezTo>
                          <a:pt x="264" y="371"/>
                          <a:pt x="264" y="371"/>
                          <a:pt x="264" y="371"/>
                        </a:cubicBezTo>
                        <a:cubicBezTo>
                          <a:pt x="266" y="369"/>
                          <a:pt x="266" y="369"/>
                          <a:pt x="266" y="369"/>
                        </a:cubicBezTo>
                        <a:cubicBezTo>
                          <a:pt x="267" y="366"/>
                          <a:pt x="267" y="366"/>
                          <a:pt x="267" y="366"/>
                        </a:cubicBezTo>
                        <a:cubicBezTo>
                          <a:pt x="270" y="364"/>
                          <a:pt x="270" y="364"/>
                          <a:pt x="270" y="364"/>
                        </a:cubicBezTo>
                        <a:cubicBezTo>
                          <a:pt x="271" y="361"/>
                          <a:pt x="271" y="361"/>
                          <a:pt x="271" y="361"/>
                        </a:cubicBezTo>
                        <a:cubicBezTo>
                          <a:pt x="272" y="360"/>
                          <a:pt x="272" y="360"/>
                          <a:pt x="272" y="360"/>
                        </a:cubicBezTo>
                        <a:cubicBezTo>
                          <a:pt x="273" y="358"/>
                          <a:pt x="273" y="358"/>
                          <a:pt x="273" y="358"/>
                        </a:cubicBezTo>
                        <a:cubicBezTo>
                          <a:pt x="274" y="357"/>
                          <a:pt x="274" y="357"/>
                          <a:pt x="274" y="357"/>
                        </a:cubicBezTo>
                        <a:cubicBezTo>
                          <a:pt x="276" y="355"/>
                          <a:pt x="276" y="355"/>
                          <a:pt x="276" y="355"/>
                        </a:cubicBezTo>
                        <a:cubicBezTo>
                          <a:pt x="277" y="354"/>
                          <a:pt x="277" y="354"/>
                          <a:pt x="277" y="354"/>
                        </a:cubicBezTo>
                        <a:cubicBezTo>
                          <a:pt x="277" y="351"/>
                          <a:pt x="277" y="351"/>
                          <a:pt x="277" y="351"/>
                        </a:cubicBezTo>
                        <a:cubicBezTo>
                          <a:pt x="279" y="349"/>
                          <a:pt x="279" y="349"/>
                          <a:pt x="279" y="349"/>
                        </a:cubicBezTo>
                        <a:cubicBezTo>
                          <a:pt x="281" y="346"/>
                          <a:pt x="281" y="346"/>
                          <a:pt x="281" y="346"/>
                        </a:cubicBezTo>
                        <a:cubicBezTo>
                          <a:pt x="282" y="345"/>
                          <a:pt x="282" y="345"/>
                          <a:pt x="282" y="345"/>
                        </a:cubicBezTo>
                        <a:cubicBezTo>
                          <a:pt x="283" y="341"/>
                          <a:pt x="283" y="341"/>
                          <a:pt x="283" y="341"/>
                        </a:cubicBezTo>
                        <a:cubicBezTo>
                          <a:pt x="283" y="338"/>
                          <a:pt x="283" y="338"/>
                          <a:pt x="283" y="338"/>
                        </a:cubicBezTo>
                        <a:cubicBezTo>
                          <a:pt x="283" y="337"/>
                          <a:pt x="283" y="337"/>
                          <a:pt x="283" y="337"/>
                        </a:cubicBezTo>
                        <a:cubicBezTo>
                          <a:pt x="281" y="334"/>
                          <a:pt x="281" y="334"/>
                          <a:pt x="281" y="334"/>
                        </a:cubicBezTo>
                        <a:cubicBezTo>
                          <a:pt x="280" y="332"/>
                          <a:pt x="280" y="332"/>
                          <a:pt x="280" y="332"/>
                        </a:cubicBezTo>
                        <a:cubicBezTo>
                          <a:pt x="278" y="327"/>
                          <a:pt x="278" y="327"/>
                          <a:pt x="278" y="327"/>
                        </a:cubicBezTo>
                        <a:cubicBezTo>
                          <a:pt x="278" y="326"/>
                          <a:pt x="278" y="326"/>
                          <a:pt x="278" y="326"/>
                        </a:cubicBezTo>
                        <a:cubicBezTo>
                          <a:pt x="278" y="321"/>
                          <a:pt x="278" y="321"/>
                          <a:pt x="278" y="321"/>
                        </a:cubicBezTo>
                        <a:cubicBezTo>
                          <a:pt x="278" y="321"/>
                          <a:pt x="278" y="321"/>
                          <a:pt x="278" y="321"/>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27" name="Anhui" descr="{&quot;Key&quot;:&quot;anhui&quot;,&quot;Name&quot;:&quot;Anhui&quot;,&quot;Value&quot;:1.0,&quot;Formula&quot;:&quot;&quot;,&quot;Text&quot;:&quot;&quot;,&quot;OfficeApplication&quot;:1,&quot;HasValue&quot;:true}">
                    <a:extLst>
                      <a:ext uri="{FF2B5EF4-FFF2-40B4-BE49-F238E27FC236}">
                        <a16:creationId xmlns:a16="http://schemas.microsoft.com/office/drawing/2014/main" id="{B4BACBD5-17CF-411C-A67C-F7C1BA538FA0}"/>
                      </a:ext>
                    </a:extLst>
                  </p:cNvPr>
                  <p:cNvSpPr>
                    <a:spLocks noEditPoints="1"/>
                  </p:cNvSpPr>
                  <p:nvPr/>
                </p:nvSpPr>
                <p:spPr bwMode="auto">
                  <a:xfrm>
                    <a:off x="7887493" y="4143375"/>
                    <a:ext cx="112713" cy="122238"/>
                  </a:xfrm>
                  <a:custGeom>
                    <a:avLst/>
                    <a:gdLst>
                      <a:gd name="T0" fmla="*/ 23 w 57"/>
                      <a:gd name="T1" fmla="*/ 47 h 62"/>
                      <a:gd name="T2" fmla="*/ 23 w 57"/>
                      <a:gd name="T3" fmla="*/ 47 h 62"/>
                      <a:gd name="T4" fmla="*/ 33 w 57"/>
                      <a:gd name="T5" fmla="*/ 28 h 62"/>
                      <a:gd name="T6" fmla="*/ 22 w 57"/>
                      <a:gd name="T7" fmla="*/ 33 h 62"/>
                      <a:gd name="T8" fmla="*/ 11 w 57"/>
                      <a:gd name="T9" fmla="*/ 40 h 62"/>
                      <a:gd name="T10" fmla="*/ 12 w 57"/>
                      <a:gd name="T11" fmla="*/ 39 h 62"/>
                      <a:gd name="T12" fmla="*/ 13 w 57"/>
                      <a:gd name="T13" fmla="*/ 41 h 62"/>
                      <a:gd name="T14" fmla="*/ 20 w 57"/>
                      <a:gd name="T15" fmla="*/ 45 h 62"/>
                      <a:gd name="T16" fmla="*/ 23 w 57"/>
                      <a:gd name="T17" fmla="*/ 47 h 62"/>
                      <a:gd name="T18" fmla="*/ 24 w 57"/>
                      <a:gd name="T19" fmla="*/ 54 h 62"/>
                      <a:gd name="T20" fmla="*/ 36 w 57"/>
                      <a:gd name="T21" fmla="*/ 51 h 62"/>
                      <a:gd name="T22" fmla="*/ 51 w 57"/>
                      <a:gd name="T23" fmla="*/ 35 h 62"/>
                      <a:gd name="T24" fmla="*/ 35 w 57"/>
                      <a:gd name="T25" fmla="*/ 11 h 62"/>
                      <a:gd name="T26" fmla="*/ 31 w 57"/>
                      <a:gd name="T27" fmla="*/ 6 h 62"/>
                      <a:gd name="T28" fmla="*/ 33 w 57"/>
                      <a:gd name="T29" fmla="*/ 28 h 62"/>
                      <a:gd name="T30" fmla="*/ 33 w 57"/>
                      <a:gd name="T31" fmla="*/ 2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62">
                        <a:moveTo>
                          <a:pt x="23" y="47"/>
                        </a:moveTo>
                        <a:cubicBezTo>
                          <a:pt x="23" y="47"/>
                          <a:pt x="23" y="47"/>
                          <a:pt x="23" y="47"/>
                        </a:cubicBezTo>
                        <a:moveTo>
                          <a:pt x="33" y="28"/>
                        </a:moveTo>
                        <a:cubicBezTo>
                          <a:pt x="43" y="36"/>
                          <a:pt x="32" y="25"/>
                          <a:pt x="22" y="33"/>
                        </a:cubicBezTo>
                        <a:cubicBezTo>
                          <a:pt x="17" y="37"/>
                          <a:pt x="0" y="32"/>
                          <a:pt x="11" y="40"/>
                        </a:cubicBezTo>
                        <a:cubicBezTo>
                          <a:pt x="11" y="39"/>
                          <a:pt x="12" y="39"/>
                          <a:pt x="12" y="39"/>
                        </a:cubicBezTo>
                        <a:cubicBezTo>
                          <a:pt x="12" y="39"/>
                          <a:pt x="13" y="40"/>
                          <a:pt x="13" y="41"/>
                        </a:cubicBezTo>
                        <a:cubicBezTo>
                          <a:pt x="15" y="42"/>
                          <a:pt x="17" y="44"/>
                          <a:pt x="20" y="45"/>
                        </a:cubicBezTo>
                        <a:cubicBezTo>
                          <a:pt x="21" y="46"/>
                          <a:pt x="22" y="46"/>
                          <a:pt x="23" y="47"/>
                        </a:cubicBezTo>
                        <a:cubicBezTo>
                          <a:pt x="23" y="48"/>
                          <a:pt x="23" y="50"/>
                          <a:pt x="24" y="54"/>
                        </a:cubicBezTo>
                        <a:cubicBezTo>
                          <a:pt x="27" y="62"/>
                          <a:pt x="31" y="50"/>
                          <a:pt x="36" y="51"/>
                        </a:cubicBezTo>
                        <a:cubicBezTo>
                          <a:pt x="36" y="51"/>
                          <a:pt x="40" y="60"/>
                          <a:pt x="51" y="35"/>
                        </a:cubicBezTo>
                        <a:cubicBezTo>
                          <a:pt x="57" y="21"/>
                          <a:pt x="40" y="25"/>
                          <a:pt x="35" y="11"/>
                        </a:cubicBezTo>
                        <a:cubicBezTo>
                          <a:pt x="35" y="8"/>
                          <a:pt x="33" y="7"/>
                          <a:pt x="31" y="6"/>
                        </a:cubicBezTo>
                        <a:cubicBezTo>
                          <a:pt x="18" y="0"/>
                          <a:pt x="27" y="24"/>
                          <a:pt x="33" y="28"/>
                        </a:cubicBezTo>
                        <a:cubicBezTo>
                          <a:pt x="33" y="28"/>
                          <a:pt x="33" y="28"/>
                          <a:pt x="33" y="28"/>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grpSp>
            <p:sp>
              <p:nvSpPr>
                <p:cNvPr id="2296" name="Hainan" descr="{&quot;Key&quot;:&quot;hainan&quot;,&quot;Name&quot;:&quot;Hainan&quot;,&quot;Value&quot;:1.0,&quot;Formula&quot;:&quot;&quot;,&quot;Text&quot;:&quot;&quot;,&quot;OfficeApplication&quot;:1,&quot;HasValue&quot;:true}">
                  <a:extLst>
                    <a:ext uri="{FF2B5EF4-FFF2-40B4-BE49-F238E27FC236}">
                      <a16:creationId xmlns:a16="http://schemas.microsoft.com/office/drawing/2014/main" id="{A6BDF039-8553-4FB5-AADA-41CCFAC88ACF}"/>
                    </a:ext>
                  </a:extLst>
                </p:cNvPr>
                <p:cNvSpPr>
                  <a:spLocks/>
                </p:cNvSpPr>
                <p:nvPr/>
              </p:nvSpPr>
              <p:spPr bwMode="auto">
                <a:xfrm>
                  <a:off x="6657181" y="6246813"/>
                  <a:ext cx="363538" cy="333375"/>
                </a:xfrm>
                <a:custGeom>
                  <a:avLst/>
                  <a:gdLst>
                    <a:gd name="T0" fmla="*/ 47 w 184"/>
                    <a:gd name="T1" fmla="*/ 32 h 169"/>
                    <a:gd name="T2" fmla="*/ 28 w 184"/>
                    <a:gd name="T3" fmla="*/ 54 h 169"/>
                    <a:gd name="T4" fmla="*/ 8 w 184"/>
                    <a:gd name="T5" fmla="*/ 92 h 169"/>
                    <a:gd name="T6" fmla="*/ 11 w 184"/>
                    <a:gd name="T7" fmla="*/ 117 h 169"/>
                    <a:gd name="T8" fmla="*/ 68 w 184"/>
                    <a:gd name="T9" fmla="*/ 150 h 169"/>
                    <a:gd name="T10" fmla="*/ 104 w 184"/>
                    <a:gd name="T11" fmla="*/ 137 h 169"/>
                    <a:gd name="T12" fmla="*/ 136 w 184"/>
                    <a:gd name="T13" fmla="*/ 116 h 169"/>
                    <a:gd name="T14" fmla="*/ 162 w 184"/>
                    <a:gd name="T15" fmla="*/ 57 h 169"/>
                    <a:gd name="T16" fmla="*/ 174 w 184"/>
                    <a:gd name="T17" fmla="*/ 45 h 169"/>
                    <a:gd name="T18" fmla="*/ 173 w 184"/>
                    <a:gd name="T19" fmla="*/ 16 h 169"/>
                    <a:gd name="T20" fmla="*/ 171 w 184"/>
                    <a:gd name="T21" fmla="*/ 16 h 169"/>
                    <a:gd name="T22" fmla="*/ 147 w 184"/>
                    <a:gd name="T23" fmla="*/ 12 h 169"/>
                    <a:gd name="T24" fmla="*/ 117 w 184"/>
                    <a:gd name="T25" fmla="*/ 13 h 169"/>
                    <a:gd name="T26" fmla="*/ 100 w 184"/>
                    <a:gd name="T27" fmla="*/ 17 h 169"/>
                    <a:gd name="T28" fmla="*/ 72 w 184"/>
                    <a:gd name="T29" fmla="*/ 23 h 169"/>
                    <a:gd name="T30" fmla="*/ 47 w 184"/>
                    <a:gd name="T31" fmla="*/ 32 h 169"/>
                    <a:gd name="T32" fmla="*/ 47 w 184"/>
                    <a:gd name="T33" fmla="*/ 3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 h="169">
                      <a:moveTo>
                        <a:pt x="47" y="32"/>
                      </a:moveTo>
                      <a:cubicBezTo>
                        <a:pt x="44" y="45"/>
                        <a:pt x="58" y="32"/>
                        <a:pt x="28" y="54"/>
                      </a:cubicBezTo>
                      <a:cubicBezTo>
                        <a:pt x="0" y="75"/>
                        <a:pt x="10" y="63"/>
                        <a:pt x="8" y="92"/>
                      </a:cubicBezTo>
                      <a:cubicBezTo>
                        <a:pt x="6" y="105"/>
                        <a:pt x="12" y="108"/>
                        <a:pt x="11" y="117"/>
                      </a:cubicBezTo>
                      <a:cubicBezTo>
                        <a:pt x="8" y="144"/>
                        <a:pt x="56" y="139"/>
                        <a:pt x="68" y="150"/>
                      </a:cubicBezTo>
                      <a:cubicBezTo>
                        <a:pt x="90" y="169"/>
                        <a:pt x="83" y="129"/>
                        <a:pt x="104" y="137"/>
                      </a:cubicBezTo>
                      <a:cubicBezTo>
                        <a:pt x="115" y="141"/>
                        <a:pt x="112" y="120"/>
                        <a:pt x="136" y="116"/>
                      </a:cubicBezTo>
                      <a:cubicBezTo>
                        <a:pt x="138" y="115"/>
                        <a:pt x="151" y="66"/>
                        <a:pt x="162" y="57"/>
                      </a:cubicBezTo>
                      <a:cubicBezTo>
                        <a:pt x="171" y="49"/>
                        <a:pt x="160" y="46"/>
                        <a:pt x="174" y="45"/>
                      </a:cubicBezTo>
                      <a:cubicBezTo>
                        <a:pt x="184" y="44"/>
                        <a:pt x="178" y="21"/>
                        <a:pt x="173" y="16"/>
                      </a:cubicBezTo>
                      <a:cubicBezTo>
                        <a:pt x="173" y="15"/>
                        <a:pt x="172" y="16"/>
                        <a:pt x="171" y="16"/>
                      </a:cubicBezTo>
                      <a:cubicBezTo>
                        <a:pt x="162" y="15"/>
                        <a:pt x="154" y="0"/>
                        <a:pt x="147" y="12"/>
                      </a:cubicBezTo>
                      <a:cubicBezTo>
                        <a:pt x="142" y="20"/>
                        <a:pt x="129" y="6"/>
                        <a:pt x="117" y="13"/>
                      </a:cubicBezTo>
                      <a:cubicBezTo>
                        <a:pt x="105" y="20"/>
                        <a:pt x="101" y="17"/>
                        <a:pt x="100" y="17"/>
                      </a:cubicBezTo>
                      <a:cubicBezTo>
                        <a:pt x="91" y="23"/>
                        <a:pt x="82" y="11"/>
                        <a:pt x="72" y="23"/>
                      </a:cubicBezTo>
                      <a:cubicBezTo>
                        <a:pt x="66" y="30"/>
                        <a:pt x="51" y="18"/>
                        <a:pt x="47" y="32"/>
                      </a:cubicBezTo>
                      <a:cubicBezTo>
                        <a:pt x="47" y="32"/>
                        <a:pt x="47" y="32"/>
                        <a:pt x="47" y="32"/>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97" name="Chongqing" descr="{&quot;Key&quot;:&quot;chongqing&quot;,&quot;Name&quot;:&quot;Chongqing&quot;,&quot;Value&quot;:1.0,&quot;Formula&quot;:&quot;&quot;,&quot;Text&quot;:&quot;&quot;,&quot;OfficeApplication&quot;:1,&quot;HasValue&quot;:true}">
                  <a:extLst>
                    <a:ext uri="{FF2B5EF4-FFF2-40B4-BE49-F238E27FC236}">
                      <a16:creationId xmlns:a16="http://schemas.microsoft.com/office/drawing/2014/main" id="{68721552-B83D-4E5B-87DF-2C60196FE65B}"/>
                    </a:ext>
                  </a:extLst>
                </p:cNvPr>
                <p:cNvSpPr>
                  <a:spLocks noEditPoints="1"/>
                </p:cNvSpPr>
                <p:nvPr/>
              </p:nvSpPr>
              <p:spPr bwMode="auto">
                <a:xfrm>
                  <a:off x="6246018" y="4408488"/>
                  <a:ext cx="658813" cy="638175"/>
                </a:xfrm>
                <a:custGeom>
                  <a:avLst/>
                  <a:gdLst>
                    <a:gd name="T0" fmla="*/ 214 w 334"/>
                    <a:gd name="T1" fmla="*/ 13 h 323"/>
                    <a:gd name="T2" fmla="*/ 214 w 334"/>
                    <a:gd name="T3" fmla="*/ 13 h 323"/>
                    <a:gd name="T4" fmla="*/ 231 w 334"/>
                    <a:gd name="T5" fmla="*/ 194 h 323"/>
                    <a:gd name="T6" fmla="*/ 221 w 334"/>
                    <a:gd name="T7" fmla="*/ 186 h 323"/>
                    <a:gd name="T8" fmla="*/ 217 w 334"/>
                    <a:gd name="T9" fmla="*/ 176 h 323"/>
                    <a:gd name="T10" fmla="*/ 219 w 334"/>
                    <a:gd name="T11" fmla="*/ 149 h 323"/>
                    <a:gd name="T12" fmla="*/ 218 w 334"/>
                    <a:gd name="T13" fmla="*/ 134 h 323"/>
                    <a:gd name="T14" fmla="*/ 245 w 334"/>
                    <a:gd name="T15" fmla="*/ 127 h 323"/>
                    <a:gd name="T16" fmla="*/ 255 w 334"/>
                    <a:gd name="T17" fmla="*/ 126 h 323"/>
                    <a:gd name="T18" fmla="*/ 310 w 334"/>
                    <a:gd name="T19" fmla="*/ 105 h 323"/>
                    <a:gd name="T20" fmla="*/ 327 w 334"/>
                    <a:gd name="T21" fmla="*/ 85 h 323"/>
                    <a:gd name="T22" fmla="*/ 303 w 334"/>
                    <a:gd name="T23" fmla="*/ 51 h 323"/>
                    <a:gd name="T24" fmla="*/ 298 w 334"/>
                    <a:gd name="T25" fmla="*/ 43 h 323"/>
                    <a:gd name="T26" fmla="*/ 292 w 334"/>
                    <a:gd name="T27" fmla="*/ 39 h 323"/>
                    <a:gd name="T28" fmla="*/ 259 w 334"/>
                    <a:gd name="T29" fmla="*/ 28 h 323"/>
                    <a:gd name="T30" fmla="*/ 247 w 334"/>
                    <a:gd name="T31" fmla="*/ 20 h 323"/>
                    <a:gd name="T32" fmla="*/ 211 w 334"/>
                    <a:gd name="T33" fmla="*/ 0 h 323"/>
                    <a:gd name="T34" fmla="*/ 214 w 334"/>
                    <a:gd name="T35" fmla="*/ 13 h 323"/>
                    <a:gd name="T36" fmla="*/ 206 w 334"/>
                    <a:gd name="T37" fmla="*/ 20 h 323"/>
                    <a:gd name="T38" fmla="*/ 208 w 334"/>
                    <a:gd name="T39" fmla="*/ 50 h 323"/>
                    <a:gd name="T40" fmla="*/ 174 w 334"/>
                    <a:gd name="T41" fmla="*/ 107 h 323"/>
                    <a:gd name="T42" fmla="*/ 147 w 334"/>
                    <a:gd name="T43" fmla="*/ 124 h 323"/>
                    <a:gd name="T44" fmla="*/ 119 w 334"/>
                    <a:gd name="T45" fmla="*/ 164 h 323"/>
                    <a:gd name="T46" fmla="*/ 78 w 334"/>
                    <a:gd name="T47" fmla="*/ 146 h 323"/>
                    <a:gd name="T48" fmla="*/ 27 w 334"/>
                    <a:gd name="T49" fmla="*/ 150 h 323"/>
                    <a:gd name="T50" fmla="*/ 24 w 334"/>
                    <a:gd name="T51" fmla="*/ 179 h 323"/>
                    <a:gd name="T52" fmla="*/ 0 w 334"/>
                    <a:gd name="T53" fmla="*/ 198 h 323"/>
                    <a:gd name="T54" fmla="*/ 13 w 334"/>
                    <a:gd name="T55" fmla="*/ 216 h 323"/>
                    <a:gd name="T56" fmla="*/ 33 w 334"/>
                    <a:gd name="T57" fmla="*/ 241 h 323"/>
                    <a:gd name="T58" fmla="*/ 68 w 334"/>
                    <a:gd name="T59" fmla="*/ 277 h 323"/>
                    <a:gd name="T60" fmla="*/ 68 w 334"/>
                    <a:gd name="T61" fmla="*/ 279 h 323"/>
                    <a:gd name="T62" fmla="*/ 80 w 334"/>
                    <a:gd name="T63" fmla="*/ 271 h 323"/>
                    <a:gd name="T64" fmla="*/ 89 w 334"/>
                    <a:gd name="T65" fmla="*/ 277 h 323"/>
                    <a:gd name="T66" fmla="*/ 104 w 334"/>
                    <a:gd name="T67" fmla="*/ 265 h 323"/>
                    <a:gd name="T68" fmla="*/ 113 w 334"/>
                    <a:gd name="T69" fmla="*/ 257 h 323"/>
                    <a:gd name="T70" fmla="*/ 139 w 334"/>
                    <a:gd name="T71" fmla="*/ 255 h 323"/>
                    <a:gd name="T72" fmla="*/ 140 w 334"/>
                    <a:gd name="T73" fmla="*/ 238 h 323"/>
                    <a:gd name="T74" fmla="*/ 165 w 334"/>
                    <a:gd name="T75" fmla="*/ 241 h 323"/>
                    <a:gd name="T76" fmla="*/ 190 w 334"/>
                    <a:gd name="T77" fmla="*/ 245 h 323"/>
                    <a:gd name="T78" fmla="*/ 203 w 334"/>
                    <a:gd name="T79" fmla="*/ 265 h 323"/>
                    <a:gd name="T80" fmla="*/ 220 w 334"/>
                    <a:gd name="T81" fmla="*/ 281 h 323"/>
                    <a:gd name="T82" fmla="*/ 226 w 334"/>
                    <a:gd name="T83" fmla="*/ 289 h 323"/>
                    <a:gd name="T84" fmla="*/ 241 w 334"/>
                    <a:gd name="T85" fmla="*/ 306 h 323"/>
                    <a:gd name="T86" fmla="*/ 256 w 334"/>
                    <a:gd name="T87" fmla="*/ 298 h 323"/>
                    <a:gd name="T88" fmla="*/ 263 w 334"/>
                    <a:gd name="T89" fmla="*/ 290 h 323"/>
                    <a:gd name="T90" fmla="*/ 264 w 334"/>
                    <a:gd name="T91" fmla="*/ 279 h 323"/>
                    <a:gd name="T92" fmla="*/ 266 w 334"/>
                    <a:gd name="T93" fmla="*/ 269 h 323"/>
                    <a:gd name="T94" fmla="*/ 263 w 334"/>
                    <a:gd name="T95" fmla="*/ 262 h 323"/>
                    <a:gd name="T96" fmla="*/ 263 w 334"/>
                    <a:gd name="T97" fmla="*/ 238 h 323"/>
                    <a:gd name="T98" fmla="*/ 261 w 334"/>
                    <a:gd name="T99" fmla="*/ 237 h 323"/>
                    <a:gd name="T100" fmla="*/ 251 w 334"/>
                    <a:gd name="T101" fmla="*/ 219 h 323"/>
                    <a:gd name="T102" fmla="*/ 231 w 334"/>
                    <a:gd name="T103" fmla="*/ 194 h 323"/>
                    <a:gd name="T104" fmla="*/ 231 w 334"/>
                    <a:gd name="T105" fmla="*/ 19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4" h="323">
                      <a:moveTo>
                        <a:pt x="214" y="13"/>
                      </a:moveTo>
                      <a:cubicBezTo>
                        <a:pt x="214" y="13"/>
                        <a:pt x="214" y="13"/>
                        <a:pt x="214" y="13"/>
                      </a:cubicBezTo>
                      <a:moveTo>
                        <a:pt x="231" y="194"/>
                      </a:moveTo>
                      <a:cubicBezTo>
                        <a:pt x="227" y="192"/>
                        <a:pt x="227" y="177"/>
                        <a:pt x="221" y="186"/>
                      </a:cubicBezTo>
                      <a:cubicBezTo>
                        <a:pt x="215" y="195"/>
                        <a:pt x="207" y="187"/>
                        <a:pt x="217" y="176"/>
                      </a:cubicBezTo>
                      <a:cubicBezTo>
                        <a:pt x="221" y="172"/>
                        <a:pt x="222" y="153"/>
                        <a:pt x="219" y="149"/>
                      </a:cubicBezTo>
                      <a:cubicBezTo>
                        <a:pt x="212" y="143"/>
                        <a:pt x="207" y="139"/>
                        <a:pt x="218" y="134"/>
                      </a:cubicBezTo>
                      <a:cubicBezTo>
                        <a:pt x="234" y="127"/>
                        <a:pt x="236" y="138"/>
                        <a:pt x="245" y="127"/>
                      </a:cubicBezTo>
                      <a:cubicBezTo>
                        <a:pt x="248" y="122"/>
                        <a:pt x="251" y="124"/>
                        <a:pt x="255" y="126"/>
                      </a:cubicBezTo>
                      <a:cubicBezTo>
                        <a:pt x="281" y="144"/>
                        <a:pt x="293" y="100"/>
                        <a:pt x="310" y="105"/>
                      </a:cubicBezTo>
                      <a:cubicBezTo>
                        <a:pt x="327" y="109"/>
                        <a:pt x="322" y="96"/>
                        <a:pt x="327" y="85"/>
                      </a:cubicBezTo>
                      <a:cubicBezTo>
                        <a:pt x="334" y="67"/>
                        <a:pt x="309" y="51"/>
                        <a:pt x="303" y="51"/>
                      </a:cubicBezTo>
                      <a:cubicBezTo>
                        <a:pt x="295" y="51"/>
                        <a:pt x="304" y="53"/>
                        <a:pt x="298" y="43"/>
                      </a:cubicBezTo>
                      <a:cubicBezTo>
                        <a:pt x="297" y="40"/>
                        <a:pt x="295" y="39"/>
                        <a:pt x="292" y="39"/>
                      </a:cubicBezTo>
                      <a:cubicBezTo>
                        <a:pt x="285" y="39"/>
                        <a:pt x="271" y="45"/>
                        <a:pt x="259" y="28"/>
                      </a:cubicBezTo>
                      <a:cubicBezTo>
                        <a:pt x="255" y="23"/>
                        <a:pt x="259" y="23"/>
                        <a:pt x="247" y="20"/>
                      </a:cubicBezTo>
                      <a:cubicBezTo>
                        <a:pt x="227" y="15"/>
                        <a:pt x="255" y="15"/>
                        <a:pt x="211" y="0"/>
                      </a:cubicBezTo>
                      <a:cubicBezTo>
                        <a:pt x="212" y="9"/>
                        <a:pt x="213" y="12"/>
                        <a:pt x="214" y="13"/>
                      </a:cubicBezTo>
                      <a:cubicBezTo>
                        <a:pt x="213" y="13"/>
                        <a:pt x="211" y="12"/>
                        <a:pt x="206" y="20"/>
                      </a:cubicBezTo>
                      <a:cubicBezTo>
                        <a:pt x="198" y="31"/>
                        <a:pt x="237" y="33"/>
                        <a:pt x="208" y="50"/>
                      </a:cubicBezTo>
                      <a:cubicBezTo>
                        <a:pt x="196" y="57"/>
                        <a:pt x="181" y="107"/>
                        <a:pt x="174" y="107"/>
                      </a:cubicBezTo>
                      <a:cubicBezTo>
                        <a:pt x="159" y="107"/>
                        <a:pt x="147" y="96"/>
                        <a:pt x="147" y="124"/>
                      </a:cubicBezTo>
                      <a:cubicBezTo>
                        <a:pt x="147" y="131"/>
                        <a:pt x="127" y="162"/>
                        <a:pt x="119" y="164"/>
                      </a:cubicBezTo>
                      <a:cubicBezTo>
                        <a:pt x="86" y="169"/>
                        <a:pt x="94" y="130"/>
                        <a:pt x="78" y="146"/>
                      </a:cubicBezTo>
                      <a:cubicBezTo>
                        <a:pt x="63" y="162"/>
                        <a:pt x="46" y="110"/>
                        <a:pt x="27" y="150"/>
                      </a:cubicBezTo>
                      <a:cubicBezTo>
                        <a:pt x="20" y="163"/>
                        <a:pt x="50" y="165"/>
                        <a:pt x="24" y="179"/>
                      </a:cubicBezTo>
                      <a:cubicBezTo>
                        <a:pt x="21" y="180"/>
                        <a:pt x="0" y="198"/>
                        <a:pt x="0" y="198"/>
                      </a:cubicBezTo>
                      <a:cubicBezTo>
                        <a:pt x="13" y="216"/>
                        <a:pt x="13" y="216"/>
                        <a:pt x="13" y="216"/>
                      </a:cubicBezTo>
                      <a:cubicBezTo>
                        <a:pt x="21" y="229"/>
                        <a:pt x="29" y="206"/>
                        <a:pt x="33" y="241"/>
                      </a:cubicBezTo>
                      <a:cubicBezTo>
                        <a:pt x="34" y="250"/>
                        <a:pt x="73" y="235"/>
                        <a:pt x="68" y="277"/>
                      </a:cubicBezTo>
                      <a:cubicBezTo>
                        <a:pt x="68" y="278"/>
                        <a:pt x="68" y="279"/>
                        <a:pt x="68" y="279"/>
                      </a:cubicBezTo>
                      <a:cubicBezTo>
                        <a:pt x="74" y="281"/>
                        <a:pt x="80" y="280"/>
                        <a:pt x="80" y="271"/>
                      </a:cubicBezTo>
                      <a:cubicBezTo>
                        <a:pt x="79" y="248"/>
                        <a:pt x="89" y="266"/>
                        <a:pt x="89" y="277"/>
                      </a:cubicBezTo>
                      <a:cubicBezTo>
                        <a:pt x="89" y="293"/>
                        <a:pt x="106" y="271"/>
                        <a:pt x="104" y="265"/>
                      </a:cubicBezTo>
                      <a:cubicBezTo>
                        <a:pt x="99" y="252"/>
                        <a:pt x="104" y="268"/>
                        <a:pt x="113" y="257"/>
                      </a:cubicBezTo>
                      <a:cubicBezTo>
                        <a:pt x="123" y="244"/>
                        <a:pt x="123" y="271"/>
                        <a:pt x="139" y="255"/>
                      </a:cubicBezTo>
                      <a:cubicBezTo>
                        <a:pt x="145" y="249"/>
                        <a:pt x="139" y="247"/>
                        <a:pt x="140" y="238"/>
                      </a:cubicBezTo>
                      <a:cubicBezTo>
                        <a:pt x="140" y="234"/>
                        <a:pt x="159" y="228"/>
                        <a:pt x="165" y="241"/>
                      </a:cubicBezTo>
                      <a:cubicBezTo>
                        <a:pt x="173" y="259"/>
                        <a:pt x="176" y="239"/>
                        <a:pt x="190" y="245"/>
                      </a:cubicBezTo>
                      <a:cubicBezTo>
                        <a:pt x="204" y="251"/>
                        <a:pt x="201" y="234"/>
                        <a:pt x="203" y="265"/>
                      </a:cubicBezTo>
                      <a:cubicBezTo>
                        <a:pt x="204" y="277"/>
                        <a:pt x="220" y="273"/>
                        <a:pt x="220" y="281"/>
                      </a:cubicBezTo>
                      <a:cubicBezTo>
                        <a:pt x="220" y="306"/>
                        <a:pt x="221" y="294"/>
                        <a:pt x="226" y="289"/>
                      </a:cubicBezTo>
                      <a:cubicBezTo>
                        <a:pt x="232" y="282"/>
                        <a:pt x="226" y="303"/>
                        <a:pt x="241" y="306"/>
                      </a:cubicBezTo>
                      <a:cubicBezTo>
                        <a:pt x="248" y="308"/>
                        <a:pt x="247" y="323"/>
                        <a:pt x="256" y="298"/>
                      </a:cubicBezTo>
                      <a:cubicBezTo>
                        <a:pt x="258" y="293"/>
                        <a:pt x="262" y="295"/>
                        <a:pt x="263" y="290"/>
                      </a:cubicBezTo>
                      <a:cubicBezTo>
                        <a:pt x="265" y="283"/>
                        <a:pt x="269" y="286"/>
                        <a:pt x="264" y="279"/>
                      </a:cubicBezTo>
                      <a:cubicBezTo>
                        <a:pt x="261" y="276"/>
                        <a:pt x="264" y="270"/>
                        <a:pt x="266" y="269"/>
                      </a:cubicBezTo>
                      <a:cubicBezTo>
                        <a:pt x="269" y="268"/>
                        <a:pt x="263" y="265"/>
                        <a:pt x="263" y="262"/>
                      </a:cubicBezTo>
                      <a:cubicBezTo>
                        <a:pt x="264" y="251"/>
                        <a:pt x="273" y="245"/>
                        <a:pt x="263" y="238"/>
                      </a:cubicBezTo>
                      <a:cubicBezTo>
                        <a:pt x="263" y="238"/>
                        <a:pt x="262" y="237"/>
                        <a:pt x="261" y="237"/>
                      </a:cubicBezTo>
                      <a:cubicBezTo>
                        <a:pt x="255" y="232"/>
                        <a:pt x="258" y="220"/>
                        <a:pt x="251" y="219"/>
                      </a:cubicBezTo>
                      <a:cubicBezTo>
                        <a:pt x="240" y="217"/>
                        <a:pt x="240" y="201"/>
                        <a:pt x="231" y="194"/>
                      </a:cubicBezTo>
                      <a:cubicBezTo>
                        <a:pt x="231" y="194"/>
                        <a:pt x="231" y="194"/>
                        <a:pt x="231" y="194"/>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98" name="Tianjin" descr="{&quot;Key&quot;:&quot;tianjin&quot;,&quot;Name&quot;:&quot;Tianjin&quot;,&quot;Value&quot;:1.0,&quot;Formula&quot;:&quot;&quot;,&quot;Text&quot;:&quot;&quot;,&quot;OfficeApplication&quot;:1,&quot;HasValue&quot;:true}">
                  <a:extLst>
                    <a:ext uri="{FF2B5EF4-FFF2-40B4-BE49-F238E27FC236}">
                      <a16:creationId xmlns:a16="http://schemas.microsoft.com/office/drawing/2014/main" id="{67E84BB3-B66B-4A96-A808-B03AD0B8BA2B}"/>
                    </a:ext>
                  </a:extLst>
                </p:cNvPr>
                <p:cNvSpPr>
                  <a:spLocks/>
                </p:cNvSpPr>
                <p:nvPr/>
              </p:nvSpPr>
              <p:spPr bwMode="auto">
                <a:xfrm>
                  <a:off x="7622381" y="3173413"/>
                  <a:ext cx="193675" cy="257175"/>
                </a:xfrm>
                <a:custGeom>
                  <a:avLst/>
                  <a:gdLst>
                    <a:gd name="T0" fmla="*/ 24 w 98"/>
                    <a:gd name="T1" fmla="*/ 94 h 130"/>
                    <a:gd name="T2" fmla="*/ 72 w 98"/>
                    <a:gd name="T3" fmla="*/ 125 h 130"/>
                    <a:gd name="T4" fmla="*/ 91 w 98"/>
                    <a:gd name="T5" fmla="*/ 72 h 130"/>
                    <a:gd name="T6" fmla="*/ 88 w 98"/>
                    <a:gd name="T7" fmla="*/ 66 h 130"/>
                    <a:gd name="T8" fmla="*/ 79 w 98"/>
                    <a:gd name="T9" fmla="*/ 49 h 130"/>
                    <a:gd name="T10" fmla="*/ 69 w 98"/>
                    <a:gd name="T11" fmla="*/ 17 h 130"/>
                    <a:gd name="T12" fmla="*/ 52 w 98"/>
                    <a:gd name="T13" fmla="*/ 1 h 130"/>
                    <a:gd name="T14" fmla="*/ 38 w 98"/>
                    <a:gd name="T15" fmla="*/ 17 h 130"/>
                    <a:gd name="T16" fmla="*/ 42 w 98"/>
                    <a:gd name="T17" fmla="*/ 34 h 130"/>
                    <a:gd name="T18" fmla="*/ 26 w 98"/>
                    <a:gd name="T19" fmla="*/ 46 h 130"/>
                    <a:gd name="T20" fmla="*/ 22 w 98"/>
                    <a:gd name="T21" fmla="*/ 53 h 130"/>
                    <a:gd name="T22" fmla="*/ 24 w 98"/>
                    <a:gd name="T23" fmla="*/ 9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130">
                      <a:moveTo>
                        <a:pt x="24" y="94"/>
                      </a:moveTo>
                      <a:cubicBezTo>
                        <a:pt x="0" y="111"/>
                        <a:pt x="41" y="130"/>
                        <a:pt x="72" y="125"/>
                      </a:cubicBezTo>
                      <a:cubicBezTo>
                        <a:pt x="68" y="110"/>
                        <a:pt x="80" y="75"/>
                        <a:pt x="91" y="72"/>
                      </a:cubicBezTo>
                      <a:cubicBezTo>
                        <a:pt x="90" y="69"/>
                        <a:pt x="91" y="68"/>
                        <a:pt x="88" y="66"/>
                      </a:cubicBezTo>
                      <a:cubicBezTo>
                        <a:pt x="74" y="59"/>
                        <a:pt x="98" y="52"/>
                        <a:pt x="79" y="49"/>
                      </a:cubicBezTo>
                      <a:cubicBezTo>
                        <a:pt x="65" y="47"/>
                        <a:pt x="51" y="20"/>
                        <a:pt x="69" y="17"/>
                      </a:cubicBezTo>
                      <a:cubicBezTo>
                        <a:pt x="79" y="16"/>
                        <a:pt x="59" y="0"/>
                        <a:pt x="52" y="1"/>
                      </a:cubicBezTo>
                      <a:cubicBezTo>
                        <a:pt x="49" y="4"/>
                        <a:pt x="38" y="13"/>
                        <a:pt x="38" y="17"/>
                      </a:cubicBezTo>
                      <a:cubicBezTo>
                        <a:pt x="36" y="33"/>
                        <a:pt x="42" y="26"/>
                        <a:pt x="42" y="34"/>
                      </a:cubicBezTo>
                      <a:cubicBezTo>
                        <a:pt x="44" y="57"/>
                        <a:pt x="30" y="46"/>
                        <a:pt x="26" y="46"/>
                      </a:cubicBezTo>
                      <a:cubicBezTo>
                        <a:pt x="21" y="48"/>
                        <a:pt x="22" y="50"/>
                        <a:pt x="22" y="53"/>
                      </a:cubicBezTo>
                      <a:cubicBezTo>
                        <a:pt x="21" y="86"/>
                        <a:pt x="37" y="84"/>
                        <a:pt x="24" y="94"/>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299" name="Beijing" descr="{&quot;Key&quot;:&quot;beijing&quot;,&quot;Name&quot;:&quot;Beijing&quot;,&quot;Value&quot;:1.0,&quot;Formula&quot;:&quot;&quot;,&quot;Text&quot;:&quot;&quot;,&quot;OfficeApplication&quot;:1,&quot;HasValue&quot;:true}">
                  <a:extLst>
                    <a:ext uri="{FF2B5EF4-FFF2-40B4-BE49-F238E27FC236}">
                      <a16:creationId xmlns:a16="http://schemas.microsoft.com/office/drawing/2014/main" id="{CB8B5018-527F-4CE3-A882-95095EB4CFB2}"/>
                    </a:ext>
                  </a:extLst>
                </p:cNvPr>
                <p:cNvSpPr>
                  <a:spLocks/>
                </p:cNvSpPr>
                <p:nvPr/>
              </p:nvSpPr>
              <p:spPr bwMode="auto">
                <a:xfrm>
                  <a:off x="7481093" y="3017838"/>
                  <a:ext cx="309563" cy="311150"/>
                </a:xfrm>
                <a:custGeom>
                  <a:avLst/>
                  <a:gdLst>
                    <a:gd name="T0" fmla="*/ 48 w 157"/>
                    <a:gd name="T1" fmla="*/ 136 h 158"/>
                    <a:gd name="T2" fmla="*/ 76 w 157"/>
                    <a:gd name="T3" fmla="*/ 134 h 158"/>
                    <a:gd name="T4" fmla="*/ 94 w 157"/>
                    <a:gd name="T5" fmla="*/ 132 h 158"/>
                    <a:gd name="T6" fmla="*/ 98 w 157"/>
                    <a:gd name="T7" fmla="*/ 125 h 158"/>
                    <a:gd name="T8" fmla="*/ 98 w 157"/>
                    <a:gd name="T9" fmla="*/ 122 h 158"/>
                    <a:gd name="T10" fmla="*/ 90 w 157"/>
                    <a:gd name="T11" fmla="*/ 108 h 158"/>
                    <a:gd name="T12" fmla="*/ 110 w 157"/>
                    <a:gd name="T13" fmla="*/ 96 h 158"/>
                    <a:gd name="T14" fmla="*/ 124 w 157"/>
                    <a:gd name="T15" fmla="*/ 80 h 158"/>
                    <a:gd name="T16" fmla="*/ 101 w 157"/>
                    <a:gd name="T17" fmla="*/ 45 h 158"/>
                    <a:gd name="T18" fmla="*/ 61 w 157"/>
                    <a:gd name="T19" fmla="*/ 37 h 158"/>
                    <a:gd name="T20" fmla="*/ 33 w 157"/>
                    <a:gd name="T21" fmla="*/ 56 h 158"/>
                    <a:gd name="T22" fmla="*/ 31 w 157"/>
                    <a:gd name="T23" fmla="*/ 88 h 158"/>
                    <a:gd name="T24" fmla="*/ 13 w 157"/>
                    <a:gd name="T25" fmla="*/ 116 h 158"/>
                    <a:gd name="T26" fmla="*/ 20 w 157"/>
                    <a:gd name="T27" fmla="*/ 136 h 158"/>
                    <a:gd name="T28" fmla="*/ 48 w 157"/>
                    <a:gd name="T29" fmla="*/ 136 h 158"/>
                    <a:gd name="T30" fmla="*/ 48 w 157"/>
                    <a:gd name="T31" fmla="*/ 13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58">
                      <a:moveTo>
                        <a:pt x="48" y="136"/>
                      </a:moveTo>
                      <a:cubicBezTo>
                        <a:pt x="73" y="137"/>
                        <a:pt x="46" y="158"/>
                        <a:pt x="76" y="134"/>
                      </a:cubicBezTo>
                      <a:cubicBezTo>
                        <a:pt x="80" y="130"/>
                        <a:pt x="88" y="131"/>
                        <a:pt x="94" y="132"/>
                      </a:cubicBezTo>
                      <a:cubicBezTo>
                        <a:pt x="94" y="129"/>
                        <a:pt x="93" y="127"/>
                        <a:pt x="98" y="125"/>
                      </a:cubicBezTo>
                      <a:cubicBezTo>
                        <a:pt x="98" y="123"/>
                        <a:pt x="97" y="123"/>
                        <a:pt x="98" y="122"/>
                      </a:cubicBezTo>
                      <a:cubicBezTo>
                        <a:pt x="101" y="110"/>
                        <a:pt x="94" y="115"/>
                        <a:pt x="90" y="108"/>
                      </a:cubicBezTo>
                      <a:cubicBezTo>
                        <a:pt x="81" y="94"/>
                        <a:pt x="102" y="96"/>
                        <a:pt x="110" y="96"/>
                      </a:cubicBezTo>
                      <a:cubicBezTo>
                        <a:pt x="110" y="92"/>
                        <a:pt x="121" y="83"/>
                        <a:pt x="124" y="80"/>
                      </a:cubicBezTo>
                      <a:cubicBezTo>
                        <a:pt x="87" y="54"/>
                        <a:pt x="157" y="42"/>
                        <a:pt x="101" y="45"/>
                      </a:cubicBezTo>
                      <a:cubicBezTo>
                        <a:pt x="81" y="45"/>
                        <a:pt x="79" y="0"/>
                        <a:pt x="61" y="37"/>
                      </a:cubicBezTo>
                      <a:cubicBezTo>
                        <a:pt x="61" y="37"/>
                        <a:pt x="39" y="55"/>
                        <a:pt x="33" y="56"/>
                      </a:cubicBezTo>
                      <a:cubicBezTo>
                        <a:pt x="8" y="59"/>
                        <a:pt x="44" y="78"/>
                        <a:pt x="31" y="88"/>
                      </a:cubicBezTo>
                      <a:cubicBezTo>
                        <a:pt x="6" y="109"/>
                        <a:pt x="4" y="91"/>
                        <a:pt x="13" y="116"/>
                      </a:cubicBezTo>
                      <a:cubicBezTo>
                        <a:pt x="16" y="125"/>
                        <a:pt x="0" y="128"/>
                        <a:pt x="20" y="136"/>
                      </a:cubicBezTo>
                      <a:cubicBezTo>
                        <a:pt x="48" y="147"/>
                        <a:pt x="23" y="135"/>
                        <a:pt x="48" y="136"/>
                      </a:cubicBezTo>
                      <a:cubicBezTo>
                        <a:pt x="48" y="136"/>
                        <a:pt x="48" y="136"/>
                        <a:pt x="48" y="136"/>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00" name="Ningxia" descr="{&quot;Key&quot;:&quot;ningxia&quot;,&quot;Name&quot;:&quot;Ningxia&quot;,&quot;Value&quot;:1.0,&quot;Formula&quot;:&quot;&quot;,&quot;Text&quot;:&quot;&quot;,&quot;OfficeApplication&quot;:1,&quot;HasValue&quot;:true}">
                  <a:extLst>
                    <a:ext uri="{FF2B5EF4-FFF2-40B4-BE49-F238E27FC236}">
                      <a16:creationId xmlns:a16="http://schemas.microsoft.com/office/drawing/2014/main" id="{6834F9B3-9432-42CF-9890-44AE2F38DCA1}"/>
                    </a:ext>
                  </a:extLst>
                </p:cNvPr>
                <p:cNvSpPr>
                  <a:spLocks/>
                </p:cNvSpPr>
                <p:nvPr/>
              </p:nvSpPr>
              <p:spPr bwMode="auto">
                <a:xfrm>
                  <a:off x="6214268" y="3324225"/>
                  <a:ext cx="376238" cy="617538"/>
                </a:xfrm>
                <a:custGeom>
                  <a:avLst/>
                  <a:gdLst>
                    <a:gd name="T0" fmla="*/ 12 w 191"/>
                    <a:gd name="T1" fmla="*/ 158 h 313"/>
                    <a:gd name="T2" fmla="*/ 25 w 191"/>
                    <a:gd name="T3" fmla="*/ 166 h 313"/>
                    <a:gd name="T4" fmla="*/ 50 w 191"/>
                    <a:gd name="T5" fmla="*/ 198 h 313"/>
                    <a:gd name="T6" fmla="*/ 60 w 191"/>
                    <a:gd name="T7" fmla="*/ 242 h 313"/>
                    <a:gd name="T8" fmla="*/ 60 w 191"/>
                    <a:gd name="T9" fmla="*/ 276 h 313"/>
                    <a:gd name="T10" fmla="*/ 80 w 191"/>
                    <a:gd name="T11" fmla="*/ 290 h 313"/>
                    <a:gd name="T12" fmla="*/ 107 w 191"/>
                    <a:gd name="T13" fmla="*/ 312 h 313"/>
                    <a:gd name="T14" fmla="*/ 113 w 191"/>
                    <a:gd name="T15" fmla="*/ 294 h 313"/>
                    <a:gd name="T16" fmla="*/ 132 w 191"/>
                    <a:gd name="T17" fmla="*/ 280 h 313"/>
                    <a:gd name="T18" fmla="*/ 123 w 191"/>
                    <a:gd name="T19" fmla="*/ 238 h 313"/>
                    <a:gd name="T20" fmla="*/ 116 w 191"/>
                    <a:gd name="T21" fmla="*/ 219 h 313"/>
                    <a:gd name="T22" fmla="*/ 128 w 191"/>
                    <a:gd name="T23" fmla="*/ 198 h 313"/>
                    <a:gd name="T24" fmla="*/ 167 w 191"/>
                    <a:gd name="T25" fmla="*/ 177 h 313"/>
                    <a:gd name="T26" fmla="*/ 175 w 191"/>
                    <a:gd name="T27" fmla="*/ 137 h 313"/>
                    <a:gd name="T28" fmla="*/ 191 w 191"/>
                    <a:gd name="T29" fmla="*/ 123 h 313"/>
                    <a:gd name="T30" fmla="*/ 173 w 191"/>
                    <a:gd name="T31" fmla="*/ 108 h 313"/>
                    <a:gd name="T32" fmla="*/ 126 w 191"/>
                    <a:gd name="T33" fmla="*/ 87 h 313"/>
                    <a:gd name="T34" fmla="*/ 151 w 191"/>
                    <a:gd name="T35" fmla="*/ 41 h 313"/>
                    <a:gd name="T36" fmla="*/ 143 w 191"/>
                    <a:gd name="T37" fmla="*/ 13 h 313"/>
                    <a:gd name="T38" fmla="*/ 109 w 191"/>
                    <a:gd name="T39" fmla="*/ 24 h 313"/>
                    <a:gd name="T40" fmla="*/ 92 w 191"/>
                    <a:gd name="T41" fmla="*/ 49 h 313"/>
                    <a:gd name="T42" fmla="*/ 85 w 191"/>
                    <a:gd name="T43" fmla="*/ 90 h 313"/>
                    <a:gd name="T44" fmla="*/ 38 w 191"/>
                    <a:gd name="T45" fmla="*/ 137 h 313"/>
                    <a:gd name="T46" fmla="*/ 2 w 191"/>
                    <a:gd name="T47" fmla="*/ 144 h 313"/>
                    <a:gd name="T48" fmla="*/ 12 w 191"/>
                    <a:gd name="T49" fmla="*/ 158 h 313"/>
                    <a:gd name="T50" fmla="*/ 12 w 191"/>
                    <a:gd name="T51" fmla="*/ 158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1" h="313">
                      <a:moveTo>
                        <a:pt x="12" y="158"/>
                      </a:moveTo>
                      <a:cubicBezTo>
                        <a:pt x="0" y="166"/>
                        <a:pt x="21" y="157"/>
                        <a:pt x="25" y="166"/>
                      </a:cubicBezTo>
                      <a:cubicBezTo>
                        <a:pt x="31" y="179"/>
                        <a:pt x="56" y="191"/>
                        <a:pt x="50" y="198"/>
                      </a:cubicBezTo>
                      <a:cubicBezTo>
                        <a:pt x="29" y="220"/>
                        <a:pt x="60" y="215"/>
                        <a:pt x="60" y="242"/>
                      </a:cubicBezTo>
                      <a:cubicBezTo>
                        <a:pt x="59" y="247"/>
                        <a:pt x="31" y="266"/>
                        <a:pt x="60" y="276"/>
                      </a:cubicBezTo>
                      <a:cubicBezTo>
                        <a:pt x="88" y="287"/>
                        <a:pt x="59" y="283"/>
                        <a:pt x="80" y="290"/>
                      </a:cubicBezTo>
                      <a:cubicBezTo>
                        <a:pt x="80" y="290"/>
                        <a:pt x="104" y="312"/>
                        <a:pt x="107" y="312"/>
                      </a:cubicBezTo>
                      <a:cubicBezTo>
                        <a:pt x="122" y="313"/>
                        <a:pt x="112" y="296"/>
                        <a:pt x="113" y="294"/>
                      </a:cubicBezTo>
                      <a:cubicBezTo>
                        <a:pt x="118" y="268"/>
                        <a:pt x="117" y="279"/>
                        <a:pt x="132" y="280"/>
                      </a:cubicBezTo>
                      <a:cubicBezTo>
                        <a:pt x="145" y="281"/>
                        <a:pt x="156" y="241"/>
                        <a:pt x="123" y="238"/>
                      </a:cubicBezTo>
                      <a:cubicBezTo>
                        <a:pt x="106" y="236"/>
                        <a:pt x="129" y="232"/>
                        <a:pt x="116" y="219"/>
                      </a:cubicBezTo>
                      <a:cubicBezTo>
                        <a:pt x="108" y="212"/>
                        <a:pt x="127" y="206"/>
                        <a:pt x="128" y="198"/>
                      </a:cubicBezTo>
                      <a:cubicBezTo>
                        <a:pt x="131" y="166"/>
                        <a:pt x="115" y="181"/>
                        <a:pt x="167" y="177"/>
                      </a:cubicBezTo>
                      <a:cubicBezTo>
                        <a:pt x="168" y="162"/>
                        <a:pt x="166" y="149"/>
                        <a:pt x="175" y="137"/>
                      </a:cubicBezTo>
                      <a:cubicBezTo>
                        <a:pt x="181" y="128"/>
                        <a:pt x="186" y="124"/>
                        <a:pt x="191" y="123"/>
                      </a:cubicBezTo>
                      <a:cubicBezTo>
                        <a:pt x="170" y="106"/>
                        <a:pt x="189" y="133"/>
                        <a:pt x="173" y="108"/>
                      </a:cubicBezTo>
                      <a:cubicBezTo>
                        <a:pt x="157" y="84"/>
                        <a:pt x="147" y="116"/>
                        <a:pt x="126" y="87"/>
                      </a:cubicBezTo>
                      <a:cubicBezTo>
                        <a:pt x="123" y="83"/>
                        <a:pt x="145" y="46"/>
                        <a:pt x="151" y="41"/>
                      </a:cubicBezTo>
                      <a:cubicBezTo>
                        <a:pt x="156" y="37"/>
                        <a:pt x="158" y="43"/>
                        <a:pt x="143" y="13"/>
                      </a:cubicBezTo>
                      <a:cubicBezTo>
                        <a:pt x="137" y="0"/>
                        <a:pt x="109" y="24"/>
                        <a:pt x="109" y="24"/>
                      </a:cubicBezTo>
                      <a:cubicBezTo>
                        <a:pt x="97" y="30"/>
                        <a:pt x="113" y="17"/>
                        <a:pt x="92" y="49"/>
                      </a:cubicBezTo>
                      <a:cubicBezTo>
                        <a:pt x="74" y="76"/>
                        <a:pt x="96" y="74"/>
                        <a:pt x="85" y="90"/>
                      </a:cubicBezTo>
                      <a:cubicBezTo>
                        <a:pt x="71" y="108"/>
                        <a:pt x="108" y="116"/>
                        <a:pt x="38" y="137"/>
                      </a:cubicBezTo>
                      <a:cubicBezTo>
                        <a:pt x="2" y="144"/>
                        <a:pt x="2" y="144"/>
                        <a:pt x="2" y="144"/>
                      </a:cubicBezTo>
                      <a:cubicBezTo>
                        <a:pt x="10" y="145"/>
                        <a:pt x="24" y="152"/>
                        <a:pt x="12" y="158"/>
                      </a:cubicBezTo>
                      <a:cubicBezTo>
                        <a:pt x="12" y="158"/>
                        <a:pt x="12" y="158"/>
                        <a:pt x="12" y="158"/>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01" name="Inner Mongolia" descr="{&quot;Key&quot;:&quot;inner mongolia&quot;,&quot;Name&quot;:&quot;Inner Mongolia&quot;,&quot;Value&quot;:1.0,&quot;Formula&quot;:&quot;&quot;,&quot;Text&quot;:&quot;&quot;,&quot;OfficeApplication&quot;:1,&quot;HasValue&quot;:true}">
                  <a:extLst>
                    <a:ext uri="{FF2B5EF4-FFF2-40B4-BE49-F238E27FC236}">
                      <a16:creationId xmlns:a16="http://schemas.microsoft.com/office/drawing/2014/main" id="{667394A0-E32E-4926-B30E-4DB80CCB2EC9}"/>
                    </a:ext>
                  </a:extLst>
                </p:cNvPr>
                <p:cNvSpPr>
                  <a:spLocks/>
                </p:cNvSpPr>
                <p:nvPr/>
              </p:nvSpPr>
              <p:spPr bwMode="auto">
                <a:xfrm>
                  <a:off x="5453856" y="1127125"/>
                  <a:ext cx="3000375" cy="2490788"/>
                </a:xfrm>
                <a:custGeom>
                  <a:avLst/>
                  <a:gdLst>
                    <a:gd name="T0" fmla="*/ 330 w 1520"/>
                    <a:gd name="T1" fmla="*/ 1185 h 1262"/>
                    <a:gd name="T2" fmla="*/ 423 w 1520"/>
                    <a:gd name="T3" fmla="*/ 1250 h 1262"/>
                    <a:gd name="T4" fmla="*/ 528 w 1520"/>
                    <a:gd name="T5" fmla="*/ 1126 h 1262"/>
                    <a:gd name="T6" fmla="*/ 576 w 1520"/>
                    <a:gd name="T7" fmla="*/ 1236 h 1262"/>
                    <a:gd name="T8" fmla="*/ 660 w 1520"/>
                    <a:gd name="T9" fmla="*/ 1222 h 1262"/>
                    <a:gd name="T10" fmla="*/ 702 w 1520"/>
                    <a:gd name="T11" fmla="*/ 1144 h 1262"/>
                    <a:gd name="T12" fmla="*/ 760 w 1520"/>
                    <a:gd name="T13" fmla="*/ 1121 h 1262"/>
                    <a:gd name="T14" fmla="*/ 845 w 1520"/>
                    <a:gd name="T15" fmla="*/ 1060 h 1262"/>
                    <a:gd name="T16" fmla="*/ 951 w 1520"/>
                    <a:gd name="T17" fmla="*/ 997 h 1262"/>
                    <a:gd name="T18" fmla="*/ 944 w 1520"/>
                    <a:gd name="T19" fmla="*/ 983 h 1262"/>
                    <a:gd name="T20" fmla="*/ 941 w 1520"/>
                    <a:gd name="T21" fmla="*/ 968 h 1262"/>
                    <a:gd name="T22" fmla="*/ 954 w 1520"/>
                    <a:gd name="T23" fmla="*/ 950 h 1262"/>
                    <a:gd name="T24" fmla="*/ 962 w 1520"/>
                    <a:gd name="T25" fmla="*/ 929 h 1262"/>
                    <a:gd name="T26" fmla="*/ 978 w 1520"/>
                    <a:gd name="T27" fmla="*/ 907 h 1262"/>
                    <a:gd name="T28" fmla="*/ 997 w 1520"/>
                    <a:gd name="T29" fmla="*/ 913 h 1262"/>
                    <a:gd name="T30" fmla="*/ 996 w 1520"/>
                    <a:gd name="T31" fmla="*/ 940 h 1262"/>
                    <a:gd name="T32" fmla="*/ 1016 w 1520"/>
                    <a:gd name="T33" fmla="*/ 945 h 1262"/>
                    <a:gd name="T34" fmla="*/ 1031 w 1520"/>
                    <a:gd name="T35" fmla="*/ 927 h 1262"/>
                    <a:gd name="T36" fmla="*/ 1053 w 1520"/>
                    <a:gd name="T37" fmla="*/ 912 h 1262"/>
                    <a:gd name="T38" fmla="*/ 1065 w 1520"/>
                    <a:gd name="T39" fmla="*/ 921 h 1262"/>
                    <a:gd name="T40" fmla="*/ 1077 w 1520"/>
                    <a:gd name="T41" fmla="*/ 909 h 1262"/>
                    <a:gd name="T42" fmla="*/ 1087 w 1520"/>
                    <a:gd name="T43" fmla="*/ 909 h 1262"/>
                    <a:gd name="T44" fmla="*/ 1108 w 1520"/>
                    <a:gd name="T45" fmla="*/ 907 h 1262"/>
                    <a:gd name="T46" fmla="*/ 1109 w 1520"/>
                    <a:gd name="T47" fmla="*/ 895 h 1262"/>
                    <a:gd name="T48" fmla="*/ 1112 w 1520"/>
                    <a:gd name="T49" fmla="*/ 883 h 1262"/>
                    <a:gd name="T50" fmla="*/ 1113 w 1520"/>
                    <a:gd name="T51" fmla="*/ 870 h 1262"/>
                    <a:gd name="T52" fmla="*/ 1134 w 1520"/>
                    <a:gd name="T53" fmla="*/ 864 h 1262"/>
                    <a:gd name="T54" fmla="*/ 1149 w 1520"/>
                    <a:gd name="T55" fmla="*/ 854 h 1262"/>
                    <a:gd name="T56" fmla="*/ 1166 w 1520"/>
                    <a:gd name="T57" fmla="*/ 863 h 1262"/>
                    <a:gd name="T58" fmla="*/ 1174 w 1520"/>
                    <a:gd name="T59" fmla="*/ 883 h 1262"/>
                    <a:gd name="T60" fmla="*/ 1188 w 1520"/>
                    <a:gd name="T61" fmla="*/ 903 h 1262"/>
                    <a:gd name="T62" fmla="*/ 1184 w 1520"/>
                    <a:gd name="T63" fmla="*/ 917 h 1262"/>
                    <a:gd name="T64" fmla="*/ 1196 w 1520"/>
                    <a:gd name="T65" fmla="*/ 934 h 1262"/>
                    <a:gd name="T66" fmla="*/ 1204 w 1520"/>
                    <a:gd name="T67" fmla="*/ 949 h 1262"/>
                    <a:gd name="T68" fmla="*/ 1222 w 1520"/>
                    <a:gd name="T69" fmla="*/ 945 h 1262"/>
                    <a:gd name="T70" fmla="*/ 1241 w 1520"/>
                    <a:gd name="T71" fmla="*/ 946 h 1262"/>
                    <a:gd name="T72" fmla="*/ 1249 w 1520"/>
                    <a:gd name="T73" fmla="*/ 883 h 1262"/>
                    <a:gd name="T74" fmla="*/ 1372 w 1520"/>
                    <a:gd name="T75" fmla="*/ 842 h 1262"/>
                    <a:gd name="T76" fmla="*/ 1481 w 1520"/>
                    <a:gd name="T77" fmla="*/ 761 h 1262"/>
                    <a:gd name="T78" fmla="*/ 1448 w 1520"/>
                    <a:gd name="T79" fmla="*/ 698 h 1262"/>
                    <a:gd name="T80" fmla="*/ 1377 w 1520"/>
                    <a:gd name="T81" fmla="*/ 640 h 1262"/>
                    <a:gd name="T82" fmla="*/ 1390 w 1520"/>
                    <a:gd name="T83" fmla="*/ 586 h 1262"/>
                    <a:gd name="T84" fmla="*/ 1441 w 1520"/>
                    <a:gd name="T85" fmla="*/ 510 h 1262"/>
                    <a:gd name="T86" fmla="*/ 1446 w 1520"/>
                    <a:gd name="T87" fmla="*/ 379 h 1262"/>
                    <a:gd name="T88" fmla="*/ 1489 w 1520"/>
                    <a:gd name="T89" fmla="*/ 240 h 1262"/>
                    <a:gd name="T90" fmla="*/ 1338 w 1520"/>
                    <a:gd name="T91" fmla="*/ 119 h 1262"/>
                    <a:gd name="T92" fmla="*/ 1266 w 1520"/>
                    <a:gd name="T93" fmla="*/ 14 h 1262"/>
                    <a:gd name="T94" fmla="*/ 1233 w 1520"/>
                    <a:gd name="T95" fmla="*/ 93 h 1262"/>
                    <a:gd name="T96" fmla="*/ 1173 w 1520"/>
                    <a:gd name="T97" fmla="*/ 286 h 1262"/>
                    <a:gd name="T98" fmla="*/ 1020 w 1520"/>
                    <a:gd name="T99" fmla="*/ 472 h 1262"/>
                    <a:gd name="T100" fmla="*/ 1197 w 1520"/>
                    <a:gd name="T101" fmla="*/ 472 h 1262"/>
                    <a:gd name="T102" fmla="*/ 1113 w 1520"/>
                    <a:gd name="T103" fmla="*/ 564 h 1262"/>
                    <a:gd name="T104" fmla="*/ 946 w 1520"/>
                    <a:gd name="T105" fmla="*/ 683 h 1262"/>
                    <a:gd name="T106" fmla="*/ 792 w 1520"/>
                    <a:gd name="T107" fmla="*/ 814 h 1262"/>
                    <a:gd name="T108" fmla="*/ 417 w 1520"/>
                    <a:gd name="T109" fmla="*/ 942 h 1262"/>
                    <a:gd name="T110" fmla="*/ 120 w 1520"/>
                    <a:gd name="T111" fmla="*/ 843 h 1262"/>
                    <a:gd name="T112" fmla="*/ 47 w 1520"/>
                    <a:gd name="T113" fmla="*/ 980 h 1262"/>
                    <a:gd name="T114" fmla="*/ 136 w 1520"/>
                    <a:gd name="T115" fmla="*/ 1063 h 1262"/>
                    <a:gd name="T116" fmla="*/ 197 w 1520"/>
                    <a:gd name="T117" fmla="*/ 1134 h 1262"/>
                    <a:gd name="T118" fmla="*/ 296 w 1520"/>
                    <a:gd name="T119" fmla="*/ 1128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0" h="1262">
                      <a:moveTo>
                        <a:pt x="296" y="1128"/>
                      </a:moveTo>
                      <a:cubicBezTo>
                        <a:pt x="310" y="1136"/>
                        <a:pt x="368" y="1086"/>
                        <a:pt x="369" y="1114"/>
                      </a:cubicBezTo>
                      <a:cubicBezTo>
                        <a:pt x="369" y="1136"/>
                        <a:pt x="384" y="1125"/>
                        <a:pt x="369" y="1150"/>
                      </a:cubicBezTo>
                      <a:cubicBezTo>
                        <a:pt x="350" y="1181"/>
                        <a:pt x="326" y="1176"/>
                        <a:pt x="330" y="1185"/>
                      </a:cubicBezTo>
                      <a:cubicBezTo>
                        <a:pt x="337" y="1199"/>
                        <a:pt x="315" y="1206"/>
                        <a:pt x="322" y="1221"/>
                      </a:cubicBezTo>
                      <a:cubicBezTo>
                        <a:pt x="324" y="1224"/>
                        <a:pt x="329" y="1226"/>
                        <a:pt x="331" y="1229"/>
                      </a:cubicBezTo>
                      <a:cubicBezTo>
                        <a:pt x="356" y="1247"/>
                        <a:pt x="352" y="1258"/>
                        <a:pt x="387" y="1257"/>
                      </a:cubicBezTo>
                      <a:cubicBezTo>
                        <a:pt x="423" y="1250"/>
                        <a:pt x="423" y="1250"/>
                        <a:pt x="423" y="1250"/>
                      </a:cubicBezTo>
                      <a:cubicBezTo>
                        <a:pt x="493" y="1229"/>
                        <a:pt x="456" y="1221"/>
                        <a:pt x="470" y="1203"/>
                      </a:cubicBezTo>
                      <a:cubicBezTo>
                        <a:pt x="481" y="1187"/>
                        <a:pt x="459" y="1189"/>
                        <a:pt x="477" y="1162"/>
                      </a:cubicBezTo>
                      <a:cubicBezTo>
                        <a:pt x="498" y="1130"/>
                        <a:pt x="482" y="1143"/>
                        <a:pt x="494" y="1137"/>
                      </a:cubicBezTo>
                      <a:cubicBezTo>
                        <a:pt x="494" y="1137"/>
                        <a:pt x="522" y="1113"/>
                        <a:pt x="528" y="1126"/>
                      </a:cubicBezTo>
                      <a:cubicBezTo>
                        <a:pt x="543" y="1156"/>
                        <a:pt x="541" y="1150"/>
                        <a:pt x="536" y="1154"/>
                      </a:cubicBezTo>
                      <a:cubicBezTo>
                        <a:pt x="530" y="1159"/>
                        <a:pt x="508" y="1196"/>
                        <a:pt x="511" y="1200"/>
                      </a:cubicBezTo>
                      <a:cubicBezTo>
                        <a:pt x="532" y="1229"/>
                        <a:pt x="542" y="1197"/>
                        <a:pt x="558" y="1221"/>
                      </a:cubicBezTo>
                      <a:cubicBezTo>
                        <a:pt x="574" y="1246"/>
                        <a:pt x="555" y="1219"/>
                        <a:pt x="576" y="1236"/>
                      </a:cubicBezTo>
                      <a:cubicBezTo>
                        <a:pt x="581" y="1234"/>
                        <a:pt x="586" y="1237"/>
                        <a:pt x="593" y="1241"/>
                      </a:cubicBezTo>
                      <a:cubicBezTo>
                        <a:pt x="624" y="1262"/>
                        <a:pt x="612" y="1242"/>
                        <a:pt x="625" y="1246"/>
                      </a:cubicBezTo>
                      <a:cubicBezTo>
                        <a:pt x="665" y="1260"/>
                        <a:pt x="635" y="1225"/>
                        <a:pt x="647" y="1222"/>
                      </a:cubicBezTo>
                      <a:cubicBezTo>
                        <a:pt x="654" y="1220"/>
                        <a:pt x="658" y="1221"/>
                        <a:pt x="660" y="1222"/>
                      </a:cubicBezTo>
                      <a:cubicBezTo>
                        <a:pt x="659" y="1221"/>
                        <a:pt x="658" y="1220"/>
                        <a:pt x="657" y="1219"/>
                      </a:cubicBezTo>
                      <a:cubicBezTo>
                        <a:pt x="656" y="1217"/>
                        <a:pt x="654" y="1215"/>
                        <a:pt x="653" y="1213"/>
                      </a:cubicBezTo>
                      <a:cubicBezTo>
                        <a:pt x="648" y="1203"/>
                        <a:pt x="684" y="1163"/>
                        <a:pt x="686" y="1162"/>
                      </a:cubicBezTo>
                      <a:cubicBezTo>
                        <a:pt x="707" y="1150"/>
                        <a:pt x="694" y="1151"/>
                        <a:pt x="702" y="1144"/>
                      </a:cubicBezTo>
                      <a:cubicBezTo>
                        <a:pt x="723" y="1123"/>
                        <a:pt x="709" y="1131"/>
                        <a:pt x="721" y="1129"/>
                      </a:cubicBezTo>
                      <a:cubicBezTo>
                        <a:pt x="739" y="1127"/>
                        <a:pt x="721" y="1118"/>
                        <a:pt x="721" y="1117"/>
                      </a:cubicBezTo>
                      <a:cubicBezTo>
                        <a:pt x="719" y="1110"/>
                        <a:pt x="740" y="1121"/>
                        <a:pt x="741" y="1121"/>
                      </a:cubicBezTo>
                      <a:cubicBezTo>
                        <a:pt x="759" y="1118"/>
                        <a:pt x="753" y="1132"/>
                        <a:pt x="760" y="1121"/>
                      </a:cubicBezTo>
                      <a:cubicBezTo>
                        <a:pt x="769" y="1105"/>
                        <a:pt x="787" y="1098"/>
                        <a:pt x="781" y="1115"/>
                      </a:cubicBezTo>
                      <a:cubicBezTo>
                        <a:pt x="794" y="1110"/>
                        <a:pt x="787" y="1121"/>
                        <a:pt x="801" y="1106"/>
                      </a:cubicBezTo>
                      <a:cubicBezTo>
                        <a:pt x="817" y="1089"/>
                        <a:pt x="829" y="1112"/>
                        <a:pt x="833" y="1098"/>
                      </a:cubicBezTo>
                      <a:cubicBezTo>
                        <a:pt x="835" y="1090"/>
                        <a:pt x="841" y="1068"/>
                        <a:pt x="845" y="1060"/>
                      </a:cubicBezTo>
                      <a:cubicBezTo>
                        <a:pt x="857" y="1035"/>
                        <a:pt x="875" y="1066"/>
                        <a:pt x="888" y="1047"/>
                      </a:cubicBezTo>
                      <a:cubicBezTo>
                        <a:pt x="898" y="1034"/>
                        <a:pt x="919" y="1050"/>
                        <a:pt x="929" y="1038"/>
                      </a:cubicBezTo>
                      <a:cubicBezTo>
                        <a:pt x="944" y="1021"/>
                        <a:pt x="957" y="1037"/>
                        <a:pt x="953" y="1002"/>
                      </a:cubicBezTo>
                      <a:cubicBezTo>
                        <a:pt x="951" y="997"/>
                        <a:pt x="951" y="997"/>
                        <a:pt x="951" y="997"/>
                      </a:cubicBezTo>
                      <a:cubicBezTo>
                        <a:pt x="948" y="994"/>
                        <a:pt x="948" y="994"/>
                        <a:pt x="948" y="994"/>
                      </a:cubicBezTo>
                      <a:cubicBezTo>
                        <a:pt x="946" y="990"/>
                        <a:pt x="946" y="990"/>
                        <a:pt x="946" y="990"/>
                      </a:cubicBezTo>
                      <a:cubicBezTo>
                        <a:pt x="943" y="987"/>
                        <a:pt x="943" y="987"/>
                        <a:pt x="943" y="987"/>
                      </a:cubicBezTo>
                      <a:cubicBezTo>
                        <a:pt x="944" y="983"/>
                        <a:pt x="944" y="983"/>
                        <a:pt x="944" y="983"/>
                      </a:cubicBezTo>
                      <a:cubicBezTo>
                        <a:pt x="945" y="981"/>
                        <a:pt x="945" y="981"/>
                        <a:pt x="945" y="981"/>
                      </a:cubicBezTo>
                      <a:cubicBezTo>
                        <a:pt x="946" y="977"/>
                        <a:pt x="946" y="977"/>
                        <a:pt x="946" y="977"/>
                      </a:cubicBezTo>
                      <a:cubicBezTo>
                        <a:pt x="944" y="972"/>
                        <a:pt x="944" y="972"/>
                        <a:pt x="944" y="972"/>
                      </a:cubicBezTo>
                      <a:cubicBezTo>
                        <a:pt x="941" y="968"/>
                        <a:pt x="941" y="968"/>
                        <a:pt x="941" y="968"/>
                      </a:cubicBezTo>
                      <a:cubicBezTo>
                        <a:pt x="944" y="964"/>
                        <a:pt x="944" y="964"/>
                        <a:pt x="944" y="964"/>
                      </a:cubicBezTo>
                      <a:cubicBezTo>
                        <a:pt x="944" y="957"/>
                        <a:pt x="944" y="957"/>
                        <a:pt x="944" y="957"/>
                      </a:cubicBezTo>
                      <a:cubicBezTo>
                        <a:pt x="947" y="950"/>
                        <a:pt x="947" y="950"/>
                        <a:pt x="947" y="950"/>
                      </a:cubicBezTo>
                      <a:cubicBezTo>
                        <a:pt x="954" y="950"/>
                        <a:pt x="954" y="950"/>
                        <a:pt x="954" y="950"/>
                      </a:cubicBezTo>
                      <a:cubicBezTo>
                        <a:pt x="957" y="945"/>
                        <a:pt x="957" y="945"/>
                        <a:pt x="957" y="945"/>
                      </a:cubicBezTo>
                      <a:cubicBezTo>
                        <a:pt x="958" y="939"/>
                        <a:pt x="958" y="939"/>
                        <a:pt x="958" y="939"/>
                      </a:cubicBezTo>
                      <a:cubicBezTo>
                        <a:pt x="960" y="934"/>
                        <a:pt x="960" y="934"/>
                        <a:pt x="960" y="934"/>
                      </a:cubicBezTo>
                      <a:cubicBezTo>
                        <a:pt x="962" y="929"/>
                        <a:pt x="962" y="929"/>
                        <a:pt x="962" y="929"/>
                      </a:cubicBezTo>
                      <a:cubicBezTo>
                        <a:pt x="964" y="924"/>
                        <a:pt x="964" y="924"/>
                        <a:pt x="964" y="924"/>
                      </a:cubicBezTo>
                      <a:cubicBezTo>
                        <a:pt x="969" y="919"/>
                        <a:pt x="969" y="919"/>
                        <a:pt x="969" y="919"/>
                      </a:cubicBezTo>
                      <a:cubicBezTo>
                        <a:pt x="973" y="914"/>
                        <a:pt x="973" y="914"/>
                        <a:pt x="973" y="914"/>
                      </a:cubicBezTo>
                      <a:cubicBezTo>
                        <a:pt x="978" y="907"/>
                        <a:pt x="978" y="907"/>
                        <a:pt x="978" y="907"/>
                      </a:cubicBezTo>
                      <a:cubicBezTo>
                        <a:pt x="983" y="903"/>
                        <a:pt x="983" y="903"/>
                        <a:pt x="983" y="903"/>
                      </a:cubicBezTo>
                      <a:cubicBezTo>
                        <a:pt x="988" y="904"/>
                        <a:pt x="988" y="904"/>
                        <a:pt x="988" y="904"/>
                      </a:cubicBezTo>
                      <a:cubicBezTo>
                        <a:pt x="992" y="907"/>
                        <a:pt x="992" y="907"/>
                        <a:pt x="992" y="907"/>
                      </a:cubicBezTo>
                      <a:cubicBezTo>
                        <a:pt x="997" y="913"/>
                        <a:pt x="997" y="913"/>
                        <a:pt x="997" y="913"/>
                      </a:cubicBezTo>
                      <a:cubicBezTo>
                        <a:pt x="1001" y="917"/>
                        <a:pt x="1001" y="917"/>
                        <a:pt x="1001" y="917"/>
                      </a:cubicBezTo>
                      <a:cubicBezTo>
                        <a:pt x="998" y="925"/>
                        <a:pt x="998" y="925"/>
                        <a:pt x="998" y="925"/>
                      </a:cubicBezTo>
                      <a:cubicBezTo>
                        <a:pt x="996" y="932"/>
                        <a:pt x="996" y="932"/>
                        <a:pt x="996" y="932"/>
                      </a:cubicBezTo>
                      <a:cubicBezTo>
                        <a:pt x="996" y="940"/>
                        <a:pt x="996" y="940"/>
                        <a:pt x="996" y="940"/>
                      </a:cubicBezTo>
                      <a:cubicBezTo>
                        <a:pt x="999" y="947"/>
                        <a:pt x="999" y="947"/>
                        <a:pt x="999" y="947"/>
                      </a:cubicBezTo>
                      <a:cubicBezTo>
                        <a:pt x="1005" y="947"/>
                        <a:pt x="1005" y="947"/>
                        <a:pt x="1005" y="947"/>
                      </a:cubicBezTo>
                      <a:cubicBezTo>
                        <a:pt x="1012" y="947"/>
                        <a:pt x="1012" y="947"/>
                        <a:pt x="1012" y="947"/>
                      </a:cubicBezTo>
                      <a:cubicBezTo>
                        <a:pt x="1016" y="945"/>
                        <a:pt x="1016" y="945"/>
                        <a:pt x="1016" y="945"/>
                      </a:cubicBezTo>
                      <a:cubicBezTo>
                        <a:pt x="1019" y="939"/>
                        <a:pt x="1019" y="939"/>
                        <a:pt x="1019" y="939"/>
                      </a:cubicBezTo>
                      <a:cubicBezTo>
                        <a:pt x="1022" y="934"/>
                        <a:pt x="1022" y="934"/>
                        <a:pt x="1022" y="934"/>
                      </a:cubicBezTo>
                      <a:cubicBezTo>
                        <a:pt x="1026" y="931"/>
                        <a:pt x="1026" y="931"/>
                        <a:pt x="1026" y="931"/>
                      </a:cubicBezTo>
                      <a:cubicBezTo>
                        <a:pt x="1031" y="927"/>
                        <a:pt x="1031" y="927"/>
                        <a:pt x="1031" y="927"/>
                      </a:cubicBezTo>
                      <a:cubicBezTo>
                        <a:pt x="1037" y="922"/>
                        <a:pt x="1037" y="922"/>
                        <a:pt x="1037" y="922"/>
                      </a:cubicBezTo>
                      <a:cubicBezTo>
                        <a:pt x="1041" y="919"/>
                        <a:pt x="1041" y="919"/>
                        <a:pt x="1041" y="919"/>
                      </a:cubicBezTo>
                      <a:cubicBezTo>
                        <a:pt x="1046" y="914"/>
                        <a:pt x="1046" y="914"/>
                        <a:pt x="1046" y="914"/>
                      </a:cubicBezTo>
                      <a:cubicBezTo>
                        <a:pt x="1053" y="912"/>
                        <a:pt x="1053" y="912"/>
                        <a:pt x="1053" y="912"/>
                      </a:cubicBezTo>
                      <a:cubicBezTo>
                        <a:pt x="1056" y="916"/>
                        <a:pt x="1056" y="916"/>
                        <a:pt x="1056" y="916"/>
                      </a:cubicBezTo>
                      <a:cubicBezTo>
                        <a:pt x="1058" y="920"/>
                        <a:pt x="1058" y="920"/>
                        <a:pt x="1058" y="920"/>
                      </a:cubicBezTo>
                      <a:cubicBezTo>
                        <a:pt x="1063" y="922"/>
                        <a:pt x="1063" y="922"/>
                        <a:pt x="1063" y="922"/>
                      </a:cubicBezTo>
                      <a:cubicBezTo>
                        <a:pt x="1065" y="921"/>
                        <a:pt x="1065" y="921"/>
                        <a:pt x="1065" y="921"/>
                      </a:cubicBezTo>
                      <a:cubicBezTo>
                        <a:pt x="1068" y="919"/>
                        <a:pt x="1068" y="919"/>
                        <a:pt x="1068" y="919"/>
                      </a:cubicBezTo>
                      <a:cubicBezTo>
                        <a:pt x="1070" y="916"/>
                        <a:pt x="1070" y="916"/>
                        <a:pt x="1070" y="916"/>
                      </a:cubicBezTo>
                      <a:cubicBezTo>
                        <a:pt x="1073" y="913"/>
                        <a:pt x="1073" y="913"/>
                        <a:pt x="1073" y="913"/>
                      </a:cubicBezTo>
                      <a:cubicBezTo>
                        <a:pt x="1077" y="909"/>
                        <a:pt x="1077" y="909"/>
                        <a:pt x="1077" y="909"/>
                      </a:cubicBezTo>
                      <a:cubicBezTo>
                        <a:pt x="1078" y="907"/>
                        <a:pt x="1078" y="907"/>
                        <a:pt x="1078" y="907"/>
                      </a:cubicBezTo>
                      <a:cubicBezTo>
                        <a:pt x="1080" y="906"/>
                        <a:pt x="1080" y="906"/>
                        <a:pt x="1080" y="906"/>
                      </a:cubicBezTo>
                      <a:cubicBezTo>
                        <a:pt x="1083" y="906"/>
                        <a:pt x="1083" y="906"/>
                        <a:pt x="1083" y="906"/>
                      </a:cubicBezTo>
                      <a:cubicBezTo>
                        <a:pt x="1087" y="909"/>
                        <a:pt x="1087" y="909"/>
                        <a:pt x="1087" y="909"/>
                      </a:cubicBezTo>
                      <a:cubicBezTo>
                        <a:pt x="1091" y="909"/>
                        <a:pt x="1091" y="909"/>
                        <a:pt x="1091" y="909"/>
                      </a:cubicBezTo>
                      <a:cubicBezTo>
                        <a:pt x="1097" y="910"/>
                        <a:pt x="1097" y="910"/>
                        <a:pt x="1097" y="910"/>
                      </a:cubicBezTo>
                      <a:cubicBezTo>
                        <a:pt x="1103" y="909"/>
                        <a:pt x="1103" y="909"/>
                        <a:pt x="1103" y="909"/>
                      </a:cubicBezTo>
                      <a:cubicBezTo>
                        <a:pt x="1108" y="907"/>
                        <a:pt x="1108" y="907"/>
                        <a:pt x="1108" y="907"/>
                      </a:cubicBezTo>
                      <a:cubicBezTo>
                        <a:pt x="1110" y="903"/>
                        <a:pt x="1110" y="903"/>
                        <a:pt x="1110" y="903"/>
                      </a:cubicBezTo>
                      <a:cubicBezTo>
                        <a:pt x="1113" y="899"/>
                        <a:pt x="1113" y="899"/>
                        <a:pt x="1113" y="899"/>
                      </a:cubicBezTo>
                      <a:cubicBezTo>
                        <a:pt x="1111" y="897"/>
                        <a:pt x="1111" y="897"/>
                        <a:pt x="1111" y="897"/>
                      </a:cubicBezTo>
                      <a:cubicBezTo>
                        <a:pt x="1109" y="895"/>
                        <a:pt x="1109" y="895"/>
                        <a:pt x="1109" y="895"/>
                      </a:cubicBezTo>
                      <a:cubicBezTo>
                        <a:pt x="1108" y="892"/>
                        <a:pt x="1108" y="892"/>
                        <a:pt x="1108" y="892"/>
                      </a:cubicBezTo>
                      <a:cubicBezTo>
                        <a:pt x="1111" y="889"/>
                        <a:pt x="1111" y="889"/>
                        <a:pt x="1111" y="889"/>
                      </a:cubicBezTo>
                      <a:cubicBezTo>
                        <a:pt x="1112" y="886"/>
                        <a:pt x="1112" y="886"/>
                        <a:pt x="1112" y="886"/>
                      </a:cubicBezTo>
                      <a:cubicBezTo>
                        <a:pt x="1112" y="883"/>
                        <a:pt x="1112" y="883"/>
                        <a:pt x="1112" y="883"/>
                      </a:cubicBezTo>
                      <a:cubicBezTo>
                        <a:pt x="1111" y="881"/>
                        <a:pt x="1111" y="881"/>
                        <a:pt x="1111" y="881"/>
                      </a:cubicBezTo>
                      <a:cubicBezTo>
                        <a:pt x="1110" y="878"/>
                        <a:pt x="1110" y="878"/>
                        <a:pt x="1110" y="878"/>
                      </a:cubicBezTo>
                      <a:cubicBezTo>
                        <a:pt x="1110" y="874"/>
                        <a:pt x="1110" y="874"/>
                        <a:pt x="1110" y="874"/>
                      </a:cubicBezTo>
                      <a:cubicBezTo>
                        <a:pt x="1113" y="870"/>
                        <a:pt x="1113" y="870"/>
                        <a:pt x="1113" y="870"/>
                      </a:cubicBezTo>
                      <a:cubicBezTo>
                        <a:pt x="1116" y="866"/>
                        <a:pt x="1116" y="866"/>
                        <a:pt x="1116" y="866"/>
                      </a:cubicBezTo>
                      <a:cubicBezTo>
                        <a:pt x="1121" y="866"/>
                        <a:pt x="1121" y="866"/>
                        <a:pt x="1121" y="866"/>
                      </a:cubicBezTo>
                      <a:cubicBezTo>
                        <a:pt x="1129" y="866"/>
                        <a:pt x="1129" y="866"/>
                        <a:pt x="1129" y="866"/>
                      </a:cubicBezTo>
                      <a:cubicBezTo>
                        <a:pt x="1134" y="864"/>
                        <a:pt x="1134" y="864"/>
                        <a:pt x="1134" y="864"/>
                      </a:cubicBezTo>
                      <a:cubicBezTo>
                        <a:pt x="1137" y="862"/>
                        <a:pt x="1137" y="862"/>
                        <a:pt x="1137" y="862"/>
                      </a:cubicBezTo>
                      <a:cubicBezTo>
                        <a:pt x="1140" y="858"/>
                        <a:pt x="1140" y="858"/>
                        <a:pt x="1140" y="858"/>
                      </a:cubicBezTo>
                      <a:cubicBezTo>
                        <a:pt x="1143" y="855"/>
                        <a:pt x="1143" y="855"/>
                        <a:pt x="1143" y="855"/>
                      </a:cubicBezTo>
                      <a:cubicBezTo>
                        <a:pt x="1149" y="854"/>
                        <a:pt x="1149" y="854"/>
                        <a:pt x="1149" y="854"/>
                      </a:cubicBezTo>
                      <a:cubicBezTo>
                        <a:pt x="1154" y="854"/>
                        <a:pt x="1154" y="854"/>
                        <a:pt x="1154" y="854"/>
                      </a:cubicBezTo>
                      <a:cubicBezTo>
                        <a:pt x="1159" y="856"/>
                        <a:pt x="1159" y="856"/>
                        <a:pt x="1159" y="856"/>
                      </a:cubicBezTo>
                      <a:cubicBezTo>
                        <a:pt x="1163" y="859"/>
                        <a:pt x="1163" y="859"/>
                        <a:pt x="1163" y="859"/>
                      </a:cubicBezTo>
                      <a:cubicBezTo>
                        <a:pt x="1166" y="863"/>
                        <a:pt x="1166" y="863"/>
                        <a:pt x="1166" y="863"/>
                      </a:cubicBezTo>
                      <a:cubicBezTo>
                        <a:pt x="1170" y="867"/>
                        <a:pt x="1170" y="867"/>
                        <a:pt x="1170" y="867"/>
                      </a:cubicBezTo>
                      <a:cubicBezTo>
                        <a:pt x="1173" y="871"/>
                        <a:pt x="1173" y="871"/>
                        <a:pt x="1173" y="871"/>
                      </a:cubicBezTo>
                      <a:cubicBezTo>
                        <a:pt x="1173" y="876"/>
                        <a:pt x="1173" y="876"/>
                        <a:pt x="1173" y="876"/>
                      </a:cubicBezTo>
                      <a:cubicBezTo>
                        <a:pt x="1174" y="883"/>
                        <a:pt x="1174" y="883"/>
                        <a:pt x="1174" y="883"/>
                      </a:cubicBezTo>
                      <a:cubicBezTo>
                        <a:pt x="1178" y="887"/>
                        <a:pt x="1178" y="887"/>
                        <a:pt x="1178" y="887"/>
                      </a:cubicBezTo>
                      <a:cubicBezTo>
                        <a:pt x="1180" y="893"/>
                        <a:pt x="1180" y="893"/>
                        <a:pt x="1180" y="893"/>
                      </a:cubicBezTo>
                      <a:cubicBezTo>
                        <a:pt x="1184" y="898"/>
                        <a:pt x="1184" y="898"/>
                        <a:pt x="1184" y="898"/>
                      </a:cubicBezTo>
                      <a:cubicBezTo>
                        <a:pt x="1188" y="903"/>
                        <a:pt x="1188" y="903"/>
                        <a:pt x="1188" y="903"/>
                      </a:cubicBezTo>
                      <a:cubicBezTo>
                        <a:pt x="1194" y="907"/>
                        <a:pt x="1194" y="907"/>
                        <a:pt x="1194" y="907"/>
                      </a:cubicBezTo>
                      <a:cubicBezTo>
                        <a:pt x="1193" y="911"/>
                        <a:pt x="1193" y="911"/>
                        <a:pt x="1193" y="911"/>
                      </a:cubicBezTo>
                      <a:cubicBezTo>
                        <a:pt x="1189" y="913"/>
                        <a:pt x="1189" y="913"/>
                        <a:pt x="1189" y="913"/>
                      </a:cubicBezTo>
                      <a:cubicBezTo>
                        <a:pt x="1184" y="917"/>
                        <a:pt x="1184" y="917"/>
                        <a:pt x="1184" y="917"/>
                      </a:cubicBezTo>
                      <a:cubicBezTo>
                        <a:pt x="1184" y="922"/>
                        <a:pt x="1184" y="922"/>
                        <a:pt x="1184" y="922"/>
                      </a:cubicBezTo>
                      <a:cubicBezTo>
                        <a:pt x="1186" y="927"/>
                        <a:pt x="1186" y="927"/>
                        <a:pt x="1186" y="927"/>
                      </a:cubicBezTo>
                      <a:cubicBezTo>
                        <a:pt x="1193" y="929"/>
                        <a:pt x="1193" y="929"/>
                        <a:pt x="1193" y="929"/>
                      </a:cubicBezTo>
                      <a:cubicBezTo>
                        <a:pt x="1196" y="934"/>
                        <a:pt x="1196" y="934"/>
                        <a:pt x="1196" y="934"/>
                      </a:cubicBezTo>
                      <a:cubicBezTo>
                        <a:pt x="1197" y="939"/>
                        <a:pt x="1197" y="939"/>
                        <a:pt x="1197" y="939"/>
                      </a:cubicBezTo>
                      <a:cubicBezTo>
                        <a:pt x="1197" y="944"/>
                        <a:pt x="1197" y="944"/>
                        <a:pt x="1197" y="944"/>
                      </a:cubicBezTo>
                      <a:cubicBezTo>
                        <a:pt x="1199" y="949"/>
                        <a:pt x="1199" y="949"/>
                        <a:pt x="1199" y="949"/>
                      </a:cubicBezTo>
                      <a:cubicBezTo>
                        <a:pt x="1204" y="949"/>
                        <a:pt x="1204" y="949"/>
                        <a:pt x="1204" y="949"/>
                      </a:cubicBezTo>
                      <a:cubicBezTo>
                        <a:pt x="1206" y="946"/>
                        <a:pt x="1206" y="946"/>
                        <a:pt x="1206" y="946"/>
                      </a:cubicBezTo>
                      <a:cubicBezTo>
                        <a:pt x="1213" y="946"/>
                        <a:pt x="1213" y="946"/>
                        <a:pt x="1213" y="946"/>
                      </a:cubicBezTo>
                      <a:cubicBezTo>
                        <a:pt x="1218" y="946"/>
                        <a:pt x="1218" y="946"/>
                        <a:pt x="1218" y="946"/>
                      </a:cubicBezTo>
                      <a:cubicBezTo>
                        <a:pt x="1222" y="945"/>
                        <a:pt x="1222" y="945"/>
                        <a:pt x="1222" y="945"/>
                      </a:cubicBezTo>
                      <a:cubicBezTo>
                        <a:pt x="1225" y="943"/>
                        <a:pt x="1225" y="943"/>
                        <a:pt x="1225" y="943"/>
                      </a:cubicBezTo>
                      <a:cubicBezTo>
                        <a:pt x="1228" y="946"/>
                        <a:pt x="1228" y="946"/>
                        <a:pt x="1228" y="946"/>
                      </a:cubicBezTo>
                      <a:cubicBezTo>
                        <a:pt x="1234" y="946"/>
                        <a:pt x="1234" y="946"/>
                        <a:pt x="1234" y="946"/>
                      </a:cubicBezTo>
                      <a:cubicBezTo>
                        <a:pt x="1241" y="946"/>
                        <a:pt x="1241" y="946"/>
                        <a:pt x="1241" y="946"/>
                      </a:cubicBezTo>
                      <a:cubicBezTo>
                        <a:pt x="1245" y="946"/>
                        <a:pt x="1245" y="946"/>
                        <a:pt x="1245" y="946"/>
                      </a:cubicBezTo>
                      <a:cubicBezTo>
                        <a:pt x="1250" y="945"/>
                        <a:pt x="1250" y="945"/>
                        <a:pt x="1250" y="945"/>
                      </a:cubicBezTo>
                      <a:cubicBezTo>
                        <a:pt x="1265" y="936"/>
                        <a:pt x="1259" y="934"/>
                        <a:pt x="1257" y="930"/>
                      </a:cubicBezTo>
                      <a:cubicBezTo>
                        <a:pt x="1247" y="900"/>
                        <a:pt x="1257" y="894"/>
                        <a:pt x="1249" y="883"/>
                      </a:cubicBezTo>
                      <a:cubicBezTo>
                        <a:pt x="1236" y="869"/>
                        <a:pt x="1259" y="866"/>
                        <a:pt x="1263" y="869"/>
                      </a:cubicBezTo>
                      <a:cubicBezTo>
                        <a:pt x="1279" y="882"/>
                        <a:pt x="1271" y="864"/>
                        <a:pt x="1293" y="907"/>
                      </a:cubicBezTo>
                      <a:cubicBezTo>
                        <a:pt x="1299" y="919"/>
                        <a:pt x="1308" y="876"/>
                        <a:pt x="1336" y="866"/>
                      </a:cubicBezTo>
                      <a:cubicBezTo>
                        <a:pt x="1358" y="858"/>
                        <a:pt x="1363" y="841"/>
                        <a:pt x="1372" y="842"/>
                      </a:cubicBezTo>
                      <a:cubicBezTo>
                        <a:pt x="1400" y="846"/>
                        <a:pt x="1380" y="825"/>
                        <a:pt x="1397" y="823"/>
                      </a:cubicBezTo>
                      <a:cubicBezTo>
                        <a:pt x="1429" y="818"/>
                        <a:pt x="1416" y="819"/>
                        <a:pt x="1414" y="814"/>
                      </a:cubicBezTo>
                      <a:cubicBezTo>
                        <a:pt x="1409" y="804"/>
                        <a:pt x="1450" y="825"/>
                        <a:pt x="1456" y="805"/>
                      </a:cubicBezTo>
                      <a:cubicBezTo>
                        <a:pt x="1470" y="765"/>
                        <a:pt x="1481" y="821"/>
                        <a:pt x="1481" y="761"/>
                      </a:cubicBezTo>
                      <a:cubicBezTo>
                        <a:pt x="1472" y="760"/>
                        <a:pt x="1475" y="764"/>
                        <a:pt x="1471" y="760"/>
                      </a:cubicBezTo>
                      <a:cubicBezTo>
                        <a:pt x="1464" y="755"/>
                        <a:pt x="1451" y="759"/>
                        <a:pt x="1466" y="746"/>
                      </a:cubicBezTo>
                      <a:cubicBezTo>
                        <a:pt x="1470" y="743"/>
                        <a:pt x="1462" y="724"/>
                        <a:pt x="1462" y="724"/>
                      </a:cubicBezTo>
                      <a:cubicBezTo>
                        <a:pt x="1448" y="707"/>
                        <a:pt x="1456" y="703"/>
                        <a:pt x="1448" y="698"/>
                      </a:cubicBezTo>
                      <a:cubicBezTo>
                        <a:pt x="1428" y="686"/>
                        <a:pt x="1451" y="673"/>
                        <a:pt x="1433" y="685"/>
                      </a:cubicBezTo>
                      <a:cubicBezTo>
                        <a:pt x="1413" y="699"/>
                        <a:pt x="1399" y="716"/>
                        <a:pt x="1397" y="704"/>
                      </a:cubicBezTo>
                      <a:cubicBezTo>
                        <a:pt x="1395" y="688"/>
                        <a:pt x="1373" y="669"/>
                        <a:pt x="1379" y="660"/>
                      </a:cubicBezTo>
                      <a:cubicBezTo>
                        <a:pt x="1386" y="650"/>
                        <a:pt x="1371" y="650"/>
                        <a:pt x="1377" y="640"/>
                      </a:cubicBezTo>
                      <a:cubicBezTo>
                        <a:pt x="1388" y="624"/>
                        <a:pt x="1367" y="617"/>
                        <a:pt x="1365" y="609"/>
                      </a:cubicBezTo>
                      <a:cubicBezTo>
                        <a:pt x="1362" y="594"/>
                        <a:pt x="1343" y="606"/>
                        <a:pt x="1349" y="598"/>
                      </a:cubicBezTo>
                      <a:cubicBezTo>
                        <a:pt x="1359" y="586"/>
                        <a:pt x="1350" y="570"/>
                        <a:pt x="1367" y="582"/>
                      </a:cubicBezTo>
                      <a:cubicBezTo>
                        <a:pt x="1393" y="601"/>
                        <a:pt x="1377" y="575"/>
                        <a:pt x="1390" y="586"/>
                      </a:cubicBezTo>
                      <a:cubicBezTo>
                        <a:pt x="1413" y="606"/>
                        <a:pt x="1410" y="580"/>
                        <a:pt x="1407" y="575"/>
                      </a:cubicBezTo>
                      <a:cubicBezTo>
                        <a:pt x="1396" y="559"/>
                        <a:pt x="1421" y="575"/>
                        <a:pt x="1421" y="550"/>
                      </a:cubicBezTo>
                      <a:cubicBezTo>
                        <a:pt x="1421" y="548"/>
                        <a:pt x="1420" y="547"/>
                        <a:pt x="1419" y="546"/>
                      </a:cubicBezTo>
                      <a:cubicBezTo>
                        <a:pt x="1395" y="515"/>
                        <a:pt x="1438" y="525"/>
                        <a:pt x="1441" y="510"/>
                      </a:cubicBezTo>
                      <a:cubicBezTo>
                        <a:pt x="1443" y="497"/>
                        <a:pt x="1430" y="505"/>
                        <a:pt x="1429" y="502"/>
                      </a:cubicBezTo>
                      <a:cubicBezTo>
                        <a:pt x="1420" y="480"/>
                        <a:pt x="1417" y="536"/>
                        <a:pt x="1401" y="503"/>
                      </a:cubicBezTo>
                      <a:cubicBezTo>
                        <a:pt x="1393" y="487"/>
                        <a:pt x="1367" y="480"/>
                        <a:pt x="1373" y="465"/>
                      </a:cubicBezTo>
                      <a:cubicBezTo>
                        <a:pt x="1379" y="450"/>
                        <a:pt x="1431" y="407"/>
                        <a:pt x="1446" y="379"/>
                      </a:cubicBezTo>
                      <a:cubicBezTo>
                        <a:pt x="1461" y="350"/>
                        <a:pt x="1458" y="404"/>
                        <a:pt x="1471" y="397"/>
                      </a:cubicBezTo>
                      <a:cubicBezTo>
                        <a:pt x="1481" y="391"/>
                        <a:pt x="1464" y="370"/>
                        <a:pt x="1468" y="365"/>
                      </a:cubicBezTo>
                      <a:cubicBezTo>
                        <a:pt x="1477" y="356"/>
                        <a:pt x="1464" y="324"/>
                        <a:pt x="1477" y="319"/>
                      </a:cubicBezTo>
                      <a:cubicBezTo>
                        <a:pt x="1512" y="306"/>
                        <a:pt x="1477" y="267"/>
                        <a:pt x="1489" y="240"/>
                      </a:cubicBezTo>
                      <a:cubicBezTo>
                        <a:pt x="1517" y="171"/>
                        <a:pt x="1520" y="172"/>
                        <a:pt x="1489" y="143"/>
                      </a:cubicBezTo>
                      <a:cubicBezTo>
                        <a:pt x="1441" y="99"/>
                        <a:pt x="1467" y="138"/>
                        <a:pt x="1442" y="148"/>
                      </a:cubicBezTo>
                      <a:cubicBezTo>
                        <a:pt x="1410" y="161"/>
                        <a:pt x="1402" y="154"/>
                        <a:pt x="1388" y="162"/>
                      </a:cubicBezTo>
                      <a:cubicBezTo>
                        <a:pt x="1355" y="179"/>
                        <a:pt x="1349" y="141"/>
                        <a:pt x="1338" y="119"/>
                      </a:cubicBezTo>
                      <a:cubicBezTo>
                        <a:pt x="1326" y="92"/>
                        <a:pt x="1349" y="103"/>
                        <a:pt x="1332" y="95"/>
                      </a:cubicBezTo>
                      <a:cubicBezTo>
                        <a:pt x="1325" y="92"/>
                        <a:pt x="1314" y="70"/>
                        <a:pt x="1306" y="82"/>
                      </a:cubicBezTo>
                      <a:cubicBezTo>
                        <a:pt x="1294" y="102"/>
                        <a:pt x="1295" y="92"/>
                        <a:pt x="1278" y="85"/>
                      </a:cubicBezTo>
                      <a:cubicBezTo>
                        <a:pt x="1235" y="66"/>
                        <a:pt x="1321" y="46"/>
                        <a:pt x="1266" y="14"/>
                      </a:cubicBezTo>
                      <a:cubicBezTo>
                        <a:pt x="1261" y="15"/>
                        <a:pt x="1257" y="16"/>
                        <a:pt x="1255" y="18"/>
                      </a:cubicBezTo>
                      <a:cubicBezTo>
                        <a:pt x="1240" y="34"/>
                        <a:pt x="1252" y="0"/>
                        <a:pt x="1209" y="57"/>
                      </a:cubicBezTo>
                      <a:cubicBezTo>
                        <a:pt x="1204" y="64"/>
                        <a:pt x="1193" y="70"/>
                        <a:pt x="1202" y="80"/>
                      </a:cubicBezTo>
                      <a:cubicBezTo>
                        <a:pt x="1209" y="87"/>
                        <a:pt x="1233" y="55"/>
                        <a:pt x="1233" y="93"/>
                      </a:cubicBezTo>
                      <a:cubicBezTo>
                        <a:pt x="1233" y="111"/>
                        <a:pt x="1259" y="110"/>
                        <a:pt x="1218" y="144"/>
                      </a:cubicBezTo>
                      <a:cubicBezTo>
                        <a:pt x="1202" y="158"/>
                        <a:pt x="1208" y="189"/>
                        <a:pt x="1194" y="205"/>
                      </a:cubicBezTo>
                      <a:cubicBezTo>
                        <a:pt x="1176" y="255"/>
                        <a:pt x="1176" y="255"/>
                        <a:pt x="1176" y="255"/>
                      </a:cubicBezTo>
                      <a:cubicBezTo>
                        <a:pt x="1176" y="261"/>
                        <a:pt x="1206" y="257"/>
                        <a:pt x="1173" y="286"/>
                      </a:cubicBezTo>
                      <a:cubicBezTo>
                        <a:pt x="1161" y="295"/>
                        <a:pt x="1159" y="283"/>
                        <a:pt x="1134" y="311"/>
                      </a:cubicBezTo>
                      <a:cubicBezTo>
                        <a:pt x="1104" y="346"/>
                        <a:pt x="1058" y="303"/>
                        <a:pt x="1057" y="312"/>
                      </a:cubicBezTo>
                      <a:cubicBezTo>
                        <a:pt x="1050" y="349"/>
                        <a:pt x="1020" y="383"/>
                        <a:pt x="1019" y="421"/>
                      </a:cubicBezTo>
                      <a:cubicBezTo>
                        <a:pt x="1018" y="445"/>
                        <a:pt x="989" y="432"/>
                        <a:pt x="1020" y="472"/>
                      </a:cubicBezTo>
                      <a:cubicBezTo>
                        <a:pt x="1030" y="486"/>
                        <a:pt x="1036" y="459"/>
                        <a:pt x="1076" y="458"/>
                      </a:cubicBezTo>
                      <a:cubicBezTo>
                        <a:pt x="1100" y="458"/>
                        <a:pt x="1094" y="491"/>
                        <a:pt x="1118" y="454"/>
                      </a:cubicBezTo>
                      <a:cubicBezTo>
                        <a:pt x="1130" y="436"/>
                        <a:pt x="1167" y="447"/>
                        <a:pt x="1179" y="459"/>
                      </a:cubicBezTo>
                      <a:cubicBezTo>
                        <a:pt x="1185" y="465"/>
                        <a:pt x="1196" y="464"/>
                        <a:pt x="1197" y="472"/>
                      </a:cubicBezTo>
                      <a:cubicBezTo>
                        <a:pt x="1198" y="481"/>
                        <a:pt x="1275" y="531"/>
                        <a:pt x="1236" y="542"/>
                      </a:cubicBezTo>
                      <a:cubicBezTo>
                        <a:pt x="1206" y="552"/>
                        <a:pt x="1194" y="528"/>
                        <a:pt x="1180" y="540"/>
                      </a:cubicBezTo>
                      <a:cubicBezTo>
                        <a:pt x="1170" y="549"/>
                        <a:pt x="1167" y="532"/>
                        <a:pt x="1152" y="544"/>
                      </a:cubicBezTo>
                      <a:cubicBezTo>
                        <a:pt x="1122" y="570"/>
                        <a:pt x="1113" y="540"/>
                        <a:pt x="1113" y="564"/>
                      </a:cubicBezTo>
                      <a:cubicBezTo>
                        <a:pt x="1112" y="583"/>
                        <a:pt x="1074" y="563"/>
                        <a:pt x="1063" y="590"/>
                      </a:cubicBezTo>
                      <a:cubicBezTo>
                        <a:pt x="1055" y="611"/>
                        <a:pt x="1053" y="590"/>
                        <a:pt x="1053" y="623"/>
                      </a:cubicBezTo>
                      <a:cubicBezTo>
                        <a:pt x="1053" y="633"/>
                        <a:pt x="1021" y="656"/>
                        <a:pt x="990" y="656"/>
                      </a:cubicBezTo>
                      <a:cubicBezTo>
                        <a:pt x="959" y="656"/>
                        <a:pt x="983" y="653"/>
                        <a:pt x="946" y="683"/>
                      </a:cubicBezTo>
                      <a:cubicBezTo>
                        <a:pt x="921" y="703"/>
                        <a:pt x="910" y="713"/>
                        <a:pt x="876" y="706"/>
                      </a:cubicBezTo>
                      <a:cubicBezTo>
                        <a:pt x="857" y="702"/>
                        <a:pt x="855" y="674"/>
                        <a:pt x="822" y="687"/>
                      </a:cubicBezTo>
                      <a:cubicBezTo>
                        <a:pt x="822" y="687"/>
                        <a:pt x="792" y="733"/>
                        <a:pt x="800" y="747"/>
                      </a:cubicBezTo>
                      <a:cubicBezTo>
                        <a:pt x="825" y="792"/>
                        <a:pt x="847" y="778"/>
                        <a:pt x="792" y="814"/>
                      </a:cubicBezTo>
                      <a:cubicBezTo>
                        <a:pt x="771" y="828"/>
                        <a:pt x="790" y="797"/>
                        <a:pt x="749" y="859"/>
                      </a:cubicBezTo>
                      <a:cubicBezTo>
                        <a:pt x="735" y="880"/>
                        <a:pt x="720" y="864"/>
                        <a:pt x="702" y="881"/>
                      </a:cubicBezTo>
                      <a:cubicBezTo>
                        <a:pt x="684" y="898"/>
                        <a:pt x="612" y="883"/>
                        <a:pt x="569" y="890"/>
                      </a:cubicBezTo>
                      <a:cubicBezTo>
                        <a:pt x="487" y="903"/>
                        <a:pt x="459" y="949"/>
                        <a:pt x="417" y="942"/>
                      </a:cubicBezTo>
                      <a:cubicBezTo>
                        <a:pt x="397" y="938"/>
                        <a:pt x="433" y="921"/>
                        <a:pt x="385" y="927"/>
                      </a:cubicBezTo>
                      <a:cubicBezTo>
                        <a:pt x="349" y="932"/>
                        <a:pt x="326" y="894"/>
                        <a:pt x="292" y="894"/>
                      </a:cubicBezTo>
                      <a:cubicBezTo>
                        <a:pt x="265" y="894"/>
                        <a:pt x="274" y="870"/>
                        <a:pt x="255" y="863"/>
                      </a:cubicBezTo>
                      <a:cubicBezTo>
                        <a:pt x="170" y="834"/>
                        <a:pt x="158" y="857"/>
                        <a:pt x="120" y="843"/>
                      </a:cubicBezTo>
                      <a:cubicBezTo>
                        <a:pt x="101" y="836"/>
                        <a:pt x="43" y="826"/>
                        <a:pt x="0" y="821"/>
                      </a:cubicBezTo>
                      <a:cubicBezTo>
                        <a:pt x="5" y="834"/>
                        <a:pt x="27" y="895"/>
                        <a:pt x="25" y="904"/>
                      </a:cubicBezTo>
                      <a:cubicBezTo>
                        <a:pt x="20" y="924"/>
                        <a:pt x="3" y="908"/>
                        <a:pt x="21" y="935"/>
                      </a:cubicBezTo>
                      <a:cubicBezTo>
                        <a:pt x="28" y="945"/>
                        <a:pt x="52" y="970"/>
                        <a:pt x="47" y="980"/>
                      </a:cubicBezTo>
                      <a:cubicBezTo>
                        <a:pt x="38" y="998"/>
                        <a:pt x="62" y="1002"/>
                        <a:pt x="65" y="995"/>
                      </a:cubicBezTo>
                      <a:cubicBezTo>
                        <a:pt x="71" y="979"/>
                        <a:pt x="43" y="984"/>
                        <a:pt x="101" y="976"/>
                      </a:cubicBezTo>
                      <a:cubicBezTo>
                        <a:pt x="148" y="971"/>
                        <a:pt x="177" y="986"/>
                        <a:pt x="143" y="1018"/>
                      </a:cubicBezTo>
                      <a:cubicBezTo>
                        <a:pt x="87" y="1071"/>
                        <a:pt x="106" y="1040"/>
                        <a:pt x="136" y="1063"/>
                      </a:cubicBezTo>
                      <a:cubicBezTo>
                        <a:pt x="142" y="1067"/>
                        <a:pt x="152" y="1072"/>
                        <a:pt x="153" y="1077"/>
                      </a:cubicBezTo>
                      <a:cubicBezTo>
                        <a:pt x="155" y="1085"/>
                        <a:pt x="157" y="1082"/>
                        <a:pt x="162" y="1087"/>
                      </a:cubicBezTo>
                      <a:cubicBezTo>
                        <a:pt x="172" y="1099"/>
                        <a:pt x="188" y="1094"/>
                        <a:pt x="181" y="1117"/>
                      </a:cubicBezTo>
                      <a:cubicBezTo>
                        <a:pt x="177" y="1135"/>
                        <a:pt x="185" y="1123"/>
                        <a:pt x="197" y="1134"/>
                      </a:cubicBezTo>
                      <a:cubicBezTo>
                        <a:pt x="234" y="1168"/>
                        <a:pt x="230" y="1164"/>
                        <a:pt x="251" y="1142"/>
                      </a:cubicBezTo>
                      <a:cubicBezTo>
                        <a:pt x="258" y="1135"/>
                        <a:pt x="220" y="1123"/>
                        <a:pt x="261" y="1122"/>
                      </a:cubicBezTo>
                      <a:cubicBezTo>
                        <a:pt x="269" y="1121"/>
                        <a:pt x="272" y="1114"/>
                        <a:pt x="296" y="1128"/>
                      </a:cubicBezTo>
                      <a:cubicBezTo>
                        <a:pt x="296" y="1128"/>
                        <a:pt x="296" y="1128"/>
                        <a:pt x="296" y="1128"/>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02" name="Guangxi" descr="{&quot;Key&quot;:&quot;guangxi&quot;,&quot;Name&quot;:&quot;Guangxi&quot;,&quot;Value&quot;:1.0,&quot;Formula&quot;:&quot;&quot;,&quot;Text&quot;:&quot;&quot;,&quot;OfficeApplication&quot;:1,&quot;HasValue&quot;:true}">
                  <a:extLst>
                    <a:ext uri="{FF2B5EF4-FFF2-40B4-BE49-F238E27FC236}">
                      <a16:creationId xmlns:a16="http://schemas.microsoft.com/office/drawing/2014/main" id="{607D0DCD-79E6-41DF-9E59-787D33733F6E}"/>
                    </a:ext>
                  </a:extLst>
                </p:cNvPr>
                <p:cNvSpPr>
                  <a:spLocks noEditPoints="1"/>
                </p:cNvSpPr>
                <p:nvPr/>
              </p:nvSpPr>
              <p:spPr bwMode="auto">
                <a:xfrm>
                  <a:off x="6101556" y="5291138"/>
                  <a:ext cx="1074738" cy="769938"/>
                </a:xfrm>
                <a:custGeom>
                  <a:avLst/>
                  <a:gdLst>
                    <a:gd name="T0" fmla="*/ 476 w 545"/>
                    <a:gd name="T1" fmla="*/ 284 h 390"/>
                    <a:gd name="T2" fmla="*/ 231 w 545"/>
                    <a:gd name="T3" fmla="*/ 93 h 390"/>
                    <a:gd name="T4" fmla="*/ 201 w 545"/>
                    <a:gd name="T5" fmla="*/ 69 h 390"/>
                    <a:gd name="T6" fmla="*/ 149 w 545"/>
                    <a:gd name="T7" fmla="*/ 97 h 390"/>
                    <a:gd name="T8" fmla="*/ 100 w 545"/>
                    <a:gd name="T9" fmla="*/ 125 h 390"/>
                    <a:gd name="T10" fmla="*/ 4 w 545"/>
                    <a:gd name="T11" fmla="*/ 113 h 390"/>
                    <a:gd name="T12" fmla="*/ 44 w 545"/>
                    <a:gd name="T13" fmla="*/ 148 h 390"/>
                    <a:gd name="T14" fmla="*/ 70 w 545"/>
                    <a:gd name="T15" fmla="*/ 173 h 390"/>
                    <a:gd name="T16" fmla="*/ 103 w 545"/>
                    <a:gd name="T17" fmla="*/ 220 h 390"/>
                    <a:gd name="T18" fmla="*/ 66 w 545"/>
                    <a:gd name="T19" fmla="*/ 240 h 390"/>
                    <a:gd name="T20" fmla="*/ 106 w 545"/>
                    <a:gd name="T21" fmla="*/ 260 h 390"/>
                    <a:gd name="T22" fmla="*/ 144 w 545"/>
                    <a:gd name="T23" fmla="*/ 293 h 390"/>
                    <a:gd name="T24" fmla="*/ 169 w 545"/>
                    <a:gd name="T25" fmla="*/ 345 h 390"/>
                    <a:gd name="T26" fmla="*/ 235 w 545"/>
                    <a:gd name="T27" fmla="*/ 371 h 390"/>
                    <a:gd name="T28" fmla="*/ 278 w 545"/>
                    <a:gd name="T29" fmla="*/ 360 h 390"/>
                    <a:gd name="T30" fmla="*/ 294 w 545"/>
                    <a:gd name="T31" fmla="*/ 367 h 390"/>
                    <a:gd name="T32" fmla="*/ 324 w 545"/>
                    <a:gd name="T33" fmla="*/ 381 h 390"/>
                    <a:gd name="T34" fmla="*/ 357 w 545"/>
                    <a:gd name="T35" fmla="*/ 362 h 390"/>
                    <a:gd name="T36" fmla="*/ 374 w 545"/>
                    <a:gd name="T37" fmla="*/ 384 h 390"/>
                    <a:gd name="T38" fmla="*/ 415 w 545"/>
                    <a:gd name="T39" fmla="*/ 340 h 390"/>
                    <a:gd name="T40" fmla="*/ 441 w 545"/>
                    <a:gd name="T41" fmla="*/ 302 h 390"/>
                    <a:gd name="T42" fmla="*/ 471 w 545"/>
                    <a:gd name="T43" fmla="*/ 288 h 390"/>
                    <a:gd name="T44" fmla="*/ 479 w 545"/>
                    <a:gd name="T45" fmla="*/ 282 h 390"/>
                    <a:gd name="T46" fmla="*/ 511 w 545"/>
                    <a:gd name="T47" fmla="*/ 202 h 390"/>
                    <a:gd name="T48" fmla="*/ 528 w 545"/>
                    <a:gd name="T49" fmla="*/ 129 h 390"/>
                    <a:gd name="T50" fmla="*/ 493 w 545"/>
                    <a:gd name="T51" fmla="*/ 109 h 390"/>
                    <a:gd name="T52" fmla="*/ 480 w 545"/>
                    <a:gd name="T53" fmla="*/ 68 h 390"/>
                    <a:gd name="T54" fmla="*/ 476 w 545"/>
                    <a:gd name="T55" fmla="*/ 12 h 390"/>
                    <a:gd name="T56" fmla="*/ 397 w 545"/>
                    <a:gd name="T57" fmla="*/ 27 h 390"/>
                    <a:gd name="T58" fmla="*/ 368 w 545"/>
                    <a:gd name="T59" fmla="*/ 37 h 390"/>
                    <a:gd name="T60" fmla="*/ 336 w 545"/>
                    <a:gd name="T61" fmla="*/ 50 h 390"/>
                    <a:gd name="T62" fmla="*/ 303 w 545"/>
                    <a:gd name="T63" fmla="*/ 62 h 390"/>
                    <a:gd name="T64" fmla="*/ 270 w 545"/>
                    <a:gd name="T65" fmla="*/ 6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5" h="390">
                      <a:moveTo>
                        <a:pt x="476" y="284"/>
                      </a:moveTo>
                      <a:cubicBezTo>
                        <a:pt x="476" y="284"/>
                        <a:pt x="476" y="284"/>
                        <a:pt x="476" y="284"/>
                      </a:cubicBezTo>
                      <a:moveTo>
                        <a:pt x="270" y="67"/>
                      </a:moveTo>
                      <a:cubicBezTo>
                        <a:pt x="263" y="70"/>
                        <a:pt x="249" y="110"/>
                        <a:pt x="231" y="93"/>
                      </a:cubicBezTo>
                      <a:cubicBezTo>
                        <a:pt x="218" y="81"/>
                        <a:pt x="229" y="84"/>
                        <a:pt x="215" y="88"/>
                      </a:cubicBezTo>
                      <a:cubicBezTo>
                        <a:pt x="211" y="90"/>
                        <a:pt x="202" y="74"/>
                        <a:pt x="201" y="69"/>
                      </a:cubicBezTo>
                      <a:cubicBezTo>
                        <a:pt x="198" y="54"/>
                        <a:pt x="173" y="60"/>
                        <a:pt x="178" y="76"/>
                      </a:cubicBezTo>
                      <a:cubicBezTo>
                        <a:pt x="184" y="92"/>
                        <a:pt x="156" y="91"/>
                        <a:pt x="149" y="97"/>
                      </a:cubicBezTo>
                      <a:cubicBezTo>
                        <a:pt x="137" y="107"/>
                        <a:pt x="122" y="102"/>
                        <a:pt x="121" y="110"/>
                      </a:cubicBezTo>
                      <a:cubicBezTo>
                        <a:pt x="117" y="143"/>
                        <a:pt x="100" y="125"/>
                        <a:pt x="100" y="125"/>
                      </a:cubicBezTo>
                      <a:cubicBezTo>
                        <a:pt x="82" y="122"/>
                        <a:pt x="70" y="109"/>
                        <a:pt x="53" y="103"/>
                      </a:cubicBezTo>
                      <a:cubicBezTo>
                        <a:pt x="42" y="99"/>
                        <a:pt x="11" y="147"/>
                        <a:pt x="4" y="113"/>
                      </a:cubicBezTo>
                      <a:cubicBezTo>
                        <a:pt x="0" y="123"/>
                        <a:pt x="2" y="132"/>
                        <a:pt x="6" y="144"/>
                      </a:cubicBezTo>
                      <a:cubicBezTo>
                        <a:pt x="9" y="154"/>
                        <a:pt x="27" y="135"/>
                        <a:pt x="44" y="148"/>
                      </a:cubicBezTo>
                      <a:cubicBezTo>
                        <a:pt x="52" y="154"/>
                        <a:pt x="40" y="169"/>
                        <a:pt x="55" y="171"/>
                      </a:cubicBezTo>
                      <a:cubicBezTo>
                        <a:pt x="61" y="173"/>
                        <a:pt x="65" y="177"/>
                        <a:pt x="70" y="173"/>
                      </a:cubicBezTo>
                      <a:cubicBezTo>
                        <a:pt x="74" y="169"/>
                        <a:pt x="79" y="182"/>
                        <a:pt x="98" y="169"/>
                      </a:cubicBezTo>
                      <a:cubicBezTo>
                        <a:pt x="107" y="163"/>
                        <a:pt x="125" y="197"/>
                        <a:pt x="103" y="220"/>
                      </a:cubicBezTo>
                      <a:cubicBezTo>
                        <a:pt x="99" y="225"/>
                        <a:pt x="95" y="216"/>
                        <a:pt x="88" y="217"/>
                      </a:cubicBezTo>
                      <a:cubicBezTo>
                        <a:pt x="84" y="225"/>
                        <a:pt x="72" y="234"/>
                        <a:pt x="66" y="240"/>
                      </a:cubicBezTo>
                      <a:cubicBezTo>
                        <a:pt x="71" y="246"/>
                        <a:pt x="76" y="253"/>
                        <a:pt x="80" y="255"/>
                      </a:cubicBezTo>
                      <a:cubicBezTo>
                        <a:pt x="105" y="269"/>
                        <a:pt x="83" y="262"/>
                        <a:pt x="106" y="260"/>
                      </a:cubicBezTo>
                      <a:cubicBezTo>
                        <a:pt x="127" y="258"/>
                        <a:pt x="108" y="275"/>
                        <a:pt x="136" y="264"/>
                      </a:cubicBezTo>
                      <a:cubicBezTo>
                        <a:pt x="141" y="262"/>
                        <a:pt x="171" y="273"/>
                        <a:pt x="144" y="293"/>
                      </a:cubicBezTo>
                      <a:cubicBezTo>
                        <a:pt x="128" y="306"/>
                        <a:pt x="147" y="313"/>
                        <a:pt x="149" y="332"/>
                      </a:cubicBezTo>
                      <a:cubicBezTo>
                        <a:pt x="150" y="341"/>
                        <a:pt x="164" y="340"/>
                        <a:pt x="169" y="345"/>
                      </a:cubicBezTo>
                      <a:cubicBezTo>
                        <a:pt x="170" y="347"/>
                        <a:pt x="176" y="367"/>
                        <a:pt x="211" y="368"/>
                      </a:cubicBezTo>
                      <a:cubicBezTo>
                        <a:pt x="222" y="369"/>
                        <a:pt x="226" y="363"/>
                        <a:pt x="235" y="371"/>
                      </a:cubicBezTo>
                      <a:cubicBezTo>
                        <a:pt x="256" y="386"/>
                        <a:pt x="267" y="361"/>
                        <a:pt x="271" y="372"/>
                      </a:cubicBezTo>
                      <a:cubicBezTo>
                        <a:pt x="275" y="384"/>
                        <a:pt x="285" y="369"/>
                        <a:pt x="278" y="360"/>
                      </a:cubicBezTo>
                      <a:cubicBezTo>
                        <a:pt x="270" y="350"/>
                        <a:pt x="288" y="348"/>
                        <a:pt x="287" y="353"/>
                      </a:cubicBezTo>
                      <a:cubicBezTo>
                        <a:pt x="287" y="363"/>
                        <a:pt x="287" y="356"/>
                        <a:pt x="294" y="367"/>
                      </a:cubicBezTo>
                      <a:cubicBezTo>
                        <a:pt x="302" y="378"/>
                        <a:pt x="303" y="349"/>
                        <a:pt x="306" y="364"/>
                      </a:cubicBezTo>
                      <a:cubicBezTo>
                        <a:pt x="307" y="376"/>
                        <a:pt x="337" y="368"/>
                        <a:pt x="324" y="381"/>
                      </a:cubicBezTo>
                      <a:cubicBezTo>
                        <a:pt x="316" y="390"/>
                        <a:pt x="352" y="385"/>
                        <a:pt x="356" y="379"/>
                      </a:cubicBezTo>
                      <a:cubicBezTo>
                        <a:pt x="360" y="373"/>
                        <a:pt x="349" y="369"/>
                        <a:pt x="357" y="362"/>
                      </a:cubicBezTo>
                      <a:cubicBezTo>
                        <a:pt x="362" y="357"/>
                        <a:pt x="352" y="369"/>
                        <a:pt x="361" y="372"/>
                      </a:cubicBezTo>
                      <a:cubicBezTo>
                        <a:pt x="368" y="376"/>
                        <a:pt x="362" y="383"/>
                        <a:pt x="374" y="384"/>
                      </a:cubicBezTo>
                      <a:cubicBezTo>
                        <a:pt x="370" y="366"/>
                        <a:pt x="382" y="378"/>
                        <a:pt x="385" y="357"/>
                      </a:cubicBezTo>
                      <a:cubicBezTo>
                        <a:pt x="387" y="345"/>
                        <a:pt x="423" y="363"/>
                        <a:pt x="415" y="340"/>
                      </a:cubicBezTo>
                      <a:cubicBezTo>
                        <a:pt x="408" y="317"/>
                        <a:pt x="422" y="340"/>
                        <a:pt x="440" y="323"/>
                      </a:cubicBezTo>
                      <a:cubicBezTo>
                        <a:pt x="453" y="311"/>
                        <a:pt x="435" y="321"/>
                        <a:pt x="441" y="302"/>
                      </a:cubicBezTo>
                      <a:cubicBezTo>
                        <a:pt x="443" y="296"/>
                        <a:pt x="460" y="296"/>
                        <a:pt x="466" y="292"/>
                      </a:cubicBezTo>
                      <a:cubicBezTo>
                        <a:pt x="468" y="291"/>
                        <a:pt x="469" y="289"/>
                        <a:pt x="471" y="288"/>
                      </a:cubicBezTo>
                      <a:cubicBezTo>
                        <a:pt x="473" y="286"/>
                        <a:pt x="475" y="285"/>
                        <a:pt x="476" y="284"/>
                      </a:cubicBezTo>
                      <a:cubicBezTo>
                        <a:pt x="479" y="282"/>
                        <a:pt x="479" y="282"/>
                        <a:pt x="479" y="282"/>
                      </a:cubicBezTo>
                      <a:cubicBezTo>
                        <a:pt x="504" y="267"/>
                        <a:pt x="474" y="234"/>
                        <a:pt x="503" y="214"/>
                      </a:cubicBezTo>
                      <a:cubicBezTo>
                        <a:pt x="511" y="208"/>
                        <a:pt x="501" y="210"/>
                        <a:pt x="511" y="202"/>
                      </a:cubicBezTo>
                      <a:cubicBezTo>
                        <a:pt x="543" y="177"/>
                        <a:pt x="510" y="176"/>
                        <a:pt x="525" y="168"/>
                      </a:cubicBezTo>
                      <a:cubicBezTo>
                        <a:pt x="545" y="158"/>
                        <a:pt x="522" y="142"/>
                        <a:pt x="528" y="129"/>
                      </a:cubicBezTo>
                      <a:cubicBezTo>
                        <a:pt x="500" y="122"/>
                        <a:pt x="516" y="129"/>
                        <a:pt x="503" y="135"/>
                      </a:cubicBezTo>
                      <a:cubicBezTo>
                        <a:pt x="486" y="143"/>
                        <a:pt x="495" y="116"/>
                        <a:pt x="493" y="109"/>
                      </a:cubicBezTo>
                      <a:cubicBezTo>
                        <a:pt x="485" y="82"/>
                        <a:pt x="465" y="114"/>
                        <a:pt x="461" y="112"/>
                      </a:cubicBezTo>
                      <a:cubicBezTo>
                        <a:pt x="444" y="107"/>
                        <a:pt x="481" y="78"/>
                        <a:pt x="480" y="68"/>
                      </a:cubicBezTo>
                      <a:cubicBezTo>
                        <a:pt x="480" y="55"/>
                        <a:pt x="494" y="34"/>
                        <a:pt x="484" y="39"/>
                      </a:cubicBezTo>
                      <a:cubicBezTo>
                        <a:pt x="464" y="47"/>
                        <a:pt x="480" y="19"/>
                        <a:pt x="476" y="12"/>
                      </a:cubicBezTo>
                      <a:cubicBezTo>
                        <a:pt x="469" y="0"/>
                        <a:pt x="449" y="13"/>
                        <a:pt x="440" y="10"/>
                      </a:cubicBezTo>
                      <a:cubicBezTo>
                        <a:pt x="422" y="3"/>
                        <a:pt x="411" y="53"/>
                        <a:pt x="397" y="27"/>
                      </a:cubicBezTo>
                      <a:cubicBezTo>
                        <a:pt x="390" y="14"/>
                        <a:pt x="380" y="21"/>
                        <a:pt x="377" y="34"/>
                      </a:cubicBezTo>
                      <a:cubicBezTo>
                        <a:pt x="374" y="55"/>
                        <a:pt x="369" y="37"/>
                        <a:pt x="368" y="37"/>
                      </a:cubicBezTo>
                      <a:cubicBezTo>
                        <a:pt x="362" y="31"/>
                        <a:pt x="357" y="31"/>
                        <a:pt x="353" y="34"/>
                      </a:cubicBezTo>
                      <a:cubicBezTo>
                        <a:pt x="345" y="38"/>
                        <a:pt x="340" y="50"/>
                        <a:pt x="336" y="50"/>
                      </a:cubicBezTo>
                      <a:cubicBezTo>
                        <a:pt x="330" y="49"/>
                        <a:pt x="301" y="50"/>
                        <a:pt x="318" y="56"/>
                      </a:cubicBezTo>
                      <a:cubicBezTo>
                        <a:pt x="328" y="59"/>
                        <a:pt x="314" y="73"/>
                        <a:pt x="303" y="62"/>
                      </a:cubicBezTo>
                      <a:cubicBezTo>
                        <a:pt x="297" y="56"/>
                        <a:pt x="291" y="69"/>
                        <a:pt x="291" y="75"/>
                      </a:cubicBezTo>
                      <a:cubicBezTo>
                        <a:pt x="291" y="90"/>
                        <a:pt x="279" y="64"/>
                        <a:pt x="270" y="67"/>
                      </a:cubicBezTo>
                      <a:cubicBezTo>
                        <a:pt x="270" y="67"/>
                        <a:pt x="270" y="67"/>
                        <a:pt x="270" y="67"/>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03" name="Xizang" descr="{&quot;Key&quot;:&quot;xizang&quot;,&quot;Name&quot;:&quot;Xizang&quot;,&quot;Value&quot;:1.0,&quot;Formula&quot;:&quot;&quot;,&quot;Text&quot;:&quot;&quot;,&quot;OfficeApplication&quot;:1,&quot;HasValue&quot;:true}">
                  <a:extLst>
                    <a:ext uri="{FF2B5EF4-FFF2-40B4-BE49-F238E27FC236}">
                      <a16:creationId xmlns:a16="http://schemas.microsoft.com/office/drawing/2014/main" id="{6690C540-DCFC-44B4-88C0-AE2C54E69464}"/>
                    </a:ext>
                  </a:extLst>
                </p:cNvPr>
                <p:cNvSpPr>
                  <a:spLocks/>
                </p:cNvSpPr>
                <p:nvPr/>
              </p:nvSpPr>
              <p:spPr bwMode="auto">
                <a:xfrm>
                  <a:off x="2891631" y="3365500"/>
                  <a:ext cx="2574925" cy="1682750"/>
                </a:xfrm>
                <a:custGeom>
                  <a:avLst/>
                  <a:gdLst>
                    <a:gd name="T0" fmla="*/ 754 w 1305"/>
                    <a:gd name="T1" fmla="*/ 179 h 853"/>
                    <a:gd name="T2" fmla="*/ 777 w 1305"/>
                    <a:gd name="T3" fmla="*/ 131 h 853"/>
                    <a:gd name="T4" fmla="*/ 775 w 1305"/>
                    <a:gd name="T5" fmla="*/ 108 h 853"/>
                    <a:gd name="T6" fmla="*/ 656 w 1305"/>
                    <a:gd name="T7" fmla="*/ 56 h 853"/>
                    <a:gd name="T8" fmla="*/ 513 w 1305"/>
                    <a:gd name="T9" fmla="*/ 71 h 853"/>
                    <a:gd name="T10" fmla="*/ 364 w 1305"/>
                    <a:gd name="T11" fmla="*/ 47 h 853"/>
                    <a:gd name="T12" fmla="*/ 243 w 1305"/>
                    <a:gd name="T13" fmla="*/ 27 h 853"/>
                    <a:gd name="T14" fmla="*/ 172 w 1305"/>
                    <a:gd name="T15" fmla="*/ 34 h 853"/>
                    <a:gd name="T16" fmla="*/ 88 w 1305"/>
                    <a:gd name="T17" fmla="*/ 68 h 853"/>
                    <a:gd name="T18" fmla="*/ 64 w 1305"/>
                    <a:gd name="T19" fmla="*/ 122 h 853"/>
                    <a:gd name="T20" fmla="*/ 40 w 1305"/>
                    <a:gd name="T21" fmla="*/ 181 h 853"/>
                    <a:gd name="T22" fmla="*/ 20 w 1305"/>
                    <a:gd name="T23" fmla="*/ 224 h 853"/>
                    <a:gd name="T24" fmla="*/ 12 w 1305"/>
                    <a:gd name="T25" fmla="*/ 264 h 853"/>
                    <a:gd name="T26" fmla="*/ 37 w 1305"/>
                    <a:gd name="T27" fmla="*/ 308 h 853"/>
                    <a:gd name="T28" fmla="*/ 103 w 1305"/>
                    <a:gd name="T29" fmla="*/ 373 h 853"/>
                    <a:gd name="T30" fmla="*/ 171 w 1305"/>
                    <a:gd name="T31" fmla="*/ 396 h 853"/>
                    <a:gd name="T32" fmla="*/ 196 w 1305"/>
                    <a:gd name="T33" fmla="*/ 427 h 853"/>
                    <a:gd name="T34" fmla="*/ 260 w 1305"/>
                    <a:gd name="T35" fmla="*/ 507 h 853"/>
                    <a:gd name="T36" fmla="*/ 308 w 1305"/>
                    <a:gd name="T37" fmla="*/ 560 h 853"/>
                    <a:gd name="T38" fmla="*/ 352 w 1305"/>
                    <a:gd name="T39" fmla="*/ 614 h 853"/>
                    <a:gd name="T40" fmla="*/ 400 w 1305"/>
                    <a:gd name="T41" fmla="*/ 653 h 853"/>
                    <a:gd name="T42" fmla="*/ 452 w 1305"/>
                    <a:gd name="T43" fmla="*/ 662 h 853"/>
                    <a:gd name="T44" fmla="*/ 528 w 1305"/>
                    <a:gd name="T45" fmla="*/ 690 h 853"/>
                    <a:gd name="T46" fmla="*/ 589 w 1305"/>
                    <a:gd name="T47" fmla="*/ 757 h 853"/>
                    <a:gd name="T48" fmla="*/ 670 w 1305"/>
                    <a:gd name="T49" fmla="*/ 700 h 853"/>
                    <a:gd name="T50" fmla="*/ 728 w 1305"/>
                    <a:gd name="T51" fmla="*/ 731 h 853"/>
                    <a:gd name="T52" fmla="*/ 788 w 1305"/>
                    <a:gd name="T53" fmla="*/ 780 h 853"/>
                    <a:gd name="T54" fmla="*/ 862 w 1305"/>
                    <a:gd name="T55" fmla="*/ 839 h 853"/>
                    <a:gd name="T56" fmla="*/ 1073 w 1305"/>
                    <a:gd name="T57" fmla="*/ 770 h 853"/>
                    <a:gd name="T58" fmla="*/ 1140 w 1305"/>
                    <a:gd name="T59" fmla="*/ 812 h 853"/>
                    <a:gd name="T60" fmla="*/ 1171 w 1305"/>
                    <a:gd name="T61" fmla="*/ 780 h 853"/>
                    <a:gd name="T62" fmla="*/ 1209 w 1305"/>
                    <a:gd name="T63" fmla="*/ 784 h 853"/>
                    <a:gd name="T64" fmla="*/ 1235 w 1305"/>
                    <a:gd name="T65" fmla="*/ 788 h 853"/>
                    <a:gd name="T66" fmla="*/ 1259 w 1305"/>
                    <a:gd name="T67" fmla="*/ 760 h 853"/>
                    <a:gd name="T68" fmla="*/ 1279 w 1305"/>
                    <a:gd name="T69" fmla="*/ 752 h 853"/>
                    <a:gd name="T70" fmla="*/ 1293 w 1305"/>
                    <a:gd name="T71" fmla="*/ 674 h 853"/>
                    <a:gd name="T72" fmla="*/ 1288 w 1305"/>
                    <a:gd name="T73" fmla="*/ 587 h 853"/>
                    <a:gd name="T74" fmla="*/ 1284 w 1305"/>
                    <a:gd name="T75" fmla="*/ 538 h 853"/>
                    <a:gd name="T76" fmla="*/ 1264 w 1305"/>
                    <a:gd name="T77" fmla="*/ 489 h 853"/>
                    <a:gd name="T78" fmla="*/ 1239 w 1305"/>
                    <a:gd name="T79" fmla="*/ 461 h 853"/>
                    <a:gd name="T80" fmla="*/ 1164 w 1305"/>
                    <a:gd name="T81" fmla="*/ 493 h 853"/>
                    <a:gd name="T82" fmla="*/ 1129 w 1305"/>
                    <a:gd name="T83" fmla="*/ 505 h 853"/>
                    <a:gd name="T84" fmla="*/ 1100 w 1305"/>
                    <a:gd name="T85" fmla="*/ 502 h 853"/>
                    <a:gd name="T86" fmla="*/ 1068 w 1305"/>
                    <a:gd name="T87" fmla="*/ 456 h 853"/>
                    <a:gd name="T88" fmla="*/ 969 w 1305"/>
                    <a:gd name="T89" fmla="*/ 418 h 853"/>
                    <a:gd name="T90" fmla="*/ 877 w 1305"/>
                    <a:gd name="T91" fmla="*/ 378 h 853"/>
                    <a:gd name="T92" fmla="*/ 779 w 1305"/>
                    <a:gd name="T93" fmla="*/ 328 h 853"/>
                    <a:gd name="T94" fmla="*/ 760 w 1305"/>
                    <a:gd name="T95" fmla="*/ 237 h 853"/>
                    <a:gd name="T96" fmla="*/ 760 w 1305"/>
                    <a:gd name="T97" fmla="*/ 196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5" h="853">
                      <a:moveTo>
                        <a:pt x="760" y="196"/>
                      </a:moveTo>
                      <a:cubicBezTo>
                        <a:pt x="746" y="193"/>
                        <a:pt x="758" y="188"/>
                        <a:pt x="754" y="179"/>
                      </a:cubicBezTo>
                      <a:cubicBezTo>
                        <a:pt x="742" y="153"/>
                        <a:pt x="771" y="163"/>
                        <a:pt x="772" y="147"/>
                      </a:cubicBezTo>
                      <a:cubicBezTo>
                        <a:pt x="772" y="140"/>
                        <a:pt x="777" y="136"/>
                        <a:pt x="777" y="131"/>
                      </a:cubicBezTo>
                      <a:cubicBezTo>
                        <a:pt x="777" y="128"/>
                        <a:pt x="779" y="127"/>
                        <a:pt x="779" y="127"/>
                      </a:cubicBezTo>
                      <a:cubicBezTo>
                        <a:pt x="779" y="123"/>
                        <a:pt x="737" y="107"/>
                        <a:pt x="775" y="108"/>
                      </a:cubicBezTo>
                      <a:cubicBezTo>
                        <a:pt x="762" y="95"/>
                        <a:pt x="749" y="81"/>
                        <a:pt x="731" y="77"/>
                      </a:cubicBezTo>
                      <a:cubicBezTo>
                        <a:pt x="708" y="72"/>
                        <a:pt x="731" y="58"/>
                        <a:pt x="656" y="56"/>
                      </a:cubicBezTo>
                      <a:cubicBezTo>
                        <a:pt x="616" y="56"/>
                        <a:pt x="572" y="46"/>
                        <a:pt x="564" y="62"/>
                      </a:cubicBezTo>
                      <a:cubicBezTo>
                        <a:pt x="556" y="79"/>
                        <a:pt x="536" y="79"/>
                        <a:pt x="513" y="71"/>
                      </a:cubicBezTo>
                      <a:cubicBezTo>
                        <a:pt x="497" y="66"/>
                        <a:pt x="471" y="66"/>
                        <a:pt x="444" y="76"/>
                      </a:cubicBezTo>
                      <a:cubicBezTo>
                        <a:pt x="430" y="82"/>
                        <a:pt x="366" y="70"/>
                        <a:pt x="364" y="47"/>
                      </a:cubicBezTo>
                      <a:cubicBezTo>
                        <a:pt x="361" y="28"/>
                        <a:pt x="335" y="26"/>
                        <a:pt x="322" y="33"/>
                      </a:cubicBezTo>
                      <a:cubicBezTo>
                        <a:pt x="267" y="58"/>
                        <a:pt x="286" y="34"/>
                        <a:pt x="243" y="27"/>
                      </a:cubicBezTo>
                      <a:cubicBezTo>
                        <a:pt x="226" y="23"/>
                        <a:pt x="209" y="0"/>
                        <a:pt x="199" y="14"/>
                      </a:cubicBezTo>
                      <a:cubicBezTo>
                        <a:pt x="191" y="25"/>
                        <a:pt x="180" y="26"/>
                        <a:pt x="172" y="34"/>
                      </a:cubicBezTo>
                      <a:cubicBezTo>
                        <a:pt x="141" y="67"/>
                        <a:pt x="191" y="64"/>
                        <a:pt x="93" y="61"/>
                      </a:cubicBezTo>
                      <a:cubicBezTo>
                        <a:pt x="92" y="63"/>
                        <a:pt x="91" y="66"/>
                        <a:pt x="88" y="68"/>
                      </a:cubicBezTo>
                      <a:cubicBezTo>
                        <a:pt x="71" y="80"/>
                        <a:pt x="74" y="63"/>
                        <a:pt x="72" y="91"/>
                      </a:cubicBezTo>
                      <a:cubicBezTo>
                        <a:pt x="71" y="97"/>
                        <a:pt x="58" y="101"/>
                        <a:pt x="64" y="122"/>
                      </a:cubicBezTo>
                      <a:cubicBezTo>
                        <a:pt x="68" y="135"/>
                        <a:pt x="85" y="142"/>
                        <a:pt x="76" y="183"/>
                      </a:cubicBezTo>
                      <a:cubicBezTo>
                        <a:pt x="71" y="203"/>
                        <a:pt x="38" y="215"/>
                        <a:pt x="40" y="181"/>
                      </a:cubicBezTo>
                      <a:cubicBezTo>
                        <a:pt x="41" y="168"/>
                        <a:pt x="17" y="174"/>
                        <a:pt x="18" y="187"/>
                      </a:cubicBezTo>
                      <a:cubicBezTo>
                        <a:pt x="20" y="208"/>
                        <a:pt x="0" y="186"/>
                        <a:pt x="20" y="224"/>
                      </a:cubicBezTo>
                      <a:cubicBezTo>
                        <a:pt x="24" y="233"/>
                        <a:pt x="6" y="232"/>
                        <a:pt x="17" y="245"/>
                      </a:cubicBezTo>
                      <a:cubicBezTo>
                        <a:pt x="27" y="255"/>
                        <a:pt x="8" y="255"/>
                        <a:pt x="12" y="264"/>
                      </a:cubicBezTo>
                      <a:cubicBezTo>
                        <a:pt x="19" y="276"/>
                        <a:pt x="4" y="262"/>
                        <a:pt x="18" y="285"/>
                      </a:cubicBezTo>
                      <a:cubicBezTo>
                        <a:pt x="22" y="291"/>
                        <a:pt x="23" y="325"/>
                        <a:pt x="37" y="308"/>
                      </a:cubicBezTo>
                      <a:cubicBezTo>
                        <a:pt x="41" y="303"/>
                        <a:pt x="49" y="315"/>
                        <a:pt x="55" y="318"/>
                      </a:cubicBezTo>
                      <a:cubicBezTo>
                        <a:pt x="74" y="329"/>
                        <a:pt x="65" y="347"/>
                        <a:pt x="103" y="373"/>
                      </a:cubicBezTo>
                      <a:cubicBezTo>
                        <a:pt x="113" y="380"/>
                        <a:pt x="127" y="397"/>
                        <a:pt x="128" y="410"/>
                      </a:cubicBezTo>
                      <a:cubicBezTo>
                        <a:pt x="128" y="435"/>
                        <a:pt x="158" y="385"/>
                        <a:pt x="171" y="396"/>
                      </a:cubicBezTo>
                      <a:cubicBezTo>
                        <a:pt x="172" y="398"/>
                        <a:pt x="173" y="400"/>
                        <a:pt x="174" y="401"/>
                      </a:cubicBezTo>
                      <a:cubicBezTo>
                        <a:pt x="185" y="411"/>
                        <a:pt x="196" y="410"/>
                        <a:pt x="196" y="427"/>
                      </a:cubicBezTo>
                      <a:cubicBezTo>
                        <a:pt x="196" y="427"/>
                        <a:pt x="219" y="453"/>
                        <a:pt x="228" y="470"/>
                      </a:cubicBezTo>
                      <a:cubicBezTo>
                        <a:pt x="239" y="490"/>
                        <a:pt x="251" y="473"/>
                        <a:pt x="260" y="507"/>
                      </a:cubicBezTo>
                      <a:cubicBezTo>
                        <a:pt x="270" y="547"/>
                        <a:pt x="279" y="506"/>
                        <a:pt x="303" y="529"/>
                      </a:cubicBezTo>
                      <a:cubicBezTo>
                        <a:pt x="314" y="539"/>
                        <a:pt x="296" y="557"/>
                        <a:pt x="308" y="560"/>
                      </a:cubicBezTo>
                      <a:cubicBezTo>
                        <a:pt x="320" y="564"/>
                        <a:pt x="331" y="600"/>
                        <a:pt x="351" y="589"/>
                      </a:cubicBezTo>
                      <a:cubicBezTo>
                        <a:pt x="370" y="578"/>
                        <a:pt x="351" y="611"/>
                        <a:pt x="352" y="614"/>
                      </a:cubicBezTo>
                      <a:cubicBezTo>
                        <a:pt x="357" y="622"/>
                        <a:pt x="362" y="615"/>
                        <a:pt x="379" y="626"/>
                      </a:cubicBezTo>
                      <a:cubicBezTo>
                        <a:pt x="387" y="630"/>
                        <a:pt x="390" y="610"/>
                        <a:pt x="400" y="653"/>
                      </a:cubicBezTo>
                      <a:cubicBezTo>
                        <a:pt x="405" y="676"/>
                        <a:pt x="418" y="635"/>
                        <a:pt x="420" y="653"/>
                      </a:cubicBezTo>
                      <a:cubicBezTo>
                        <a:pt x="423" y="683"/>
                        <a:pt x="441" y="653"/>
                        <a:pt x="452" y="662"/>
                      </a:cubicBezTo>
                      <a:cubicBezTo>
                        <a:pt x="510" y="712"/>
                        <a:pt x="480" y="675"/>
                        <a:pt x="506" y="693"/>
                      </a:cubicBezTo>
                      <a:cubicBezTo>
                        <a:pt x="517" y="700"/>
                        <a:pt x="519" y="683"/>
                        <a:pt x="528" y="690"/>
                      </a:cubicBezTo>
                      <a:cubicBezTo>
                        <a:pt x="543" y="703"/>
                        <a:pt x="578" y="682"/>
                        <a:pt x="584" y="690"/>
                      </a:cubicBezTo>
                      <a:cubicBezTo>
                        <a:pt x="609" y="719"/>
                        <a:pt x="556" y="730"/>
                        <a:pt x="589" y="757"/>
                      </a:cubicBezTo>
                      <a:cubicBezTo>
                        <a:pt x="599" y="764"/>
                        <a:pt x="607" y="756"/>
                        <a:pt x="600" y="745"/>
                      </a:cubicBezTo>
                      <a:cubicBezTo>
                        <a:pt x="596" y="738"/>
                        <a:pt x="648" y="688"/>
                        <a:pt x="670" y="700"/>
                      </a:cubicBezTo>
                      <a:cubicBezTo>
                        <a:pt x="680" y="706"/>
                        <a:pt x="693" y="705"/>
                        <a:pt x="701" y="715"/>
                      </a:cubicBezTo>
                      <a:cubicBezTo>
                        <a:pt x="708" y="723"/>
                        <a:pt x="711" y="714"/>
                        <a:pt x="728" y="731"/>
                      </a:cubicBezTo>
                      <a:cubicBezTo>
                        <a:pt x="750" y="752"/>
                        <a:pt x="757" y="713"/>
                        <a:pt x="773" y="748"/>
                      </a:cubicBezTo>
                      <a:cubicBezTo>
                        <a:pt x="779" y="761"/>
                        <a:pt x="759" y="777"/>
                        <a:pt x="788" y="780"/>
                      </a:cubicBezTo>
                      <a:cubicBezTo>
                        <a:pt x="813" y="782"/>
                        <a:pt x="787" y="805"/>
                        <a:pt x="792" y="816"/>
                      </a:cubicBezTo>
                      <a:cubicBezTo>
                        <a:pt x="805" y="840"/>
                        <a:pt x="782" y="822"/>
                        <a:pt x="862" y="839"/>
                      </a:cubicBezTo>
                      <a:cubicBezTo>
                        <a:pt x="930" y="853"/>
                        <a:pt x="905" y="810"/>
                        <a:pt x="967" y="802"/>
                      </a:cubicBezTo>
                      <a:cubicBezTo>
                        <a:pt x="1054" y="789"/>
                        <a:pt x="1021" y="752"/>
                        <a:pt x="1073" y="770"/>
                      </a:cubicBezTo>
                      <a:cubicBezTo>
                        <a:pt x="1086" y="775"/>
                        <a:pt x="1094" y="768"/>
                        <a:pt x="1121" y="799"/>
                      </a:cubicBezTo>
                      <a:cubicBezTo>
                        <a:pt x="1126" y="805"/>
                        <a:pt x="1136" y="805"/>
                        <a:pt x="1140" y="812"/>
                      </a:cubicBezTo>
                      <a:cubicBezTo>
                        <a:pt x="1146" y="820"/>
                        <a:pt x="1149" y="813"/>
                        <a:pt x="1158" y="810"/>
                      </a:cubicBezTo>
                      <a:cubicBezTo>
                        <a:pt x="1184" y="800"/>
                        <a:pt x="1147" y="801"/>
                        <a:pt x="1171" y="780"/>
                      </a:cubicBezTo>
                      <a:cubicBezTo>
                        <a:pt x="1182" y="771"/>
                        <a:pt x="1189" y="742"/>
                        <a:pt x="1196" y="776"/>
                      </a:cubicBezTo>
                      <a:cubicBezTo>
                        <a:pt x="1196" y="781"/>
                        <a:pt x="1202" y="773"/>
                        <a:pt x="1209" y="784"/>
                      </a:cubicBezTo>
                      <a:cubicBezTo>
                        <a:pt x="1217" y="797"/>
                        <a:pt x="1218" y="795"/>
                        <a:pt x="1218" y="797"/>
                      </a:cubicBezTo>
                      <a:cubicBezTo>
                        <a:pt x="1222" y="789"/>
                        <a:pt x="1234" y="769"/>
                        <a:pt x="1235" y="788"/>
                      </a:cubicBezTo>
                      <a:cubicBezTo>
                        <a:pt x="1236" y="804"/>
                        <a:pt x="1236" y="799"/>
                        <a:pt x="1253" y="796"/>
                      </a:cubicBezTo>
                      <a:cubicBezTo>
                        <a:pt x="1269" y="793"/>
                        <a:pt x="1250" y="776"/>
                        <a:pt x="1259" y="760"/>
                      </a:cubicBezTo>
                      <a:cubicBezTo>
                        <a:pt x="1259" y="760"/>
                        <a:pt x="1261" y="724"/>
                        <a:pt x="1270" y="741"/>
                      </a:cubicBezTo>
                      <a:cubicBezTo>
                        <a:pt x="1272" y="743"/>
                        <a:pt x="1271" y="760"/>
                        <a:pt x="1279" y="752"/>
                      </a:cubicBezTo>
                      <a:cubicBezTo>
                        <a:pt x="1286" y="745"/>
                        <a:pt x="1276" y="724"/>
                        <a:pt x="1292" y="724"/>
                      </a:cubicBezTo>
                      <a:cubicBezTo>
                        <a:pt x="1292" y="697"/>
                        <a:pt x="1292" y="674"/>
                        <a:pt x="1293" y="674"/>
                      </a:cubicBezTo>
                      <a:cubicBezTo>
                        <a:pt x="1304" y="657"/>
                        <a:pt x="1287" y="636"/>
                        <a:pt x="1292" y="617"/>
                      </a:cubicBezTo>
                      <a:cubicBezTo>
                        <a:pt x="1299" y="591"/>
                        <a:pt x="1286" y="594"/>
                        <a:pt x="1288" y="587"/>
                      </a:cubicBezTo>
                      <a:cubicBezTo>
                        <a:pt x="1289" y="580"/>
                        <a:pt x="1269" y="553"/>
                        <a:pt x="1288" y="560"/>
                      </a:cubicBezTo>
                      <a:cubicBezTo>
                        <a:pt x="1305" y="566"/>
                        <a:pt x="1285" y="541"/>
                        <a:pt x="1284" y="538"/>
                      </a:cubicBezTo>
                      <a:cubicBezTo>
                        <a:pt x="1282" y="533"/>
                        <a:pt x="1271" y="521"/>
                        <a:pt x="1271" y="517"/>
                      </a:cubicBezTo>
                      <a:cubicBezTo>
                        <a:pt x="1272" y="498"/>
                        <a:pt x="1265" y="494"/>
                        <a:pt x="1264" y="489"/>
                      </a:cubicBezTo>
                      <a:cubicBezTo>
                        <a:pt x="1263" y="476"/>
                        <a:pt x="1248" y="463"/>
                        <a:pt x="1240" y="461"/>
                      </a:cubicBezTo>
                      <a:cubicBezTo>
                        <a:pt x="1239" y="461"/>
                        <a:pt x="1239" y="461"/>
                        <a:pt x="1239" y="461"/>
                      </a:cubicBezTo>
                      <a:cubicBezTo>
                        <a:pt x="1213" y="458"/>
                        <a:pt x="1210" y="458"/>
                        <a:pt x="1200" y="480"/>
                      </a:cubicBezTo>
                      <a:cubicBezTo>
                        <a:pt x="1193" y="496"/>
                        <a:pt x="1164" y="490"/>
                        <a:pt x="1164" y="493"/>
                      </a:cubicBezTo>
                      <a:cubicBezTo>
                        <a:pt x="1165" y="509"/>
                        <a:pt x="1158" y="522"/>
                        <a:pt x="1145" y="505"/>
                      </a:cubicBezTo>
                      <a:cubicBezTo>
                        <a:pt x="1126" y="479"/>
                        <a:pt x="1126" y="501"/>
                        <a:pt x="1129" y="505"/>
                      </a:cubicBezTo>
                      <a:cubicBezTo>
                        <a:pt x="1136" y="512"/>
                        <a:pt x="1126" y="522"/>
                        <a:pt x="1121" y="512"/>
                      </a:cubicBezTo>
                      <a:cubicBezTo>
                        <a:pt x="1114" y="499"/>
                        <a:pt x="1113" y="508"/>
                        <a:pt x="1100" y="502"/>
                      </a:cubicBezTo>
                      <a:cubicBezTo>
                        <a:pt x="1084" y="494"/>
                        <a:pt x="1085" y="500"/>
                        <a:pt x="1075" y="486"/>
                      </a:cubicBezTo>
                      <a:cubicBezTo>
                        <a:pt x="1072" y="481"/>
                        <a:pt x="1090" y="456"/>
                        <a:pt x="1068" y="456"/>
                      </a:cubicBezTo>
                      <a:cubicBezTo>
                        <a:pt x="1045" y="456"/>
                        <a:pt x="1050" y="408"/>
                        <a:pt x="1019" y="425"/>
                      </a:cubicBezTo>
                      <a:cubicBezTo>
                        <a:pt x="992" y="440"/>
                        <a:pt x="979" y="411"/>
                        <a:pt x="969" y="418"/>
                      </a:cubicBezTo>
                      <a:cubicBezTo>
                        <a:pt x="957" y="427"/>
                        <a:pt x="956" y="403"/>
                        <a:pt x="925" y="396"/>
                      </a:cubicBezTo>
                      <a:cubicBezTo>
                        <a:pt x="886" y="386"/>
                        <a:pt x="897" y="386"/>
                        <a:pt x="877" y="378"/>
                      </a:cubicBezTo>
                      <a:cubicBezTo>
                        <a:pt x="848" y="367"/>
                        <a:pt x="837" y="332"/>
                        <a:pt x="834" y="331"/>
                      </a:cubicBezTo>
                      <a:cubicBezTo>
                        <a:pt x="823" y="328"/>
                        <a:pt x="824" y="355"/>
                        <a:pt x="779" y="328"/>
                      </a:cubicBezTo>
                      <a:cubicBezTo>
                        <a:pt x="772" y="324"/>
                        <a:pt x="758" y="280"/>
                        <a:pt x="747" y="267"/>
                      </a:cubicBezTo>
                      <a:cubicBezTo>
                        <a:pt x="735" y="253"/>
                        <a:pt x="759" y="252"/>
                        <a:pt x="760" y="237"/>
                      </a:cubicBezTo>
                      <a:cubicBezTo>
                        <a:pt x="761" y="224"/>
                        <a:pt x="761" y="221"/>
                        <a:pt x="756" y="215"/>
                      </a:cubicBezTo>
                      <a:cubicBezTo>
                        <a:pt x="751" y="210"/>
                        <a:pt x="777" y="198"/>
                        <a:pt x="760" y="196"/>
                      </a:cubicBezTo>
                      <a:cubicBezTo>
                        <a:pt x="760" y="196"/>
                        <a:pt x="760" y="196"/>
                        <a:pt x="760" y="196"/>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04" name="Xinjiang" descr="{&quot;Key&quot;:&quot;xinjiang&quot;,&quot;Name&quot;:&quot;Xinjiang&quot;,&quot;Value&quot;:1.0,&quot;Formula&quot;:&quot;&quot;,&quot;Text&quot;:&quot;&quot;,&quot;OfficeApplication&quot;:1,&quot;HasValue&quot;:true}">
                  <a:extLst>
                    <a:ext uri="{FF2B5EF4-FFF2-40B4-BE49-F238E27FC236}">
                      <a16:creationId xmlns:a16="http://schemas.microsoft.com/office/drawing/2014/main" id="{D797744F-9719-4D3A-BDF5-8DA00263CABD}"/>
                    </a:ext>
                  </a:extLst>
                </p:cNvPr>
                <p:cNvSpPr>
                  <a:spLocks/>
                </p:cNvSpPr>
                <p:nvPr/>
              </p:nvSpPr>
              <p:spPr bwMode="auto">
                <a:xfrm>
                  <a:off x="2693193" y="1555750"/>
                  <a:ext cx="2667000" cy="2090738"/>
                </a:xfrm>
                <a:custGeom>
                  <a:avLst/>
                  <a:gdLst>
                    <a:gd name="T0" fmla="*/ 1102 w 1351"/>
                    <a:gd name="T1" fmla="*/ 829 h 1060"/>
                    <a:gd name="T2" fmla="*/ 1153 w 1351"/>
                    <a:gd name="T3" fmla="*/ 741 h 1060"/>
                    <a:gd name="T4" fmla="*/ 1285 w 1351"/>
                    <a:gd name="T5" fmla="*/ 664 h 1060"/>
                    <a:gd name="T6" fmla="*/ 1337 w 1351"/>
                    <a:gd name="T7" fmla="*/ 638 h 1060"/>
                    <a:gd name="T8" fmla="*/ 1331 w 1351"/>
                    <a:gd name="T9" fmla="*/ 554 h 1060"/>
                    <a:gd name="T10" fmla="*/ 1314 w 1351"/>
                    <a:gd name="T11" fmla="*/ 477 h 1060"/>
                    <a:gd name="T12" fmla="*/ 1145 w 1351"/>
                    <a:gd name="T13" fmla="*/ 382 h 1060"/>
                    <a:gd name="T14" fmla="*/ 1084 w 1351"/>
                    <a:gd name="T15" fmla="*/ 316 h 1060"/>
                    <a:gd name="T16" fmla="*/ 1101 w 1351"/>
                    <a:gd name="T17" fmla="*/ 218 h 1060"/>
                    <a:gd name="T18" fmla="*/ 1040 w 1351"/>
                    <a:gd name="T19" fmla="*/ 130 h 1060"/>
                    <a:gd name="T20" fmla="*/ 986 w 1351"/>
                    <a:gd name="T21" fmla="*/ 57 h 1060"/>
                    <a:gd name="T22" fmla="*/ 935 w 1351"/>
                    <a:gd name="T23" fmla="*/ 30 h 1060"/>
                    <a:gd name="T24" fmla="*/ 821 w 1351"/>
                    <a:gd name="T25" fmla="*/ 154 h 1060"/>
                    <a:gd name="T26" fmla="*/ 726 w 1351"/>
                    <a:gd name="T27" fmla="*/ 118 h 1060"/>
                    <a:gd name="T28" fmla="*/ 639 w 1351"/>
                    <a:gd name="T29" fmla="*/ 212 h 1060"/>
                    <a:gd name="T30" fmla="*/ 607 w 1351"/>
                    <a:gd name="T31" fmla="*/ 226 h 1060"/>
                    <a:gd name="T32" fmla="*/ 498 w 1351"/>
                    <a:gd name="T33" fmla="*/ 227 h 1060"/>
                    <a:gd name="T34" fmla="*/ 508 w 1351"/>
                    <a:gd name="T35" fmla="*/ 325 h 1060"/>
                    <a:gd name="T36" fmla="*/ 487 w 1351"/>
                    <a:gd name="T37" fmla="*/ 385 h 1060"/>
                    <a:gd name="T38" fmla="*/ 426 w 1351"/>
                    <a:gd name="T39" fmla="*/ 442 h 1060"/>
                    <a:gd name="T40" fmla="*/ 324 w 1351"/>
                    <a:gd name="T41" fmla="*/ 457 h 1060"/>
                    <a:gd name="T42" fmla="*/ 230 w 1351"/>
                    <a:gd name="T43" fmla="*/ 467 h 1060"/>
                    <a:gd name="T44" fmla="*/ 166 w 1351"/>
                    <a:gd name="T45" fmla="*/ 468 h 1060"/>
                    <a:gd name="T46" fmla="*/ 89 w 1351"/>
                    <a:gd name="T47" fmla="*/ 473 h 1060"/>
                    <a:gd name="T48" fmla="*/ 16 w 1351"/>
                    <a:gd name="T49" fmla="*/ 518 h 1060"/>
                    <a:gd name="T50" fmla="*/ 27 w 1351"/>
                    <a:gd name="T51" fmla="*/ 573 h 1060"/>
                    <a:gd name="T52" fmla="*/ 50 w 1351"/>
                    <a:gd name="T53" fmla="*/ 653 h 1060"/>
                    <a:gd name="T54" fmla="*/ 8 w 1351"/>
                    <a:gd name="T55" fmla="*/ 690 h 1060"/>
                    <a:gd name="T56" fmla="*/ 59 w 1351"/>
                    <a:gd name="T57" fmla="*/ 730 h 1060"/>
                    <a:gd name="T58" fmla="*/ 71 w 1351"/>
                    <a:gd name="T59" fmla="*/ 800 h 1060"/>
                    <a:gd name="T60" fmla="*/ 107 w 1351"/>
                    <a:gd name="T61" fmla="*/ 841 h 1060"/>
                    <a:gd name="T62" fmla="*/ 163 w 1351"/>
                    <a:gd name="T63" fmla="*/ 896 h 1060"/>
                    <a:gd name="T64" fmla="*/ 193 w 1351"/>
                    <a:gd name="T65" fmla="*/ 978 h 1060"/>
                    <a:gd name="T66" fmla="*/ 299 w 1351"/>
                    <a:gd name="T67" fmla="*/ 931 h 1060"/>
                    <a:gd name="T68" fmla="*/ 422 w 1351"/>
                    <a:gd name="T69" fmla="*/ 950 h 1060"/>
                    <a:gd name="T70" fmla="*/ 544 w 1351"/>
                    <a:gd name="T71" fmla="*/ 993 h 1060"/>
                    <a:gd name="T72" fmla="*/ 664 w 1351"/>
                    <a:gd name="T73" fmla="*/ 979 h 1060"/>
                    <a:gd name="T74" fmla="*/ 831 w 1351"/>
                    <a:gd name="T75" fmla="*/ 994 h 1060"/>
                    <a:gd name="T76" fmla="*/ 877 w 1351"/>
                    <a:gd name="T77" fmla="*/ 1025 h 1060"/>
                    <a:gd name="T78" fmla="*/ 938 w 1351"/>
                    <a:gd name="T79" fmla="*/ 1034 h 1060"/>
                    <a:gd name="T80" fmla="*/ 973 w 1351"/>
                    <a:gd name="T81" fmla="*/ 976 h 1060"/>
                    <a:gd name="T82" fmla="*/ 949 w 1351"/>
                    <a:gd name="T83" fmla="*/ 882 h 1060"/>
                    <a:gd name="T84" fmla="*/ 1069 w 1351"/>
                    <a:gd name="T85" fmla="*/ 837 h 1060"/>
                    <a:gd name="T86" fmla="*/ 1092 w 1351"/>
                    <a:gd name="T87" fmla="*/ 842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1" h="1060">
                      <a:moveTo>
                        <a:pt x="1092" y="842"/>
                      </a:moveTo>
                      <a:cubicBezTo>
                        <a:pt x="1092" y="842"/>
                        <a:pt x="1090" y="838"/>
                        <a:pt x="1102" y="829"/>
                      </a:cubicBezTo>
                      <a:cubicBezTo>
                        <a:pt x="1123" y="814"/>
                        <a:pt x="1111" y="797"/>
                        <a:pt x="1118" y="777"/>
                      </a:cubicBezTo>
                      <a:cubicBezTo>
                        <a:pt x="1131" y="741"/>
                        <a:pt x="1118" y="726"/>
                        <a:pt x="1153" y="741"/>
                      </a:cubicBezTo>
                      <a:cubicBezTo>
                        <a:pt x="1165" y="746"/>
                        <a:pt x="1196" y="713"/>
                        <a:pt x="1204" y="703"/>
                      </a:cubicBezTo>
                      <a:cubicBezTo>
                        <a:pt x="1218" y="686"/>
                        <a:pt x="1261" y="648"/>
                        <a:pt x="1285" y="664"/>
                      </a:cubicBezTo>
                      <a:cubicBezTo>
                        <a:pt x="1296" y="671"/>
                        <a:pt x="1294" y="658"/>
                        <a:pt x="1317" y="657"/>
                      </a:cubicBezTo>
                      <a:cubicBezTo>
                        <a:pt x="1344" y="657"/>
                        <a:pt x="1339" y="646"/>
                        <a:pt x="1337" y="638"/>
                      </a:cubicBezTo>
                      <a:cubicBezTo>
                        <a:pt x="1331" y="613"/>
                        <a:pt x="1331" y="615"/>
                        <a:pt x="1351" y="599"/>
                      </a:cubicBezTo>
                      <a:cubicBezTo>
                        <a:pt x="1347" y="596"/>
                        <a:pt x="1350" y="586"/>
                        <a:pt x="1331" y="554"/>
                      </a:cubicBezTo>
                      <a:cubicBezTo>
                        <a:pt x="1324" y="542"/>
                        <a:pt x="1325" y="498"/>
                        <a:pt x="1315" y="492"/>
                      </a:cubicBezTo>
                      <a:cubicBezTo>
                        <a:pt x="1306" y="487"/>
                        <a:pt x="1301" y="488"/>
                        <a:pt x="1314" y="477"/>
                      </a:cubicBezTo>
                      <a:cubicBezTo>
                        <a:pt x="1322" y="470"/>
                        <a:pt x="1294" y="475"/>
                        <a:pt x="1284" y="463"/>
                      </a:cubicBezTo>
                      <a:cubicBezTo>
                        <a:pt x="1203" y="367"/>
                        <a:pt x="1184" y="408"/>
                        <a:pt x="1145" y="382"/>
                      </a:cubicBezTo>
                      <a:cubicBezTo>
                        <a:pt x="1136" y="376"/>
                        <a:pt x="1125" y="380"/>
                        <a:pt x="1117" y="373"/>
                      </a:cubicBezTo>
                      <a:cubicBezTo>
                        <a:pt x="1108" y="364"/>
                        <a:pt x="1061" y="363"/>
                        <a:pt x="1084" y="316"/>
                      </a:cubicBezTo>
                      <a:cubicBezTo>
                        <a:pt x="1093" y="297"/>
                        <a:pt x="1101" y="315"/>
                        <a:pt x="1104" y="279"/>
                      </a:cubicBezTo>
                      <a:cubicBezTo>
                        <a:pt x="1107" y="251"/>
                        <a:pt x="1127" y="265"/>
                        <a:pt x="1101" y="218"/>
                      </a:cubicBezTo>
                      <a:cubicBezTo>
                        <a:pt x="1093" y="204"/>
                        <a:pt x="1098" y="149"/>
                        <a:pt x="1073" y="148"/>
                      </a:cubicBezTo>
                      <a:cubicBezTo>
                        <a:pt x="1060" y="148"/>
                        <a:pt x="1064" y="131"/>
                        <a:pt x="1040" y="130"/>
                      </a:cubicBezTo>
                      <a:cubicBezTo>
                        <a:pt x="1021" y="128"/>
                        <a:pt x="1015" y="94"/>
                        <a:pt x="1001" y="83"/>
                      </a:cubicBezTo>
                      <a:cubicBezTo>
                        <a:pt x="976" y="64"/>
                        <a:pt x="1006" y="68"/>
                        <a:pt x="986" y="57"/>
                      </a:cubicBezTo>
                      <a:cubicBezTo>
                        <a:pt x="974" y="50"/>
                        <a:pt x="1018" y="20"/>
                        <a:pt x="968" y="26"/>
                      </a:cubicBezTo>
                      <a:cubicBezTo>
                        <a:pt x="959" y="27"/>
                        <a:pt x="941" y="0"/>
                        <a:pt x="935" y="30"/>
                      </a:cubicBezTo>
                      <a:cubicBezTo>
                        <a:pt x="927" y="72"/>
                        <a:pt x="880" y="50"/>
                        <a:pt x="864" y="69"/>
                      </a:cubicBezTo>
                      <a:cubicBezTo>
                        <a:pt x="843" y="96"/>
                        <a:pt x="861" y="170"/>
                        <a:pt x="821" y="154"/>
                      </a:cubicBezTo>
                      <a:cubicBezTo>
                        <a:pt x="808" y="148"/>
                        <a:pt x="802" y="169"/>
                        <a:pt x="794" y="153"/>
                      </a:cubicBezTo>
                      <a:cubicBezTo>
                        <a:pt x="783" y="134"/>
                        <a:pt x="773" y="163"/>
                        <a:pt x="726" y="118"/>
                      </a:cubicBezTo>
                      <a:cubicBezTo>
                        <a:pt x="713" y="105"/>
                        <a:pt x="706" y="119"/>
                        <a:pt x="680" y="152"/>
                      </a:cubicBezTo>
                      <a:cubicBezTo>
                        <a:pt x="673" y="161"/>
                        <a:pt x="639" y="205"/>
                        <a:pt x="639" y="212"/>
                      </a:cubicBezTo>
                      <a:cubicBezTo>
                        <a:pt x="638" y="239"/>
                        <a:pt x="657" y="246"/>
                        <a:pt x="645" y="249"/>
                      </a:cubicBezTo>
                      <a:cubicBezTo>
                        <a:pt x="625" y="255"/>
                        <a:pt x="610" y="226"/>
                        <a:pt x="607" y="226"/>
                      </a:cubicBezTo>
                      <a:cubicBezTo>
                        <a:pt x="594" y="227"/>
                        <a:pt x="580" y="234"/>
                        <a:pt x="542" y="227"/>
                      </a:cubicBezTo>
                      <a:cubicBezTo>
                        <a:pt x="538" y="226"/>
                        <a:pt x="499" y="222"/>
                        <a:pt x="498" y="227"/>
                      </a:cubicBezTo>
                      <a:cubicBezTo>
                        <a:pt x="495" y="246"/>
                        <a:pt x="526" y="237"/>
                        <a:pt x="512" y="273"/>
                      </a:cubicBezTo>
                      <a:cubicBezTo>
                        <a:pt x="505" y="288"/>
                        <a:pt x="516" y="310"/>
                        <a:pt x="508" y="325"/>
                      </a:cubicBezTo>
                      <a:cubicBezTo>
                        <a:pt x="503" y="333"/>
                        <a:pt x="525" y="376"/>
                        <a:pt x="496" y="370"/>
                      </a:cubicBezTo>
                      <a:cubicBezTo>
                        <a:pt x="483" y="368"/>
                        <a:pt x="480" y="379"/>
                        <a:pt x="487" y="385"/>
                      </a:cubicBezTo>
                      <a:cubicBezTo>
                        <a:pt x="494" y="391"/>
                        <a:pt x="462" y="382"/>
                        <a:pt x="461" y="411"/>
                      </a:cubicBezTo>
                      <a:cubicBezTo>
                        <a:pt x="460" y="440"/>
                        <a:pt x="449" y="433"/>
                        <a:pt x="426" y="442"/>
                      </a:cubicBezTo>
                      <a:cubicBezTo>
                        <a:pt x="420" y="444"/>
                        <a:pt x="369" y="453"/>
                        <a:pt x="353" y="457"/>
                      </a:cubicBezTo>
                      <a:cubicBezTo>
                        <a:pt x="328" y="464"/>
                        <a:pt x="328" y="445"/>
                        <a:pt x="324" y="457"/>
                      </a:cubicBezTo>
                      <a:cubicBezTo>
                        <a:pt x="318" y="473"/>
                        <a:pt x="308" y="460"/>
                        <a:pt x="300" y="467"/>
                      </a:cubicBezTo>
                      <a:cubicBezTo>
                        <a:pt x="278" y="488"/>
                        <a:pt x="256" y="434"/>
                        <a:pt x="230" y="467"/>
                      </a:cubicBezTo>
                      <a:cubicBezTo>
                        <a:pt x="193" y="515"/>
                        <a:pt x="200" y="479"/>
                        <a:pt x="174" y="489"/>
                      </a:cubicBezTo>
                      <a:cubicBezTo>
                        <a:pt x="162" y="493"/>
                        <a:pt x="164" y="473"/>
                        <a:pt x="166" y="468"/>
                      </a:cubicBezTo>
                      <a:cubicBezTo>
                        <a:pt x="178" y="447"/>
                        <a:pt x="141" y="476"/>
                        <a:pt x="128" y="458"/>
                      </a:cubicBezTo>
                      <a:cubicBezTo>
                        <a:pt x="118" y="445"/>
                        <a:pt x="122" y="464"/>
                        <a:pt x="89" y="473"/>
                      </a:cubicBezTo>
                      <a:cubicBezTo>
                        <a:pt x="82" y="474"/>
                        <a:pt x="62" y="449"/>
                        <a:pt x="42" y="494"/>
                      </a:cubicBezTo>
                      <a:cubicBezTo>
                        <a:pt x="34" y="513"/>
                        <a:pt x="14" y="490"/>
                        <a:pt x="16" y="518"/>
                      </a:cubicBezTo>
                      <a:cubicBezTo>
                        <a:pt x="16" y="531"/>
                        <a:pt x="25" y="534"/>
                        <a:pt x="13" y="544"/>
                      </a:cubicBezTo>
                      <a:cubicBezTo>
                        <a:pt x="2" y="554"/>
                        <a:pt x="14" y="578"/>
                        <a:pt x="27" y="573"/>
                      </a:cubicBezTo>
                      <a:cubicBezTo>
                        <a:pt x="38" y="569"/>
                        <a:pt x="70" y="586"/>
                        <a:pt x="64" y="600"/>
                      </a:cubicBezTo>
                      <a:cubicBezTo>
                        <a:pt x="49" y="636"/>
                        <a:pt x="62" y="639"/>
                        <a:pt x="50" y="653"/>
                      </a:cubicBezTo>
                      <a:cubicBezTo>
                        <a:pt x="39" y="667"/>
                        <a:pt x="73" y="690"/>
                        <a:pt x="36" y="686"/>
                      </a:cubicBezTo>
                      <a:cubicBezTo>
                        <a:pt x="30" y="686"/>
                        <a:pt x="0" y="664"/>
                        <a:pt x="8" y="690"/>
                      </a:cubicBezTo>
                      <a:cubicBezTo>
                        <a:pt x="10" y="697"/>
                        <a:pt x="21" y="691"/>
                        <a:pt x="25" y="698"/>
                      </a:cubicBezTo>
                      <a:cubicBezTo>
                        <a:pt x="32" y="710"/>
                        <a:pt x="46" y="705"/>
                        <a:pt x="59" y="730"/>
                      </a:cubicBezTo>
                      <a:cubicBezTo>
                        <a:pt x="64" y="740"/>
                        <a:pt x="78" y="734"/>
                        <a:pt x="79" y="760"/>
                      </a:cubicBezTo>
                      <a:cubicBezTo>
                        <a:pt x="80" y="776"/>
                        <a:pt x="60" y="785"/>
                        <a:pt x="71" y="800"/>
                      </a:cubicBezTo>
                      <a:cubicBezTo>
                        <a:pt x="83" y="817"/>
                        <a:pt x="54" y="812"/>
                        <a:pt x="95" y="816"/>
                      </a:cubicBezTo>
                      <a:cubicBezTo>
                        <a:pt x="108" y="818"/>
                        <a:pt x="80" y="820"/>
                        <a:pt x="107" y="841"/>
                      </a:cubicBezTo>
                      <a:cubicBezTo>
                        <a:pt x="126" y="855"/>
                        <a:pt x="140" y="869"/>
                        <a:pt x="165" y="874"/>
                      </a:cubicBezTo>
                      <a:cubicBezTo>
                        <a:pt x="187" y="878"/>
                        <a:pt x="155" y="887"/>
                        <a:pt x="163" y="896"/>
                      </a:cubicBezTo>
                      <a:cubicBezTo>
                        <a:pt x="179" y="917"/>
                        <a:pt x="149" y="936"/>
                        <a:pt x="174" y="947"/>
                      </a:cubicBezTo>
                      <a:cubicBezTo>
                        <a:pt x="180" y="949"/>
                        <a:pt x="196" y="966"/>
                        <a:pt x="193" y="978"/>
                      </a:cubicBezTo>
                      <a:cubicBezTo>
                        <a:pt x="291" y="981"/>
                        <a:pt x="241" y="984"/>
                        <a:pt x="272" y="951"/>
                      </a:cubicBezTo>
                      <a:cubicBezTo>
                        <a:pt x="280" y="943"/>
                        <a:pt x="291" y="942"/>
                        <a:pt x="299" y="931"/>
                      </a:cubicBezTo>
                      <a:cubicBezTo>
                        <a:pt x="309" y="917"/>
                        <a:pt x="326" y="940"/>
                        <a:pt x="343" y="944"/>
                      </a:cubicBezTo>
                      <a:cubicBezTo>
                        <a:pt x="386" y="951"/>
                        <a:pt x="367" y="975"/>
                        <a:pt x="422" y="950"/>
                      </a:cubicBezTo>
                      <a:cubicBezTo>
                        <a:pt x="435" y="943"/>
                        <a:pt x="461" y="945"/>
                        <a:pt x="464" y="964"/>
                      </a:cubicBezTo>
                      <a:cubicBezTo>
                        <a:pt x="466" y="987"/>
                        <a:pt x="530" y="999"/>
                        <a:pt x="544" y="993"/>
                      </a:cubicBezTo>
                      <a:cubicBezTo>
                        <a:pt x="571" y="983"/>
                        <a:pt x="597" y="983"/>
                        <a:pt x="613" y="988"/>
                      </a:cubicBezTo>
                      <a:cubicBezTo>
                        <a:pt x="636" y="996"/>
                        <a:pt x="656" y="996"/>
                        <a:pt x="664" y="979"/>
                      </a:cubicBezTo>
                      <a:cubicBezTo>
                        <a:pt x="672" y="963"/>
                        <a:pt x="716" y="973"/>
                        <a:pt x="756" y="973"/>
                      </a:cubicBezTo>
                      <a:cubicBezTo>
                        <a:pt x="831" y="975"/>
                        <a:pt x="808" y="989"/>
                        <a:pt x="831" y="994"/>
                      </a:cubicBezTo>
                      <a:cubicBezTo>
                        <a:pt x="849" y="998"/>
                        <a:pt x="862" y="1012"/>
                        <a:pt x="875" y="1025"/>
                      </a:cubicBezTo>
                      <a:cubicBezTo>
                        <a:pt x="877" y="1025"/>
                        <a:pt x="877" y="1025"/>
                        <a:pt x="877" y="1025"/>
                      </a:cubicBezTo>
                      <a:cubicBezTo>
                        <a:pt x="907" y="1026"/>
                        <a:pt x="896" y="1009"/>
                        <a:pt x="905" y="1018"/>
                      </a:cubicBezTo>
                      <a:cubicBezTo>
                        <a:pt x="915" y="1027"/>
                        <a:pt x="928" y="1026"/>
                        <a:pt x="938" y="1034"/>
                      </a:cubicBezTo>
                      <a:cubicBezTo>
                        <a:pt x="971" y="1060"/>
                        <a:pt x="969" y="1009"/>
                        <a:pt x="959" y="1005"/>
                      </a:cubicBezTo>
                      <a:cubicBezTo>
                        <a:pt x="922" y="992"/>
                        <a:pt x="959" y="975"/>
                        <a:pt x="973" y="976"/>
                      </a:cubicBezTo>
                      <a:cubicBezTo>
                        <a:pt x="1003" y="977"/>
                        <a:pt x="981" y="963"/>
                        <a:pt x="980" y="951"/>
                      </a:cubicBezTo>
                      <a:cubicBezTo>
                        <a:pt x="979" y="925"/>
                        <a:pt x="935" y="912"/>
                        <a:pt x="949" y="882"/>
                      </a:cubicBezTo>
                      <a:cubicBezTo>
                        <a:pt x="958" y="862"/>
                        <a:pt x="938" y="872"/>
                        <a:pt x="939" y="859"/>
                      </a:cubicBezTo>
                      <a:cubicBezTo>
                        <a:pt x="940" y="849"/>
                        <a:pt x="1053" y="836"/>
                        <a:pt x="1069" y="837"/>
                      </a:cubicBezTo>
                      <a:cubicBezTo>
                        <a:pt x="1090" y="840"/>
                        <a:pt x="1092" y="842"/>
                        <a:pt x="1092" y="842"/>
                      </a:cubicBezTo>
                      <a:cubicBezTo>
                        <a:pt x="1092" y="842"/>
                        <a:pt x="1092" y="842"/>
                        <a:pt x="1092" y="842"/>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grpSp>
              <p:nvGrpSpPr>
                <p:cNvPr id="2305" name="Shanghai">
                  <a:extLst>
                    <a:ext uri="{FF2B5EF4-FFF2-40B4-BE49-F238E27FC236}">
                      <a16:creationId xmlns:a16="http://schemas.microsoft.com/office/drawing/2014/main" id="{D0C311E9-AECA-41F2-A6AC-909A6F52DD7D}"/>
                    </a:ext>
                  </a:extLst>
                </p:cNvPr>
                <p:cNvGrpSpPr/>
                <p:nvPr/>
              </p:nvGrpSpPr>
              <p:grpSpPr>
                <a:xfrm>
                  <a:off x="8281193" y="4365625"/>
                  <a:ext cx="152400" cy="184150"/>
                  <a:chOff x="8281193" y="4365625"/>
                  <a:chExt cx="152400" cy="184150"/>
                </a:xfrm>
                <a:grpFill/>
              </p:grpSpPr>
              <p:sp>
                <p:nvSpPr>
                  <p:cNvPr id="2324" name="Shanghai" descr="{&quot;Key&quot;:&quot;shanghai&quot;,&quot;Name&quot;:&quot;Shanghai&quot;,&quot;Value&quot;:1.0,&quot;Formula&quot;:&quot;&quot;,&quot;Text&quot;:&quot;&quot;,&quot;OfficeApplication&quot;:1,&quot;HasValue&quot;:true}">
                    <a:extLst>
                      <a:ext uri="{FF2B5EF4-FFF2-40B4-BE49-F238E27FC236}">
                        <a16:creationId xmlns:a16="http://schemas.microsoft.com/office/drawing/2014/main" id="{56D1706A-6916-40E9-95B2-CBAB8D0B77C4}"/>
                      </a:ext>
                    </a:extLst>
                  </p:cNvPr>
                  <p:cNvSpPr>
                    <a:spLocks noEditPoints="1"/>
                  </p:cNvSpPr>
                  <p:nvPr/>
                </p:nvSpPr>
                <p:spPr bwMode="auto">
                  <a:xfrm>
                    <a:off x="8281193" y="4365625"/>
                    <a:ext cx="152400" cy="184150"/>
                  </a:xfrm>
                  <a:custGeom>
                    <a:avLst/>
                    <a:gdLst>
                      <a:gd name="T0" fmla="*/ 51 w 77"/>
                      <a:gd name="T1" fmla="*/ 81 h 93"/>
                      <a:gd name="T2" fmla="*/ 40 w 77"/>
                      <a:gd name="T3" fmla="*/ 41 h 93"/>
                      <a:gd name="T4" fmla="*/ 26 w 77"/>
                      <a:gd name="T5" fmla="*/ 32 h 93"/>
                      <a:gd name="T6" fmla="*/ 20 w 77"/>
                      <a:gd name="T7" fmla="*/ 36 h 93"/>
                      <a:gd name="T8" fmla="*/ 0 w 77"/>
                      <a:gd name="T9" fmla="*/ 66 h 93"/>
                      <a:gd name="T10" fmla="*/ 0 w 77"/>
                      <a:gd name="T11" fmla="*/ 72 h 93"/>
                      <a:gd name="T12" fmla="*/ 10 w 77"/>
                      <a:gd name="T13" fmla="*/ 85 h 93"/>
                      <a:gd name="T14" fmla="*/ 16 w 77"/>
                      <a:gd name="T15" fmla="*/ 86 h 93"/>
                      <a:gd name="T16" fmla="*/ 23 w 77"/>
                      <a:gd name="T17" fmla="*/ 89 h 93"/>
                      <a:gd name="T18" fmla="*/ 31 w 77"/>
                      <a:gd name="T19" fmla="*/ 93 h 93"/>
                      <a:gd name="T20" fmla="*/ 51 w 77"/>
                      <a:gd name="T21" fmla="*/ 81 h 93"/>
                      <a:gd name="T22" fmla="*/ 51 w 77"/>
                      <a:gd name="T23" fmla="*/ 81 h 93"/>
                      <a:gd name="T24" fmla="*/ 28 w 77"/>
                      <a:gd name="T25" fmla="*/ 23 h 93"/>
                      <a:gd name="T26" fmla="*/ 55 w 77"/>
                      <a:gd name="T27" fmla="*/ 33 h 93"/>
                      <a:gd name="T28" fmla="*/ 64 w 77"/>
                      <a:gd name="T29" fmla="*/ 27 h 93"/>
                      <a:gd name="T30" fmla="*/ 38 w 77"/>
                      <a:gd name="T31" fmla="*/ 16 h 93"/>
                      <a:gd name="T32" fmla="*/ 19 w 77"/>
                      <a:gd name="T33" fmla="*/ 20 h 93"/>
                      <a:gd name="T34" fmla="*/ 28 w 77"/>
                      <a:gd name="T35" fmla="*/ 2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93">
                        <a:moveTo>
                          <a:pt x="51" y="81"/>
                        </a:moveTo>
                        <a:cubicBezTo>
                          <a:pt x="77" y="75"/>
                          <a:pt x="52" y="45"/>
                          <a:pt x="40" y="41"/>
                        </a:cubicBezTo>
                        <a:cubicBezTo>
                          <a:pt x="31" y="37"/>
                          <a:pt x="27" y="35"/>
                          <a:pt x="26" y="32"/>
                        </a:cubicBezTo>
                        <a:cubicBezTo>
                          <a:pt x="20" y="36"/>
                          <a:pt x="20" y="36"/>
                          <a:pt x="20" y="36"/>
                        </a:cubicBezTo>
                        <a:cubicBezTo>
                          <a:pt x="4" y="42"/>
                          <a:pt x="17" y="56"/>
                          <a:pt x="0" y="66"/>
                        </a:cubicBezTo>
                        <a:cubicBezTo>
                          <a:pt x="0" y="72"/>
                          <a:pt x="0" y="72"/>
                          <a:pt x="0" y="72"/>
                        </a:cubicBezTo>
                        <a:cubicBezTo>
                          <a:pt x="14" y="74"/>
                          <a:pt x="3" y="78"/>
                          <a:pt x="10" y="85"/>
                        </a:cubicBezTo>
                        <a:cubicBezTo>
                          <a:pt x="16" y="86"/>
                          <a:pt x="16" y="86"/>
                          <a:pt x="16" y="86"/>
                        </a:cubicBezTo>
                        <a:cubicBezTo>
                          <a:pt x="17" y="89"/>
                          <a:pt x="18" y="89"/>
                          <a:pt x="23" y="89"/>
                        </a:cubicBezTo>
                        <a:cubicBezTo>
                          <a:pt x="25" y="93"/>
                          <a:pt x="26" y="93"/>
                          <a:pt x="31" y="93"/>
                        </a:cubicBezTo>
                        <a:cubicBezTo>
                          <a:pt x="37" y="88"/>
                          <a:pt x="43" y="83"/>
                          <a:pt x="51" y="81"/>
                        </a:cubicBezTo>
                        <a:cubicBezTo>
                          <a:pt x="51" y="81"/>
                          <a:pt x="51" y="81"/>
                          <a:pt x="51" y="81"/>
                        </a:cubicBezTo>
                        <a:close/>
                        <a:moveTo>
                          <a:pt x="28" y="23"/>
                        </a:moveTo>
                        <a:cubicBezTo>
                          <a:pt x="32" y="26"/>
                          <a:pt x="48" y="34"/>
                          <a:pt x="55" y="33"/>
                        </a:cubicBezTo>
                        <a:cubicBezTo>
                          <a:pt x="58" y="33"/>
                          <a:pt x="65" y="31"/>
                          <a:pt x="64" y="27"/>
                        </a:cubicBezTo>
                        <a:cubicBezTo>
                          <a:pt x="62" y="17"/>
                          <a:pt x="57" y="26"/>
                          <a:pt x="38" y="16"/>
                        </a:cubicBezTo>
                        <a:cubicBezTo>
                          <a:pt x="8" y="0"/>
                          <a:pt x="6" y="16"/>
                          <a:pt x="19" y="20"/>
                        </a:cubicBezTo>
                        <a:cubicBezTo>
                          <a:pt x="23" y="21"/>
                          <a:pt x="18" y="17"/>
                          <a:pt x="28" y="23"/>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25" name="Shanghai" descr="{&quot;Key&quot;:&quot;shanghai&quot;,&quot;Name&quot;:&quot;Shanghai&quot;,&quot;Value&quot;:1.0,&quot;Formula&quot;:&quot;&quot;,&quot;Text&quot;:&quot;&quot;,&quot;OfficeApplication&quot;:1,&quot;HasValue&quot;:true}">
                    <a:extLst>
                      <a:ext uri="{FF2B5EF4-FFF2-40B4-BE49-F238E27FC236}">
                        <a16:creationId xmlns:a16="http://schemas.microsoft.com/office/drawing/2014/main" id="{20CF6FB0-6791-40BA-AF80-6C089E8E9E75}"/>
                      </a:ext>
                    </a:extLst>
                  </p:cNvPr>
                  <p:cNvSpPr>
                    <a:spLocks/>
                  </p:cNvSpPr>
                  <p:nvPr/>
                </p:nvSpPr>
                <p:spPr bwMode="auto">
                  <a:xfrm>
                    <a:off x="8346281" y="4435475"/>
                    <a:ext cx="68263" cy="20638"/>
                  </a:xfrm>
                  <a:custGeom>
                    <a:avLst/>
                    <a:gdLst>
                      <a:gd name="T0" fmla="*/ 16 w 34"/>
                      <a:gd name="T1" fmla="*/ 1 h 11"/>
                      <a:gd name="T2" fmla="*/ 29 w 34"/>
                      <a:gd name="T3" fmla="*/ 7 h 11"/>
                      <a:gd name="T4" fmla="*/ 16 w 34"/>
                      <a:gd name="T5" fmla="*/ 1 h 11"/>
                    </a:gdLst>
                    <a:ahLst/>
                    <a:cxnLst>
                      <a:cxn ang="0">
                        <a:pos x="T0" y="T1"/>
                      </a:cxn>
                      <a:cxn ang="0">
                        <a:pos x="T2" y="T3"/>
                      </a:cxn>
                      <a:cxn ang="0">
                        <a:pos x="T4" y="T5"/>
                      </a:cxn>
                    </a:cxnLst>
                    <a:rect l="0" t="0" r="r" b="b"/>
                    <a:pathLst>
                      <a:path w="34" h="11">
                        <a:moveTo>
                          <a:pt x="16" y="1"/>
                        </a:moveTo>
                        <a:cubicBezTo>
                          <a:pt x="0" y="0"/>
                          <a:pt x="24" y="11"/>
                          <a:pt x="29" y="7"/>
                        </a:cubicBezTo>
                        <a:cubicBezTo>
                          <a:pt x="34" y="3"/>
                          <a:pt x="19" y="2"/>
                          <a:pt x="16" y="1"/>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grpSp>
            <p:grpSp>
              <p:nvGrpSpPr>
                <p:cNvPr id="2306" name="Fujian">
                  <a:extLst>
                    <a:ext uri="{FF2B5EF4-FFF2-40B4-BE49-F238E27FC236}">
                      <a16:creationId xmlns:a16="http://schemas.microsoft.com/office/drawing/2014/main" id="{F6A82AA4-EFE8-4383-ACB6-8885978959B7}"/>
                    </a:ext>
                  </a:extLst>
                </p:cNvPr>
                <p:cNvGrpSpPr/>
                <p:nvPr/>
              </p:nvGrpSpPr>
              <p:grpSpPr>
                <a:xfrm>
                  <a:off x="7690643" y="4927600"/>
                  <a:ext cx="603250" cy="806450"/>
                  <a:chOff x="7690643" y="4927600"/>
                  <a:chExt cx="603250" cy="806450"/>
                </a:xfrm>
                <a:grpFill/>
              </p:grpSpPr>
              <p:sp>
                <p:nvSpPr>
                  <p:cNvPr id="2321" name="Fujian" descr="{&quot;Key&quot;:&quot;fujian&quot;,&quot;Name&quot;:&quot;Fujian&quot;,&quot;Value&quot;:1.0,&quot;Formula&quot;:&quot;&quot;,&quot;Text&quot;:&quot;&quot;,&quot;OfficeApplication&quot;:1,&quot;HasValue&quot;:true}">
                    <a:extLst>
                      <a:ext uri="{FF2B5EF4-FFF2-40B4-BE49-F238E27FC236}">
                        <a16:creationId xmlns:a16="http://schemas.microsoft.com/office/drawing/2014/main" id="{911EE245-2C9D-4169-A7F0-E8B2E663C715}"/>
                      </a:ext>
                    </a:extLst>
                  </p:cNvPr>
                  <p:cNvSpPr>
                    <a:spLocks noEditPoints="1"/>
                  </p:cNvSpPr>
                  <p:nvPr/>
                </p:nvSpPr>
                <p:spPr bwMode="auto">
                  <a:xfrm>
                    <a:off x="7690643" y="4927600"/>
                    <a:ext cx="603250" cy="806450"/>
                  </a:xfrm>
                  <a:custGeom>
                    <a:avLst/>
                    <a:gdLst>
                      <a:gd name="T0" fmla="*/ 44 w 306"/>
                      <a:gd name="T1" fmla="*/ 163 h 408"/>
                      <a:gd name="T2" fmla="*/ 8 w 306"/>
                      <a:gd name="T3" fmla="*/ 238 h 408"/>
                      <a:gd name="T4" fmla="*/ 34 w 306"/>
                      <a:gd name="T5" fmla="*/ 289 h 408"/>
                      <a:gd name="T6" fmla="*/ 74 w 306"/>
                      <a:gd name="T7" fmla="*/ 327 h 408"/>
                      <a:gd name="T8" fmla="*/ 105 w 306"/>
                      <a:gd name="T9" fmla="*/ 371 h 408"/>
                      <a:gd name="T10" fmla="*/ 160 w 306"/>
                      <a:gd name="T11" fmla="*/ 317 h 408"/>
                      <a:gd name="T12" fmla="*/ 175 w 306"/>
                      <a:gd name="T13" fmla="*/ 294 h 408"/>
                      <a:gd name="T14" fmla="*/ 204 w 306"/>
                      <a:gd name="T15" fmla="*/ 272 h 408"/>
                      <a:gd name="T16" fmla="*/ 232 w 306"/>
                      <a:gd name="T17" fmla="*/ 221 h 408"/>
                      <a:gd name="T18" fmla="*/ 255 w 306"/>
                      <a:gd name="T19" fmla="*/ 198 h 408"/>
                      <a:gd name="T20" fmla="*/ 251 w 306"/>
                      <a:gd name="T21" fmla="*/ 150 h 408"/>
                      <a:gd name="T22" fmla="*/ 258 w 306"/>
                      <a:gd name="T23" fmla="*/ 120 h 408"/>
                      <a:gd name="T24" fmla="*/ 286 w 306"/>
                      <a:gd name="T25" fmla="*/ 82 h 408"/>
                      <a:gd name="T26" fmla="*/ 302 w 306"/>
                      <a:gd name="T27" fmla="*/ 84 h 408"/>
                      <a:gd name="T28" fmla="*/ 243 w 306"/>
                      <a:gd name="T29" fmla="*/ 58 h 408"/>
                      <a:gd name="T30" fmla="*/ 192 w 306"/>
                      <a:gd name="T31" fmla="*/ 70 h 408"/>
                      <a:gd name="T32" fmla="*/ 160 w 306"/>
                      <a:gd name="T33" fmla="*/ 14 h 408"/>
                      <a:gd name="T34" fmla="*/ 128 w 306"/>
                      <a:gd name="T35" fmla="*/ 40 h 408"/>
                      <a:gd name="T36" fmla="*/ 73 w 306"/>
                      <a:gd name="T37" fmla="*/ 69 h 408"/>
                      <a:gd name="T38" fmla="*/ 61 w 306"/>
                      <a:gd name="T39" fmla="*/ 120 h 408"/>
                      <a:gd name="T40" fmla="*/ 106 w 306"/>
                      <a:gd name="T41" fmla="*/ 407 h 408"/>
                      <a:gd name="T42" fmla="*/ 114 w 306"/>
                      <a:gd name="T43" fmla="*/ 399 h 408"/>
                      <a:gd name="T44" fmla="*/ 114 w 306"/>
                      <a:gd name="T45" fmla="*/ 399 h 408"/>
                      <a:gd name="T46" fmla="*/ 90 w 306"/>
                      <a:gd name="T47" fmla="*/ 395 h 408"/>
                      <a:gd name="T48" fmla="*/ 92 w 306"/>
                      <a:gd name="T49" fmla="*/ 402 h 408"/>
                      <a:gd name="T50" fmla="*/ 265 w 306"/>
                      <a:gd name="T51" fmla="*/ 137 h 408"/>
                      <a:gd name="T52" fmla="*/ 281 w 306"/>
                      <a:gd name="T53" fmla="*/ 119 h 408"/>
                      <a:gd name="T54" fmla="*/ 259 w 306"/>
                      <a:gd name="T55" fmla="*/ 157 h 408"/>
                      <a:gd name="T56" fmla="*/ 264 w 306"/>
                      <a:gd name="T57" fmla="*/ 148 h 408"/>
                      <a:gd name="T58" fmla="*/ 257 w 306"/>
                      <a:gd name="T59" fmla="*/ 244 h 408"/>
                      <a:gd name="T60" fmla="*/ 257 w 306"/>
                      <a:gd name="T61" fmla="*/ 244 h 408"/>
                      <a:gd name="T62" fmla="*/ 264 w 306"/>
                      <a:gd name="T63" fmla="*/ 216 h 408"/>
                      <a:gd name="T64" fmla="*/ 274 w 306"/>
                      <a:gd name="T65" fmla="*/ 210 h 408"/>
                      <a:gd name="T66" fmla="*/ 261 w 306"/>
                      <a:gd name="T67" fmla="*/ 20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6" h="408">
                        <a:moveTo>
                          <a:pt x="61" y="120"/>
                        </a:moveTo>
                        <a:cubicBezTo>
                          <a:pt x="46" y="128"/>
                          <a:pt x="27" y="126"/>
                          <a:pt x="44" y="163"/>
                        </a:cubicBezTo>
                        <a:cubicBezTo>
                          <a:pt x="49" y="176"/>
                          <a:pt x="21" y="168"/>
                          <a:pt x="35" y="189"/>
                        </a:cubicBezTo>
                        <a:cubicBezTo>
                          <a:pt x="45" y="203"/>
                          <a:pt x="17" y="188"/>
                          <a:pt x="8" y="238"/>
                        </a:cubicBezTo>
                        <a:cubicBezTo>
                          <a:pt x="2" y="269"/>
                          <a:pt x="1" y="249"/>
                          <a:pt x="0" y="289"/>
                        </a:cubicBezTo>
                        <a:cubicBezTo>
                          <a:pt x="12" y="286"/>
                          <a:pt x="35" y="296"/>
                          <a:pt x="34" y="289"/>
                        </a:cubicBezTo>
                        <a:cubicBezTo>
                          <a:pt x="32" y="277"/>
                          <a:pt x="44" y="310"/>
                          <a:pt x="50" y="305"/>
                        </a:cubicBezTo>
                        <a:cubicBezTo>
                          <a:pt x="68" y="293"/>
                          <a:pt x="60" y="310"/>
                          <a:pt x="74" y="327"/>
                        </a:cubicBezTo>
                        <a:cubicBezTo>
                          <a:pt x="90" y="346"/>
                          <a:pt x="66" y="339"/>
                          <a:pt x="93" y="381"/>
                        </a:cubicBezTo>
                        <a:cubicBezTo>
                          <a:pt x="98" y="380"/>
                          <a:pt x="102" y="378"/>
                          <a:pt x="105" y="371"/>
                        </a:cubicBezTo>
                        <a:cubicBezTo>
                          <a:pt x="107" y="366"/>
                          <a:pt x="113" y="367"/>
                          <a:pt x="116" y="362"/>
                        </a:cubicBezTo>
                        <a:cubicBezTo>
                          <a:pt x="118" y="359"/>
                          <a:pt x="172" y="326"/>
                          <a:pt x="160" y="317"/>
                        </a:cubicBezTo>
                        <a:cubicBezTo>
                          <a:pt x="154" y="312"/>
                          <a:pt x="145" y="313"/>
                          <a:pt x="155" y="303"/>
                        </a:cubicBezTo>
                        <a:cubicBezTo>
                          <a:pt x="160" y="298"/>
                          <a:pt x="169" y="298"/>
                          <a:pt x="175" y="294"/>
                        </a:cubicBezTo>
                        <a:cubicBezTo>
                          <a:pt x="187" y="288"/>
                          <a:pt x="191" y="313"/>
                          <a:pt x="200" y="287"/>
                        </a:cubicBezTo>
                        <a:cubicBezTo>
                          <a:pt x="203" y="278"/>
                          <a:pt x="192" y="277"/>
                          <a:pt x="204" y="272"/>
                        </a:cubicBezTo>
                        <a:cubicBezTo>
                          <a:pt x="226" y="264"/>
                          <a:pt x="195" y="253"/>
                          <a:pt x="224" y="244"/>
                        </a:cubicBezTo>
                        <a:cubicBezTo>
                          <a:pt x="243" y="239"/>
                          <a:pt x="211" y="229"/>
                          <a:pt x="232" y="221"/>
                        </a:cubicBezTo>
                        <a:cubicBezTo>
                          <a:pt x="238" y="219"/>
                          <a:pt x="278" y="227"/>
                          <a:pt x="251" y="215"/>
                        </a:cubicBezTo>
                        <a:cubicBezTo>
                          <a:pt x="231" y="205"/>
                          <a:pt x="257" y="208"/>
                          <a:pt x="255" y="198"/>
                        </a:cubicBezTo>
                        <a:cubicBezTo>
                          <a:pt x="251" y="179"/>
                          <a:pt x="265" y="196"/>
                          <a:pt x="249" y="175"/>
                        </a:cubicBezTo>
                        <a:cubicBezTo>
                          <a:pt x="242" y="166"/>
                          <a:pt x="267" y="166"/>
                          <a:pt x="251" y="150"/>
                        </a:cubicBezTo>
                        <a:cubicBezTo>
                          <a:pt x="239" y="138"/>
                          <a:pt x="281" y="147"/>
                          <a:pt x="250" y="134"/>
                        </a:cubicBezTo>
                        <a:cubicBezTo>
                          <a:pt x="234" y="128"/>
                          <a:pt x="247" y="113"/>
                          <a:pt x="258" y="120"/>
                        </a:cubicBezTo>
                        <a:cubicBezTo>
                          <a:pt x="278" y="132"/>
                          <a:pt x="283" y="100"/>
                          <a:pt x="294" y="93"/>
                        </a:cubicBezTo>
                        <a:cubicBezTo>
                          <a:pt x="306" y="84"/>
                          <a:pt x="293" y="90"/>
                          <a:pt x="286" y="82"/>
                        </a:cubicBezTo>
                        <a:cubicBezTo>
                          <a:pt x="289" y="83"/>
                          <a:pt x="289" y="83"/>
                          <a:pt x="289" y="83"/>
                        </a:cubicBezTo>
                        <a:cubicBezTo>
                          <a:pt x="295" y="85"/>
                          <a:pt x="299" y="85"/>
                          <a:pt x="302" y="84"/>
                        </a:cubicBezTo>
                        <a:cubicBezTo>
                          <a:pt x="296" y="77"/>
                          <a:pt x="289" y="68"/>
                          <a:pt x="278" y="72"/>
                        </a:cubicBezTo>
                        <a:cubicBezTo>
                          <a:pt x="250" y="83"/>
                          <a:pt x="259" y="81"/>
                          <a:pt x="243" y="58"/>
                        </a:cubicBezTo>
                        <a:cubicBezTo>
                          <a:pt x="236" y="47"/>
                          <a:pt x="223" y="83"/>
                          <a:pt x="210" y="75"/>
                        </a:cubicBezTo>
                        <a:cubicBezTo>
                          <a:pt x="203" y="70"/>
                          <a:pt x="192" y="81"/>
                          <a:pt x="192" y="70"/>
                        </a:cubicBezTo>
                        <a:cubicBezTo>
                          <a:pt x="192" y="56"/>
                          <a:pt x="181" y="45"/>
                          <a:pt x="180" y="32"/>
                        </a:cubicBezTo>
                        <a:cubicBezTo>
                          <a:pt x="180" y="0"/>
                          <a:pt x="168" y="20"/>
                          <a:pt x="160" y="14"/>
                        </a:cubicBezTo>
                        <a:cubicBezTo>
                          <a:pt x="138" y="27"/>
                          <a:pt x="163" y="30"/>
                          <a:pt x="143" y="32"/>
                        </a:cubicBezTo>
                        <a:cubicBezTo>
                          <a:pt x="137" y="32"/>
                          <a:pt x="143" y="38"/>
                          <a:pt x="128" y="40"/>
                        </a:cubicBezTo>
                        <a:cubicBezTo>
                          <a:pt x="111" y="43"/>
                          <a:pt x="116" y="64"/>
                          <a:pt x="101" y="47"/>
                        </a:cubicBezTo>
                        <a:cubicBezTo>
                          <a:pt x="93" y="36"/>
                          <a:pt x="80" y="67"/>
                          <a:pt x="73" y="69"/>
                        </a:cubicBezTo>
                        <a:cubicBezTo>
                          <a:pt x="63" y="73"/>
                          <a:pt x="70" y="71"/>
                          <a:pt x="73" y="92"/>
                        </a:cubicBezTo>
                        <a:cubicBezTo>
                          <a:pt x="73" y="92"/>
                          <a:pt x="80" y="109"/>
                          <a:pt x="61" y="120"/>
                        </a:cubicBezTo>
                        <a:cubicBezTo>
                          <a:pt x="61" y="120"/>
                          <a:pt x="61" y="120"/>
                          <a:pt x="61" y="120"/>
                        </a:cubicBezTo>
                        <a:close/>
                        <a:moveTo>
                          <a:pt x="106" y="407"/>
                        </a:moveTo>
                        <a:cubicBezTo>
                          <a:pt x="106" y="407"/>
                          <a:pt x="106" y="407"/>
                          <a:pt x="106" y="407"/>
                        </a:cubicBezTo>
                        <a:moveTo>
                          <a:pt x="114" y="399"/>
                        </a:moveTo>
                        <a:cubicBezTo>
                          <a:pt x="100" y="406"/>
                          <a:pt x="123" y="408"/>
                          <a:pt x="117" y="400"/>
                        </a:cubicBezTo>
                        <a:cubicBezTo>
                          <a:pt x="117" y="400"/>
                          <a:pt x="115" y="399"/>
                          <a:pt x="114" y="399"/>
                        </a:cubicBezTo>
                        <a:close/>
                        <a:moveTo>
                          <a:pt x="92" y="402"/>
                        </a:moveTo>
                        <a:cubicBezTo>
                          <a:pt x="96" y="399"/>
                          <a:pt x="109" y="391"/>
                          <a:pt x="90" y="395"/>
                        </a:cubicBezTo>
                        <a:cubicBezTo>
                          <a:pt x="85" y="396"/>
                          <a:pt x="85" y="396"/>
                          <a:pt x="85" y="396"/>
                        </a:cubicBezTo>
                        <a:cubicBezTo>
                          <a:pt x="79" y="400"/>
                          <a:pt x="90" y="401"/>
                          <a:pt x="92" y="402"/>
                        </a:cubicBezTo>
                        <a:cubicBezTo>
                          <a:pt x="92" y="402"/>
                          <a:pt x="92" y="402"/>
                          <a:pt x="92" y="402"/>
                        </a:cubicBezTo>
                        <a:close/>
                        <a:moveTo>
                          <a:pt x="265" y="137"/>
                        </a:moveTo>
                        <a:cubicBezTo>
                          <a:pt x="269" y="148"/>
                          <a:pt x="287" y="122"/>
                          <a:pt x="285" y="120"/>
                        </a:cubicBezTo>
                        <a:cubicBezTo>
                          <a:pt x="284" y="120"/>
                          <a:pt x="281" y="119"/>
                          <a:pt x="281" y="119"/>
                        </a:cubicBezTo>
                        <a:cubicBezTo>
                          <a:pt x="277" y="121"/>
                          <a:pt x="266" y="133"/>
                          <a:pt x="265" y="137"/>
                        </a:cubicBezTo>
                        <a:close/>
                        <a:moveTo>
                          <a:pt x="259" y="157"/>
                        </a:moveTo>
                        <a:cubicBezTo>
                          <a:pt x="260" y="164"/>
                          <a:pt x="264" y="156"/>
                          <a:pt x="266" y="155"/>
                        </a:cubicBezTo>
                        <a:cubicBezTo>
                          <a:pt x="273" y="152"/>
                          <a:pt x="268" y="150"/>
                          <a:pt x="264" y="148"/>
                        </a:cubicBezTo>
                        <a:cubicBezTo>
                          <a:pt x="261" y="151"/>
                          <a:pt x="259" y="152"/>
                          <a:pt x="259" y="157"/>
                        </a:cubicBezTo>
                        <a:close/>
                        <a:moveTo>
                          <a:pt x="257" y="244"/>
                        </a:moveTo>
                        <a:cubicBezTo>
                          <a:pt x="258" y="244"/>
                          <a:pt x="245" y="235"/>
                          <a:pt x="246" y="241"/>
                        </a:cubicBezTo>
                        <a:cubicBezTo>
                          <a:pt x="248" y="245"/>
                          <a:pt x="256" y="254"/>
                          <a:pt x="257" y="244"/>
                        </a:cubicBezTo>
                        <a:close/>
                        <a:moveTo>
                          <a:pt x="261" y="202"/>
                        </a:moveTo>
                        <a:cubicBezTo>
                          <a:pt x="260" y="209"/>
                          <a:pt x="265" y="211"/>
                          <a:pt x="264" y="216"/>
                        </a:cubicBezTo>
                        <a:cubicBezTo>
                          <a:pt x="264" y="220"/>
                          <a:pt x="262" y="220"/>
                          <a:pt x="265" y="225"/>
                        </a:cubicBezTo>
                        <a:cubicBezTo>
                          <a:pt x="271" y="231"/>
                          <a:pt x="277" y="215"/>
                          <a:pt x="274" y="210"/>
                        </a:cubicBezTo>
                        <a:cubicBezTo>
                          <a:pt x="273" y="208"/>
                          <a:pt x="268" y="201"/>
                          <a:pt x="266" y="201"/>
                        </a:cubicBezTo>
                        <a:cubicBezTo>
                          <a:pt x="264" y="201"/>
                          <a:pt x="263" y="202"/>
                          <a:pt x="261" y="202"/>
                        </a:cubicBezTo>
                        <a:cubicBezTo>
                          <a:pt x="261" y="202"/>
                          <a:pt x="261" y="202"/>
                          <a:pt x="261" y="202"/>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22" name="Fujian" descr="{&quot;Key&quot;:&quot;fujian&quot;,&quot;Name&quot;:&quot;Fujian&quot;,&quot;Value&quot;:1.0,&quot;Formula&quot;:&quot;&quot;,&quot;Text&quot;:&quot;&quot;,&quot;OfficeApplication&quot;:1,&quot;HasValue&quot;:true}">
                    <a:extLst>
                      <a:ext uri="{FF2B5EF4-FFF2-40B4-BE49-F238E27FC236}">
                        <a16:creationId xmlns:a16="http://schemas.microsoft.com/office/drawing/2014/main" id="{961DAA53-F2C3-49A3-A4B9-C7FE867447A3}"/>
                      </a:ext>
                    </a:extLst>
                  </p:cNvPr>
                  <p:cNvSpPr>
                    <a:spLocks/>
                  </p:cNvSpPr>
                  <p:nvPr/>
                </p:nvSpPr>
                <p:spPr bwMode="auto">
                  <a:xfrm>
                    <a:off x="7924006" y="5624513"/>
                    <a:ext cx="26988" cy="50800"/>
                  </a:xfrm>
                  <a:custGeom>
                    <a:avLst/>
                    <a:gdLst>
                      <a:gd name="T0" fmla="*/ 6 w 13"/>
                      <a:gd name="T1" fmla="*/ 15 h 26"/>
                      <a:gd name="T2" fmla="*/ 3 w 13"/>
                      <a:gd name="T3" fmla="*/ 20 h 26"/>
                      <a:gd name="T4" fmla="*/ 8 w 13"/>
                      <a:gd name="T5" fmla="*/ 6 h 26"/>
                      <a:gd name="T6" fmla="*/ 6 w 13"/>
                      <a:gd name="T7" fmla="*/ 15 h 26"/>
                      <a:gd name="T8" fmla="*/ 6 w 13"/>
                      <a:gd name="T9" fmla="*/ 15 h 26"/>
                    </a:gdLst>
                    <a:ahLst/>
                    <a:cxnLst>
                      <a:cxn ang="0">
                        <a:pos x="T0" y="T1"/>
                      </a:cxn>
                      <a:cxn ang="0">
                        <a:pos x="T2" y="T3"/>
                      </a:cxn>
                      <a:cxn ang="0">
                        <a:pos x="T4" y="T5"/>
                      </a:cxn>
                      <a:cxn ang="0">
                        <a:pos x="T6" y="T7"/>
                      </a:cxn>
                      <a:cxn ang="0">
                        <a:pos x="T8" y="T9"/>
                      </a:cxn>
                    </a:cxnLst>
                    <a:rect l="0" t="0" r="r" b="b"/>
                    <a:pathLst>
                      <a:path w="13" h="26">
                        <a:moveTo>
                          <a:pt x="6" y="15"/>
                        </a:moveTo>
                        <a:cubicBezTo>
                          <a:pt x="6" y="15"/>
                          <a:pt x="0" y="18"/>
                          <a:pt x="3" y="20"/>
                        </a:cubicBezTo>
                        <a:cubicBezTo>
                          <a:pt x="11" y="26"/>
                          <a:pt x="13" y="0"/>
                          <a:pt x="8" y="6"/>
                        </a:cubicBezTo>
                        <a:cubicBezTo>
                          <a:pt x="6" y="7"/>
                          <a:pt x="8" y="12"/>
                          <a:pt x="6" y="15"/>
                        </a:cubicBezTo>
                        <a:cubicBezTo>
                          <a:pt x="6" y="15"/>
                          <a:pt x="6" y="15"/>
                          <a:pt x="6" y="15"/>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23" name="Fujian" descr="{&quot;Key&quot;:&quot;fujian&quot;,&quot;Name&quot;:&quot;Fujian&quot;,&quot;Value&quot;:1.0,&quot;Formula&quot;:&quot;&quot;,&quot;Text&quot;:&quot;&quot;,&quot;OfficeApplication&quot;:1,&quot;HasValue&quot;:true}">
                    <a:extLst>
                      <a:ext uri="{FF2B5EF4-FFF2-40B4-BE49-F238E27FC236}">
                        <a16:creationId xmlns:a16="http://schemas.microsoft.com/office/drawing/2014/main" id="{B12B86D2-D0C4-4837-AF2A-1C68B7E8977E}"/>
                      </a:ext>
                    </a:extLst>
                  </p:cNvPr>
                  <p:cNvSpPr>
                    <a:spLocks/>
                  </p:cNvSpPr>
                  <p:nvPr/>
                </p:nvSpPr>
                <p:spPr bwMode="auto">
                  <a:xfrm>
                    <a:off x="7895431" y="5653088"/>
                    <a:ext cx="28575" cy="44450"/>
                  </a:xfrm>
                  <a:custGeom>
                    <a:avLst/>
                    <a:gdLst>
                      <a:gd name="T0" fmla="*/ 9 w 15"/>
                      <a:gd name="T1" fmla="*/ 3 h 23"/>
                      <a:gd name="T2" fmla="*/ 13 w 15"/>
                      <a:gd name="T3" fmla="*/ 6 h 23"/>
                      <a:gd name="T4" fmla="*/ 9 w 15"/>
                      <a:gd name="T5" fmla="*/ 3 h 23"/>
                    </a:gdLst>
                    <a:ahLst/>
                    <a:cxnLst>
                      <a:cxn ang="0">
                        <a:pos x="T0" y="T1"/>
                      </a:cxn>
                      <a:cxn ang="0">
                        <a:pos x="T2" y="T3"/>
                      </a:cxn>
                      <a:cxn ang="0">
                        <a:pos x="T4" y="T5"/>
                      </a:cxn>
                    </a:cxnLst>
                    <a:rect l="0" t="0" r="r" b="b"/>
                    <a:pathLst>
                      <a:path w="15" h="23">
                        <a:moveTo>
                          <a:pt x="9" y="3"/>
                        </a:moveTo>
                        <a:cubicBezTo>
                          <a:pt x="0" y="10"/>
                          <a:pt x="15" y="23"/>
                          <a:pt x="13" y="6"/>
                        </a:cubicBezTo>
                        <a:cubicBezTo>
                          <a:pt x="13" y="3"/>
                          <a:pt x="13" y="0"/>
                          <a:pt x="9" y="3"/>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grpSp>
            <p:grpSp>
              <p:nvGrpSpPr>
                <p:cNvPr id="2307" name="Guangdong">
                  <a:extLst>
                    <a:ext uri="{FF2B5EF4-FFF2-40B4-BE49-F238E27FC236}">
                      <a16:creationId xmlns:a16="http://schemas.microsoft.com/office/drawing/2014/main" id="{CB42622E-DE41-4F42-A08F-CC28407EB21F}"/>
                    </a:ext>
                  </a:extLst>
                </p:cNvPr>
                <p:cNvGrpSpPr/>
                <p:nvPr/>
              </p:nvGrpSpPr>
              <p:grpSpPr>
                <a:xfrm>
                  <a:off x="6725443" y="5405438"/>
                  <a:ext cx="1147763" cy="842963"/>
                  <a:chOff x="6725443" y="5405438"/>
                  <a:chExt cx="1147763" cy="842963"/>
                </a:xfrm>
                <a:grpFill/>
              </p:grpSpPr>
              <p:sp>
                <p:nvSpPr>
                  <p:cNvPr id="2309"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CF7D96D4-2F54-427D-8E4C-345E8BE6E1C1}"/>
                      </a:ext>
                    </a:extLst>
                  </p:cNvPr>
                  <p:cNvSpPr>
                    <a:spLocks/>
                  </p:cNvSpPr>
                  <p:nvPr/>
                </p:nvSpPr>
                <p:spPr bwMode="auto">
                  <a:xfrm>
                    <a:off x="6725443" y="6107113"/>
                    <a:ext cx="20638" cy="25400"/>
                  </a:xfrm>
                  <a:custGeom>
                    <a:avLst/>
                    <a:gdLst>
                      <a:gd name="T0" fmla="*/ 10 w 11"/>
                      <a:gd name="T1" fmla="*/ 4 h 13"/>
                      <a:gd name="T2" fmla="*/ 4 w 11"/>
                      <a:gd name="T3" fmla="*/ 1 h 13"/>
                      <a:gd name="T4" fmla="*/ 10 w 11"/>
                      <a:gd name="T5" fmla="*/ 4 h 13"/>
                    </a:gdLst>
                    <a:ahLst/>
                    <a:cxnLst>
                      <a:cxn ang="0">
                        <a:pos x="T0" y="T1"/>
                      </a:cxn>
                      <a:cxn ang="0">
                        <a:pos x="T2" y="T3"/>
                      </a:cxn>
                      <a:cxn ang="0">
                        <a:pos x="T4" y="T5"/>
                      </a:cxn>
                    </a:cxnLst>
                    <a:rect l="0" t="0" r="r" b="b"/>
                    <a:pathLst>
                      <a:path w="11" h="13">
                        <a:moveTo>
                          <a:pt x="10" y="4"/>
                        </a:moveTo>
                        <a:cubicBezTo>
                          <a:pt x="11" y="3"/>
                          <a:pt x="8" y="0"/>
                          <a:pt x="4" y="1"/>
                        </a:cubicBezTo>
                        <a:cubicBezTo>
                          <a:pt x="0" y="6"/>
                          <a:pt x="4" y="13"/>
                          <a:pt x="10" y="4"/>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0"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40A86F21-1852-4DB5-9209-6F9AA30C4E7D}"/>
                      </a:ext>
                    </a:extLst>
                  </p:cNvPr>
                  <p:cNvSpPr>
                    <a:spLocks/>
                  </p:cNvSpPr>
                  <p:nvPr/>
                </p:nvSpPr>
                <p:spPr bwMode="auto">
                  <a:xfrm>
                    <a:off x="6749256" y="6132513"/>
                    <a:ext cx="12700" cy="12700"/>
                  </a:xfrm>
                  <a:custGeom>
                    <a:avLst/>
                    <a:gdLst>
                      <a:gd name="T0" fmla="*/ 0 w 7"/>
                      <a:gd name="T1" fmla="*/ 4 h 7"/>
                      <a:gd name="T2" fmla="*/ 0 w 7"/>
                      <a:gd name="T3" fmla="*/ 1 h 7"/>
                      <a:gd name="T4" fmla="*/ 0 w 7"/>
                      <a:gd name="T5" fmla="*/ 4 h 7"/>
                    </a:gdLst>
                    <a:ahLst/>
                    <a:cxnLst>
                      <a:cxn ang="0">
                        <a:pos x="T0" y="T1"/>
                      </a:cxn>
                      <a:cxn ang="0">
                        <a:pos x="T2" y="T3"/>
                      </a:cxn>
                      <a:cxn ang="0">
                        <a:pos x="T4" y="T5"/>
                      </a:cxn>
                    </a:cxnLst>
                    <a:rect l="0" t="0" r="r" b="b"/>
                    <a:pathLst>
                      <a:path w="7" h="7">
                        <a:moveTo>
                          <a:pt x="0" y="4"/>
                        </a:moveTo>
                        <a:cubicBezTo>
                          <a:pt x="7" y="7"/>
                          <a:pt x="7" y="0"/>
                          <a:pt x="0" y="1"/>
                        </a:cubicBezTo>
                        <a:lnTo>
                          <a:pt x="0" y="4"/>
                        </a:ln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1"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BA6ED47C-0B7A-4191-A1C1-CD1CF6102309}"/>
                      </a:ext>
                    </a:extLst>
                  </p:cNvPr>
                  <p:cNvSpPr>
                    <a:spLocks/>
                  </p:cNvSpPr>
                  <p:nvPr/>
                </p:nvSpPr>
                <p:spPr bwMode="auto">
                  <a:xfrm>
                    <a:off x="6944518" y="6213475"/>
                    <a:ext cx="31750" cy="17463"/>
                  </a:xfrm>
                  <a:custGeom>
                    <a:avLst/>
                    <a:gdLst>
                      <a:gd name="T0" fmla="*/ 11 w 16"/>
                      <a:gd name="T1" fmla="*/ 0 h 9"/>
                      <a:gd name="T2" fmla="*/ 0 w 16"/>
                      <a:gd name="T3" fmla="*/ 6 h 9"/>
                      <a:gd name="T4" fmla="*/ 13 w 16"/>
                      <a:gd name="T5" fmla="*/ 3 h 9"/>
                      <a:gd name="T6" fmla="*/ 11 w 16"/>
                      <a:gd name="T7" fmla="*/ 0 h 9"/>
                    </a:gdLst>
                    <a:ahLst/>
                    <a:cxnLst>
                      <a:cxn ang="0">
                        <a:pos x="T0" y="T1"/>
                      </a:cxn>
                      <a:cxn ang="0">
                        <a:pos x="T2" y="T3"/>
                      </a:cxn>
                      <a:cxn ang="0">
                        <a:pos x="T4" y="T5"/>
                      </a:cxn>
                      <a:cxn ang="0">
                        <a:pos x="T6" y="T7"/>
                      </a:cxn>
                    </a:cxnLst>
                    <a:rect l="0" t="0" r="r" b="b"/>
                    <a:pathLst>
                      <a:path w="16" h="9">
                        <a:moveTo>
                          <a:pt x="11" y="0"/>
                        </a:moveTo>
                        <a:cubicBezTo>
                          <a:pt x="8" y="4"/>
                          <a:pt x="2" y="1"/>
                          <a:pt x="0" y="6"/>
                        </a:cubicBezTo>
                        <a:cubicBezTo>
                          <a:pt x="4" y="8"/>
                          <a:pt x="16" y="9"/>
                          <a:pt x="13" y="3"/>
                        </a:cubicBezTo>
                        <a:cubicBezTo>
                          <a:pt x="11" y="0"/>
                          <a:pt x="11" y="0"/>
                          <a:pt x="11" y="0"/>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2"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09C96284-5829-4D1A-B1F2-18E869AF1C35}"/>
                      </a:ext>
                    </a:extLst>
                  </p:cNvPr>
                  <p:cNvSpPr>
                    <a:spLocks/>
                  </p:cNvSpPr>
                  <p:nvPr/>
                </p:nvSpPr>
                <p:spPr bwMode="auto">
                  <a:xfrm>
                    <a:off x="6807993" y="5405438"/>
                    <a:ext cx="1065213" cy="842963"/>
                  </a:xfrm>
                  <a:custGeom>
                    <a:avLst/>
                    <a:gdLst>
                      <a:gd name="T0" fmla="*/ 363 w 540"/>
                      <a:gd name="T1" fmla="*/ 78 h 427"/>
                      <a:gd name="T2" fmla="*/ 343 w 540"/>
                      <a:gd name="T3" fmla="*/ 57 h 427"/>
                      <a:gd name="T4" fmla="*/ 363 w 540"/>
                      <a:gd name="T5" fmla="*/ 24 h 427"/>
                      <a:gd name="T6" fmla="*/ 311 w 540"/>
                      <a:gd name="T7" fmla="*/ 13 h 427"/>
                      <a:gd name="T8" fmla="*/ 251 w 540"/>
                      <a:gd name="T9" fmla="*/ 15 h 427"/>
                      <a:gd name="T10" fmla="*/ 240 w 540"/>
                      <a:gd name="T11" fmla="*/ 53 h 427"/>
                      <a:gd name="T12" fmla="*/ 170 w 540"/>
                      <a:gd name="T13" fmla="*/ 71 h 427"/>
                      <a:gd name="T14" fmla="*/ 153 w 540"/>
                      <a:gd name="T15" fmla="*/ 144 h 427"/>
                      <a:gd name="T16" fmla="*/ 121 w 540"/>
                      <a:gd name="T17" fmla="*/ 224 h 427"/>
                      <a:gd name="T18" fmla="*/ 108 w 540"/>
                      <a:gd name="T19" fmla="*/ 234 h 427"/>
                      <a:gd name="T20" fmla="*/ 82 w 540"/>
                      <a:gd name="T21" fmla="*/ 265 h 427"/>
                      <a:gd name="T22" fmla="*/ 27 w 540"/>
                      <a:gd name="T23" fmla="*/ 299 h 427"/>
                      <a:gd name="T24" fmla="*/ 15 w 540"/>
                      <a:gd name="T25" fmla="*/ 341 h 427"/>
                      <a:gd name="T26" fmla="*/ 13 w 540"/>
                      <a:gd name="T27" fmla="*/ 386 h 427"/>
                      <a:gd name="T28" fmla="*/ 54 w 540"/>
                      <a:gd name="T29" fmla="*/ 421 h 427"/>
                      <a:gd name="T30" fmla="*/ 55 w 540"/>
                      <a:gd name="T31" fmla="*/ 357 h 427"/>
                      <a:gd name="T32" fmla="*/ 89 w 540"/>
                      <a:gd name="T33" fmla="*/ 333 h 427"/>
                      <a:gd name="T34" fmla="*/ 148 w 540"/>
                      <a:gd name="T35" fmla="*/ 322 h 427"/>
                      <a:gd name="T36" fmla="*/ 174 w 540"/>
                      <a:gd name="T37" fmla="*/ 301 h 427"/>
                      <a:gd name="T38" fmla="*/ 197 w 540"/>
                      <a:gd name="T39" fmla="*/ 306 h 427"/>
                      <a:gd name="T40" fmla="*/ 238 w 540"/>
                      <a:gd name="T41" fmla="*/ 287 h 427"/>
                      <a:gd name="T42" fmla="*/ 268 w 540"/>
                      <a:gd name="T43" fmla="*/ 275 h 427"/>
                      <a:gd name="T44" fmla="*/ 290 w 540"/>
                      <a:gd name="T45" fmla="*/ 263 h 427"/>
                      <a:gd name="T46" fmla="*/ 301 w 540"/>
                      <a:gd name="T47" fmla="*/ 222 h 427"/>
                      <a:gd name="T48" fmla="*/ 326 w 540"/>
                      <a:gd name="T49" fmla="*/ 233 h 427"/>
                      <a:gd name="T50" fmla="*/ 342 w 540"/>
                      <a:gd name="T51" fmla="*/ 231 h 427"/>
                      <a:gd name="T52" fmla="*/ 376 w 540"/>
                      <a:gd name="T53" fmla="*/ 224 h 427"/>
                      <a:gd name="T54" fmla="*/ 418 w 540"/>
                      <a:gd name="T55" fmla="*/ 219 h 427"/>
                      <a:gd name="T56" fmla="*/ 494 w 540"/>
                      <a:gd name="T57" fmla="*/ 198 h 427"/>
                      <a:gd name="T58" fmla="*/ 500 w 540"/>
                      <a:gd name="T59" fmla="*/ 162 h 427"/>
                      <a:gd name="T60" fmla="*/ 540 w 540"/>
                      <a:gd name="T61" fmla="*/ 139 h 427"/>
                      <a:gd name="T62" fmla="*/ 497 w 540"/>
                      <a:gd name="T63" fmla="*/ 63 h 427"/>
                      <a:gd name="T64" fmla="*/ 447 w 540"/>
                      <a:gd name="T65" fmla="*/ 47 h 427"/>
                      <a:gd name="T66" fmla="*/ 438 w 540"/>
                      <a:gd name="T67" fmla="*/ 78 h 427"/>
                      <a:gd name="T68" fmla="*/ 388 w 540"/>
                      <a:gd name="T69" fmla="*/ 6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0" h="427">
                        <a:moveTo>
                          <a:pt x="388" y="67"/>
                        </a:moveTo>
                        <a:cubicBezTo>
                          <a:pt x="381" y="67"/>
                          <a:pt x="383" y="76"/>
                          <a:pt x="363" y="78"/>
                        </a:cubicBezTo>
                        <a:cubicBezTo>
                          <a:pt x="356" y="79"/>
                          <a:pt x="331" y="86"/>
                          <a:pt x="329" y="74"/>
                        </a:cubicBezTo>
                        <a:cubicBezTo>
                          <a:pt x="329" y="73"/>
                          <a:pt x="342" y="62"/>
                          <a:pt x="343" y="57"/>
                        </a:cubicBezTo>
                        <a:cubicBezTo>
                          <a:pt x="351" y="35"/>
                          <a:pt x="365" y="44"/>
                          <a:pt x="363" y="28"/>
                        </a:cubicBezTo>
                        <a:cubicBezTo>
                          <a:pt x="363" y="24"/>
                          <a:pt x="363" y="24"/>
                          <a:pt x="363" y="24"/>
                        </a:cubicBezTo>
                        <a:cubicBezTo>
                          <a:pt x="342" y="5"/>
                          <a:pt x="351" y="24"/>
                          <a:pt x="319" y="25"/>
                        </a:cubicBezTo>
                        <a:cubicBezTo>
                          <a:pt x="316" y="25"/>
                          <a:pt x="313" y="20"/>
                          <a:pt x="311" y="13"/>
                        </a:cubicBezTo>
                        <a:cubicBezTo>
                          <a:pt x="309" y="14"/>
                          <a:pt x="306" y="14"/>
                          <a:pt x="304" y="16"/>
                        </a:cubicBezTo>
                        <a:cubicBezTo>
                          <a:pt x="280" y="36"/>
                          <a:pt x="264" y="0"/>
                          <a:pt x="251" y="15"/>
                        </a:cubicBezTo>
                        <a:cubicBezTo>
                          <a:pt x="247" y="19"/>
                          <a:pt x="229" y="28"/>
                          <a:pt x="238" y="29"/>
                        </a:cubicBezTo>
                        <a:cubicBezTo>
                          <a:pt x="246" y="30"/>
                          <a:pt x="245" y="49"/>
                          <a:pt x="240" y="53"/>
                        </a:cubicBezTo>
                        <a:cubicBezTo>
                          <a:pt x="224" y="66"/>
                          <a:pt x="227" y="30"/>
                          <a:pt x="188" y="38"/>
                        </a:cubicBezTo>
                        <a:cubicBezTo>
                          <a:pt x="179" y="40"/>
                          <a:pt x="186" y="75"/>
                          <a:pt x="170" y="71"/>
                        </a:cubicBezTo>
                        <a:cubicBezTo>
                          <a:pt x="164" y="84"/>
                          <a:pt x="187" y="100"/>
                          <a:pt x="167" y="110"/>
                        </a:cubicBezTo>
                        <a:cubicBezTo>
                          <a:pt x="152" y="118"/>
                          <a:pt x="185" y="119"/>
                          <a:pt x="153" y="144"/>
                        </a:cubicBezTo>
                        <a:cubicBezTo>
                          <a:pt x="143" y="152"/>
                          <a:pt x="153" y="150"/>
                          <a:pt x="145" y="156"/>
                        </a:cubicBezTo>
                        <a:cubicBezTo>
                          <a:pt x="116" y="176"/>
                          <a:pt x="146" y="209"/>
                          <a:pt x="121" y="224"/>
                        </a:cubicBezTo>
                        <a:cubicBezTo>
                          <a:pt x="120" y="225"/>
                          <a:pt x="119" y="225"/>
                          <a:pt x="118" y="226"/>
                        </a:cubicBezTo>
                        <a:cubicBezTo>
                          <a:pt x="116" y="227"/>
                          <a:pt x="113" y="230"/>
                          <a:pt x="108" y="234"/>
                        </a:cubicBezTo>
                        <a:cubicBezTo>
                          <a:pt x="102" y="238"/>
                          <a:pt x="85" y="238"/>
                          <a:pt x="83" y="244"/>
                        </a:cubicBezTo>
                        <a:cubicBezTo>
                          <a:pt x="77" y="263"/>
                          <a:pt x="95" y="253"/>
                          <a:pt x="82" y="265"/>
                        </a:cubicBezTo>
                        <a:cubicBezTo>
                          <a:pt x="64" y="282"/>
                          <a:pt x="50" y="259"/>
                          <a:pt x="57" y="282"/>
                        </a:cubicBezTo>
                        <a:cubicBezTo>
                          <a:pt x="65" y="305"/>
                          <a:pt x="29" y="287"/>
                          <a:pt x="27" y="299"/>
                        </a:cubicBezTo>
                        <a:cubicBezTo>
                          <a:pt x="24" y="320"/>
                          <a:pt x="12" y="308"/>
                          <a:pt x="16" y="326"/>
                        </a:cubicBezTo>
                        <a:cubicBezTo>
                          <a:pt x="33" y="327"/>
                          <a:pt x="16" y="335"/>
                          <a:pt x="15" y="341"/>
                        </a:cubicBezTo>
                        <a:cubicBezTo>
                          <a:pt x="13" y="348"/>
                          <a:pt x="8" y="351"/>
                          <a:pt x="9" y="358"/>
                        </a:cubicBezTo>
                        <a:cubicBezTo>
                          <a:pt x="12" y="373"/>
                          <a:pt x="0" y="363"/>
                          <a:pt x="13" y="386"/>
                        </a:cubicBezTo>
                        <a:cubicBezTo>
                          <a:pt x="29" y="414"/>
                          <a:pt x="27" y="398"/>
                          <a:pt x="31" y="408"/>
                        </a:cubicBezTo>
                        <a:cubicBezTo>
                          <a:pt x="35" y="420"/>
                          <a:pt x="37" y="427"/>
                          <a:pt x="54" y="421"/>
                        </a:cubicBezTo>
                        <a:cubicBezTo>
                          <a:pt x="81" y="412"/>
                          <a:pt x="58" y="397"/>
                          <a:pt x="56" y="384"/>
                        </a:cubicBezTo>
                        <a:cubicBezTo>
                          <a:pt x="53" y="368"/>
                          <a:pt x="31" y="372"/>
                          <a:pt x="55" y="357"/>
                        </a:cubicBezTo>
                        <a:cubicBezTo>
                          <a:pt x="63" y="352"/>
                          <a:pt x="65" y="317"/>
                          <a:pt x="70" y="339"/>
                        </a:cubicBezTo>
                        <a:cubicBezTo>
                          <a:pt x="73" y="354"/>
                          <a:pt x="81" y="335"/>
                          <a:pt x="89" y="333"/>
                        </a:cubicBezTo>
                        <a:cubicBezTo>
                          <a:pt x="101" y="331"/>
                          <a:pt x="110" y="323"/>
                          <a:pt x="123" y="327"/>
                        </a:cubicBezTo>
                        <a:cubicBezTo>
                          <a:pt x="131" y="329"/>
                          <a:pt x="128" y="322"/>
                          <a:pt x="148" y="322"/>
                        </a:cubicBezTo>
                        <a:cubicBezTo>
                          <a:pt x="168" y="322"/>
                          <a:pt x="148" y="293"/>
                          <a:pt x="160" y="306"/>
                        </a:cubicBezTo>
                        <a:cubicBezTo>
                          <a:pt x="167" y="313"/>
                          <a:pt x="179" y="313"/>
                          <a:pt x="174" y="301"/>
                        </a:cubicBezTo>
                        <a:cubicBezTo>
                          <a:pt x="170" y="291"/>
                          <a:pt x="177" y="302"/>
                          <a:pt x="183" y="301"/>
                        </a:cubicBezTo>
                        <a:cubicBezTo>
                          <a:pt x="195" y="299"/>
                          <a:pt x="187" y="305"/>
                          <a:pt x="197" y="306"/>
                        </a:cubicBezTo>
                        <a:cubicBezTo>
                          <a:pt x="207" y="307"/>
                          <a:pt x="212" y="276"/>
                          <a:pt x="212" y="291"/>
                        </a:cubicBezTo>
                        <a:cubicBezTo>
                          <a:pt x="212" y="320"/>
                          <a:pt x="232" y="284"/>
                          <a:pt x="238" y="287"/>
                        </a:cubicBezTo>
                        <a:cubicBezTo>
                          <a:pt x="268" y="305"/>
                          <a:pt x="248" y="265"/>
                          <a:pt x="252" y="252"/>
                        </a:cubicBezTo>
                        <a:cubicBezTo>
                          <a:pt x="254" y="245"/>
                          <a:pt x="252" y="290"/>
                          <a:pt x="268" y="275"/>
                        </a:cubicBezTo>
                        <a:cubicBezTo>
                          <a:pt x="276" y="266"/>
                          <a:pt x="282" y="266"/>
                          <a:pt x="286" y="265"/>
                        </a:cubicBezTo>
                        <a:cubicBezTo>
                          <a:pt x="287" y="265"/>
                          <a:pt x="289" y="264"/>
                          <a:pt x="290" y="263"/>
                        </a:cubicBezTo>
                        <a:cubicBezTo>
                          <a:pt x="291" y="260"/>
                          <a:pt x="291" y="254"/>
                          <a:pt x="291" y="239"/>
                        </a:cubicBezTo>
                        <a:cubicBezTo>
                          <a:pt x="291" y="223"/>
                          <a:pt x="269" y="207"/>
                          <a:pt x="301" y="222"/>
                        </a:cubicBezTo>
                        <a:cubicBezTo>
                          <a:pt x="315" y="229"/>
                          <a:pt x="303" y="238"/>
                          <a:pt x="315" y="231"/>
                        </a:cubicBezTo>
                        <a:cubicBezTo>
                          <a:pt x="319" y="229"/>
                          <a:pt x="320" y="232"/>
                          <a:pt x="326" y="233"/>
                        </a:cubicBezTo>
                        <a:cubicBezTo>
                          <a:pt x="329" y="234"/>
                          <a:pt x="333" y="234"/>
                          <a:pt x="339" y="232"/>
                        </a:cubicBezTo>
                        <a:cubicBezTo>
                          <a:pt x="340" y="232"/>
                          <a:pt x="341" y="231"/>
                          <a:pt x="342" y="231"/>
                        </a:cubicBezTo>
                        <a:cubicBezTo>
                          <a:pt x="355" y="227"/>
                          <a:pt x="369" y="260"/>
                          <a:pt x="360" y="233"/>
                        </a:cubicBezTo>
                        <a:cubicBezTo>
                          <a:pt x="354" y="219"/>
                          <a:pt x="374" y="212"/>
                          <a:pt x="376" y="224"/>
                        </a:cubicBezTo>
                        <a:cubicBezTo>
                          <a:pt x="377" y="228"/>
                          <a:pt x="386" y="234"/>
                          <a:pt x="387" y="233"/>
                        </a:cubicBezTo>
                        <a:cubicBezTo>
                          <a:pt x="392" y="230"/>
                          <a:pt x="397" y="197"/>
                          <a:pt x="418" y="219"/>
                        </a:cubicBezTo>
                        <a:cubicBezTo>
                          <a:pt x="434" y="235"/>
                          <a:pt x="432" y="192"/>
                          <a:pt x="446" y="207"/>
                        </a:cubicBezTo>
                        <a:cubicBezTo>
                          <a:pt x="455" y="218"/>
                          <a:pt x="472" y="201"/>
                          <a:pt x="494" y="198"/>
                        </a:cubicBezTo>
                        <a:cubicBezTo>
                          <a:pt x="510" y="196"/>
                          <a:pt x="497" y="181"/>
                          <a:pt x="511" y="176"/>
                        </a:cubicBezTo>
                        <a:cubicBezTo>
                          <a:pt x="539" y="165"/>
                          <a:pt x="495" y="167"/>
                          <a:pt x="500" y="162"/>
                        </a:cubicBezTo>
                        <a:cubicBezTo>
                          <a:pt x="507" y="155"/>
                          <a:pt x="524" y="169"/>
                          <a:pt x="526" y="153"/>
                        </a:cubicBezTo>
                        <a:cubicBezTo>
                          <a:pt x="528" y="143"/>
                          <a:pt x="534" y="141"/>
                          <a:pt x="540" y="139"/>
                        </a:cubicBezTo>
                        <a:cubicBezTo>
                          <a:pt x="513" y="97"/>
                          <a:pt x="537" y="104"/>
                          <a:pt x="521" y="85"/>
                        </a:cubicBezTo>
                        <a:cubicBezTo>
                          <a:pt x="507" y="68"/>
                          <a:pt x="515" y="51"/>
                          <a:pt x="497" y="63"/>
                        </a:cubicBezTo>
                        <a:cubicBezTo>
                          <a:pt x="491" y="68"/>
                          <a:pt x="479" y="35"/>
                          <a:pt x="481" y="47"/>
                        </a:cubicBezTo>
                        <a:cubicBezTo>
                          <a:pt x="482" y="54"/>
                          <a:pt x="459" y="44"/>
                          <a:pt x="447" y="47"/>
                        </a:cubicBezTo>
                        <a:cubicBezTo>
                          <a:pt x="441" y="48"/>
                          <a:pt x="437" y="53"/>
                          <a:pt x="439" y="64"/>
                        </a:cubicBezTo>
                        <a:cubicBezTo>
                          <a:pt x="440" y="66"/>
                          <a:pt x="448" y="78"/>
                          <a:pt x="438" y="78"/>
                        </a:cubicBezTo>
                        <a:cubicBezTo>
                          <a:pt x="435" y="77"/>
                          <a:pt x="419" y="62"/>
                          <a:pt x="416" y="59"/>
                        </a:cubicBezTo>
                        <a:cubicBezTo>
                          <a:pt x="409" y="59"/>
                          <a:pt x="403" y="66"/>
                          <a:pt x="388" y="67"/>
                        </a:cubicBezTo>
                        <a:cubicBezTo>
                          <a:pt x="388" y="67"/>
                          <a:pt x="388" y="67"/>
                          <a:pt x="388" y="67"/>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3"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E74CD8A5-A8FC-43A9-BAF9-358E3F7AD2EA}"/>
                      </a:ext>
                    </a:extLst>
                  </p:cNvPr>
                  <p:cNvSpPr>
                    <a:spLocks/>
                  </p:cNvSpPr>
                  <p:nvPr/>
                </p:nvSpPr>
                <p:spPr bwMode="auto">
                  <a:xfrm>
                    <a:off x="7457281" y="5953125"/>
                    <a:ext cx="26988" cy="30163"/>
                  </a:xfrm>
                  <a:custGeom>
                    <a:avLst/>
                    <a:gdLst>
                      <a:gd name="T0" fmla="*/ 11 w 14"/>
                      <a:gd name="T1" fmla="*/ 0 h 16"/>
                      <a:gd name="T2" fmla="*/ 3 w 14"/>
                      <a:gd name="T3" fmla="*/ 0 h 16"/>
                      <a:gd name="T4" fmla="*/ 11 w 14"/>
                      <a:gd name="T5" fmla="*/ 0 h 16"/>
                    </a:gdLst>
                    <a:ahLst/>
                    <a:cxnLst>
                      <a:cxn ang="0">
                        <a:pos x="T0" y="T1"/>
                      </a:cxn>
                      <a:cxn ang="0">
                        <a:pos x="T2" y="T3"/>
                      </a:cxn>
                      <a:cxn ang="0">
                        <a:pos x="T4" y="T5"/>
                      </a:cxn>
                    </a:cxnLst>
                    <a:rect l="0" t="0" r="r" b="b"/>
                    <a:pathLst>
                      <a:path w="14" h="16">
                        <a:moveTo>
                          <a:pt x="11" y="0"/>
                        </a:moveTo>
                        <a:cubicBezTo>
                          <a:pt x="3" y="0"/>
                          <a:pt x="3" y="0"/>
                          <a:pt x="3" y="0"/>
                        </a:cubicBezTo>
                        <a:cubicBezTo>
                          <a:pt x="0" y="16"/>
                          <a:pt x="14" y="0"/>
                          <a:pt x="11" y="0"/>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4"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161B0BE6-6F1F-47E2-B4D9-80A96FA19B2F}"/>
                      </a:ext>
                    </a:extLst>
                  </p:cNvPr>
                  <p:cNvSpPr>
                    <a:spLocks/>
                  </p:cNvSpPr>
                  <p:nvPr/>
                </p:nvSpPr>
                <p:spPr bwMode="auto">
                  <a:xfrm>
                    <a:off x="6922293" y="6094413"/>
                    <a:ext cx="46038" cy="55563"/>
                  </a:xfrm>
                  <a:custGeom>
                    <a:avLst/>
                    <a:gdLst>
                      <a:gd name="T0" fmla="*/ 9 w 23"/>
                      <a:gd name="T1" fmla="*/ 17 h 28"/>
                      <a:gd name="T2" fmla="*/ 14 w 23"/>
                      <a:gd name="T3" fmla="*/ 28 h 28"/>
                      <a:gd name="T4" fmla="*/ 13 w 23"/>
                      <a:gd name="T5" fmla="*/ 11 h 28"/>
                      <a:gd name="T6" fmla="*/ 19 w 23"/>
                      <a:gd name="T7" fmla="*/ 1 h 28"/>
                      <a:gd name="T8" fmla="*/ 16 w 23"/>
                      <a:gd name="T9" fmla="*/ 1 h 28"/>
                      <a:gd name="T10" fmla="*/ 7 w 23"/>
                      <a:gd name="T11" fmla="*/ 9 h 28"/>
                      <a:gd name="T12" fmla="*/ 0 w 23"/>
                      <a:gd name="T13" fmla="*/ 11 h 28"/>
                      <a:gd name="T14" fmla="*/ 9 w 23"/>
                      <a:gd name="T15" fmla="*/ 17 h 28"/>
                      <a:gd name="T16" fmla="*/ 9 w 23"/>
                      <a:gd name="T17"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8">
                        <a:moveTo>
                          <a:pt x="9" y="17"/>
                        </a:moveTo>
                        <a:cubicBezTo>
                          <a:pt x="9" y="20"/>
                          <a:pt x="13" y="26"/>
                          <a:pt x="14" y="28"/>
                        </a:cubicBezTo>
                        <a:cubicBezTo>
                          <a:pt x="22" y="22"/>
                          <a:pt x="12" y="19"/>
                          <a:pt x="13" y="11"/>
                        </a:cubicBezTo>
                        <a:cubicBezTo>
                          <a:pt x="14" y="6"/>
                          <a:pt x="23" y="8"/>
                          <a:pt x="19" y="1"/>
                        </a:cubicBezTo>
                        <a:cubicBezTo>
                          <a:pt x="18" y="0"/>
                          <a:pt x="17" y="1"/>
                          <a:pt x="16" y="1"/>
                        </a:cubicBezTo>
                        <a:cubicBezTo>
                          <a:pt x="13" y="3"/>
                          <a:pt x="10" y="7"/>
                          <a:pt x="7" y="9"/>
                        </a:cubicBezTo>
                        <a:cubicBezTo>
                          <a:pt x="3" y="10"/>
                          <a:pt x="3" y="8"/>
                          <a:pt x="0" y="11"/>
                        </a:cubicBezTo>
                        <a:cubicBezTo>
                          <a:pt x="3" y="17"/>
                          <a:pt x="9" y="15"/>
                          <a:pt x="9" y="17"/>
                        </a:cubicBezTo>
                        <a:cubicBezTo>
                          <a:pt x="9" y="17"/>
                          <a:pt x="9" y="17"/>
                          <a:pt x="9" y="17"/>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5"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524B2EDF-9C87-4EF5-AB5D-0C2A8E0C6FC8}"/>
                      </a:ext>
                    </a:extLst>
                  </p:cNvPr>
                  <p:cNvSpPr>
                    <a:spLocks noEditPoints="1"/>
                  </p:cNvSpPr>
                  <p:nvPr/>
                </p:nvSpPr>
                <p:spPr bwMode="auto">
                  <a:xfrm>
                    <a:off x="7241381" y="5918438"/>
                    <a:ext cx="176213" cy="134462"/>
                  </a:xfrm>
                  <a:custGeom>
                    <a:avLst/>
                    <a:gdLst>
                      <a:gd name="T0" fmla="*/ 45 w 89"/>
                      <a:gd name="T1" fmla="*/ 21 h 62"/>
                      <a:gd name="T2" fmla="*/ 46 w 89"/>
                      <a:gd name="T3" fmla="*/ 28 h 62"/>
                      <a:gd name="T4" fmla="*/ 46 w 89"/>
                      <a:gd name="T5" fmla="*/ 18 h 62"/>
                      <a:gd name="T6" fmla="*/ 45 w 89"/>
                      <a:gd name="T7" fmla="*/ 21 h 62"/>
                      <a:gd name="T8" fmla="*/ 45 w 89"/>
                      <a:gd name="T9" fmla="*/ 21 h 62"/>
                      <a:gd name="T10" fmla="*/ 54 w 89"/>
                      <a:gd name="T11" fmla="*/ 13 h 62"/>
                      <a:gd name="T12" fmla="*/ 61 w 89"/>
                      <a:gd name="T13" fmla="*/ 17 h 62"/>
                      <a:gd name="T14" fmla="*/ 54 w 89"/>
                      <a:gd name="T15" fmla="*/ 13 h 62"/>
                      <a:gd name="T16" fmla="*/ 88 w 89"/>
                      <a:gd name="T17" fmla="*/ 21 h 62"/>
                      <a:gd name="T18" fmla="*/ 70 w 89"/>
                      <a:gd name="T19" fmla="*/ 0 h 62"/>
                      <a:gd name="T20" fmla="*/ 66 w 89"/>
                      <a:gd name="T21" fmla="*/ 2 h 62"/>
                      <a:gd name="T22" fmla="*/ 75 w 89"/>
                      <a:gd name="T23" fmla="*/ 9 h 62"/>
                      <a:gd name="T24" fmla="*/ 88 w 89"/>
                      <a:gd name="T25" fmla="*/ 21 h 62"/>
                      <a:gd name="T26" fmla="*/ 15 w 89"/>
                      <a:gd name="T27" fmla="*/ 52 h 62"/>
                      <a:gd name="T28" fmla="*/ 20 w 89"/>
                      <a:gd name="T29" fmla="*/ 39 h 62"/>
                      <a:gd name="T30" fmla="*/ 13 w 89"/>
                      <a:gd name="T31" fmla="*/ 41 h 62"/>
                      <a:gd name="T32" fmla="*/ 0 w 89"/>
                      <a:gd name="T33" fmla="*/ 48 h 62"/>
                      <a:gd name="T34" fmla="*/ 15 w 89"/>
                      <a:gd name="T35"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62">
                        <a:moveTo>
                          <a:pt x="45" y="21"/>
                        </a:moveTo>
                        <a:cubicBezTo>
                          <a:pt x="43" y="23"/>
                          <a:pt x="32" y="29"/>
                          <a:pt x="46" y="28"/>
                        </a:cubicBezTo>
                        <a:cubicBezTo>
                          <a:pt x="51" y="21"/>
                          <a:pt x="47" y="18"/>
                          <a:pt x="46" y="18"/>
                        </a:cubicBezTo>
                        <a:cubicBezTo>
                          <a:pt x="45" y="18"/>
                          <a:pt x="46" y="20"/>
                          <a:pt x="45" y="21"/>
                        </a:cubicBezTo>
                        <a:cubicBezTo>
                          <a:pt x="45" y="21"/>
                          <a:pt x="45" y="21"/>
                          <a:pt x="45" y="21"/>
                        </a:cubicBezTo>
                        <a:close/>
                        <a:moveTo>
                          <a:pt x="54" y="13"/>
                        </a:moveTo>
                        <a:cubicBezTo>
                          <a:pt x="44" y="16"/>
                          <a:pt x="59" y="17"/>
                          <a:pt x="61" y="17"/>
                        </a:cubicBezTo>
                        <a:cubicBezTo>
                          <a:pt x="62" y="16"/>
                          <a:pt x="63" y="11"/>
                          <a:pt x="54" y="13"/>
                        </a:cubicBezTo>
                        <a:close/>
                        <a:moveTo>
                          <a:pt x="88" y="21"/>
                        </a:moveTo>
                        <a:cubicBezTo>
                          <a:pt x="89" y="20"/>
                          <a:pt x="77" y="5"/>
                          <a:pt x="70" y="0"/>
                        </a:cubicBezTo>
                        <a:cubicBezTo>
                          <a:pt x="69" y="1"/>
                          <a:pt x="67" y="2"/>
                          <a:pt x="66" y="2"/>
                        </a:cubicBezTo>
                        <a:cubicBezTo>
                          <a:pt x="71" y="11"/>
                          <a:pt x="72" y="5"/>
                          <a:pt x="75" y="9"/>
                        </a:cubicBezTo>
                        <a:cubicBezTo>
                          <a:pt x="82" y="18"/>
                          <a:pt x="74" y="29"/>
                          <a:pt x="88" y="21"/>
                        </a:cubicBezTo>
                        <a:close/>
                        <a:moveTo>
                          <a:pt x="15" y="52"/>
                        </a:moveTo>
                        <a:cubicBezTo>
                          <a:pt x="13" y="62"/>
                          <a:pt x="25" y="39"/>
                          <a:pt x="20" y="39"/>
                        </a:cubicBezTo>
                        <a:cubicBezTo>
                          <a:pt x="18" y="39"/>
                          <a:pt x="13" y="41"/>
                          <a:pt x="13" y="41"/>
                        </a:cubicBezTo>
                        <a:cubicBezTo>
                          <a:pt x="8" y="47"/>
                          <a:pt x="2" y="39"/>
                          <a:pt x="0" y="48"/>
                        </a:cubicBezTo>
                        <a:cubicBezTo>
                          <a:pt x="5" y="55"/>
                          <a:pt x="9" y="44"/>
                          <a:pt x="15" y="52"/>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6"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9CDD5F05-B4D5-4C51-906A-F02AA0774A64}"/>
                      </a:ext>
                    </a:extLst>
                  </p:cNvPr>
                  <p:cNvSpPr>
                    <a:spLocks/>
                  </p:cNvSpPr>
                  <p:nvPr/>
                </p:nvSpPr>
                <p:spPr bwMode="auto">
                  <a:xfrm>
                    <a:off x="7474743" y="5940425"/>
                    <a:ext cx="23813" cy="15875"/>
                  </a:xfrm>
                  <a:custGeom>
                    <a:avLst/>
                    <a:gdLst>
                      <a:gd name="T0" fmla="*/ 11 w 12"/>
                      <a:gd name="T1" fmla="*/ 2 h 8"/>
                      <a:gd name="T2" fmla="*/ 4 w 12"/>
                      <a:gd name="T3" fmla="*/ 2 h 8"/>
                      <a:gd name="T4" fmla="*/ 0 w 12"/>
                      <a:gd name="T5" fmla="*/ 4 h 8"/>
                      <a:gd name="T6" fmla="*/ 11 w 12"/>
                      <a:gd name="T7" fmla="*/ 2 h 8"/>
                      <a:gd name="T8" fmla="*/ 11 w 12"/>
                      <a:gd name="T9" fmla="*/ 2 h 8"/>
                    </a:gdLst>
                    <a:ahLst/>
                    <a:cxnLst>
                      <a:cxn ang="0">
                        <a:pos x="T0" y="T1"/>
                      </a:cxn>
                      <a:cxn ang="0">
                        <a:pos x="T2" y="T3"/>
                      </a:cxn>
                      <a:cxn ang="0">
                        <a:pos x="T4" y="T5"/>
                      </a:cxn>
                      <a:cxn ang="0">
                        <a:pos x="T6" y="T7"/>
                      </a:cxn>
                      <a:cxn ang="0">
                        <a:pos x="T8" y="T9"/>
                      </a:cxn>
                    </a:cxnLst>
                    <a:rect l="0" t="0" r="r" b="b"/>
                    <a:pathLst>
                      <a:path w="12" h="8">
                        <a:moveTo>
                          <a:pt x="11" y="2"/>
                        </a:moveTo>
                        <a:cubicBezTo>
                          <a:pt x="8" y="1"/>
                          <a:pt x="6" y="0"/>
                          <a:pt x="4" y="2"/>
                        </a:cubicBezTo>
                        <a:cubicBezTo>
                          <a:pt x="2" y="2"/>
                          <a:pt x="1" y="3"/>
                          <a:pt x="0" y="4"/>
                        </a:cubicBezTo>
                        <a:cubicBezTo>
                          <a:pt x="4" y="5"/>
                          <a:pt x="12" y="8"/>
                          <a:pt x="11" y="2"/>
                        </a:cubicBezTo>
                        <a:cubicBezTo>
                          <a:pt x="11" y="2"/>
                          <a:pt x="11" y="2"/>
                          <a:pt x="11" y="2"/>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7"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3EC07798-686D-4BA0-8C42-9DED40FEDCC7}"/>
                      </a:ext>
                    </a:extLst>
                  </p:cNvPr>
                  <p:cNvSpPr>
                    <a:spLocks/>
                  </p:cNvSpPr>
                  <p:nvPr/>
                </p:nvSpPr>
                <p:spPr bwMode="auto">
                  <a:xfrm>
                    <a:off x="7447756" y="5962650"/>
                    <a:ext cx="17463" cy="19050"/>
                  </a:xfrm>
                  <a:custGeom>
                    <a:avLst/>
                    <a:gdLst>
                      <a:gd name="T0" fmla="*/ 3 w 9"/>
                      <a:gd name="T1" fmla="*/ 10 h 10"/>
                      <a:gd name="T2" fmla="*/ 2 w 9"/>
                      <a:gd name="T3" fmla="*/ 3 h 10"/>
                      <a:gd name="T4" fmla="*/ 3 w 9"/>
                      <a:gd name="T5" fmla="*/ 10 h 10"/>
                    </a:gdLst>
                    <a:ahLst/>
                    <a:cxnLst>
                      <a:cxn ang="0">
                        <a:pos x="T0" y="T1"/>
                      </a:cxn>
                      <a:cxn ang="0">
                        <a:pos x="T2" y="T3"/>
                      </a:cxn>
                      <a:cxn ang="0">
                        <a:pos x="T4" y="T5"/>
                      </a:cxn>
                    </a:cxnLst>
                    <a:rect l="0" t="0" r="r" b="b"/>
                    <a:pathLst>
                      <a:path w="9" h="10">
                        <a:moveTo>
                          <a:pt x="3" y="10"/>
                        </a:moveTo>
                        <a:cubicBezTo>
                          <a:pt x="9" y="4"/>
                          <a:pt x="3" y="0"/>
                          <a:pt x="2" y="3"/>
                        </a:cubicBezTo>
                        <a:cubicBezTo>
                          <a:pt x="0" y="5"/>
                          <a:pt x="1" y="7"/>
                          <a:pt x="3" y="10"/>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8"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1894876D-3C15-4B3A-AA43-1495E9E3C969}"/>
                      </a:ext>
                    </a:extLst>
                  </p:cNvPr>
                  <p:cNvSpPr>
                    <a:spLocks noEditPoints="1"/>
                  </p:cNvSpPr>
                  <p:nvPr/>
                </p:nvSpPr>
                <p:spPr bwMode="auto">
                  <a:xfrm>
                    <a:off x="7403306" y="5864225"/>
                    <a:ext cx="103188" cy="73025"/>
                  </a:xfrm>
                  <a:custGeom>
                    <a:avLst/>
                    <a:gdLst>
                      <a:gd name="T0" fmla="*/ 43 w 52"/>
                      <a:gd name="T1" fmla="*/ 16 h 37"/>
                      <a:gd name="T2" fmla="*/ 40 w 52"/>
                      <a:gd name="T3" fmla="*/ 29 h 37"/>
                      <a:gd name="T4" fmla="*/ 45 w 52"/>
                      <a:gd name="T5" fmla="*/ 21 h 37"/>
                      <a:gd name="T6" fmla="*/ 43 w 52"/>
                      <a:gd name="T7" fmla="*/ 16 h 37"/>
                      <a:gd name="T8" fmla="*/ 19 w 52"/>
                      <a:gd name="T9" fmla="*/ 23 h 37"/>
                      <a:gd name="T10" fmla="*/ 14 w 52"/>
                      <a:gd name="T11" fmla="*/ 31 h 37"/>
                      <a:gd name="T12" fmla="*/ 19 w 52"/>
                      <a:gd name="T13" fmla="*/ 23 h 37"/>
                      <a:gd name="T14" fmla="*/ 24 w 52"/>
                      <a:gd name="T15" fmla="*/ 1 h 37"/>
                      <a:gd name="T16" fmla="*/ 40 w 52"/>
                      <a:gd name="T17" fmla="*/ 14 h 37"/>
                      <a:gd name="T18" fmla="*/ 38 w 52"/>
                      <a:gd name="T19" fmla="*/ 3 h 37"/>
                      <a:gd name="T20" fmla="*/ 37 w 52"/>
                      <a:gd name="T21" fmla="*/ 0 h 37"/>
                      <a:gd name="T22" fmla="*/ 24 w 52"/>
                      <a:gd name="T23"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37">
                        <a:moveTo>
                          <a:pt x="43" y="16"/>
                        </a:moveTo>
                        <a:cubicBezTo>
                          <a:pt x="16" y="29"/>
                          <a:pt x="37" y="35"/>
                          <a:pt x="40" y="29"/>
                        </a:cubicBezTo>
                        <a:cubicBezTo>
                          <a:pt x="41" y="25"/>
                          <a:pt x="43" y="24"/>
                          <a:pt x="45" y="21"/>
                        </a:cubicBezTo>
                        <a:cubicBezTo>
                          <a:pt x="44" y="19"/>
                          <a:pt x="45" y="17"/>
                          <a:pt x="43" y="16"/>
                        </a:cubicBezTo>
                        <a:close/>
                        <a:moveTo>
                          <a:pt x="19" y="23"/>
                        </a:moveTo>
                        <a:cubicBezTo>
                          <a:pt x="15" y="25"/>
                          <a:pt x="0" y="31"/>
                          <a:pt x="14" y="31"/>
                        </a:cubicBezTo>
                        <a:cubicBezTo>
                          <a:pt x="22" y="31"/>
                          <a:pt x="25" y="27"/>
                          <a:pt x="19" y="23"/>
                        </a:cubicBezTo>
                        <a:close/>
                        <a:moveTo>
                          <a:pt x="24" y="1"/>
                        </a:moveTo>
                        <a:cubicBezTo>
                          <a:pt x="24" y="3"/>
                          <a:pt x="10" y="37"/>
                          <a:pt x="40" y="14"/>
                        </a:cubicBezTo>
                        <a:cubicBezTo>
                          <a:pt x="52" y="5"/>
                          <a:pt x="39" y="13"/>
                          <a:pt x="38" y="3"/>
                        </a:cubicBezTo>
                        <a:cubicBezTo>
                          <a:pt x="37" y="2"/>
                          <a:pt x="37" y="1"/>
                          <a:pt x="37" y="0"/>
                        </a:cubicBezTo>
                        <a:cubicBezTo>
                          <a:pt x="31" y="2"/>
                          <a:pt x="27" y="2"/>
                          <a:pt x="24" y="1"/>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19"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98D12179-85E3-4143-9CBF-0B990AAF5EDA}"/>
                      </a:ext>
                    </a:extLst>
                  </p:cNvPr>
                  <p:cNvSpPr>
                    <a:spLocks/>
                  </p:cNvSpPr>
                  <p:nvPr/>
                </p:nvSpPr>
                <p:spPr bwMode="auto">
                  <a:xfrm>
                    <a:off x="7720806" y="6100763"/>
                    <a:ext cx="19050" cy="17463"/>
                  </a:xfrm>
                  <a:custGeom>
                    <a:avLst/>
                    <a:gdLst>
                      <a:gd name="T0" fmla="*/ 3 w 9"/>
                      <a:gd name="T1" fmla="*/ 9 h 9"/>
                      <a:gd name="T2" fmla="*/ 2 w 9"/>
                      <a:gd name="T3" fmla="*/ 2 h 9"/>
                      <a:gd name="T4" fmla="*/ 3 w 9"/>
                      <a:gd name="T5" fmla="*/ 9 h 9"/>
                    </a:gdLst>
                    <a:ahLst/>
                    <a:cxnLst>
                      <a:cxn ang="0">
                        <a:pos x="T0" y="T1"/>
                      </a:cxn>
                      <a:cxn ang="0">
                        <a:pos x="T2" y="T3"/>
                      </a:cxn>
                      <a:cxn ang="0">
                        <a:pos x="T4" y="T5"/>
                      </a:cxn>
                    </a:cxnLst>
                    <a:rect l="0" t="0" r="r" b="b"/>
                    <a:pathLst>
                      <a:path w="9" h="9">
                        <a:moveTo>
                          <a:pt x="3" y="9"/>
                        </a:moveTo>
                        <a:cubicBezTo>
                          <a:pt x="9" y="4"/>
                          <a:pt x="4" y="0"/>
                          <a:pt x="2" y="2"/>
                        </a:cubicBezTo>
                        <a:cubicBezTo>
                          <a:pt x="0" y="5"/>
                          <a:pt x="1" y="7"/>
                          <a:pt x="3" y="9"/>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320" name="Guangdong" descr="{&quot;Key&quot;:&quot;guangdong&quot;,&quot;Name&quot;:&quot;Guangdong&quot;,&quot;Value&quot;:1.0,&quot;Formula&quot;:&quot;&quot;,&quot;Text&quot;:&quot;&quot;,&quot;OfficeApplication&quot;:1,&quot;HasValue&quot;:true}">
                    <a:extLst>
                      <a:ext uri="{FF2B5EF4-FFF2-40B4-BE49-F238E27FC236}">
                        <a16:creationId xmlns:a16="http://schemas.microsoft.com/office/drawing/2014/main" id="{05D701B7-1C32-49AD-8A0F-F87CDA3A94B2}"/>
                      </a:ext>
                    </a:extLst>
                  </p:cNvPr>
                  <p:cNvSpPr>
                    <a:spLocks noEditPoints="1"/>
                  </p:cNvSpPr>
                  <p:nvPr/>
                </p:nvSpPr>
                <p:spPr bwMode="auto">
                  <a:xfrm>
                    <a:off x="7354093" y="5899150"/>
                    <a:ext cx="69850" cy="49213"/>
                  </a:xfrm>
                  <a:custGeom>
                    <a:avLst/>
                    <a:gdLst>
                      <a:gd name="T0" fmla="*/ 29 w 35"/>
                      <a:gd name="T1" fmla="*/ 10 h 25"/>
                      <a:gd name="T2" fmla="*/ 27 w 35"/>
                      <a:gd name="T3" fmla="*/ 20 h 25"/>
                      <a:gd name="T4" fmla="*/ 27 w 35"/>
                      <a:gd name="T5" fmla="*/ 16 h 25"/>
                      <a:gd name="T6" fmla="*/ 29 w 35"/>
                      <a:gd name="T7" fmla="*/ 10 h 25"/>
                      <a:gd name="T8" fmla="*/ 9 w 35"/>
                      <a:gd name="T9" fmla="*/ 21 h 25"/>
                      <a:gd name="T10" fmla="*/ 10 w 35"/>
                      <a:gd name="T11" fmla="*/ 21 h 25"/>
                      <a:gd name="T12" fmla="*/ 9 w 35"/>
                      <a:gd name="T13" fmla="*/ 21 h 25"/>
                      <a:gd name="T14" fmla="*/ 16 w 35"/>
                      <a:gd name="T15" fmla="*/ 0 h 25"/>
                      <a:gd name="T16" fmla="*/ 27 w 35"/>
                      <a:gd name="T17" fmla="*/ 9 h 25"/>
                      <a:gd name="T18" fmla="*/ 21 w 35"/>
                      <a:gd name="T19" fmla="*/ 7 h 25"/>
                      <a:gd name="T20" fmla="*/ 19 w 35"/>
                      <a:gd name="T21" fmla="*/ 7 h 25"/>
                      <a:gd name="T22" fmla="*/ 16 w 35"/>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5">
                        <a:moveTo>
                          <a:pt x="29" y="10"/>
                        </a:moveTo>
                        <a:cubicBezTo>
                          <a:pt x="9" y="18"/>
                          <a:pt x="25" y="25"/>
                          <a:pt x="27" y="20"/>
                        </a:cubicBezTo>
                        <a:cubicBezTo>
                          <a:pt x="28" y="18"/>
                          <a:pt x="28" y="24"/>
                          <a:pt x="27" y="16"/>
                        </a:cubicBezTo>
                        <a:cubicBezTo>
                          <a:pt x="26" y="15"/>
                          <a:pt x="30" y="11"/>
                          <a:pt x="29" y="10"/>
                        </a:cubicBezTo>
                        <a:close/>
                        <a:moveTo>
                          <a:pt x="9" y="21"/>
                        </a:moveTo>
                        <a:cubicBezTo>
                          <a:pt x="5" y="23"/>
                          <a:pt x="0" y="21"/>
                          <a:pt x="10" y="21"/>
                        </a:cubicBezTo>
                        <a:cubicBezTo>
                          <a:pt x="15" y="21"/>
                          <a:pt x="13" y="24"/>
                          <a:pt x="9" y="21"/>
                        </a:cubicBezTo>
                        <a:close/>
                        <a:moveTo>
                          <a:pt x="16" y="0"/>
                        </a:moveTo>
                        <a:cubicBezTo>
                          <a:pt x="16" y="1"/>
                          <a:pt x="7" y="24"/>
                          <a:pt x="27" y="9"/>
                        </a:cubicBezTo>
                        <a:cubicBezTo>
                          <a:pt x="35" y="2"/>
                          <a:pt x="21" y="14"/>
                          <a:pt x="21" y="7"/>
                        </a:cubicBezTo>
                        <a:cubicBezTo>
                          <a:pt x="20" y="7"/>
                          <a:pt x="17" y="2"/>
                          <a:pt x="19" y="7"/>
                        </a:cubicBezTo>
                        <a:cubicBezTo>
                          <a:pt x="15" y="9"/>
                          <a:pt x="18" y="0"/>
                          <a:pt x="16" y="0"/>
                        </a:cubicBezTo>
                        <a:close/>
                      </a:path>
                    </a:pathLst>
                  </a:custGeom>
                  <a:grpFill/>
                  <a:ln w="6350"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grpSp>
            <p:sp>
              <p:nvSpPr>
                <p:cNvPr id="2308" name="Taiwan" descr="{&quot;Key&quot;:&quot;taiwan&quot;,&quot;Name&quot;:&quot;Taiwan&quot;,&quot;Value&quot;:1.0,&quot;Formula&quot;:&quot;&quot;,&quot;Text&quot;:&quot;&quot;,&quot;OfficeApplication&quot;:1,&quot;HasValue&quot;:true}">
                  <a:extLst>
                    <a:ext uri="{FF2B5EF4-FFF2-40B4-BE49-F238E27FC236}">
                      <a16:creationId xmlns:a16="http://schemas.microsoft.com/office/drawing/2014/main" id="{7AC42668-7D2C-4F29-BD4C-97071C03E3A4}"/>
                    </a:ext>
                  </a:extLst>
                </p:cNvPr>
                <p:cNvSpPr>
                  <a:spLocks/>
                </p:cNvSpPr>
                <p:nvPr/>
              </p:nvSpPr>
              <p:spPr bwMode="auto">
                <a:xfrm>
                  <a:off x="8284368" y="5349875"/>
                  <a:ext cx="287338" cy="506413"/>
                </a:xfrm>
                <a:custGeom>
                  <a:avLst/>
                  <a:gdLst>
                    <a:gd name="T0" fmla="*/ 130 w 181"/>
                    <a:gd name="T1" fmla="*/ 5 h 319"/>
                    <a:gd name="T2" fmla="*/ 130 w 181"/>
                    <a:gd name="T3" fmla="*/ 14 h 319"/>
                    <a:gd name="T4" fmla="*/ 120 w 181"/>
                    <a:gd name="T5" fmla="*/ 18 h 319"/>
                    <a:gd name="T6" fmla="*/ 99 w 181"/>
                    <a:gd name="T7" fmla="*/ 23 h 319"/>
                    <a:gd name="T8" fmla="*/ 89 w 181"/>
                    <a:gd name="T9" fmla="*/ 33 h 319"/>
                    <a:gd name="T10" fmla="*/ 82 w 181"/>
                    <a:gd name="T11" fmla="*/ 48 h 319"/>
                    <a:gd name="T12" fmla="*/ 74 w 181"/>
                    <a:gd name="T13" fmla="*/ 59 h 319"/>
                    <a:gd name="T14" fmla="*/ 67 w 181"/>
                    <a:gd name="T15" fmla="*/ 64 h 319"/>
                    <a:gd name="T16" fmla="*/ 56 w 181"/>
                    <a:gd name="T17" fmla="*/ 81 h 319"/>
                    <a:gd name="T18" fmla="*/ 48 w 181"/>
                    <a:gd name="T19" fmla="*/ 94 h 319"/>
                    <a:gd name="T20" fmla="*/ 43 w 181"/>
                    <a:gd name="T21" fmla="*/ 96 h 319"/>
                    <a:gd name="T22" fmla="*/ 39 w 181"/>
                    <a:gd name="T23" fmla="*/ 107 h 319"/>
                    <a:gd name="T24" fmla="*/ 34 w 181"/>
                    <a:gd name="T25" fmla="*/ 117 h 319"/>
                    <a:gd name="T26" fmla="*/ 28 w 181"/>
                    <a:gd name="T27" fmla="*/ 125 h 319"/>
                    <a:gd name="T28" fmla="*/ 22 w 181"/>
                    <a:gd name="T29" fmla="*/ 136 h 319"/>
                    <a:gd name="T30" fmla="*/ 15 w 181"/>
                    <a:gd name="T31" fmla="*/ 145 h 319"/>
                    <a:gd name="T32" fmla="*/ 11 w 181"/>
                    <a:gd name="T33" fmla="*/ 155 h 319"/>
                    <a:gd name="T34" fmla="*/ 10 w 181"/>
                    <a:gd name="T35" fmla="*/ 166 h 319"/>
                    <a:gd name="T36" fmla="*/ 11 w 181"/>
                    <a:gd name="T37" fmla="*/ 174 h 319"/>
                    <a:gd name="T38" fmla="*/ 11 w 181"/>
                    <a:gd name="T39" fmla="*/ 186 h 319"/>
                    <a:gd name="T40" fmla="*/ 5 w 181"/>
                    <a:gd name="T41" fmla="*/ 193 h 319"/>
                    <a:gd name="T42" fmla="*/ 0 w 181"/>
                    <a:gd name="T43" fmla="*/ 207 h 319"/>
                    <a:gd name="T44" fmla="*/ 11 w 181"/>
                    <a:gd name="T45" fmla="*/ 217 h 319"/>
                    <a:gd name="T46" fmla="*/ 13 w 181"/>
                    <a:gd name="T47" fmla="*/ 225 h 319"/>
                    <a:gd name="T48" fmla="*/ 18 w 181"/>
                    <a:gd name="T49" fmla="*/ 239 h 319"/>
                    <a:gd name="T50" fmla="*/ 22 w 181"/>
                    <a:gd name="T51" fmla="*/ 254 h 319"/>
                    <a:gd name="T52" fmla="*/ 33 w 181"/>
                    <a:gd name="T53" fmla="*/ 264 h 319"/>
                    <a:gd name="T54" fmla="*/ 39 w 181"/>
                    <a:gd name="T55" fmla="*/ 268 h 319"/>
                    <a:gd name="T56" fmla="*/ 54 w 181"/>
                    <a:gd name="T57" fmla="*/ 278 h 319"/>
                    <a:gd name="T58" fmla="*/ 61 w 181"/>
                    <a:gd name="T59" fmla="*/ 294 h 319"/>
                    <a:gd name="T60" fmla="*/ 62 w 181"/>
                    <a:gd name="T61" fmla="*/ 302 h 319"/>
                    <a:gd name="T62" fmla="*/ 63 w 181"/>
                    <a:gd name="T63" fmla="*/ 315 h 319"/>
                    <a:gd name="T64" fmla="*/ 72 w 181"/>
                    <a:gd name="T65" fmla="*/ 314 h 319"/>
                    <a:gd name="T66" fmla="*/ 74 w 181"/>
                    <a:gd name="T67" fmla="*/ 311 h 319"/>
                    <a:gd name="T68" fmla="*/ 79 w 181"/>
                    <a:gd name="T69" fmla="*/ 299 h 319"/>
                    <a:gd name="T70" fmla="*/ 79 w 181"/>
                    <a:gd name="T71" fmla="*/ 291 h 319"/>
                    <a:gd name="T72" fmla="*/ 79 w 181"/>
                    <a:gd name="T73" fmla="*/ 281 h 319"/>
                    <a:gd name="T74" fmla="*/ 85 w 181"/>
                    <a:gd name="T75" fmla="*/ 261 h 319"/>
                    <a:gd name="T76" fmla="*/ 90 w 181"/>
                    <a:gd name="T77" fmla="*/ 250 h 319"/>
                    <a:gd name="T78" fmla="*/ 98 w 181"/>
                    <a:gd name="T79" fmla="*/ 243 h 319"/>
                    <a:gd name="T80" fmla="*/ 108 w 181"/>
                    <a:gd name="T81" fmla="*/ 233 h 319"/>
                    <a:gd name="T82" fmla="*/ 113 w 181"/>
                    <a:gd name="T83" fmla="*/ 224 h 319"/>
                    <a:gd name="T84" fmla="*/ 120 w 181"/>
                    <a:gd name="T85" fmla="*/ 210 h 319"/>
                    <a:gd name="T86" fmla="*/ 125 w 181"/>
                    <a:gd name="T87" fmla="*/ 198 h 319"/>
                    <a:gd name="T88" fmla="*/ 129 w 181"/>
                    <a:gd name="T89" fmla="*/ 188 h 319"/>
                    <a:gd name="T90" fmla="*/ 135 w 181"/>
                    <a:gd name="T91" fmla="*/ 172 h 319"/>
                    <a:gd name="T92" fmla="*/ 138 w 181"/>
                    <a:gd name="T93" fmla="*/ 156 h 319"/>
                    <a:gd name="T94" fmla="*/ 141 w 181"/>
                    <a:gd name="T95" fmla="*/ 143 h 319"/>
                    <a:gd name="T96" fmla="*/ 145 w 181"/>
                    <a:gd name="T97" fmla="*/ 125 h 319"/>
                    <a:gd name="T98" fmla="*/ 148 w 181"/>
                    <a:gd name="T99" fmla="*/ 112 h 319"/>
                    <a:gd name="T100" fmla="*/ 156 w 181"/>
                    <a:gd name="T101" fmla="*/ 100 h 319"/>
                    <a:gd name="T102" fmla="*/ 161 w 181"/>
                    <a:gd name="T103" fmla="*/ 84 h 319"/>
                    <a:gd name="T104" fmla="*/ 167 w 181"/>
                    <a:gd name="T105" fmla="*/ 74 h 319"/>
                    <a:gd name="T106" fmla="*/ 167 w 181"/>
                    <a:gd name="T107" fmla="*/ 66 h 319"/>
                    <a:gd name="T108" fmla="*/ 165 w 181"/>
                    <a:gd name="T109" fmla="*/ 55 h 319"/>
                    <a:gd name="T110" fmla="*/ 167 w 181"/>
                    <a:gd name="T111" fmla="*/ 39 h 319"/>
                    <a:gd name="T112" fmla="*/ 177 w 181"/>
                    <a:gd name="T113" fmla="*/ 30 h 319"/>
                    <a:gd name="T114" fmla="*/ 174 w 181"/>
                    <a:gd name="T115" fmla="*/ 25 h 319"/>
                    <a:gd name="T116" fmla="*/ 171 w 181"/>
                    <a:gd name="T117" fmla="*/ 18 h 319"/>
                    <a:gd name="T118" fmla="*/ 161 w 181"/>
                    <a:gd name="T119" fmla="*/ 15 h 319"/>
                    <a:gd name="T120" fmla="*/ 155 w 181"/>
                    <a:gd name="T121" fmla="*/ 14 h 319"/>
                    <a:gd name="T122" fmla="*/ 150 w 181"/>
                    <a:gd name="T123" fmla="*/ 10 h 319"/>
                    <a:gd name="T124" fmla="*/ 141 w 181"/>
                    <a:gd name="T12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319">
                      <a:moveTo>
                        <a:pt x="141" y="0"/>
                      </a:moveTo>
                      <a:lnTo>
                        <a:pt x="141" y="2"/>
                      </a:lnTo>
                      <a:lnTo>
                        <a:pt x="140" y="2"/>
                      </a:lnTo>
                      <a:lnTo>
                        <a:pt x="140" y="2"/>
                      </a:lnTo>
                      <a:lnTo>
                        <a:pt x="139" y="2"/>
                      </a:lnTo>
                      <a:lnTo>
                        <a:pt x="138" y="2"/>
                      </a:lnTo>
                      <a:lnTo>
                        <a:pt x="138" y="2"/>
                      </a:lnTo>
                      <a:lnTo>
                        <a:pt x="138" y="2"/>
                      </a:lnTo>
                      <a:lnTo>
                        <a:pt x="138" y="2"/>
                      </a:lnTo>
                      <a:lnTo>
                        <a:pt x="135" y="3"/>
                      </a:lnTo>
                      <a:lnTo>
                        <a:pt x="135" y="2"/>
                      </a:lnTo>
                      <a:lnTo>
                        <a:pt x="135" y="2"/>
                      </a:lnTo>
                      <a:lnTo>
                        <a:pt x="135" y="3"/>
                      </a:lnTo>
                      <a:lnTo>
                        <a:pt x="135" y="3"/>
                      </a:lnTo>
                      <a:lnTo>
                        <a:pt x="134" y="3"/>
                      </a:lnTo>
                      <a:lnTo>
                        <a:pt x="134" y="4"/>
                      </a:lnTo>
                      <a:lnTo>
                        <a:pt x="133" y="4"/>
                      </a:lnTo>
                      <a:lnTo>
                        <a:pt x="131" y="5"/>
                      </a:lnTo>
                      <a:lnTo>
                        <a:pt x="131" y="5"/>
                      </a:lnTo>
                      <a:lnTo>
                        <a:pt x="130" y="5"/>
                      </a:lnTo>
                      <a:lnTo>
                        <a:pt x="130" y="5"/>
                      </a:lnTo>
                      <a:lnTo>
                        <a:pt x="130" y="7"/>
                      </a:lnTo>
                      <a:lnTo>
                        <a:pt x="130" y="7"/>
                      </a:lnTo>
                      <a:lnTo>
                        <a:pt x="129" y="8"/>
                      </a:lnTo>
                      <a:lnTo>
                        <a:pt x="129" y="8"/>
                      </a:lnTo>
                      <a:lnTo>
                        <a:pt x="129" y="9"/>
                      </a:lnTo>
                      <a:lnTo>
                        <a:pt x="129" y="9"/>
                      </a:lnTo>
                      <a:lnTo>
                        <a:pt x="128" y="9"/>
                      </a:lnTo>
                      <a:lnTo>
                        <a:pt x="128" y="9"/>
                      </a:lnTo>
                      <a:lnTo>
                        <a:pt x="128" y="10"/>
                      </a:lnTo>
                      <a:lnTo>
                        <a:pt x="128" y="12"/>
                      </a:lnTo>
                      <a:lnTo>
                        <a:pt x="126" y="12"/>
                      </a:lnTo>
                      <a:lnTo>
                        <a:pt x="126" y="12"/>
                      </a:lnTo>
                      <a:lnTo>
                        <a:pt x="126" y="12"/>
                      </a:lnTo>
                      <a:lnTo>
                        <a:pt x="128" y="13"/>
                      </a:lnTo>
                      <a:lnTo>
                        <a:pt x="128" y="13"/>
                      </a:lnTo>
                      <a:lnTo>
                        <a:pt x="129" y="13"/>
                      </a:lnTo>
                      <a:lnTo>
                        <a:pt x="129" y="14"/>
                      </a:lnTo>
                      <a:lnTo>
                        <a:pt x="130" y="14"/>
                      </a:lnTo>
                      <a:lnTo>
                        <a:pt x="130" y="14"/>
                      </a:lnTo>
                      <a:lnTo>
                        <a:pt x="131" y="15"/>
                      </a:lnTo>
                      <a:lnTo>
                        <a:pt x="131" y="18"/>
                      </a:lnTo>
                      <a:lnTo>
                        <a:pt x="130" y="18"/>
                      </a:lnTo>
                      <a:lnTo>
                        <a:pt x="130" y="18"/>
                      </a:lnTo>
                      <a:lnTo>
                        <a:pt x="130" y="18"/>
                      </a:lnTo>
                      <a:lnTo>
                        <a:pt x="130" y="17"/>
                      </a:lnTo>
                      <a:lnTo>
                        <a:pt x="130" y="17"/>
                      </a:lnTo>
                      <a:lnTo>
                        <a:pt x="130" y="15"/>
                      </a:lnTo>
                      <a:lnTo>
                        <a:pt x="129" y="15"/>
                      </a:lnTo>
                      <a:lnTo>
                        <a:pt x="128" y="14"/>
                      </a:lnTo>
                      <a:lnTo>
                        <a:pt x="126" y="13"/>
                      </a:lnTo>
                      <a:lnTo>
                        <a:pt x="126" y="13"/>
                      </a:lnTo>
                      <a:lnTo>
                        <a:pt x="126" y="14"/>
                      </a:lnTo>
                      <a:lnTo>
                        <a:pt x="125" y="14"/>
                      </a:lnTo>
                      <a:lnTo>
                        <a:pt x="125" y="15"/>
                      </a:lnTo>
                      <a:lnTo>
                        <a:pt x="124" y="15"/>
                      </a:lnTo>
                      <a:lnTo>
                        <a:pt x="123" y="15"/>
                      </a:lnTo>
                      <a:lnTo>
                        <a:pt x="123" y="17"/>
                      </a:lnTo>
                      <a:lnTo>
                        <a:pt x="121" y="17"/>
                      </a:lnTo>
                      <a:lnTo>
                        <a:pt x="120" y="18"/>
                      </a:lnTo>
                      <a:lnTo>
                        <a:pt x="119" y="18"/>
                      </a:lnTo>
                      <a:lnTo>
                        <a:pt x="116" y="18"/>
                      </a:lnTo>
                      <a:lnTo>
                        <a:pt x="115" y="18"/>
                      </a:lnTo>
                      <a:lnTo>
                        <a:pt x="115" y="18"/>
                      </a:lnTo>
                      <a:lnTo>
                        <a:pt x="114" y="18"/>
                      </a:lnTo>
                      <a:lnTo>
                        <a:pt x="113" y="18"/>
                      </a:lnTo>
                      <a:lnTo>
                        <a:pt x="113" y="18"/>
                      </a:lnTo>
                      <a:lnTo>
                        <a:pt x="111" y="18"/>
                      </a:lnTo>
                      <a:lnTo>
                        <a:pt x="111" y="18"/>
                      </a:lnTo>
                      <a:lnTo>
                        <a:pt x="110" y="18"/>
                      </a:lnTo>
                      <a:lnTo>
                        <a:pt x="108" y="19"/>
                      </a:lnTo>
                      <a:lnTo>
                        <a:pt x="108" y="19"/>
                      </a:lnTo>
                      <a:lnTo>
                        <a:pt x="108" y="19"/>
                      </a:lnTo>
                      <a:lnTo>
                        <a:pt x="107" y="20"/>
                      </a:lnTo>
                      <a:lnTo>
                        <a:pt x="105" y="21"/>
                      </a:lnTo>
                      <a:lnTo>
                        <a:pt x="104" y="21"/>
                      </a:lnTo>
                      <a:lnTo>
                        <a:pt x="100" y="23"/>
                      </a:lnTo>
                      <a:lnTo>
                        <a:pt x="100" y="23"/>
                      </a:lnTo>
                      <a:lnTo>
                        <a:pt x="99" y="23"/>
                      </a:lnTo>
                      <a:lnTo>
                        <a:pt x="99" y="23"/>
                      </a:lnTo>
                      <a:lnTo>
                        <a:pt x="98" y="23"/>
                      </a:lnTo>
                      <a:lnTo>
                        <a:pt x="98" y="24"/>
                      </a:lnTo>
                      <a:lnTo>
                        <a:pt x="98" y="24"/>
                      </a:lnTo>
                      <a:lnTo>
                        <a:pt x="97" y="24"/>
                      </a:lnTo>
                      <a:lnTo>
                        <a:pt x="97" y="24"/>
                      </a:lnTo>
                      <a:lnTo>
                        <a:pt x="95" y="25"/>
                      </a:lnTo>
                      <a:lnTo>
                        <a:pt x="95" y="25"/>
                      </a:lnTo>
                      <a:lnTo>
                        <a:pt x="94" y="25"/>
                      </a:lnTo>
                      <a:lnTo>
                        <a:pt x="93" y="26"/>
                      </a:lnTo>
                      <a:lnTo>
                        <a:pt x="92" y="28"/>
                      </a:lnTo>
                      <a:lnTo>
                        <a:pt x="92" y="28"/>
                      </a:lnTo>
                      <a:lnTo>
                        <a:pt x="92" y="29"/>
                      </a:lnTo>
                      <a:lnTo>
                        <a:pt x="90" y="30"/>
                      </a:lnTo>
                      <a:lnTo>
                        <a:pt x="90" y="30"/>
                      </a:lnTo>
                      <a:lnTo>
                        <a:pt x="90" y="30"/>
                      </a:lnTo>
                      <a:lnTo>
                        <a:pt x="90" y="31"/>
                      </a:lnTo>
                      <a:lnTo>
                        <a:pt x="90" y="33"/>
                      </a:lnTo>
                      <a:lnTo>
                        <a:pt x="89" y="33"/>
                      </a:lnTo>
                      <a:lnTo>
                        <a:pt x="89" y="33"/>
                      </a:lnTo>
                      <a:lnTo>
                        <a:pt x="89" y="33"/>
                      </a:lnTo>
                      <a:lnTo>
                        <a:pt x="88" y="34"/>
                      </a:lnTo>
                      <a:lnTo>
                        <a:pt x="88" y="34"/>
                      </a:lnTo>
                      <a:lnTo>
                        <a:pt x="85" y="36"/>
                      </a:lnTo>
                      <a:lnTo>
                        <a:pt x="87" y="38"/>
                      </a:lnTo>
                      <a:lnTo>
                        <a:pt x="87" y="38"/>
                      </a:lnTo>
                      <a:lnTo>
                        <a:pt x="84" y="40"/>
                      </a:lnTo>
                      <a:lnTo>
                        <a:pt x="84" y="41"/>
                      </a:lnTo>
                      <a:lnTo>
                        <a:pt x="84" y="41"/>
                      </a:lnTo>
                      <a:lnTo>
                        <a:pt x="84" y="41"/>
                      </a:lnTo>
                      <a:lnTo>
                        <a:pt x="83" y="43"/>
                      </a:lnTo>
                      <a:lnTo>
                        <a:pt x="83" y="43"/>
                      </a:lnTo>
                      <a:lnTo>
                        <a:pt x="83" y="43"/>
                      </a:lnTo>
                      <a:lnTo>
                        <a:pt x="83" y="43"/>
                      </a:lnTo>
                      <a:lnTo>
                        <a:pt x="80" y="45"/>
                      </a:lnTo>
                      <a:lnTo>
                        <a:pt x="80" y="45"/>
                      </a:lnTo>
                      <a:lnTo>
                        <a:pt x="80" y="46"/>
                      </a:lnTo>
                      <a:lnTo>
                        <a:pt x="80" y="46"/>
                      </a:lnTo>
                      <a:lnTo>
                        <a:pt x="80" y="46"/>
                      </a:lnTo>
                      <a:lnTo>
                        <a:pt x="82" y="46"/>
                      </a:lnTo>
                      <a:lnTo>
                        <a:pt x="82" y="48"/>
                      </a:lnTo>
                      <a:lnTo>
                        <a:pt x="82" y="48"/>
                      </a:lnTo>
                      <a:lnTo>
                        <a:pt x="82" y="49"/>
                      </a:lnTo>
                      <a:lnTo>
                        <a:pt x="80" y="49"/>
                      </a:lnTo>
                      <a:lnTo>
                        <a:pt x="80" y="50"/>
                      </a:lnTo>
                      <a:lnTo>
                        <a:pt x="80" y="51"/>
                      </a:lnTo>
                      <a:lnTo>
                        <a:pt x="80" y="51"/>
                      </a:lnTo>
                      <a:lnTo>
                        <a:pt x="80" y="51"/>
                      </a:lnTo>
                      <a:lnTo>
                        <a:pt x="80" y="53"/>
                      </a:lnTo>
                      <a:lnTo>
                        <a:pt x="80" y="53"/>
                      </a:lnTo>
                      <a:lnTo>
                        <a:pt x="79" y="53"/>
                      </a:lnTo>
                      <a:lnTo>
                        <a:pt x="78" y="54"/>
                      </a:lnTo>
                      <a:lnTo>
                        <a:pt x="78" y="54"/>
                      </a:lnTo>
                      <a:lnTo>
                        <a:pt x="77" y="55"/>
                      </a:lnTo>
                      <a:lnTo>
                        <a:pt x="77" y="55"/>
                      </a:lnTo>
                      <a:lnTo>
                        <a:pt x="77" y="56"/>
                      </a:lnTo>
                      <a:lnTo>
                        <a:pt x="77" y="56"/>
                      </a:lnTo>
                      <a:lnTo>
                        <a:pt x="77" y="56"/>
                      </a:lnTo>
                      <a:lnTo>
                        <a:pt x="75" y="58"/>
                      </a:lnTo>
                      <a:lnTo>
                        <a:pt x="74" y="59"/>
                      </a:lnTo>
                      <a:lnTo>
                        <a:pt x="74" y="59"/>
                      </a:lnTo>
                      <a:lnTo>
                        <a:pt x="74" y="59"/>
                      </a:lnTo>
                      <a:lnTo>
                        <a:pt x="73" y="59"/>
                      </a:lnTo>
                      <a:lnTo>
                        <a:pt x="74" y="60"/>
                      </a:lnTo>
                      <a:lnTo>
                        <a:pt x="74" y="60"/>
                      </a:lnTo>
                      <a:lnTo>
                        <a:pt x="74" y="60"/>
                      </a:lnTo>
                      <a:lnTo>
                        <a:pt x="75" y="60"/>
                      </a:lnTo>
                      <a:lnTo>
                        <a:pt x="75" y="60"/>
                      </a:lnTo>
                      <a:lnTo>
                        <a:pt x="75" y="61"/>
                      </a:lnTo>
                      <a:lnTo>
                        <a:pt x="74" y="60"/>
                      </a:lnTo>
                      <a:lnTo>
                        <a:pt x="74" y="60"/>
                      </a:lnTo>
                      <a:lnTo>
                        <a:pt x="73" y="60"/>
                      </a:lnTo>
                      <a:lnTo>
                        <a:pt x="72" y="60"/>
                      </a:lnTo>
                      <a:lnTo>
                        <a:pt x="70" y="60"/>
                      </a:lnTo>
                      <a:lnTo>
                        <a:pt x="69" y="60"/>
                      </a:lnTo>
                      <a:lnTo>
                        <a:pt x="69" y="61"/>
                      </a:lnTo>
                      <a:lnTo>
                        <a:pt x="68" y="61"/>
                      </a:lnTo>
                      <a:lnTo>
                        <a:pt x="67" y="63"/>
                      </a:lnTo>
                      <a:lnTo>
                        <a:pt x="67" y="64"/>
                      </a:lnTo>
                      <a:lnTo>
                        <a:pt x="67" y="64"/>
                      </a:lnTo>
                      <a:lnTo>
                        <a:pt x="67" y="64"/>
                      </a:lnTo>
                      <a:lnTo>
                        <a:pt x="68" y="65"/>
                      </a:lnTo>
                      <a:lnTo>
                        <a:pt x="68" y="65"/>
                      </a:lnTo>
                      <a:lnTo>
                        <a:pt x="68" y="65"/>
                      </a:lnTo>
                      <a:lnTo>
                        <a:pt x="67" y="65"/>
                      </a:lnTo>
                      <a:lnTo>
                        <a:pt x="67" y="65"/>
                      </a:lnTo>
                      <a:lnTo>
                        <a:pt x="67" y="66"/>
                      </a:lnTo>
                      <a:lnTo>
                        <a:pt x="67" y="66"/>
                      </a:lnTo>
                      <a:lnTo>
                        <a:pt x="65" y="66"/>
                      </a:lnTo>
                      <a:lnTo>
                        <a:pt x="65" y="65"/>
                      </a:lnTo>
                      <a:lnTo>
                        <a:pt x="64" y="65"/>
                      </a:lnTo>
                      <a:lnTo>
                        <a:pt x="64" y="66"/>
                      </a:lnTo>
                      <a:lnTo>
                        <a:pt x="63" y="66"/>
                      </a:lnTo>
                      <a:lnTo>
                        <a:pt x="63" y="67"/>
                      </a:lnTo>
                      <a:lnTo>
                        <a:pt x="61" y="75"/>
                      </a:lnTo>
                      <a:lnTo>
                        <a:pt x="59" y="75"/>
                      </a:lnTo>
                      <a:lnTo>
                        <a:pt x="59" y="76"/>
                      </a:lnTo>
                      <a:lnTo>
                        <a:pt x="58" y="79"/>
                      </a:lnTo>
                      <a:lnTo>
                        <a:pt x="58" y="79"/>
                      </a:lnTo>
                      <a:lnTo>
                        <a:pt x="57" y="80"/>
                      </a:lnTo>
                      <a:lnTo>
                        <a:pt x="56" y="81"/>
                      </a:lnTo>
                      <a:lnTo>
                        <a:pt x="54" y="81"/>
                      </a:lnTo>
                      <a:lnTo>
                        <a:pt x="54" y="81"/>
                      </a:lnTo>
                      <a:lnTo>
                        <a:pt x="52" y="85"/>
                      </a:lnTo>
                      <a:lnTo>
                        <a:pt x="51" y="86"/>
                      </a:lnTo>
                      <a:lnTo>
                        <a:pt x="51" y="87"/>
                      </a:lnTo>
                      <a:lnTo>
                        <a:pt x="51" y="87"/>
                      </a:lnTo>
                      <a:lnTo>
                        <a:pt x="51" y="89"/>
                      </a:lnTo>
                      <a:lnTo>
                        <a:pt x="51" y="89"/>
                      </a:lnTo>
                      <a:lnTo>
                        <a:pt x="49" y="89"/>
                      </a:lnTo>
                      <a:lnTo>
                        <a:pt x="49" y="90"/>
                      </a:lnTo>
                      <a:lnTo>
                        <a:pt x="48" y="91"/>
                      </a:lnTo>
                      <a:lnTo>
                        <a:pt x="48" y="91"/>
                      </a:lnTo>
                      <a:lnTo>
                        <a:pt x="48" y="91"/>
                      </a:lnTo>
                      <a:lnTo>
                        <a:pt x="48" y="92"/>
                      </a:lnTo>
                      <a:lnTo>
                        <a:pt x="48" y="92"/>
                      </a:lnTo>
                      <a:lnTo>
                        <a:pt x="47" y="92"/>
                      </a:lnTo>
                      <a:lnTo>
                        <a:pt x="48" y="92"/>
                      </a:lnTo>
                      <a:lnTo>
                        <a:pt x="48" y="92"/>
                      </a:lnTo>
                      <a:lnTo>
                        <a:pt x="48" y="94"/>
                      </a:lnTo>
                      <a:lnTo>
                        <a:pt x="48" y="94"/>
                      </a:lnTo>
                      <a:lnTo>
                        <a:pt x="47" y="92"/>
                      </a:lnTo>
                      <a:lnTo>
                        <a:pt x="47" y="92"/>
                      </a:lnTo>
                      <a:lnTo>
                        <a:pt x="46" y="92"/>
                      </a:lnTo>
                      <a:lnTo>
                        <a:pt x="46" y="94"/>
                      </a:lnTo>
                      <a:lnTo>
                        <a:pt x="46" y="94"/>
                      </a:lnTo>
                      <a:lnTo>
                        <a:pt x="46" y="94"/>
                      </a:lnTo>
                      <a:lnTo>
                        <a:pt x="44" y="95"/>
                      </a:lnTo>
                      <a:lnTo>
                        <a:pt x="44" y="95"/>
                      </a:lnTo>
                      <a:lnTo>
                        <a:pt x="46" y="96"/>
                      </a:lnTo>
                      <a:lnTo>
                        <a:pt x="46" y="97"/>
                      </a:lnTo>
                      <a:lnTo>
                        <a:pt x="46" y="97"/>
                      </a:lnTo>
                      <a:lnTo>
                        <a:pt x="46" y="97"/>
                      </a:lnTo>
                      <a:lnTo>
                        <a:pt x="44" y="97"/>
                      </a:lnTo>
                      <a:lnTo>
                        <a:pt x="44" y="97"/>
                      </a:lnTo>
                      <a:lnTo>
                        <a:pt x="44" y="97"/>
                      </a:lnTo>
                      <a:lnTo>
                        <a:pt x="44" y="97"/>
                      </a:lnTo>
                      <a:lnTo>
                        <a:pt x="44" y="97"/>
                      </a:lnTo>
                      <a:lnTo>
                        <a:pt x="44" y="96"/>
                      </a:lnTo>
                      <a:lnTo>
                        <a:pt x="44" y="96"/>
                      </a:lnTo>
                      <a:lnTo>
                        <a:pt x="43" y="96"/>
                      </a:lnTo>
                      <a:lnTo>
                        <a:pt x="43" y="97"/>
                      </a:lnTo>
                      <a:lnTo>
                        <a:pt x="43" y="99"/>
                      </a:lnTo>
                      <a:lnTo>
                        <a:pt x="43" y="99"/>
                      </a:lnTo>
                      <a:lnTo>
                        <a:pt x="44" y="99"/>
                      </a:lnTo>
                      <a:lnTo>
                        <a:pt x="44" y="99"/>
                      </a:lnTo>
                      <a:lnTo>
                        <a:pt x="44" y="99"/>
                      </a:lnTo>
                      <a:lnTo>
                        <a:pt x="44" y="100"/>
                      </a:lnTo>
                      <a:lnTo>
                        <a:pt x="44" y="100"/>
                      </a:lnTo>
                      <a:lnTo>
                        <a:pt x="43" y="101"/>
                      </a:lnTo>
                      <a:lnTo>
                        <a:pt x="43" y="102"/>
                      </a:lnTo>
                      <a:lnTo>
                        <a:pt x="42" y="104"/>
                      </a:lnTo>
                      <a:lnTo>
                        <a:pt x="42" y="104"/>
                      </a:lnTo>
                      <a:lnTo>
                        <a:pt x="42" y="104"/>
                      </a:lnTo>
                      <a:lnTo>
                        <a:pt x="42" y="104"/>
                      </a:lnTo>
                      <a:lnTo>
                        <a:pt x="42" y="105"/>
                      </a:lnTo>
                      <a:lnTo>
                        <a:pt x="42" y="105"/>
                      </a:lnTo>
                      <a:lnTo>
                        <a:pt x="41" y="106"/>
                      </a:lnTo>
                      <a:lnTo>
                        <a:pt x="41" y="106"/>
                      </a:lnTo>
                      <a:lnTo>
                        <a:pt x="39" y="107"/>
                      </a:lnTo>
                      <a:lnTo>
                        <a:pt x="39" y="107"/>
                      </a:lnTo>
                      <a:lnTo>
                        <a:pt x="38" y="107"/>
                      </a:lnTo>
                      <a:lnTo>
                        <a:pt x="38" y="107"/>
                      </a:lnTo>
                      <a:lnTo>
                        <a:pt x="38" y="109"/>
                      </a:lnTo>
                      <a:lnTo>
                        <a:pt x="38" y="109"/>
                      </a:lnTo>
                      <a:lnTo>
                        <a:pt x="38" y="110"/>
                      </a:lnTo>
                      <a:lnTo>
                        <a:pt x="38" y="110"/>
                      </a:lnTo>
                      <a:lnTo>
                        <a:pt x="38" y="110"/>
                      </a:lnTo>
                      <a:lnTo>
                        <a:pt x="37" y="111"/>
                      </a:lnTo>
                      <a:lnTo>
                        <a:pt x="37" y="112"/>
                      </a:lnTo>
                      <a:lnTo>
                        <a:pt x="37" y="112"/>
                      </a:lnTo>
                      <a:lnTo>
                        <a:pt x="37" y="112"/>
                      </a:lnTo>
                      <a:lnTo>
                        <a:pt x="37" y="112"/>
                      </a:lnTo>
                      <a:lnTo>
                        <a:pt x="37" y="113"/>
                      </a:lnTo>
                      <a:lnTo>
                        <a:pt x="37" y="113"/>
                      </a:lnTo>
                      <a:lnTo>
                        <a:pt x="37" y="113"/>
                      </a:lnTo>
                      <a:lnTo>
                        <a:pt x="36" y="115"/>
                      </a:lnTo>
                      <a:lnTo>
                        <a:pt x="36" y="115"/>
                      </a:lnTo>
                      <a:lnTo>
                        <a:pt x="34" y="116"/>
                      </a:lnTo>
                      <a:lnTo>
                        <a:pt x="34" y="116"/>
                      </a:lnTo>
                      <a:lnTo>
                        <a:pt x="34" y="117"/>
                      </a:lnTo>
                      <a:lnTo>
                        <a:pt x="33" y="117"/>
                      </a:lnTo>
                      <a:lnTo>
                        <a:pt x="33" y="117"/>
                      </a:lnTo>
                      <a:lnTo>
                        <a:pt x="33" y="117"/>
                      </a:lnTo>
                      <a:lnTo>
                        <a:pt x="32" y="118"/>
                      </a:lnTo>
                      <a:lnTo>
                        <a:pt x="32" y="118"/>
                      </a:lnTo>
                      <a:lnTo>
                        <a:pt x="32" y="118"/>
                      </a:lnTo>
                      <a:lnTo>
                        <a:pt x="31" y="120"/>
                      </a:lnTo>
                      <a:lnTo>
                        <a:pt x="29" y="121"/>
                      </a:lnTo>
                      <a:lnTo>
                        <a:pt x="29" y="121"/>
                      </a:lnTo>
                      <a:lnTo>
                        <a:pt x="29" y="121"/>
                      </a:lnTo>
                      <a:lnTo>
                        <a:pt x="29" y="122"/>
                      </a:lnTo>
                      <a:lnTo>
                        <a:pt x="29" y="122"/>
                      </a:lnTo>
                      <a:lnTo>
                        <a:pt x="29" y="123"/>
                      </a:lnTo>
                      <a:lnTo>
                        <a:pt x="28" y="123"/>
                      </a:lnTo>
                      <a:lnTo>
                        <a:pt x="28" y="123"/>
                      </a:lnTo>
                      <a:lnTo>
                        <a:pt x="27" y="123"/>
                      </a:lnTo>
                      <a:lnTo>
                        <a:pt x="27" y="125"/>
                      </a:lnTo>
                      <a:lnTo>
                        <a:pt x="27" y="125"/>
                      </a:lnTo>
                      <a:lnTo>
                        <a:pt x="28" y="125"/>
                      </a:lnTo>
                      <a:lnTo>
                        <a:pt x="28" y="125"/>
                      </a:lnTo>
                      <a:lnTo>
                        <a:pt x="27" y="127"/>
                      </a:lnTo>
                      <a:lnTo>
                        <a:pt x="27" y="127"/>
                      </a:lnTo>
                      <a:lnTo>
                        <a:pt x="27" y="128"/>
                      </a:lnTo>
                      <a:lnTo>
                        <a:pt x="27" y="128"/>
                      </a:lnTo>
                      <a:lnTo>
                        <a:pt x="26" y="128"/>
                      </a:lnTo>
                      <a:lnTo>
                        <a:pt x="26" y="128"/>
                      </a:lnTo>
                      <a:lnTo>
                        <a:pt x="26" y="131"/>
                      </a:lnTo>
                      <a:lnTo>
                        <a:pt x="24" y="131"/>
                      </a:lnTo>
                      <a:lnTo>
                        <a:pt x="24" y="131"/>
                      </a:lnTo>
                      <a:lnTo>
                        <a:pt x="24" y="132"/>
                      </a:lnTo>
                      <a:lnTo>
                        <a:pt x="24" y="132"/>
                      </a:lnTo>
                      <a:lnTo>
                        <a:pt x="23" y="133"/>
                      </a:lnTo>
                      <a:lnTo>
                        <a:pt x="23" y="133"/>
                      </a:lnTo>
                      <a:lnTo>
                        <a:pt x="23" y="133"/>
                      </a:lnTo>
                      <a:lnTo>
                        <a:pt x="23" y="135"/>
                      </a:lnTo>
                      <a:lnTo>
                        <a:pt x="22" y="135"/>
                      </a:lnTo>
                      <a:lnTo>
                        <a:pt x="22" y="135"/>
                      </a:lnTo>
                      <a:lnTo>
                        <a:pt x="22" y="135"/>
                      </a:lnTo>
                      <a:lnTo>
                        <a:pt x="22" y="135"/>
                      </a:lnTo>
                      <a:lnTo>
                        <a:pt x="22" y="136"/>
                      </a:lnTo>
                      <a:lnTo>
                        <a:pt x="22" y="136"/>
                      </a:lnTo>
                      <a:lnTo>
                        <a:pt x="21" y="136"/>
                      </a:lnTo>
                      <a:lnTo>
                        <a:pt x="21" y="136"/>
                      </a:lnTo>
                      <a:lnTo>
                        <a:pt x="21" y="137"/>
                      </a:lnTo>
                      <a:lnTo>
                        <a:pt x="21" y="137"/>
                      </a:lnTo>
                      <a:lnTo>
                        <a:pt x="20" y="137"/>
                      </a:lnTo>
                      <a:lnTo>
                        <a:pt x="20" y="137"/>
                      </a:lnTo>
                      <a:lnTo>
                        <a:pt x="20" y="137"/>
                      </a:lnTo>
                      <a:lnTo>
                        <a:pt x="18" y="137"/>
                      </a:lnTo>
                      <a:lnTo>
                        <a:pt x="18" y="137"/>
                      </a:lnTo>
                      <a:lnTo>
                        <a:pt x="16" y="141"/>
                      </a:lnTo>
                      <a:lnTo>
                        <a:pt x="16" y="141"/>
                      </a:lnTo>
                      <a:lnTo>
                        <a:pt x="16" y="141"/>
                      </a:lnTo>
                      <a:lnTo>
                        <a:pt x="16" y="141"/>
                      </a:lnTo>
                      <a:lnTo>
                        <a:pt x="15" y="142"/>
                      </a:lnTo>
                      <a:lnTo>
                        <a:pt x="15" y="142"/>
                      </a:lnTo>
                      <a:lnTo>
                        <a:pt x="15" y="143"/>
                      </a:lnTo>
                      <a:lnTo>
                        <a:pt x="15" y="143"/>
                      </a:lnTo>
                      <a:lnTo>
                        <a:pt x="15" y="145"/>
                      </a:lnTo>
                      <a:lnTo>
                        <a:pt x="15" y="145"/>
                      </a:lnTo>
                      <a:lnTo>
                        <a:pt x="15" y="146"/>
                      </a:lnTo>
                      <a:lnTo>
                        <a:pt x="15" y="146"/>
                      </a:lnTo>
                      <a:lnTo>
                        <a:pt x="13" y="146"/>
                      </a:lnTo>
                      <a:lnTo>
                        <a:pt x="13" y="147"/>
                      </a:lnTo>
                      <a:lnTo>
                        <a:pt x="13" y="147"/>
                      </a:lnTo>
                      <a:lnTo>
                        <a:pt x="12" y="147"/>
                      </a:lnTo>
                      <a:lnTo>
                        <a:pt x="12" y="148"/>
                      </a:lnTo>
                      <a:lnTo>
                        <a:pt x="12" y="148"/>
                      </a:lnTo>
                      <a:lnTo>
                        <a:pt x="12" y="148"/>
                      </a:lnTo>
                      <a:lnTo>
                        <a:pt x="12" y="148"/>
                      </a:lnTo>
                      <a:lnTo>
                        <a:pt x="12" y="150"/>
                      </a:lnTo>
                      <a:lnTo>
                        <a:pt x="12" y="150"/>
                      </a:lnTo>
                      <a:lnTo>
                        <a:pt x="12" y="150"/>
                      </a:lnTo>
                      <a:lnTo>
                        <a:pt x="13" y="150"/>
                      </a:lnTo>
                      <a:lnTo>
                        <a:pt x="12" y="151"/>
                      </a:lnTo>
                      <a:lnTo>
                        <a:pt x="12" y="152"/>
                      </a:lnTo>
                      <a:lnTo>
                        <a:pt x="12" y="152"/>
                      </a:lnTo>
                      <a:lnTo>
                        <a:pt x="11" y="153"/>
                      </a:lnTo>
                      <a:lnTo>
                        <a:pt x="11" y="155"/>
                      </a:lnTo>
                      <a:lnTo>
                        <a:pt x="11" y="155"/>
                      </a:lnTo>
                      <a:lnTo>
                        <a:pt x="10" y="157"/>
                      </a:lnTo>
                      <a:lnTo>
                        <a:pt x="10" y="158"/>
                      </a:lnTo>
                      <a:lnTo>
                        <a:pt x="10" y="159"/>
                      </a:lnTo>
                      <a:lnTo>
                        <a:pt x="10" y="159"/>
                      </a:lnTo>
                      <a:lnTo>
                        <a:pt x="11" y="159"/>
                      </a:lnTo>
                      <a:lnTo>
                        <a:pt x="11" y="161"/>
                      </a:lnTo>
                      <a:lnTo>
                        <a:pt x="10" y="161"/>
                      </a:lnTo>
                      <a:lnTo>
                        <a:pt x="10" y="161"/>
                      </a:lnTo>
                      <a:lnTo>
                        <a:pt x="10" y="162"/>
                      </a:lnTo>
                      <a:lnTo>
                        <a:pt x="10" y="162"/>
                      </a:lnTo>
                      <a:lnTo>
                        <a:pt x="10" y="162"/>
                      </a:lnTo>
                      <a:lnTo>
                        <a:pt x="10" y="162"/>
                      </a:lnTo>
                      <a:lnTo>
                        <a:pt x="10" y="163"/>
                      </a:lnTo>
                      <a:lnTo>
                        <a:pt x="10" y="163"/>
                      </a:lnTo>
                      <a:lnTo>
                        <a:pt x="10" y="164"/>
                      </a:lnTo>
                      <a:lnTo>
                        <a:pt x="11" y="164"/>
                      </a:lnTo>
                      <a:lnTo>
                        <a:pt x="11" y="166"/>
                      </a:lnTo>
                      <a:lnTo>
                        <a:pt x="11" y="166"/>
                      </a:lnTo>
                      <a:lnTo>
                        <a:pt x="11" y="166"/>
                      </a:lnTo>
                      <a:lnTo>
                        <a:pt x="10" y="166"/>
                      </a:lnTo>
                      <a:lnTo>
                        <a:pt x="10" y="166"/>
                      </a:lnTo>
                      <a:lnTo>
                        <a:pt x="10" y="166"/>
                      </a:lnTo>
                      <a:lnTo>
                        <a:pt x="10" y="166"/>
                      </a:lnTo>
                      <a:lnTo>
                        <a:pt x="8" y="166"/>
                      </a:lnTo>
                      <a:lnTo>
                        <a:pt x="8" y="167"/>
                      </a:lnTo>
                      <a:lnTo>
                        <a:pt x="8" y="169"/>
                      </a:lnTo>
                      <a:lnTo>
                        <a:pt x="8" y="169"/>
                      </a:lnTo>
                      <a:lnTo>
                        <a:pt x="8" y="169"/>
                      </a:lnTo>
                      <a:lnTo>
                        <a:pt x="11" y="169"/>
                      </a:lnTo>
                      <a:lnTo>
                        <a:pt x="11" y="169"/>
                      </a:lnTo>
                      <a:lnTo>
                        <a:pt x="11" y="171"/>
                      </a:lnTo>
                      <a:lnTo>
                        <a:pt x="11" y="171"/>
                      </a:lnTo>
                      <a:lnTo>
                        <a:pt x="11" y="171"/>
                      </a:lnTo>
                      <a:lnTo>
                        <a:pt x="10" y="172"/>
                      </a:lnTo>
                      <a:lnTo>
                        <a:pt x="10" y="172"/>
                      </a:lnTo>
                      <a:lnTo>
                        <a:pt x="10" y="172"/>
                      </a:lnTo>
                      <a:lnTo>
                        <a:pt x="10" y="173"/>
                      </a:lnTo>
                      <a:lnTo>
                        <a:pt x="11" y="173"/>
                      </a:lnTo>
                      <a:lnTo>
                        <a:pt x="11" y="173"/>
                      </a:lnTo>
                      <a:lnTo>
                        <a:pt x="11" y="174"/>
                      </a:lnTo>
                      <a:lnTo>
                        <a:pt x="11" y="176"/>
                      </a:lnTo>
                      <a:lnTo>
                        <a:pt x="11" y="176"/>
                      </a:lnTo>
                      <a:lnTo>
                        <a:pt x="11" y="176"/>
                      </a:lnTo>
                      <a:lnTo>
                        <a:pt x="11" y="177"/>
                      </a:lnTo>
                      <a:lnTo>
                        <a:pt x="11" y="177"/>
                      </a:lnTo>
                      <a:lnTo>
                        <a:pt x="11" y="177"/>
                      </a:lnTo>
                      <a:lnTo>
                        <a:pt x="11" y="178"/>
                      </a:lnTo>
                      <a:lnTo>
                        <a:pt x="12" y="177"/>
                      </a:lnTo>
                      <a:lnTo>
                        <a:pt x="12" y="178"/>
                      </a:lnTo>
                      <a:lnTo>
                        <a:pt x="12" y="178"/>
                      </a:lnTo>
                      <a:lnTo>
                        <a:pt x="12" y="179"/>
                      </a:lnTo>
                      <a:lnTo>
                        <a:pt x="11" y="181"/>
                      </a:lnTo>
                      <a:lnTo>
                        <a:pt x="10" y="181"/>
                      </a:lnTo>
                      <a:lnTo>
                        <a:pt x="10" y="181"/>
                      </a:lnTo>
                      <a:lnTo>
                        <a:pt x="8" y="183"/>
                      </a:lnTo>
                      <a:lnTo>
                        <a:pt x="8" y="184"/>
                      </a:lnTo>
                      <a:lnTo>
                        <a:pt x="8" y="184"/>
                      </a:lnTo>
                      <a:lnTo>
                        <a:pt x="10" y="184"/>
                      </a:lnTo>
                      <a:lnTo>
                        <a:pt x="11" y="186"/>
                      </a:lnTo>
                      <a:lnTo>
                        <a:pt x="11" y="186"/>
                      </a:lnTo>
                      <a:lnTo>
                        <a:pt x="11" y="186"/>
                      </a:lnTo>
                      <a:lnTo>
                        <a:pt x="8" y="184"/>
                      </a:lnTo>
                      <a:lnTo>
                        <a:pt x="7" y="187"/>
                      </a:lnTo>
                      <a:lnTo>
                        <a:pt x="7" y="187"/>
                      </a:lnTo>
                      <a:lnTo>
                        <a:pt x="7" y="187"/>
                      </a:lnTo>
                      <a:lnTo>
                        <a:pt x="7" y="188"/>
                      </a:lnTo>
                      <a:lnTo>
                        <a:pt x="7" y="188"/>
                      </a:lnTo>
                      <a:lnTo>
                        <a:pt x="7" y="188"/>
                      </a:lnTo>
                      <a:lnTo>
                        <a:pt x="7" y="189"/>
                      </a:lnTo>
                      <a:lnTo>
                        <a:pt x="8" y="189"/>
                      </a:lnTo>
                      <a:lnTo>
                        <a:pt x="8" y="189"/>
                      </a:lnTo>
                      <a:lnTo>
                        <a:pt x="8" y="189"/>
                      </a:lnTo>
                      <a:lnTo>
                        <a:pt x="7" y="191"/>
                      </a:lnTo>
                      <a:lnTo>
                        <a:pt x="6" y="191"/>
                      </a:lnTo>
                      <a:lnTo>
                        <a:pt x="7" y="191"/>
                      </a:lnTo>
                      <a:lnTo>
                        <a:pt x="7" y="192"/>
                      </a:lnTo>
                      <a:lnTo>
                        <a:pt x="6" y="192"/>
                      </a:lnTo>
                      <a:lnTo>
                        <a:pt x="6" y="193"/>
                      </a:lnTo>
                      <a:lnTo>
                        <a:pt x="6" y="193"/>
                      </a:lnTo>
                      <a:lnTo>
                        <a:pt x="5" y="193"/>
                      </a:lnTo>
                      <a:lnTo>
                        <a:pt x="5" y="193"/>
                      </a:lnTo>
                      <a:lnTo>
                        <a:pt x="5" y="194"/>
                      </a:lnTo>
                      <a:lnTo>
                        <a:pt x="5" y="196"/>
                      </a:lnTo>
                      <a:lnTo>
                        <a:pt x="3" y="198"/>
                      </a:lnTo>
                      <a:lnTo>
                        <a:pt x="3" y="199"/>
                      </a:lnTo>
                      <a:lnTo>
                        <a:pt x="2" y="199"/>
                      </a:lnTo>
                      <a:lnTo>
                        <a:pt x="2" y="199"/>
                      </a:lnTo>
                      <a:lnTo>
                        <a:pt x="3" y="199"/>
                      </a:lnTo>
                      <a:lnTo>
                        <a:pt x="3" y="199"/>
                      </a:lnTo>
                      <a:lnTo>
                        <a:pt x="3" y="202"/>
                      </a:lnTo>
                      <a:lnTo>
                        <a:pt x="5" y="202"/>
                      </a:lnTo>
                      <a:lnTo>
                        <a:pt x="5" y="202"/>
                      </a:lnTo>
                      <a:lnTo>
                        <a:pt x="5" y="203"/>
                      </a:lnTo>
                      <a:lnTo>
                        <a:pt x="3" y="203"/>
                      </a:lnTo>
                      <a:lnTo>
                        <a:pt x="3" y="203"/>
                      </a:lnTo>
                      <a:lnTo>
                        <a:pt x="2" y="204"/>
                      </a:lnTo>
                      <a:lnTo>
                        <a:pt x="1" y="204"/>
                      </a:lnTo>
                      <a:lnTo>
                        <a:pt x="0" y="205"/>
                      </a:lnTo>
                      <a:lnTo>
                        <a:pt x="0" y="207"/>
                      </a:lnTo>
                      <a:lnTo>
                        <a:pt x="0" y="207"/>
                      </a:lnTo>
                      <a:lnTo>
                        <a:pt x="1" y="208"/>
                      </a:lnTo>
                      <a:lnTo>
                        <a:pt x="1" y="208"/>
                      </a:lnTo>
                      <a:lnTo>
                        <a:pt x="1" y="208"/>
                      </a:lnTo>
                      <a:lnTo>
                        <a:pt x="1" y="209"/>
                      </a:lnTo>
                      <a:lnTo>
                        <a:pt x="1" y="210"/>
                      </a:lnTo>
                      <a:lnTo>
                        <a:pt x="2" y="210"/>
                      </a:lnTo>
                      <a:lnTo>
                        <a:pt x="2" y="210"/>
                      </a:lnTo>
                      <a:lnTo>
                        <a:pt x="2" y="210"/>
                      </a:lnTo>
                      <a:lnTo>
                        <a:pt x="3" y="210"/>
                      </a:lnTo>
                      <a:lnTo>
                        <a:pt x="3" y="210"/>
                      </a:lnTo>
                      <a:lnTo>
                        <a:pt x="3" y="212"/>
                      </a:lnTo>
                      <a:lnTo>
                        <a:pt x="5" y="212"/>
                      </a:lnTo>
                      <a:lnTo>
                        <a:pt x="5" y="212"/>
                      </a:lnTo>
                      <a:lnTo>
                        <a:pt x="6" y="213"/>
                      </a:lnTo>
                      <a:lnTo>
                        <a:pt x="7" y="213"/>
                      </a:lnTo>
                      <a:lnTo>
                        <a:pt x="8" y="214"/>
                      </a:lnTo>
                      <a:lnTo>
                        <a:pt x="8" y="214"/>
                      </a:lnTo>
                      <a:lnTo>
                        <a:pt x="10" y="215"/>
                      </a:lnTo>
                      <a:lnTo>
                        <a:pt x="10" y="215"/>
                      </a:lnTo>
                      <a:lnTo>
                        <a:pt x="11" y="217"/>
                      </a:lnTo>
                      <a:lnTo>
                        <a:pt x="12" y="218"/>
                      </a:lnTo>
                      <a:lnTo>
                        <a:pt x="12" y="218"/>
                      </a:lnTo>
                      <a:lnTo>
                        <a:pt x="13" y="217"/>
                      </a:lnTo>
                      <a:lnTo>
                        <a:pt x="13" y="217"/>
                      </a:lnTo>
                      <a:lnTo>
                        <a:pt x="13" y="218"/>
                      </a:lnTo>
                      <a:lnTo>
                        <a:pt x="13" y="218"/>
                      </a:lnTo>
                      <a:lnTo>
                        <a:pt x="13" y="218"/>
                      </a:lnTo>
                      <a:lnTo>
                        <a:pt x="13" y="218"/>
                      </a:lnTo>
                      <a:lnTo>
                        <a:pt x="13" y="219"/>
                      </a:lnTo>
                      <a:lnTo>
                        <a:pt x="12" y="219"/>
                      </a:lnTo>
                      <a:lnTo>
                        <a:pt x="12" y="218"/>
                      </a:lnTo>
                      <a:lnTo>
                        <a:pt x="12" y="218"/>
                      </a:lnTo>
                      <a:lnTo>
                        <a:pt x="12" y="219"/>
                      </a:lnTo>
                      <a:lnTo>
                        <a:pt x="12" y="219"/>
                      </a:lnTo>
                      <a:lnTo>
                        <a:pt x="13" y="219"/>
                      </a:lnTo>
                      <a:lnTo>
                        <a:pt x="12" y="223"/>
                      </a:lnTo>
                      <a:lnTo>
                        <a:pt x="12" y="223"/>
                      </a:lnTo>
                      <a:lnTo>
                        <a:pt x="12" y="223"/>
                      </a:lnTo>
                      <a:lnTo>
                        <a:pt x="13" y="224"/>
                      </a:lnTo>
                      <a:lnTo>
                        <a:pt x="13" y="225"/>
                      </a:lnTo>
                      <a:lnTo>
                        <a:pt x="15" y="227"/>
                      </a:lnTo>
                      <a:lnTo>
                        <a:pt x="15" y="228"/>
                      </a:lnTo>
                      <a:lnTo>
                        <a:pt x="15" y="228"/>
                      </a:lnTo>
                      <a:lnTo>
                        <a:pt x="15" y="227"/>
                      </a:lnTo>
                      <a:lnTo>
                        <a:pt x="15" y="227"/>
                      </a:lnTo>
                      <a:lnTo>
                        <a:pt x="16" y="227"/>
                      </a:lnTo>
                      <a:lnTo>
                        <a:pt x="16" y="228"/>
                      </a:lnTo>
                      <a:lnTo>
                        <a:pt x="16" y="229"/>
                      </a:lnTo>
                      <a:lnTo>
                        <a:pt x="16" y="229"/>
                      </a:lnTo>
                      <a:lnTo>
                        <a:pt x="15" y="228"/>
                      </a:lnTo>
                      <a:lnTo>
                        <a:pt x="15" y="228"/>
                      </a:lnTo>
                      <a:lnTo>
                        <a:pt x="15" y="228"/>
                      </a:lnTo>
                      <a:lnTo>
                        <a:pt x="15" y="229"/>
                      </a:lnTo>
                      <a:lnTo>
                        <a:pt x="15" y="229"/>
                      </a:lnTo>
                      <a:lnTo>
                        <a:pt x="15" y="230"/>
                      </a:lnTo>
                      <a:lnTo>
                        <a:pt x="16" y="230"/>
                      </a:lnTo>
                      <a:lnTo>
                        <a:pt x="16" y="232"/>
                      </a:lnTo>
                      <a:lnTo>
                        <a:pt x="18" y="238"/>
                      </a:lnTo>
                      <a:lnTo>
                        <a:pt x="18" y="238"/>
                      </a:lnTo>
                      <a:lnTo>
                        <a:pt x="18" y="239"/>
                      </a:lnTo>
                      <a:lnTo>
                        <a:pt x="20" y="239"/>
                      </a:lnTo>
                      <a:lnTo>
                        <a:pt x="21" y="243"/>
                      </a:lnTo>
                      <a:lnTo>
                        <a:pt x="22" y="244"/>
                      </a:lnTo>
                      <a:lnTo>
                        <a:pt x="21" y="244"/>
                      </a:lnTo>
                      <a:lnTo>
                        <a:pt x="20" y="243"/>
                      </a:lnTo>
                      <a:lnTo>
                        <a:pt x="21" y="245"/>
                      </a:lnTo>
                      <a:lnTo>
                        <a:pt x="20" y="247"/>
                      </a:lnTo>
                      <a:lnTo>
                        <a:pt x="20" y="248"/>
                      </a:lnTo>
                      <a:lnTo>
                        <a:pt x="20" y="248"/>
                      </a:lnTo>
                      <a:lnTo>
                        <a:pt x="20" y="249"/>
                      </a:lnTo>
                      <a:lnTo>
                        <a:pt x="21" y="249"/>
                      </a:lnTo>
                      <a:lnTo>
                        <a:pt x="21" y="249"/>
                      </a:lnTo>
                      <a:lnTo>
                        <a:pt x="21" y="250"/>
                      </a:lnTo>
                      <a:lnTo>
                        <a:pt x="21" y="250"/>
                      </a:lnTo>
                      <a:lnTo>
                        <a:pt x="21" y="251"/>
                      </a:lnTo>
                      <a:lnTo>
                        <a:pt x="21" y="251"/>
                      </a:lnTo>
                      <a:lnTo>
                        <a:pt x="21" y="251"/>
                      </a:lnTo>
                      <a:lnTo>
                        <a:pt x="21" y="251"/>
                      </a:lnTo>
                      <a:lnTo>
                        <a:pt x="22" y="253"/>
                      </a:lnTo>
                      <a:lnTo>
                        <a:pt x="22" y="254"/>
                      </a:lnTo>
                      <a:lnTo>
                        <a:pt x="23" y="254"/>
                      </a:lnTo>
                      <a:lnTo>
                        <a:pt x="23" y="254"/>
                      </a:lnTo>
                      <a:lnTo>
                        <a:pt x="23" y="254"/>
                      </a:lnTo>
                      <a:lnTo>
                        <a:pt x="23" y="255"/>
                      </a:lnTo>
                      <a:lnTo>
                        <a:pt x="24" y="255"/>
                      </a:lnTo>
                      <a:lnTo>
                        <a:pt x="24" y="256"/>
                      </a:lnTo>
                      <a:lnTo>
                        <a:pt x="24" y="256"/>
                      </a:lnTo>
                      <a:lnTo>
                        <a:pt x="24" y="256"/>
                      </a:lnTo>
                      <a:lnTo>
                        <a:pt x="24" y="258"/>
                      </a:lnTo>
                      <a:lnTo>
                        <a:pt x="24" y="258"/>
                      </a:lnTo>
                      <a:lnTo>
                        <a:pt x="24" y="258"/>
                      </a:lnTo>
                      <a:lnTo>
                        <a:pt x="26" y="258"/>
                      </a:lnTo>
                      <a:lnTo>
                        <a:pt x="26" y="258"/>
                      </a:lnTo>
                      <a:lnTo>
                        <a:pt x="27" y="259"/>
                      </a:lnTo>
                      <a:lnTo>
                        <a:pt x="27" y="259"/>
                      </a:lnTo>
                      <a:lnTo>
                        <a:pt x="28" y="259"/>
                      </a:lnTo>
                      <a:lnTo>
                        <a:pt x="28" y="260"/>
                      </a:lnTo>
                      <a:lnTo>
                        <a:pt x="32" y="263"/>
                      </a:lnTo>
                      <a:lnTo>
                        <a:pt x="32" y="263"/>
                      </a:lnTo>
                      <a:lnTo>
                        <a:pt x="33" y="264"/>
                      </a:lnTo>
                      <a:lnTo>
                        <a:pt x="34" y="264"/>
                      </a:lnTo>
                      <a:lnTo>
                        <a:pt x="34" y="264"/>
                      </a:lnTo>
                      <a:lnTo>
                        <a:pt x="34" y="259"/>
                      </a:lnTo>
                      <a:lnTo>
                        <a:pt x="34" y="259"/>
                      </a:lnTo>
                      <a:lnTo>
                        <a:pt x="36" y="259"/>
                      </a:lnTo>
                      <a:lnTo>
                        <a:pt x="36" y="259"/>
                      </a:lnTo>
                      <a:lnTo>
                        <a:pt x="36" y="259"/>
                      </a:lnTo>
                      <a:lnTo>
                        <a:pt x="36" y="259"/>
                      </a:lnTo>
                      <a:lnTo>
                        <a:pt x="36" y="260"/>
                      </a:lnTo>
                      <a:lnTo>
                        <a:pt x="36" y="261"/>
                      </a:lnTo>
                      <a:lnTo>
                        <a:pt x="36" y="261"/>
                      </a:lnTo>
                      <a:lnTo>
                        <a:pt x="36" y="264"/>
                      </a:lnTo>
                      <a:lnTo>
                        <a:pt x="37" y="264"/>
                      </a:lnTo>
                      <a:lnTo>
                        <a:pt x="37" y="264"/>
                      </a:lnTo>
                      <a:lnTo>
                        <a:pt x="37" y="265"/>
                      </a:lnTo>
                      <a:lnTo>
                        <a:pt x="37" y="265"/>
                      </a:lnTo>
                      <a:lnTo>
                        <a:pt x="37" y="266"/>
                      </a:lnTo>
                      <a:lnTo>
                        <a:pt x="39" y="266"/>
                      </a:lnTo>
                      <a:lnTo>
                        <a:pt x="39" y="268"/>
                      </a:lnTo>
                      <a:lnTo>
                        <a:pt x="39" y="268"/>
                      </a:lnTo>
                      <a:lnTo>
                        <a:pt x="39" y="268"/>
                      </a:lnTo>
                      <a:lnTo>
                        <a:pt x="39" y="268"/>
                      </a:lnTo>
                      <a:lnTo>
                        <a:pt x="39" y="268"/>
                      </a:lnTo>
                      <a:lnTo>
                        <a:pt x="41" y="268"/>
                      </a:lnTo>
                      <a:lnTo>
                        <a:pt x="41" y="268"/>
                      </a:lnTo>
                      <a:lnTo>
                        <a:pt x="42" y="269"/>
                      </a:lnTo>
                      <a:lnTo>
                        <a:pt x="42" y="269"/>
                      </a:lnTo>
                      <a:lnTo>
                        <a:pt x="43" y="269"/>
                      </a:lnTo>
                      <a:lnTo>
                        <a:pt x="43" y="269"/>
                      </a:lnTo>
                      <a:lnTo>
                        <a:pt x="43" y="270"/>
                      </a:lnTo>
                      <a:lnTo>
                        <a:pt x="44" y="270"/>
                      </a:lnTo>
                      <a:lnTo>
                        <a:pt x="44" y="270"/>
                      </a:lnTo>
                      <a:lnTo>
                        <a:pt x="47" y="271"/>
                      </a:lnTo>
                      <a:lnTo>
                        <a:pt x="48" y="271"/>
                      </a:lnTo>
                      <a:lnTo>
                        <a:pt x="48" y="273"/>
                      </a:lnTo>
                      <a:lnTo>
                        <a:pt x="52" y="275"/>
                      </a:lnTo>
                      <a:lnTo>
                        <a:pt x="52" y="275"/>
                      </a:lnTo>
                      <a:lnTo>
                        <a:pt x="52" y="276"/>
                      </a:lnTo>
                      <a:lnTo>
                        <a:pt x="52" y="276"/>
                      </a:lnTo>
                      <a:lnTo>
                        <a:pt x="54" y="278"/>
                      </a:lnTo>
                      <a:lnTo>
                        <a:pt x="56" y="280"/>
                      </a:lnTo>
                      <a:lnTo>
                        <a:pt x="56" y="280"/>
                      </a:lnTo>
                      <a:lnTo>
                        <a:pt x="56" y="281"/>
                      </a:lnTo>
                      <a:lnTo>
                        <a:pt x="57" y="283"/>
                      </a:lnTo>
                      <a:lnTo>
                        <a:pt x="57" y="284"/>
                      </a:lnTo>
                      <a:lnTo>
                        <a:pt x="57" y="284"/>
                      </a:lnTo>
                      <a:lnTo>
                        <a:pt x="57" y="284"/>
                      </a:lnTo>
                      <a:lnTo>
                        <a:pt x="57" y="285"/>
                      </a:lnTo>
                      <a:lnTo>
                        <a:pt x="58" y="286"/>
                      </a:lnTo>
                      <a:lnTo>
                        <a:pt x="58" y="286"/>
                      </a:lnTo>
                      <a:lnTo>
                        <a:pt x="58" y="286"/>
                      </a:lnTo>
                      <a:lnTo>
                        <a:pt x="58" y="286"/>
                      </a:lnTo>
                      <a:lnTo>
                        <a:pt x="59" y="288"/>
                      </a:lnTo>
                      <a:lnTo>
                        <a:pt x="59" y="289"/>
                      </a:lnTo>
                      <a:lnTo>
                        <a:pt x="59" y="289"/>
                      </a:lnTo>
                      <a:lnTo>
                        <a:pt x="59" y="290"/>
                      </a:lnTo>
                      <a:lnTo>
                        <a:pt x="59" y="290"/>
                      </a:lnTo>
                      <a:lnTo>
                        <a:pt x="61" y="291"/>
                      </a:lnTo>
                      <a:lnTo>
                        <a:pt x="61" y="293"/>
                      </a:lnTo>
                      <a:lnTo>
                        <a:pt x="61" y="294"/>
                      </a:lnTo>
                      <a:lnTo>
                        <a:pt x="61" y="295"/>
                      </a:lnTo>
                      <a:lnTo>
                        <a:pt x="61" y="295"/>
                      </a:lnTo>
                      <a:lnTo>
                        <a:pt x="61" y="295"/>
                      </a:lnTo>
                      <a:lnTo>
                        <a:pt x="62" y="296"/>
                      </a:lnTo>
                      <a:lnTo>
                        <a:pt x="62" y="296"/>
                      </a:lnTo>
                      <a:lnTo>
                        <a:pt x="62" y="296"/>
                      </a:lnTo>
                      <a:lnTo>
                        <a:pt x="62" y="297"/>
                      </a:lnTo>
                      <a:lnTo>
                        <a:pt x="63" y="297"/>
                      </a:lnTo>
                      <a:lnTo>
                        <a:pt x="63" y="299"/>
                      </a:lnTo>
                      <a:lnTo>
                        <a:pt x="63" y="299"/>
                      </a:lnTo>
                      <a:lnTo>
                        <a:pt x="63" y="300"/>
                      </a:lnTo>
                      <a:lnTo>
                        <a:pt x="63" y="300"/>
                      </a:lnTo>
                      <a:lnTo>
                        <a:pt x="61" y="300"/>
                      </a:lnTo>
                      <a:lnTo>
                        <a:pt x="61" y="301"/>
                      </a:lnTo>
                      <a:lnTo>
                        <a:pt x="62" y="301"/>
                      </a:lnTo>
                      <a:lnTo>
                        <a:pt x="62" y="301"/>
                      </a:lnTo>
                      <a:lnTo>
                        <a:pt x="62" y="301"/>
                      </a:lnTo>
                      <a:lnTo>
                        <a:pt x="62" y="302"/>
                      </a:lnTo>
                      <a:lnTo>
                        <a:pt x="62" y="302"/>
                      </a:lnTo>
                      <a:lnTo>
                        <a:pt x="62" y="302"/>
                      </a:lnTo>
                      <a:lnTo>
                        <a:pt x="62" y="302"/>
                      </a:lnTo>
                      <a:lnTo>
                        <a:pt x="61" y="304"/>
                      </a:lnTo>
                      <a:lnTo>
                        <a:pt x="61" y="304"/>
                      </a:lnTo>
                      <a:lnTo>
                        <a:pt x="61" y="304"/>
                      </a:lnTo>
                      <a:lnTo>
                        <a:pt x="59" y="305"/>
                      </a:lnTo>
                      <a:lnTo>
                        <a:pt x="59" y="306"/>
                      </a:lnTo>
                      <a:lnTo>
                        <a:pt x="61" y="306"/>
                      </a:lnTo>
                      <a:lnTo>
                        <a:pt x="61" y="307"/>
                      </a:lnTo>
                      <a:lnTo>
                        <a:pt x="61" y="307"/>
                      </a:lnTo>
                      <a:lnTo>
                        <a:pt x="61" y="307"/>
                      </a:lnTo>
                      <a:lnTo>
                        <a:pt x="62" y="309"/>
                      </a:lnTo>
                      <a:lnTo>
                        <a:pt x="62" y="309"/>
                      </a:lnTo>
                      <a:lnTo>
                        <a:pt x="62" y="310"/>
                      </a:lnTo>
                      <a:lnTo>
                        <a:pt x="63" y="310"/>
                      </a:lnTo>
                      <a:lnTo>
                        <a:pt x="63" y="311"/>
                      </a:lnTo>
                      <a:lnTo>
                        <a:pt x="62" y="311"/>
                      </a:lnTo>
                      <a:lnTo>
                        <a:pt x="62" y="314"/>
                      </a:lnTo>
                      <a:lnTo>
                        <a:pt x="62" y="314"/>
                      </a:lnTo>
                      <a:lnTo>
                        <a:pt x="62" y="315"/>
                      </a:lnTo>
                      <a:lnTo>
                        <a:pt x="63" y="315"/>
                      </a:lnTo>
                      <a:lnTo>
                        <a:pt x="63" y="315"/>
                      </a:lnTo>
                      <a:lnTo>
                        <a:pt x="63" y="316"/>
                      </a:lnTo>
                      <a:lnTo>
                        <a:pt x="64" y="316"/>
                      </a:lnTo>
                      <a:lnTo>
                        <a:pt x="65" y="315"/>
                      </a:lnTo>
                      <a:lnTo>
                        <a:pt x="65" y="315"/>
                      </a:lnTo>
                      <a:lnTo>
                        <a:pt x="65" y="315"/>
                      </a:lnTo>
                      <a:lnTo>
                        <a:pt x="65" y="314"/>
                      </a:lnTo>
                      <a:lnTo>
                        <a:pt x="65" y="314"/>
                      </a:lnTo>
                      <a:lnTo>
                        <a:pt x="65" y="312"/>
                      </a:lnTo>
                      <a:lnTo>
                        <a:pt x="67" y="312"/>
                      </a:lnTo>
                      <a:lnTo>
                        <a:pt x="67" y="312"/>
                      </a:lnTo>
                      <a:lnTo>
                        <a:pt x="68" y="312"/>
                      </a:lnTo>
                      <a:lnTo>
                        <a:pt x="68" y="312"/>
                      </a:lnTo>
                      <a:lnTo>
                        <a:pt x="69" y="314"/>
                      </a:lnTo>
                      <a:lnTo>
                        <a:pt x="69" y="314"/>
                      </a:lnTo>
                      <a:lnTo>
                        <a:pt x="69" y="314"/>
                      </a:lnTo>
                      <a:lnTo>
                        <a:pt x="70" y="314"/>
                      </a:lnTo>
                      <a:lnTo>
                        <a:pt x="70" y="314"/>
                      </a:lnTo>
                      <a:lnTo>
                        <a:pt x="70" y="314"/>
                      </a:lnTo>
                      <a:lnTo>
                        <a:pt x="72" y="314"/>
                      </a:lnTo>
                      <a:lnTo>
                        <a:pt x="72" y="315"/>
                      </a:lnTo>
                      <a:lnTo>
                        <a:pt x="73" y="315"/>
                      </a:lnTo>
                      <a:lnTo>
                        <a:pt x="74" y="316"/>
                      </a:lnTo>
                      <a:lnTo>
                        <a:pt x="74" y="316"/>
                      </a:lnTo>
                      <a:lnTo>
                        <a:pt x="74" y="316"/>
                      </a:lnTo>
                      <a:lnTo>
                        <a:pt x="74" y="316"/>
                      </a:lnTo>
                      <a:lnTo>
                        <a:pt x="74" y="317"/>
                      </a:lnTo>
                      <a:lnTo>
                        <a:pt x="74" y="317"/>
                      </a:lnTo>
                      <a:lnTo>
                        <a:pt x="75" y="319"/>
                      </a:lnTo>
                      <a:lnTo>
                        <a:pt x="77" y="319"/>
                      </a:lnTo>
                      <a:lnTo>
                        <a:pt x="77" y="317"/>
                      </a:lnTo>
                      <a:lnTo>
                        <a:pt x="77" y="317"/>
                      </a:lnTo>
                      <a:lnTo>
                        <a:pt x="77" y="317"/>
                      </a:lnTo>
                      <a:lnTo>
                        <a:pt x="75" y="316"/>
                      </a:lnTo>
                      <a:lnTo>
                        <a:pt x="75" y="316"/>
                      </a:lnTo>
                      <a:lnTo>
                        <a:pt x="75" y="316"/>
                      </a:lnTo>
                      <a:lnTo>
                        <a:pt x="74" y="314"/>
                      </a:lnTo>
                      <a:lnTo>
                        <a:pt x="74" y="311"/>
                      </a:lnTo>
                      <a:lnTo>
                        <a:pt x="74" y="311"/>
                      </a:lnTo>
                      <a:lnTo>
                        <a:pt x="74" y="311"/>
                      </a:lnTo>
                      <a:lnTo>
                        <a:pt x="74" y="310"/>
                      </a:lnTo>
                      <a:lnTo>
                        <a:pt x="74" y="310"/>
                      </a:lnTo>
                      <a:lnTo>
                        <a:pt x="75" y="309"/>
                      </a:lnTo>
                      <a:lnTo>
                        <a:pt x="75" y="309"/>
                      </a:lnTo>
                      <a:lnTo>
                        <a:pt x="77" y="309"/>
                      </a:lnTo>
                      <a:lnTo>
                        <a:pt x="77" y="309"/>
                      </a:lnTo>
                      <a:lnTo>
                        <a:pt x="77" y="309"/>
                      </a:lnTo>
                      <a:lnTo>
                        <a:pt x="78" y="309"/>
                      </a:lnTo>
                      <a:lnTo>
                        <a:pt x="78" y="307"/>
                      </a:lnTo>
                      <a:lnTo>
                        <a:pt x="78" y="307"/>
                      </a:lnTo>
                      <a:lnTo>
                        <a:pt x="78" y="307"/>
                      </a:lnTo>
                      <a:lnTo>
                        <a:pt x="78" y="307"/>
                      </a:lnTo>
                      <a:lnTo>
                        <a:pt x="78" y="306"/>
                      </a:lnTo>
                      <a:lnTo>
                        <a:pt x="79" y="305"/>
                      </a:lnTo>
                      <a:lnTo>
                        <a:pt x="79" y="305"/>
                      </a:lnTo>
                      <a:lnTo>
                        <a:pt x="79" y="304"/>
                      </a:lnTo>
                      <a:lnTo>
                        <a:pt x="79" y="301"/>
                      </a:lnTo>
                      <a:lnTo>
                        <a:pt x="79" y="301"/>
                      </a:lnTo>
                      <a:lnTo>
                        <a:pt x="79" y="300"/>
                      </a:lnTo>
                      <a:lnTo>
                        <a:pt x="79" y="299"/>
                      </a:lnTo>
                      <a:lnTo>
                        <a:pt x="80" y="299"/>
                      </a:lnTo>
                      <a:lnTo>
                        <a:pt x="80" y="299"/>
                      </a:lnTo>
                      <a:lnTo>
                        <a:pt x="79" y="299"/>
                      </a:lnTo>
                      <a:lnTo>
                        <a:pt x="79" y="297"/>
                      </a:lnTo>
                      <a:lnTo>
                        <a:pt x="79" y="297"/>
                      </a:lnTo>
                      <a:lnTo>
                        <a:pt x="78" y="296"/>
                      </a:lnTo>
                      <a:lnTo>
                        <a:pt x="79" y="295"/>
                      </a:lnTo>
                      <a:lnTo>
                        <a:pt x="79" y="295"/>
                      </a:lnTo>
                      <a:lnTo>
                        <a:pt x="79" y="295"/>
                      </a:lnTo>
                      <a:lnTo>
                        <a:pt x="79" y="295"/>
                      </a:lnTo>
                      <a:lnTo>
                        <a:pt x="79" y="295"/>
                      </a:lnTo>
                      <a:lnTo>
                        <a:pt x="79" y="295"/>
                      </a:lnTo>
                      <a:lnTo>
                        <a:pt x="79" y="294"/>
                      </a:lnTo>
                      <a:lnTo>
                        <a:pt x="79" y="294"/>
                      </a:lnTo>
                      <a:lnTo>
                        <a:pt x="79" y="293"/>
                      </a:lnTo>
                      <a:lnTo>
                        <a:pt x="79" y="293"/>
                      </a:lnTo>
                      <a:lnTo>
                        <a:pt x="79" y="293"/>
                      </a:lnTo>
                      <a:lnTo>
                        <a:pt x="79" y="293"/>
                      </a:lnTo>
                      <a:lnTo>
                        <a:pt x="79" y="293"/>
                      </a:lnTo>
                      <a:lnTo>
                        <a:pt x="79" y="291"/>
                      </a:lnTo>
                      <a:lnTo>
                        <a:pt x="79" y="291"/>
                      </a:lnTo>
                      <a:lnTo>
                        <a:pt x="79" y="291"/>
                      </a:lnTo>
                      <a:lnTo>
                        <a:pt x="79" y="291"/>
                      </a:lnTo>
                      <a:lnTo>
                        <a:pt x="79" y="291"/>
                      </a:lnTo>
                      <a:lnTo>
                        <a:pt x="79" y="290"/>
                      </a:lnTo>
                      <a:lnTo>
                        <a:pt x="79" y="290"/>
                      </a:lnTo>
                      <a:lnTo>
                        <a:pt x="79" y="290"/>
                      </a:lnTo>
                      <a:lnTo>
                        <a:pt x="79" y="290"/>
                      </a:lnTo>
                      <a:lnTo>
                        <a:pt x="79" y="289"/>
                      </a:lnTo>
                      <a:lnTo>
                        <a:pt x="79" y="289"/>
                      </a:lnTo>
                      <a:lnTo>
                        <a:pt x="79" y="289"/>
                      </a:lnTo>
                      <a:lnTo>
                        <a:pt x="79" y="289"/>
                      </a:lnTo>
                      <a:lnTo>
                        <a:pt x="79" y="289"/>
                      </a:lnTo>
                      <a:lnTo>
                        <a:pt x="79" y="288"/>
                      </a:lnTo>
                      <a:lnTo>
                        <a:pt x="79" y="288"/>
                      </a:lnTo>
                      <a:lnTo>
                        <a:pt x="79" y="286"/>
                      </a:lnTo>
                      <a:lnTo>
                        <a:pt x="79" y="286"/>
                      </a:lnTo>
                      <a:lnTo>
                        <a:pt x="79" y="286"/>
                      </a:lnTo>
                      <a:lnTo>
                        <a:pt x="79" y="281"/>
                      </a:lnTo>
                      <a:lnTo>
                        <a:pt x="79" y="281"/>
                      </a:lnTo>
                      <a:lnTo>
                        <a:pt x="79" y="279"/>
                      </a:lnTo>
                      <a:lnTo>
                        <a:pt x="79" y="279"/>
                      </a:lnTo>
                      <a:lnTo>
                        <a:pt x="79" y="278"/>
                      </a:lnTo>
                      <a:lnTo>
                        <a:pt x="79" y="275"/>
                      </a:lnTo>
                      <a:lnTo>
                        <a:pt x="80" y="275"/>
                      </a:lnTo>
                      <a:lnTo>
                        <a:pt x="80" y="273"/>
                      </a:lnTo>
                      <a:lnTo>
                        <a:pt x="80" y="273"/>
                      </a:lnTo>
                      <a:lnTo>
                        <a:pt x="82" y="270"/>
                      </a:lnTo>
                      <a:lnTo>
                        <a:pt x="83" y="270"/>
                      </a:lnTo>
                      <a:lnTo>
                        <a:pt x="83" y="269"/>
                      </a:lnTo>
                      <a:lnTo>
                        <a:pt x="83" y="269"/>
                      </a:lnTo>
                      <a:lnTo>
                        <a:pt x="83" y="268"/>
                      </a:lnTo>
                      <a:lnTo>
                        <a:pt x="83" y="268"/>
                      </a:lnTo>
                      <a:lnTo>
                        <a:pt x="84" y="266"/>
                      </a:lnTo>
                      <a:lnTo>
                        <a:pt x="84" y="266"/>
                      </a:lnTo>
                      <a:lnTo>
                        <a:pt x="84" y="265"/>
                      </a:lnTo>
                      <a:lnTo>
                        <a:pt x="84" y="265"/>
                      </a:lnTo>
                      <a:lnTo>
                        <a:pt x="84" y="264"/>
                      </a:lnTo>
                      <a:lnTo>
                        <a:pt x="85" y="263"/>
                      </a:lnTo>
                      <a:lnTo>
                        <a:pt x="85" y="261"/>
                      </a:lnTo>
                      <a:lnTo>
                        <a:pt x="85" y="261"/>
                      </a:lnTo>
                      <a:lnTo>
                        <a:pt x="85" y="261"/>
                      </a:lnTo>
                      <a:lnTo>
                        <a:pt x="87" y="259"/>
                      </a:lnTo>
                      <a:lnTo>
                        <a:pt x="87" y="259"/>
                      </a:lnTo>
                      <a:lnTo>
                        <a:pt x="87" y="258"/>
                      </a:lnTo>
                      <a:lnTo>
                        <a:pt x="87" y="258"/>
                      </a:lnTo>
                      <a:lnTo>
                        <a:pt x="87" y="258"/>
                      </a:lnTo>
                      <a:lnTo>
                        <a:pt x="87" y="256"/>
                      </a:lnTo>
                      <a:lnTo>
                        <a:pt x="87" y="256"/>
                      </a:lnTo>
                      <a:lnTo>
                        <a:pt x="87" y="256"/>
                      </a:lnTo>
                      <a:lnTo>
                        <a:pt x="88" y="255"/>
                      </a:lnTo>
                      <a:lnTo>
                        <a:pt x="88" y="255"/>
                      </a:lnTo>
                      <a:lnTo>
                        <a:pt x="88" y="255"/>
                      </a:lnTo>
                      <a:lnTo>
                        <a:pt x="89" y="254"/>
                      </a:lnTo>
                      <a:lnTo>
                        <a:pt x="90" y="253"/>
                      </a:lnTo>
                      <a:lnTo>
                        <a:pt x="90" y="253"/>
                      </a:lnTo>
                      <a:lnTo>
                        <a:pt x="90" y="253"/>
                      </a:lnTo>
                      <a:lnTo>
                        <a:pt x="90" y="250"/>
                      </a:lnTo>
                      <a:lnTo>
                        <a:pt x="90" y="250"/>
                      </a:lnTo>
                      <a:lnTo>
                        <a:pt x="90" y="250"/>
                      </a:lnTo>
                      <a:lnTo>
                        <a:pt x="90" y="250"/>
                      </a:lnTo>
                      <a:lnTo>
                        <a:pt x="90" y="249"/>
                      </a:lnTo>
                      <a:lnTo>
                        <a:pt x="90" y="249"/>
                      </a:lnTo>
                      <a:lnTo>
                        <a:pt x="90" y="249"/>
                      </a:lnTo>
                      <a:lnTo>
                        <a:pt x="92" y="248"/>
                      </a:lnTo>
                      <a:lnTo>
                        <a:pt x="92" y="248"/>
                      </a:lnTo>
                      <a:lnTo>
                        <a:pt x="92" y="247"/>
                      </a:lnTo>
                      <a:lnTo>
                        <a:pt x="92" y="247"/>
                      </a:lnTo>
                      <a:lnTo>
                        <a:pt x="93" y="245"/>
                      </a:lnTo>
                      <a:lnTo>
                        <a:pt x="94" y="245"/>
                      </a:lnTo>
                      <a:lnTo>
                        <a:pt x="94" y="245"/>
                      </a:lnTo>
                      <a:lnTo>
                        <a:pt x="94" y="245"/>
                      </a:lnTo>
                      <a:lnTo>
                        <a:pt x="95" y="244"/>
                      </a:lnTo>
                      <a:lnTo>
                        <a:pt x="95" y="244"/>
                      </a:lnTo>
                      <a:lnTo>
                        <a:pt x="97" y="244"/>
                      </a:lnTo>
                      <a:lnTo>
                        <a:pt x="97" y="244"/>
                      </a:lnTo>
                      <a:lnTo>
                        <a:pt x="97" y="243"/>
                      </a:lnTo>
                      <a:lnTo>
                        <a:pt x="98" y="243"/>
                      </a:lnTo>
                      <a:lnTo>
                        <a:pt x="98" y="243"/>
                      </a:lnTo>
                      <a:lnTo>
                        <a:pt x="98" y="243"/>
                      </a:lnTo>
                      <a:lnTo>
                        <a:pt x="99" y="243"/>
                      </a:lnTo>
                      <a:lnTo>
                        <a:pt x="99" y="243"/>
                      </a:lnTo>
                      <a:lnTo>
                        <a:pt x="99" y="243"/>
                      </a:lnTo>
                      <a:lnTo>
                        <a:pt x="100" y="242"/>
                      </a:lnTo>
                      <a:lnTo>
                        <a:pt x="102" y="240"/>
                      </a:lnTo>
                      <a:lnTo>
                        <a:pt x="102" y="240"/>
                      </a:lnTo>
                      <a:lnTo>
                        <a:pt x="103" y="240"/>
                      </a:lnTo>
                      <a:lnTo>
                        <a:pt x="103" y="240"/>
                      </a:lnTo>
                      <a:lnTo>
                        <a:pt x="103" y="239"/>
                      </a:lnTo>
                      <a:lnTo>
                        <a:pt x="104" y="239"/>
                      </a:lnTo>
                      <a:lnTo>
                        <a:pt x="104" y="239"/>
                      </a:lnTo>
                      <a:lnTo>
                        <a:pt x="105" y="238"/>
                      </a:lnTo>
                      <a:lnTo>
                        <a:pt x="105" y="238"/>
                      </a:lnTo>
                      <a:lnTo>
                        <a:pt x="105" y="235"/>
                      </a:lnTo>
                      <a:lnTo>
                        <a:pt x="107" y="235"/>
                      </a:lnTo>
                      <a:lnTo>
                        <a:pt x="107" y="235"/>
                      </a:lnTo>
                      <a:lnTo>
                        <a:pt x="108" y="234"/>
                      </a:lnTo>
                      <a:lnTo>
                        <a:pt x="108" y="234"/>
                      </a:lnTo>
                      <a:lnTo>
                        <a:pt x="107" y="233"/>
                      </a:lnTo>
                      <a:lnTo>
                        <a:pt x="108" y="233"/>
                      </a:lnTo>
                      <a:lnTo>
                        <a:pt x="107" y="233"/>
                      </a:lnTo>
                      <a:lnTo>
                        <a:pt x="107" y="232"/>
                      </a:lnTo>
                      <a:lnTo>
                        <a:pt x="107" y="232"/>
                      </a:lnTo>
                      <a:lnTo>
                        <a:pt x="107" y="232"/>
                      </a:lnTo>
                      <a:lnTo>
                        <a:pt x="108" y="232"/>
                      </a:lnTo>
                      <a:lnTo>
                        <a:pt x="107" y="232"/>
                      </a:lnTo>
                      <a:lnTo>
                        <a:pt x="107" y="230"/>
                      </a:lnTo>
                      <a:lnTo>
                        <a:pt x="107" y="230"/>
                      </a:lnTo>
                      <a:lnTo>
                        <a:pt x="107" y="229"/>
                      </a:lnTo>
                      <a:lnTo>
                        <a:pt x="107" y="229"/>
                      </a:lnTo>
                      <a:lnTo>
                        <a:pt x="109" y="228"/>
                      </a:lnTo>
                      <a:lnTo>
                        <a:pt x="109" y="228"/>
                      </a:lnTo>
                      <a:lnTo>
                        <a:pt x="110" y="228"/>
                      </a:lnTo>
                      <a:lnTo>
                        <a:pt x="110" y="228"/>
                      </a:lnTo>
                      <a:lnTo>
                        <a:pt x="111" y="227"/>
                      </a:lnTo>
                      <a:lnTo>
                        <a:pt x="111" y="227"/>
                      </a:lnTo>
                      <a:lnTo>
                        <a:pt x="111" y="227"/>
                      </a:lnTo>
                      <a:lnTo>
                        <a:pt x="113" y="225"/>
                      </a:lnTo>
                      <a:lnTo>
                        <a:pt x="113" y="225"/>
                      </a:lnTo>
                      <a:lnTo>
                        <a:pt x="113" y="224"/>
                      </a:lnTo>
                      <a:lnTo>
                        <a:pt x="114" y="223"/>
                      </a:lnTo>
                      <a:lnTo>
                        <a:pt x="115" y="220"/>
                      </a:lnTo>
                      <a:lnTo>
                        <a:pt x="115" y="220"/>
                      </a:lnTo>
                      <a:lnTo>
                        <a:pt x="115" y="220"/>
                      </a:lnTo>
                      <a:lnTo>
                        <a:pt x="115" y="219"/>
                      </a:lnTo>
                      <a:lnTo>
                        <a:pt x="116" y="219"/>
                      </a:lnTo>
                      <a:lnTo>
                        <a:pt x="116" y="219"/>
                      </a:lnTo>
                      <a:lnTo>
                        <a:pt x="116" y="219"/>
                      </a:lnTo>
                      <a:lnTo>
                        <a:pt x="118" y="218"/>
                      </a:lnTo>
                      <a:lnTo>
                        <a:pt x="118" y="218"/>
                      </a:lnTo>
                      <a:lnTo>
                        <a:pt x="118" y="217"/>
                      </a:lnTo>
                      <a:lnTo>
                        <a:pt x="118" y="217"/>
                      </a:lnTo>
                      <a:lnTo>
                        <a:pt x="118" y="215"/>
                      </a:lnTo>
                      <a:lnTo>
                        <a:pt x="119" y="214"/>
                      </a:lnTo>
                      <a:lnTo>
                        <a:pt x="119" y="214"/>
                      </a:lnTo>
                      <a:lnTo>
                        <a:pt x="119" y="214"/>
                      </a:lnTo>
                      <a:lnTo>
                        <a:pt x="120" y="213"/>
                      </a:lnTo>
                      <a:lnTo>
                        <a:pt x="120" y="213"/>
                      </a:lnTo>
                      <a:lnTo>
                        <a:pt x="120" y="213"/>
                      </a:lnTo>
                      <a:lnTo>
                        <a:pt x="120" y="210"/>
                      </a:lnTo>
                      <a:lnTo>
                        <a:pt x="120" y="210"/>
                      </a:lnTo>
                      <a:lnTo>
                        <a:pt x="121" y="209"/>
                      </a:lnTo>
                      <a:lnTo>
                        <a:pt x="121" y="208"/>
                      </a:lnTo>
                      <a:lnTo>
                        <a:pt x="121" y="208"/>
                      </a:lnTo>
                      <a:lnTo>
                        <a:pt x="121" y="207"/>
                      </a:lnTo>
                      <a:lnTo>
                        <a:pt x="121" y="207"/>
                      </a:lnTo>
                      <a:lnTo>
                        <a:pt x="123" y="207"/>
                      </a:lnTo>
                      <a:lnTo>
                        <a:pt x="123" y="207"/>
                      </a:lnTo>
                      <a:lnTo>
                        <a:pt x="124" y="207"/>
                      </a:lnTo>
                      <a:lnTo>
                        <a:pt x="124" y="205"/>
                      </a:lnTo>
                      <a:lnTo>
                        <a:pt x="125" y="204"/>
                      </a:lnTo>
                      <a:lnTo>
                        <a:pt x="125" y="204"/>
                      </a:lnTo>
                      <a:lnTo>
                        <a:pt x="126" y="204"/>
                      </a:lnTo>
                      <a:lnTo>
                        <a:pt x="126" y="204"/>
                      </a:lnTo>
                      <a:lnTo>
                        <a:pt x="125" y="203"/>
                      </a:lnTo>
                      <a:lnTo>
                        <a:pt x="125" y="202"/>
                      </a:lnTo>
                      <a:lnTo>
                        <a:pt x="126" y="201"/>
                      </a:lnTo>
                      <a:lnTo>
                        <a:pt x="126" y="199"/>
                      </a:lnTo>
                      <a:lnTo>
                        <a:pt x="126" y="199"/>
                      </a:lnTo>
                      <a:lnTo>
                        <a:pt x="125" y="198"/>
                      </a:lnTo>
                      <a:lnTo>
                        <a:pt x="125" y="196"/>
                      </a:lnTo>
                      <a:lnTo>
                        <a:pt x="126" y="196"/>
                      </a:lnTo>
                      <a:lnTo>
                        <a:pt x="126" y="196"/>
                      </a:lnTo>
                      <a:lnTo>
                        <a:pt x="126" y="194"/>
                      </a:lnTo>
                      <a:lnTo>
                        <a:pt x="126" y="194"/>
                      </a:lnTo>
                      <a:lnTo>
                        <a:pt x="126" y="196"/>
                      </a:lnTo>
                      <a:lnTo>
                        <a:pt x="126" y="196"/>
                      </a:lnTo>
                      <a:lnTo>
                        <a:pt x="128" y="194"/>
                      </a:lnTo>
                      <a:lnTo>
                        <a:pt x="128" y="194"/>
                      </a:lnTo>
                      <a:lnTo>
                        <a:pt x="128" y="194"/>
                      </a:lnTo>
                      <a:lnTo>
                        <a:pt x="128" y="193"/>
                      </a:lnTo>
                      <a:lnTo>
                        <a:pt x="128" y="192"/>
                      </a:lnTo>
                      <a:lnTo>
                        <a:pt x="128" y="192"/>
                      </a:lnTo>
                      <a:lnTo>
                        <a:pt x="128" y="191"/>
                      </a:lnTo>
                      <a:lnTo>
                        <a:pt x="128" y="191"/>
                      </a:lnTo>
                      <a:lnTo>
                        <a:pt x="129" y="189"/>
                      </a:lnTo>
                      <a:lnTo>
                        <a:pt x="129" y="189"/>
                      </a:lnTo>
                      <a:lnTo>
                        <a:pt x="129" y="188"/>
                      </a:lnTo>
                      <a:lnTo>
                        <a:pt x="129" y="188"/>
                      </a:lnTo>
                      <a:lnTo>
                        <a:pt x="129" y="188"/>
                      </a:lnTo>
                      <a:lnTo>
                        <a:pt x="130" y="187"/>
                      </a:lnTo>
                      <a:lnTo>
                        <a:pt x="130" y="187"/>
                      </a:lnTo>
                      <a:lnTo>
                        <a:pt x="130" y="187"/>
                      </a:lnTo>
                      <a:lnTo>
                        <a:pt x="131" y="186"/>
                      </a:lnTo>
                      <a:lnTo>
                        <a:pt x="131" y="186"/>
                      </a:lnTo>
                      <a:lnTo>
                        <a:pt x="131" y="186"/>
                      </a:lnTo>
                      <a:lnTo>
                        <a:pt x="133" y="184"/>
                      </a:lnTo>
                      <a:lnTo>
                        <a:pt x="133" y="183"/>
                      </a:lnTo>
                      <a:lnTo>
                        <a:pt x="133" y="182"/>
                      </a:lnTo>
                      <a:lnTo>
                        <a:pt x="133" y="178"/>
                      </a:lnTo>
                      <a:lnTo>
                        <a:pt x="134" y="178"/>
                      </a:lnTo>
                      <a:lnTo>
                        <a:pt x="134" y="177"/>
                      </a:lnTo>
                      <a:lnTo>
                        <a:pt x="135" y="174"/>
                      </a:lnTo>
                      <a:lnTo>
                        <a:pt x="135" y="173"/>
                      </a:lnTo>
                      <a:lnTo>
                        <a:pt x="135" y="173"/>
                      </a:lnTo>
                      <a:lnTo>
                        <a:pt x="135" y="172"/>
                      </a:lnTo>
                      <a:lnTo>
                        <a:pt x="135" y="172"/>
                      </a:lnTo>
                      <a:lnTo>
                        <a:pt x="135" y="172"/>
                      </a:lnTo>
                      <a:lnTo>
                        <a:pt x="135" y="172"/>
                      </a:lnTo>
                      <a:lnTo>
                        <a:pt x="135" y="172"/>
                      </a:lnTo>
                      <a:lnTo>
                        <a:pt x="135" y="172"/>
                      </a:lnTo>
                      <a:lnTo>
                        <a:pt x="136" y="171"/>
                      </a:lnTo>
                      <a:lnTo>
                        <a:pt x="136" y="171"/>
                      </a:lnTo>
                      <a:lnTo>
                        <a:pt x="136" y="169"/>
                      </a:lnTo>
                      <a:lnTo>
                        <a:pt x="135" y="169"/>
                      </a:lnTo>
                      <a:lnTo>
                        <a:pt x="135" y="168"/>
                      </a:lnTo>
                      <a:lnTo>
                        <a:pt x="135" y="167"/>
                      </a:lnTo>
                      <a:lnTo>
                        <a:pt x="135" y="167"/>
                      </a:lnTo>
                      <a:lnTo>
                        <a:pt x="135" y="167"/>
                      </a:lnTo>
                      <a:lnTo>
                        <a:pt x="135" y="166"/>
                      </a:lnTo>
                      <a:lnTo>
                        <a:pt x="135" y="166"/>
                      </a:lnTo>
                      <a:lnTo>
                        <a:pt x="136" y="164"/>
                      </a:lnTo>
                      <a:lnTo>
                        <a:pt x="136" y="163"/>
                      </a:lnTo>
                      <a:lnTo>
                        <a:pt x="136" y="163"/>
                      </a:lnTo>
                      <a:lnTo>
                        <a:pt x="136" y="162"/>
                      </a:lnTo>
                      <a:lnTo>
                        <a:pt x="138" y="162"/>
                      </a:lnTo>
                      <a:lnTo>
                        <a:pt x="138" y="161"/>
                      </a:lnTo>
                      <a:lnTo>
                        <a:pt x="138" y="161"/>
                      </a:lnTo>
                      <a:lnTo>
                        <a:pt x="138" y="159"/>
                      </a:lnTo>
                      <a:lnTo>
                        <a:pt x="138" y="156"/>
                      </a:lnTo>
                      <a:lnTo>
                        <a:pt x="138" y="156"/>
                      </a:lnTo>
                      <a:lnTo>
                        <a:pt x="139" y="155"/>
                      </a:lnTo>
                      <a:lnTo>
                        <a:pt x="139" y="155"/>
                      </a:lnTo>
                      <a:lnTo>
                        <a:pt x="139" y="155"/>
                      </a:lnTo>
                      <a:lnTo>
                        <a:pt x="139" y="153"/>
                      </a:lnTo>
                      <a:lnTo>
                        <a:pt x="139" y="153"/>
                      </a:lnTo>
                      <a:lnTo>
                        <a:pt x="139" y="153"/>
                      </a:lnTo>
                      <a:lnTo>
                        <a:pt x="139" y="151"/>
                      </a:lnTo>
                      <a:lnTo>
                        <a:pt x="140" y="151"/>
                      </a:lnTo>
                      <a:lnTo>
                        <a:pt x="140" y="151"/>
                      </a:lnTo>
                      <a:lnTo>
                        <a:pt x="140" y="150"/>
                      </a:lnTo>
                      <a:lnTo>
                        <a:pt x="140" y="150"/>
                      </a:lnTo>
                      <a:lnTo>
                        <a:pt x="139" y="150"/>
                      </a:lnTo>
                      <a:lnTo>
                        <a:pt x="139" y="148"/>
                      </a:lnTo>
                      <a:lnTo>
                        <a:pt x="140" y="148"/>
                      </a:lnTo>
                      <a:lnTo>
                        <a:pt x="140" y="148"/>
                      </a:lnTo>
                      <a:lnTo>
                        <a:pt x="140" y="147"/>
                      </a:lnTo>
                      <a:lnTo>
                        <a:pt x="141" y="146"/>
                      </a:lnTo>
                      <a:lnTo>
                        <a:pt x="141" y="145"/>
                      </a:lnTo>
                      <a:lnTo>
                        <a:pt x="141" y="143"/>
                      </a:lnTo>
                      <a:lnTo>
                        <a:pt x="141" y="141"/>
                      </a:lnTo>
                      <a:lnTo>
                        <a:pt x="141" y="140"/>
                      </a:lnTo>
                      <a:lnTo>
                        <a:pt x="143" y="138"/>
                      </a:lnTo>
                      <a:lnTo>
                        <a:pt x="143" y="138"/>
                      </a:lnTo>
                      <a:lnTo>
                        <a:pt x="144" y="137"/>
                      </a:lnTo>
                      <a:lnTo>
                        <a:pt x="144" y="137"/>
                      </a:lnTo>
                      <a:lnTo>
                        <a:pt x="144" y="136"/>
                      </a:lnTo>
                      <a:lnTo>
                        <a:pt x="144" y="136"/>
                      </a:lnTo>
                      <a:lnTo>
                        <a:pt x="144" y="135"/>
                      </a:lnTo>
                      <a:lnTo>
                        <a:pt x="144" y="133"/>
                      </a:lnTo>
                      <a:lnTo>
                        <a:pt x="145" y="133"/>
                      </a:lnTo>
                      <a:lnTo>
                        <a:pt x="145" y="131"/>
                      </a:lnTo>
                      <a:lnTo>
                        <a:pt x="145" y="131"/>
                      </a:lnTo>
                      <a:lnTo>
                        <a:pt x="145" y="128"/>
                      </a:lnTo>
                      <a:lnTo>
                        <a:pt x="145" y="128"/>
                      </a:lnTo>
                      <a:lnTo>
                        <a:pt x="145" y="127"/>
                      </a:lnTo>
                      <a:lnTo>
                        <a:pt x="145" y="126"/>
                      </a:lnTo>
                      <a:lnTo>
                        <a:pt x="145" y="125"/>
                      </a:lnTo>
                      <a:lnTo>
                        <a:pt x="145" y="125"/>
                      </a:lnTo>
                      <a:lnTo>
                        <a:pt x="145" y="125"/>
                      </a:lnTo>
                      <a:lnTo>
                        <a:pt x="146" y="125"/>
                      </a:lnTo>
                      <a:lnTo>
                        <a:pt x="146" y="125"/>
                      </a:lnTo>
                      <a:lnTo>
                        <a:pt x="146" y="125"/>
                      </a:lnTo>
                      <a:lnTo>
                        <a:pt x="148" y="125"/>
                      </a:lnTo>
                      <a:lnTo>
                        <a:pt x="148" y="123"/>
                      </a:lnTo>
                      <a:lnTo>
                        <a:pt x="146" y="123"/>
                      </a:lnTo>
                      <a:lnTo>
                        <a:pt x="148" y="123"/>
                      </a:lnTo>
                      <a:lnTo>
                        <a:pt x="148" y="122"/>
                      </a:lnTo>
                      <a:lnTo>
                        <a:pt x="148" y="122"/>
                      </a:lnTo>
                      <a:lnTo>
                        <a:pt x="148" y="122"/>
                      </a:lnTo>
                      <a:lnTo>
                        <a:pt x="148" y="122"/>
                      </a:lnTo>
                      <a:lnTo>
                        <a:pt x="149" y="121"/>
                      </a:lnTo>
                      <a:lnTo>
                        <a:pt x="149" y="121"/>
                      </a:lnTo>
                      <a:lnTo>
                        <a:pt x="146" y="118"/>
                      </a:lnTo>
                      <a:lnTo>
                        <a:pt x="146" y="117"/>
                      </a:lnTo>
                      <a:lnTo>
                        <a:pt x="145" y="117"/>
                      </a:lnTo>
                      <a:lnTo>
                        <a:pt x="145" y="113"/>
                      </a:lnTo>
                      <a:lnTo>
                        <a:pt x="146" y="113"/>
                      </a:lnTo>
                      <a:lnTo>
                        <a:pt x="148" y="112"/>
                      </a:lnTo>
                      <a:lnTo>
                        <a:pt x="148" y="112"/>
                      </a:lnTo>
                      <a:lnTo>
                        <a:pt x="149" y="111"/>
                      </a:lnTo>
                      <a:lnTo>
                        <a:pt x="149" y="111"/>
                      </a:lnTo>
                      <a:lnTo>
                        <a:pt x="150" y="110"/>
                      </a:lnTo>
                      <a:lnTo>
                        <a:pt x="150" y="110"/>
                      </a:lnTo>
                      <a:lnTo>
                        <a:pt x="150" y="110"/>
                      </a:lnTo>
                      <a:lnTo>
                        <a:pt x="150" y="109"/>
                      </a:lnTo>
                      <a:lnTo>
                        <a:pt x="150" y="109"/>
                      </a:lnTo>
                      <a:lnTo>
                        <a:pt x="149" y="107"/>
                      </a:lnTo>
                      <a:lnTo>
                        <a:pt x="149" y="105"/>
                      </a:lnTo>
                      <a:lnTo>
                        <a:pt x="150" y="105"/>
                      </a:lnTo>
                      <a:lnTo>
                        <a:pt x="151" y="102"/>
                      </a:lnTo>
                      <a:lnTo>
                        <a:pt x="151" y="102"/>
                      </a:lnTo>
                      <a:lnTo>
                        <a:pt x="151" y="102"/>
                      </a:lnTo>
                      <a:lnTo>
                        <a:pt x="152" y="102"/>
                      </a:lnTo>
                      <a:lnTo>
                        <a:pt x="152" y="101"/>
                      </a:lnTo>
                      <a:lnTo>
                        <a:pt x="154" y="101"/>
                      </a:lnTo>
                      <a:lnTo>
                        <a:pt x="154" y="101"/>
                      </a:lnTo>
                      <a:lnTo>
                        <a:pt x="155" y="100"/>
                      </a:lnTo>
                      <a:lnTo>
                        <a:pt x="156" y="100"/>
                      </a:lnTo>
                      <a:lnTo>
                        <a:pt x="156" y="100"/>
                      </a:lnTo>
                      <a:lnTo>
                        <a:pt x="156" y="99"/>
                      </a:lnTo>
                      <a:lnTo>
                        <a:pt x="156" y="99"/>
                      </a:lnTo>
                      <a:lnTo>
                        <a:pt x="157" y="97"/>
                      </a:lnTo>
                      <a:lnTo>
                        <a:pt x="157" y="97"/>
                      </a:lnTo>
                      <a:lnTo>
                        <a:pt x="157" y="96"/>
                      </a:lnTo>
                      <a:lnTo>
                        <a:pt x="159" y="95"/>
                      </a:lnTo>
                      <a:lnTo>
                        <a:pt x="159" y="95"/>
                      </a:lnTo>
                      <a:lnTo>
                        <a:pt x="159" y="94"/>
                      </a:lnTo>
                      <a:lnTo>
                        <a:pt x="160" y="94"/>
                      </a:lnTo>
                      <a:lnTo>
                        <a:pt x="160" y="94"/>
                      </a:lnTo>
                      <a:lnTo>
                        <a:pt x="160" y="92"/>
                      </a:lnTo>
                      <a:lnTo>
                        <a:pt x="160" y="91"/>
                      </a:lnTo>
                      <a:lnTo>
                        <a:pt x="160" y="90"/>
                      </a:lnTo>
                      <a:lnTo>
                        <a:pt x="160" y="89"/>
                      </a:lnTo>
                      <a:lnTo>
                        <a:pt x="160" y="89"/>
                      </a:lnTo>
                      <a:lnTo>
                        <a:pt x="161" y="87"/>
                      </a:lnTo>
                      <a:lnTo>
                        <a:pt x="161" y="85"/>
                      </a:lnTo>
                      <a:lnTo>
                        <a:pt x="161" y="85"/>
                      </a:lnTo>
                      <a:lnTo>
                        <a:pt x="161" y="84"/>
                      </a:lnTo>
                      <a:lnTo>
                        <a:pt x="161" y="84"/>
                      </a:lnTo>
                      <a:lnTo>
                        <a:pt x="161" y="82"/>
                      </a:lnTo>
                      <a:lnTo>
                        <a:pt x="162" y="81"/>
                      </a:lnTo>
                      <a:lnTo>
                        <a:pt x="162" y="81"/>
                      </a:lnTo>
                      <a:lnTo>
                        <a:pt x="164" y="81"/>
                      </a:lnTo>
                      <a:lnTo>
                        <a:pt x="164" y="80"/>
                      </a:lnTo>
                      <a:lnTo>
                        <a:pt x="164" y="80"/>
                      </a:lnTo>
                      <a:lnTo>
                        <a:pt x="164" y="79"/>
                      </a:lnTo>
                      <a:lnTo>
                        <a:pt x="165" y="77"/>
                      </a:lnTo>
                      <a:lnTo>
                        <a:pt x="166" y="77"/>
                      </a:lnTo>
                      <a:lnTo>
                        <a:pt x="167" y="77"/>
                      </a:lnTo>
                      <a:lnTo>
                        <a:pt x="167" y="77"/>
                      </a:lnTo>
                      <a:lnTo>
                        <a:pt x="167" y="77"/>
                      </a:lnTo>
                      <a:lnTo>
                        <a:pt x="166" y="76"/>
                      </a:lnTo>
                      <a:lnTo>
                        <a:pt x="166" y="76"/>
                      </a:lnTo>
                      <a:lnTo>
                        <a:pt x="166" y="76"/>
                      </a:lnTo>
                      <a:lnTo>
                        <a:pt x="166" y="75"/>
                      </a:lnTo>
                      <a:lnTo>
                        <a:pt x="166" y="74"/>
                      </a:lnTo>
                      <a:lnTo>
                        <a:pt x="166" y="74"/>
                      </a:lnTo>
                      <a:lnTo>
                        <a:pt x="166" y="74"/>
                      </a:lnTo>
                      <a:lnTo>
                        <a:pt x="167" y="74"/>
                      </a:lnTo>
                      <a:lnTo>
                        <a:pt x="169" y="72"/>
                      </a:lnTo>
                      <a:lnTo>
                        <a:pt x="169" y="72"/>
                      </a:lnTo>
                      <a:lnTo>
                        <a:pt x="169" y="72"/>
                      </a:lnTo>
                      <a:lnTo>
                        <a:pt x="169" y="71"/>
                      </a:lnTo>
                      <a:lnTo>
                        <a:pt x="169" y="71"/>
                      </a:lnTo>
                      <a:lnTo>
                        <a:pt x="169" y="71"/>
                      </a:lnTo>
                      <a:lnTo>
                        <a:pt x="169" y="70"/>
                      </a:lnTo>
                      <a:lnTo>
                        <a:pt x="169" y="69"/>
                      </a:lnTo>
                      <a:lnTo>
                        <a:pt x="169" y="69"/>
                      </a:lnTo>
                      <a:lnTo>
                        <a:pt x="169" y="69"/>
                      </a:lnTo>
                      <a:lnTo>
                        <a:pt x="169" y="69"/>
                      </a:lnTo>
                      <a:lnTo>
                        <a:pt x="169" y="69"/>
                      </a:lnTo>
                      <a:lnTo>
                        <a:pt x="169" y="67"/>
                      </a:lnTo>
                      <a:lnTo>
                        <a:pt x="169" y="67"/>
                      </a:lnTo>
                      <a:lnTo>
                        <a:pt x="169" y="67"/>
                      </a:lnTo>
                      <a:lnTo>
                        <a:pt x="169" y="67"/>
                      </a:lnTo>
                      <a:lnTo>
                        <a:pt x="169" y="67"/>
                      </a:lnTo>
                      <a:lnTo>
                        <a:pt x="169" y="67"/>
                      </a:lnTo>
                      <a:lnTo>
                        <a:pt x="169" y="66"/>
                      </a:lnTo>
                      <a:lnTo>
                        <a:pt x="167" y="66"/>
                      </a:lnTo>
                      <a:lnTo>
                        <a:pt x="167" y="66"/>
                      </a:lnTo>
                      <a:lnTo>
                        <a:pt x="169" y="65"/>
                      </a:lnTo>
                      <a:lnTo>
                        <a:pt x="169" y="66"/>
                      </a:lnTo>
                      <a:lnTo>
                        <a:pt x="169" y="66"/>
                      </a:lnTo>
                      <a:lnTo>
                        <a:pt x="169" y="66"/>
                      </a:lnTo>
                      <a:lnTo>
                        <a:pt x="170" y="66"/>
                      </a:lnTo>
                      <a:lnTo>
                        <a:pt x="169" y="65"/>
                      </a:lnTo>
                      <a:lnTo>
                        <a:pt x="167" y="65"/>
                      </a:lnTo>
                      <a:lnTo>
                        <a:pt x="167" y="65"/>
                      </a:lnTo>
                      <a:lnTo>
                        <a:pt x="167" y="65"/>
                      </a:lnTo>
                      <a:lnTo>
                        <a:pt x="166" y="64"/>
                      </a:lnTo>
                      <a:lnTo>
                        <a:pt x="166" y="64"/>
                      </a:lnTo>
                      <a:lnTo>
                        <a:pt x="166" y="61"/>
                      </a:lnTo>
                      <a:lnTo>
                        <a:pt x="166" y="60"/>
                      </a:lnTo>
                      <a:lnTo>
                        <a:pt x="165" y="60"/>
                      </a:lnTo>
                      <a:lnTo>
                        <a:pt x="165" y="59"/>
                      </a:lnTo>
                      <a:lnTo>
                        <a:pt x="165" y="59"/>
                      </a:lnTo>
                      <a:lnTo>
                        <a:pt x="165" y="59"/>
                      </a:lnTo>
                      <a:lnTo>
                        <a:pt x="165" y="55"/>
                      </a:lnTo>
                      <a:lnTo>
                        <a:pt x="165" y="55"/>
                      </a:lnTo>
                      <a:lnTo>
                        <a:pt x="165" y="54"/>
                      </a:lnTo>
                      <a:lnTo>
                        <a:pt x="165" y="54"/>
                      </a:lnTo>
                      <a:lnTo>
                        <a:pt x="164" y="53"/>
                      </a:lnTo>
                      <a:lnTo>
                        <a:pt x="164" y="53"/>
                      </a:lnTo>
                      <a:lnTo>
                        <a:pt x="164" y="51"/>
                      </a:lnTo>
                      <a:lnTo>
                        <a:pt x="164" y="51"/>
                      </a:lnTo>
                      <a:lnTo>
                        <a:pt x="164" y="48"/>
                      </a:lnTo>
                      <a:lnTo>
                        <a:pt x="164" y="46"/>
                      </a:lnTo>
                      <a:lnTo>
                        <a:pt x="164" y="46"/>
                      </a:lnTo>
                      <a:lnTo>
                        <a:pt x="164" y="45"/>
                      </a:lnTo>
                      <a:lnTo>
                        <a:pt x="164" y="44"/>
                      </a:lnTo>
                      <a:lnTo>
                        <a:pt x="165" y="44"/>
                      </a:lnTo>
                      <a:lnTo>
                        <a:pt x="165" y="43"/>
                      </a:lnTo>
                      <a:lnTo>
                        <a:pt x="165" y="41"/>
                      </a:lnTo>
                      <a:lnTo>
                        <a:pt x="165" y="41"/>
                      </a:lnTo>
                      <a:lnTo>
                        <a:pt x="166" y="40"/>
                      </a:lnTo>
                      <a:lnTo>
                        <a:pt x="166" y="40"/>
                      </a:lnTo>
                      <a:lnTo>
                        <a:pt x="166" y="39"/>
                      </a:lnTo>
                      <a:lnTo>
                        <a:pt x="166" y="39"/>
                      </a:lnTo>
                      <a:lnTo>
                        <a:pt x="167" y="39"/>
                      </a:lnTo>
                      <a:lnTo>
                        <a:pt x="169" y="38"/>
                      </a:lnTo>
                      <a:lnTo>
                        <a:pt x="169" y="38"/>
                      </a:lnTo>
                      <a:lnTo>
                        <a:pt x="170" y="36"/>
                      </a:lnTo>
                      <a:lnTo>
                        <a:pt x="170" y="35"/>
                      </a:lnTo>
                      <a:lnTo>
                        <a:pt x="170" y="35"/>
                      </a:lnTo>
                      <a:lnTo>
                        <a:pt x="171" y="34"/>
                      </a:lnTo>
                      <a:lnTo>
                        <a:pt x="171" y="34"/>
                      </a:lnTo>
                      <a:lnTo>
                        <a:pt x="171" y="34"/>
                      </a:lnTo>
                      <a:lnTo>
                        <a:pt x="172" y="34"/>
                      </a:lnTo>
                      <a:lnTo>
                        <a:pt x="172" y="34"/>
                      </a:lnTo>
                      <a:lnTo>
                        <a:pt x="174" y="33"/>
                      </a:lnTo>
                      <a:lnTo>
                        <a:pt x="174" y="31"/>
                      </a:lnTo>
                      <a:lnTo>
                        <a:pt x="174" y="31"/>
                      </a:lnTo>
                      <a:lnTo>
                        <a:pt x="175" y="31"/>
                      </a:lnTo>
                      <a:lnTo>
                        <a:pt x="175" y="31"/>
                      </a:lnTo>
                      <a:lnTo>
                        <a:pt x="175" y="31"/>
                      </a:lnTo>
                      <a:lnTo>
                        <a:pt x="176" y="31"/>
                      </a:lnTo>
                      <a:lnTo>
                        <a:pt x="176" y="30"/>
                      </a:lnTo>
                      <a:lnTo>
                        <a:pt x="176" y="30"/>
                      </a:lnTo>
                      <a:lnTo>
                        <a:pt x="177" y="30"/>
                      </a:lnTo>
                      <a:lnTo>
                        <a:pt x="177" y="30"/>
                      </a:lnTo>
                      <a:lnTo>
                        <a:pt x="179" y="30"/>
                      </a:lnTo>
                      <a:lnTo>
                        <a:pt x="179" y="29"/>
                      </a:lnTo>
                      <a:lnTo>
                        <a:pt x="180" y="29"/>
                      </a:lnTo>
                      <a:lnTo>
                        <a:pt x="180" y="29"/>
                      </a:lnTo>
                      <a:lnTo>
                        <a:pt x="180" y="29"/>
                      </a:lnTo>
                      <a:lnTo>
                        <a:pt x="181" y="28"/>
                      </a:lnTo>
                      <a:lnTo>
                        <a:pt x="181" y="28"/>
                      </a:lnTo>
                      <a:lnTo>
                        <a:pt x="180" y="28"/>
                      </a:lnTo>
                      <a:lnTo>
                        <a:pt x="180" y="28"/>
                      </a:lnTo>
                      <a:lnTo>
                        <a:pt x="179" y="28"/>
                      </a:lnTo>
                      <a:lnTo>
                        <a:pt x="179" y="26"/>
                      </a:lnTo>
                      <a:lnTo>
                        <a:pt x="179" y="26"/>
                      </a:lnTo>
                      <a:lnTo>
                        <a:pt x="179" y="26"/>
                      </a:lnTo>
                      <a:lnTo>
                        <a:pt x="177" y="26"/>
                      </a:lnTo>
                      <a:lnTo>
                        <a:pt x="177" y="26"/>
                      </a:lnTo>
                      <a:lnTo>
                        <a:pt x="177" y="26"/>
                      </a:lnTo>
                      <a:lnTo>
                        <a:pt x="176" y="26"/>
                      </a:lnTo>
                      <a:lnTo>
                        <a:pt x="175" y="26"/>
                      </a:lnTo>
                      <a:lnTo>
                        <a:pt x="174" y="25"/>
                      </a:lnTo>
                      <a:lnTo>
                        <a:pt x="174" y="25"/>
                      </a:lnTo>
                      <a:lnTo>
                        <a:pt x="174" y="24"/>
                      </a:lnTo>
                      <a:lnTo>
                        <a:pt x="174" y="24"/>
                      </a:lnTo>
                      <a:lnTo>
                        <a:pt x="174" y="23"/>
                      </a:lnTo>
                      <a:lnTo>
                        <a:pt x="174" y="23"/>
                      </a:lnTo>
                      <a:lnTo>
                        <a:pt x="172" y="21"/>
                      </a:lnTo>
                      <a:lnTo>
                        <a:pt x="172" y="20"/>
                      </a:lnTo>
                      <a:lnTo>
                        <a:pt x="172" y="19"/>
                      </a:lnTo>
                      <a:lnTo>
                        <a:pt x="172" y="19"/>
                      </a:lnTo>
                      <a:lnTo>
                        <a:pt x="174" y="19"/>
                      </a:lnTo>
                      <a:lnTo>
                        <a:pt x="172" y="19"/>
                      </a:lnTo>
                      <a:lnTo>
                        <a:pt x="172" y="18"/>
                      </a:lnTo>
                      <a:lnTo>
                        <a:pt x="172" y="18"/>
                      </a:lnTo>
                      <a:lnTo>
                        <a:pt x="172" y="18"/>
                      </a:lnTo>
                      <a:lnTo>
                        <a:pt x="172" y="18"/>
                      </a:lnTo>
                      <a:lnTo>
                        <a:pt x="172" y="17"/>
                      </a:lnTo>
                      <a:lnTo>
                        <a:pt x="172" y="17"/>
                      </a:lnTo>
                      <a:lnTo>
                        <a:pt x="172" y="17"/>
                      </a:lnTo>
                      <a:lnTo>
                        <a:pt x="171" y="18"/>
                      </a:lnTo>
                      <a:lnTo>
                        <a:pt x="171" y="18"/>
                      </a:lnTo>
                      <a:lnTo>
                        <a:pt x="170" y="18"/>
                      </a:lnTo>
                      <a:lnTo>
                        <a:pt x="169" y="18"/>
                      </a:lnTo>
                      <a:lnTo>
                        <a:pt x="167" y="18"/>
                      </a:lnTo>
                      <a:lnTo>
                        <a:pt x="167" y="18"/>
                      </a:lnTo>
                      <a:lnTo>
                        <a:pt x="166" y="18"/>
                      </a:lnTo>
                      <a:lnTo>
                        <a:pt x="165" y="17"/>
                      </a:lnTo>
                      <a:lnTo>
                        <a:pt x="165" y="17"/>
                      </a:lnTo>
                      <a:lnTo>
                        <a:pt x="164" y="18"/>
                      </a:lnTo>
                      <a:lnTo>
                        <a:pt x="164" y="18"/>
                      </a:lnTo>
                      <a:lnTo>
                        <a:pt x="164" y="17"/>
                      </a:lnTo>
                      <a:lnTo>
                        <a:pt x="164" y="17"/>
                      </a:lnTo>
                      <a:lnTo>
                        <a:pt x="164" y="17"/>
                      </a:lnTo>
                      <a:lnTo>
                        <a:pt x="164" y="17"/>
                      </a:lnTo>
                      <a:lnTo>
                        <a:pt x="164" y="17"/>
                      </a:lnTo>
                      <a:lnTo>
                        <a:pt x="162" y="17"/>
                      </a:lnTo>
                      <a:lnTo>
                        <a:pt x="162" y="17"/>
                      </a:lnTo>
                      <a:lnTo>
                        <a:pt x="162" y="17"/>
                      </a:lnTo>
                      <a:lnTo>
                        <a:pt x="162" y="15"/>
                      </a:lnTo>
                      <a:lnTo>
                        <a:pt x="161" y="15"/>
                      </a:lnTo>
                      <a:lnTo>
                        <a:pt x="161" y="15"/>
                      </a:lnTo>
                      <a:lnTo>
                        <a:pt x="160" y="15"/>
                      </a:lnTo>
                      <a:lnTo>
                        <a:pt x="160" y="15"/>
                      </a:lnTo>
                      <a:lnTo>
                        <a:pt x="160" y="15"/>
                      </a:lnTo>
                      <a:lnTo>
                        <a:pt x="160" y="14"/>
                      </a:lnTo>
                      <a:lnTo>
                        <a:pt x="159" y="14"/>
                      </a:lnTo>
                      <a:lnTo>
                        <a:pt x="159" y="14"/>
                      </a:lnTo>
                      <a:lnTo>
                        <a:pt x="159" y="14"/>
                      </a:lnTo>
                      <a:lnTo>
                        <a:pt x="159" y="14"/>
                      </a:lnTo>
                      <a:lnTo>
                        <a:pt x="157" y="14"/>
                      </a:lnTo>
                      <a:lnTo>
                        <a:pt x="157" y="14"/>
                      </a:lnTo>
                      <a:lnTo>
                        <a:pt x="159" y="15"/>
                      </a:lnTo>
                      <a:lnTo>
                        <a:pt x="157" y="15"/>
                      </a:lnTo>
                      <a:lnTo>
                        <a:pt x="157" y="17"/>
                      </a:lnTo>
                      <a:lnTo>
                        <a:pt x="156" y="17"/>
                      </a:lnTo>
                      <a:lnTo>
                        <a:pt x="157" y="15"/>
                      </a:lnTo>
                      <a:lnTo>
                        <a:pt x="157" y="15"/>
                      </a:lnTo>
                      <a:lnTo>
                        <a:pt x="157" y="14"/>
                      </a:lnTo>
                      <a:lnTo>
                        <a:pt x="156" y="14"/>
                      </a:lnTo>
                      <a:lnTo>
                        <a:pt x="156" y="14"/>
                      </a:lnTo>
                      <a:lnTo>
                        <a:pt x="155" y="14"/>
                      </a:lnTo>
                      <a:lnTo>
                        <a:pt x="155" y="14"/>
                      </a:lnTo>
                      <a:lnTo>
                        <a:pt x="154" y="14"/>
                      </a:lnTo>
                      <a:lnTo>
                        <a:pt x="154" y="13"/>
                      </a:lnTo>
                      <a:lnTo>
                        <a:pt x="154" y="13"/>
                      </a:lnTo>
                      <a:lnTo>
                        <a:pt x="154" y="13"/>
                      </a:lnTo>
                      <a:lnTo>
                        <a:pt x="152" y="13"/>
                      </a:lnTo>
                      <a:lnTo>
                        <a:pt x="152" y="12"/>
                      </a:lnTo>
                      <a:lnTo>
                        <a:pt x="152" y="12"/>
                      </a:lnTo>
                      <a:lnTo>
                        <a:pt x="151" y="12"/>
                      </a:lnTo>
                      <a:lnTo>
                        <a:pt x="151" y="12"/>
                      </a:lnTo>
                      <a:lnTo>
                        <a:pt x="151" y="10"/>
                      </a:lnTo>
                      <a:lnTo>
                        <a:pt x="152" y="10"/>
                      </a:lnTo>
                      <a:lnTo>
                        <a:pt x="152" y="10"/>
                      </a:lnTo>
                      <a:lnTo>
                        <a:pt x="152" y="10"/>
                      </a:lnTo>
                      <a:lnTo>
                        <a:pt x="152" y="9"/>
                      </a:lnTo>
                      <a:lnTo>
                        <a:pt x="152" y="9"/>
                      </a:lnTo>
                      <a:lnTo>
                        <a:pt x="152" y="9"/>
                      </a:lnTo>
                      <a:lnTo>
                        <a:pt x="152" y="9"/>
                      </a:lnTo>
                      <a:lnTo>
                        <a:pt x="151" y="10"/>
                      </a:lnTo>
                      <a:lnTo>
                        <a:pt x="150" y="10"/>
                      </a:lnTo>
                      <a:lnTo>
                        <a:pt x="148" y="9"/>
                      </a:lnTo>
                      <a:lnTo>
                        <a:pt x="148" y="8"/>
                      </a:lnTo>
                      <a:lnTo>
                        <a:pt x="149" y="8"/>
                      </a:lnTo>
                      <a:lnTo>
                        <a:pt x="149" y="8"/>
                      </a:lnTo>
                      <a:lnTo>
                        <a:pt x="148" y="8"/>
                      </a:lnTo>
                      <a:lnTo>
                        <a:pt x="148" y="8"/>
                      </a:lnTo>
                      <a:lnTo>
                        <a:pt x="146" y="7"/>
                      </a:lnTo>
                      <a:lnTo>
                        <a:pt x="146" y="5"/>
                      </a:lnTo>
                      <a:lnTo>
                        <a:pt x="146" y="5"/>
                      </a:lnTo>
                      <a:lnTo>
                        <a:pt x="146" y="4"/>
                      </a:lnTo>
                      <a:lnTo>
                        <a:pt x="146" y="4"/>
                      </a:lnTo>
                      <a:lnTo>
                        <a:pt x="145" y="3"/>
                      </a:lnTo>
                      <a:lnTo>
                        <a:pt x="144" y="3"/>
                      </a:lnTo>
                      <a:lnTo>
                        <a:pt x="144" y="2"/>
                      </a:lnTo>
                      <a:lnTo>
                        <a:pt x="143" y="2"/>
                      </a:lnTo>
                      <a:lnTo>
                        <a:pt x="143" y="2"/>
                      </a:lnTo>
                      <a:lnTo>
                        <a:pt x="143" y="2"/>
                      </a:lnTo>
                      <a:lnTo>
                        <a:pt x="141" y="2"/>
                      </a:lnTo>
                      <a:lnTo>
                        <a:pt x="141" y="2"/>
                      </a:lnTo>
                      <a:lnTo>
                        <a:pt x="141" y="0"/>
                      </a:lnTo>
                      <a:lnTo>
                        <a:pt x="141" y="0"/>
                      </a:lnTo>
                      <a:lnTo>
                        <a:pt x="141" y="0"/>
                      </a:lnTo>
                      <a:close/>
                    </a:path>
                  </a:pathLst>
                </a:custGeom>
                <a:grpFill/>
                <a:ln w="1588" cap="flat">
                  <a:solidFill>
                    <a:schemeClr val="bg1">
                      <a:lumMod val="75000"/>
                    </a:schemeClr>
                  </a:solidFill>
                  <a:prstDash val="solid"/>
                  <a:miter lim="800000"/>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grpSp>
          <p:grpSp>
            <p:nvGrpSpPr>
              <p:cNvPr id="2220" name="Etiquettes">
                <a:extLst>
                  <a:ext uri="{FF2B5EF4-FFF2-40B4-BE49-F238E27FC236}">
                    <a16:creationId xmlns:a16="http://schemas.microsoft.com/office/drawing/2014/main" id="{CA97D646-7ADD-4EAB-B508-D56874528062}"/>
                  </a:ext>
                </a:extLst>
              </p:cNvPr>
              <p:cNvGrpSpPr/>
              <p:nvPr/>
            </p:nvGrpSpPr>
            <p:grpSpPr>
              <a:xfrm>
                <a:off x="3434557" y="1869328"/>
                <a:ext cx="6229232" cy="4833952"/>
                <a:chOff x="3434557" y="1869328"/>
                <a:chExt cx="6229232" cy="4833952"/>
              </a:xfrm>
              <a:grpFill/>
            </p:grpSpPr>
            <p:sp>
              <p:nvSpPr>
                <p:cNvPr id="2246" name="Etiquette - Inner Mongolia" hidden="1">
                  <a:extLst>
                    <a:ext uri="{FF2B5EF4-FFF2-40B4-BE49-F238E27FC236}">
                      <a16:creationId xmlns:a16="http://schemas.microsoft.com/office/drawing/2014/main" id="{72DC9E19-1BB2-4A00-BE17-7DD7C8FB4934}"/>
                    </a:ext>
                  </a:extLst>
                </p:cNvPr>
                <p:cNvSpPr>
                  <a:spLocks noChangeArrowheads="1"/>
                </p:cNvSpPr>
                <p:nvPr/>
              </p:nvSpPr>
              <p:spPr bwMode="auto">
                <a:xfrm>
                  <a:off x="6687818" y="2423364"/>
                  <a:ext cx="1955624"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Inner Mongolia</a:t>
                  </a:r>
                </a:p>
              </p:txBody>
            </p:sp>
            <p:sp>
              <p:nvSpPr>
                <p:cNvPr id="2247" name="Etiquette - Xinjiang" hidden="1">
                  <a:extLst>
                    <a:ext uri="{FF2B5EF4-FFF2-40B4-BE49-F238E27FC236}">
                      <a16:creationId xmlns:a16="http://schemas.microsoft.com/office/drawing/2014/main" id="{88600BC4-DFDF-4874-BBB3-20CF18266E42}"/>
                    </a:ext>
                  </a:extLst>
                </p:cNvPr>
                <p:cNvSpPr>
                  <a:spLocks noChangeArrowheads="1"/>
                </p:cNvSpPr>
                <p:nvPr/>
              </p:nvSpPr>
              <p:spPr bwMode="auto">
                <a:xfrm>
                  <a:off x="3467911" y="2564652"/>
                  <a:ext cx="1012035"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Xinjiang</a:t>
                  </a:r>
                </a:p>
              </p:txBody>
            </p:sp>
            <p:sp>
              <p:nvSpPr>
                <p:cNvPr id="2248" name="Etiquette - Xizang" hidden="1">
                  <a:extLst>
                    <a:ext uri="{FF2B5EF4-FFF2-40B4-BE49-F238E27FC236}">
                      <a16:creationId xmlns:a16="http://schemas.microsoft.com/office/drawing/2014/main" id="{9E139A72-C825-4D3E-A87F-7FC7AE977272}"/>
                    </a:ext>
                  </a:extLst>
                </p:cNvPr>
                <p:cNvSpPr>
                  <a:spLocks noChangeArrowheads="1"/>
                </p:cNvSpPr>
                <p:nvPr/>
              </p:nvSpPr>
              <p:spPr bwMode="auto">
                <a:xfrm>
                  <a:off x="3434557" y="4023565"/>
                  <a:ext cx="821360"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Xizang</a:t>
                  </a:r>
                </a:p>
              </p:txBody>
            </p:sp>
            <p:sp>
              <p:nvSpPr>
                <p:cNvPr id="2249" name="Etiquette - Qinghai" hidden="1">
                  <a:extLst>
                    <a:ext uri="{FF2B5EF4-FFF2-40B4-BE49-F238E27FC236}">
                      <a16:creationId xmlns:a16="http://schemas.microsoft.com/office/drawing/2014/main" id="{902B9934-7F27-4FEF-A0CF-FD22DB939B63}"/>
                    </a:ext>
                  </a:extLst>
                </p:cNvPr>
                <p:cNvSpPr>
                  <a:spLocks noChangeArrowheads="1"/>
                </p:cNvSpPr>
                <p:nvPr/>
              </p:nvSpPr>
              <p:spPr bwMode="auto">
                <a:xfrm>
                  <a:off x="4634914" y="3558429"/>
                  <a:ext cx="987590"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Qinghai</a:t>
                  </a:r>
                </a:p>
              </p:txBody>
            </p:sp>
            <p:sp>
              <p:nvSpPr>
                <p:cNvPr id="2250" name="Etiquette - Gansu" hidden="1">
                  <a:extLst>
                    <a:ext uri="{FF2B5EF4-FFF2-40B4-BE49-F238E27FC236}">
                      <a16:creationId xmlns:a16="http://schemas.microsoft.com/office/drawing/2014/main" id="{93CF2300-D211-409D-93DD-3190C991331E}"/>
                    </a:ext>
                  </a:extLst>
                </p:cNvPr>
                <p:cNvSpPr>
                  <a:spLocks noChangeArrowheads="1"/>
                </p:cNvSpPr>
                <p:nvPr/>
              </p:nvSpPr>
              <p:spPr bwMode="auto">
                <a:xfrm>
                  <a:off x="5764194" y="3815602"/>
                  <a:ext cx="801803"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Gansu</a:t>
                  </a:r>
                </a:p>
              </p:txBody>
            </p:sp>
            <p:sp>
              <p:nvSpPr>
                <p:cNvPr id="2251" name="Etiquette - Yunnan" hidden="1">
                  <a:extLst>
                    <a:ext uri="{FF2B5EF4-FFF2-40B4-BE49-F238E27FC236}">
                      <a16:creationId xmlns:a16="http://schemas.microsoft.com/office/drawing/2014/main" id="{DD1A563D-FF6D-45F6-8142-F6CEB595C20D}"/>
                    </a:ext>
                  </a:extLst>
                </p:cNvPr>
                <p:cNvSpPr>
                  <a:spLocks noChangeArrowheads="1"/>
                </p:cNvSpPr>
                <p:nvPr/>
              </p:nvSpPr>
              <p:spPr bwMode="auto">
                <a:xfrm>
                  <a:off x="5197202" y="5228479"/>
                  <a:ext cx="968034"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Yunnan</a:t>
                  </a:r>
                </a:p>
              </p:txBody>
            </p:sp>
            <p:sp>
              <p:nvSpPr>
                <p:cNvPr id="2252" name="Etiquette - Guizhou" hidden="1">
                  <a:extLst>
                    <a:ext uri="{FF2B5EF4-FFF2-40B4-BE49-F238E27FC236}">
                      <a16:creationId xmlns:a16="http://schemas.microsoft.com/office/drawing/2014/main" id="{77A6ACAC-67F0-44D3-8C63-5994AFDB4C08}"/>
                    </a:ext>
                  </a:extLst>
                </p:cNvPr>
                <p:cNvSpPr>
                  <a:spLocks noChangeArrowheads="1"/>
                </p:cNvSpPr>
                <p:nvPr/>
              </p:nvSpPr>
              <p:spPr bwMode="auto">
                <a:xfrm>
                  <a:off x="5911619" y="5047502"/>
                  <a:ext cx="1056040"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Guizhou</a:t>
                  </a:r>
                </a:p>
              </p:txBody>
            </p:sp>
            <p:sp>
              <p:nvSpPr>
                <p:cNvPr id="2253" name="Etiquette - DARK - Hainan" hidden="1">
                  <a:extLst>
                    <a:ext uri="{FF2B5EF4-FFF2-40B4-BE49-F238E27FC236}">
                      <a16:creationId xmlns:a16="http://schemas.microsoft.com/office/drawing/2014/main" id="{09BEDA25-AB38-41CC-87A8-11CE70CF0B77}"/>
                    </a:ext>
                  </a:extLst>
                </p:cNvPr>
                <p:cNvSpPr>
                  <a:spLocks noChangeArrowheads="1"/>
                </p:cNvSpPr>
                <p:nvPr/>
              </p:nvSpPr>
              <p:spPr bwMode="auto">
                <a:xfrm>
                  <a:off x="6762978" y="6327799"/>
                  <a:ext cx="904476" cy="375481"/>
                </a:xfrm>
                <a:prstGeom prst="rect">
                  <a:avLst/>
                </a:prstGeom>
                <a:grpFill/>
                <a:ln w="9525">
                  <a:solidFill>
                    <a:srgbClr val="000000"/>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Hainan</a:t>
                  </a:r>
                </a:p>
              </p:txBody>
            </p:sp>
            <p:sp>
              <p:nvSpPr>
                <p:cNvPr id="2254" name="Etiquette - Shandong" hidden="1">
                  <a:extLst>
                    <a:ext uri="{FF2B5EF4-FFF2-40B4-BE49-F238E27FC236}">
                      <a16:creationId xmlns:a16="http://schemas.microsoft.com/office/drawing/2014/main" id="{4BEA7908-E470-4232-9AA2-768313C33D49}"/>
                    </a:ext>
                  </a:extLst>
                </p:cNvPr>
                <p:cNvSpPr>
                  <a:spLocks noChangeArrowheads="1"/>
                </p:cNvSpPr>
                <p:nvPr/>
              </p:nvSpPr>
              <p:spPr bwMode="auto">
                <a:xfrm>
                  <a:off x="7203565" y="3560186"/>
                  <a:ext cx="1271155"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Shandong</a:t>
                  </a:r>
                </a:p>
              </p:txBody>
            </p:sp>
            <p:sp>
              <p:nvSpPr>
                <p:cNvPr id="2255" name="Etiquette - Hebei" hidden="1">
                  <a:extLst>
                    <a:ext uri="{FF2B5EF4-FFF2-40B4-BE49-F238E27FC236}">
                      <a16:creationId xmlns:a16="http://schemas.microsoft.com/office/drawing/2014/main" id="{4DAAA5A3-91D1-4348-920B-692A9DB14CB0}"/>
                    </a:ext>
                  </a:extLst>
                </p:cNvPr>
                <p:cNvSpPr>
                  <a:spLocks noChangeArrowheads="1"/>
                </p:cNvSpPr>
                <p:nvPr/>
              </p:nvSpPr>
              <p:spPr bwMode="auto">
                <a:xfrm>
                  <a:off x="7163785" y="3298080"/>
                  <a:ext cx="748027"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Hebei</a:t>
                  </a:r>
                </a:p>
              </p:txBody>
            </p:sp>
            <p:sp>
              <p:nvSpPr>
                <p:cNvPr id="2256" name="Etiquette - Fujian" hidden="1">
                  <a:extLst>
                    <a:ext uri="{FF2B5EF4-FFF2-40B4-BE49-F238E27FC236}">
                      <a16:creationId xmlns:a16="http://schemas.microsoft.com/office/drawing/2014/main" id="{1BABBAEF-3B37-4F4C-A5BB-3B8184C39AFE}"/>
                    </a:ext>
                  </a:extLst>
                </p:cNvPr>
                <p:cNvSpPr>
                  <a:spLocks noChangeArrowheads="1"/>
                </p:cNvSpPr>
                <p:nvPr/>
              </p:nvSpPr>
              <p:spPr bwMode="auto">
                <a:xfrm>
                  <a:off x="7585679" y="5114177"/>
                  <a:ext cx="772472"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Fujian</a:t>
                  </a:r>
                </a:p>
              </p:txBody>
            </p:sp>
            <p:sp>
              <p:nvSpPr>
                <p:cNvPr id="2257" name="Etiquette - Guangxi" hidden="1">
                  <a:extLst>
                    <a:ext uri="{FF2B5EF4-FFF2-40B4-BE49-F238E27FC236}">
                      <a16:creationId xmlns:a16="http://schemas.microsoft.com/office/drawing/2014/main" id="{8AE6EBCD-B34B-484C-97B1-D5EB9A79B3F4}"/>
                    </a:ext>
                  </a:extLst>
                </p:cNvPr>
                <p:cNvSpPr>
                  <a:spLocks noChangeArrowheads="1"/>
                </p:cNvSpPr>
                <p:nvPr/>
              </p:nvSpPr>
              <p:spPr bwMode="auto">
                <a:xfrm>
                  <a:off x="6110142" y="5453904"/>
                  <a:ext cx="1036484"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Guangxi</a:t>
                  </a:r>
                </a:p>
              </p:txBody>
            </p:sp>
            <p:sp>
              <p:nvSpPr>
                <p:cNvPr id="2258" name="Etiquette - Zhejiang" hidden="1">
                  <a:extLst>
                    <a:ext uri="{FF2B5EF4-FFF2-40B4-BE49-F238E27FC236}">
                      <a16:creationId xmlns:a16="http://schemas.microsoft.com/office/drawing/2014/main" id="{BED0C803-3F6E-4F00-9930-E7FBCC117178}"/>
                    </a:ext>
                  </a:extLst>
                </p:cNvPr>
                <p:cNvSpPr>
                  <a:spLocks noChangeArrowheads="1"/>
                </p:cNvSpPr>
                <p:nvPr/>
              </p:nvSpPr>
              <p:spPr bwMode="auto">
                <a:xfrm>
                  <a:off x="7659235" y="4652386"/>
                  <a:ext cx="1080482"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Zhejiang</a:t>
                  </a:r>
                </a:p>
              </p:txBody>
            </p:sp>
            <p:sp>
              <p:nvSpPr>
                <p:cNvPr id="2259" name="Etiquette - Jiangsu" hidden="1">
                  <a:extLst>
                    <a:ext uri="{FF2B5EF4-FFF2-40B4-BE49-F238E27FC236}">
                      <a16:creationId xmlns:a16="http://schemas.microsoft.com/office/drawing/2014/main" id="{53503EE8-05EB-459C-B5E9-A89DA1D7B550}"/>
                    </a:ext>
                  </a:extLst>
                </p:cNvPr>
                <p:cNvSpPr>
                  <a:spLocks noChangeArrowheads="1"/>
                </p:cNvSpPr>
                <p:nvPr/>
              </p:nvSpPr>
              <p:spPr bwMode="auto">
                <a:xfrm>
                  <a:off x="7813360" y="3549657"/>
                  <a:ext cx="425536" cy="1126439"/>
                </a:xfrm>
                <a:prstGeom prst="rect">
                  <a:avLst/>
                </a:prstGeom>
                <a:grpFill/>
                <a:ln w="9525">
                  <a:solidFill>
                    <a:srgbClr val="000000"/>
                  </a:solidFill>
                  <a:miter lim="800000"/>
                  <a:headEnd/>
                  <a:tailEnd/>
                </a:ln>
              </p:spPr>
              <p:txBody>
                <a:bodyPr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Jiangsu</a:t>
                  </a:r>
                </a:p>
              </p:txBody>
            </p:sp>
            <p:sp>
              <p:nvSpPr>
                <p:cNvPr id="2260" name="Etiquette - Liaoning" hidden="1">
                  <a:extLst>
                    <a:ext uri="{FF2B5EF4-FFF2-40B4-BE49-F238E27FC236}">
                      <a16:creationId xmlns:a16="http://schemas.microsoft.com/office/drawing/2014/main" id="{FDBA7035-7B68-4780-AF7C-8F5876F695AC}"/>
                    </a:ext>
                  </a:extLst>
                </p:cNvPr>
                <p:cNvSpPr>
                  <a:spLocks noChangeArrowheads="1"/>
                </p:cNvSpPr>
                <p:nvPr/>
              </p:nvSpPr>
              <p:spPr bwMode="auto">
                <a:xfrm>
                  <a:off x="7837232" y="2815431"/>
                  <a:ext cx="1075596" cy="375481"/>
                </a:xfrm>
                <a:prstGeom prst="rect">
                  <a:avLst/>
                </a:prstGeom>
                <a:grpFill/>
                <a:ln w="9525">
                  <a:solidFill>
                    <a:srgbClr val="000000"/>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Liaoning</a:t>
                  </a:r>
                </a:p>
              </p:txBody>
            </p:sp>
            <p:sp>
              <p:nvSpPr>
                <p:cNvPr id="2261" name="Etiquette - Jilin" hidden="1">
                  <a:extLst>
                    <a:ext uri="{FF2B5EF4-FFF2-40B4-BE49-F238E27FC236}">
                      <a16:creationId xmlns:a16="http://schemas.microsoft.com/office/drawing/2014/main" id="{A8DF8393-F2D0-4829-8CA9-B5C6BD273094}"/>
                    </a:ext>
                  </a:extLst>
                </p:cNvPr>
                <p:cNvSpPr>
                  <a:spLocks noChangeArrowheads="1"/>
                </p:cNvSpPr>
                <p:nvPr/>
              </p:nvSpPr>
              <p:spPr bwMode="auto">
                <a:xfrm>
                  <a:off x="8311585" y="2388439"/>
                  <a:ext cx="484018"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Jilin</a:t>
                  </a:r>
                </a:p>
              </p:txBody>
            </p:sp>
            <p:sp>
              <p:nvSpPr>
                <p:cNvPr id="2262" name="Etiquette - Heilongjiang" hidden="1">
                  <a:extLst>
                    <a:ext uri="{FF2B5EF4-FFF2-40B4-BE49-F238E27FC236}">
                      <a16:creationId xmlns:a16="http://schemas.microsoft.com/office/drawing/2014/main" id="{E4122BEF-7ECD-4DB7-A176-189DDC0FBBE5}"/>
                    </a:ext>
                  </a:extLst>
                </p:cNvPr>
                <p:cNvSpPr>
                  <a:spLocks noChangeArrowheads="1"/>
                </p:cNvSpPr>
                <p:nvPr/>
              </p:nvSpPr>
              <p:spPr bwMode="auto">
                <a:xfrm>
                  <a:off x="8074846" y="1869328"/>
                  <a:ext cx="1588943"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Heilongjiang</a:t>
                  </a:r>
                </a:p>
              </p:txBody>
            </p:sp>
            <p:sp>
              <p:nvSpPr>
                <p:cNvPr id="2263" name="Etiquette - Shanxi" hidden="1">
                  <a:extLst>
                    <a:ext uri="{FF2B5EF4-FFF2-40B4-BE49-F238E27FC236}">
                      <a16:creationId xmlns:a16="http://schemas.microsoft.com/office/drawing/2014/main" id="{2E6AE9C5-30ED-4E7B-934E-D1AAB3162FCB}"/>
                    </a:ext>
                  </a:extLst>
                </p:cNvPr>
                <p:cNvSpPr>
                  <a:spLocks noChangeArrowheads="1"/>
                </p:cNvSpPr>
                <p:nvPr/>
              </p:nvSpPr>
              <p:spPr bwMode="auto">
                <a:xfrm>
                  <a:off x="6730280" y="3579065"/>
                  <a:ext cx="836030"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Shanxi</a:t>
                  </a:r>
                </a:p>
              </p:txBody>
            </p:sp>
            <p:sp>
              <p:nvSpPr>
                <p:cNvPr id="2264" name="Etiquette - Henan" hidden="1">
                  <a:extLst>
                    <a:ext uri="{FF2B5EF4-FFF2-40B4-BE49-F238E27FC236}">
                      <a16:creationId xmlns:a16="http://schemas.microsoft.com/office/drawing/2014/main" id="{5C8884C0-9C5D-4E91-840D-556713A20486}"/>
                    </a:ext>
                  </a:extLst>
                </p:cNvPr>
                <p:cNvSpPr>
                  <a:spLocks noChangeArrowheads="1"/>
                </p:cNvSpPr>
                <p:nvPr/>
              </p:nvSpPr>
              <p:spPr bwMode="auto">
                <a:xfrm>
                  <a:off x="6864117" y="3925138"/>
                  <a:ext cx="836030"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Henan</a:t>
                  </a:r>
                </a:p>
              </p:txBody>
            </p:sp>
            <p:sp>
              <p:nvSpPr>
                <p:cNvPr id="2265" name="Etiquette - Hubei" hidden="1">
                  <a:extLst>
                    <a:ext uri="{FF2B5EF4-FFF2-40B4-BE49-F238E27FC236}">
                      <a16:creationId xmlns:a16="http://schemas.microsoft.com/office/drawing/2014/main" id="{94DC27EC-B568-419C-B943-E1E192CFD38D}"/>
                    </a:ext>
                  </a:extLst>
                </p:cNvPr>
                <p:cNvSpPr>
                  <a:spLocks noChangeArrowheads="1"/>
                </p:cNvSpPr>
                <p:nvPr/>
              </p:nvSpPr>
              <p:spPr bwMode="auto">
                <a:xfrm>
                  <a:off x="6738505" y="4375989"/>
                  <a:ext cx="757805"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Hubei</a:t>
                  </a:r>
                </a:p>
              </p:txBody>
            </p:sp>
            <p:sp>
              <p:nvSpPr>
                <p:cNvPr id="2266" name="Etiquette - Shaanxi" hidden="1">
                  <a:extLst>
                    <a:ext uri="{FF2B5EF4-FFF2-40B4-BE49-F238E27FC236}">
                      <a16:creationId xmlns:a16="http://schemas.microsoft.com/office/drawing/2014/main" id="{D35354D2-1A27-4B33-963B-CFDD8B719C90}"/>
                    </a:ext>
                  </a:extLst>
                </p:cNvPr>
                <p:cNvSpPr>
                  <a:spLocks noChangeArrowheads="1"/>
                </p:cNvSpPr>
                <p:nvPr/>
              </p:nvSpPr>
              <p:spPr bwMode="auto">
                <a:xfrm>
                  <a:off x="6194644" y="3956891"/>
                  <a:ext cx="987590"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Shaanxi</a:t>
                  </a:r>
                </a:p>
              </p:txBody>
            </p:sp>
            <p:sp>
              <p:nvSpPr>
                <p:cNvPr id="2267" name="Etiquette - Hunan" hidden="1">
                  <a:extLst>
                    <a:ext uri="{FF2B5EF4-FFF2-40B4-BE49-F238E27FC236}">
                      <a16:creationId xmlns:a16="http://schemas.microsoft.com/office/drawing/2014/main" id="{8FF89C43-5C38-4A44-8B9F-16710F767004}"/>
                    </a:ext>
                  </a:extLst>
                </p:cNvPr>
                <p:cNvSpPr>
                  <a:spLocks noChangeArrowheads="1"/>
                </p:cNvSpPr>
                <p:nvPr/>
              </p:nvSpPr>
              <p:spPr bwMode="auto">
                <a:xfrm>
                  <a:off x="6682496" y="4869103"/>
                  <a:ext cx="845808"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Hunan</a:t>
                  </a:r>
                </a:p>
              </p:txBody>
            </p:sp>
            <p:sp>
              <p:nvSpPr>
                <p:cNvPr id="2268" name="Etiquette - Jiangxi" hidden="1">
                  <a:extLst>
                    <a:ext uri="{FF2B5EF4-FFF2-40B4-BE49-F238E27FC236}">
                      <a16:creationId xmlns:a16="http://schemas.microsoft.com/office/drawing/2014/main" id="{C6D92CF7-331D-47F6-96DA-1981BD774B68}"/>
                    </a:ext>
                  </a:extLst>
                </p:cNvPr>
                <p:cNvSpPr>
                  <a:spLocks noChangeArrowheads="1"/>
                </p:cNvSpPr>
                <p:nvPr/>
              </p:nvSpPr>
              <p:spPr bwMode="auto">
                <a:xfrm>
                  <a:off x="7233113" y="4808131"/>
                  <a:ext cx="845808"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Jiangxi</a:t>
                  </a:r>
                </a:p>
              </p:txBody>
            </p:sp>
            <p:sp>
              <p:nvSpPr>
                <p:cNvPr id="2269" name="Etiquette - Guangdong" hidden="1">
                  <a:extLst>
                    <a:ext uri="{FF2B5EF4-FFF2-40B4-BE49-F238E27FC236}">
                      <a16:creationId xmlns:a16="http://schemas.microsoft.com/office/drawing/2014/main" id="{50C1197D-1CA5-4A7F-9464-AB3C100B1125}"/>
                    </a:ext>
                  </a:extLst>
                </p:cNvPr>
                <p:cNvSpPr>
                  <a:spLocks noChangeArrowheads="1"/>
                </p:cNvSpPr>
                <p:nvPr/>
              </p:nvSpPr>
              <p:spPr bwMode="auto">
                <a:xfrm>
                  <a:off x="6777975" y="5490412"/>
                  <a:ext cx="1471606"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Guangdong</a:t>
                  </a:r>
                </a:p>
              </p:txBody>
            </p:sp>
            <p:sp>
              <p:nvSpPr>
                <p:cNvPr id="2270" name="Etiquette - Sichuan" hidden="1">
                  <a:extLst>
                    <a:ext uri="{FF2B5EF4-FFF2-40B4-BE49-F238E27FC236}">
                      <a16:creationId xmlns:a16="http://schemas.microsoft.com/office/drawing/2014/main" id="{1A4CC93F-EF2E-4B88-B820-66272E9CFB4B}"/>
                    </a:ext>
                  </a:extLst>
                </p:cNvPr>
                <p:cNvSpPr>
                  <a:spLocks noChangeArrowheads="1"/>
                </p:cNvSpPr>
                <p:nvPr/>
              </p:nvSpPr>
              <p:spPr bwMode="auto">
                <a:xfrm>
                  <a:off x="5503404" y="4377575"/>
                  <a:ext cx="997371"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Sichuan</a:t>
                  </a:r>
                </a:p>
              </p:txBody>
            </p:sp>
            <p:sp>
              <p:nvSpPr>
                <p:cNvPr id="2271" name="Etiquette - Anhui" hidden="1">
                  <a:extLst>
                    <a:ext uri="{FF2B5EF4-FFF2-40B4-BE49-F238E27FC236}">
                      <a16:creationId xmlns:a16="http://schemas.microsoft.com/office/drawing/2014/main" id="{C70D11F5-C87A-4A22-B6BD-A1AC7379E9C4}"/>
                    </a:ext>
                  </a:extLst>
                </p:cNvPr>
                <p:cNvSpPr>
                  <a:spLocks noChangeArrowheads="1"/>
                </p:cNvSpPr>
                <p:nvPr/>
              </p:nvSpPr>
              <p:spPr bwMode="auto">
                <a:xfrm>
                  <a:off x="7420434" y="4291853"/>
                  <a:ext cx="752916"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Anhui</a:t>
                  </a:r>
                </a:p>
              </p:txBody>
            </p:sp>
            <p:sp>
              <p:nvSpPr>
                <p:cNvPr id="2272" name="Etiquette - Tianjin" hidden="1">
                  <a:extLst>
                    <a:ext uri="{FF2B5EF4-FFF2-40B4-BE49-F238E27FC236}">
                      <a16:creationId xmlns:a16="http://schemas.microsoft.com/office/drawing/2014/main" id="{65010EDF-13D2-4D67-B470-DD30430E0615}"/>
                    </a:ext>
                  </a:extLst>
                </p:cNvPr>
                <p:cNvSpPr>
                  <a:spLocks noChangeArrowheads="1"/>
                </p:cNvSpPr>
                <p:nvPr/>
              </p:nvSpPr>
              <p:spPr bwMode="auto">
                <a:xfrm>
                  <a:off x="7523531" y="3196478"/>
                  <a:ext cx="855586"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Tianjin</a:t>
                  </a:r>
                </a:p>
              </p:txBody>
            </p:sp>
            <p:sp>
              <p:nvSpPr>
                <p:cNvPr id="2273" name="Etiquette - DARK - Shanghai" hidden="1">
                  <a:extLst>
                    <a:ext uri="{FF2B5EF4-FFF2-40B4-BE49-F238E27FC236}">
                      <a16:creationId xmlns:a16="http://schemas.microsoft.com/office/drawing/2014/main" id="{AE5F62D4-98AF-416F-BF0C-7C5B70EF8298}"/>
                    </a:ext>
                  </a:extLst>
                </p:cNvPr>
                <p:cNvSpPr>
                  <a:spLocks noChangeArrowheads="1"/>
                </p:cNvSpPr>
                <p:nvPr/>
              </p:nvSpPr>
              <p:spPr bwMode="auto">
                <a:xfrm>
                  <a:off x="8124511" y="4412378"/>
                  <a:ext cx="1163599" cy="375481"/>
                </a:xfrm>
                <a:prstGeom prst="rect">
                  <a:avLst/>
                </a:prstGeom>
                <a:grpFill/>
                <a:ln w="9525">
                  <a:solidFill>
                    <a:srgbClr val="000000"/>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Shanghai</a:t>
                  </a:r>
                </a:p>
              </p:txBody>
            </p:sp>
            <p:sp>
              <p:nvSpPr>
                <p:cNvPr id="2274" name="Etiquette - Beijing" hidden="1">
                  <a:extLst>
                    <a:ext uri="{FF2B5EF4-FFF2-40B4-BE49-F238E27FC236}">
                      <a16:creationId xmlns:a16="http://schemas.microsoft.com/office/drawing/2014/main" id="{5A752289-CD7F-4A79-9CDF-D2BFD86582E8}"/>
                    </a:ext>
                  </a:extLst>
                </p:cNvPr>
                <p:cNvSpPr>
                  <a:spLocks noChangeArrowheads="1"/>
                </p:cNvSpPr>
                <p:nvPr/>
              </p:nvSpPr>
              <p:spPr bwMode="auto">
                <a:xfrm>
                  <a:off x="7172764" y="2984522"/>
                  <a:ext cx="860475" cy="375481"/>
                </a:xfrm>
                <a:prstGeom prst="rect">
                  <a:avLst/>
                </a:prstGeom>
                <a:grpFill/>
                <a:ln w="9525">
                  <a:solidFill>
                    <a:srgbClr val="000000"/>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Beijing</a:t>
                  </a:r>
                </a:p>
              </p:txBody>
            </p:sp>
            <p:sp>
              <p:nvSpPr>
                <p:cNvPr id="2275" name="Etiquette - Ningxia" hidden="1">
                  <a:extLst>
                    <a:ext uri="{FF2B5EF4-FFF2-40B4-BE49-F238E27FC236}">
                      <a16:creationId xmlns:a16="http://schemas.microsoft.com/office/drawing/2014/main" id="{B058C189-0829-4040-B41A-1307AF508938}"/>
                    </a:ext>
                  </a:extLst>
                </p:cNvPr>
                <p:cNvSpPr>
                  <a:spLocks noChangeArrowheads="1"/>
                </p:cNvSpPr>
                <p:nvPr/>
              </p:nvSpPr>
              <p:spPr bwMode="auto">
                <a:xfrm>
                  <a:off x="5939816" y="3436419"/>
                  <a:ext cx="948478"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Ningxia</a:t>
                  </a:r>
                </a:p>
              </p:txBody>
            </p:sp>
            <p:sp>
              <p:nvSpPr>
                <p:cNvPr id="2276" name="Etiquette - Chongqing" hidden="1">
                  <a:extLst>
                    <a:ext uri="{FF2B5EF4-FFF2-40B4-BE49-F238E27FC236}">
                      <a16:creationId xmlns:a16="http://schemas.microsoft.com/office/drawing/2014/main" id="{6DC01D27-147F-4039-AFAA-5216D0A6EA85}"/>
                    </a:ext>
                  </a:extLst>
                </p:cNvPr>
                <p:cNvSpPr>
                  <a:spLocks noChangeArrowheads="1"/>
                </p:cNvSpPr>
                <p:nvPr/>
              </p:nvSpPr>
              <p:spPr bwMode="auto">
                <a:xfrm>
                  <a:off x="5915477" y="4579188"/>
                  <a:ext cx="1364047" cy="375481"/>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Chongqing</a:t>
                  </a:r>
                </a:p>
              </p:txBody>
            </p:sp>
          </p:grpSp>
          <p:grpSp>
            <p:nvGrpSpPr>
              <p:cNvPr id="2221" name="GradientColorLegend">
                <a:extLst>
                  <a:ext uri="{FF2B5EF4-FFF2-40B4-BE49-F238E27FC236}">
                    <a16:creationId xmlns:a16="http://schemas.microsoft.com/office/drawing/2014/main" id="{18E5C1DE-5716-4189-BE12-A126EB59FCCE}"/>
                  </a:ext>
                </a:extLst>
              </p:cNvPr>
              <p:cNvGrpSpPr/>
              <p:nvPr/>
            </p:nvGrpSpPr>
            <p:grpSpPr>
              <a:xfrm>
                <a:off x="2404427" y="4367773"/>
                <a:ext cx="176010" cy="2143536"/>
                <a:chOff x="1038203" y="2192129"/>
                <a:chExt cx="176010" cy="2143536"/>
              </a:xfrm>
              <a:grpFill/>
            </p:grpSpPr>
            <p:sp>
              <p:nvSpPr>
                <p:cNvPr id="2243" name="Etiquette - GradientColorLegend - DARK - Shape" hidden="1">
                  <a:extLst>
                    <a:ext uri="{FF2B5EF4-FFF2-40B4-BE49-F238E27FC236}">
                      <a16:creationId xmlns:a16="http://schemas.microsoft.com/office/drawing/2014/main" id="{9655E975-261C-4A63-AD72-DAA07B343043}"/>
                    </a:ext>
                  </a:extLst>
                </p:cNvPr>
                <p:cNvSpPr/>
                <p:nvPr/>
              </p:nvSpPr>
              <p:spPr>
                <a:xfrm>
                  <a:off x="1066170" y="2575168"/>
                  <a:ext cx="120073" cy="1382400"/>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244" name="Etiquette - GradientColorLegend - DARK - MaxValue" hidden="1">
                  <a:extLst>
                    <a:ext uri="{FF2B5EF4-FFF2-40B4-BE49-F238E27FC236}">
                      <a16:creationId xmlns:a16="http://schemas.microsoft.com/office/drawing/2014/main" id="{0CFED8A7-972D-4E2C-AE8F-1D014673A1CA}"/>
                    </a:ext>
                  </a:extLst>
                </p:cNvPr>
                <p:cNvSpPr txBox="1"/>
                <p:nvPr/>
              </p:nvSpPr>
              <p:spPr>
                <a:xfrm>
                  <a:off x="1038203" y="2192129"/>
                  <a:ext cx="176010" cy="375481"/>
                </a:xfrm>
                <a:prstGeom prst="rect">
                  <a:avLst/>
                </a:prstGeom>
                <a:grpFill/>
                <a:ln>
                  <a:solidFill>
                    <a:schemeClr val="bg1">
                      <a:lumMod val="75000"/>
                    </a:schemeClr>
                  </a:solidFill>
                </a:ln>
              </p:spPr>
              <p:txBody>
                <a:bodyPr wrap="none" lIns="0" tIns="0" rIns="0" bIns="0" rtlCol="0" anchor="b">
                  <a:spAutoFit/>
                </a:bodyPr>
                <a:lstStyle/>
                <a:p>
                  <a:pPr algn="ctr"/>
                  <a:r>
                    <a:rPr lang="en-US" sz="800" dirty="0">
                      <a:solidFill>
                        <a:prstClr val="black"/>
                      </a:solidFill>
                    </a:rPr>
                    <a:t>1</a:t>
                  </a:r>
                </a:p>
              </p:txBody>
            </p:sp>
            <p:sp>
              <p:nvSpPr>
                <p:cNvPr id="2245" name="Etiquette - GradientColorLegend - DARK - MinValue" hidden="1">
                  <a:extLst>
                    <a:ext uri="{FF2B5EF4-FFF2-40B4-BE49-F238E27FC236}">
                      <a16:creationId xmlns:a16="http://schemas.microsoft.com/office/drawing/2014/main" id="{B28FD539-D80F-4D4B-AA99-B5086AD09359}"/>
                    </a:ext>
                  </a:extLst>
                </p:cNvPr>
                <p:cNvSpPr txBox="1"/>
                <p:nvPr/>
              </p:nvSpPr>
              <p:spPr>
                <a:xfrm>
                  <a:off x="1038203" y="3960184"/>
                  <a:ext cx="176010" cy="375481"/>
                </a:xfrm>
                <a:prstGeom prst="rect">
                  <a:avLst/>
                </a:prstGeom>
                <a:grpFill/>
                <a:ln>
                  <a:solidFill>
                    <a:schemeClr val="bg1">
                      <a:lumMod val="75000"/>
                    </a:schemeClr>
                  </a:solidFill>
                </a:ln>
              </p:spPr>
              <p:txBody>
                <a:bodyPr wrap="none" lIns="0" tIns="0" rIns="0" bIns="0" rtlCol="0">
                  <a:spAutoFit/>
                </a:bodyPr>
                <a:lstStyle/>
                <a:p>
                  <a:pPr algn="ctr"/>
                  <a:r>
                    <a:rPr lang="en-US" sz="800" dirty="0">
                      <a:solidFill>
                        <a:prstClr val="black"/>
                      </a:solidFill>
                    </a:rPr>
                    <a:t>1</a:t>
                  </a:r>
                </a:p>
              </p:txBody>
            </p:sp>
          </p:grpSp>
          <p:grpSp>
            <p:nvGrpSpPr>
              <p:cNvPr id="2222" name="RangeColorLegend">
                <a:extLst>
                  <a:ext uri="{FF2B5EF4-FFF2-40B4-BE49-F238E27FC236}">
                    <a16:creationId xmlns:a16="http://schemas.microsoft.com/office/drawing/2014/main" id="{B36BAD95-166C-495B-A35B-9B771C486700}"/>
                  </a:ext>
                </a:extLst>
              </p:cNvPr>
              <p:cNvGrpSpPr/>
              <p:nvPr/>
            </p:nvGrpSpPr>
            <p:grpSpPr>
              <a:xfrm>
                <a:off x="1927283" y="5043306"/>
                <a:ext cx="1270800" cy="1538880"/>
                <a:chOff x="9228362" y="4919762"/>
                <a:chExt cx="1270800" cy="1538880"/>
              </a:xfrm>
              <a:grpFill/>
            </p:grpSpPr>
            <p:sp>
              <p:nvSpPr>
                <p:cNvPr id="2223" name="Etiquette - RangeColorLegend - DARK - Color - 2" hidden="1">
                  <a:extLst>
                    <a:ext uri="{FF2B5EF4-FFF2-40B4-BE49-F238E27FC236}">
                      <a16:creationId xmlns:a16="http://schemas.microsoft.com/office/drawing/2014/main" id="{EC1E4142-AD7D-4114-B8B6-6F354825C0CC}"/>
                    </a:ext>
                  </a:extLst>
                </p:cNvPr>
                <p:cNvSpPr/>
                <p:nvPr/>
              </p:nvSpPr>
              <p:spPr>
                <a:xfrm>
                  <a:off x="9228362" y="5073650"/>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24" name="Etiquette - RangeColorLegend - DARK - Color - 1" hidden="1">
                  <a:extLst>
                    <a:ext uri="{FF2B5EF4-FFF2-40B4-BE49-F238E27FC236}">
                      <a16:creationId xmlns:a16="http://schemas.microsoft.com/office/drawing/2014/main" id="{260BBDFA-D600-498A-8F60-4BE04728A467}"/>
                    </a:ext>
                  </a:extLst>
                </p:cNvPr>
                <p:cNvSpPr/>
                <p:nvPr/>
              </p:nvSpPr>
              <p:spPr>
                <a:xfrm>
                  <a:off x="9228362" y="4919762"/>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25" name="Etiquette - RangeColorLegend - DARK - Number - 2" hidden="1">
                  <a:extLst>
                    <a:ext uri="{FF2B5EF4-FFF2-40B4-BE49-F238E27FC236}">
                      <a16:creationId xmlns:a16="http://schemas.microsoft.com/office/drawing/2014/main" id="{1668F18D-A05C-4FC8-B4EC-E9C15F109440}"/>
                    </a:ext>
                  </a:extLst>
                </p:cNvPr>
                <p:cNvSpPr/>
                <p:nvPr/>
              </p:nvSpPr>
              <p:spPr>
                <a:xfrm>
                  <a:off x="9383162" y="5073650"/>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lt; 1</a:t>
                  </a:r>
                </a:p>
              </p:txBody>
            </p:sp>
            <p:sp>
              <p:nvSpPr>
                <p:cNvPr id="2226" name="Etiquette - RangeColorLegend - DARK - Number - 1" hidden="1">
                  <a:extLst>
                    <a:ext uri="{FF2B5EF4-FFF2-40B4-BE49-F238E27FC236}">
                      <a16:creationId xmlns:a16="http://schemas.microsoft.com/office/drawing/2014/main" id="{EA88B708-17E2-4630-A44A-025B1B3E2C76}"/>
                    </a:ext>
                  </a:extLst>
                </p:cNvPr>
                <p:cNvSpPr/>
                <p:nvPr/>
              </p:nvSpPr>
              <p:spPr>
                <a:xfrm>
                  <a:off x="9383162" y="4919762"/>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1+</a:t>
                  </a:r>
                </a:p>
              </p:txBody>
            </p:sp>
            <p:sp>
              <p:nvSpPr>
                <p:cNvPr id="2227" name="Etiquette - RangeColorLegend - DARK - Color - 4" hidden="1">
                  <a:extLst>
                    <a:ext uri="{FF2B5EF4-FFF2-40B4-BE49-F238E27FC236}">
                      <a16:creationId xmlns:a16="http://schemas.microsoft.com/office/drawing/2014/main" id="{EDEA6F55-37D0-46EF-80F1-E8BD1352643C}"/>
                    </a:ext>
                  </a:extLst>
                </p:cNvPr>
                <p:cNvSpPr/>
                <p:nvPr/>
              </p:nvSpPr>
              <p:spPr>
                <a:xfrm>
                  <a:off x="9228362" y="5381426"/>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28" name="Etiquette - RangeColorLegend - DARK - Color - 3" hidden="1">
                  <a:extLst>
                    <a:ext uri="{FF2B5EF4-FFF2-40B4-BE49-F238E27FC236}">
                      <a16:creationId xmlns:a16="http://schemas.microsoft.com/office/drawing/2014/main" id="{48B48C77-D378-4437-B64A-4DE63662C06E}"/>
                    </a:ext>
                  </a:extLst>
                </p:cNvPr>
                <p:cNvSpPr/>
                <p:nvPr/>
              </p:nvSpPr>
              <p:spPr>
                <a:xfrm>
                  <a:off x="9228362" y="5227538"/>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29" name="Etiquette - RangeColorLegend - DARK - Number - 4" hidden="1">
                  <a:extLst>
                    <a:ext uri="{FF2B5EF4-FFF2-40B4-BE49-F238E27FC236}">
                      <a16:creationId xmlns:a16="http://schemas.microsoft.com/office/drawing/2014/main" id="{B25DE93E-CE76-444F-B359-AF83E74D3A77}"/>
                    </a:ext>
                  </a:extLst>
                </p:cNvPr>
                <p:cNvSpPr/>
                <p:nvPr/>
              </p:nvSpPr>
              <p:spPr>
                <a:xfrm>
                  <a:off x="9383162" y="5381426"/>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300 to 400[</a:t>
                  </a:r>
                </a:p>
              </p:txBody>
            </p:sp>
            <p:sp>
              <p:nvSpPr>
                <p:cNvPr id="2230" name="Etiquette - RangeColorLegend - DARK - Number - 3" hidden="1">
                  <a:extLst>
                    <a:ext uri="{FF2B5EF4-FFF2-40B4-BE49-F238E27FC236}">
                      <a16:creationId xmlns:a16="http://schemas.microsoft.com/office/drawing/2014/main" id="{F390220B-1291-4361-BE08-0147A1AC8AF1}"/>
                    </a:ext>
                  </a:extLst>
                </p:cNvPr>
                <p:cNvSpPr/>
                <p:nvPr/>
              </p:nvSpPr>
              <p:spPr>
                <a:xfrm>
                  <a:off x="9383162" y="5227538"/>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200 to 300[</a:t>
                  </a:r>
                </a:p>
              </p:txBody>
            </p:sp>
            <p:sp>
              <p:nvSpPr>
                <p:cNvPr id="2231" name="Etiquette - RangeColorLegend - DARK - Color - 5" hidden="1">
                  <a:extLst>
                    <a:ext uri="{FF2B5EF4-FFF2-40B4-BE49-F238E27FC236}">
                      <a16:creationId xmlns:a16="http://schemas.microsoft.com/office/drawing/2014/main" id="{00B4C18F-1EC7-47EB-88A9-B15BFFF62FDB}"/>
                    </a:ext>
                  </a:extLst>
                </p:cNvPr>
                <p:cNvSpPr/>
                <p:nvPr/>
              </p:nvSpPr>
              <p:spPr>
                <a:xfrm>
                  <a:off x="9228362" y="5535314"/>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32" name="Etiquette - RangeColorLegend - DARK - Number - 5" hidden="1">
                  <a:extLst>
                    <a:ext uri="{FF2B5EF4-FFF2-40B4-BE49-F238E27FC236}">
                      <a16:creationId xmlns:a16="http://schemas.microsoft.com/office/drawing/2014/main" id="{4CC280B4-A0B0-4433-A070-938544FCE6E4}"/>
                    </a:ext>
                  </a:extLst>
                </p:cNvPr>
                <p:cNvSpPr/>
                <p:nvPr/>
              </p:nvSpPr>
              <p:spPr>
                <a:xfrm>
                  <a:off x="9383162" y="5535314"/>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233" name="Etiquette - RangeColorLegend - DARK - Color - 6" hidden="1">
                  <a:extLst>
                    <a:ext uri="{FF2B5EF4-FFF2-40B4-BE49-F238E27FC236}">
                      <a16:creationId xmlns:a16="http://schemas.microsoft.com/office/drawing/2014/main" id="{8466DD61-AC32-4D6C-AE90-52305B820A5B}"/>
                    </a:ext>
                  </a:extLst>
                </p:cNvPr>
                <p:cNvSpPr/>
                <p:nvPr/>
              </p:nvSpPr>
              <p:spPr>
                <a:xfrm>
                  <a:off x="9228362" y="5689202"/>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34" name="Etiquette - RangeColorLegend - DARK - Number - 6" hidden="1">
                  <a:extLst>
                    <a:ext uri="{FF2B5EF4-FFF2-40B4-BE49-F238E27FC236}">
                      <a16:creationId xmlns:a16="http://schemas.microsoft.com/office/drawing/2014/main" id="{41D8213E-719F-4144-85A2-5871C6A8F665}"/>
                    </a:ext>
                  </a:extLst>
                </p:cNvPr>
                <p:cNvSpPr/>
                <p:nvPr/>
              </p:nvSpPr>
              <p:spPr>
                <a:xfrm>
                  <a:off x="9383162" y="5689202"/>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235" name="Etiquette - RangeColorLegend - DARK - Color - 7" hidden="1">
                  <a:extLst>
                    <a:ext uri="{FF2B5EF4-FFF2-40B4-BE49-F238E27FC236}">
                      <a16:creationId xmlns:a16="http://schemas.microsoft.com/office/drawing/2014/main" id="{499829DC-A86A-485A-BAA9-B19E9C62403F}"/>
                    </a:ext>
                  </a:extLst>
                </p:cNvPr>
                <p:cNvSpPr/>
                <p:nvPr/>
              </p:nvSpPr>
              <p:spPr>
                <a:xfrm>
                  <a:off x="9228362" y="5843090"/>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36" name="Etiquette - RangeColorLegend - DARK - Number - 7" hidden="1">
                  <a:extLst>
                    <a:ext uri="{FF2B5EF4-FFF2-40B4-BE49-F238E27FC236}">
                      <a16:creationId xmlns:a16="http://schemas.microsoft.com/office/drawing/2014/main" id="{FA46898D-E1DB-4DF1-9684-8EE3584348ED}"/>
                    </a:ext>
                  </a:extLst>
                </p:cNvPr>
                <p:cNvSpPr/>
                <p:nvPr/>
              </p:nvSpPr>
              <p:spPr>
                <a:xfrm>
                  <a:off x="9383162" y="5843090"/>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237" name="Etiquette - RangeColorLegend - DARK - Color - 8" hidden="1">
                  <a:extLst>
                    <a:ext uri="{FF2B5EF4-FFF2-40B4-BE49-F238E27FC236}">
                      <a16:creationId xmlns:a16="http://schemas.microsoft.com/office/drawing/2014/main" id="{99F779D9-22E9-42A4-9793-3A3A5BE31564}"/>
                    </a:ext>
                  </a:extLst>
                </p:cNvPr>
                <p:cNvSpPr/>
                <p:nvPr/>
              </p:nvSpPr>
              <p:spPr>
                <a:xfrm>
                  <a:off x="9228362" y="5996978"/>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38" name="Etiquette - RangeColorLegend - DARK - Number - 8" hidden="1">
                  <a:extLst>
                    <a:ext uri="{FF2B5EF4-FFF2-40B4-BE49-F238E27FC236}">
                      <a16:creationId xmlns:a16="http://schemas.microsoft.com/office/drawing/2014/main" id="{0D386CCC-6CBA-4672-A908-8205472D0B29}"/>
                    </a:ext>
                  </a:extLst>
                </p:cNvPr>
                <p:cNvSpPr/>
                <p:nvPr/>
              </p:nvSpPr>
              <p:spPr>
                <a:xfrm>
                  <a:off x="9383162" y="5996978"/>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239" name="Etiquette - RangeColorLegend - DARK - Color - 9" hidden="1">
                  <a:extLst>
                    <a:ext uri="{FF2B5EF4-FFF2-40B4-BE49-F238E27FC236}">
                      <a16:creationId xmlns:a16="http://schemas.microsoft.com/office/drawing/2014/main" id="{64A0D2DC-E3D0-4597-A4BD-C933149F20CD}"/>
                    </a:ext>
                  </a:extLst>
                </p:cNvPr>
                <p:cNvSpPr/>
                <p:nvPr/>
              </p:nvSpPr>
              <p:spPr>
                <a:xfrm>
                  <a:off x="9228362" y="6150866"/>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40" name="Etiquette - RangeColorLegend - DARK - Number - 9" hidden="1">
                  <a:extLst>
                    <a:ext uri="{FF2B5EF4-FFF2-40B4-BE49-F238E27FC236}">
                      <a16:creationId xmlns:a16="http://schemas.microsoft.com/office/drawing/2014/main" id="{C3A6063D-2017-4889-996E-F77F96ACC2A4}"/>
                    </a:ext>
                  </a:extLst>
                </p:cNvPr>
                <p:cNvSpPr/>
                <p:nvPr/>
              </p:nvSpPr>
              <p:spPr>
                <a:xfrm>
                  <a:off x="9383162" y="6150866"/>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241" name="Etiquette - RangeColorLegend - DARK - Color - 10" hidden="1">
                  <a:extLst>
                    <a:ext uri="{FF2B5EF4-FFF2-40B4-BE49-F238E27FC236}">
                      <a16:creationId xmlns:a16="http://schemas.microsoft.com/office/drawing/2014/main" id="{448AEB0A-84F0-4A3C-8E60-C0F3BE96018C}"/>
                    </a:ext>
                  </a:extLst>
                </p:cNvPr>
                <p:cNvSpPr/>
                <p:nvPr/>
              </p:nvSpPr>
              <p:spPr>
                <a:xfrm>
                  <a:off x="9228362" y="6304754"/>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242" name="Etiquette - RangeColorLegend - DARK - Number - 10" hidden="1">
                  <a:extLst>
                    <a:ext uri="{FF2B5EF4-FFF2-40B4-BE49-F238E27FC236}">
                      <a16:creationId xmlns:a16="http://schemas.microsoft.com/office/drawing/2014/main" id="{DAA7D995-68B1-418A-992F-DE66BD78FCC9}"/>
                    </a:ext>
                  </a:extLst>
                </p:cNvPr>
                <p:cNvSpPr/>
                <p:nvPr/>
              </p:nvSpPr>
              <p:spPr>
                <a:xfrm>
                  <a:off x="9383162" y="6304754"/>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grpSp>
        </p:grpSp>
        <p:sp>
          <p:nvSpPr>
            <p:cNvPr id="37" name="POWER_USER_DATA_MAP_TITLE">
              <a:extLst>
                <a:ext uri="{FF2B5EF4-FFF2-40B4-BE49-F238E27FC236}">
                  <a16:creationId xmlns:a16="http://schemas.microsoft.com/office/drawing/2014/main" id="{8FB15375-F025-4202-82AE-42DFE39C6B83}"/>
                </a:ext>
              </a:extLst>
            </p:cNvPr>
            <p:cNvSpPr/>
            <p:nvPr/>
          </p:nvSpPr>
          <p:spPr>
            <a:xfrm>
              <a:off x="1297524" y="-235157"/>
              <a:ext cx="7506436" cy="635000"/>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500" b="1" dirty="0">
                  <a:solidFill>
                    <a:srgbClr val="000000"/>
                  </a:solidFill>
                </a:rPr>
                <a:t>China </a:t>
              </a:r>
            </a:p>
          </p:txBody>
        </p:sp>
        <p:sp>
          <p:nvSpPr>
            <p:cNvPr id="38" name="POWER_USER_DATA_MAP_STORAGE">
              <a:extLst>
                <a:ext uri="{FF2B5EF4-FFF2-40B4-BE49-F238E27FC236}">
                  <a16:creationId xmlns:a16="http://schemas.microsoft.com/office/drawing/2014/main" id="{5C05CB89-CE34-439F-967E-79366F7ED248}"/>
                </a:ext>
              </a:extLst>
            </p:cNvPr>
            <p:cNvSpPr/>
            <p:nvPr/>
          </p:nvSpPr>
          <p:spPr>
            <a:xfrm>
              <a:off x="818783" y="452232"/>
              <a:ext cx="0" cy="0"/>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dirty="0"/>
            </a:p>
          </p:txBody>
        </p:sp>
      </p:grpSp>
      <p:grpSp>
        <p:nvGrpSpPr>
          <p:cNvPr id="42" name="POWER_USER_DATA_MAP" descr="{&quot;IsGrandientColor&quot;:false,&quot;GradientColor&quot;:&quot;#D9D9D9&quot;,&quot;IsRangesColor&quot;:false,&quot;RangesSettings&quot;:null,&quot;RangeName&quot;:&quot;POWER_USER_EXCEL_MAP_9FBED525_4618_482B_BD46_B8463D539A0F&quot;,&quot;Version&quot;:&quot;1.6.1146.0&quot;}">
            <a:extLst>
              <a:ext uri="{FF2B5EF4-FFF2-40B4-BE49-F238E27FC236}">
                <a16:creationId xmlns:a16="http://schemas.microsoft.com/office/drawing/2014/main" id="{3D112D8C-C176-4411-BA3A-B81FDEF6BEE1}"/>
              </a:ext>
            </a:extLst>
          </p:cNvPr>
          <p:cNvGrpSpPr>
            <a:grpSpLocks noChangeAspect="1"/>
          </p:cNvGrpSpPr>
          <p:nvPr/>
        </p:nvGrpSpPr>
        <p:grpSpPr>
          <a:xfrm>
            <a:off x="7004881" y="422671"/>
            <a:ext cx="2184630" cy="2168893"/>
            <a:chOff x="1608264" y="-526430"/>
            <a:chExt cx="6415974" cy="6369758"/>
          </a:xfrm>
          <a:solidFill>
            <a:srgbClr val="0070C0"/>
          </a:solidFill>
        </p:grpSpPr>
        <p:grpSp>
          <p:nvGrpSpPr>
            <p:cNvPr id="2330" name="Germany">
              <a:extLst>
                <a:ext uri="{FF2B5EF4-FFF2-40B4-BE49-F238E27FC236}">
                  <a16:creationId xmlns:a16="http://schemas.microsoft.com/office/drawing/2014/main" id="{31F6C370-5B57-43D9-9A41-C246503D5D95}"/>
                </a:ext>
              </a:extLst>
            </p:cNvPr>
            <p:cNvGrpSpPr>
              <a:grpSpLocks noChangeAspect="1"/>
            </p:cNvGrpSpPr>
            <p:nvPr/>
          </p:nvGrpSpPr>
          <p:grpSpPr>
            <a:xfrm>
              <a:off x="1608264" y="190636"/>
              <a:ext cx="6194486" cy="5652692"/>
              <a:chOff x="2726093" y="862409"/>
              <a:chExt cx="6194486" cy="5652692"/>
            </a:xfrm>
            <a:grpFill/>
          </p:grpSpPr>
          <p:grpSp>
            <p:nvGrpSpPr>
              <p:cNvPr id="2331" name="Map">
                <a:extLst>
                  <a:ext uri="{FF2B5EF4-FFF2-40B4-BE49-F238E27FC236}">
                    <a16:creationId xmlns:a16="http://schemas.microsoft.com/office/drawing/2014/main" id="{24C31DFC-12D9-41C5-B442-509F24B5EDE4}"/>
                  </a:ext>
                </a:extLst>
              </p:cNvPr>
              <p:cNvGrpSpPr/>
              <p:nvPr/>
            </p:nvGrpSpPr>
            <p:grpSpPr>
              <a:xfrm>
                <a:off x="4401014" y="1241946"/>
                <a:ext cx="4069164" cy="5273155"/>
                <a:chOff x="4401014" y="1241946"/>
                <a:chExt cx="4069164" cy="5273155"/>
              </a:xfrm>
              <a:grpFill/>
            </p:grpSpPr>
            <p:sp>
              <p:nvSpPr>
                <p:cNvPr id="2378" name="Nordrhein-Westfalen" descr="{&quot;Key&quot;:&quot;nordrhein-westfalen&quot;,&quot;Name&quot;:&quot;Nordrhein-Westfalen&quot;,&quot;Value&quot;:1.0,&quot;Formula&quot;:&quot;&quot;,&quot;Text&quot;:&quot;&quot;,&quot;OfficeApplication&quot;:1,&quot;HasValue&quot;:true}">
                  <a:extLst>
                    <a:ext uri="{FF2B5EF4-FFF2-40B4-BE49-F238E27FC236}">
                      <a16:creationId xmlns:a16="http://schemas.microsoft.com/office/drawing/2014/main" id="{9376BED1-8466-4852-9CAA-0F11B87A4F1E}"/>
                    </a:ext>
                  </a:extLst>
                </p:cNvPr>
                <p:cNvSpPr>
                  <a:spLocks/>
                </p:cNvSpPr>
                <p:nvPr/>
              </p:nvSpPr>
              <p:spPr bwMode="auto">
                <a:xfrm>
                  <a:off x="4401014" y="2863438"/>
                  <a:ext cx="1580330" cy="1517116"/>
                </a:xfrm>
                <a:custGeom>
                  <a:avLst/>
                  <a:gdLst>
                    <a:gd name="T0" fmla="*/ 1072 w 1075"/>
                    <a:gd name="T1" fmla="*/ 345 h 1032"/>
                    <a:gd name="T2" fmla="*/ 1046 w 1075"/>
                    <a:gd name="T3" fmla="*/ 309 h 1032"/>
                    <a:gd name="T4" fmla="*/ 1020 w 1075"/>
                    <a:gd name="T5" fmla="*/ 257 h 1032"/>
                    <a:gd name="T6" fmla="*/ 988 w 1075"/>
                    <a:gd name="T7" fmla="*/ 211 h 1032"/>
                    <a:gd name="T8" fmla="*/ 949 w 1075"/>
                    <a:gd name="T9" fmla="*/ 180 h 1032"/>
                    <a:gd name="T10" fmla="*/ 942 w 1075"/>
                    <a:gd name="T11" fmla="*/ 155 h 1032"/>
                    <a:gd name="T12" fmla="*/ 930 w 1075"/>
                    <a:gd name="T13" fmla="*/ 86 h 1032"/>
                    <a:gd name="T14" fmla="*/ 964 w 1075"/>
                    <a:gd name="T15" fmla="*/ 25 h 1032"/>
                    <a:gd name="T16" fmla="*/ 913 w 1075"/>
                    <a:gd name="T17" fmla="*/ 54 h 1032"/>
                    <a:gd name="T18" fmla="*/ 838 w 1075"/>
                    <a:gd name="T19" fmla="*/ 44 h 1032"/>
                    <a:gd name="T20" fmla="*/ 762 w 1075"/>
                    <a:gd name="T21" fmla="*/ 18 h 1032"/>
                    <a:gd name="T22" fmla="*/ 746 w 1075"/>
                    <a:gd name="T23" fmla="*/ 67 h 1032"/>
                    <a:gd name="T24" fmla="*/ 778 w 1075"/>
                    <a:gd name="T25" fmla="*/ 162 h 1032"/>
                    <a:gd name="T26" fmla="*/ 701 w 1075"/>
                    <a:gd name="T27" fmla="*/ 190 h 1032"/>
                    <a:gd name="T28" fmla="*/ 626 w 1075"/>
                    <a:gd name="T29" fmla="*/ 225 h 1032"/>
                    <a:gd name="T30" fmla="*/ 635 w 1075"/>
                    <a:gd name="T31" fmla="*/ 163 h 1032"/>
                    <a:gd name="T32" fmla="*/ 604 w 1075"/>
                    <a:gd name="T33" fmla="*/ 131 h 1032"/>
                    <a:gd name="T34" fmla="*/ 575 w 1075"/>
                    <a:gd name="T35" fmla="*/ 75 h 1032"/>
                    <a:gd name="T36" fmla="*/ 500 w 1075"/>
                    <a:gd name="T37" fmla="*/ 41 h 1032"/>
                    <a:gd name="T38" fmla="*/ 446 w 1075"/>
                    <a:gd name="T39" fmla="*/ 101 h 1032"/>
                    <a:gd name="T40" fmla="*/ 345 w 1075"/>
                    <a:gd name="T41" fmla="*/ 133 h 1032"/>
                    <a:gd name="T42" fmla="*/ 308 w 1075"/>
                    <a:gd name="T43" fmla="*/ 164 h 1032"/>
                    <a:gd name="T44" fmla="*/ 251 w 1075"/>
                    <a:gd name="T45" fmla="*/ 201 h 1032"/>
                    <a:gd name="T46" fmla="*/ 276 w 1075"/>
                    <a:gd name="T47" fmla="*/ 257 h 1032"/>
                    <a:gd name="T48" fmla="*/ 222 w 1075"/>
                    <a:gd name="T49" fmla="*/ 292 h 1032"/>
                    <a:gd name="T50" fmla="*/ 149 w 1075"/>
                    <a:gd name="T51" fmla="*/ 325 h 1032"/>
                    <a:gd name="T52" fmla="*/ 102 w 1075"/>
                    <a:gd name="T53" fmla="*/ 308 h 1032"/>
                    <a:gd name="T54" fmla="*/ 81 w 1075"/>
                    <a:gd name="T55" fmla="*/ 318 h 1032"/>
                    <a:gd name="T56" fmla="*/ 20 w 1075"/>
                    <a:gd name="T57" fmla="*/ 340 h 1032"/>
                    <a:gd name="T58" fmla="*/ 39 w 1075"/>
                    <a:gd name="T59" fmla="*/ 393 h 1032"/>
                    <a:gd name="T60" fmla="*/ 102 w 1075"/>
                    <a:gd name="T61" fmla="*/ 498 h 1032"/>
                    <a:gd name="T62" fmla="*/ 60 w 1075"/>
                    <a:gd name="T63" fmla="*/ 614 h 1032"/>
                    <a:gd name="T64" fmla="*/ 88 w 1075"/>
                    <a:gd name="T65" fmla="*/ 641 h 1032"/>
                    <a:gd name="T66" fmla="*/ 27 w 1075"/>
                    <a:gd name="T67" fmla="*/ 699 h 1032"/>
                    <a:gd name="T68" fmla="*/ 8 w 1075"/>
                    <a:gd name="T69" fmla="*/ 730 h 1032"/>
                    <a:gd name="T70" fmla="*/ 56 w 1075"/>
                    <a:gd name="T71" fmla="*/ 753 h 1032"/>
                    <a:gd name="T72" fmla="*/ 47 w 1075"/>
                    <a:gd name="T73" fmla="*/ 807 h 1032"/>
                    <a:gd name="T74" fmla="*/ 52 w 1075"/>
                    <a:gd name="T75" fmla="*/ 837 h 1032"/>
                    <a:gd name="T76" fmla="*/ 95 w 1075"/>
                    <a:gd name="T77" fmla="*/ 884 h 1032"/>
                    <a:gd name="T78" fmla="*/ 106 w 1075"/>
                    <a:gd name="T79" fmla="*/ 920 h 1032"/>
                    <a:gd name="T80" fmla="*/ 129 w 1075"/>
                    <a:gd name="T81" fmla="*/ 952 h 1032"/>
                    <a:gd name="T82" fmla="*/ 168 w 1075"/>
                    <a:gd name="T83" fmla="*/ 1029 h 1032"/>
                    <a:gd name="T84" fmla="*/ 191 w 1075"/>
                    <a:gd name="T85" fmla="*/ 1018 h 1032"/>
                    <a:gd name="T86" fmla="*/ 247 w 1075"/>
                    <a:gd name="T87" fmla="*/ 1019 h 1032"/>
                    <a:gd name="T88" fmla="*/ 289 w 1075"/>
                    <a:gd name="T89" fmla="*/ 984 h 1032"/>
                    <a:gd name="T90" fmla="*/ 322 w 1075"/>
                    <a:gd name="T91" fmla="*/ 950 h 1032"/>
                    <a:gd name="T92" fmla="*/ 384 w 1075"/>
                    <a:gd name="T93" fmla="*/ 908 h 1032"/>
                    <a:gd name="T94" fmla="*/ 458 w 1075"/>
                    <a:gd name="T95" fmla="*/ 888 h 1032"/>
                    <a:gd name="T96" fmla="*/ 534 w 1075"/>
                    <a:gd name="T97" fmla="*/ 838 h 1032"/>
                    <a:gd name="T98" fmla="*/ 556 w 1075"/>
                    <a:gd name="T99" fmla="*/ 803 h 1032"/>
                    <a:gd name="T100" fmla="*/ 592 w 1075"/>
                    <a:gd name="T101" fmla="*/ 745 h 1032"/>
                    <a:gd name="T102" fmla="*/ 649 w 1075"/>
                    <a:gd name="T103" fmla="*/ 806 h 1032"/>
                    <a:gd name="T104" fmla="*/ 689 w 1075"/>
                    <a:gd name="T105" fmla="*/ 857 h 1032"/>
                    <a:gd name="T106" fmla="*/ 711 w 1075"/>
                    <a:gd name="T107" fmla="*/ 802 h 1032"/>
                    <a:gd name="T108" fmla="*/ 766 w 1075"/>
                    <a:gd name="T109" fmla="*/ 777 h 1032"/>
                    <a:gd name="T110" fmla="*/ 800 w 1075"/>
                    <a:gd name="T111" fmla="*/ 726 h 1032"/>
                    <a:gd name="T112" fmla="*/ 862 w 1075"/>
                    <a:gd name="T113" fmla="*/ 664 h 1032"/>
                    <a:gd name="T114" fmla="*/ 836 w 1075"/>
                    <a:gd name="T115" fmla="*/ 600 h 1032"/>
                    <a:gd name="T116" fmla="*/ 842 w 1075"/>
                    <a:gd name="T117" fmla="*/ 551 h 1032"/>
                    <a:gd name="T118" fmla="*/ 927 w 1075"/>
                    <a:gd name="T119" fmla="*/ 517 h 1032"/>
                    <a:gd name="T120" fmla="*/ 970 w 1075"/>
                    <a:gd name="T121" fmla="*/ 493 h 1032"/>
                    <a:gd name="T122" fmla="*/ 1045 w 1075"/>
                    <a:gd name="T123" fmla="*/ 449 h 1032"/>
                    <a:gd name="T124" fmla="*/ 1059 w 1075"/>
                    <a:gd name="T125" fmla="*/ 413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5" h="1032">
                      <a:moveTo>
                        <a:pt x="1059" y="413"/>
                      </a:moveTo>
                      <a:lnTo>
                        <a:pt x="1053" y="409"/>
                      </a:lnTo>
                      <a:lnTo>
                        <a:pt x="1058" y="386"/>
                      </a:lnTo>
                      <a:lnTo>
                        <a:pt x="1057" y="369"/>
                      </a:lnTo>
                      <a:lnTo>
                        <a:pt x="1069" y="352"/>
                      </a:lnTo>
                      <a:lnTo>
                        <a:pt x="1072" y="345"/>
                      </a:lnTo>
                      <a:lnTo>
                        <a:pt x="1074" y="327"/>
                      </a:lnTo>
                      <a:lnTo>
                        <a:pt x="1069" y="318"/>
                      </a:lnTo>
                      <a:lnTo>
                        <a:pt x="1075" y="307"/>
                      </a:lnTo>
                      <a:lnTo>
                        <a:pt x="1073" y="306"/>
                      </a:lnTo>
                      <a:lnTo>
                        <a:pt x="1059" y="310"/>
                      </a:lnTo>
                      <a:lnTo>
                        <a:pt x="1046" y="309"/>
                      </a:lnTo>
                      <a:lnTo>
                        <a:pt x="1033" y="312"/>
                      </a:lnTo>
                      <a:lnTo>
                        <a:pt x="1037" y="295"/>
                      </a:lnTo>
                      <a:lnTo>
                        <a:pt x="1033" y="284"/>
                      </a:lnTo>
                      <a:lnTo>
                        <a:pt x="1012" y="281"/>
                      </a:lnTo>
                      <a:lnTo>
                        <a:pt x="1017" y="273"/>
                      </a:lnTo>
                      <a:lnTo>
                        <a:pt x="1020" y="257"/>
                      </a:lnTo>
                      <a:lnTo>
                        <a:pt x="1005" y="252"/>
                      </a:lnTo>
                      <a:lnTo>
                        <a:pt x="1001" y="257"/>
                      </a:lnTo>
                      <a:lnTo>
                        <a:pt x="985" y="251"/>
                      </a:lnTo>
                      <a:lnTo>
                        <a:pt x="992" y="237"/>
                      </a:lnTo>
                      <a:lnTo>
                        <a:pt x="985" y="220"/>
                      </a:lnTo>
                      <a:lnTo>
                        <a:pt x="988" y="211"/>
                      </a:lnTo>
                      <a:lnTo>
                        <a:pt x="988" y="205"/>
                      </a:lnTo>
                      <a:lnTo>
                        <a:pt x="985" y="200"/>
                      </a:lnTo>
                      <a:lnTo>
                        <a:pt x="976" y="196"/>
                      </a:lnTo>
                      <a:lnTo>
                        <a:pt x="974" y="188"/>
                      </a:lnTo>
                      <a:lnTo>
                        <a:pt x="972" y="183"/>
                      </a:lnTo>
                      <a:lnTo>
                        <a:pt x="949" y="180"/>
                      </a:lnTo>
                      <a:lnTo>
                        <a:pt x="931" y="182"/>
                      </a:lnTo>
                      <a:lnTo>
                        <a:pt x="930" y="180"/>
                      </a:lnTo>
                      <a:lnTo>
                        <a:pt x="933" y="173"/>
                      </a:lnTo>
                      <a:lnTo>
                        <a:pt x="926" y="156"/>
                      </a:lnTo>
                      <a:lnTo>
                        <a:pt x="935" y="154"/>
                      </a:lnTo>
                      <a:lnTo>
                        <a:pt x="942" y="155"/>
                      </a:lnTo>
                      <a:lnTo>
                        <a:pt x="949" y="133"/>
                      </a:lnTo>
                      <a:lnTo>
                        <a:pt x="948" y="132"/>
                      </a:lnTo>
                      <a:lnTo>
                        <a:pt x="924" y="123"/>
                      </a:lnTo>
                      <a:lnTo>
                        <a:pt x="923" y="121"/>
                      </a:lnTo>
                      <a:lnTo>
                        <a:pt x="925" y="94"/>
                      </a:lnTo>
                      <a:lnTo>
                        <a:pt x="930" y="86"/>
                      </a:lnTo>
                      <a:lnTo>
                        <a:pt x="941" y="86"/>
                      </a:lnTo>
                      <a:lnTo>
                        <a:pt x="948" y="82"/>
                      </a:lnTo>
                      <a:lnTo>
                        <a:pt x="954" y="69"/>
                      </a:lnTo>
                      <a:lnTo>
                        <a:pt x="963" y="54"/>
                      </a:lnTo>
                      <a:lnTo>
                        <a:pt x="956" y="33"/>
                      </a:lnTo>
                      <a:lnTo>
                        <a:pt x="964" y="25"/>
                      </a:lnTo>
                      <a:lnTo>
                        <a:pt x="956" y="19"/>
                      </a:lnTo>
                      <a:lnTo>
                        <a:pt x="952" y="13"/>
                      </a:lnTo>
                      <a:lnTo>
                        <a:pt x="947" y="12"/>
                      </a:lnTo>
                      <a:lnTo>
                        <a:pt x="931" y="20"/>
                      </a:lnTo>
                      <a:lnTo>
                        <a:pt x="920" y="37"/>
                      </a:lnTo>
                      <a:lnTo>
                        <a:pt x="913" y="54"/>
                      </a:lnTo>
                      <a:lnTo>
                        <a:pt x="893" y="58"/>
                      </a:lnTo>
                      <a:lnTo>
                        <a:pt x="883" y="62"/>
                      </a:lnTo>
                      <a:lnTo>
                        <a:pt x="873" y="63"/>
                      </a:lnTo>
                      <a:lnTo>
                        <a:pt x="843" y="59"/>
                      </a:lnTo>
                      <a:lnTo>
                        <a:pt x="837" y="49"/>
                      </a:lnTo>
                      <a:lnTo>
                        <a:pt x="838" y="44"/>
                      </a:lnTo>
                      <a:lnTo>
                        <a:pt x="834" y="20"/>
                      </a:lnTo>
                      <a:lnTo>
                        <a:pt x="826" y="6"/>
                      </a:lnTo>
                      <a:lnTo>
                        <a:pt x="816" y="0"/>
                      </a:lnTo>
                      <a:lnTo>
                        <a:pt x="798" y="7"/>
                      </a:lnTo>
                      <a:lnTo>
                        <a:pt x="772" y="8"/>
                      </a:lnTo>
                      <a:lnTo>
                        <a:pt x="762" y="18"/>
                      </a:lnTo>
                      <a:lnTo>
                        <a:pt x="760" y="29"/>
                      </a:lnTo>
                      <a:lnTo>
                        <a:pt x="751" y="37"/>
                      </a:lnTo>
                      <a:lnTo>
                        <a:pt x="735" y="38"/>
                      </a:lnTo>
                      <a:lnTo>
                        <a:pt x="715" y="34"/>
                      </a:lnTo>
                      <a:lnTo>
                        <a:pt x="726" y="59"/>
                      </a:lnTo>
                      <a:lnTo>
                        <a:pt x="746" y="67"/>
                      </a:lnTo>
                      <a:lnTo>
                        <a:pt x="754" y="73"/>
                      </a:lnTo>
                      <a:lnTo>
                        <a:pt x="762" y="87"/>
                      </a:lnTo>
                      <a:lnTo>
                        <a:pt x="764" y="94"/>
                      </a:lnTo>
                      <a:lnTo>
                        <a:pt x="767" y="144"/>
                      </a:lnTo>
                      <a:lnTo>
                        <a:pt x="775" y="154"/>
                      </a:lnTo>
                      <a:lnTo>
                        <a:pt x="778" y="162"/>
                      </a:lnTo>
                      <a:lnTo>
                        <a:pt x="773" y="169"/>
                      </a:lnTo>
                      <a:lnTo>
                        <a:pt x="756" y="182"/>
                      </a:lnTo>
                      <a:lnTo>
                        <a:pt x="754" y="189"/>
                      </a:lnTo>
                      <a:lnTo>
                        <a:pt x="749" y="193"/>
                      </a:lnTo>
                      <a:lnTo>
                        <a:pt x="710" y="182"/>
                      </a:lnTo>
                      <a:lnTo>
                        <a:pt x="701" y="190"/>
                      </a:lnTo>
                      <a:lnTo>
                        <a:pt x="691" y="203"/>
                      </a:lnTo>
                      <a:lnTo>
                        <a:pt x="685" y="206"/>
                      </a:lnTo>
                      <a:lnTo>
                        <a:pt x="665" y="213"/>
                      </a:lnTo>
                      <a:lnTo>
                        <a:pt x="654" y="210"/>
                      </a:lnTo>
                      <a:lnTo>
                        <a:pt x="638" y="213"/>
                      </a:lnTo>
                      <a:lnTo>
                        <a:pt x="626" y="225"/>
                      </a:lnTo>
                      <a:lnTo>
                        <a:pt x="606" y="218"/>
                      </a:lnTo>
                      <a:lnTo>
                        <a:pt x="599" y="200"/>
                      </a:lnTo>
                      <a:lnTo>
                        <a:pt x="607" y="193"/>
                      </a:lnTo>
                      <a:lnTo>
                        <a:pt x="615" y="189"/>
                      </a:lnTo>
                      <a:lnTo>
                        <a:pt x="628" y="187"/>
                      </a:lnTo>
                      <a:lnTo>
                        <a:pt x="635" y="163"/>
                      </a:lnTo>
                      <a:lnTo>
                        <a:pt x="627" y="160"/>
                      </a:lnTo>
                      <a:lnTo>
                        <a:pt x="611" y="159"/>
                      </a:lnTo>
                      <a:lnTo>
                        <a:pt x="611" y="155"/>
                      </a:lnTo>
                      <a:lnTo>
                        <a:pt x="600" y="149"/>
                      </a:lnTo>
                      <a:lnTo>
                        <a:pt x="606" y="134"/>
                      </a:lnTo>
                      <a:lnTo>
                        <a:pt x="604" y="131"/>
                      </a:lnTo>
                      <a:lnTo>
                        <a:pt x="611" y="115"/>
                      </a:lnTo>
                      <a:lnTo>
                        <a:pt x="606" y="104"/>
                      </a:lnTo>
                      <a:lnTo>
                        <a:pt x="619" y="99"/>
                      </a:lnTo>
                      <a:lnTo>
                        <a:pt x="609" y="82"/>
                      </a:lnTo>
                      <a:lnTo>
                        <a:pt x="597" y="68"/>
                      </a:lnTo>
                      <a:lnTo>
                        <a:pt x="575" y="75"/>
                      </a:lnTo>
                      <a:lnTo>
                        <a:pt x="566" y="69"/>
                      </a:lnTo>
                      <a:lnTo>
                        <a:pt x="537" y="52"/>
                      </a:lnTo>
                      <a:lnTo>
                        <a:pt x="529" y="29"/>
                      </a:lnTo>
                      <a:lnTo>
                        <a:pt x="507" y="22"/>
                      </a:lnTo>
                      <a:lnTo>
                        <a:pt x="503" y="25"/>
                      </a:lnTo>
                      <a:lnTo>
                        <a:pt x="500" y="41"/>
                      </a:lnTo>
                      <a:lnTo>
                        <a:pt x="506" y="50"/>
                      </a:lnTo>
                      <a:lnTo>
                        <a:pt x="504" y="51"/>
                      </a:lnTo>
                      <a:lnTo>
                        <a:pt x="494" y="70"/>
                      </a:lnTo>
                      <a:lnTo>
                        <a:pt x="480" y="71"/>
                      </a:lnTo>
                      <a:lnTo>
                        <a:pt x="467" y="82"/>
                      </a:lnTo>
                      <a:lnTo>
                        <a:pt x="446" y="101"/>
                      </a:lnTo>
                      <a:lnTo>
                        <a:pt x="440" y="103"/>
                      </a:lnTo>
                      <a:lnTo>
                        <a:pt x="418" y="117"/>
                      </a:lnTo>
                      <a:lnTo>
                        <a:pt x="406" y="120"/>
                      </a:lnTo>
                      <a:lnTo>
                        <a:pt x="365" y="121"/>
                      </a:lnTo>
                      <a:lnTo>
                        <a:pt x="356" y="128"/>
                      </a:lnTo>
                      <a:lnTo>
                        <a:pt x="345" y="133"/>
                      </a:lnTo>
                      <a:lnTo>
                        <a:pt x="336" y="133"/>
                      </a:lnTo>
                      <a:lnTo>
                        <a:pt x="337" y="134"/>
                      </a:lnTo>
                      <a:lnTo>
                        <a:pt x="337" y="137"/>
                      </a:lnTo>
                      <a:lnTo>
                        <a:pt x="323" y="144"/>
                      </a:lnTo>
                      <a:lnTo>
                        <a:pt x="313" y="159"/>
                      </a:lnTo>
                      <a:lnTo>
                        <a:pt x="308" y="164"/>
                      </a:lnTo>
                      <a:lnTo>
                        <a:pt x="295" y="169"/>
                      </a:lnTo>
                      <a:lnTo>
                        <a:pt x="290" y="176"/>
                      </a:lnTo>
                      <a:lnTo>
                        <a:pt x="284" y="189"/>
                      </a:lnTo>
                      <a:lnTo>
                        <a:pt x="280" y="192"/>
                      </a:lnTo>
                      <a:lnTo>
                        <a:pt x="255" y="196"/>
                      </a:lnTo>
                      <a:lnTo>
                        <a:pt x="251" y="201"/>
                      </a:lnTo>
                      <a:lnTo>
                        <a:pt x="245" y="213"/>
                      </a:lnTo>
                      <a:lnTo>
                        <a:pt x="235" y="217"/>
                      </a:lnTo>
                      <a:lnTo>
                        <a:pt x="235" y="228"/>
                      </a:lnTo>
                      <a:lnTo>
                        <a:pt x="246" y="234"/>
                      </a:lnTo>
                      <a:lnTo>
                        <a:pt x="266" y="244"/>
                      </a:lnTo>
                      <a:lnTo>
                        <a:pt x="276" y="257"/>
                      </a:lnTo>
                      <a:lnTo>
                        <a:pt x="276" y="262"/>
                      </a:lnTo>
                      <a:lnTo>
                        <a:pt x="270" y="268"/>
                      </a:lnTo>
                      <a:lnTo>
                        <a:pt x="264" y="279"/>
                      </a:lnTo>
                      <a:lnTo>
                        <a:pt x="257" y="287"/>
                      </a:lnTo>
                      <a:lnTo>
                        <a:pt x="249" y="291"/>
                      </a:lnTo>
                      <a:lnTo>
                        <a:pt x="222" y="292"/>
                      </a:lnTo>
                      <a:lnTo>
                        <a:pt x="193" y="302"/>
                      </a:lnTo>
                      <a:lnTo>
                        <a:pt x="178" y="313"/>
                      </a:lnTo>
                      <a:lnTo>
                        <a:pt x="167" y="315"/>
                      </a:lnTo>
                      <a:lnTo>
                        <a:pt x="148" y="310"/>
                      </a:lnTo>
                      <a:lnTo>
                        <a:pt x="151" y="320"/>
                      </a:lnTo>
                      <a:lnTo>
                        <a:pt x="149" y="325"/>
                      </a:lnTo>
                      <a:lnTo>
                        <a:pt x="138" y="328"/>
                      </a:lnTo>
                      <a:lnTo>
                        <a:pt x="137" y="321"/>
                      </a:lnTo>
                      <a:lnTo>
                        <a:pt x="132" y="318"/>
                      </a:lnTo>
                      <a:lnTo>
                        <a:pt x="121" y="317"/>
                      </a:lnTo>
                      <a:lnTo>
                        <a:pt x="113" y="307"/>
                      </a:lnTo>
                      <a:lnTo>
                        <a:pt x="102" y="308"/>
                      </a:lnTo>
                      <a:lnTo>
                        <a:pt x="91" y="305"/>
                      </a:lnTo>
                      <a:lnTo>
                        <a:pt x="81" y="297"/>
                      </a:lnTo>
                      <a:lnTo>
                        <a:pt x="72" y="293"/>
                      </a:lnTo>
                      <a:lnTo>
                        <a:pt x="61" y="298"/>
                      </a:lnTo>
                      <a:lnTo>
                        <a:pt x="77" y="312"/>
                      </a:lnTo>
                      <a:lnTo>
                        <a:pt x="81" y="318"/>
                      </a:lnTo>
                      <a:lnTo>
                        <a:pt x="59" y="313"/>
                      </a:lnTo>
                      <a:lnTo>
                        <a:pt x="47" y="316"/>
                      </a:lnTo>
                      <a:lnTo>
                        <a:pt x="31" y="325"/>
                      </a:lnTo>
                      <a:lnTo>
                        <a:pt x="18" y="327"/>
                      </a:lnTo>
                      <a:lnTo>
                        <a:pt x="13" y="335"/>
                      </a:lnTo>
                      <a:lnTo>
                        <a:pt x="20" y="340"/>
                      </a:lnTo>
                      <a:lnTo>
                        <a:pt x="24" y="349"/>
                      </a:lnTo>
                      <a:lnTo>
                        <a:pt x="24" y="358"/>
                      </a:lnTo>
                      <a:lnTo>
                        <a:pt x="17" y="369"/>
                      </a:lnTo>
                      <a:lnTo>
                        <a:pt x="29" y="371"/>
                      </a:lnTo>
                      <a:lnTo>
                        <a:pt x="43" y="380"/>
                      </a:lnTo>
                      <a:lnTo>
                        <a:pt x="39" y="393"/>
                      </a:lnTo>
                      <a:lnTo>
                        <a:pt x="46" y="402"/>
                      </a:lnTo>
                      <a:lnTo>
                        <a:pt x="67" y="411"/>
                      </a:lnTo>
                      <a:lnTo>
                        <a:pt x="63" y="434"/>
                      </a:lnTo>
                      <a:lnTo>
                        <a:pt x="84" y="460"/>
                      </a:lnTo>
                      <a:lnTo>
                        <a:pt x="97" y="474"/>
                      </a:lnTo>
                      <a:lnTo>
                        <a:pt x="102" y="498"/>
                      </a:lnTo>
                      <a:lnTo>
                        <a:pt x="99" y="526"/>
                      </a:lnTo>
                      <a:lnTo>
                        <a:pt x="103" y="531"/>
                      </a:lnTo>
                      <a:lnTo>
                        <a:pt x="99" y="551"/>
                      </a:lnTo>
                      <a:lnTo>
                        <a:pt x="97" y="555"/>
                      </a:lnTo>
                      <a:lnTo>
                        <a:pt x="86" y="564"/>
                      </a:lnTo>
                      <a:lnTo>
                        <a:pt x="60" y="614"/>
                      </a:lnTo>
                      <a:lnTo>
                        <a:pt x="59" y="624"/>
                      </a:lnTo>
                      <a:lnTo>
                        <a:pt x="61" y="633"/>
                      </a:lnTo>
                      <a:lnTo>
                        <a:pt x="69" y="637"/>
                      </a:lnTo>
                      <a:lnTo>
                        <a:pt x="84" y="627"/>
                      </a:lnTo>
                      <a:lnTo>
                        <a:pt x="81" y="636"/>
                      </a:lnTo>
                      <a:lnTo>
                        <a:pt x="88" y="641"/>
                      </a:lnTo>
                      <a:lnTo>
                        <a:pt x="84" y="648"/>
                      </a:lnTo>
                      <a:lnTo>
                        <a:pt x="67" y="656"/>
                      </a:lnTo>
                      <a:lnTo>
                        <a:pt x="39" y="679"/>
                      </a:lnTo>
                      <a:lnTo>
                        <a:pt x="35" y="683"/>
                      </a:lnTo>
                      <a:lnTo>
                        <a:pt x="30" y="695"/>
                      </a:lnTo>
                      <a:lnTo>
                        <a:pt x="27" y="699"/>
                      </a:lnTo>
                      <a:lnTo>
                        <a:pt x="21" y="699"/>
                      </a:lnTo>
                      <a:lnTo>
                        <a:pt x="9" y="689"/>
                      </a:lnTo>
                      <a:lnTo>
                        <a:pt x="0" y="693"/>
                      </a:lnTo>
                      <a:lnTo>
                        <a:pt x="2" y="704"/>
                      </a:lnTo>
                      <a:lnTo>
                        <a:pt x="7" y="718"/>
                      </a:lnTo>
                      <a:lnTo>
                        <a:pt x="8" y="730"/>
                      </a:lnTo>
                      <a:lnTo>
                        <a:pt x="20" y="724"/>
                      </a:lnTo>
                      <a:lnTo>
                        <a:pt x="36" y="727"/>
                      </a:lnTo>
                      <a:lnTo>
                        <a:pt x="47" y="726"/>
                      </a:lnTo>
                      <a:lnTo>
                        <a:pt x="45" y="736"/>
                      </a:lnTo>
                      <a:lnTo>
                        <a:pt x="45" y="743"/>
                      </a:lnTo>
                      <a:lnTo>
                        <a:pt x="56" y="753"/>
                      </a:lnTo>
                      <a:lnTo>
                        <a:pt x="66" y="757"/>
                      </a:lnTo>
                      <a:lnTo>
                        <a:pt x="63" y="764"/>
                      </a:lnTo>
                      <a:lnTo>
                        <a:pt x="66" y="774"/>
                      </a:lnTo>
                      <a:lnTo>
                        <a:pt x="61" y="786"/>
                      </a:lnTo>
                      <a:lnTo>
                        <a:pt x="48" y="793"/>
                      </a:lnTo>
                      <a:lnTo>
                        <a:pt x="47" y="807"/>
                      </a:lnTo>
                      <a:lnTo>
                        <a:pt x="43" y="811"/>
                      </a:lnTo>
                      <a:lnTo>
                        <a:pt x="39" y="810"/>
                      </a:lnTo>
                      <a:lnTo>
                        <a:pt x="41" y="816"/>
                      </a:lnTo>
                      <a:lnTo>
                        <a:pt x="47" y="825"/>
                      </a:lnTo>
                      <a:lnTo>
                        <a:pt x="47" y="835"/>
                      </a:lnTo>
                      <a:lnTo>
                        <a:pt x="52" y="837"/>
                      </a:lnTo>
                      <a:lnTo>
                        <a:pt x="53" y="850"/>
                      </a:lnTo>
                      <a:lnTo>
                        <a:pt x="69" y="848"/>
                      </a:lnTo>
                      <a:lnTo>
                        <a:pt x="74" y="848"/>
                      </a:lnTo>
                      <a:lnTo>
                        <a:pt x="80" y="854"/>
                      </a:lnTo>
                      <a:lnTo>
                        <a:pt x="99" y="882"/>
                      </a:lnTo>
                      <a:lnTo>
                        <a:pt x="95" y="884"/>
                      </a:lnTo>
                      <a:lnTo>
                        <a:pt x="99" y="891"/>
                      </a:lnTo>
                      <a:lnTo>
                        <a:pt x="105" y="894"/>
                      </a:lnTo>
                      <a:lnTo>
                        <a:pt x="126" y="895"/>
                      </a:lnTo>
                      <a:lnTo>
                        <a:pt x="127" y="898"/>
                      </a:lnTo>
                      <a:lnTo>
                        <a:pt x="122" y="908"/>
                      </a:lnTo>
                      <a:lnTo>
                        <a:pt x="106" y="920"/>
                      </a:lnTo>
                      <a:lnTo>
                        <a:pt x="100" y="928"/>
                      </a:lnTo>
                      <a:lnTo>
                        <a:pt x="106" y="934"/>
                      </a:lnTo>
                      <a:lnTo>
                        <a:pt x="103" y="938"/>
                      </a:lnTo>
                      <a:lnTo>
                        <a:pt x="110" y="942"/>
                      </a:lnTo>
                      <a:lnTo>
                        <a:pt x="118" y="955"/>
                      </a:lnTo>
                      <a:lnTo>
                        <a:pt x="129" y="952"/>
                      </a:lnTo>
                      <a:lnTo>
                        <a:pt x="155" y="958"/>
                      </a:lnTo>
                      <a:lnTo>
                        <a:pt x="151" y="961"/>
                      </a:lnTo>
                      <a:lnTo>
                        <a:pt x="153" y="974"/>
                      </a:lnTo>
                      <a:lnTo>
                        <a:pt x="160" y="988"/>
                      </a:lnTo>
                      <a:lnTo>
                        <a:pt x="157" y="1012"/>
                      </a:lnTo>
                      <a:lnTo>
                        <a:pt x="168" y="1029"/>
                      </a:lnTo>
                      <a:lnTo>
                        <a:pt x="168" y="1032"/>
                      </a:lnTo>
                      <a:lnTo>
                        <a:pt x="176" y="1032"/>
                      </a:lnTo>
                      <a:lnTo>
                        <a:pt x="183" y="1025"/>
                      </a:lnTo>
                      <a:lnTo>
                        <a:pt x="173" y="1009"/>
                      </a:lnTo>
                      <a:lnTo>
                        <a:pt x="176" y="1004"/>
                      </a:lnTo>
                      <a:lnTo>
                        <a:pt x="191" y="1018"/>
                      </a:lnTo>
                      <a:lnTo>
                        <a:pt x="192" y="1023"/>
                      </a:lnTo>
                      <a:lnTo>
                        <a:pt x="201" y="1022"/>
                      </a:lnTo>
                      <a:lnTo>
                        <a:pt x="216" y="1011"/>
                      </a:lnTo>
                      <a:lnTo>
                        <a:pt x="228" y="1008"/>
                      </a:lnTo>
                      <a:lnTo>
                        <a:pt x="243" y="1012"/>
                      </a:lnTo>
                      <a:lnTo>
                        <a:pt x="247" y="1019"/>
                      </a:lnTo>
                      <a:lnTo>
                        <a:pt x="258" y="1014"/>
                      </a:lnTo>
                      <a:lnTo>
                        <a:pt x="268" y="1023"/>
                      </a:lnTo>
                      <a:lnTo>
                        <a:pt x="273" y="1023"/>
                      </a:lnTo>
                      <a:lnTo>
                        <a:pt x="297" y="1015"/>
                      </a:lnTo>
                      <a:lnTo>
                        <a:pt x="290" y="996"/>
                      </a:lnTo>
                      <a:lnTo>
                        <a:pt x="289" y="984"/>
                      </a:lnTo>
                      <a:lnTo>
                        <a:pt x="282" y="977"/>
                      </a:lnTo>
                      <a:lnTo>
                        <a:pt x="284" y="966"/>
                      </a:lnTo>
                      <a:lnTo>
                        <a:pt x="300" y="955"/>
                      </a:lnTo>
                      <a:lnTo>
                        <a:pt x="312" y="967"/>
                      </a:lnTo>
                      <a:lnTo>
                        <a:pt x="322" y="960"/>
                      </a:lnTo>
                      <a:lnTo>
                        <a:pt x="322" y="950"/>
                      </a:lnTo>
                      <a:lnTo>
                        <a:pt x="320" y="938"/>
                      </a:lnTo>
                      <a:lnTo>
                        <a:pt x="329" y="935"/>
                      </a:lnTo>
                      <a:lnTo>
                        <a:pt x="338" y="922"/>
                      </a:lnTo>
                      <a:lnTo>
                        <a:pt x="354" y="917"/>
                      </a:lnTo>
                      <a:lnTo>
                        <a:pt x="370" y="906"/>
                      </a:lnTo>
                      <a:lnTo>
                        <a:pt x="384" y="908"/>
                      </a:lnTo>
                      <a:lnTo>
                        <a:pt x="401" y="901"/>
                      </a:lnTo>
                      <a:lnTo>
                        <a:pt x="410" y="893"/>
                      </a:lnTo>
                      <a:lnTo>
                        <a:pt x="413" y="887"/>
                      </a:lnTo>
                      <a:lnTo>
                        <a:pt x="423" y="892"/>
                      </a:lnTo>
                      <a:lnTo>
                        <a:pt x="440" y="893"/>
                      </a:lnTo>
                      <a:lnTo>
                        <a:pt x="458" y="888"/>
                      </a:lnTo>
                      <a:lnTo>
                        <a:pt x="467" y="882"/>
                      </a:lnTo>
                      <a:lnTo>
                        <a:pt x="478" y="850"/>
                      </a:lnTo>
                      <a:lnTo>
                        <a:pt x="489" y="852"/>
                      </a:lnTo>
                      <a:lnTo>
                        <a:pt x="514" y="845"/>
                      </a:lnTo>
                      <a:lnTo>
                        <a:pt x="528" y="837"/>
                      </a:lnTo>
                      <a:lnTo>
                        <a:pt x="534" y="838"/>
                      </a:lnTo>
                      <a:lnTo>
                        <a:pt x="542" y="828"/>
                      </a:lnTo>
                      <a:lnTo>
                        <a:pt x="552" y="825"/>
                      </a:lnTo>
                      <a:lnTo>
                        <a:pt x="556" y="818"/>
                      </a:lnTo>
                      <a:lnTo>
                        <a:pt x="562" y="819"/>
                      </a:lnTo>
                      <a:lnTo>
                        <a:pt x="561" y="809"/>
                      </a:lnTo>
                      <a:lnTo>
                        <a:pt x="556" y="803"/>
                      </a:lnTo>
                      <a:lnTo>
                        <a:pt x="575" y="787"/>
                      </a:lnTo>
                      <a:lnTo>
                        <a:pt x="582" y="791"/>
                      </a:lnTo>
                      <a:lnTo>
                        <a:pt x="584" y="786"/>
                      </a:lnTo>
                      <a:lnTo>
                        <a:pt x="578" y="760"/>
                      </a:lnTo>
                      <a:lnTo>
                        <a:pt x="588" y="747"/>
                      </a:lnTo>
                      <a:lnTo>
                        <a:pt x="592" y="745"/>
                      </a:lnTo>
                      <a:lnTo>
                        <a:pt x="610" y="750"/>
                      </a:lnTo>
                      <a:lnTo>
                        <a:pt x="606" y="769"/>
                      </a:lnTo>
                      <a:lnTo>
                        <a:pt x="618" y="775"/>
                      </a:lnTo>
                      <a:lnTo>
                        <a:pt x="634" y="791"/>
                      </a:lnTo>
                      <a:lnTo>
                        <a:pt x="646" y="792"/>
                      </a:lnTo>
                      <a:lnTo>
                        <a:pt x="649" y="806"/>
                      </a:lnTo>
                      <a:lnTo>
                        <a:pt x="649" y="820"/>
                      </a:lnTo>
                      <a:lnTo>
                        <a:pt x="653" y="826"/>
                      </a:lnTo>
                      <a:lnTo>
                        <a:pt x="666" y="842"/>
                      </a:lnTo>
                      <a:lnTo>
                        <a:pt x="672" y="851"/>
                      </a:lnTo>
                      <a:lnTo>
                        <a:pt x="674" y="859"/>
                      </a:lnTo>
                      <a:lnTo>
                        <a:pt x="689" y="857"/>
                      </a:lnTo>
                      <a:lnTo>
                        <a:pt x="697" y="862"/>
                      </a:lnTo>
                      <a:lnTo>
                        <a:pt x="700" y="855"/>
                      </a:lnTo>
                      <a:lnTo>
                        <a:pt x="707" y="847"/>
                      </a:lnTo>
                      <a:lnTo>
                        <a:pt x="708" y="835"/>
                      </a:lnTo>
                      <a:lnTo>
                        <a:pt x="696" y="820"/>
                      </a:lnTo>
                      <a:lnTo>
                        <a:pt x="711" y="802"/>
                      </a:lnTo>
                      <a:lnTo>
                        <a:pt x="714" y="795"/>
                      </a:lnTo>
                      <a:lnTo>
                        <a:pt x="719" y="791"/>
                      </a:lnTo>
                      <a:lnTo>
                        <a:pt x="740" y="769"/>
                      </a:lnTo>
                      <a:lnTo>
                        <a:pt x="744" y="769"/>
                      </a:lnTo>
                      <a:lnTo>
                        <a:pt x="751" y="779"/>
                      </a:lnTo>
                      <a:lnTo>
                        <a:pt x="766" y="777"/>
                      </a:lnTo>
                      <a:lnTo>
                        <a:pt x="773" y="772"/>
                      </a:lnTo>
                      <a:lnTo>
                        <a:pt x="773" y="765"/>
                      </a:lnTo>
                      <a:lnTo>
                        <a:pt x="787" y="752"/>
                      </a:lnTo>
                      <a:lnTo>
                        <a:pt x="794" y="751"/>
                      </a:lnTo>
                      <a:lnTo>
                        <a:pt x="794" y="740"/>
                      </a:lnTo>
                      <a:lnTo>
                        <a:pt x="800" y="726"/>
                      </a:lnTo>
                      <a:lnTo>
                        <a:pt x="805" y="723"/>
                      </a:lnTo>
                      <a:lnTo>
                        <a:pt x="816" y="704"/>
                      </a:lnTo>
                      <a:lnTo>
                        <a:pt x="808" y="669"/>
                      </a:lnTo>
                      <a:lnTo>
                        <a:pt x="839" y="669"/>
                      </a:lnTo>
                      <a:lnTo>
                        <a:pt x="848" y="672"/>
                      </a:lnTo>
                      <a:lnTo>
                        <a:pt x="862" y="664"/>
                      </a:lnTo>
                      <a:lnTo>
                        <a:pt x="875" y="632"/>
                      </a:lnTo>
                      <a:lnTo>
                        <a:pt x="875" y="625"/>
                      </a:lnTo>
                      <a:lnTo>
                        <a:pt x="869" y="602"/>
                      </a:lnTo>
                      <a:lnTo>
                        <a:pt x="861" y="586"/>
                      </a:lnTo>
                      <a:lnTo>
                        <a:pt x="839" y="595"/>
                      </a:lnTo>
                      <a:lnTo>
                        <a:pt x="836" y="600"/>
                      </a:lnTo>
                      <a:lnTo>
                        <a:pt x="827" y="597"/>
                      </a:lnTo>
                      <a:lnTo>
                        <a:pt x="826" y="592"/>
                      </a:lnTo>
                      <a:lnTo>
                        <a:pt x="820" y="586"/>
                      </a:lnTo>
                      <a:lnTo>
                        <a:pt x="825" y="574"/>
                      </a:lnTo>
                      <a:lnTo>
                        <a:pt x="841" y="556"/>
                      </a:lnTo>
                      <a:lnTo>
                        <a:pt x="842" y="551"/>
                      </a:lnTo>
                      <a:lnTo>
                        <a:pt x="851" y="543"/>
                      </a:lnTo>
                      <a:lnTo>
                        <a:pt x="888" y="534"/>
                      </a:lnTo>
                      <a:lnTo>
                        <a:pt x="901" y="538"/>
                      </a:lnTo>
                      <a:lnTo>
                        <a:pt x="911" y="531"/>
                      </a:lnTo>
                      <a:lnTo>
                        <a:pt x="926" y="529"/>
                      </a:lnTo>
                      <a:lnTo>
                        <a:pt x="927" y="517"/>
                      </a:lnTo>
                      <a:lnTo>
                        <a:pt x="921" y="516"/>
                      </a:lnTo>
                      <a:lnTo>
                        <a:pt x="915" y="487"/>
                      </a:lnTo>
                      <a:lnTo>
                        <a:pt x="931" y="480"/>
                      </a:lnTo>
                      <a:lnTo>
                        <a:pt x="948" y="474"/>
                      </a:lnTo>
                      <a:lnTo>
                        <a:pt x="969" y="487"/>
                      </a:lnTo>
                      <a:lnTo>
                        <a:pt x="970" y="493"/>
                      </a:lnTo>
                      <a:lnTo>
                        <a:pt x="977" y="505"/>
                      </a:lnTo>
                      <a:lnTo>
                        <a:pt x="992" y="507"/>
                      </a:lnTo>
                      <a:lnTo>
                        <a:pt x="1008" y="499"/>
                      </a:lnTo>
                      <a:lnTo>
                        <a:pt x="1011" y="487"/>
                      </a:lnTo>
                      <a:lnTo>
                        <a:pt x="1032" y="471"/>
                      </a:lnTo>
                      <a:lnTo>
                        <a:pt x="1045" y="449"/>
                      </a:lnTo>
                      <a:lnTo>
                        <a:pt x="1048" y="434"/>
                      </a:lnTo>
                      <a:lnTo>
                        <a:pt x="1041" y="429"/>
                      </a:lnTo>
                      <a:lnTo>
                        <a:pt x="1067" y="419"/>
                      </a:lnTo>
                      <a:lnTo>
                        <a:pt x="1068" y="417"/>
                      </a:lnTo>
                      <a:lnTo>
                        <a:pt x="1073" y="409"/>
                      </a:lnTo>
                      <a:lnTo>
                        <a:pt x="1059" y="413"/>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79" name="Baden-Württemberg" descr="{&quot;Key&quot;:&quot;baden-württemberg&quot;,&quot;Name&quot;:&quot;Baden-Württemberg&quot;,&quot;Value&quot;:1.0,&quot;Formula&quot;:&quot;&quot;,&quot;Text&quot;:&quot;&quot;,&quot;OfficeApplication&quot;:1,&quot;HasValue&quot;:true}">
                  <a:extLst>
                    <a:ext uri="{FF2B5EF4-FFF2-40B4-BE49-F238E27FC236}">
                      <a16:creationId xmlns:a16="http://schemas.microsoft.com/office/drawing/2014/main" id="{51E3637E-5778-4934-B82B-EB16605FE76C}"/>
                    </a:ext>
                  </a:extLst>
                </p:cNvPr>
                <p:cNvSpPr>
                  <a:spLocks noEditPoints="1"/>
                </p:cNvSpPr>
                <p:nvPr/>
              </p:nvSpPr>
              <p:spPr bwMode="auto">
                <a:xfrm>
                  <a:off x="5216904" y="4748072"/>
                  <a:ext cx="1327477" cy="1574449"/>
                </a:xfrm>
                <a:custGeom>
                  <a:avLst/>
                  <a:gdLst>
                    <a:gd name="T0" fmla="*/ 457 w 903"/>
                    <a:gd name="T1" fmla="*/ 109 h 1071"/>
                    <a:gd name="T2" fmla="*/ 441 w 903"/>
                    <a:gd name="T3" fmla="*/ 138 h 1071"/>
                    <a:gd name="T4" fmla="*/ 396 w 903"/>
                    <a:gd name="T5" fmla="*/ 175 h 1071"/>
                    <a:gd name="T6" fmla="*/ 382 w 903"/>
                    <a:gd name="T7" fmla="*/ 148 h 1071"/>
                    <a:gd name="T8" fmla="*/ 360 w 903"/>
                    <a:gd name="T9" fmla="*/ 130 h 1071"/>
                    <a:gd name="T10" fmla="*/ 303 w 903"/>
                    <a:gd name="T11" fmla="*/ 90 h 1071"/>
                    <a:gd name="T12" fmla="*/ 258 w 903"/>
                    <a:gd name="T13" fmla="*/ 98 h 1071"/>
                    <a:gd name="T14" fmla="*/ 258 w 903"/>
                    <a:gd name="T15" fmla="*/ 163 h 1071"/>
                    <a:gd name="T16" fmla="*/ 273 w 903"/>
                    <a:gd name="T17" fmla="*/ 231 h 1071"/>
                    <a:gd name="T18" fmla="*/ 238 w 903"/>
                    <a:gd name="T19" fmla="*/ 326 h 1071"/>
                    <a:gd name="T20" fmla="*/ 177 w 903"/>
                    <a:gd name="T21" fmla="*/ 423 h 1071"/>
                    <a:gd name="T22" fmla="*/ 122 w 903"/>
                    <a:gd name="T23" fmla="*/ 510 h 1071"/>
                    <a:gd name="T24" fmla="*/ 76 w 903"/>
                    <a:gd name="T25" fmla="*/ 593 h 1071"/>
                    <a:gd name="T26" fmla="*/ 64 w 903"/>
                    <a:gd name="T27" fmla="*/ 685 h 1071"/>
                    <a:gd name="T28" fmla="*/ 16 w 903"/>
                    <a:gd name="T29" fmla="*/ 792 h 1071"/>
                    <a:gd name="T30" fmla="*/ 19 w 903"/>
                    <a:gd name="T31" fmla="*/ 883 h 1071"/>
                    <a:gd name="T32" fmla="*/ 3 w 903"/>
                    <a:gd name="T33" fmla="*/ 958 h 1071"/>
                    <a:gd name="T34" fmla="*/ 24 w 903"/>
                    <a:gd name="T35" fmla="*/ 1053 h 1071"/>
                    <a:gd name="T36" fmla="*/ 56 w 903"/>
                    <a:gd name="T37" fmla="*/ 1071 h 1071"/>
                    <a:gd name="T38" fmla="*/ 126 w 903"/>
                    <a:gd name="T39" fmla="*/ 1064 h 1071"/>
                    <a:gd name="T40" fmla="*/ 225 w 903"/>
                    <a:gd name="T41" fmla="*/ 1034 h 1071"/>
                    <a:gd name="T42" fmla="*/ 305 w 903"/>
                    <a:gd name="T43" fmla="*/ 1036 h 1071"/>
                    <a:gd name="T44" fmla="*/ 336 w 903"/>
                    <a:gd name="T45" fmla="*/ 1025 h 1071"/>
                    <a:gd name="T46" fmla="*/ 294 w 903"/>
                    <a:gd name="T47" fmla="*/ 1026 h 1071"/>
                    <a:gd name="T48" fmla="*/ 296 w 903"/>
                    <a:gd name="T49" fmla="*/ 965 h 1071"/>
                    <a:gd name="T50" fmla="*/ 338 w 903"/>
                    <a:gd name="T51" fmla="*/ 968 h 1071"/>
                    <a:gd name="T52" fmla="*/ 374 w 903"/>
                    <a:gd name="T53" fmla="*/ 975 h 1071"/>
                    <a:gd name="T54" fmla="*/ 398 w 903"/>
                    <a:gd name="T55" fmla="*/ 987 h 1071"/>
                    <a:gd name="T56" fmla="*/ 432 w 903"/>
                    <a:gd name="T57" fmla="*/ 1020 h 1071"/>
                    <a:gd name="T58" fmla="*/ 525 w 903"/>
                    <a:gd name="T59" fmla="*/ 1010 h 1071"/>
                    <a:gd name="T60" fmla="*/ 471 w 903"/>
                    <a:gd name="T61" fmla="*/ 944 h 1071"/>
                    <a:gd name="T62" fmla="*/ 561 w 903"/>
                    <a:gd name="T63" fmla="*/ 1006 h 1071"/>
                    <a:gd name="T64" fmla="*/ 624 w 903"/>
                    <a:gd name="T65" fmla="*/ 1039 h 1071"/>
                    <a:gd name="T66" fmla="*/ 673 w 903"/>
                    <a:gd name="T67" fmla="*/ 1039 h 1071"/>
                    <a:gd name="T68" fmla="*/ 774 w 903"/>
                    <a:gd name="T69" fmla="*/ 1009 h 1071"/>
                    <a:gd name="T70" fmla="*/ 806 w 903"/>
                    <a:gd name="T71" fmla="*/ 1009 h 1071"/>
                    <a:gd name="T72" fmla="*/ 799 w 903"/>
                    <a:gd name="T73" fmla="*/ 920 h 1071"/>
                    <a:gd name="T74" fmla="*/ 804 w 903"/>
                    <a:gd name="T75" fmla="*/ 837 h 1071"/>
                    <a:gd name="T76" fmla="*/ 758 w 903"/>
                    <a:gd name="T77" fmla="*/ 678 h 1071"/>
                    <a:gd name="T78" fmla="*/ 797 w 903"/>
                    <a:gd name="T79" fmla="*/ 625 h 1071"/>
                    <a:gd name="T80" fmla="*/ 848 w 903"/>
                    <a:gd name="T81" fmla="*/ 566 h 1071"/>
                    <a:gd name="T82" fmla="*/ 839 w 903"/>
                    <a:gd name="T83" fmla="*/ 520 h 1071"/>
                    <a:gd name="T84" fmla="*/ 883 w 903"/>
                    <a:gd name="T85" fmla="*/ 532 h 1071"/>
                    <a:gd name="T86" fmla="*/ 883 w 903"/>
                    <a:gd name="T87" fmla="*/ 476 h 1071"/>
                    <a:gd name="T88" fmla="*/ 887 w 903"/>
                    <a:gd name="T89" fmla="*/ 407 h 1071"/>
                    <a:gd name="T90" fmla="*/ 828 w 903"/>
                    <a:gd name="T91" fmla="*/ 346 h 1071"/>
                    <a:gd name="T92" fmla="*/ 804 w 903"/>
                    <a:gd name="T93" fmla="*/ 300 h 1071"/>
                    <a:gd name="T94" fmla="*/ 783 w 903"/>
                    <a:gd name="T95" fmla="*/ 236 h 1071"/>
                    <a:gd name="T96" fmla="*/ 779 w 903"/>
                    <a:gd name="T97" fmla="*/ 173 h 1071"/>
                    <a:gd name="T98" fmla="*/ 752 w 903"/>
                    <a:gd name="T99" fmla="*/ 125 h 1071"/>
                    <a:gd name="T100" fmla="*/ 706 w 903"/>
                    <a:gd name="T101" fmla="*/ 111 h 1071"/>
                    <a:gd name="T102" fmla="*/ 695 w 903"/>
                    <a:gd name="T103" fmla="*/ 87 h 1071"/>
                    <a:gd name="T104" fmla="*/ 648 w 903"/>
                    <a:gd name="T105" fmla="*/ 51 h 1071"/>
                    <a:gd name="T106" fmla="*/ 606 w 903"/>
                    <a:gd name="T107" fmla="*/ 11 h 1071"/>
                    <a:gd name="T108" fmla="*/ 530 w 903"/>
                    <a:gd name="T109" fmla="*/ 5 h 1071"/>
                    <a:gd name="T110" fmla="*/ 538 w 903"/>
                    <a:gd name="T111" fmla="*/ 46 h 1071"/>
                    <a:gd name="T112" fmla="*/ 542 w 903"/>
                    <a:gd name="T113" fmla="*/ 69 h 1071"/>
                    <a:gd name="T114" fmla="*/ 462 w 903"/>
                    <a:gd name="T115" fmla="*/ 107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3" h="1071">
                      <a:moveTo>
                        <a:pt x="523" y="1018"/>
                      </a:moveTo>
                      <a:lnTo>
                        <a:pt x="520" y="1014"/>
                      </a:lnTo>
                      <a:lnTo>
                        <a:pt x="522" y="1018"/>
                      </a:lnTo>
                      <a:lnTo>
                        <a:pt x="523" y="1018"/>
                      </a:lnTo>
                      <a:close/>
                      <a:moveTo>
                        <a:pt x="460" y="105"/>
                      </a:moveTo>
                      <a:lnTo>
                        <a:pt x="457" y="109"/>
                      </a:lnTo>
                      <a:lnTo>
                        <a:pt x="450" y="110"/>
                      </a:lnTo>
                      <a:lnTo>
                        <a:pt x="456" y="116"/>
                      </a:lnTo>
                      <a:lnTo>
                        <a:pt x="462" y="135"/>
                      </a:lnTo>
                      <a:lnTo>
                        <a:pt x="459" y="132"/>
                      </a:lnTo>
                      <a:lnTo>
                        <a:pt x="448" y="131"/>
                      </a:lnTo>
                      <a:lnTo>
                        <a:pt x="441" y="138"/>
                      </a:lnTo>
                      <a:lnTo>
                        <a:pt x="415" y="138"/>
                      </a:lnTo>
                      <a:lnTo>
                        <a:pt x="407" y="147"/>
                      </a:lnTo>
                      <a:lnTo>
                        <a:pt x="412" y="161"/>
                      </a:lnTo>
                      <a:lnTo>
                        <a:pt x="404" y="169"/>
                      </a:lnTo>
                      <a:lnTo>
                        <a:pt x="401" y="166"/>
                      </a:lnTo>
                      <a:lnTo>
                        <a:pt x="396" y="175"/>
                      </a:lnTo>
                      <a:lnTo>
                        <a:pt x="387" y="186"/>
                      </a:lnTo>
                      <a:lnTo>
                        <a:pt x="374" y="186"/>
                      </a:lnTo>
                      <a:lnTo>
                        <a:pt x="374" y="175"/>
                      </a:lnTo>
                      <a:lnTo>
                        <a:pt x="376" y="174"/>
                      </a:lnTo>
                      <a:lnTo>
                        <a:pt x="376" y="157"/>
                      </a:lnTo>
                      <a:lnTo>
                        <a:pt x="382" y="148"/>
                      </a:lnTo>
                      <a:lnTo>
                        <a:pt x="387" y="151"/>
                      </a:lnTo>
                      <a:lnTo>
                        <a:pt x="394" y="147"/>
                      </a:lnTo>
                      <a:lnTo>
                        <a:pt x="394" y="137"/>
                      </a:lnTo>
                      <a:lnTo>
                        <a:pt x="379" y="139"/>
                      </a:lnTo>
                      <a:lnTo>
                        <a:pt x="367" y="129"/>
                      </a:lnTo>
                      <a:lnTo>
                        <a:pt x="360" y="130"/>
                      </a:lnTo>
                      <a:lnTo>
                        <a:pt x="340" y="120"/>
                      </a:lnTo>
                      <a:lnTo>
                        <a:pt x="332" y="105"/>
                      </a:lnTo>
                      <a:lnTo>
                        <a:pt x="331" y="91"/>
                      </a:lnTo>
                      <a:lnTo>
                        <a:pt x="325" y="82"/>
                      </a:lnTo>
                      <a:lnTo>
                        <a:pt x="304" y="87"/>
                      </a:lnTo>
                      <a:lnTo>
                        <a:pt x="303" y="90"/>
                      </a:lnTo>
                      <a:lnTo>
                        <a:pt x="310" y="117"/>
                      </a:lnTo>
                      <a:lnTo>
                        <a:pt x="309" y="120"/>
                      </a:lnTo>
                      <a:lnTo>
                        <a:pt x="295" y="127"/>
                      </a:lnTo>
                      <a:lnTo>
                        <a:pt x="273" y="105"/>
                      </a:lnTo>
                      <a:lnTo>
                        <a:pt x="266" y="100"/>
                      </a:lnTo>
                      <a:lnTo>
                        <a:pt x="258" y="98"/>
                      </a:lnTo>
                      <a:lnTo>
                        <a:pt x="248" y="102"/>
                      </a:lnTo>
                      <a:lnTo>
                        <a:pt x="246" y="113"/>
                      </a:lnTo>
                      <a:lnTo>
                        <a:pt x="252" y="124"/>
                      </a:lnTo>
                      <a:lnTo>
                        <a:pt x="264" y="156"/>
                      </a:lnTo>
                      <a:lnTo>
                        <a:pt x="258" y="159"/>
                      </a:lnTo>
                      <a:lnTo>
                        <a:pt x="258" y="163"/>
                      </a:lnTo>
                      <a:lnTo>
                        <a:pt x="274" y="168"/>
                      </a:lnTo>
                      <a:lnTo>
                        <a:pt x="274" y="186"/>
                      </a:lnTo>
                      <a:lnTo>
                        <a:pt x="277" y="198"/>
                      </a:lnTo>
                      <a:lnTo>
                        <a:pt x="266" y="224"/>
                      </a:lnTo>
                      <a:lnTo>
                        <a:pt x="266" y="228"/>
                      </a:lnTo>
                      <a:lnTo>
                        <a:pt x="273" y="231"/>
                      </a:lnTo>
                      <a:lnTo>
                        <a:pt x="272" y="237"/>
                      </a:lnTo>
                      <a:lnTo>
                        <a:pt x="252" y="262"/>
                      </a:lnTo>
                      <a:lnTo>
                        <a:pt x="245" y="267"/>
                      </a:lnTo>
                      <a:lnTo>
                        <a:pt x="243" y="276"/>
                      </a:lnTo>
                      <a:lnTo>
                        <a:pt x="239" y="321"/>
                      </a:lnTo>
                      <a:lnTo>
                        <a:pt x="238" y="326"/>
                      </a:lnTo>
                      <a:lnTo>
                        <a:pt x="217" y="373"/>
                      </a:lnTo>
                      <a:lnTo>
                        <a:pt x="211" y="383"/>
                      </a:lnTo>
                      <a:lnTo>
                        <a:pt x="202" y="394"/>
                      </a:lnTo>
                      <a:lnTo>
                        <a:pt x="192" y="397"/>
                      </a:lnTo>
                      <a:lnTo>
                        <a:pt x="187" y="405"/>
                      </a:lnTo>
                      <a:lnTo>
                        <a:pt x="177" y="423"/>
                      </a:lnTo>
                      <a:lnTo>
                        <a:pt x="164" y="462"/>
                      </a:lnTo>
                      <a:lnTo>
                        <a:pt x="159" y="471"/>
                      </a:lnTo>
                      <a:lnTo>
                        <a:pt x="142" y="482"/>
                      </a:lnTo>
                      <a:lnTo>
                        <a:pt x="139" y="491"/>
                      </a:lnTo>
                      <a:lnTo>
                        <a:pt x="124" y="497"/>
                      </a:lnTo>
                      <a:lnTo>
                        <a:pt x="122" y="510"/>
                      </a:lnTo>
                      <a:lnTo>
                        <a:pt x="112" y="521"/>
                      </a:lnTo>
                      <a:lnTo>
                        <a:pt x="103" y="531"/>
                      </a:lnTo>
                      <a:lnTo>
                        <a:pt x="90" y="540"/>
                      </a:lnTo>
                      <a:lnTo>
                        <a:pt x="78" y="561"/>
                      </a:lnTo>
                      <a:lnTo>
                        <a:pt x="76" y="576"/>
                      </a:lnTo>
                      <a:lnTo>
                        <a:pt x="76" y="593"/>
                      </a:lnTo>
                      <a:lnTo>
                        <a:pt x="81" y="606"/>
                      </a:lnTo>
                      <a:lnTo>
                        <a:pt x="68" y="621"/>
                      </a:lnTo>
                      <a:lnTo>
                        <a:pt x="67" y="630"/>
                      </a:lnTo>
                      <a:lnTo>
                        <a:pt x="63" y="642"/>
                      </a:lnTo>
                      <a:lnTo>
                        <a:pt x="59" y="666"/>
                      </a:lnTo>
                      <a:lnTo>
                        <a:pt x="64" y="685"/>
                      </a:lnTo>
                      <a:lnTo>
                        <a:pt x="64" y="691"/>
                      </a:lnTo>
                      <a:lnTo>
                        <a:pt x="60" y="699"/>
                      </a:lnTo>
                      <a:lnTo>
                        <a:pt x="49" y="706"/>
                      </a:lnTo>
                      <a:lnTo>
                        <a:pt x="42" y="740"/>
                      </a:lnTo>
                      <a:lnTo>
                        <a:pt x="24" y="769"/>
                      </a:lnTo>
                      <a:lnTo>
                        <a:pt x="16" y="792"/>
                      </a:lnTo>
                      <a:lnTo>
                        <a:pt x="13" y="809"/>
                      </a:lnTo>
                      <a:lnTo>
                        <a:pt x="15" y="828"/>
                      </a:lnTo>
                      <a:lnTo>
                        <a:pt x="29" y="853"/>
                      </a:lnTo>
                      <a:lnTo>
                        <a:pt x="30" y="868"/>
                      </a:lnTo>
                      <a:lnTo>
                        <a:pt x="27" y="873"/>
                      </a:lnTo>
                      <a:lnTo>
                        <a:pt x="19" y="883"/>
                      </a:lnTo>
                      <a:lnTo>
                        <a:pt x="18" y="896"/>
                      </a:lnTo>
                      <a:lnTo>
                        <a:pt x="13" y="908"/>
                      </a:lnTo>
                      <a:lnTo>
                        <a:pt x="12" y="917"/>
                      </a:lnTo>
                      <a:lnTo>
                        <a:pt x="13" y="930"/>
                      </a:lnTo>
                      <a:lnTo>
                        <a:pt x="4" y="951"/>
                      </a:lnTo>
                      <a:lnTo>
                        <a:pt x="3" y="958"/>
                      </a:lnTo>
                      <a:lnTo>
                        <a:pt x="8" y="975"/>
                      </a:lnTo>
                      <a:lnTo>
                        <a:pt x="0" y="993"/>
                      </a:lnTo>
                      <a:lnTo>
                        <a:pt x="4" y="1011"/>
                      </a:lnTo>
                      <a:lnTo>
                        <a:pt x="20" y="1034"/>
                      </a:lnTo>
                      <a:lnTo>
                        <a:pt x="26" y="1041"/>
                      </a:lnTo>
                      <a:lnTo>
                        <a:pt x="24" y="1053"/>
                      </a:lnTo>
                      <a:lnTo>
                        <a:pt x="40" y="1048"/>
                      </a:lnTo>
                      <a:lnTo>
                        <a:pt x="47" y="1047"/>
                      </a:lnTo>
                      <a:lnTo>
                        <a:pt x="44" y="1059"/>
                      </a:lnTo>
                      <a:lnTo>
                        <a:pt x="40" y="1062"/>
                      </a:lnTo>
                      <a:lnTo>
                        <a:pt x="44" y="1068"/>
                      </a:lnTo>
                      <a:lnTo>
                        <a:pt x="56" y="1071"/>
                      </a:lnTo>
                      <a:lnTo>
                        <a:pt x="81" y="1066"/>
                      </a:lnTo>
                      <a:lnTo>
                        <a:pt x="87" y="1063"/>
                      </a:lnTo>
                      <a:lnTo>
                        <a:pt x="97" y="1048"/>
                      </a:lnTo>
                      <a:lnTo>
                        <a:pt x="101" y="1049"/>
                      </a:lnTo>
                      <a:lnTo>
                        <a:pt x="121" y="1051"/>
                      </a:lnTo>
                      <a:lnTo>
                        <a:pt x="126" y="1064"/>
                      </a:lnTo>
                      <a:lnTo>
                        <a:pt x="166" y="1064"/>
                      </a:lnTo>
                      <a:lnTo>
                        <a:pt x="180" y="1060"/>
                      </a:lnTo>
                      <a:lnTo>
                        <a:pt x="198" y="1045"/>
                      </a:lnTo>
                      <a:lnTo>
                        <a:pt x="203" y="1043"/>
                      </a:lnTo>
                      <a:lnTo>
                        <a:pt x="208" y="1037"/>
                      </a:lnTo>
                      <a:lnTo>
                        <a:pt x="225" y="1034"/>
                      </a:lnTo>
                      <a:lnTo>
                        <a:pt x="242" y="1037"/>
                      </a:lnTo>
                      <a:lnTo>
                        <a:pt x="248" y="1048"/>
                      </a:lnTo>
                      <a:lnTo>
                        <a:pt x="263" y="1054"/>
                      </a:lnTo>
                      <a:lnTo>
                        <a:pt x="292" y="1053"/>
                      </a:lnTo>
                      <a:lnTo>
                        <a:pt x="296" y="1042"/>
                      </a:lnTo>
                      <a:lnTo>
                        <a:pt x="305" y="1036"/>
                      </a:lnTo>
                      <a:lnTo>
                        <a:pt x="314" y="1034"/>
                      </a:lnTo>
                      <a:lnTo>
                        <a:pt x="326" y="1050"/>
                      </a:lnTo>
                      <a:lnTo>
                        <a:pt x="331" y="1048"/>
                      </a:lnTo>
                      <a:lnTo>
                        <a:pt x="333" y="1035"/>
                      </a:lnTo>
                      <a:lnTo>
                        <a:pt x="331" y="1029"/>
                      </a:lnTo>
                      <a:lnTo>
                        <a:pt x="336" y="1025"/>
                      </a:lnTo>
                      <a:lnTo>
                        <a:pt x="339" y="1029"/>
                      </a:lnTo>
                      <a:lnTo>
                        <a:pt x="340" y="1018"/>
                      </a:lnTo>
                      <a:lnTo>
                        <a:pt x="328" y="1015"/>
                      </a:lnTo>
                      <a:lnTo>
                        <a:pt x="313" y="1017"/>
                      </a:lnTo>
                      <a:lnTo>
                        <a:pt x="299" y="1026"/>
                      </a:lnTo>
                      <a:lnTo>
                        <a:pt x="294" y="1026"/>
                      </a:lnTo>
                      <a:lnTo>
                        <a:pt x="273" y="1014"/>
                      </a:lnTo>
                      <a:lnTo>
                        <a:pt x="275" y="1009"/>
                      </a:lnTo>
                      <a:lnTo>
                        <a:pt x="272" y="997"/>
                      </a:lnTo>
                      <a:lnTo>
                        <a:pt x="286" y="986"/>
                      </a:lnTo>
                      <a:lnTo>
                        <a:pt x="294" y="967"/>
                      </a:lnTo>
                      <a:lnTo>
                        <a:pt x="296" y="965"/>
                      </a:lnTo>
                      <a:lnTo>
                        <a:pt x="316" y="962"/>
                      </a:lnTo>
                      <a:lnTo>
                        <a:pt x="321" y="959"/>
                      </a:lnTo>
                      <a:lnTo>
                        <a:pt x="317" y="952"/>
                      </a:lnTo>
                      <a:lnTo>
                        <a:pt x="322" y="949"/>
                      </a:lnTo>
                      <a:lnTo>
                        <a:pt x="336" y="952"/>
                      </a:lnTo>
                      <a:lnTo>
                        <a:pt x="338" y="968"/>
                      </a:lnTo>
                      <a:lnTo>
                        <a:pt x="345" y="967"/>
                      </a:lnTo>
                      <a:lnTo>
                        <a:pt x="347" y="957"/>
                      </a:lnTo>
                      <a:lnTo>
                        <a:pt x="353" y="955"/>
                      </a:lnTo>
                      <a:lnTo>
                        <a:pt x="361" y="969"/>
                      </a:lnTo>
                      <a:lnTo>
                        <a:pt x="371" y="969"/>
                      </a:lnTo>
                      <a:lnTo>
                        <a:pt x="374" y="975"/>
                      </a:lnTo>
                      <a:lnTo>
                        <a:pt x="368" y="986"/>
                      </a:lnTo>
                      <a:lnTo>
                        <a:pt x="374" y="1000"/>
                      </a:lnTo>
                      <a:lnTo>
                        <a:pt x="390" y="999"/>
                      </a:lnTo>
                      <a:lnTo>
                        <a:pt x="387" y="997"/>
                      </a:lnTo>
                      <a:lnTo>
                        <a:pt x="390" y="987"/>
                      </a:lnTo>
                      <a:lnTo>
                        <a:pt x="398" y="987"/>
                      </a:lnTo>
                      <a:lnTo>
                        <a:pt x="408" y="993"/>
                      </a:lnTo>
                      <a:lnTo>
                        <a:pt x="417" y="1002"/>
                      </a:lnTo>
                      <a:lnTo>
                        <a:pt x="411" y="1003"/>
                      </a:lnTo>
                      <a:lnTo>
                        <a:pt x="411" y="1006"/>
                      </a:lnTo>
                      <a:lnTo>
                        <a:pt x="425" y="1018"/>
                      </a:lnTo>
                      <a:lnTo>
                        <a:pt x="432" y="1020"/>
                      </a:lnTo>
                      <a:lnTo>
                        <a:pt x="445" y="1019"/>
                      </a:lnTo>
                      <a:lnTo>
                        <a:pt x="456" y="1015"/>
                      </a:lnTo>
                      <a:lnTo>
                        <a:pt x="461" y="1009"/>
                      </a:lnTo>
                      <a:lnTo>
                        <a:pt x="466" y="1007"/>
                      </a:lnTo>
                      <a:lnTo>
                        <a:pt x="501" y="1011"/>
                      </a:lnTo>
                      <a:lnTo>
                        <a:pt x="525" y="1010"/>
                      </a:lnTo>
                      <a:lnTo>
                        <a:pt x="525" y="1006"/>
                      </a:lnTo>
                      <a:lnTo>
                        <a:pt x="518" y="995"/>
                      </a:lnTo>
                      <a:lnTo>
                        <a:pt x="510" y="975"/>
                      </a:lnTo>
                      <a:lnTo>
                        <a:pt x="506" y="969"/>
                      </a:lnTo>
                      <a:lnTo>
                        <a:pt x="482" y="956"/>
                      </a:lnTo>
                      <a:lnTo>
                        <a:pt x="471" y="944"/>
                      </a:lnTo>
                      <a:lnTo>
                        <a:pt x="468" y="940"/>
                      </a:lnTo>
                      <a:lnTo>
                        <a:pt x="481" y="941"/>
                      </a:lnTo>
                      <a:lnTo>
                        <a:pt x="514" y="966"/>
                      </a:lnTo>
                      <a:lnTo>
                        <a:pt x="522" y="968"/>
                      </a:lnTo>
                      <a:lnTo>
                        <a:pt x="530" y="986"/>
                      </a:lnTo>
                      <a:lnTo>
                        <a:pt x="561" y="1006"/>
                      </a:lnTo>
                      <a:lnTo>
                        <a:pt x="567" y="1008"/>
                      </a:lnTo>
                      <a:lnTo>
                        <a:pt x="586" y="1009"/>
                      </a:lnTo>
                      <a:lnTo>
                        <a:pt x="603" y="1018"/>
                      </a:lnTo>
                      <a:lnTo>
                        <a:pt x="616" y="1021"/>
                      </a:lnTo>
                      <a:lnTo>
                        <a:pt x="619" y="1025"/>
                      </a:lnTo>
                      <a:lnTo>
                        <a:pt x="624" y="1039"/>
                      </a:lnTo>
                      <a:lnTo>
                        <a:pt x="634" y="1048"/>
                      </a:lnTo>
                      <a:lnTo>
                        <a:pt x="647" y="1051"/>
                      </a:lnTo>
                      <a:lnTo>
                        <a:pt x="651" y="1053"/>
                      </a:lnTo>
                      <a:lnTo>
                        <a:pt x="655" y="1049"/>
                      </a:lnTo>
                      <a:lnTo>
                        <a:pt x="667" y="1046"/>
                      </a:lnTo>
                      <a:lnTo>
                        <a:pt x="673" y="1039"/>
                      </a:lnTo>
                      <a:lnTo>
                        <a:pt x="684" y="1042"/>
                      </a:lnTo>
                      <a:lnTo>
                        <a:pt x="698" y="1035"/>
                      </a:lnTo>
                      <a:lnTo>
                        <a:pt x="720" y="1014"/>
                      </a:lnTo>
                      <a:lnTo>
                        <a:pt x="731" y="1010"/>
                      </a:lnTo>
                      <a:lnTo>
                        <a:pt x="757" y="1016"/>
                      </a:lnTo>
                      <a:lnTo>
                        <a:pt x="774" y="1009"/>
                      </a:lnTo>
                      <a:lnTo>
                        <a:pt x="785" y="1007"/>
                      </a:lnTo>
                      <a:lnTo>
                        <a:pt x="789" y="1009"/>
                      </a:lnTo>
                      <a:lnTo>
                        <a:pt x="795" y="1021"/>
                      </a:lnTo>
                      <a:lnTo>
                        <a:pt x="797" y="1017"/>
                      </a:lnTo>
                      <a:lnTo>
                        <a:pt x="800" y="1007"/>
                      </a:lnTo>
                      <a:lnTo>
                        <a:pt x="806" y="1009"/>
                      </a:lnTo>
                      <a:lnTo>
                        <a:pt x="808" y="992"/>
                      </a:lnTo>
                      <a:lnTo>
                        <a:pt x="806" y="969"/>
                      </a:lnTo>
                      <a:lnTo>
                        <a:pt x="795" y="958"/>
                      </a:lnTo>
                      <a:lnTo>
                        <a:pt x="793" y="952"/>
                      </a:lnTo>
                      <a:lnTo>
                        <a:pt x="808" y="941"/>
                      </a:lnTo>
                      <a:lnTo>
                        <a:pt x="799" y="920"/>
                      </a:lnTo>
                      <a:lnTo>
                        <a:pt x="796" y="920"/>
                      </a:lnTo>
                      <a:lnTo>
                        <a:pt x="800" y="896"/>
                      </a:lnTo>
                      <a:lnTo>
                        <a:pt x="792" y="873"/>
                      </a:lnTo>
                      <a:lnTo>
                        <a:pt x="792" y="867"/>
                      </a:lnTo>
                      <a:lnTo>
                        <a:pt x="796" y="864"/>
                      </a:lnTo>
                      <a:lnTo>
                        <a:pt x="804" y="837"/>
                      </a:lnTo>
                      <a:lnTo>
                        <a:pt x="806" y="827"/>
                      </a:lnTo>
                      <a:lnTo>
                        <a:pt x="804" y="803"/>
                      </a:lnTo>
                      <a:lnTo>
                        <a:pt x="795" y="783"/>
                      </a:lnTo>
                      <a:lnTo>
                        <a:pt x="781" y="726"/>
                      </a:lnTo>
                      <a:lnTo>
                        <a:pt x="769" y="699"/>
                      </a:lnTo>
                      <a:lnTo>
                        <a:pt x="758" y="678"/>
                      </a:lnTo>
                      <a:lnTo>
                        <a:pt x="750" y="672"/>
                      </a:lnTo>
                      <a:lnTo>
                        <a:pt x="767" y="648"/>
                      </a:lnTo>
                      <a:lnTo>
                        <a:pt x="768" y="640"/>
                      </a:lnTo>
                      <a:lnTo>
                        <a:pt x="776" y="629"/>
                      </a:lnTo>
                      <a:lnTo>
                        <a:pt x="788" y="625"/>
                      </a:lnTo>
                      <a:lnTo>
                        <a:pt x="797" y="625"/>
                      </a:lnTo>
                      <a:lnTo>
                        <a:pt x="802" y="632"/>
                      </a:lnTo>
                      <a:lnTo>
                        <a:pt x="831" y="613"/>
                      </a:lnTo>
                      <a:lnTo>
                        <a:pt x="839" y="602"/>
                      </a:lnTo>
                      <a:lnTo>
                        <a:pt x="849" y="597"/>
                      </a:lnTo>
                      <a:lnTo>
                        <a:pt x="853" y="580"/>
                      </a:lnTo>
                      <a:lnTo>
                        <a:pt x="848" y="566"/>
                      </a:lnTo>
                      <a:lnTo>
                        <a:pt x="853" y="562"/>
                      </a:lnTo>
                      <a:lnTo>
                        <a:pt x="845" y="549"/>
                      </a:lnTo>
                      <a:lnTo>
                        <a:pt x="839" y="545"/>
                      </a:lnTo>
                      <a:lnTo>
                        <a:pt x="834" y="535"/>
                      </a:lnTo>
                      <a:lnTo>
                        <a:pt x="834" y="530"/>
                      </a:lnTo>
                      <a:lnTo>
                        <a:pt x="839" y="520"/>
                      </a:lnTo>
                      <a:lnTo>
                        <a:pt x="843" y="520"/>
                      </a:lnTo>
                      <a:lnTo>
                        <a:pt x="850" y="526"/>
                      </a:lnTo>
                      <a:lnTo>
                        <a:pt x="857" y="525"/>
                      </a:lnTo>
                      <a:lnTo>
                        <a:pt x="866" y="537"/>
                      </a:lnTo>
                      <a:lnTo>
                        <a:pt x="886" y="519"/>
                      </a:lnTo>
                      <a:lnTo>
                        <a:pt x="883" y="532"/>
                      </a:lnTo>
                      <a:lnTo>
                        <a:pt x="886" y="536"/>
                      </a:lnTo>
                      <a:lnTo>
                        <a:pt x="890" y="533"/>
                      </a:lnTo>
                      <a:lnTo>
                        <a:pt x="903" y="521"/>
                      </a:lnTo>
                      <a:lnTo>
                        <a:pt x="891" y="504"/>
                      </a:lnTo>
                      <a:lnTo>
                        <a:pt x="883" y="497"/>
                      </a:lnTo>
                      <a:lnTo>
                        <a:pt x="883" y="476"/>
                      </a:lnTo>
                      <a:lnTo>
                        <a:pt x="888" y="456"/>
                      </a:lnTo>
                      <a:lnTo>
                        <a:pt x="885" y="451"/>
                      </a:lnTo>
                      <a:lnTo>
                        <a:pt x="885" y="425"/>
                      </a:lnTo>
                      <a:lnTo>
                        <a:pt x="883" y="423"/>
                      </a:lnTo>
                      <a:lnTo>
                        <a:pt x="890" y="417"/>
                      </a:lnTo>
                      <a:lnTo>
                        <a:pt x="887" y="407"/>
                      </a:lnTo>
                      <a:lnTo>
                        <a:pt x="872" y="386"/>
                      </a:lnTo>
                      <a:lnTo>
                        <a:pt x="847" y="361"/>
                      </a:lnTo>
                      <a:lnTo>
                        <a:pt x="842" y="358"/>
                      </a:lnTo>
                      <a:lnTo>
                        <a:pt x="829" y="355"/>
                      </a:lnTo>
                      <a:lnTo>
                        <a:pt x="827" y="353"/>
                      </a:lnTo>
                      <a:lnTo>
                        <a:pt x="828" y="346"/>
                      </a:lnTo>
                      <a:lnTo>
                        <a:pt x="813" y="330"/>
                      </a:lnTo>
                      <a:lnTo>
                        <a:pt x="821" y="321"/>
                      </a:lnTo>
                      <a:lnTo>
                        <a:pt x="822" y="307"/>
                      </a:lnTo>
                      <a:lnTo>
                        <a:pt x="813" y="302"/>
                      </a:lnTo>
                      <a:lnTo>
                        <a:pt x="809" y="304"/>
                      </a:lnTo>
                      <a:lnTo>
                        <a:pt x="804" y="300"/>
                      </a:lnTo>
                      <a:lnTo>
                        <a:pt x="786" y="272"/>
                      </a:lnTo>
                      <a:lnTo>
                        <a:pt x="784" y="260"/>
                      </a:lnTo>
                      <a:lnTo>
                        <a:pt x="778" y="248"/>
                      </a:lnTo>
                      <a:lnTo>
                        <a:pt x="786" y="251"/>
                      </a:lnTo>
                      <a:lnTo>
                        <a:pt x="787" y="247"/>
                      </a:lnTo>
                      <a:lnTo>
                        <a:pt x="783" y="236"/>
                      </a:lnTo>
                      <a:lnTo>
                        <a:pt x="785" y="229"/>
                      </a:lnTo>
                      <a:lnTo>
                        <a:pt x="775" y="219"/>
                      </a:lnTo>
                      <a:lnTo>
                        <a:pt x="774" y="202"/>
                      </a:lnTo>
                      <a:lnTo>
                        <a:pt x="779" y="195"/>
                      </a:lnTo>
                      <a:lnTo>
                        <a:pt x="788" y="195"/>
                      </a:lnTo>
                      <a:lnTo>
                        <a:pt x="779" y="173"/>
                      </a:lnTo>
                      <a:lnTo>
                        <a:pt x="775" y="153"/>
                      </a:lnTo>
                      <a:lnTo>
                        <a:pt x="771" y="146"/>
                      </a:lnTo>
                      <a:lnTo>
                        <a:pt x="773" y="137"/>
                      </a:lnTo>
                      <a:lnTo>
                        <a:pt x="763" y="130"/>
                      </a:lnTo>
                      <a:lnTo>
                        <a:pt x="759" y="119"/>
                      </a:lnTo>
                      <a:lnTo>
                        <a:pt x="752" y="125"/>
                      </a:lnTo>
                      <a:lnTo>
                        <a:pt x="754" y="135"/>
                      </a:lnTo>
                      <a:lnTo>
                        <a:pt x="740" y="149"/>
                      </a:lnTo>
                      <a:lnTo>
                        <a:pt x="718" y="150"/>
                      </a:lnTo>
                      <a:lnTo>
                        <a:pt x="714" y="147"/>
                      </a:lnTo>
                      <a:lnTo>
                        <a:pt x="710" y="114"/>
                      </a:lnTo>
                      <a:lnTo>
                        <a:pt x="706" y="111"/>
                      </a:lnTo>
                      <a:lnTo>
                        <a:pt x="704" y="102"/>
                      </a:lnTo>
                      <a:lnTo>
                        <a:pt x="701" y="104"/>
                      </a:lnTo>
                      <a:lnTo>
                        <a:pt x="693" y="115"/>
                      </a:lnTo>
                      <a:lnTo>
                        <a:pt x="684" y="118"/>
                      </a:lnTo>
                      <a:lnTo>
                        <a:pt x="684" y="114"/>
                      </a:lnTo>
                      <a:lnTo>
                        <a:pt x="695" y="87"/>
                      </a:lnTo>
                      <a:lnTo>
                        <a:pt x="693" y="83"/>
                      </a:lnTo>
                      <a:lnTo>
                        <a:pt x="682" y="71"/>
                      </a:lnTo>
                      <a:lnTo>
                        <a:pt x="678" y="50"/>
                      </a:lnTo>
                      <a:lnTo>
                        <a:pt x="666" y="35"/>
                      </a:lnTo>
                      <a:lnTo>
                        <a:pt x="650" y="47"/>
                      </a:lnTo>
                      <a:lnTo>
                        <a:pt x="648" y="51"/>
                      </a:lnTo>
                      <a:lnTo>
                        <a:pt x="640" y="35"/>
                      </a:lnTo>
                      <a:lnTo>
                        <a:pt x="628" y="51"/>
                      </a:lnTo>
                      <a:lnTo>
                        <a:pt x="621" y="50"/>
                      </a:lnTo>
                      <a:lnTo>
                        <a:pt x="617" y="45"/>
                      </a:lnTo>
                      <a:lnTo>
                        <a:pt x="622" y="6"/>
                      </a:lnTo>
                      <a:lnTo>
                        <a:pt x="606" y="11"/>
                      </a:lnTo>
                      <a:lnTo>
                        <a:pt x="598" y="6"/>
                      </a:lnTo>
                      <a:lnTo>
                        <a:pt x="589" y="8"/>
                      </a:lnTo>
                      <a:lnTo>
                        <a:pt x="572" y="0"/>
                      </a:lnTo>
                      <a:lnTo>
                        <a:pt x="556" y="1"/>
                      </a:lnTo>
                      <a:lnTo>
                        <a:pt x="545" y="6"/>
                      </a:lnTo>
                      <a:lnTo>
                        <a:pt x="530" y="5"/>
                      </a:lnTo>
                      <a:lnTo>
                        <a:pt x="518" y="14"/>
                      </a:lnTo>
                      <a:lnTo>
                        <a:pt x="520" y="22"/>
                      </a:lnTo>
                      <a:lnTo>
                        <a:pt x="519" y="28"/>
                      </a:lnTo>
                      <a:lnTo>
                        <a:pt x="520" y="32"/>
                      </a:lnTo>
                      <a:lnTo>
                        <a:pt x="536" y="36"/>
                      </a:lnTo>
                      <a:lnTo>
                        <a:pt x="538" y="46"/>
                      </a:lnTo>
                      <a:lnTo>
                        <a:pt x="547" y="36"/>
                      </a:lnTo>
                      <a:lnTo>
                        <a:pt x="554" y="41"/>
                      </a:lnTo>
                      <a:lnTo>
                        <a:pt x="552" y="61"/>
                      </a:lnTo>
                      <a:lnTo>
                        <a:pt x="554" y="68"/>
                      </a:lnTo>
                      <a:lnTo>
                        <a:pt x="545" y="73"/>
                      </a:lnTo>
                      <a:lnTo>
                        <a:pt x="542" y="69"/>
                      </a:lnTo>
                      <a:lnTo>
                        <a:pt x="519" y="74"/>
                      </a:lnTo>
                      <a:lnTo>
                        <a:pt x="515" y="77"/>
                      </a:lnTo>
                      <a:lnTo>
                        <a:pt x="509" y="97"/>
                      </a:lnTo>
                      <a:lnTo>
                        <a:pt x="505" y="102"/>
                      </a:lnTo>
                      <a:lnTo>
                        <a:pt x="481" y="102"/>
                      </a:lnTo>
                      <a:lnTo>
                        <a:pt x="462" y="107"/>
                      </a:lnTo>
                      <a:lnTo>
                        <a:pt x="460" y="105"/>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0" name="Hessen" descr="{&quot;Key&quot;:&quot;hessen&quot;,&quot;Name&quot;:&quot;Hessen&quot;,&quot;Value&quot;:1.0,&quot;Formula&quot;:&quot;&quot;,&quot;Text&quot;:&quot;&quot;,&quot;OfficeApplication&quot;:1,&quot;HasValue&quot;:true}">
                  <a:extLst>
                    <a:ext uri="{FF2B5EF4-FFF2-40B4-BE49-F238E27FC236}">
                      <a16:creationId xmlns:a16="http://schemas.microsoft.com/office/drawing/2014/main" id="{844DA492-BDFB-48CF-BD75-9204D46D4F43}"/>
                    </a:ext>
                  </a:extLst>
                </p:cNvPr>
                <p:cNvSpPr>
                  <a:spLocks/>
                </p:cNvSpPr>
                <p:nvPr/>
              </p:nvSpPr>
              <p:spPr bwMode="auto">
                <a:xfrm>
                  <a:off x="5278648" y="3460288"/>
                  <a:ext cx="1065804" cy="1561218"/>
                </a:xfrm>
                <a:custGeom>
                  <a:avLst/>
                  <a:gdLst>
                    <a:gd name="T0" fmla="*/ 600 w 725"/>
                    <a:gd name="T1" fmla="*/ 121 h 1062"/>
                    <a:gd name="T2" fmla="*/ 586 w 725"/>
                    <a:gd name="T3" fmla="*/ 149 h 1062"/>
                    <a:gd name="T4" fmla="*/ 521 w 725"/>
                    <a:gd name="T5" fmla="*/ 147 h 1062"/>
                    <a:gd name="T6" fmla="*/ 541 w 725"/>
                    <a:gd name="T7" fmla="*/ 115 h 1062"/>
                    <a:gd name="T8" fmla="*/ 532 w 725"/>
                    <a:gd name="T9" fmla="*/ 49 h 1062"/>
                    <a:gd name="T10" fmla="*/ 540 w 725"/>
                    <a:gd name="T11" fmla="*/ 20 h 1062"/>
                    <a:gd name="T12" fmla="*/ 492 w 725"/>
                    <a:gd name="T13" fmla="*/ 9 h 1062"/>
                    <a:gd name="T14" fmla="*/ 470 w 725"/>
                    <a:gd name="T15" fmla="*/ 13 h 1062"/>
                    <a:gd name="T16" fmla="*/ 411 w 725"/>
                    <a:gd name="T17" fmla="*/ 93 h 1062"/>
                    <a:gd name="T18" fmla="*/ 334 w 725"/>
                    <a:gd name="T19" fmla="*/ 74 h 1062"/>
                    <a:gd name="T20" fmla="*/ 304 w 725"/>
                    <a:gd name="T21" fmla="*/ 132 h 1062"/>
                    <a:gd name="T22" fmla="*/ 223 w 725"/>
                    <a:gd name="T23" fmla="*/ 180 h 1062"/>
                    <a:gd name="T24" fmla="*/ 272 w 725"/>
                    <a:gd name="T25" fmla="*/ 196 h 1062"/>
                    <a:gd name="T26" fmla="*/ 211 w 725"/>
                    <a:gd name="T27" fmla="*/ 263 h 1062"/>
                    <a:gd name="T28" fmla="*/ 190 w 725"/>
                    <a:gd name="T29" fmla="*/ 346 h 1062"/>
                    <a:gd name="T30" fmla="*/ 143 w 725"/>
                    <a:gd name="T31" fmla="*/ 363 h 1062"/>
                    <a:gd name="T32" fmla="*/ 110 w 725"/>
                    <a:gd name="T33" fmla="*/ 441 h 1062"/>
                    <a:gd name="T34" fmla="*/ 109 w 725"/>
                    <a:gd name="T35" fmla="*/ 510 h 1062"/>
                    <a:gd name="T36" fmla="*/ 64 w 725"/>
                    <a:gd name="T37" fmla="*/ 533 h 1062"/>
                    <a:gd name="T38" fmla="*/ 59 w 725"/>
                    <a:gd name="T39" fmla="*/ 592 h 1062"/>
                    <a:gd name="T40" fmla="*/ 102 w 725"/>
                    <a:gd name="T41" fmla="*/ 644 h 1062"/>
                    <a:gd name="T42" fmla="*/ 75 w 725"/>
                    <a:gd name="T43" fmla="*/ 677 h 1062"/>
                    <a:gd name="T44" fmla="*/ 48 w 725"/>
                    <a:gd name="T45" fmla="*/ 713 h 1062"/>
                    <a:gd name="T46" fmla="*/ 5 w 725"/>
                    <a:gd name="T47" fmla="*/ 756 h 1062"/>
                    <a:gd name="T48" fmla="*/ 74 w 725"/>
                    <a:gd name="T49" fmla="*/ 780 h 1062"/>
                    <a:gd name="T50" fmla="*/ 177 w 725"/>
                    <a:gd name="T51" fmla="*/ 831 h 1062"/>
                    <a:gd name="T52" fmla="*/ 210 w 725"/>
                    <a:gd name="T53" fmla="*/ 909 h 1062"/>
                    <a:gd name="T54" fmla="*/ 206 w 725"/>
                    <a:gd name="T55" fmla="*/ 978 h 1062"/>
                    <a:gd name="T56" fmla="*/ 268 w 725"/>
                    <a:gd name="T57" fmla="*/ 993 h 1062"/>
                    <a:gd name="T58" fmla="*/ 298 w 725"/>
                    <a:gd name="T59" fmla="*/ 996 h 1062"/>
                    <a:gd name="T60" fmla="*/ 345 w 725"/>
                    <a:gd name="T61" fmla="*/ 1027 h 1062"/>
                    <a:gd name="T62" fmla="*/ 345 w 725"/>
                    <a:gd name="T63" fmla="*/ 1062 h 1062"/>
                    <a:gd name="T64" fmla="*/ 373 w 725"/>
                    <a:gd name="T65" fmla="*/ 1014 h 1062"/>
                    <a:gd name="T66" fmla="*/ 408 w 725"/>
                    <a:gd name="T67" fmla="*/ 986 h 1062"/>
                    <a:gd name="T68" fmla="*/ 413 w 725"/>
                    <a:gd name="T69" fmla="*/ 927 h 1062"/>
                    <a:gd name="T70" fmla="*/ 421 w 725"/>
                    <a:gd name="T71" fmla="*/ 876 h 1062"/>
                    <a:gd name="T72" fmla="*/ 385 w 725"/>
                    <a:gd name="T73" fmla="*/ 786 h 1062"/>
                    <a:gd name="T74" fmla="*/ 368 w 725"/>
                    <a:gd name="T75" fmla="*/ 754 h 1062"/>
                    <a:gd name="T76" fmla="*/ 416 w 725"/>
                    <a:gd name="T77" fmla="*/ 724 h 1062"/>
                    <a:gd name="T78" fmla="*/ 472 w 725"/>
                    <a:gd name="T79" fmla="*/ 713 h 1062"/>
                    <a:gd name="T80" fmla="*/ 530 w 725"/>
                    <a:gd name="T81" fmla="*/ 712 h 1062"/>
                    <a:gd name="T82" fmla="*/ 533 w 725"/>
                    <a:gd name="T83" fmla="*/ 669 h 1062"/>
                    <a:gd name="T84" fmla="*/ 582 w 725"/>
                    <a:gd name="T85" fmla="*/ 645 h 1062"/>
                    <a:gd name="T86" fmla="*/ 620 w 725"/>
                    <a:gd name="T87" fmla="*/ 589 h 1062"/>
                    <a:gd name="T88" fmla="*/ 686 w 725"/>
                    <a:gd name="T89" fmla="*/ 535 h 1062"/>
                    <a:gd name="T90" fmla="*/ 690 w 725"/>
                    <a:gd name="T91" fmla="*/ 475 h 1062"/>
                    <a:gd name="T92" fmla="*/ 640 w 725"/>
                    <a:gd name="T93" fmla="*/ 478 h 1062"/>
                    <a:gd name="T94" fmla="*/ 641 w 725"/>
                    <a:gd name="T95" fmla="*/ 419 h 1062"/>
                    <a:gd name="T96" fmla="*/ 679 w 725"/>
                    <a:gd name="T97" fmla="*/ 363 h 1062"/>
                    <a:gd name="T98" fmla="*/ 647 w 725"/>
                    <a:gd name="T99" fmla="*/ 335 h 1062"/>
                    <a:gd name="T100" fmla="*/ 692 w 725"/>
                    <a:gd name="T101" fmla="*/ 305 h 1062"/>
                    <a:gd name="T102" fmla="*/ 703 w 725"/>
                    <a:gd name="T103" fmla="*/ 266 h 1062"/>
                    <a:gd name="T104" fmla="*/ 720 w 725"/>
                    <a:gd name="T105" fmla="*/ 232 h 1062"/>
                    <a:gd name="T106" fmla="*/ 670 w 725"/>
                    <a:gd name="T107" fmla="*/ 189 h 1062"/>
                    <a:gd name="T108" fmla="*/ 630 w 725"/>
                    <a:gd name="T109" fmla="*/ 132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5" h="1062">
                      <a:moveTo>
                        <a:pt x="625" y="121"/>
                      </a:moveTo>
                      <a:lnTo>
                        <a:pt x="619" y="110"/>
                      </a:lnTo>
                      <a:lnTo>
                        <a:pt x="609" y="117"/>
                      </a:lnTo>
                      <a:lnTo>
                        <a:pt x="613" y="127"/>
                      </a:lnTo>
                      <a:lnTo>
                        <a:pt x="609" y="132"/>
                      </a:lnTo>
                      <a:lnTo>
                        <a:pt x="600" y="121"/>
                      </a:lnTo>
                      <a:lnTo>
                        <a:pt x="589" y="115"/>
                      </a:lnTo>
                      <a:lnTo>
                        <a:pt x="591" y="121"/>
                      </a:lnTo>
                      <a:lnTo>
                        <a:pt x="564" y="137"/>
                      </a:lnTo>
                      <a:lnTo>
                        <a:pt x="574" y="150"/>
                      </a:lnTo>
                      <a:lnTo>
                        <a:pt x="585" y="147"/>
                      </a:lnTo>
                      <a:lnTo>
                        <a:pt x="586" y="149"/>
                      </a:lnTo>
                      <a:lnTo>
                        <a:pt x="573" y="170"/>
                      </a:lnTo>
                      <a:lnTo>
                        <a:pt x="566" y="171"/>
                      </a:lnTo>
                      <a:lnTo>
                        <a:pt x="556" y="160"/>
                      </a:lnTo>
                      <a:lnTo>
                        <a:pt x="548" y="157"/>
                      </a:lnTo>
                      <a:lnTo>
                        <a:pt x="527" y="148"/>
                      </a:lnTo>
                      <a:lnTo>
                        <a:pt x="521" y="147"/>
                      </a:lnTo>
                      <a:lnTo>
                        <a:pt x="513" y="139"/>
                      </a:lnTo>
                      <a:lnTo>
                        <a:pt x="521" y="138"/>
                      </a:lnTo>
                      <a:lnTo>
                        <a:pt x="519" y="127"/>
                      </a:lnTo>
                      <a:lnTo>
                        <a:pt x="524" y="120"/>
                      </a:lnTo>
                      <a:lnTo>
                        <a:pt x="528" y="121"/>
                      </a:lnTo>
                      <a:lnTo>
                        <a:pt x="541" y="115"/>
                      </a:lnTo>
                      <a:lnTo>
                        <a:pt x="538" y="91"/>
                      </a:lnTo>
                      <a:lnTo>
                        <a:pt x="539" y="89"/>
                      </a:lnTo>
                      <a:lnTo>
                        <a:pt x="526" y="67"/>
                      </a:lnTo>
                      <a:lnTo>
                        <a:pt x="526" y="63"/>
                      </a:lnTo>
                      <a:lnTo>
                        <a:pt x="531" y="61"/>
                      </a:lnTo>
                      <a:lnTo>
                        <a:pt x="532" y="49"/>
                      </a:lnTo>
                      <a:lnTo>
                        <a:pt x="540" y="48"/>
                      </a:lnTo>
                      <a:lnTo>
                        <a:pt x="537" y="43"/>
                      </a:lnTo>
                      <a:lnTo>
                        <a:pt x="539" y="39"/>
                      </a:lnTo>
                      <a:lnTo>
                        <a:pt x="547" y="44"/>
                      </a:lnTo>
                      <a:lnTo>
                        <a:pt x="552" y="39"/>
                      </a:lnTo>
                      <a:lnTo>
                        <a:pt x="540" y="20"/>
                      </a:lnTo>
                      <a:lnTo>
                        <a:pt x="534" y="18"/>
                      </a:lnTo>
                      <a:lnTo>
                        <a:pt x="532" y="12"/>
                      </a:lnTo>
                      <a:lnTo>
                        <a:pt x="523" y="14"/>
                      </a:lnTo>
                      <a:lnTo>
                        <a:pt x="514" y="11"/>
                      </a:lnTo>
                      <a:lnTo>
                        <a:pt x="497" y="13"/>
                      </a:lnTo>
                      <a:lnTo>
                        <a:pt x="492" y="9"/>
                      </a:lnTo>
                      <a:lnTo>
                        <a:pt x="491" y="3"/>
                      </a:lnTo>
                      <a:lnTo>
                        <a:pt x="484" y="0"/>
                      </a:lnTo>
                      <a:lnTo>
                        <a:pt x="478" y="5"/>
                      </a:lnTo>
                      <a:lnTo>
                        <a:pt x="476" y="3"/>
                      </a:lnTo>
                      <a:lnTo>
                        <a:pt x="471" y="11"/>
                      </a:lnTo>
                      <a:lnTo>
                        <a:pt x="470" y="13"/>
                      </a:lnTo>
                      <a:lnTo>
                        <a:pt x="444" y="23"/>
                      </a:lnTo>
                      <a:lnTo>
                        <a:pt x="451" y="28"/>
                      </a:lnTo>
                      <a:lnTo>
                        <a:pt x="448" y="43"/>
                      </a:lnTo>
                      <a:lnTo>
                        <a:pt x="435" y="65"/>
                      </a:lnTo>
                      <a:lnTo>
                        <a:pt x="414" y="81"/>
                      </a:lnTo>
                      <a:lnTo>
                        <a:pt x="411" y="93"/>
                      </a:lnTo>
                      <a:lnTo>
                        <a:pt x="395" y="101"/>
                      </a:lnTo>
                      <a:lnTo>
                        <a:pt x="380" y="99"/>
                      </a:lnTo>
                      <a:lnTo>
                        <a:pt x="373" y="87"/>
                      </a:lnTo>
                      <a:lnTo>
                        <a:pt x="372" y="81"/>
                      </a:lnTo>
                      <a:lnTo>
                        <a:pt x="351" y="68"/>
                      </a:lnTo>
                      <a:lnTo>
                        <a:pt x="334" y="74"/>
                      </a:lnTo>
                      <a:lnTo>
                        <a:pt x="318" y="81"/>
                      </a:lnTo>
                      <a:lnTo>
                        <a:pt x="324" y="110"/>
                      </a:lnTo>
                      <a:lnTo>
                        <a:pt x="330" y="111"/>
                      </a:lnTo>
                      <a:lnTo>
                        <a:pt x="329" y="123"/>
                      </a:lnTo>
                      <a:lnTo>
                        <a:pt x="314" y="125"/>
                      </a:lnTo>
                      <a:lnTo>
                        <a:pt x="304" y="132"/>
                      </a:lnTo>
                      <a:lnTo>
                        <a:pt x="291" y="128"/>
                      </a:lnTo>
                      <a:lnTo>
                        <a:pt x="254" y="137"/>
                      </a:lnTo>
                      <a:lnTo>
                        <a:pt x="245" y="145"/>
                      </a:lnTo>
                      <a:lnTo>
                        <a:pt x="244" y="150"/>
                      </a:lnTo>
                      <a:lnTo>
                        <a:pt x="228" y="168"/>
                      </a:lnTo>
                      <a:lnTo>
                        <a:pt x="223" y="180"/>
                      </a:lnTo>
                      <a:lnTo>
                        <a:pt x="229" y="186"/>
                      </a:lnTo>
                      <a:lnTo>
                        <a:pt x="230" y="191"/>
                      </a:lnTo>
                      <a:lnTo>
                        <a:pt x="239" y="194"/>
                      </a:lnTo>
                      <a:lnTo>
                        <a:pt x="242" y="189"/>
                      </a:lnTo>
                      <a:lnTo>
                        <a:pt x="264" y="180"/>
                      </a:lnTo>
                      <a:lnTo>
                        <a:pt x="272" y="196"/>
                      </a:lnTo>
                      <a:lnTo>
                        <a:pt x="278" y="219"/>
                      </a:lnTo>
                      <a:lnTo>
                        <a:pt x="278" y="226"/>
                      </a:lnTo>
                      <a:lnTo>
                        <a:pt x="265" y="258"/>
                      </a:lnTo>
                      <a:lnTo>
                        <a:pt x="251" y="266"/>
                      </a:lnTo>
                      <a:lnTo>
                        <a:pt x="242" y="263"/>
                      </a:lnTo>
                      <a:lnTo>
                        <a:pt x="211" y="263"/>
                      </a:lnTo>
                      <a:lnTo>
                        <a:pt x="219" y="298"/>
                      </a:lnTo>
                      <a:lnTo>
                        <a:pt x="208" y="317"/>
                      </a:lnTo>
                      <a:lnTo>
                        <a:pt x="203" y="320"/>
                      </a:lnTo>
                      <a:lnTo>
                        <a:pt x="197" y="334"/>
                      </a:lnTo>
                      <a:lnTo>
                        <a:pt x="197" y="345"/>
                      </a:lnTo>
                      <a:lnTo>
                        <a:pt x="190" y="346"/>
                      </a:lnTo>
                      <a:lnTo>
                        <a:pt x="176" y="359"/>
                      </a:lnTo>
                      <a:lnTo>
                        <a:pt x="176" y="366"/>
                      </a:lnTo>
                      <a:lnTo>
                        <a:pt x="169" y="371"/>
                      </a:lnTo>
                      <a:lnTo>
                        <a:pt x="154" y="373"/>
                      </a:lnTo>
                      <a:lnTo>
                        <a:pt x="147" y="363"/>
                      </a:lnTo>
                      <a:lnTo>
                        <a:pt x="143" y="363"/>
                      </a:lnTo>
                      <a:lnTo>
                        <a:pt x="122" y="385"/>
                      </a:lnTo>
                      <a:lnTo>
                        <a:pt x="117" y="389"/>
                      </a:lnTo>
                      <a:lnTo>
                        <a:pt x="114" y="396"/>
                      </a:lnTo>
                      <a:lnTo>
                        <a:pt x="99" y="414"/>
                      </a:lnTo>
                      <a:lnTo>
                        <a:pt x="111" y="429"/>
                      </a:lnTo>
                      <a:lnTo>
                        <a:pt x="110" y="441"/>
                      </a:lnTo>
                      <a:lnTo>
                        <a:pt x="103" y="449"/>
                      </a:lnTo>
                      <a:lnTo>
                        <a:pt x="100" y="456"/>
                      </a:lnTo>
                      <a:lnTo>
                        <a:pt x="100" y="464"/>
                      </a:lnTo>
                      <a:lnTo>
                        <a:pt x="97" y="474"/>
                      </a:lnTo>
                      <a:lnTo>
                        <a:pt x="110" y="500"/>
                      </a:lnTo>
                      <a:lnTo>
                        <a:pt x="109" y="510"/>
                      </a:lnTo>
                      <a:lnTo>
                        <a:pt x="102" y="526"/>
                      </a:lnTo>
                      <a:lnTo>
                        <a:pt x="97" y="529"/>
                      </a:lnTo>
                      <a:lnTo>
                        <a:pt x="88" y="529"/>
                      </a:lnTo>
                      <a:lnTo>
                        <a:pt x="84" y="522"/>
                      </a:lnTo>
                      <a:lnTo>
                        <a:pt x="75" y="522"/>
                      </a:lnTo>
                      <a:lnTo>
                        <a:pt x="64" y="533"/>
                      </a:lnTo>
                      <a:lnTo>
                        <a:pt x="63" y="555"/>
                      </a:lnTo>
                      <a:lnTo>
                        <a:pt x="69" y="564"/>
                      </a:lnTo>
                      <a:lnTo>
                        <a:pt x="64" y="571"/>
                      </a:lnTo>
                      <a:lnTo>
                        <a:pt x="60" y="584"/>
                      </a:lnTo>
                      <a:lnTo>
                        <a:pt x="57" y="588"/>
                      </a:lnTo>
                      <a:lnTo>
                        <a:pt x="59" y="592"/>
                      </a:lnTo>
                      <a:lnTo>
                        <a:pt x="73" y="596"/>
                      </a:lnTo>
                      <a:lnTo>
                        <a:pt x="75" y="601"/>
                      </a:lnTo>
                      <a:lnTo>
                        <a:pt x="80" y="604"/>
                      </a:lnTo>
                      <a:lnTo>
                        <a:pt x="90" y="622"/>
                      </a:lnTo>
                      <a:lnTo>
                        <a:pt x="99" y="632"/>
                      </a:lnTo>
                      <a:lnTo>
                        <a:pt x="102" y="644"/>
                      </a:lnTo>
                      <a:lnTo>
                        <a:pt x="103" y="652"/>
                      </a:lnTo>
                      <a:lnTo>
                        <a:pt x="96" y="655"/>
                      </a:lnTo>
                      <a:lnTo>
                        <a:pt x="81" y="655"/>
                      </a:lnTo>
                      <a:lnTo>
                        <a:pt x="77" y="663"/>
                      </a:lnTo>
                      <a:lnTo>
                        <a:pt x="80" y="667"/>
                      </a:lnTo>
                      <a:lnTo>
                        <a:pt x="75" y="677"/>
                      </a:lnTo>
                      <a:lnTo>
                        <a:pt x="66" y="671"/>
                      </a:lnTo>
                      <a:lnTo>
                        <a:pt x="61" y="675"/>
                      </a:lnTo>
                      <a:lnTo>
                        <a:pt x="44" y="684"/>
                      </a:lnTo>
                      <a:lnTo>
                        <a:pt x="37" y="698"/>
                      </a:lnTo>
                      <a:lnTo>
                        <a:pt x="37" y="706"/>
                      </a:lnTo>
                      <a:lnTo>
                        <a:pt x="48" y="713"/>
                      </a:lnTo>
                      <a:lnTo>
                        <a:pt x="45" y="728"/>
                      </a:lnTo>
                      <a:lnTo>
                        <a:pt x="35" y="723"/>
                      </a:lnTo>
                      <a:lnTo>
                        <a:pt x="25" y="724"/>
                      </a:lnTo>
                      <a:lnTo>
                        <a:pt x="12" y="745"/>
                      </a:lnTo>
                      <a:lnTo>
                        <a:pt x="0" y="753"/>
                      </a:lnTo>
                      <a:lnTo>
                        <a:pt x="5" y="756"/>
                      </a:lnTo>
                      <a:lnTo>
                        <a:pt x="25" y="774"/>
                      </a:lnTo>
                      <a:lnTo>
                        <a:pt x="29" y="784"/>
                      </a:lnTo>
                      <a:lnTo>
                        <a:pt x="34" y="792"/>
                      </a:lnTo>
                      <a:lnTo>
                        <a:pt x="47" y="791"/>
                      </a:lnTo>
                      <a:lnTo>
                        <a:pt x="60" y="787"/>
                      </a:lnTo>
                      <a:lnTo>
                        <a:pt x="74" y="780"/>
                      </a:lnTo>
                      <a:lnTo>
                        <a:pt x="86" y="770"/>
                      </a:lnTo>
                      <a:lnTo>
                        <a:pt x="124" y="758"/>
                      </a:lnTo>
                      <a:lnTo>
                        <a:pt x="140" y="761"/>
                      </a:lnTo>
                      <a:lnTo>
                        <a:pt x="174" y="798"/>
                      </a:lnTo>
                      <a:lnTo>
                        <a:pt x="181" y="814"/>
                      </a:lnTo>
                      <a:lnTo>
                        <a:pt x="177" y="831"/>
                      </a:lnTo>
                      <a:lnTo>
                        <a:pt x="190" y="853"/>
                      </a:lnTo>
                      <a:lnTo>
                        <a:pt x="193" y="866"/>
                      </a:lnTo>
                      <a:lnTo>
                        <a:pt x="200" y="877"/>
                      </a:lnTo>
                      <a:lnTo>
                        <a:pt x="205" y="889"/>
                      </a:lnTo>
                      <a:lnTo>
                        <a:pt x="221" y="889"/>
                      </a:lnTo>
                      <a:lnTo>
                        <a:pt x="210" y="909"/>
                      </a:lnTo>
                      <a:lnTo>
                        <a:pt x="200" y="910"/>
                      </a:lnTo>
                      <a:lnTo>
                        <a:pt x="192" y="916"/>
                      </a:lnTo>
                      <a:lnTo>
                        <a:pt x="187" y="926"/>
                      </a:lnTo>
                      <a:lnTo>
                        <a:pt x="187" y="938"/>
                      </a:lnTo>
                      <a:lnTo>
                        <a:pt x="200" y="964"/>
                      </a:lnTo>
                      <a:lnTo>
                        <a:pt x="206" y="978"/>
                      </a:lnTo>
                      <a:lnTo>
                        <a:pt x="216" y="974"/>
                      </a:lnTo>
                      <a:lnTo>
                        <a:pt x="224" y="976"/>
                      </a:lnTo>
                      <a:lnTo>
                        <a:pt x="231" y="981"/>
                      </a:lnTo>
                      <a:lnTo>
                        <a:pt x="253" y="1003"/>
                      </a:lnTo>
                      <a:lnTo>
                        <a:pt x="267" y="996"/>
                      </a:lnTo>
                      <a:lnTo>
                        <a:pt x="268" y="993"/>
                      </a:lnTo>
                      <a:lnTo>
                        <a:pt x="261" y="966"/>
                      </a:lnTo>
                      <a:lnTo>
                        <a:pt x="262" y="963"/>
                      </a:lnTo>
                      <a:lnTo>
                        <a:pt x="283" y="958"/>
                      </a:lnTo>
                      <a:lnTo>
                        <a:pt x="289" y="967"/>
                      </a:lnTo>
                      <a:lnTo>
                        <a:pt x="290" y="981"/>
                      </a:lnTo>
                      <a:lnTo>
                        <a:pt x="298" y="996"/>
                      </a:lnTo>
                      <a:lnTo>
                        <a:pt x="318" y="1006"/>
                      </a:lnTo>
                      <a:lnTo>
                        <a:pt x="325" y="1005"/>
                      </a:lnTo>
                      <a:lnTo>
                        <a:pt x="337" y="1015"/>
                      </a:lnTo>
                      <a:lnTo>
                        <a:pt x="352" y="1013"/>
                      </a:lnTo>
                      <a:lnTo>
                        <a:pt x="352" y="1023"/>
                      </a:lnTo>
                      <a:lnTo>
                        <a:pt x="345" y="1027"/>
                      </a:lnTo>
                      <a:lnTo>
                        <a:pt x="340" y="1024"/>
                      </a:lnTo>
                      <a:lnTo>
                        <a:pt x="334" y="1033"/>
                      </a:lnTo>
                      <a:lnTo>
                        <a:pt x="334" y="1050"/>
                      </a:lnTo>
                      <a:lnTo>
                        <a:pt x="332" y="1051"/>
                      </a:lnTo>
                      <a:lnTo>
                        <a:pt x="332" y="1062"/>
                      </a:lnTo>
                      <a:lnTo>
                        <a:pt x="345" y="1062"/>
                      </a:lnTo>
                      <a:lnTo>
                        <a:pt x="354" y="1051"/>
                      </a:lnTo>
                      <a:lnTo>
                        <a:pt x="359" y="1042"/>
                      </a:lnTo>
                      <a:lnTo>
                        <a:pt x="362" y="1045"/>
                      </a:lnTo>
                      <a:lnTo>
                        <a:pt x="370" y="1037"/>
                      </a:lnTo>
                      <a:lnTo>
                        <a:pt x="365" y="1023"/>
                      </a:lnTo>
                      <a:lnTo>
                        <a:pt x="373" y="1014"/>
                      </a:lnTo>
                      <a:lnTo>
                        <a:pt x="399" y="1014"/>
                      </a:lnTo>
                      <a:lnTo>
                        <a:pt x="406" y="1007"/>
                      </a:lnTo>
                      <a:lnTo>
                        <a:pt x="417" y="1008"/>
                      </a:lnTo>
                      <a:lnTo>
                        <a:pt x="420" y="1011"/>
                      </a:lnTo>
                      <a:lnTo>
                        <a:pt x="414" y="992"/>
                      </a:lnTo>
                      <a:lnTo>
                        <a:pt x="408" y="986"/>
                      </a:lnTo>
                      <a:lnTo>
                        <a:pt x="415" y="985"/>
                      </a:lnTo>
                      <a:lnTo>
                        <a:pt x="418" y="981"/>
                      </a:lnTo>
                      <a:lnTo>
                        <a:pt x="413" y="972"/>
                      </a:lnTo>
                      <a:lnTo>
                        <a:pt x="406" y="964"/>
                      </a:lnTo>
                      <a:lnTo>
                        <a:pt x="417" y="949"/>
                      </a:lnTo>
                      <a:lnTo>
                        <a:pt x="413" y="927"/>
                      </a:lnTo>
                      <a:lnTo>
                        <a:pt x="423" y="911"/>
                      </a:lnTo>
                      <a:lnTo>
                        <a:pt x="426" y="903"/>
                      </a:lnTo>
                      <a:lnTo>
                        <a:pt x="418" y="896"/>
                      </a:lnTo>
                      <a:lnTo>
                        <a:pt x="418" y="890"/>
                      </a:lnTo>
                      <a:lnTo>
                        <a:pt x="423" y="880"/>
                      </a:lnTo>
                      <a:lnTo>
                        <a:pt x="421" y="876"/>
                      </a:lnTo>
                      <a:lnTo>
                        <a:pt x="415" y="876"/>
                      </a:lnTo>
                      <a:lnTo>
                        <a:pt x="411" y="874"/>
                      </a:lnTo>
                      <a:lnTo>
                        <a:pt x="408" y="853"/>
                      </a:lnTo>
                      <a:lnTo>
                        <a:pt x="398" y="855"/>
                      </a:lnTo>
                      <a:lnTo>
                        <a:pt x="386" y="823"/>
                      </a:lnTo>
                      <a:lnTo>
                        <a:pt x="385" y="786"/>
                      </a:lnTo>
                      <a:lnTo>
                        <a:pt x="391" y="789"/>
                      </a:lnTo>
                      <a:lnTo>
                        <a:pt x="388" y="774"/>
                      </a:lnTo>
                      <a:lnTo>
                        <a:pt x="386" y="769"/>
                      </a:lnTo>
                      <a:lnTo>
                        <a:pt x="381" y="756"/>
                      </a:lnTo>
                      <a:lnTo>
                        <a:pt x="375" y="758"/>
                      </a:lnTo>
                      <a:lnTo>
                        <a:pt x="368" y="754"/>
                      </a:lnTo>
                      <a:lnTo>
                        <a:pt x="372" y="749"/>
                      </a:lnTo>
                      <a:lnTo>
                        <a:pt x="377" y="733"/>
                      </a:lnTo>
                      <a:lnTo>
                        <a:pt x="380" y="730"/>
                      </a:lnTo>
                      <a:lnTo>
                        <a:pt x="391" y="727"/>
                      </a:lnTo>
                      <a:lnTo>
                        <a:pt x="406" y="719"/>
                      </a:lnTo>
                      <a:lnTo>
                        <a:pt x="416" y="724"/>
                      </a:lnTo>
                      <a:lnTo>
                        <a:pt x="420" y="731"/>
                      </a:lnTo>
                      <a:lnTo>
                        <a:pt x="426" y="729"/>
                      </a:lnTo>
                      <a:lnTo>
                        <a:pt x="431" y="723"/>
                      </a:lnTo>
                      <a:lnTo>
                        <a:pt x="434" y="714"/>
                      </a:lnTo>
                      <a:lnTo>
                        <a:pt x="443" y="711"/>
                      </a:lnTo>
                      <a:lnTo>
                        <a:pt x="472" y="713"/>
                      </a:lnTo>
                      <a:lnTo>
                        <a:pt x="486" y="718"/>
                      </a:lnTo>
                      <a:lnTo>
                        <a:pt x="499" y="735"/>
                      </a:lnTo>
                      <a:lnTo>
                        <a:pt x="510" y="736"/>
                      </a:lnTo>
                      <a:lnTo>
                        <a:pt x="528" y="728"/>
                      </a:lnTo>
                      <a:lnTo>
                        <a:pt x="531" y="724"/>
                      </a:lnTo>
                      <a:lnTo>
                        <a:pt x="530" y="712"/>
                      </a:lnTo>
                      <a:lnTo>
                        <a:pt x="532" y="697"/>
                      </a:lnTo>
                      <a:lnTo>
                        <a:pt x="526" y="696"/>
                      </a:lnTo>
                      <a:lnTo>
                        <a:pt x="524" y="692"/>
                      </a:lnTo>
                      <a:lnTo>
                        <a:pt x="527" y="681"/>
                      </a:lnTo>
                      <a:lnTo>
                        <a:pt x="526" y="672"/>
                      </a:lnTo>
                      <a:lnTo>
                        <a:pt x="533" y="669"/>
                      </a:lnTo>
                      <a:lnTo>
                        <a:pt x="542" y="673"/>
                      </a:lnTo>
                      <a:lnTo>
                        <a:pt x="547" y="671"/>
                      </a:lnTo>
                      <a:lnTo>
                        <a:pt x="574" y="667"/>
                      </a:lnTo>
                      <a:lnTo>
                        <a:pt x="573" y="664"/>
                      </a:lnTo>
                      <a:lnTo>
                        <a:pt x="573" y="652"/>
                      </a:lnTo>
                      <a:lnTo>
                        <a:pt x="582" y="645"/>
                      </a:lnTo>
                      <a:lnTo>
                        <a:pt x="590" y="642"/>
                      </a:lnTo>
                      <a:lnTo>
                        <a:pt x="598" y="634"/>
                      </a:lnTo>
                      <a:lnTo>
                        <a:pt x="595" y="615"/>
                      </a:lnTo>
                      <a:lnTo>
                        <a:pt x="602" y="589"/>
                      </a:lnTo>
                      <a:lnTo>
                        <a:pt x="611" y="581"/>
                      </a:lnTo>
                      <a:lnTo>
                        <a:pt x="620" y="589"/>
                      </a:lnTo>
                      <a:lnTo>
                        <a:pt x="626" y="591"/>
                      </a:lnTo>
                      <a:lnTo>
                        <a:pt x="647" y="583"/>
                      </a:lnTo>
                      <a:lnTo>
                        <a:pt x="665" y="572"/>
                      </a:lnTo>
                      <a:lnTo>
                        <a:pt x="678" y="555"/>
                      </a:lnTo>
                      <a:lnTo>
                        <a:pt x="685" y="540"/>
                      </a:lnTo>
                      <a:lnTo>
                        <a:pt x="686" y="535"/>
                      </a:lnTo>
                      <a:lnTo>
                        <a:pt x="684" y="535"/>
                      </a:lnTo>
                      <a:lnTo>
                        <a:pt x="686" y="520"/>
                      </a:lnTo>
                      <a:lnTo>
                        <a:pt x="683" y="507"/>
                      </a:lnTo>
                      <a:lnTo>
                        <a:pt x="682" y="493"/>
                      </a:lnTo>
                      <a:lnTo>
                        <a:pt x="690" y="485"/>
                      </a:lnTo>
                      <a:lnTo>
                        <a:pt x="690" y="475"/>
                      </a:lnTo>
                      <a:lnTo>
                        <a:pt x="686" y="466"/>
                      </a:lnTo>
                      <a:lnTo>
                        <a:pt x="665" y="459"/>
                      </a:lnTo>
                      <a:lnTo>
                        <a:pt x="652" y="466"/>
                      </a:lnTo>
                      <a:lnTo>
                        <a:pt x="655" y="477"/>
                      </a:lnTo>
                      <a:lnTo>
                        <a:pt x="650" y="483"/>
                      </a:lnTo>
                      <a:lnTo>
                        <a:pt x="640" y="478"/>
                      </a:lnTo>
                      <a:lnTo>
                        <a:pt x="633" y="480"/>
                      </a:lnTo>
                      <a:lnTo>
                        <a:pt x="630" y="475"/>
                      </a:lnTo>
                      <a:lnTo>
                        <a:pt x="631" y="464"/>
                      </a:lnTo>
                      <a:lnTo>
                        <a:pt x="640" y="452"/>
                      </a:lnTo>
                      <a:lnTo>
                        <a:pt x="645" y="431"/>
                      </a:lnTo>
                      <a:lnTo>
                        <a:pt x="641" y="419"/>
                      </a:lnTo>
                      <a:lnTo>
                        <a:pt x="643" y="414"/>
                      </a:lnTo>
                      <a:lnTo>
                        <a:pt x="647" y="414"/>
                      </a:lnTo>
                      <a:lnTo>
                        <a:pt x="649" y="393"/>
                      </a:lnTo>
                      <a:lnTo>
                        <a:pt x="670" y="386"/>
                      </a:lnTo>
                      <a:lnTo>
                        <a:pt x="671" y="372"/>
                      </a:lnTo>
                      <a:lnTo>
                        <a:pt x="679" y="363"/>
                      </a:lnTo>
                      <a:lnTo>
                        <a:pt x="671" y="351"/>
                      </a:lnTo>
                      <a:lnTo>
                        <a:pt x="662" y="344"/>
                      </a:lnTo>
                      <a:lnTo>
                        <a:pt x="654" y="352"/>
                      </a:lnTo>
                      <a:lnTo>
                        <a:pt x="651" y="341"/>
                      </a:lnTo>
                      <a:lnTo>
                        <a:pt x="647" y="342"/>
                      </a:lnTo>
                      <a:lnTo>
                        <a:pt x="647" y="335"/>
                      </a:lnTo>
                      <a:lnTo>
                        <a:pt x="665" y="337"/>
                      </a:lnTo>
                      <a:lnTo>
                        <a:pt x="673" y="335"/>
                      </a:lnTo>
                      <a:lnTo>
                        <a:pt x="673" y="325"/>
                      </a:lnTo>
                      <a:lnTo>
                        <a:pt x="667" y="316"/>
                      </a:lnTo>
                      <a:lnTo>
                        <a:pt x="668" y="309"/>
                      </a:lnTo>
                      <a:lnTo>
                        <a:pt x="692" y="305"/>
                      </a:lnTo>
                      <a:lnTo>
                        <a:pt x="703" y="310"/>
                      </a:lnTo>
                      <a:lnTo>
                        <a:pt x="718" y="307"/>
                      </a:lnTo>
                      <a:lnTo>
                        <a:pt x="722" y="297"/>
                      </a:lnTo>
                      <a:lnTo>
                        <a:pt x="715" y="286"/>
                      </a:lnTo>
                      <a:lnTo>
                        <a:pt x="701" y="281"/>
                      </a:lnTo>
                      <a:lnTo>
                        <a:pt x="703" y="266"/>
                      </a:lnTo>
                      <a:lnTo>
                        <a:pt x="707" y="259"/>
                      </a:lnTo>
                      <a:lnTo>
                        <a:pt x="695" y="242"/>
                      </a:lnTo>
                      <a:lnTo>
                        <a:pt x="708" y="239"/>
                      </a:lnTo>
                      <a:lnTo>
                        <a:pt x="713" y="247"/>
                      </a:lnTo>
                      <a:lnTo>
                        <a:pt x="718" y="250"/>
                      </a:lnTo>
                      <a:lnTo>
                        <a:pt x="720" y="232"/>
                      </a:lnTo>
                      <a:lnTo>
                        <a:pt x="725" y="226"/>
                      </a:lnTo>
                      <a:lnTo>
                        <a:pt x="721" y="219"/>
                      </a:lnTo>
                      <a:lnTo>
                        <a:pt x="707" y="211"/>
                      </a:lnTo>
                      <a:lnTo>
                        <a:pt x="678" y="201"/>
                      </a:lnTo>
                      <a:lnTo>
                        <a:pt x="675" y="193"/>
                      </a:lnTo>
                      <a:lnTo>
                        <a:pt x="670" y="189"/>
                      </a:lnTo>
                      <a:lnTo>
                        <a:pt x="670" y="180"/>
                      </a:lnTo>
                      <a:lnTo>
                        <a:pt x="665" y="176"/>
                      </a:lnTo>
                      <a:lnTo>
                        <a:pt x="646" y="172"/>
                      </a:lnTo>
                      <a:lnTo>
                        <a:pt x="636" y="165"/>
                      </a:lnTo>
                      <a:lnTo>
                        <a:pt x="629" y="143"/>
                      </a:lnTo>
                      <a:lnTo>
                        <a:pt x="630" y="132"/>
                      </a:lnTo>
                      <a:lnTo>
                        <a:pt x="636" y="128"/>
                      </a:lnTo>
                      <a:lnTo>
                        <a:pt x="625" y="121"/>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1" name="Bremen" descr="{&quot;Key&quot;:&quot;bremen&quot;,&quot;Name&quot;:&quot;Bremen&quot;,&quot;Value&quot;:1.0,&quot;Formula&quot;:&quot;&quot;,&quot;Text&quot;:&quot;&quot;,&quot;OfficeApplication&quot;:1,&quot;HasValue&quot;:true}">
                  <a:extLst>
                    <a:ext uri="{FF2B5EF4-FFF2-40B4-BE49-F238E27FC236}">
                      <a16:creationId xmlns:a16="http://schemas.microsoft.com/office/drawing/2014/main" id="{0C23DB1B-1542-4DFA-8087-1A0F46C45130}"/>
                    </a:ext>
                  </a:extLst>
                </p:cNvPr>
                <p:cNvSpPr>
                  <a:spLocks noEditPoints="1"/>
                </p:cNvSpPr>
                <p:nvPr/>
              </p:nvSpPr>
              <p:spPr bwMode="auto">
                <a:xfrm>
                  <a:off x="5510919" y="2116640"/>
                  <a:ext cx="221982" cy="402800"/>
                </a:xfrm>
                <a:custGeom>
                  <a:avLst/>
                  <a:gdLst>
                    <a:gd name="T0" fmla="*/ 22 w 151"/>
                    <a:gd name="T1" fmla="*/ 188 h 274"/>
                    <a:gd name="T2" fmla="*/ 9 w 151"/>
                    <a:gd name="T3" fmla="*/ 181 h 274"/>
                    <a:gd name="T4" fmla="*/ 2 w 151"/>
                    <a:gd name="T5" fmla="*/ 182 h 274"/>
                    <a:gd name="T6" fmla="*/ 8 w 151"/>
                    <a:gd name="T7" fmla="*/ 194 h 274"/>
                    <a:gd name="T8" fmla="*/ 21 w 151"/>
                    <a:gd name="T9" fmla="*/ 198 h 274"/>
                    <a:gd name="T10" fmla="*/ 28 w 151"/>
                    <a:gd name="T11" fmla="*/ 203 h 274"/>
                    <a:gd name="T12" fmla="*/ 40 w 151"/>
                    <a:gd name="T13" fmla="*/ 204 h 274"/>
                    <a:gd name="T14" fmla="*/ 45 w 151"/>
                    <a:gd name="T15" fmla="*/ 212 h 274"/>
                    <a:gd name="T16" fmla="*/ 52 w 151"/>
                    <a:gd name="T17" fmla="*/ 233 h 274"/>
                    <a:gd name="T18" fmla="*/ 67 w 151"/>
                    <a:gd name="T19" fmla="*/ 249 h 274"/>
                    <a:gd name="T20" fmla="*/ 68 w 151"/>
                    <a:gd name="T21" fmla="*/ 263 h 274"/>
                    <a:gd name="T22" fmla="*/ 72 w 151"/>
                    <a:gd name="T23" fmla="*/ 264 h 274"/>
                    <a:gd name="T24" fmla="*/ 90 w 151"/>
                    <a:gd name="T25" fmla="*/ 262 h 274"/>
                    <a:gd name="T26" fmla="*/ 104 w 151"/>
                    <a:gd name="T27" fmla="*/ 270 h 274"/>
                    <a:gd name="T28" fmla="*/ 110 w 151"/>
                    <a:gd name="T29" fmla="*/ 271 h 274"/>
                    <a:gd name="T30" fmla="*/ 117 w 151"/>
                    <a:gd name="T31" fmla="*/ 268 h 274"/>
                    <a:gd name="T32" fmla="*/ 117 w 151"/>
                    <a:gd name="T33" fmla="*/ 264 h 274"/>
                    <a:gd name="T34" fmla="*/ 131 w 151"/>
                    <a:gd name="T35" fmla="*/ 274 h 274"/>
                    <a:gd name="T36" fmla="*/ 144 w 151"/>
                    <a:gd name="T37" fmla="*/ 267 h 274"/>
                    <a:gd name="T38" fmla="*/ 148 w 151"/>
                    <a:gd name="T39" fmla="*/ 262 h 274"/>
                    <a:gd name="T40" fmla="*/ 151 w 151"/>
                    <a:gd name="T41" fmla="*/ 240 h 274"/>
                    <a:gd name="T42" fmla="*/ 144 w 151"/>
                    <a:gd name="T43" fmla="*/ 232 h 274"/>
                    <a:gd name="T44" fmla="*/ 147 w 151"/>
                    <a:gd name="T45" fmla="*/ 222 h 274"/>
                    <a:gd name="T46" fmla="*/ 139 w 151"/>
                    <a:gd name="T47" fmla="*/ 213 h 274"/>
                    <a:gd name="T48" fmla="*/ 133 w 151"/>
                    <a:gd name="T49" fmla="*/ 212 h 274"/>
                    <a:gd name="T50" fmla="*/ 129 w 151"/>
                    <a:gd name="T51" fmla="*/ 222 h 274"/>
                    <a:gd name="T52" fmla="*/ 123 w 151"/>
                    <a:gd name="T53" fmla="*/ 222 h 274"/>
                    <a:gd name="T54" fmla="*/ 97 w 151"/>
                    <a:gd name="T55" fmla="*/ 207 h 274"/>
                    <a:gd name="T56" fmla="*/ 89 w 151"/>
                    <a:gd name="T57" fmla="*/ 208 h 274"/>
                    <a:gd name="T58" fmla="*/ 78 w 151"/>
                    <a:gd name="T59" fmla="*/ 197 h 274"/>
                    <a:gd name="T60" fmla="*/ 61 w 151"/>
                    <a:gd name="T61" fmla="*/ 199 h 274"/>
                    <a:gd name="T62" fmla="*/ 39 w 151"/>
                    <a:gd name="T63" fmla="*/ 191 h 274"/>
                    <a:gd name="T64" fmla="*/ 22 w 151"/>
                    <a:gd name="T65" fmla="*/ 188 h 274"/>
                    <a:gd name="T66" fmla="*/ 1 w 151"/>
                    <a:gd name="T67" fmla="*/ 3 h 274"/>
                    <a:gd name="T68" fmla="*/ 7 w 151"/>
                    <a:gd name="T69" fmla="*/ 12 h 274"/>
                    <a:gd name="T70" fmla="*/ 16 w 151"/>
                    <a:gd name="T71" fmla="*/ 30 h 274"/>
                    <a:gd name="T72" fmla="*/ 17 w 151"/>
                    <a:gd name="T73" fmla="*/ 32 h 274"/>
                    <a:gd name="T74" fmla="*/ 15 w 151"/>
                    <a:gd name="T75" fmla="*/ 45 h 274"/>
                    <a:gd name="T76" fmla="*/ 21 w 151"/>
                    <a:gd name="T77" fmla="*/ 54 h 274"/>
                    <a:gd name="T78" fmla="*/ 27 w 151"/>
                    <a:gd name="T79" fmla="*/ 58 h 274"/>
                    <a:gd name="T80" fmla="*/ 35 w 151"/>
                    <a:gd name="T81" fmla="*/ 54 h 274"/>
                    <a:gd name="T82" fmla="*/ 39 w 151"/>
                    <a:gd name="T83" fmla="*/ 47 h 274"/>
                    <a:gd name="T84" fmla="*/ 40 w 151"/>
                    <a:gd name="T85" fmla="*/ 39 h 274"/>
                    <a:gd name="T86" fmla="*/ 32 w 151"/>
                    <a:gd name="T87" fmla="*/ 16 h 274"/>
                    <a:gd name="T88" fmla="*/ 34 w 151"/>
                    <a:gd name="T89" fmla="*/ 5 h 274"/>
                    <a:gd name="T90" fmla="*/ 21 w 151"/>
                    <a:gd name="T91" fmla="*/ 6 h 274"/>
                    <a:gd name="T92" fmla="*/ 0 w 151"/>
                    <a:gd name="T93" fmla="*/ 0 h 274"/>
                    <a:gd name="T94" fmla="*/ 1 w 151"/>
                    <a:gd name="T95" fmla="*/ 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1" h="274">
                      <a:moveTo>
                        <a:pt x="22" y="188"/>
                      </a:moveTo>
                      <a:lnTo>
                        <a:pt x="9" y="181"/>
                      </a:lnTo>
                      <a:lnTo>
                        <a:pt x="2" y="182"/>
                      </a:lnTo>
                      <a:lnTo>
                        <a:pt x="8" y="194"/>
                      </a:lnTo>
                      <a:lnTo>
                        <a:pt x="21" y="198"/>
                      </a:lnTo>
                      <a:lnTo>
                        <a:pt x="28" y="203"/>
                      </a:lnTo>
                      <a:lnTo>
                        <a:pt x="40" y="204"/>
                      </a:lnTo>
                      <a:lnTo>
                        <a:pt x="45" y="212"/>
                      </a:lnTo>
                      <a:lnTo>
                        <a:pt x="52" y="233"/>
                      </a:lnTo>
                      <a:lnTo>
                        <a:pt x="67" y="249"/>
                      </a:lnTo>
                      <a:lnTo>
                        <a:pt x="68" y="263"/>
                      </a:lnTo>
                      <a:lnTo>
                        <a:pt x="72" y="264"/>
                      </a:lnTo>
                      <a:lnTo>
                        <a:pt x="90" y="262"/>
                      </a:lnTo>
                      <a:lnTo>
                        <a:pt x="104" y="270"/>
                      </a:lnTo>
                      <a:lnTo>
                        <a:pt x="110" y="271"/>
                      </a:lnTo>
                      <a:lnTo>
                        <a:pt x="117" y="268"/>
                      </a:lnTo>
                      <a:lnTo>
                        <a:pt x="117" y="264"/>
                      </a:lnTo>
                      <a:lnTo>
                        <a:pt x="131" y="274"/>
                      </a:lnTo>
                      <a:lnTo>
                        <a:pt x="144" y="267"/>
                      </a:lnTo>
                      <a:lnTo>
                        <a:pt x="148" y="262"/>
                      </a:lnTo>
                      <a:lnTo>
                        <a:pt x="151" y="240"/>
                      </a:lnTo>
                      <a:lnTo>
                        <a:pt x="144" y="232"/>
                      </a:lnTo>
                      <a:lnTo>
                        <a:pt x="147" y="222"/>
                      </a:lnTo>
                      <a:lnTo>
                        <a:pt x="139" y="213"/>
                      </a:lnTo>
                      <a:lnTo>
                        <a:pt x="133" y="212"/>
                      </a:lnTo>
                      <a:lnTo>
                        <a:pt x="129" y="222"/>
                      </a:lnTo>
                      <a:lnTo>
                        <a:pt x="123" y="222"/>
                      </a:lnTo>
                      <a:lnTo>
                        <a:pt x="97" y="207"/>
                      </a:lnTo>
                      <a:lnTo>
                        <a:pt x="89" y="208"/>
                      </a:lnTo>
                      <a:lnTo>
                        <a:pt x="78" y="197"/>
                      </a:lnTo>
                      <a:lnTo>
                        <a:pt x="61" y="199"/>
                      </a:lnTo>
                      <a:lnTo>
                        <a:pt x="39" y="191"/>
                      </a:lnTo>
                      <a:lnTo>
                        <a:pt x="22" y="188"/>
                      </a:lnTo>
                      <a:close/>
                      <a:moveTo>
                        <a:pt x="1" y="3"/>
                      </a:moveTo>
                      <a:lnTo>
                        <a:pt x="7" y="12"/>
                      </a:lnTo>
                      <a:lnTo>
                        <a:pt x="16" y="30"/>
                      </a:lnTo>
                      <a:lnTo>
                        <a:pt x="17" y="32"/>
                      </a:lnTo>
                      <a:lnTo>
                        <a:pt x="15" y="45"/>
                      </a:lnTo>
                      <a:lnTo>
                        <a:pt x="21" y="54"/>
                      </a:lnTo>
                      <a:lnTo>
                        <a:pt x="27" y="58"/>
                      </a:lnTo>
                      <a:lnTo>
                        <a:pt x="35" y="54"/>
                      </a:lnTo>
                      <a:lnTo>
                        <a:pt x="39" y="47"/>
                      </a:lnTo>
                      <a:lnTo>
                        <a:pt x="40" y="39"/>
                      </a:lnTo>
                      <a:lnTo>
                        <a:pt x="32" y="16"/>
                      </a:lnTo>
                      <a:lnTo>
                        <a:pt x="34" y="5"/>
                      </a:lnTo>
                      <a:lnTo>
                        <a:pt x="21" y="6"/>
                      </a:lnTo>
                      <a:lnTo>
                        <a:pt x="0" y="0"/>
                      </a:lnTo>
                      <a:lnTo>
                        <a:pt x="1" y="3"/>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2" name="Niedersachsen" descr="{&quot;Key&quot;:&quot;niedersachsen&quot;,&quot;Name&quot;:&quot;Niedersachsen&quot;,&quot;Value&quot;:1.0,&quot;Formula&quot;:&quot;&quot;,&quot;Text&quot;:&quot;&quot;,&quot;OfficeApplication&quot;:1,&quot;HasValue&quot;:true}">
                  <a:extLst>
                    <a:ext uri="{FF2B5EF4-FFF2-40B4-BE49-F238E27FC236}">
                      <a16:creationId xmlns:a16="http://schemas.microsoft.com/office/drawing/2014/main" id="{2F74DD04-7CF8-4256-9B01-6638C5360B64}"/>
                    </a:ext>
                  </a:extLst>
                </p:cNvPr>
                <p:cNvSpPr>
                  <a:spLocks noEditPoints="1"/>
                </p:cNvSpPr>
                <p:nvPr/>
              </p:nvSpPr>
              <p:spPr bwMode="auto">
                <a:xfrm>
                  <a:off x="4702379" y="1931411"/>
                  <a:ext cx="2169829" cy="1780260"/>
                </a:xfrm>
                <a:custGeom>
                  <a:avLst/>
                  <a:gdLst>
                    <a:gd name="T0" fmla="*/ 25 w 1476"/>
                    <a:gd name="T1" fmla="*/ 144 h 1211"/>
                    <a:gd name="T2" fmla="*/ 125 w 1476"/>
                    <a:gd name="T3" fmla="*/ 94 h 1211"/>
                    <a:gd name="T4" fmla="*/ 224 w 1476"/>
                    <a:gd name="T5" fmla="*/ 78 h 1211"/>
                    <a:gd name="T6" fmla="*/ 278 w 1476"/>
                    <a:gd name="T7" fmla="*/ 58 h 1211"/>
                    <a:gd name="T8" fmla="*/ 339 w 1476"/>
                    <a:gd name="T9" fmla="*/ 49 h 1211"/>
                    <a:gd name="T10" fmla="*/ 358 w 1476"/>
                    <a:gd name="T11" fmla="*/ 44 h 1211"/>
                    <a:gd name="T12" fmla="*/ 590 w 1476"/>
                    <a:gd name="T13" fmla="*/ 165 h 1211"/>
                    <a:gd name="T14" fmla="*/ 553 w 1476"/>
                    <a:gd name="T15" fmla="*/ 235 h 1211"/>
                    <a:gd name="T16" fmla="*/ 525 w 1476"/>
                    <a:gd name="T17" fmla="*/ 150 h 1211"/>
                    <a:gd name="T18" fmla="*/ 494 w 1476"/>
                    <a:gd name="T19" fmla="*/ 192 h 1211"/>
                    <a:gd name="T20" fmla="*/ 448 w 1476"/>
                    <a:gd name="T21" fmla="*/ 164 h 1211"/>
                    <a:gd name="T22" fmla="*/ 293 w 1476"/>
                    <a:gd name="T23" fmla="*/ 89 h 1211"/>
                    <a:gd name="T24" fmla="*/ 127 w 1476"/>
                    <a:gd name="T25" fmla="*/ 140 h 1211"/>
                    <a:gd name="T26" fmla="*/ 128 w 1476"/>
                    <a:gd name="T27" fmla="*/ 255 h 1211"/>
                    <a:gd name="T28" fmla="*/ 167 w 1476"/>
                    <a:gd name="T29" fmla="*/ 327 h 1211"/>
                    <a:gd name="T30" fmla="*/ 129 w 1476"/>
                    <a:gd name="T31" fmla="*/ 560 h 1211"/>
                    <a:gd name="T32" fmla="*/ 30 w 1476"/>
                    <a:gd name="T33" fmla="*/ 606 h 1211"/>
                    <a:gd name="T34" fmla="*/ 99 w 1476"/>
                    <a:gd name="T35" fmla="*/ 676 h 1211"/>
                    <a:gd name="T36" fmla="*/ 151 w 1476"/>
                    <a:gd name="T37" fmla="*/ 762 h 1211"/>
                    <a:gd name="T38" fmla="*/ 301 w 1476"/>
                    <a:gd name="T39" fmla="*/ 684 h 1211"/>
                    <a:gd name="T40" fmla="*/ 414 w 1476"/>
                    <a:gd name="T41" fmla="*/ 733 h 1211"/>
                    <a:gd name="T42" fmla="*/ 423 w 1476"/>
                    <a:gd name="T43" fmla="*/ 821 h 1211"/>
                    <a:gd name="T44" fmla="*/ 486 w 1476"/>
                    <a:gd name="T45" fmla="*/ 837 h 1211"/>
                    <a:gd name="T46" fmla="*/ 559 w 1476"/>
                    <a:gd name="T47" fmla="*/ 728 h 1211"/>
                    <a:gd name="T48" fmla="*/ 567 w 1476"/>
                    <a:gd name="T49" fmla="*/ 642 h 1211"/>
                    <a:gd name="T50" fmla="*/ 688 w 1476"/>
                    <a:gd name="T51" fmla="*/ 692 h 1211"/>
                    <a:gd name="T52" fmla="*/ 749 w 1476"/>
                    <a:gd name="T53" fmla="*/ 703 h 1211"/>
                    <a:gd name="T54" fmla="*/ 730 w 1476"/>
                    <a:gd name="T55" fmla="*/ 788 h 1211"/>
                    <a:gd name="T56" fmla="*/ 783 w 1476"/>
                    <a:gd name="T57" fmla="*/ 839 h 1211"/>
                    <a:gd name="T58" fmla="*/ 828 w 1476"/>
                    <a:gd name="T59" fmla="*/ 918 h 1211"/>
                    <a:gd name="T60" fmla="*/ 864 w 1476"/>
                    <a:gd name="T61" fmla="*/ 986 h 1211"/>
                    <a:gd name="T62" fmla="*/ 889 w 1476"/>
                    <a:gd name="T63" fmla="*/ 1053 h 1211"/>
                    <a:gd name="T64" fmla="*/ 932 w 1476"/>
                    <a:gd name="T65" fmla="*/ 1088 h 1211"/>
                    <a:gd name="T66" fmla="*/ 911 w 1476"/>
                    <a:gd name="T67" fmla="*/ 1167 h 1211"/>
                    <a:gd name="T68" fmla="*/ 977 w 1476"/>
                    <a:gd name="T69" fmla="*/ 1187 h 1211"/>
                    <a:gd name="T70" fmla="*/ 1017 w 1476"/>
                    <a:gd name="T71" fmla="*/ 1161 h 1211"/>
                    <a:gd name="T72" fmla="*/ 1095 w 1476"/>
                    <a:gd name="T73" fmla="*/ 1127 h 1211"/>
                    <a:gd name="T74" fmla="*/ 1194 w 1476"/>
                    <a:gd name="T75" fmla="*/ 1086 h 1211"/>
                    <a:gd name="T76" fmla="*/ 1238 w 1476"/>
                    <a:gd name="T77" fmla="*/ 1033 h 1211"/>
                    <a:gd name="T78" fmla="*/ 1216 w 1476"/>
                    <a:gd name="T79" fmla="*/ 905 h 1211"/>
                    <a:gd name="T80" fmla="*/ 1314 w 1476"/>
                    <a:gd name="T81" fmla="*/ 851 h 1211"/>
                    <a:gd name="T82" fmla="*/ 1346 w 1476"/>
                    <a:gd name="T83" fmla="*/ 776 h 1211"/>
                    <a:gd name="T84" fmla="*/ 1330 w 1476"/>
                    <a:gd name="T85" fmla="*/ 694 h 1211"/>
                    <a:gd name="T86" fmla="*/ 1303 w 1476"/>
                    <a:gd name="T87" fmla="*/ 588 h 1211"/>
                    <a:gd name="T88" fmla="*/ 1247 w 1476"/>
                    <a:gd name="T89" fmla="*/ 484 h 1211"/>
                    <a:gd name="T90" fmla="*/ 1384 w 1476"/>
                    <a:gd name="T91" fmla="*/ 470 h 1211"/>
                    <a:gd name="T92" fmla="*/ 1439 w 1476"/>
                    <a:gd name="T93" fmla="*/ 375 h 1211"/>
                    <a:gd name="T94" fmla="*/ 1358 w 1476"/>
                    <a:gd name="T95" fmla="*/ 347 h 1211"/>
                    <a:gd name="T96" fmla="*/ 1215 w 1476"/>
                    <a:gd name="T97" fmla="*/ 249 h 1211"/>
                    <a:gd name="T98" fmla="*/ 1068 w 1476"/>
                    <a:gd name="T99" fmla="*/ 224 h 1211"/>
                    <a:gd name="T100" fmla="*/ 970 w 1476"/>
                    <a:gd name="T101" fmla="*/ 220 h 1211"/>
                    <a:gd name="T102" fmla="*/ 868 w 1476"/>
                    <a:gd name="T103" fmla="*/ 138 h 1211"/>
                    <a:gd name="T104" fmla="*/ 746 w 1476"/>
                    <a:gd name="T105" fmla="*/ 11 h 1211"/>
                    <a:gd name="T106" fmla="*/ 595 w 1476"/>
                    <a:gd name="T107" fmla="*/ 0 h 1211"/>
                    <a:gd name="T108" fmla="*/ 578 w 1476"/>
                    <a:gd name="T109" fmla="*/ 329 h 1211"/>
                    <a:gd name="T110" fmla="*/ 647 w 1476"/>
                    <a:gd name="T111" fmla="*/ 333 h 1211"/>
                    <a:gd name="T112" fmla="*/ 681 w 1476"/>
                    <a:gd name="T113" fmla="*/ 400 h 1211"/>
                    <a:gd name="T114" fmla="*/ 595 w 1476"/>
                    <a:gd name="T115" fmla="*/ 338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6" h="1211">
                      <a:moveTo>
                        <a:pt x="25" y="144"/>
                      </a:moveTo>
                      <a:lnTo>
                        <a:pt x="19" y="138"/>
                      </a:lnTo>
                      <a:lnTo>
                        <a:pt x="41" y="132"/>
                      </a:lnTo>
                      <a:lnTo>
                        <a:pt x="37" y="124"/>
                      </a:lnTo>
                      <a:lnTo>
                        <a:pt x="26" y="125"/>
                      </a:lnTo>
                      <a:lnTo>
                        <a:pt x="4" y="132"/>
                      </a:lnTo>
                      <a:lnTo>
                        <a:pt x="0" y="134"/>
                      </a:lnTo>
                      <a:lnTo>
                        <a:pt x="6" y="145"/>
                      </a:lnTo>
                      <a:lnTo>
                        <a:pt x="12" y="147"/>
                      </a:lnTo>
                      <a:lnTo>
                        <a:pt x="25" y="144"/>
                      </a:lnTo>
                      <a:close/>
                      <a:moveTo>
                        <a:pt x="77" y="114"/>
                      </a:moveTo>
                      <a:lnTo>
                        <a:pt x="70" y="110"/>
                      </a:lnTo>
                      <a:lnTo>
                        <a:pt x="61" y="118"/>
                      </a:lnTo>
                      <a:lnTo>
                        <a:pt x="70" y="124"/>
                      </a:lnTo>
                      <a:lnTo>
                        <a:pt x="77" y="114"/>
                      </a:lnTo>
                      <a:close/>
                      <a:moveTo>
                        <a:pt x="125" y="94"/>
                      </a:moveTo>
                      <a:lnTo>
                        <a:pt x="114" y="90"/>
                      </a:lnTo>
                      <a:lnTo>
                        <a:pt x="73" y="95"/>
                      </a:lnTo>
                      <a:lnTo>
                        <a:pt x="63" y="100"/>
                      </a:lnTo>
                      <a:lnTo>
                        <a:pt x="125" y="94"/>
                      </a:lnTo>
                      <a:close/>
                      <a:moveTo>
                        <a:pt x="202" y="77"/>
                      </a:moveTo>
                      <a:lnTo>
                        <a:pt x="202" y="74"/>
                      </a:lnTo>
                      <a:lnTo>
                        <a:pt x="168" y="74"/>
                      </a:lnTo>
                      <a:lnTo>
                        <a:pt x="152" y="76"/>
                      </a:lnTo>
                      <a:lnTo>
                        <a:pt x="139" y="84"/>
                      </a:lnTo>
                      <a:lnTo>
                        <a:pt x="151" y="87"/>
                      </a:lnTo>
                      <a:lnTo>
                        <a:pt x="187" y="83"/>
                      </a:lnTo>
                      <a:lnTo>
                        <a:pt x="202" y="77"/>
                      </a:lnTo>
                      <a:close/>
                      <a:moveTo>
                        <a:pt x="224" y="72"/>
                      </a:moveTo>
                      <a:lnTo>
                        <a:pt x="224" y="78"/>
                      </a:lnTo>
                      <a:lnTo>
                        <a:pt x="228" y="74"/>
                      </a:lnTo>
                      <a:lnTo>
                        <a:pt x="224" y="72"/>
                      </a:lnTo>
                      <a:close/>
                      <a:moveTo>
                        <a:pt x="447" y="76"/>
                      </a:moveTo>
                      <a:lnTo>
                        <a:pt x="447" y="70"/>
                      </a:lnTo>
                      <a:lnTo>
                        <a:pt x="440" y="69"/>
                      </a:lnTo>
                      <a:lnTo>
                        <a:pt x="435" y="72"/>
                      </a:lnTo>
                      <a:lnTo>
                        <a:pt x="431" y="81"/>
                      </a:lnTo>
                      <a:lnTo>
                        <a:pt x="447" y="76"/>
                      </a:lnTo>
                      <a:close/>
                      <a:moveTo>
                        <a:pt x="284" y="64"/>
                      </a:moveTo>
                      <a:lnTo>
                        <a:pt x="278" y="58"/>
                      </a:lnTo>
                      <a:lnTo>
                        <a:pt x="243" y="59"/>
                      </a:lnTo>
                      <a:lnTo>
                        <a:pt x="239" y="61"/>
                      </a:lnTo>
                      <a:lnTo>
                        <a:pt x="242" y="75"/>
                      </a:lnTo>
                      <a:lnTo>
                        <a:pt x="250" y="74"/>
                      </a:lnTo>
                      <a:lnTo>
                        <a:pt x="251" y="67"/>
                      </a:lnTo>
                      <a:lnTo>
                        <a:pt x="261" y="64"/>
                      </a:lnTo>
                      <a:lnTo>
                        <a:pt x="283" y="65"/>
                      </a:lnTo>
                      <a:lnTo>
                        <a:pt x="284" y="64"/>
                      </a:lnTo>
                      <a:close/>
                      <a:moveTo>
                        <a:pt x="335" y="52"/>
                      </a:moveTo>
                      <a:lnTo>
                        <a:pt x="339" y="49"/>
                      </a:lnTo>
                      <a:lnTo>
                        <a:pt x="314" y="47"/>
                      </a:lnTo>
                      <a:lnTo>
                        <a:pt x="302" y="50"/>
                      </a:lnTo>
                      <a:lnTo>
                        <a:pt x="294" y="59"/>
                      </a:lnTo>
                      <a:lnTo>
                        <a:pt x="297" y="61"/>
                      </a:lnTo>
                      <a:lnTo>
                        <a:pt x="305" y="56"/>
                      </a:lnTo>
                      <a:lnTo>
                        <a:pt x="312" y="60"/>
                      </a:lnTo>
                      <a:lnTo>
                        <a:pt x="320" y="59"/>
                      </a:lnTo>
                      <a:lnTo>
                        <a:pt x="335" y="52"/>
                      </a:lnTo>
                      <a:close/>
                      <a:moveTo>
                        <a:pt x="373" y="45"/>
                      </a:moveTo>
                      <a:lnTo>
                        <a:pt x="358" y="44"/>
                      </a:lnTo>
                      <a:lnTo>
                        <a:pt x="351" y="49"/>
                      </a:lnTo>
                      <a:lnTo>
                        <a:pt x="357" y="52"/>
                      </a:lnTo>
                      <a:lnTo>
                        <a:pt x="357" y="46"/>
                      </a:lnTo>
                      <a:lnTo>
                        <a:pt x="375" y="49"/>
                      </a:lnTo>
                      <a:lnTo>
                        <a:pt x="373" y="45"/>
                      </a:lnTo>
                      <a:close/>
                      <a:moveTo>
                        <a:pt x="550" y="126"/>
                      </a:moveTo>
                      <a:lnTo>
                        <a:pt x="571" y="132"/>
                      </a:lnTo>
                      <a:lnTo>
                        <a:pt x="584" y="131"/>
                      </a:lnTo>
                      <a:lnTo>
                        <a:pt x="582" y="142"/>
                      </a:lnTo>
                      <a:lnTo>
                        <a:pt x="590" y="165"/>
                      </a:lnTo>
                      <a:lnTo>
                        <a:pt x="589" y="173"/>
                      </a:lnTo>
                      <a:lnTo>
                        <a:pt x="585" y="180"/>
                      </a:lnTo>
                      <a:lnTo>
                        <a:pt x="577" y="184"/>
                      </a:lnTo>
                      <a:lnTo>
                        <a:pt x="571" y="180"/>
                      </a:lnTo>
                      <a:lnTo>
                        <a:pt x="565" y="171"/>
                      </a:lnTo>
                      <a:lnTo>
                        <a:pt x="565" y="172"/>
                      </a:lnTo>
                      <a:lnTo>
                        <a:pt x="552" y="181"/>
                      </a:lnTo>
                      <a:lnTo>
                        <a:pt x="548" y="192"/>
                      </a:lnTo>
                      <a:lnTo>
                        <a:pt x="548" y="205"/>
                      </a:lnTo>
                      <a:lnTo>
                        <a:pt x="553" y="235"/>
                      </a:lnTo>
                      <a:lnTo>
                        <a:pt x="552" y="246"/>
                      </a:lnTo>
                      <a:lnTo>
                        <a:pt x="548" y="237"/>
                      </a:lnTo>
                      <a:lnTo>
                        <a:pt x="546" y="225"/>
                      </a:lnTo>
                      <a:lnTo>
                        <a:pt x="544" y="200"/>
                      </a:lnTo>
                      <a:lnTo>
                        <a:pt x="546" y="186"/>
                      </a:lnTo>
                      <a:lnTo>
                        <a:pt x="550" y="176"/>
                      </a:lnTo>
                      <a:lnTo>
                        <a:pt x="563" y="163"/>
                      </a:lnTo>
                      <a:lnTo>
                        <a:pt x="563" y="160"/>
                      </a:lnTo>
                      <a:lnTo>
                        <a:pt x="551" y="155"/>
                      </a:lnTo>
                      <a:lnTo>
                        <a:pt x="525" y="150"/>
                      </a:lnTo>
                      <a:lnTo>
                        <a:pt x="514" y="144"/>
                      </a:lnTo>
                      <a:lnTo>
                        <a:pt x="501" y="128"/>
                      </a:lnTo>
                      <a:lnTo>
                        <a:pt x="495" y="125"/>
                      </a:lnTo>
                      <a:lnTo>
                        <a:pt x="483" y="126"/>
                      </a:lnTo>
                      <a:lnTo>
                        <a:pt x="472" y="138"/>
                      </a:lnTo>
                      <a:lnTo>
                        <a:pt x="468" y="169"/>
                      </a:lnTo>
                      <a:lnTo>
                        <a:pt x="474" y="169"/>
                      </a:lnTo>
                      <a:lnTo>
                        <a:pt x="486" y="167"/>
                      </a:lnTo>
                      <a:lnTo>
                        <a:pt x="495" y="176"/>
                      </a:lnTo>
                      <a:lnTo>
                        <a:pt x="494" y="192"/>
                      </a:lnTo>
                      <a:lnTo>
                        <a:pt x="488" y="208"/>
                      </a:lnTo>
                      <a:lnTo>
                        <a:pt x="478" y="220"/>
                      </a:lnTo>
                      <a:lnTo>
                        <a:pt x="467" y="224"/>
                      </a:lnTo>
                      <a:lnTo>
                        <a:pt x="442" y="202"/>
                      </a:lnTo>
                      <a:lnTo>
                        <a:pt x="431" y="204"/>
                      </a:lnTo>
                      <a:lnTo>
                        <a:pt x="426" y="200"/>
                      </a:lnTo>
                      <a:lnTo>
                        <a:pt x="417" y="180"/>
                      </a:lnTo>
                      <a:lnTo>
                        <a:pt x="422" y="176"/>
                      </a:lnTo>
                      <a:lnTo>
                        <a:pt x="434" y="175"/>
                      </a:lnTo>
                      <a:lnTo>
                        <a:pt x="448" y="164"/>
                      </a:lnTo>
                      <a:lnTo>
                        <a:pt x="449" y="156"/>
                      </a:lnTo>
                      <a:lnTo>
                        <a:pt x="445" y="151"/>
                      </a:lnTo>
                      <a:lnTo>
                        <a:pt x="434" y="147"/>
                      </a:lnTo>
                      <a:lnTo>
                        <a:pt x="436" y="138"/>
                      </a:lnTo>
                      <a:lnTo>
                        <a:pt x="426" y="132"/>
                      </a:lnTo>
                      <a:lnTo>
                        <a:pt x="413" y="117"/>
                      </a:lnTo>
                      <a:lnTo>
                        <a:pt x="404" y="100"/>
                      </a:lnTo>
                      <a:lnTo>
                        <a:pt x="405" y="84"/>
                      </a:lnTo>
                      <a:lnTo>
                        <a:pt x="381" y="78"/>
                      </a:lnTo>
                      <a:lnTo>
                        <a:pt x="293" y="89"/>
                      </a:lnTo>
                      <a:lnTo>
                        <a:pt x="249" y="97"/>
                      </a:lnTo>
                      <a:lnTo>
                        <a:pt x="242" y="96"/>
                      </a:lnTo>
                      <a:lnTo>
                        <a:pt x="236" y="90"/>
                      </a:lnTo>
                      <a:lnTo>
                        <a:pt x="190" y="95"/>
                      </a:lnTo>
                      <a:lnTo>
                        <a:pt x="167" y="103"/>
                      </a:lnTo>
                      <a:lnTo>
                        <a:pt x="157" y="113"/>
                      </a:lnTo>
                      <a:lnTo>
                        <a:pt x="151" y="118"/>
                      </a:lnTo>
                      <a:lnTo>
                        <a:pt x="140" y="129"/>
                      </a:lnTo>
                      <a:lnTo>
                        <a:pt x="131" y="135"/>
                      </a:lnTo>
                      <a:lnTo>
                        <a:pt x="127" y="140"/>
                      </a:lnTo>
                      <a:lnTo>
                        <a:pt x="128" y="146"/>
                      </a:lnTo>
                      <a:lnTo>
                        <a:pt x="144" y="158"/>
                      </a:lnTo>
                      <a:lnTo>
                        <a:pt x="144" y="163"/>
                      </a:lnTo>
                      <a:lnTo>
                        <a:pt x="138" y="173"/>
                      </a:lnTo>
                      <a:lnTo>
                        <a:pt x="120" y="170"/>
                      </a:lnTo>
                      <a:lnTo>
                        <a:pt x="112" y="195"/>
                      </a:lnTo>
                      <a:lnTo>
                        <a:pt x="111" y="203"/>
                      </a:lnTo>
                      <a:lnTo>
                        <a:pt x="112" y="237"/>
                      </a:lnTo>
                      <a:lnTo>
                        <a:pt x="117" y="250"/>
                      </a:lnTo>
                      <a:lnTo>
                        <a:pt x="128" y="255"/>
                      </a:lnTo>
                      <a:lnTo>
                        <a:pt x="196" y="258"/>
                      </a:lnTo>
                      <a:lnTo>
                        <a:pt x="208" y="262"/>
                      </a:lnTo>
                      <a:lnTo>
                        <a:pt x="215" y="271"/>
                      </a:lnTo>
                      <a:lnTo>
                        <a:pt x="199" y="264"/>
                      </a:lnTo>
                      <a:lnTo>
                        <a:pt x="182" y="264"/>
                      </a:lnTo>
                      <a:lnTo>
                        <a:pt x="175" y="275"/>
                      </a:lnTo>
                      <a:lnTo>
                        <a:pt x="176" y="285"/>
                      </a:lnTo>
                      <a:lnTo>
                        <a:pt x="168" y="297"/>
                      </a:lnTo>
                      <a:lnTo>
                        <a:pt x="165" y="299"/>
                      </a:lnTo>
                      <a:lnTo>
                        <a:pt x="167" y="327"/>
                      </a:lnTo>
                      <a:lnTo>
                        <a:pt x="160" y="348"/>
                      </a:lnTo>
                      <a:lnTo>
                        <a:pt x="165" y="363"/>
                      </a:lnTo>
                      <a:lnTo>
                        <a:pt x="169" y="397"/>
                      </a:lnTo>
                      <a:lnTo>
                        <a:pt x="169" y="413"/>
                      </a:lnTo>
                      <a:lnTo>
                        <a:pt x="167" y="428"/>
                      </a:lnTo>
                      <a:lnTo>
                        <a:pt x="160" y="444"/>
                      </a:lnTo>
                      <a:lnTo>
                        <a:pt x="138" y="480"/>
                      </a:lnTo>
                      <a:lnTo>
                        <a:pt x="133" y="494"/>
                      </a:lnTo>
                      <a:lnTo>
                        <a:pt x="131" y="510"/>
                      </a:lnTo>
                      <a:lnTo>
                        <a:pt x="129" y="560"/>
                      </a:lnTo>
                      <a:lnTo>
                        <a:pt x="128" y="576"/>
                      </a:lnTo>
                      <a:lnTo>
                        <a:pt x="123" y="586"/>
                      </a:lnTo>
                      <a:lnTo>
                        <a:pt x="107" y="581"/>
                      </a:lnTo>
                      <a:lnTo>
                        <a:pt x="93" y="584"/>
                      </a:lnTo>
                      <a:lnTo>
                        <a:pt x="77" y="579"/>
                      </a:lnTo>
                      <a:lnTo>
                        <a:pt x="48" y="579"/>
                      </a:lnTo>
                      <a:lnTo>
                        <a:pt x="39" y="582"/>
                      </a:lnTo>
                      <a:lnTo>
                        <a:pt x="28" y="590"/>
                      </a:lnTo>
                      <a:lnTo>
                        <a:pt x="31" y="594"/>
                      </a:lnTo>
                      <a:lnTo>
                        <a:pt x="30" y="606"/>
                      </a:lnTo>
                      <a:lnTo>
                        <a:pt x="42" y="617"/>
                      </a:lnTo>
                      <a:lnTo>
                        <a:pt x="25" y="626"/>
                      </a:lnTo>
                      <a:lnTo>
                        <a:pt x="21" y="626"/>
                      </a:lnTo>
                      <a:lnTo>
                        <a:pt x="25" y="633"/>
                      </a:lnTo>
                      <a:lnTo>
                        <a:pt x="28" y="656"/>
                      </a:lnTo>
                      <a:lnTo>
                        <a:pt x="34" y="663"/>
                      </a:lnTo>
                      <a:lnTo>
                        <a:pt x="43" y="667"/>
                      </a:lnTo>
                      <a:lnTo>
                        <a:pt x="66" y="670"/>
                      </a:lnTo>
                      <a:lnTo>
                        <a:pt x="82" y="676"/>
                      </a:lnTo>
                      <a:lnTo>
                        <a:pt x="99" y="676"/>
                      </a:lnTo>
                      <a:lnTo>
                        <a:pt x="106" y="674"/>
                      </a:lnTo>
                      <a:lnTo>
                        <a:pt x="112" y="668"/>
                      </a:lnTo>
                      <a:lnTo>
                        <a:pt x="131" y="696"/>
                      </a:lnTo>
                      <a:lnTo>
                        <a:pt x="136" y="708"/>
                      </a:lnTo>
                      <a:lnTo>
                        <a:pt x="134" y="725"/>
                      </a:lnTo>
                      <a:lnTo>
                        <a:pt x="126" y="754"/>
                      </a:lnTo>
                      <a:lnTo>
                        <a:pt x="130" y="764"/>
                      </a:lnTo>
                      <a:lnTo>
                        <a:pt x="131" y="767"/>
                      </a:lnTo>
                      <a:lnTo>
                        <a:pt x="140" y="767"/>
                      </a:lnTo>
                      <a:lnTo>
                        <a:pt x="151" y="762"/>
                      </a:lnTo>
                      <a:lnTo>
                        <a:pt x="160" y="755"/>
                      </a:lnTo>
                      <a:lnTo>
                        <a:pt x="201" y="754"/>
                      </a:lnTo>
                      <a:lnTo>
                        <a:pt x="213" y="751"/>
                      </a:lnTo>
                      <a:lnTo>
                        <a:pt x="235" y="737"/>
                      </a:lnTo>
                      <a:lnTo>
                        <a:pt x="241" y="735"/>
                      </a:lnTo>
                      <a:lnTo>
                        <a:pt x="262" y="716"/>
                      </a:lnTo>
                      <a:lnTo>
                        <a:pt x="275" y="705"/>
                      </a:lnTo>
                      <a:lnTo>
                        <a:pt x="289" y="704"/>
                      </a:lnTo>
                      <a:lnTo>
                        <a:pt x="299" y="685"/>
                      </a:lnTo>
                      <a:lnTo>
                        <a:pt x="301" y="684"/>
                      </a:lnTo>
                      <a:lnTo>
                        <a:pt x="295" y="675"/>
                      </a:lnTo>
                      <a:lnTo>
                        <a:pt x="298" y="659"/>
                      </a:lnTo>
                      <a:lnTo>
                        <a:pt x="302" y="656"/>
                      </a:lnTo>
                      <a:lnTo>
                        <a:pt x="324" y="663"/>
                      </a:lnTo>
                      <a:lnTo>
                        <a:pt x="332" y="686"/>
                      </a:lnTo>
                      <a:lnTo>
                        <a:pt x="361" y="703"/>
                      </a:lnTo>
                      <a:lnTo>
                        <a:pt x="370" y="709"/>
                      </a:lnTo>
                      <a:lnTo>
                        <a:pt x="392" y="702"/>
                      </a:lnTo>
                      <a:lnTo>
                        <a:pt x="404" y="716"/>
                      </a:lnTo>
                      <a:lnTo>
                        <a:pt x="414" y="733"/>
                      </a:lnTo>
                      <a:lnTo>
                        <a:pt x="401" y="738"/>
                      </a:lnTo>
                      <a:lnTo>
                        <a:pt x="406" y="749"/>
                      </a:lnTo>
                      <a:lnTo>
                        <a:pt x="399" y="765"/>
                      </a:lnTo>
                      <a:lnTo>
                        <a:pt x="401" y="768"/>
                      </a:lnTo>
                      <a:lnTo>
                        <a:pt x="395" y="783"/>
                      </a:lnTo>
                      <a:lnTo>
                        <a:pt x="406" y="789"/>
                      </a:lnTo>
                      <a:lnTo>
                        <a:pt x="406" y="793"/>
                      </a:lnTo>
                      <a:lnTo>
                        <a:pt x="422" y="794"/>
                      </a:lnTo>
                      <a:lnTo>
                        <a:pt x="430" y="797"/>
                      </a:lnTo>
                      <a:lnTo>
                        <a:pt x="423" y="821"/>
                      </a:lnTo>
                      <a:lnTo>
                        <a:pt x="410" y="823"/>
                      </a:lnTo>
                      <a:lnTo>
                        <a:pt x="402" y="827"/>
                      </a:lnTo>
                      <a:lnTo>
                        <a:pt x="394" y="834"/>
                      </a:lnTo>
                      <a:lnTo>
                        <a:pt x="401" y="852"/>
                      </a:lnTo>
                      <a:lnTo>
                        <a:pt x="421" y="859"/>
                      </a:lnTo>
                      <a:lnTo>
                        <a:pt x="433" y="847"/>
                      </a:lnTo>
                      <a:lnTo>
                        <a:pt x="449" y="844"/>
                      </a:lnTo>
                      <a:lnTo>
                        <a:pt x="460" y="847"/>
                      </a:lnTo>
                      <a:lnTo>
                        <a:pt x="480" y="840"/>
                      </a:lnTo>
                      <a:lnTo>
                        <a:pt x="486" y="837"/>
                      </a:lnTo>
                      <a:lnTo>
                        <a:pt x="496" y="824"/>
                      </a:lnTo>
                      <a:lnTo>
                        <a:pt x="505" y="816"/>
                      </a:lnTo>
                      <a:lnTo>
                        <a:pt x="544" y="827"/>
                      </a:lnTo>
                      <a:lnTo>
                        <a:pt x="549" y="823"/>
                      </a:lnTo>
                      <a:lnTo>
                        <a:pt x="551" y="816"/>
                      </a:lnTo>
                      <a:lnTo>
                        <a:pt x="568" y="803"/>
                      </a:lnTo>
                      <a:lnTo>
                        <a:pt x="573" y="796"/>
                      </a:lnTo>
                      <a:lnTo>
                        <a:pt x="570" y="788"/>
                      </a:lnTo>
                      <a:lnTo>
                        <a:pt x="562" y="778"/>
                      </a:lnTo>
                      <a:lnTo>
                        <a:pt x="559" y="728"/>
                      </a:lnTo>
                      <a:lnTo>
                        <a:pt x="557" y="721"/>
                      </a:lnTo>
                      <a:lnTo>
                        <a:pt x="549" y="707"/>
                      </a:lnTo>
                      <a:lnTo>
                        <a:pt x="541" y="701"/>
                      </a:lnTo>
                      <a:lnTo>
                        <a:pt x="521" y="693"/>
                      </a:lnTo>
                      <a:lnTo>
                        <a:pt x="510" y="668"/>
                      </a:lnTo>
                      <a:lnTo>
                        <a:pt x="530" y="672"/>
                      </a:lnTo>
                      <a:lnTo>
                        <a:pt x="546" y="671"/>
                      </a:lnTo>
                      <a:lnTo>
                        <a:pt x="555" y="663"/>
                      </a:lnTo>
                      <a:lnTo>
                        <a:pt x="557" y="652"/>
                      </a:lnTo>
                      <a:lnTo>
                        <a:pt x="567" y="642"/>
                      </a:lnTo>
                      <a:lnTo>
                        <a:pt x="593" y="641"/>
                      </a:lnTo>
                      <a:lnTo>
                        <a:pt x="611" y="634"/>
                      </a:lnTo>
                      <a:lnTo>
                        <a:pt x="621" y="640"/>
                      </a:lnTo>
                      <a:lnTo>
                        <a:pt x="629" y="654"/>
                      </a:lnTo>
                      <a:lnTo>
                        <a:pt x="633" y="678"/>
                      </a:lnTo>
                      <a:lnTo>
                        <a:pt x="632" y="683"/>
                      </a:lnTo>
                      <a:lnTo>
                        <a:pt x="638" y="693"/>
                      </a:lnTo>
                      <a:lnTo>
                        <a:pt x="668" y="697"/>
                      </a:lnTo>
                      <a:lnTo>
                        <a:pt x="678" y="696"/>
                      </a:lnTo>
                      <a:lnTo>
                        <a:pt x="688" y="692"/>
                      </a:lnTo>
                      <a:lnTo>
                        <a:pt x="708" y="688"/>
                      </a:lnTo>
                      <a:lnTo>
                        <a:pt x="715" y="671"/>
                      </a:lnTo>
                      <a:lnTo>
                        <a:pt x="726" y="654"/>
                      </a:lnTo>
                      <a:lnTo>
                        <a:pt x="742" y="646"/>
                      </a:lnTo>
                      <a:lnTo>
                        <a:pt x="747" y="647"/>
                      </a:lnTo>
                      <a:lnTo>
                        <a:pt x="751" y="653"/>
                      </a:lnTo>
                      <a:lnTo>
                        <a:pt x="759" y="659"/>
                      </a:lnTo>
                      <a:lnTo>
                        <a:pt x="751" y="667"/>
                      </a:lnTo>
                      <a:lnTo>
                        <a:pt x="758" y="688"/>
                      </a:lnTo>
                      <a:lnTo>
                        <a:pt x="749" y="703"/>
                      </a:lnTo>
                      <a:lnTo>
                        <a:pt x="743" y="716"/>
                      </a:lnTo>
                      <a:lnTo>
                        <a:pt x="736" y="720"/>
                      </a:lnTo>
                      <a:lnTo>
                        <a:pt x="725" y="720"/>
                      </a:lnTo>
                      <a:lnTo>
                        <a:pt x="720" y="728"/>
                      </a:lnTo>
                      <a:lnTo>
                        <a:pt x="718" y="755"/>
                      </a:lnTo>
                      <a:lnTo>
                        <a:pt x="719" y="757"/>
                      </a:lnTo>
                      <a:lnTo>
                        <a:pt x="743" y="766"/>
                      </a:lnTo>
                      <a:lnTo>
                        <a:pt x="744" y="767"/>
                      </a:lnTo>
                      <a:lnTo>
                        <a:pt x="737" y="789"/>
                      </a:lnTo>
                      <a:lnTo>
                        <a:pt x="730" y="788"/>
                      </a:lnTo>
                      <a:lnTo>
                        <a:pt x="721" y="790"/>
                      </a:lnTo>
                      <a:lnTo>
                        <a:pt x="728" y="807"/>
                      </a:lnTo>
                      <a:lnTo>
                        <a:pt x="725" y="814"/>
                      </a:lnTo>
                      <a:lnTo>
                        <a:pt x="726" y="816"/>
                      </a:lnTo>
                      <a:lnTo>
                        <a:pt x="744" y="814"/>
                      </a:lnTo>
                      <a:lnTo>
                        <a:pt x="767" y="817"/>
                      </a:lnTo>
                      <a:lnTo>
                        <a:pt x="769" y="822"/>
                      </a:lnTo>
                      <a:lnTo>
                        <a:pt x="771" y="830"/>
                      </a:lnTo>
                      <a:lnTo>
                        <a:pt x="780" y="834"/>
                      </a:lnTo>
                      <a:lnTo>
                        <a:pt x="783" y="839"/>
                      </a:lnTo>
                      <a:lnTo>
                        <a:pt x="783" y="845"/>
                      </a:lnTo>
                      <a:lnTo>
                        <a:pt x="780" y="854"/>
                      </a:lnTo>
                      <a:lnTo>
                        <a:pt x="787" y="871"/>
                      </a:lnTo>
                      <a:lnTo>
                        <a:pt x="780" y="885"/>
                      </a:lnTo>
                      <a:lnTo>
                        <a:pt x="796" y="891"/>
                      </a:lnTo>
                      <a:lnTo>
                        <a:pt x="800" y="886"/>
                      </a:lnTo>
                      <a:lnTo>
                        <a:pt x="815" y="891"/>
                      </a:lnTo>
                      <a:lnTo>
                        <a:pt x="812" y="907"/>
                      </a:lnTo>
                      <a:lnTo>
                        <a:pt x="807" y="915"/>
                      </a:lnTo>
                      <a:lnTo>
                        <a:pt x="828" y="918"/>
                      </a:lnTo>
                      <a:lnTo>
                        <a:pt x="832" y="929"/>
                      </a:lnTo>
                      <a:lnTo>
                        <a:pt x="828" y="946"/>
                      </a:lnTo>
                      <a:lnTo>
                        <a:pt x="841" y="943"/>
                      </a:lnTo>
                      <a:lnTo>
                        <a:pt x="854" y="944"/>
                      </a:lnTo>
                      <a:lnTo>
                        <a:pt x="868" y="940"/>
                      </a:lnTo>
                      <a:lnTo>
                        <a:pt x="870" y="941"/>
                      </a:lnTo>
                      <a:lnTo>
                        <a:pt x="864" y="952"/>
                      </a:lnTo>
                      <a:lnTo>
                        <a:pt x="869" y="961"/>
                      </a:lnTo>
                      <a:lnTo>
                        <a:pt x="867" y="979"/>
                      </a:lnTo>
                      <a:lnTo>
                        <a:pt x="864" y="986"/>
                      </a:lnTo>
                      <a:lnTo>
                        <a:pt x="852" y="1003"/>
                      </a:lnTo>
                      <a:lnTo>
                        <a:pt x="853" y="1020"/>
                      </a:lnTo>
                      <a:lnTo>
                        <a:pt x="848" y="1043"/>
                      </a:lnTo>
                      <a:lnTo>
                        <a:pt x="854" y="1047"/>
                      </a:lnTo>
                      <a:lnTo>
                        <a:pt x="868" y="1043"/>
                      </a:lnTo>
                      <a:lnTo>
                        <a:pt x="870" y="1045"/>
                      </a:lnTo>
                      <a:lnTo>
                        <a:pt x="876" y="1040"/>
                      </a:lnTo>
                      <a:lnTo>
                        <a:pt x="883" y="1043"/>
                      </a:lnTo>
                      <a:lnTo>
                        <a:pt x="884" y="1049"/>
                      </a:lnTo>
                      <a:lnTo>
                        <a:pt x="889" y="1053"/>
                      </a:lnTo>
                      <a:lnTo>
                        <a:pt x="906" y="1051"/>
                      </a:lnTo>
                      <a:lnTo>
                        <a:pt x="915" y="1054"/>
                      </a:lnTo>
                      <a:lnTo>
                        <a:pt x="924" y="1052"/>
                      </a:lnTo>
                      <a:lnTo>
                        <a:pt x="926" y="1058"/>
                      </a:lnTo>
                      <a:lnTo>
                        <a:pt x="932" y="1060"/>
                      </a:lnTo>
                      <a:lnTo>
                        <a:pt x="944" y="1079"/>
                      </a:lnTo>
                      <a:lnTo>
                        <a:pt x="939" y="1084"/>
                      </a:lnTo>
                      <a:lnTo>
                        <a:pt x="931" y="1079"/>
                      </a:lnTo>
                      <a:lnTo>
                        <a:pt x="929" y="1083"/>
                      </a:lnTo>
                      <a:lnTo>
                        <a:pt x="932" y="1088"/>
                      </a:lnTo>
                      <a:lnTo>
                        <a:pt x="924" y="1089"/>
                      </a:lnTo>
                      <a:lnTo>
                        <a:pt x="923" y="1101"/>
                      </a:lnTo>
                      <a:lnTo>
                        <a:pt x="918" y="1103"/>
                      </a:lnTo>
                      <a:lnTo>
                        <a:pt x="918" y="1107"/>
                      </a:lnTo>
                      <a:lnTo>
                        <a:pt x="931" y="1129"/>
                      </a:lnTo>
                      <a:lnTo>
                        <a:pt x="930" y="1131"/>
                      </a:lnTo>
                      <a:lnTo>
                        <a:pt x="933" y="1155"/>
                      </a:lnTo>
                      <a:lnTo>
                        <a:pt x="920" y="1161"/>
                      </a:lnTo>
                      <a:lnTo>
                        <a:pt x="916" y="1160"/>
                      </a:lnTo>
                      <a:lnTo>
                        <a:pt x="911" y="1167"/>
                      </a:lnTo>
                      <a:lnTo>
                        <a:pt x="913" y="1178"/>
                      </a:lnTo>
                      <a:lnTo>
                        <a:pt x="905" y="1179"/>
                      </a:lnTo>
                      <a:lnTo>
                        <a:pt x="913" y="1187"/>
                      </a:lnTo>
                      <a:lnTo>
                        <a:pt x="919" y="1188"/>
                      </a:lnTo>
                      <a:lnTo>
                        <a:pt x="940" y="1197"/>
                      </a:lnTo>
                      <a:lnTo>
                        <a:pt x="948" y="1200"/>
                      </a:lnTo>
                      <a:lnTo>
                        <a:pt x="958" y="1211"/>
                      </a:lnTo>
                      <a:lnTo>
                        <a:pt x="965" y="1210"/>
                      </a:lnTo>
                      <a:lnTo>
                        <a:pt x="978" y="1189"/>
                      </a:lnTo>
                      <a:lnTo>
                        <a:pt x="977" y="1187"/>
                      </a:lnTo>
                      <a:lnTo>
                        <a:pt x="966" y="1190"/>
                      </a:lnTo>
                      <a:lnTo>
                        <a:pt x="956" y="1177"/>
                      </a:lnTo>
                      <a:lnTo>
                        <a:pt x="983" y="1161"/>
                      </a:lnTo>
                      <a:lnTo>
                        <a:pt x="981" y="1155"/>
                      </a:lnTo>
                      <a:lnTo>
                        <a:pt x="992" y="1161"/>
                      </a:lnTo>
                      <a:lnTo>
                        <a:pt x="1001" y="1172"/>
                      </a:lnTo>
                      <a:lnTo>
                        <a:pt x="1005" y="1167"/>
                      </a:lnTo>
                      <a:lnTo>
                        <a:pt x="1001" y="1157"/>
                      </a:lnTo>
                      <a:lnTo>
                        <a:pt x="1011" y="1150"/>
                      </a:lnTo>
                      <a:lnTo>
                        <a:pt x="1017" y="1161"/>
                      </a:lnTo>
                      <a:lnTo>
                        <a:pt x="1028" y="1168"/>
                      </a:lnTo>
                      <a:lnTo>
                        <a:pt x="1042" y="1155"/>
                      </a:lnTo>
                      <a:lnTo>
                        <a:pt x="1051" y="1148"/>
                      </a:lnTo>
                      <a:lnTo>
                        <a:pt x="1062" y="1150"/>
                      </a:lnTo>
                      <a:lnTo>
                        <a:pt x="1066" y="1148"/>
                      </a:lnTo>
                      <a:lnTo>
                        <a:pt x="1087" y="1144"/>
                      </a:lnTo>
                      <a:lnTo>
                        <a:pt x="1086" y="1140"/>
                      </a:lnTo>
                      <a:lnTo>
                        <a:pt x="1092" y="1138"/>
                      </a:lnTo>
                      <a:lnTo>
                        <a:pt x="1096" y="1131"/>
                      </a:lnTo>
                      <a:lnTo>
                        <a:pt x="1095" y="1127"/>
                      </a:lnTo>
                      <a:lnTo>
                        <a:pt x="1104" y="1122"/>
                      </a:lnTo>
                      <a:lnTo>
                        <a:pt x="1111" y="1127"/>
                      </a:lnTo>
                      <a:lnTo>
                        <a:pt x="1129" y="1116"/>
                      </a:lnTo>
                      <a:lnTo>
                        <a:pt x="1131" y="1109"/>
                      </a:lnTo>
                      <a:lnTo>
                        <a:pt x="1147" y="1095"/>
                      </a:lnTo>
                      <a:lnTo>
                        <a:pt x="1153" y="1079"/>
                      </a:lnTo>
                      <a:lnTo>
                        <a:pt x="1154" y="1071"/>
                      </a:lnTo>
                      <a:lnTo>
                        <a:pt x="1168" y="1070"/>
                      </a:lnTo>
                      <a:lnTo>
                        <a:pt x="1183" y="1077"/>
                      </a:lnTo>
                      <a:lnTo>
                        <a:pt x="1194" y="1086"/>
                      </a:lnTo>
                      <a:lnTo>
                        <a:pt x="1208" y="1086"/>
                      </a:lnTo>
                      <a:lnTo>
                        <a:pt x="1222" y="1078"/>
                      </a:lnTo>
                      <a:lnTo>
                        <a:pt x="1226" y="1078"/>
                      </a:lnTo>
                      <a:lnTo>
                        <a:pt x="1235" y="1083"/>
                      </a:lnTo>
                      <a:lnTo>
                        <a:pt x="1235" y="1076"/>
                      </a:lnTo>
                      <a:lnTo>
                        <a:pt x="1231" y="1071"/>
                      </a:lnTo>
                      <a:lnTo>
                        <a:pt x="1228" y="1062"/>
                      </a:lnTo>
                      <a:lnTo>
                        <a:pt x="1233" y="1056"/>
                      </a:lnTo>
                      <a:lnTo>
                        <a:pt x="1247" y="1048"/>
                      </a:lnTo>
                      <a:lnTo>
                        <a:pt x="1238" y="1033"/>
                      </a:lnTo>
                      <a:lnTo>
                        <a:pt x="1237" y="1020"/>
                      </a:lnTo>
                      <a:lnTo>
                        <a:pt x="1233" y="1012"/>
                      </a:lnTo>
                      <a:lnTo>
                        <a:pt x="1210" y="982"/>
                      </a:lnTo>
                      <a:lnTo>
                        <a:pt x="1207" y="969"/>
                      </a:lnTo>
                      <a:lnTo>
                        <a:pt x="1208" y="948"/>
                      </a:lnTo>
                      <a:lnTo>
                        <a:pt x="1220" y="939"/>
                      </a:lnTo>
                      <a:lnTo>
                        <a:pt x="1224" y="929"/>
                      </a:lnTo>
                      <a:lnTo>
                        <a:pt x="1221" y="919"/>
                      </a:lnTo>
                      <a:lnTo>
                        <a:pt x="1215" y="915"/>
                      </a:lnTo>
                      <a:lnTo>
                        <a:pt x="1216" y="905"/>
                      </a:lnTo>
                      <a:lnTo>
                        <a:pt x="1224" y="900"/>
                      </a:lnTo>
                      <a:lnTo>
                        <a:pt x="1206" y="890"/>
                      </a:lnTo>
                      <a:lnTo>
                        <a:pt x="1200" y="876"/>
                      </a:lnTo>
                      <a:lnTo>
                        <a:pt x="1203" y="873"/>
                      </a:lnTo>
                      <a:lnTo>
                        <a:pt x="1219" y="870"/>
                      </a:lnTo>
                      <a:lnTo>
                        <a:pt x="1224" y="864"/>
                      </a:lnTo>
                      <a:lnTo>
                        <a:pt x="1224" y="858"/>
                      </a:lnTo>
                      <a:lnTo>
                        <a:pt x="1243" y="855"/>
                      </a:lnTo>
                      <a:lnTo>
                        <a:pt x="1283" y="855"/>
                      </a:lnTo>
                      <a:lnTo>
                        <a:pt x="1314" y="851"/>
                      </a:lnTo>
                      <a:lnTo>
                        <a:pt x="1317" y="850"/>
                      </a:lnTo>
                      <a:lnTo>
                        <a:pt x="1317" y="839"/>
                      </a:lnTo>
                      <a:lnTo>
                        <a:pt x="1311" y="832"/>
                      </a:lnTo>
                      <a:lnTo>
                        <a:pt x="1330" y="823"/>
                      </a:lnTo>
                      <a:lnTo>
                        <a:pt x="1340" y="813"/>
                      </a:lnTo>
                      <a:lnTo>
                        <a:pt x="1342" y="809"/>
                      </a:lnTo>
                      <a:lnTo>
                        <a:pt x="1339" y="798"/>
                      </a:lnTo>
                      <a:lnTo>
                        <a:pt x="1335" y="797"/>
                      </a:lnTo>
                      <a:lnTo>
                        <a:pt x="1332" y="783"/>
                      </a:lnTo>
                      <a:lnTo>
                        <a:pt x="1346" y="776"/>
                      </a:lnTo>
                      <a:lnTo>
                        <a:pt x="1348" y="766"/>
                      </a:lnTo>
                      <a:lnTo>
                        <a:pt x="1341" y="758"/>
                      </a:lnTo>
                      <a:lnTo>
                        <a:pt x="1326" y="744"/>
                      </a:lnTo>
                      <a:lnTo>
                        <a:pt x="1332" y="737"/>
                      </a:lnTo>
                      <a:lnTo>
                        <a:pt x="1321" y="724"/>
                      </a:lnTo>
                      <a:lnTo>
                        <a:pt x="1326" y="716"/>
                      </a:lnTo>
                      <a:lnTo>
                        <a:pt x="1335" y="715"/>
                      </a:lnTo>
                      <a:lnTo>
                        <a:pt x="1341" y="711"/>
                      </a:lnTo>
                      <a:lnTo>
                        <a:pt x="1339" y="701"/>
                      </a:lnTo>
                      <a:lnTo>
                        <a:pt x="1330" y="694"/>
                      </a:lnTo>
                      <a:lnTo>
                        <a:pt x="1322" y="690"/>
                      </a:lnTo>
                      <a:lnTo>
                        <a:pt x="1299" y="663"/>
                      </a:lnTo>
                      <a:lnTo>
                        <a:pt x="1303" y="648"/>
                      </a:lnTo>
                      <a:lnTo>
                        <a:pt x="1310" y="645"/>
                      </a:lnTo>
                      <a:lnTo>
                        <a:pt x="1315" y="647"/>
                      </a:lnTo>
                      <a:lnTo>
                        <a:pt x="1300" y="620"/>
                      </a:lnTo>
                      <a:lnTo>
                        <a:pt x="1298" y="616"/>
                      </a:lnTo>
                      <a:lnTo>
                        <a:pt x="1300" y="602"/>
                      </a:lnTo>
                      <a:lnTo>
                        <a:pt x="1307" y="592"/>
                      </a:lnTo>
                      <a:lnTo>
                        <a:pt x="1303" y="588"/>
                      </a:lnTo>
                      <a:lnTo>
                        <a:pt x="1295" y="592"/>
                      </a:lnTo>
                      <a:lnTo>
                        <a:pt x="1289" y="589"/>
                      </a:lnTo>
                      <a:lnTo>
                        <a:pt x="1278" y="575"/>
                      </a:lnTo>
                      <a:lnTo>
                        <a:pt x="1266" y="553"/>
                      </a:lnTo>
                      <a:lnTo>
                        <a:pt x="1258" y="545"/>
                      </a:lnTo>
                      <a:lnTo>
                        <a:pt x="1251" y="541"/>
                      </a:lnTo>
                      <a:lnTo>
                        <a:pt x="1250" y="536"/>
                      </a:lnTo>
                      <a:lnTo>
                        <a:pt x="1236" y="512"/>
                      </a:lnTo>
                      <a:lnTo>
                        <a:pt x="1237" y="491"/>
                      </a:lnTo>
                      <a:lnTo>
                        <a:pt x="1247" y="484"/>
                      </a:lnTo>
                      <a:lnTo>
                        <a:pt x="1260" y="483"/>
                      </a:lnTo>
                      <a:lnTo>
                        <a:pt x="1274" y="484"/>
                      </a:lnTo>
                      <a:lnTo>
                        <a:pt x="1296" y="475"/>
                      </a:lnTo>
                      <a:lnTo>
                        <a:pt x="1305" y="462"/>
                      </a:lnTo>
                      <a:lnTo>
                        <a:pt x="1305" y="458"/>
                      </a:lnTo>
                      <a:lnTo>
                        <a:pt x="1321" y="453"/>
                      </a:lnTo>
                      <a:lnTo>
                        <a:pt x="1330" y="455"/>
                      </a:lnTo>
                      <a:lnTo>
                        <a:pt x="1355" y="457"/>
                      </a:lnTo>
                      <a:lnTo>
                        <a:pt x="1370" y="460"/>
                      </a:lnTo>
                      <a:lnTo>
                        <a:pt x="1384" y="470"/>
                      </a:lnTo>
                      <a:lnTo>
                        <a:pt x="1400" y="467"/>
                      </a:lnTo>
                      <a:lnTo>
                        <a:pt x="1418" y="459"/>
                      </a:lnTo>
                      <a:lnTo>
                        <a:pt x="1445" y="440"/>
                      </a:lnTo>
                      <a:lnTo>
                        <a:pt x="1454" y="440"/>
                      </a:lnTo>
                      <a:lnTo>
                        <a:pt x="1454" y="417"/>
                      </a:lnTo>
                      <a:lnTo>
                        <a:pt x="1471" y="407"/>
                      </a:lnTo>
                      <a:lnTo>
                        <a:pt x="1476" y="392"/>
                      </a:lnTo>
                      <a:lnTo>
                        <a:pt x="1461" y="387"/>
                      </a:lnTo>
                      <a:lnTo>
                        <a:pt x="1448" y="384"/>
                      </a:lnTo>
                      <a:lnTo>
                        <a:pt x="1439" y="375"/>
                      </a:lnTo>
                      <a:lnTo>
                        <a:pt x="1432" y="373"/>
                      </a:lnTo>
                      <a:lnTo>
                        <a:pt x="1426" y="375"/>
                      </a:lnTo>
                      <a:lnTo>
                        <a:pt x="1416" y="381"/>
                      </a:lnTo>
                      <a:lnTo>
                        <a:pt x="1400" y="378"/>
                      </a:lnTo>
                      <a:lnTo>
                        <a:pt x="1388" y="366"/>
                      </a:lnTo>
                      <a:lnTo>
                        <a:pt x="1382" y="358"/>
                      </a:lnTo>
                      <a:lnTo>
                        <a:pt x="1382" y="358"/>
                      </a:lnTo>
                      <a:lnTo>
                        <a:pt x="1378" y="351"/>
                      </a:lnTo>
                      <a:lnTo>
                        <a:pt x="1366" y="341"/>
                      </a:lnTo>
                      <a:lnTo>
                        <a:pt x="1358" y="347"/>
                      </a:lnTo>
                      <a:lnTo>
                        <a:pt x="1355" y="342"/>
                      </a:lnTo>
                      <a:lnTo>
                        <a:pt x="1342" y="333"/>
                      </a:lnTo>
                      <a:lnTo>
                        <a:pt x="1326" y="345"/>
                      </a:lnTo>
                      <a:lnTo>
                        <a:pt x="1311" y="335"/>
                      </a:lnTo>
                      <a:lnTo>
                        <a:pt x="1277" y="306"/>
                      </a:lnTo>
                      <a:lnTo>
                        <a:pt x="1249" y="292"/>
                      </a:lnTo>
                      <a:lnTo>
                        <a:pt x="1239" y="284"/>
                      </a:lnTo>
                      <a:lnTo>
                        <a:pt x="1233" y="276"/>
                      </a:lnTo>
                      <a:lnTo>
                        <a:pt x="1218" y="269"/>
                      </a:lnTo>
                      <a:lnTo>
                        <a:pt x="1215" y="249"/>
                      </a:lnTo>
                      <a:lnTo>
                        <a:pt x="1208" y="241"/>
                      </a:lnTo>
                      <a:lnTo>
                        <a:pt x="1197" y="239"/>
                      </a:lnTo>
                      <a:lnTo>
                        <a:pt x="1175" y="240"/>
                      </a:lnTo>
                      <a:lnTo>
                        <a:pt x="1166" y="243"/>
                      </a:lnTo>
                      <a:lnTo>
                        <a:pt x="1154" y="239"/>
                      </a:lnTo>
                      <a:lnTo>
                        <a:pt x="1110" y="215"/>
                      </a:lnTo>
                      <a:lnTo>
                        <a:pt x="1100" y="212"/>
                      </a:lnTo>
                      <a:lnTo>
                        <a:pt x="1093" y="212"/>
                      </a:lnTo>
                      <a:lnTo>
                        <a:pt x="1080" y="212"/>
                      </a:lnTo>
                      <a:lnTo>
                        <a:pt x="1068" y="224"/>
                      </a:lnTo>
                      <a:lnTo>
                        <a:pt x="1051" y="225"/>
                      </a:lnTo>
                      <a:lnTo>
                        <a:pt x="1046" y="224"/>
                      </a:lnTo>
                      <a:lnTo>
                        <a:pt x="1035" y="212"/>
                      </a:lnTo>
                      <a:lnTo>
                        <a:pt x="1019" y="203"/>
                      </a:lnTo>
                      <a:lnTo>
                        <a:pt x="1005" y="208"/>
                      </a:lnTo>
                      <a:lnTo>
                        <a:pt x="1005" y="212"/>
                      </a:lnTo>
                      <a:lnTo>
                        <a:pt x="999" y="217"/>
                      </a:lnTo>
                      <a:lnTo>
                        <a:pt x="986" y="220"/>
                      </a:lnTo>
                      <a:lnTo>
                        <a:pt x="981" y="216"/>
                      </a:lnTo>
                      <a:lnTo>
                        <a:pt x="970" y="220"/>
                      </a:lnTo>
                      <a:lnTo>
                        <a:pt x="965" y="205"/>
                      </a:lnTo>
                      <a:lnTo>
                        <a:pt x="960" y="205"/>
                      </a:lnTo>
                      <a:lnTo>
                        <a:pt x="953" y="211"/>
                      </a:lnTo>
                      <a:lnTo>
                        <a:pt x="942" y="203"/>
                      </a:lnTo>
                      <a:lnTo>
                        <a:pt x="932" y="185"/>
                      </a:lnTo>
                      <a:lnTo>
                        <a:pt x="924" y="176"/>
                      </a:lnTo>
                      <a:lnTo>
                        <a:pt x="922" y="158"/>
                      </a:lnTo>
                      <a:lnTo>
                        <a:pt x="902" y="154"/>
                      </a:lnTo>
                      <a:lnTo>
                        <a:pt x="884" y="142"/>
                      </a:lnTo>
                      <a:lnTo>
                        <a:pt x="868" y="138"/>
                      </a:lnTo>
                      <a:lnTo>
                        <a:pt x="863" y="134"/>
                      </a:lnTo>
                      <a:lnTo>
                        <a:pt x="841" y="107"/>
                      </a:lnTo>
                      <a:lnTo>
                        <a:pt x="836" y="92"/>
                      </a:lnTo>
                      <a:lnTo>
                        <a:pt x="823" y="81"/>
                      </a:lnTo>
                      <a:lnTo>
                        <a:pt x="811" y="68"/>
                      </a:lnTo>
                      <a:lnTo>
                        <a:pt x="780" y="21"/>
                      </a:lnTo>
                      <a:lnTo>
                        <a:pt x="770" y="11"/>
                      </a:lnTo>
                      <a:lnTo>
                        <a:pt x="760" y="11"/>
                      </a:lnTo>
                      <a:lnTo>
                        <a:pt x="751" y="8"/>
                      </a:lnTo>
                      <a:lnTo>
                        <a:pt x="746" y="11"/>
                      </a:lnTo>
                      <a:lnTo>
                        <a:pt x="723" y="11"/>
                      </a:lnTo>
                      <a:lnTo>
                        <a:pt x="699" y="17"/>
                      </a:lnTo>
                      <a:lnTo>
                        <a:pt x="694" y="23"/>
                      </a:lnTo>
                      <a:lnTo>
                        <a:pt x="682" y="22"/>
                      </a:lnTo>
                      <a:lnTo>
                        <a:pt x="661" y="27"/>
                      </a:lnTo>
                      <a:lnTo>
                        <a:pt x="649" y="27"/>
                      </a:lnTo>
                      <a:lnTo>
                        <a:pt x="625" y="22"/>
                      </a:lnTo>
                      <a:lnTo>
                        <a:pt x="613" y="17"/>
                      </a:lnTo>
                      <a:lnTo>
                        <a:pt x="603" y="8"/>
                      </a:lnTo>
                      <a:lnTo>
                        <a:pt x="595" y="0"/>
                      </a:lnTo>
                      <a:lnTo>
                        <a:pt x="579" y="0"/>
                      </a:lnTo>
                      <a:lnTo>
                        <a:pt x="573" y="3"/>
                      </a:lnTo>
                      <a:lnTo>
                        <a:pt x="563" y="15"/>
                      </a:lnTo>
                      <a:lnTo>
                        <a:pt x="558" y="27"/>
                      </a:lnTo>
                      <a:lnTo>
                        <a:pt x="552" y="55"/>
                      </a:lnTo>
                      <a:lnTo>
                        <a:pt x="541" y="80"/>
                      </a:lnTo>
                      <a:lnTo>
                        <a:pt x="541" y="103"/>
                      </a:lnTo>
                      <a:lnTo>
                        <a:pt x="548" y="122"/>
                      </a:lnTo>
                      <a:lnTo>
                        <a:pt x="550" y="126"/>
                      </a:lnTo>
                      <a:close/>
                      <a:moveTo>
                        <a:pt x="578" y="329"/>
                      </a:moveTo>
                      <a:lnTo>
                        <a:pt x="571" y="324"/>
                      </a:lnTo>
                      <a:lnTo>
                        <a:pt x="558" y="320"/>
                      </a:lnTo>
                      <a:lnTo>
                        <a:pt x="552" y="308"/>
                      </a:lnTo>
                      <a:lnTo>
                        <a:pt x="559" y="307"/>
                      </a:lnTo>
                      <a:lnTo>
                        <a:pt x="572" y="314"/>
                      </a:lnTo>
                      <a:lnTo>
                        <a:pt x="589" y="317"/>
                      </a:lnTo>
                      <a:lnTo>
                        <a:pt x="611" y="325"/>
                      </a:lnTo>
                      <a:lnTo>
                        <a:pt x="628" y="323"/>
                      </a:lnTo>
                      <a:lnTo>
                        <a:pt x="639" y="334"/>
                      </a:lnTo>
                      <a:lnTo>
                        <a:pt x="647" y="333"/>
                      </a:lnTo>
                      <a:lnTo>
                        <a:pt x="673" y="348"/>
                      </a:lnTo>
                      <a:lnTo>
                        <a:pt x="679" y="348"/>
                      </a:lnTo>
                      <a:lnTo>
                        <a:pt x="683" y="338"/>
                      </a:lnTo>
                      <a:lnTo>
                        <a:pt x="689" y="339"/>
                      </a:lnTo>
                      <a:lnTo>
                        <a:pt x="697" y="348"/>
                      </a:lnTo>
                      <a:lnTo>
                        <a:pt x="694" y="358"/>
                      </a:lnTo>
                      <a:lnTo>
                        <a:pt x="701" y="366"/>
                      </a:lnTo>
                      <a:lnTo>
                        <a:pt x="698" y="388"/>
                      </a:lnTo>
                      <a:lnTo>
                        <a:pt x="694" y="393"/>
                      </a:lnTo>
                      <a:lnTo>
                        <a:pt x="681" y="400"/>
                      </a:lnTo>
                      <a:lnTo>
                        <a:pt x="667" y="390"/>
                      </a:lnTo>
                      <a:lnTo>
                        <a:pt x="667" y="394"/>
                      </a:lnTo>
                      <a:lnTo>
                        <a:pt x="660" y="397"/>
                      </a:lnTo>
                      <a:lnTo>
                        <a:pt x="654" y="396"/>
                      </a:lnTo>
                      <a:lnTo>
                        <a:pt x="640" y="388"/>
                      </a:lnTo>
                      <a:lnTo>
                        <a:pt x="622" y="390"/>
                      </a:lnTo>
                      <a:lnTo>
                        <a:pt x="618" y="389"/>
                      </a:lnTo>
                      <a:lnTo>
                        <a:pt x="617" y="375"/>
                      </a:lnTo>
                      <a:lnTo>
                        <a:pt x="602" y="359"/>
                      </a:lnTo>
                      <a:lnTo>
                        <a:pt x="595" y="338"/>
                      </a:lnTo>
                      <a:lnTo>
                        <a:pt x="590" y="330"/>
                      </a:lnTo>
                      <a:lnTo>
                        <a:pt x="578" y="329"/>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3" name="Thüringen" descr="{&quot;Key&quot;:&quot;thüringen&quot;,&quot;Name&quot;:&quot;Thüringen&quot;,&quot;Value&quot;:1.0,&quot;Formula&quot;:&quot;&quot;,&quot;Text&quot;:&quot;&quot;,&quot;OfficeApplication&quot;:1,&quot;HasValue&quot;:true}">
                  <a:extLst>
                    <a:ext uri="{FF2B5EF4-FFF2-40B4-BE49-F238E27FC236}">
                      <a16:creationId xmlns:a16="http://schemas.microsoft.com/office/drawing/2014/main" id="{CE323840-E840-4ADE-A331-A1504336AA87}"/>
                    </a:ext>
                  </a:extLst>
                </p:cNvPr>
                <p:cNvSpPr>
                  <a:spLocks/>
                </p:cNvSpPr>
                <p:nvPr/>
              </p:nvSpPr>
              <p:spPr bwMode="auto">
                <a:xfrm>
                  <a:off x="6203324" y="3472048"/>
                  <a:ext cx="1226041" cy="989360"/>
                </a:xfrm>
                <a:custGeom>
                  <a:avLst/>
                  <a:gdLst>
                    <a:gd name="T0" fmla="*/ 719 w 834"/>
                    <a:gd name="T1" fmla="*/ 295 h 673"/>
                    <a:gd name="T2" fmla="*/ 685 w 834"/>
                    <a:gd name="T3" fmla="*/ 322 h 673"/>
                    <a:gd name="T4" fmla="*/ 635 w 834"/>
                    <a:gd name="T5" fmla="*/ 318 h 673"/>
                    <a:gd name="T6" fmla="*/ 562 w 834"/>
                    <a:gd name="T7" fmla="*/ 290 h 673"/>
                    <a:gd name="T8" fmla="*/ 541 w 834"/>
                    <a:gd name="T9" fmla="*/ 258 h 673"/>
                    <a:gd name="T10" fmla="*/ 483 w 834"/>
                    <a:gd name="T11" fmla="*/ 258 h 673"/>
                    <a:gd name="T12" fmla="*/ 446 w 834"/>
                    <a:gd name="T13" fmla="*/ 210 h 673"/>
                    <a:gd name="T14" fmla="*/ 444 w 834"/>
                    <a:gd name="T15" fmla="*/ 147 h 673"/>
                    <a:gd name="T16" fmla="*/ 370 w 834"/>
                    <a:gd name="T17" fmla="*/ 113 h 673"/>
                    <a:gd name="T18" fmla="*/ 304 w 834"/>
                    <a:gd name="T19" fmla="*/ 63 h 673"/>
                    <a:gd name="T20" fmla="*/ 302 w 834"/>
                    <a:gd name="T21" fmla="*/ 20 h 673"/>
                    <a:gd name="T22" fmla="*/ 231 w 834"/>
                    <a:gd name="T23" fmla="*/ 3 h 673"/>
                    <a:gd name="T24" fmla="*/ 214 w 834"/>
                    <a:gd name="T25" fmla="*/ 28 h 673"/>
                    <a:gd name="T26" fmla="*/ 173 w 834"/>
                    <a:gd name="T27" fmla="*/ 38 h 673"/>
                    <a:gd name="T28" fmla="*/ 126 w 834"/>
                    <a:gd name="T29" fmla="*/ 47 h 673"/>
                    <a:gd name="T30" fmla="*/ 74 w 834"/>
                    <a:gd name="T31" fmla="*/ 79 h 673"/>
                    <a:gd name="T32" fmla="*/ 45 w 834"/>
                    <a:gd name="T33" fmla="*/ 100 h 673"/>
                    <a:gd name="T34" fmla="*/ 1 w 834"/>
                    <a:gd name="T35" fmla="*/ 124 h 673"/>
                    <a:gd name="T36" fmla="*/ 41 w 834"/>
                    <a:gd name="T37" fmla="*/ 172 h 673"/>
                    <a:gd name="T38" fmla="*/ 92 w 834"/>
                    <a:gd name="T39" fmla="*/ 211 h 673"/>
                    <a:gd name="T40" fmla="*/ 79 w 834"/>
                    <a:gd name="T41" fmla="*/ 231 h 673"/>
                    <a:gd name="T42" fmla="*/ 86 w 834"/>
                    <a:gd name="T43" fmla="*/ 278 h 673"/>
                    <a:gd name="T44" fmla="*/ 39 w 834"/>
                    <a:gd name="T45" fmla="*/ 301 h 673"/>
                    <a:gd name="T46" fmla="*/ 18 w 834"/>
                    <a:gd name="T47" fmla="*/ 327 h 673"/>
                    <a:gd name="T48" fmla="*/ 42 w 834"/>
                    <a:gd name="T49" fmla="*/ 343 h 673"/>
                    <a:gd name="T50" fmla="*/ 18 w 834"/>
                    <a:gd name="T51" fmla="*/ 406 h 673"/>
                    <a:gd name="T52" fmla="*/ 2 w 834"/>
                    <a:gd name="T53" fmla="*/ 456 h 673"/>
                    <a:gd name="T54" fmla="*/ 26 w 834"/>
                    <a:gd name="T55" fmla="*/ 469 h 673"/>
                    <a:gd name="T56" fmla="*/ 61 w 834"/>
                    <a:gd name="T57" fmla="*/ 477 h 673"/>
                    <a:gd name="T58" fmla="*/ 57 w 834"/>
                    <a:gd name="T59" fmla="*/ 527 h 673"/>
                    <a:gd name="T60" fmla="*/ 113 w 834"/>
                    <a:gd name="T61" fmla="*/ 530 h 673"/>
                    <a:gd name="T62" fmla="*/ 163 w 834"/>
                    <a:gd name="T63" fmla="*/ 580 h 673"/>
                    <a:gd name="T64" fmla="*/ 212 w 834"/>
                    <a:gd name="T65" fmla="*/ 602 h 673"/>
                    <a:gd name="T66" fmla="*/ 248 w 834"/>
                    <a:gd name="T67" fmla="*/ 665 h 673"/>
                    <a:gd name="T68" fmla="*/ 301 w 834"/>
                    <a:gd name="T69" fmla="*/ 657 h 673"/>
                    <a:gd name="T70" fmla="*/ 277 w 834"/>
                    <a:gd name="T71" fmla="*/ 631 h 673"/>
                    <a:gd name="T72" fmla="*/ 289 w 834"/>
                    <a:gd name="T73" fmla="*/ 590 h 673"/>
                    <a:gd name="T74" fmla="*/ 356 w 834"/>
                    <a:gd name="T75" fmla="*/ 600 h 673"/>
                    <a:gd name="T76" fmla="*/ 397 w 834"/>
                    <a:gd name="T77" fmla="*/ 616 h 673"/>
                    <a:gd name="T78" fmla="*/ 424 w 834"/>
                    <a:gd name="T79" fmla="*/ 642 h 673"/>
                    <a:gd name="T80" fmla="*/ 433 w 834"/>
                    <a:gd name="T81" fmla="*/ 594 h 673"/>
                    <a:gd name="T82" fmla="*/ 442 w 834"/>
                    <a:gd name="T83" fmla="*/ 533 h 673"/>
                    <a:gd name="T84" fmla="*/ 473 w 834"/>
                    <a:gd name="T85" fmla="*/ 541 h 673"/>
                    <a:gd name="T86" fmla="*/ 505 w 834"/>
                    <a:gd name="T87" fmla="*/ 591 h 673"/>
                    <a:gd name="T88" fmla="*/ 581 w 834"/>
                    <a:gd name="T89" fmla="*/ 575 h 673"/>
                    <a:gd name="T90" fmla="*/ 620 w 834"/>
                    <a:gd name="T91" fmla="*/ 571 h 673"/>
                    <a:gd name="T92" fmla="*/ 627 w 834"/>
                    <a:gd name="T93" fmla="*/ 536 h 673"/>
                    <a:gd name="T94" fmla="*/ 672 w 834"/>
                    <a:gd name="T95" fmla="*/ 506 h 673"/>
                    <a:gd name="T96" fmla="*/ 694 w 834"/>
                    <a:gd name="T97" fmla="*/ 485 h 673"/>
                    <a:gd name="T98" fmla="*/ 728 w 834"/>
                    <a:gd name="T99" fmla="*/ 449 h 673"/>
                    <a:gd name="T100" fmla="*/ 728 w 834"/>
                    <a:gd name="T101" fmla="*/ 408 h 673"/>
                    <a:gd name="T102" fmla="*/ 780 w 834"/>
                    <a:gd name="T103" fmla="*/ 366 h 673"/>
                    <a:gd name="T104" fmla="*/ 834 w 834"/>
                    <a:gd name="T105" fmla="*/ 350 h 673"/>
                    <a:gd name="T106" fmla="*/ 733 w 834"/>
                    <a:gd name="T107" fmla="*/ 258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4" h="673">
                      <a:moveTo>
                        <a:pt x="714" y="264"/>
                      </a:moveTo>
                      <a:lnTo>
                        <a:pt x="710" y="273"/>
                      </a:lnTo>
                      <a:lnTo>
                        <a:pt x="709" y="284"/>
                      </a:lnTo>
                      <a:lnTo>
                        <a:pt x="714" y="286"/>
                      </a:lnTo>
                      <a:lnTo>
                        <a:pt x="719" y="295"/>
                      </a:lnTo>
                      <a:lnTo>
                        <a:pt x="712" y="308"/>
                      </a:lnTo>
                      <a:lnTo>
                        <a:pt x="703" y="321"/>
                      </a:lnTo>
                      <a:lnTo>
                        <a:pt x="703" y="329"/>
                      </a:lnTo>
                      <a:lnTo>
                        <a:pt x="699" y="333"/>
                      </a:lnTo>
                      <a:lnTo>
                        <a:pt x="685" y="322"/>
                      </a:lnTo>
                      <a:lnTo>
                        <a:pt x="682" y="321"/>
                      </a:lnTo>
                      <a:lnTo>
                        <a:pt x="674" y="326"/>
                      </a:lnTo>
                      <a:lnTo>
                        <a:pt x="657" y="320"/>
                      </a:lnTo>
                      <a:lnTo>
                        <a:pt x="649" y="322"/>
                      </a:lnTo>
                      <a:lnTo>
                        <a:pt x="635" y="318"/>
                      </a:lnTo>
                      <a:lnTo>
                        <a:pt x="625" y="313"/>
                      </a:lnTo>
                      <a:lnTo>
                        <a:pt x="620" y="304"/>
                      </a:lnTo>
                      <a:lnTo>
                        <a:pt x="600" y="293"/>
                      </a:lnTo>
                      <a:lnTo>
                        <a:pt x="593" y="288"/>
                      </a:lnTo>
                      <a:lnTo>
                        <a:pt x="562" y="290"/>
                      </a:lnTo>
                      <a:lnTo>
                        <a:pt x="559" y="293"/>
                      </a:lnTo>
                      <a:lnTo>
                        <a:pt x="552" y="288"/>
                      </a:lnTo>
                      <a:lnTo>
                        <a:pt x="550" y="283"/>
                      </a:lnTo>
                      <a:lnTo>
                        <a:pt x="542" y="269"/>
                      </a:lnTo>
                      <a:lnTo>
                        <a:pt x="541" y="258"/>
                      </a:lnTo>
                      <a:lnTo>
                        <a:pt x="531" y="252"/>
                      </a:lnTo>
                      <a:lnTo>
                        <a:pt x="525" y="253"/>
                      </a:lnTo>
                      <a:lnTo>
                        <a:pt x="506" y="254"/>
                      </a:lnTo>
                      <a:lnTo>
                        <a:pt x="489" y="254"/>
                      </a:lnTo>
                      <a:lnTo>
                        <a:pt x="483" y="258"/>
                      </a:lnTo>
                      <a:lnTo>
                        <a:pt x="467" y="256"/>
                      </a:lnTo>
                      <a:lnTo>
                        <a:pt x="457" y="248"/>
                      </a:lnTo>
                      <a:lnTo>
                        <a:pt x="459" y="237"/>
                      </a:lnTo>
                      <a:lnTo>
                        <a:pt x="456" y="224"/>
                      </a:lnTo>
                      <a:lnTo>
                        <a:pt x="446" y="210"/>
                      </a:lnTo>
                      <a:lnTo>
                        <a:pt x="429" y="200"/>
                      </a:lnTo>
                      <a:lnTo>
                        <a:pt x="428" y="197"/>
                      </a:lnTo>
                      <a:lnTo>
                        <a:pt x="455" y="185"/>
                      </a:lnTo>
                      <a:lnTo>
                        <a:pt x="463" y="172"/>
                      </a:lnTo>
                      <a:lnTo>
                        <a:pt x="444" y="147"/>
                      </a:lnTo>
                      <a:lnTo>
                        <a:pt x="435" y="131"/>
                      </a:lnTo>
                      <a:lnTo>
                        <a:pt x="419" y="119"/>
                      </a:lnTo>
                      <a:lnTo>
                        <a:pt x="410" y="117"/>
                      </a:lnTo>
                      <a:lnTo>
                        <a:pt x="383" y="113"/>
                      </a:lnTo>
                      <a:lnTo>
                        <a:pt x="370" y="113"/>
                      </a:lnTo>
                      <a:lnTo>
                        <a:pt x="323" y="107"/>
                      </a:lnTo>
                      <a:lnTo>
                        <a:pt x="314" y="103"/>
                      </a:lnTo>
                      <a:lnTo>
                        <a:pt x="311" y="91"/>
                      </a:lnTo>
                      <a:lnTo>
                        <a:pt x="313" y="82"/>
                      </a:lnTo>
                      <a:lnTo>
                        <a:pt x="304" y="63"/>
                      </a:lnTo>
                      <a:lnTo>
                        <a:pt x="305" y="56"/>
                      </a:lnTo>
                      <a:lnTo>
                        <a:pt x="293" y="34"/>
                      </a:lnTo>
                      <a:lnTo>
                        <a:pt x="293" y="29"/>
                      </a:lnTo>
                      <a:lnTo>
                        <a:pt x="303" y="30"/>
                      </a:lnTo>
                      <a:lnTo>
                        <a:pt x="302" y="20"/>
                      </a:lnTo>
                      <a:lnTo>
                        <a:pt x="285" y="13"/>
                      </a:lnTo>
                      <a:lnTo>
                        <a:pt x="281" y="10"/>
                      </a:lnTo>
                      <a:lnTo>
                        <a:pt x="269" y="8"/>
                      </a:lnTo>
                      <a:lnTo>
                        <a:pt x="263" y="4"/>
                      </a:lnTo>
                      <a:lnTo>
                        <a:pt x="231" y="3"/>
                      </a:lnTo>
                      <a:lnTo>
                        <a:pt x="226" y="0"/>
                      </a:lnTo>
                      <a:lnTo>
                        <a:pt x="212" y="8"/>
                      </a:lnTo>
                      <a:lnTo>
                        <a:pt x="207" y="14"/>
                      </a:lnTo>
                      <a:lnTo>
                        <a:pt x="210" y="23"/>
                      </a:lnTo>
                      <a:lnTo>
                        <a:pt x="214" y="28"/>
                      </a:lnTo>
                      <a:lnTo>
                        <a:pt x="214" y="35"/>
                      </a:lnTo>
                      <a:lnTo>
                        <a:pt x="205" y="30"/>
                      </a:lnTo>
                      <a:lnTo>
                        <a:pt x="201" y="30"/>
                      </a:lnTo>
                      <a:lnTo>
                        <a:pt x="187" y="38"/>
                      </a:lnTo>
                      <a:lnTo>
                        <a:pt x="173" y="38"/>
                      </a:lnTo>
                      <a:lnTo>
                        <a:pt x="162" y="29"/>
                      </a:lnTo>
                      <a:lnTo>
                        <a:pt x="147" y="22"/>
                      </a:lnTo>
                      <a:lnTo>
                        <a:pt x="133" y="23"/>
                      </a:lnTo>
                      <a:lnTo>
                        <a:pt x="132" y="31"/>
                      </a:lnTo>
                      <a:lnTo>
                        <a:pt x="126" y="47"/>
                      </a:lnTo>
                      <a:lnTo>
                        <a:pt x="110" y="61"/>
                      </a:lnTo>
                      <a:lnTo>
                        <a:pt x="108" y="68"/>
                      </a:lnTo>
                      <a:lnTo>
                        <a:pt x="90" y="79"/>
                      </a:lnTo>
                      <a:lnTo>
                        <a:pt x="83" y="74"/>
                      </a:lnTo>
                      <a:lnTo>
                        <a:pt x="74" y="79"/>
                      </a:lnTo>
                      <a:lnTo>
                        <a:pt x="75" y="83"/>
                      </a:lnTo>
                      <a:lnTo>
                        <a:pt x="71" y="90"/>
                      </a:lnTo>
                      <a:lnTo>
                        <a:pt x="65" y="92"/>
                      </a:lnTo>
                      <a:lnTo>
                        <a:pt x="66" y="96"/>
                      </a:lnTo>
                      <a:lnTo>
                        <a:pt x="45" y="100"/>
                      </a:lnTo>
                      <a:lnTo>
                        <a:pt x="41" y="102"/>
                      </a:lnTo>
                      <a:lnTo>
                        <a:pt x="30" y="100"/>
                      </a:lnTo>
                      <a:lnTo>
                        <a:pt x="21" y="107"/>
                      </a:lnTo>
                      <a:lnTo>
                        <a:pt x="7" y="120"/>
                      </a:lnTo>
                      <a:lnTo>
                        <a:pt x="1" y="124"/>
                      </a:lnTo>
                      <a:lnTo>
                        <a:pt x="0" y="135"/>
                      </a:lnTo>
                      <a:lnTo>
                        <a:pt x="7" y="157"/>
                      </a:lnTo>
                      <a:lnTo>
                        <a:pt x="17" y="164"/>
                      </a:lnTo>
                      <a:lnTo>
                        <a:pt x="36" y="168"/>
                      </a:lnTo>
                      <a:lnTo>
                        <a:pt x="41" y="172"/>
                      </a:lnTo>
                      <a:lnTo>
                        <a:pt x="41" y="181"/>
                      </a:lnTo>
                      <a:lnTo>
                        <a:pt x="46" y="185"/>
                      </a:lnTo>
                      <a:lnTo>
                        <a:pt x="49" y="193"/>
                      </a:lnTo>
                      <a:lnTo>
                        <a:pt x="78" y="203"/>
                      </a:lnTo>
                      <a:lnTo>
                        <a:pt x="92" y="211"/>
                      </a:lnTo>
                      <a:lnTo>
                        <a:pt x="96" y="218"/>
                      </a:lnTo>
                      <a:lnTo>
                        <a:pt x="91" y="224"/>
                      </a:lnTo>
                      <a:lnTo>
                        <a:pt x="89" y="242"/>
                      </a:lnTo>
                      <a:lnTo>
                        <a:pt x="84" y="239"/>
                      </a:lnTo>
                      <a:lnTo>
                        <a:pt x="79" y="231"/>
                      </a:lnTo>
                      <a:lnTo>
                        <a:pt x="66" y="234"/>
                      </a:lnTo>
                      <a:lnTo>
                        <a:pt x="78" y="251"/>
                      </a:lnTo>
                      <a:lnTo>
                        <a:pt x="74" y="258"/>
                      </a:lnTo>
                      <a:lnTo>
                        <a:pt x="72" y="273"/>
                      </a:lnTo>
                      <a:lnTo>
                        <a:pt x="86" y="278"/>
                      </a:lnTo>
                      <a:lnTo>
                        <a:pt x="93" y="289"/>
                      </a:lnTo>
                      <a:lnTo>
                        <a:pt x="89" y="299"/>
                      </a:lnTo>
                      <a:lnTo>
                        <a:pt x="74" y="302"/>
                      </a:lnTo>
                      <a:lnTo>
                        <a:pt x="63" y="297"/>
                      </a:lnTo>
                      <a:lnTo>
                        <a:pt x="39" y="301"/>
                      </a:lnTo>
                      <a:lnTo>
                        <a:pt x="38" y="308"/>
                      </a:lnTo>
                      <a:lnTo>
                        <a:pt x="44" y="317"/>
                      </a:lnTo>
                      <a:lnTo>
                        <a:pt x="44" y="327"/>
                      </a:lnTo>
                      <a:lnTo>
                        <a:pt x="36" y="329"/>
                      </a:lnTo>
                      <a:lnTo>
                        <a:pt x="18" y="327"/>
                      </a:lnTo>
                      <a:lnTo>
                        <a:pt x="18" y="334"/>
                      </a:lnTo>
                      <a:lnTo>
                        <a:pt x="22" y="333"/>
                      </a:lnTo>
                      <a:lnTo>
                        <a:pt x="25" y="344"/>
                      </a:lnTo>
                      <a:lnTo>
                        <a:pt x="33" y="336"/>
                      </a:lnTo>
                      <a:lnTo>
                        <a:pt x="42" y="343"/>
                      </a:lnTo>
                      <a:lnTo>
                        <a:pt x="50" y="355"/>
                      </a:lnTo>
                      <a:lnTo>
                        <a:pt x="42" y="364"/>
                      </a:lnTo>
                      <a:lnTo>
                        <a:pt x="41" y="378"/>
                      </a:lnTo>
                      <a:lnTo>
                        <a:pt x="20" y="385"/>
                      </a:lnTo>
                      <a:lnTo>
                        <a:pt x="18" y="406"/>
                      </a:lnTo>
                      <a:lnTo>
                        <a:pt x="14" y="406"/>
                      </a:lnTo>
                      <a:lnTo>
                        <a:pt x="12" y="411"/>
                      </a:lnTo>
                      <a:lnTo>
                        <a:pt x="16" y="423"/>
                      </a:lnTo>
                      <a:lnTo>
                        <a:pt x="11" y="444"/>
                      </a:lnTo>
                      <a:lnTo>
                        <a:pt x="2" y="456"/>
                      </a:lnTo>
                      <a:lnTo>
                        <a:pt x="1" y="467"/>
                      </a:lnTo>
                      <a:lnTo>
                        <a:pt x="4" y="472"/>
                      </a:lnTo>
                      <a:lnTo>
                        <a:pt x="11" y="470"/>
                      </a:lnTo>
                      <a:lnTo>
                        <a:pt x="21" y="475"/>
                      </a:lnTo>
                      <a:lnTo>
                        <a:pt x="26" y="469"/>
                      </a:lnTo>
                      <a:lnTo>
                        <a:pt x="23" y="458"/>
                      </a:lnTo>
                      <a:lnTo>
                        <a:pt x="36" y="451"/>
                      </a:lnTo>
                      <a:lnTo>
                        <a:pt x="57" y="458"/>
                      </a:lnTo>
                      <a:lnTo>
                        <a:pt x="61" y="467"/>
                      </a:lnTo>
                      <a:lnTo>
                        <a:pt x="61" y="477"/>
                      </a:lnTo>
                      <a:lnTo>
                        <a:pt x="53" y="485"/>
                      </a:lnTo>
                      <a:lnTo>
                        <a:pt x="54" y="499"/>
                      </a:lnTo>
                      <a:lnTo>
                        <a:pt x="57" y="512"/>
                      </a:lnTo>
                      <a:lnTo>
                        <a:pt x="55" y="527"/>
                      </a:lnTo>
                      <a:lnTo>
                        <a:pt x="57" y="527"/>
                      </a:lnTo>
                      <a:lnTo>
                        <a:pt x="73" y="508"/>
                      </a:lnTo>
                      <a:lnTo>
                        <a:pt x="78" y="505"/>
                      </a:lnTo>
                      <a:lnTo>
                        <a:pt x="82" y="513"/>
                      </a:lnTo>
                      <a:lnTo>
                        <a:pt x="104" y="515"/>
                      </a:lnTo>
                      <a:lnTo>
                        <a:pt x="113" y="530"/>
                      </a:lnTo>
                      <a:lnTo>
                        <a:pt x="138" y="538"/>
                      </a:lnTo>
                      <a:lnTo>
                        <a:pt x="145" y="547"/>
                      </a:lnTo>
                      <a:lnTo>
                        <a:pt x="150" y="558"/>
                      </a:lnTo>
                      <a:lnTo>
                        <a:pt x="164" y="571"/>
                      </a:lnTo>
                      <a:lnTo>
                        <a:pt x="163" y="580"/>
                      </a:lnTo>
                      <a:lnTo>
                        <a:pt x="167" y="584"/>
                      </a:lnTo>
                      <a:lnTo>
                        <a:pt x="180" y="582"/>
                      </a:lnTo>
                      <a:lnTo>
                        <a:pt x="185" y="592"/>
                      </a:lnTo>
                      <a:lnTo>
                        <a:pt x="195" y="603"/>
                      </a:lnTo>
                      <a:lnTo>
                        <a:pt x="212" y="602"/>
                      </a:lnTo>
                      <a:lnTo>
                        <a:pt x="226" y="624"/>
                      </a:lnTo>
                      <a:lnTo>
                        <a:pt x="228" y="630"/>
                      </a:lnTo>
                      <a:lnTo>
                        <a:pt x="227" y="644"/>
                      </a:lnTo>
                      <a:lnTo>
                        <a:pt x="235" y="665"/>
                      </a:lnTo>
                      <a:lnTo>
                        <a:pt x="248" y="665"/>
                      </a:lnTo>
                      <a:lnTo>
                        <a:pt x="257" y="667"/>
                      </a:lnTo>
                      <a:lnTo>
                        <a:pt x="267" y="673"/>
                      </a:lnTo>
                      <a:lnTo>
                        <a:pt x="269" y="657"/>
                      </a:lnTo>
                      <a:lnTo>
                        <a:pt x="290" y="654"/>
                      </a:lnTo>
                      <a:lnTo>
                        <a:pt x="301" y="657"/>
                      </a:lnTo>
                      <a:lnTo>
                        <a:pt x="304" y="654"/>
                      </a:lnTo>
                      <a:lnTo>
                        <a:pt x="301" y="643"/>
                      </a:lnTo>
                      <a:lnTo>
                        <a:pt x="293" y="640"/>
                      </a:lnTo>
                      <a:lnTo>
                        <a:pt x="287" y="633"/>
                      </a:lnTo>
                      <a:lnTo>
                        <a:pt x="277" y="631"/>
                      </a:lnTo>
                      <a:lnTo>
                        <a:pt x="262" y="619"/>
                      </a:lnTo>
                      <a:lnTo>
                        <a:pt x="264" y="602"/>
                      </a:lnTo>
                      <a:lnTo>
                        <a:pt x="275" y="602"/>
                      </a:lnTo>
                      <a:lnTo>
                        <a:pt x="282" y="589"/>
                      </a:lnTo>
                      <a:lnTo>
                        <a:pt x="289" y="590"/>
                      </a:lnTo>
                      <a:lnTo>
                        <a:pt x="299" y="586"/>
                      </a:lnTo>
                      <a:lnTo>
                        <a:pt x="305" y="587"/>
                      </a:lnTo>
                      <a:lnTo>
                        <a:pt x="330" y="588"/>
                      </a:lnTo>
                      <a:lnTo>
                        <a:pt x="347" y="599"/>
                      </a:lnTo>
                      <a:lnTo>
                        <a:pt x="356" y="600"/>
                      </a:lnTo>
                      <a:lnTo>
                        <a:pt x="363" y="607"/>
                      </a:lnTo>
                      <a:lnTo>
                        <a:pt x="373" y="604"/>
                      </a:lnTo>
                      <a:lnTo>
                        <a:pt x="378" y="599"/>
                      </a:lnTo>
                      <a:lnTo>
                        <a:pt x="390" y="605"/>
                      </a:lnTo>
                      <a:lnTo>
                        <a:pt x="397" y="616"/>
                      </a:lnTo>
                      <a:lnTo>
                        <a:pt x="391" y="625"/>
                      </a:lnTo>
                      <a:lnTo>
                        <a:pt x="393" y="629"/>
                      </a:lnTo>
                      <a:lnTo>
                        <a:pt x="409" y="643"/>
                      </a:lnTo>
                      <a:lnTo>
                        <a:pt x="413" y="637"/>
                      </a:lnTo>
                      <a:lnTo>
                        <a:pt x="424" y="642"/>
                      </a:lnTo>
                      <a:lnTo>
                        <a:pt x="431" y="626"/>
                      </a:lnTo>
                      <a:lnTo>
                        <a:pt x="428" y="621"/>
                      </a:lnTo>
                      <a:lnTo>
                        <a:pt x="431" y="609"/>
                      </a:lnTo>
                      <a:lnTo>
                        <a:pt x="430" y="605"/>
                      </a:lnTo>
                      <a:lnTo>
                        <a:pt x="433" y="594"/>
                      </a:lnTo>
                      <a:lnTo>
                        <a:pt x="429" y="590"/>
                      </a:lnTo>
                      <a:lnTo>
                        <a:pt x="426" y="570"/>
                      </a:lnTo>
                      <a:lnTo>
                        <a:pt x="422" y="547"/>
                      </a:lnTo>
                      <a:lnTo>
                        <a:pt x="442" y="537"/>
                      </a:lnTo>
                      <a:lnTo>
                        <a:pt x="442" y="533"/>
                      </a:lnTo>
                      <a:lnTo>
                        <a:pt x="450" y="526"/>
                      </a:lnTo>
                      <a:lnTo>
                        <a:pt x="469" y="527"/>
                      </a:lnTo>
                      <a:lnTo>
                        <a:pt x="474" y="529"/>
                      </a:lnTo>
                      <a:lnTo>
                        <a:pt x="478" y="537"/>
                      </a:lnTo>
                      <a:lnTo>
                        <a:pt x="473" y="541"/>
                      </a:lnTo>
                      <a:lnTo>
                        <a:pt x="478" y="563"/>
                      </a:lnTo>
                      <a:lnTo>
                        <a:pt x="485" y="569"/>
                      </a:lnTo>
                      <a:lnTo>
                        <a:pt x="492" y="569"/>
                      </a:lnTo>
                      <a:lnTo>
                        <a:pt x="495" y="582"/>
                      </a:lnTo>
                      <a:lnTo>
                        <a:pt x="505" y="591"/>
                      </a:lnTo>
                      <a:lnTo>
                        <a:pt x="512" y="592"/>
                      </a:lnTo>
                      <a:lnTo>
                        <a:pt x="523" y="584"/>
                      </a:lnTo>
                      <a:lnTo>
                        <a:pt x="537" y="588"/>
                      </a:lnTo>
                      <a:lnTo>
                        <a:pt x="572" y="581"/>
                      </a:lnTo>
                      <a:lnTo>
                        <a:pt x="581" y="575"/>
                      </a:lnTo>
                      <a:lnTo>
                        <a:pt x="589" y="575"/>
                      </a:lnTo>
                      <a:lnTo>
                        <a:pt x="598" y="581"/>
                      </a:lnTo>
                      <a:lnTo>
                        <a:pt x="616" y="579"/>
                      </a:lnTo>
                      <a:lnTo>
                        <a:pt x="622" y="575"/>
                      </a:lnTo>
                      <a:lnTo>
                        <a:pt x="620" y="571"/>
                      </a:lnTo>
                      <a:lnTo>
                        <a:pt x="625" y="564"/>
                      </a:lnTo>
                      <a:lnTo>
                        <a:pt x="631" y="562"/>
                      </a:lnTo>
                      <a:lnTo>
                        <a:pt x="632" y="545"/>
                      </a:lnTo>
                      <a:lnTo>
                        <a:pt x="628" y="542"/>
                      </a:lnTo>
                      <a:lnTo>
                        <a:pt x="627" y="536"/>
                      </a:lnTo>
                      <a:lnTo>
                        <a:pt x="645" y="513"/>
                      </a:lnTo>
                      <a:lnTo>
                        <a:pt x="653" y="514"/>
                      </a:lnTo>
                      <a:lnTo>
                        <a:pt x="656" y="519"/>
                      </a:lnTo>
                      <a:lnTo>
                        <a:pt x="663" y="520"/>
                      </a:lnTo>
                      <a:lnTo>
                        <a:pt x="672" y="506"/>
                      </a:lnTo>
                      <a:lnTo>
                        <a:pt x="676" y="505"/>
                      </a:lnTo>
                      <a:lnTo>
                        <a:pt x="683" y="507"/>
                      </a:lnTo>
                      <a:lnTo>
                        <a:pt x="691" y="506"/>
                      </a:lnTo>
                      <a:lnTo>
                        <a:pt x="695" y="496"/>
                      </a:lnTo>
                      <a:lnTo>
                        <a:pt x="694" y="485"/>
                      </a:lnTo>
                      <a:lnTo>
                        <a:pt x="703" y="474"/>
                      </a:lnTo>
                      <a:lnTo>
                        <a:pt x="724" y="474"/>
                      </a:lnTo>
                      <a:lnTo>
                        <a:pt x="733" y="467"/>
                      </a:lnTo>
                      <a:lnTo>
                        <a:pt x="742" y="453"/>
                      </a:lnTo>
                      <a:lnTo>
                        <a:pt x="728" y="449"/>
                      </a:lnTo>
                      <a:lnTo>
                        <a:pt x="725" y="432"/>
                      </a:lnTo>
                      <a:lnTo>
                        <a:pt x="716" y="428"/>
                      </a:lnTo>
                      <a:lnTo>
                        <a:pt x="721" y="417"/>
                      </a:lnTo>
                      <a:lnTo>
                        <a:pt x="729" y="412"/>
                      </a:lnTo>
                      <a:lnTo>
                        <a:pt x="728" y="408"/>
                      </a:lnTo>
                      <a:lnTo>
                        <a:pt x="719" y="402"/>
                      </a:lnTo>
                      <a:lnTo>
                        <a:pt x="719" y="397"/>
                      </a:lnTo>
                      <a:lnTo>
                        <a:pt x="755" y="380"/>
                      </a:lnTo>
                      <a:lnTo>
                        <a:pt x="767" y="381"/>
                      </a:lnTo>
                      <a:lnTo>
                        <a:pt x="780" y="366"/>
                      </a:lnTo>
                      <a:lnTo>
                        <a:pt x="792" y="359"/>
                      </a:lnTo>
                      <a:lnTo>
                        <a:pt x="793" y="355"/>
                      </a:lnTo>
                      <a:lnTo>
                        <a:pt x="821" y="357"/>
                      </a:lnTo>
                      <a:lnTo>
                        <a:pt x="823" y="360"/>
                      </a:lnTo>
                      <a:lnTo>
                        <a:pt x="834" y="350"/>
                      </a:lnTo>
                      <a:lnTo>
                        <a:pt x="827" y="333"/>
                      </a:lnTo>
                      <a:lnTo>
                        <a:pt x="819" y="321"/>
                      </a:lnTo>
                      <a:lnTo>
                        <a:pt x="797" y="309"/>
                      </a:lnTo>
                      <a:lnTo>
                        <a:pt x="780" y="271"/>
                      </a:lnTo>
                      <a:lnTo>
                        <a:pt x="733" y="258"/>
                      </a:lnTo>
                      <a:lnTo>
                        <a:pt x="713" y="259"/>
                      </a:lnTo>
                      <a:lnTo>
                        <a:pt x="714" y="264"/>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4" name="Hamburg" descr="{&quot;Key&quot;:&quot;hamburg&quot;,&quot;Name&quot;:&quot;Hamburg&quot;,&quot;Value&quot;:1.0,&quot;Formula&quot;:&quot;&quot;,&quot;Text&quot;:&quot;&quot;,&quot;OfficeApplication&quot;:1,&quot;HasValue&quot;:true}">
                  <a:extLst>
                    <a:ext uri="{FF2B5EF4-FFF2-40B4-BE49-F238E27FC236}">
                      <a16:creationId xmlns:a16="http://schemas.microsoft.com/office/drawing/2014/main" id="{B1BEF55F-BFDB-4701-B1B0-D9F12F079540}"/>
                    </a:ext>
                  </a:extLst>
                </p:cNvPr>
                <p:cNvSpPr>
                  <a:spLocks/>
                </p:cNvSpPr>
                <p:nvPr/>
              </p:nvSpPr>
              <p:spPr bwMode="auto">
                <a:xfrm>
                  <a:off x="6047497" y="2041666"/>
                  <a:ext cx="261673" cy="220511"/>
                </a:xfrm>
                <a:custGeom>
                  <a:avLst/>
                  <a:gdLst>
                    <a:gd name="T0" fmla="*/ 176 w 178"/>
                    <a:gd name="T1" fmla="*/ 128 h 150"/>
                    <a:gd name="T2" fmla="*/ 162 w 178"/>
                    <a:gd name="T3" fmla="*/ 116 h 150"/>
                    <a:gd name="T4" fmla="*/ 152 w 178"/>
                    <a:gd name="T5" fmla="*/ 111 h 150"/>
                    <a:gd name="T6" fmla="*/ 145 w 178"/>
                    <a:gd name="T7" fmla="*/ 100 h 150"/>
                    <a:gd name="T8" fmla="*/ 133 w 178"/>
                    <a:gd name="T9" fmla="*/ 92 h 150"/>
                    <a:gd name="T10" fmla="*/ 130 w 178"/>
                    <a:gd name="T11" fmla="*/ 70 h 150"/>
                    <a:gd name="T12" fmla="*/ 140 w 178"/>
                    <a:gd name="T13" fmla="*/ 64 h 150"/>
                    <a:gd name="T14" fmla="*/ 141 w 178"/>
                    <a:gd name="T15" fmla="*/ 42 h 150"/>
                    <a:gd name="T16" fmla="*/ 137 w 178"/>
                    <a:gd name="T17" fmla="*/ 38 h 150"/>
                    <a:gd name="T18" fmla="*/ 136 w 178"/>
                    <a:gd name="T19" fmla="*/ 30 h 150"/>
                    <a:gd name="T20" fmla="*/ 124 w 178"/>
                    <a:gd name="T21" fmla="*/ 22 h 150"/>
                    <a:gd name="T22" fmla="*/ 130 w 178"/>
                    <a:gd name="T23" fmla="*/ 0 h 150"/>
                    <a:gd name="T24" fmla="*/ 126 w 178"/>
                    <a:gd name="T25" fmla="*/ 0 h 150"/>
                    <a:gd name="T26" fmla="*/ 116 w 178"/>
                    <a:gd name="T27" fmla="*/ 6 h 150"/>
                    <a:gd name="T28" fmla="*/ 101 w 178"/>
                    <a:gd name="T29" fmla="*/ 3 h 150"/>
                    <a:gd name="T30" fmla="*/ 97 w 178"/>
                    <a:gd name="T31" fmla="*/ 6 h 150"/>
                    <a:gd name="T32" fmla="*/ 90 w 178"/>
                    <a:gd name="T33" fmla="*/ 24 h 150"/>
                    <a:gd name="T34" fmla="*/ 79 w 178"/>
                    <a:gd name="T35" fmla="*/ 25 h 150"/>
                    <a:gd name="T36" fmla="*/ 73 w 178"/>
                    <a:gd name="T37" fmla="*/ 35 h 150"/>
                    <a:gd name="T38" fmla="*/ 69 w 178"/>
                    <a:gd name="T39" fmla="*/ 37 h 150"/>
                    <a:gd name="T40" fmla="*/ 61 w 178"/>
                    <a:gd name="T41" fmla="*/ 35 h 150"/>
                    <a:gd name="T42" fmla="*/ 54 w 178"/>
                    <a:gd name="T43" fmla="*/ 38 h 150"/>
                    <a:gd name="T44" fmla="*/ 25 w 178"/>
                    <a:gd name="T45" fmla="*/ 60 h 150"/>
                    <a:gd name="T46" fmla="*/ 20 w 178"/>
                    <a:gd name="T47" fmla="*/ 52 h 150"/>
                    <a:gd name="T48" fmla="*/ 13 w 178"/>
                    <a:gd name="T49" fmla="*/ 46 h 150"/>
                    <a:gd name="T50" fmla="*/ 7 w 178"/>
                    <a:gd name="T51" fmla="*/ 45 h 150"/>
                    <a:gd name="T52" fmla="*/ 0 w 178"/>
                    <a:gd name="T53" fmla="*/ 72 h 150"/>
                    <a:gd name="T54" fmla="*/ 12 w 178"/>
                    <a:gd name="T55" fmla="*/ 72 h 150"/>
                    <a:gd name="T56" fmla="*/ 24 w 178"/>
                    <a:gd name="T57" fmla="*/ 79 h 150"/>
                    <a:gd name="T58" fmla="*/ 27 w 178"/>
                    <a:gd name="T59" fmla="*/ 85 h 150"/>
                    <a:gd name="T60" fmla="*/ 24 w 178"/>
                    <a:gd name="T61" fmla="*/ 87 h 150"/>
                    <a:gd name="T62" fmla="*/ 7 w 178"/>
                    <a:gd name="T63" fmla="*/ 83 h 150"/>
                    <a:gd name="T64" fmla="*/ 7 w 178"/>
                    <a:gd name="T65" fmla="*/ 83 h 150"/>
                    <a:gd name="T66" fmla="*/ 9 w 178"/>
                    <a:gd name="T67" fmla="*/ 101 h 150"/>
                    <a:gd name="T68" fmla="*/ 17 w 178"/>
                    <a:gd name="T69" fmla="*/ 110 h 150"/>
                    <a:gd name="T70" fmla="*/ 27 w 178"/>
                    <a:gd name="T71" fmla="*/ 128 h 150"/>
                    <a:gd name="T72" fmla="*/ 38 w 178"/>
                    <a:gd name="T73" fmla="*/ 136 h 150"/>
                    <a:gd name="T74" fmla="*/ 45 w 178"/>
                    <a:gd name="T75" fmla="*/ 130 h 150"/>
                    <a:gd name="T76" fmla="*/ 50 w 178"/>
                    <a:gd name="T77" fmla="*/ 130 h 150"/>
                    <a:gd name="T78" fmla="*/ 55 w 178"/>
                    <a:gd name="T79" fmla="*/ 145 h 150"/>
                    <a:gd name="T80" fmla="*/ 66 w 178"/>
                    <a:gd name="T81" fmla="*/ 141 h 150"/>
                    <a:gd name="T82" fmla="*/ 71 w 178"/>
                    <a:gd name="T83" fmla="*/ 145 h 150"/>
                    <a:gd name="T84" fmla="*/ 84 w 178"/>
                    <a:gd name="T85" fmla="*/ 142 h 150"/>
                    <a:gd name="T86" fmla="*/ 90 w 178"/>
                    <a:gd name="T87" fmla="*/ 137 h 150"/>
                    <a:gd name="T88" fmla="*/ 90 w 178"/>
                    <a:gd name="T89" fmla="*/ 133 h 150"/>
                    <a:gd name="T90" fmla="*/ 104 w 178"/>
                    <a:gd name="T91" fmla="*/ 128 h 150"/>
                    <a:gd name="T92" fmla="*/ 120 w 178"/>
                    <a:gd name="T93" fmla="*/ 137 h 150"/>
                    <a:gd name="T94" fmla="*/ 131 w 178"/>
                    <a:gd name="T95" fmla="*/ 149 h 150"/>
                    <a:gd name="T96" fmla="*/ 136 w 178"/>
                    <a:gd name="T97" fmla="*/ 150 h 150"/>
                    <a:gd name="T98" fmla="*/ 153 w 178"/>
                    <a:gd name="T99" fmla="*/ 149 h 150"/>
                    <a:gd name="T100" fmla="*/ 165 w 178"/>
                    <a:gd name="T101" fmla="*/ 137 h 150"/>
                    <a:gd name="T102" fmla="*/ 178 w 178"/>
                    <a:gd name="T103" fmla="*/ 137 h 150"/>
                    <a:gd name="T104" fmla="*/ 176 w 178"/>
                    <a:gd name="T105" fmla="*/ 1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8" h="150">
                      <a:moveTo>
                        <a:pt x="176" y="128"/>
                      </a:moveTo>
                      <a:lnTo>
                        <a:pt x="162" y="116"/>
                      </a:lnTo>
                      <a:lnTo>
                        <a:pt x="152" y="111"/>
                      </a:lnTo>
                      <a:lnTo>
                        <a:pt x="145" y="100"/>
                      </a:lnTo>
                      <a:lnTo>
                        <a:pt x="133" y="92"/>
                      </a:lnTo>
                      <a:lnTo>
                        <a:pt x="130" y="70"/>
                      </a:lnTo>
                      <a:lnTo>
                        <a:pt x="140" y="64"/>
                      </a:lnTo>
                      <a:lnTo>
                        <a:pt x="141" y="42"/>
                      </a:lnTo>
                      <a:lnTo>
                        <a:pt x="137" y="38"/>
                      </a:lnTo>
                      <a:lnTo>
                        <a:pt x="136" y="30"/>
                      </a:lnTo>
                      <a:lnTo>
                        <a:pt x="124" y="22"/>
                      </a:lnTo>
                      <a:lnTo>
                        <a:pt x="130" y="0"/>
                      </a:lnTo>
                      <a:lnTo>
                        <a:pt x="126" y="0"/>
                      </a:lnTo>
                      <a:lnTo>
                        <a:pt x="116" y="6"/>
                      </a:lnTo>
                      <a:lnTo>
                        <a:pt x="101" y="3"/>
                      </a:lnTo>
                      <a:lnTo>
                        <a:pt x="97" y="6"/>
                      </a:lnTo>
                      <a:lnTo>
                        <a:pt x="90" y="24"/>
                      </a:lnTo>
                      <a:lnTo>
                        <a:pt x="79" y="25"/>
                      </a:lnTo>
                      <a:lnTo>
                        <a:pt x="73" y="35"/>
                      </a:lnTo>
                      <a:lnTo>
                        <a:pt x="69" y="37"/>
                      </a:lnTo>
                      <a:lnTo>
                        <a:pt x="61" y="35"/>
                      </a:lnTo>
                      <a:lnTo>
                        <a:pt x="54" y="38"/>
                      </a:lnTo>
                      <a:lnTo>
                        <a:pt x="25" y="60"/>
                      </a:lnTo>
                      <a:lnTo>
                        <a:pt x="20" y="52"/>
                      </a:lnTo>
                      <a:lnTo>
                        <a:pt x="13" y="46"/>
                      </a:lnTo>
                      <a:lnTo>
                        <a:pt x="7" y="45"/>
                      </a:lnTo>
                      <a:lnTo>
                        <a:pt x="0" y="72"/>
                      </a:lnTo>
                      <a:lnTo>
                        <a:pt x="12" y="72"/>
                      </a:lnTo>
                      <a:lnTo>
                        <a:pt x="24" y="79"/>
                      </a:lnTo>
                      <a:lnTo>
                        <a:pt x="27" y="85"/>
                      </a:lnTo>
                      <a:lnTo>
                        <a:pt x="24" y="87"/>
                      </a:lnTo>
                      <a:lnTo>
                        <a:pt x="7" y="83"/>
                      </a:lnTo>
                      <a:lnTo>
                        <a:pt x="7" y="83"/>
                      </a:lnTo>
                      <a:lnTo>
                        <a:pt x="9" y="101"/>
                      </a:lnTo>
                      <a:lnTo>
                        <a:pt x="17" y="110"/>
                      </a:lnTo>
                      <a:lnTo>
                        <a:pt x="27" y="128"/>
                      </a:lnTo>
                      <a:lnTo>
                        <a:pt x="38" y="136"/>
                      </a:lnTo>
                      <a:lnTo>
                        <a:pt x="45" y="130"/>
                      </a:lnTo>
                      <a:lnTo>
                        <a:pt x="50" y="130"/>
                      </a:lnTo>
                      <a:lnTo>
                        <a:pt x="55" y="145"/>
                      </a:lnTo>
                      <a:lnTo>
                        <a:pt x="66" y="141"/>
                      </a:lnTo>
                      <a:lnTo>
                        <a:pt x="71" y="145"/>
                      </a:lnTo>
                      <a:lnTo>
                        <a:pt x="84" y="142"/>
                      </a:lnTo>
                      <a:lnTo>
                        <a:pt x="90" y="137"/>
                      </a:lnTo>
                      <a:lnTo>
                        <a:pt x="90" y="133"/>
                      </a:lnTo>
                      <a:lnTo>
                        <a:pt x="104" y="128"/>
                      </a:lnTo>
                      <a:lnTo>
                        <a:pt x="120" y="137"/>
                      </a:lnTo>
                      <a:lnTo>
                        <a:pt x="131" y="149"/>
                      </a:lnTo>
                      <a:lnTo>
                        <a:pt x="136" y="150"/>
                      </a:lnTo>
                      <a:lnTo>
                        <a:pt x="153" y="149"/>
                      </a:lnTo>
                      <a:lnTo>
                        <a:pt x="165" y="137"/>
                      </a:lnTo>
                      <a:lnTo>
                        <a:pt x="178" y="137"/>
                      </a:lnTo>
                      <a:lnTo>
                        <a:pt x="176" y="128"/>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5" name="Schleswig-Holstein" descr="{&quot;Key&quot;:&quot;schleswig-holstein&quot;,&quot;Name&quot;:&quot;Schleswig-Holstein&quot;,&quot;Value&quot;:1.0,&quot;Formula&quot;:&quot;&quot;,&quot;Text&quot;:&quot;&quot;,&quot;OfficeApplication&quot;:1,&quot;HasValue&quot;:true}">
                  <a:extLst>
                    <a:ext uri="{FF2B5EF4-FFF2-40B4-BE49-F238E27FC236}">
                      <a16:creationId xmlns:a16="http://schemas.microsoft.com/office/drawing/2014/main" id="{5D2F8D09-9F3F-4F07-8E62-68D5C4CE9585}"/>
                    </a:ext>
                  </a:extLst>
                </p:cNvPr>
                <p:cNvSpPr>
                  <a:spLocks noEditPoints="1"/>
                </p:cNvSpPr>
                <p:nvPr/>
              </p:nvSpPr>
              <p:spPr bwMode="auto">
                <a:xfrm>
                  <a:off x="5218375" y="1241946"/>
                  <a:ext cx="1481834" cy="1046693"/>
                </a:xfrm>
                <a:custGeom>
                  <a:avLst/>
                  <a:gdLst>
                    <a:gd name="T0" fmla="*/ 238 w 1008"/>
                    <a:gd name="T1" fmla="*/ 397 h 712"/>
                    <a:gd name="T2" fmla="*/ 292 w 1008"/>
                    <a:gd name="T3" fmla="*/ 201 h 712"/>
                    <a:gd name="T4" fmla="*/ 278 w 1008"/>
                    <a:gd name="T5" fmla="*/ 178 h 712"/>
                    <a:gd name="T6" fmla="*/ 292 w 1008"/>
                    <a:gd name="T7" fmla="*/ 201 h 712"/>
                    <a:gd name="T8" fmla="*/ 916 w 1008"/>
                    <a:gd name="T9" fmla="*/ 201 h 712"/>
                    <a:gd name="T10" fmla="*/ 949 w 1008"/>
                    <a:gd name="T11" fmla="*/ 226 h 712"/>
                    <a:gd name="T12" fmla="*/ 233 w 1008"/>
                    <a:gd name="T13" fmla="*/ 176 h 712"/>
                    <a:gd name="T14" fmla="*/ 219 w 1008"/>
                    <a:gd name="T15" fmla="*/ 190 h 712"/>
                    <a:gd name="T16" fmla="*/ 125 w 1008"/>
                    <a:gd name="T17" fmla="*/ 126 h 712"/>
                    <a:gd name="T18" fmla="*/ 195 w 1008"/>
                    <a:gd name="T19" fmla="*/ 97 h 712"/>
                    <a:gd name="T20" fmla="*/ 153 w 1008"/>
                    <a:gd name="T21" fmla="*/ 72 h 712"/>
                    <a:gd name="T22" fmla="*/ 188 w 1008"/>
                    <a:gd name="T23" fmla="*/ 102 h 712"/>
                    <a:gd name="T24" fmla="*/ 589 w 1008"/>
                    <a:gd name="T25" fmla="*/ 604 h 712"/>
                    <a:gd name="T26" fmla="*/ 654 w 1008"/>
                    <a:gd name="T27" fmla="*/ 568 h 712"/>
                    <a:gd name="T28" fmla="*/ 688 w 1008"/>
                    <a:gd name="T29" fmla="*/ 566 h 712"/>
                    <a:gd name="T30" fmla="*/ 697 w 1008"/>
                    <a:gd name="T31" fmla="*/ 636 h 712"/>
                    <a:gd name="T32" fmla="*/ 749 w 1008"/>
                    <a:gd name="T33" fmla="*/ 681 h 712"/>
                    <a:gd name="T34" fmla="*/ 831 w 1008"/>
                    <a:gd name="T35" fmla="*/ 689 h 712"/>
                    <a:gd name="T36" fmla="*/ 886 w 1008"/>
                    <a:gd name="T37" fmla="*/ 640 h 712"/>
                    <a:gd name="T38" fmla="*/ 925 w 1008"/>
                    <a:gd name="T39" fmla="*/ 618 h 712"/>
                    <a:gd name="T40" fmla="*/ 909 w 1008"/>
                    <a:gd name="T41" fmla="*/ 558 h 712"/>
                    <a:gd name="T42" fmla="*/ 860 w 1008"/>
                    <a:gd name="T43" fmla="*/ 480 h 712"/>
                    <a:gd name="T44" fmla="*/ 917 w 1008"/>
                    <a:gd name="T45" fmla="*/ 458 h 712"/>
                    <a:gd name="T46" fmla="*/ 875 w 1008"/>
                    <a:gd name="T47" fmla="*/ 419 h 712"/>
                    <a:gd name="T48" fmla="*/ 897 w 1008"/>
                    <a:gd name="T49" fmla="*/ 368 h 712"/>
                    <a:gd name="T50" fmla="*/ 944 w 1008"/>
                    <a:gd name="T51" fmla="*/ 278 h 712"/>
                    <a:gd name="T52" fmla="*/ 927 w 1008"/>
                    <a:gd name="T53" fmla="*/ 248 h 712"/>
                    <a:gd name="T54" fmla="*/ 853 w 1008"/>
                    <a:gd name="T55" fmla="*/ 272 h 712"/>
                    <a:gd name="T56" fmla="*/ 727 w 1008"/>
                    <a:gd name="T57" fmla="*/ 214 h 712"/>
                    <a:gd name="T58" fmla="*/ 671 w 1008"/>
                    <a:gd name="T59" fmla="*/ 266 h 712"/>
                    <a:gd name="T60" fmla="*/ 679 w 1008"/>
                    <a:gd name="T61" fmla="*/ 228 h 712"/>
                    <a:gd name="T62" fmla="*/ 572 w 1008"/>
                    <a:gd name="T63" fmla="*/ 199 h 712"/>
                    <a:gd name="T64" fmla="*/ 625 w 1008"/>
                    <a:gd name="T65" fmla="*/ 159 h 712"/>
                    <a:gd name="T66" fmla="*/ 594 w 1008"/>
                    <a:gd name="T67" fmla="*/ 107 h 712"/>
                    <a:gd name="T68" fmla="*/ 596 w 1008"/>
                    <a:gd name="T69" fmla="*/ 58 h 712"/>
                    <a:gd name="T70" fmla="*/ 553 w 1008"/>
                    <a:gd name="T71" fmla="*/ 56 h 712"/>
                    <a:gd name="T72" fmla="*/ 479 w 1008"/>
                    <a:gd name="T73" fmla="*/ 27 h 712"/>
                    <a:gd name="T74" fmla="*/ 425 w 1008"/>
                    <a:gd name="T75" fmla="*/ 41 h 712"/>
                    <a:gd name="T76" fmla="*/ 311 w 1008"/>
                    <a:gd name="T77" fmla="*/ 12 h 712"/>
                    <a:gd name="T78" fmla="*/ 216 w 1008"/>
                    <a:gd name="T79" fmla="*/ 4 h 712"/>
                    <a:gd name="T80" fmla="*/ 227 w 1008"/>
                    <a:gd name="T81" fmla="*/ 78 h 712"/>
                    <a:gd name="T82" fmla="*/ 269 w 1008"/>
                    <a:gd name="T83" fmla="*/ 138 h 712"/>
                    <a:gd name="T84" fmla="*/ 328 w 1008"/>
                    <a:gd name="T85" fmla="*/ 195 h 712"/>
                    <a:gd name="T86" fmla="*/ 229 w 1008"/>
                    <a:gd name="T87" fmla="*/ 232 h 712"/>
                    <a:gd name="T88" fmla="*/ 238 w 1008"/>
                    <a:gd name="T89" fmla="*/ 252 h 712"/>
                    <a:gd name="T90" fmla="*/ 238 w 1008"/>
                    <a:gd name="T91" fmla="*/ 292 h 712"/>
                    <a:gd name="T92" fmla="*/ 295 w 1008"/>
                    <a:gd name="T93" fmla="*/ 277 h 712"/>
                    <a:gd name="T94" fmla="*/ 303 w 1008"/>
                    <a:gd name="T95" fmla="*/ 294 h 712"/>
                    <a:gd name="T96" fmla="*/ 298 w 1008"/>
                    <a:gd name="T97" fmla="*/ 355 h 712"/>
                    <a:gd name="T98" fmla="*/ 339 w 1008"/>
                    <a:gd name="T99" fmla="*/ 379 h 712"/>
                    <a:gd name="T100" fmla="*/ 285 w 1008"/>
                    <a:gd name="T101" fmla="*/ 401 h 712"/>
                    <a:gd name="T102" fmla="*/ 365 w 1008"/>
                    <a:gd name="T103" fmla="*/ 468 h 712"/>
                    <a:gd name="T104" fmla="*/ 456 w 1008"/>
                    <a:gd name="T105" fmla="*/ 505 h 712"/>
                    <a:gd name="T106" fmla="*/ 506 w 1008"/>
                    <a:gd name="T107" fmla="*/ 587 h 712"/>
                    <a:gd name="T108" fmla="*/ 107 w 1008"/>
                    <a:gd name="T109" fmla="*/ 7 h 712"/>
                    <a:gd name="T110" fmla="*/ 113 w 1008"/>
                    <a:gd name="T111" fmla="*/ 18 h 712"/>
                    <a:gd name="T112" fmla="*/ 214 w 1008"/>
                    <a:gd name="T113" fmla="*/ 6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8" h="712">
                      <a:moveTo>
                        <a:pt x="242" y="396"/>
                      </a:moveTo>
                      <a:lnTo>
                        <a:pt x="242" y="390"/>
                      </a:lnTo>
                      <a:lnTo>
                        <a:pt x="240" y="380"/>
                      </a:lnTo>
                      <a:lnTo>
                        <a:pt x="234" y="384"/>
                      </a:lnTo>
                      <a:lnTo>
                        <a:pt x="233" y="388"/>
                      </a:lnTo>
                      <a:lnTo>
                        <a:pt x="238" y="397"/>
                      </a:lnTo>
                      <a:lnTo>
                        <a:pt x="242" y="396"/>
                      </a:lnTo>
                      <a:close/>
                      <a:moveTo>
                        <a:pt x="8" y="334"/>
                      </a:moveTo>
                      <a:lnTo>
                        <a:pt x="4" y="328"/>
                      </a:lnTo>
                      <a:lnTo>
                        <a:pt x="0" y="328"/>
                      </a:lnTo>
                      <a:lnTo>
                        <a:pt x="8" y="334"/>
                      </a:lnTo>
                      <a:close/>
                      <a:moveTo>
                        <a:pt x="292" y="201"/>
                      </a:moveTo>
                      <a:lnTo>
                        <a:pt x="298" y="199"/>
                      </a:lnTo>
                      <a:lnTo>
                        <a:pt x="306" y="187"/>
                      </a:lnTo>
                      <a:lnTo>
                        <a:pt x="312" y="182"/>
                      </a:lnTo>
                      <a:lnTo>
                        <a:pt x="300" y="173"/>
                      </a:lnTo>
                      <a:lnTo>
                        <a:pt x="288" y="173"/>
                      </a:lnTo>
                      <a:lnTo>
                        <a:pt x="278" y="178"/>
                      </a:lnTo>
                      <a:lnTo>
                        <a:pt x="269" y="186"/>
                      </a:lnTo>
                      <a:lnTo>
                        <a:pt x="273" y="193"/>
                      </a:lnTo>
                      <a:lnTo>
                        <a:pt x="269" y="195"/>
                      </a:lnTo>
                      <a:lnTo>
                        <a:pt x="273" y="200"/>
                      </a:lnTo>
                      <a:lnTo>
                        <a:pt x="279" y="202"/>
                      </a:lnTo>
                      <a:lnTo>
                        <a:pt x="292" y="201"/>
                      </a:lnTo>
                      <a:close/>
                      <a:moveTo>
                        <a:pt x="989" y="197"/>
                      </a:moveTo>
                      <a:lnTo>
                        <a:pt x="974" y="180"/>
                      </a:lnTo>
                      <a:lnTo>
                        <a:pt x="948" y="170"/>
                      </a:lnTo>
                      <a:lnTo>
                        <a:pt x="934" y="172"/>
                      </a:lnTo>
                      <a:lnTo>
                        <a:pt x="923" y="182"/>
                      </a:lnTo>
                      <a:lnTo>
                        <a:pt x="916" y="201"/>
                      </a:lnTo>
                      <a:lnTo>
                        <a:pt x="917" y="208"/>
                      </a:lnTo>
                      <a:lnTo>
                        <a:pt x="920" y="205"/>
                      </a:lnTo>
                      <a:lnTo>
                        <a:pt x="939" y="208"/>
                      </a:lnTo>
                      <a:lnTo>
                        <a:pt x="943" y="209"/>
                      </a:lnTo>
                      <a:lnTo>
                        <a:pt x="945" y="222"/>
                      </a:lnTo>
                      <a:lnTo>
                        <a:pt x="949" y="226"/>
                      </a:lnTo>
                      <a:lnTo>
                        <a:pt x="956" y="227"/>
                      </a:lnTo>
                      <a:lnTo>
                        <a:pt x="971" y="221"/>
                      </a:lnTo>
                      <a:lnTo>
                        <a:pt x="1008" y="227"/>
                      </a:lnTo>
                      <a:lnTo>
                        <a:pt x="989" y="197"/>
                      </a:lnTo>
                      <a:close/>
                      <a:moveTo>
                        <a:pt x="227" y="186"/>
                      </a:moveTo>
                      <a:lnTo>
                        <a:pt x="233" y="176"/>
                      </a:lnTo>
                      <a:lnTo>
                        <a:pt x="234" y="159"/>
                      </a:lnTo>
                      <a:lnTo>
                        <a:pt x="216" y="167"/>
                      </a:lnTo>
                      <a:lnTo>
                        <a:pt x="206" y="173"/>
                      </a:lnTo>
                      <a:lnTo>
                        <a:pt x="205" y="181"/>
                      </a:lnTo>
                      <a:lnTo>
                        <a:pt x="212" y="190"/>
                      </a:lnTo>
                      <a:lnTo>
                        <a:pt x="219" y="190"/>
                      </a:lnTo>
                      <a:lnTo>
                        <a:pt x="227" y="186"/>
                      </a:lnTo>
                      <a:close/>
                      <a:moveTo>
                        <a:pt x="132" y="90"/>
                      </a:moveTo>
                      <a:lnTo>
                        <a:pt x="125" y="90"/>
                      </a:lnTo>
                      <a:lnTo>
                        <a:pt x="120" y="95"/>
                      </a:lnTo>
                      <a:lnTo>
                        <a:pt x="112" y="110"/>
                      </a:lnTo>
                      <a:lnTo>
                        <a:pt x="125" y="126"/>
                      </a:lnTo>
                      <a:lnTo>
                        <a:pt x="132" y="132"/>
                      </a:lnTo>
                      <a:lnTo>
                        <a:pt x="145" y="125"/>
                      </a:lnTo>
                      <a:lnTo>
                        <a:pt x="139" y="123"/>
                      </a:lnTo>
                      <a:lnTo>
                        <a:pt x="123" y="97"/>
                      </a:lnTo>
                      <a:lnTo>
                        <a:pt x="132" y="90"/>
                      </a:lnTo>
                      <a:close/>
                      <a:moveTo>
                        <a:pt x="195" y="97"/>
                      </a:moveTo>
                      <a:lnTo>
                        <a:pt x="199" y="81"/>
                      </a:lnTo>
                      <a:lnTo>
                        <a:pt x="194" y="73"/>
                      </a:lnTo>
                      <a:lnTo>
                        <a:pt x="187" y="69"/>
                      </a:lnTo>
                      <a:lnTo>
                        <a:pt x="171" y="69"/>
                      </a:lnTo>
                      <a:lnTo>
                        <a:pt x="161" y="69"/>
                      </a:lnTo>
                      <a:lnTo>
                        <a:pt x="153" y="72"/>
                      </a:lnTo>
                      <a:lnTo>
                        <a:pt x="147" y="78"/>
                      </a:lnTo>
                      <a:lnTo>
                        <a:pt x="141" y="88"/>
                      </a:lnTo>
                      <a:lnTo>
                        <a:pt x="159" y="97"/>
                      </a:lnTo>
                      <a:lnTo>
                        <a:pt x="169" y="100"/>
                      </a:lnTo>
                      <a:lnTo>
                        <a:pt x="176" y="97"/>
                      </a:lnTo>
                      <a:lnTo>
                        <a:pt x="188" y="102"/>
                      </a:lnTo>
                      <a:lnTo>
                        <a:pt x="195" y="97"/>
                      </a:lnTo>
                      <a:close/>
                      <a:moveTo>
                        <a:pt x="564" y="616"/>
                      </a:moveTo>
                      <a:lnTo>
                        <a:pt x="571" y="589"/>
                      </a:lnTo>
                      <a:lnTo>
                        <a:pt x="577" y="590"/>
                      </a:lnTo>
                      <a:lnTo>
                        <a:pt x="584" y="596"/>
                      </a:lnTo>
                      <a:lnTo>
                        <a:pt x="589" y="604"/>
                      </a:lnTo>
                      <a:lnTo>
                        <a:pt x="618" y="582"/>
                      </a:lnTo>
                      <a:lnTo>
                        <a:pt x="625" y="579"/>
                      </a:lnTo>
                      <a:lnTo>
                        <a:pt x="633" y="581"/>
                      </a:lnTo>
                      <a:lnTo>
                        <a:pt x="637" y="579"/>
                      </a:lnTo>
                      <a:lnTo>
                        <a:pt x="643" y="569"/>
                      </a:lnTo>
                      <a:lnTo>
                        <a:pt x="654" y="568"/>
                      </a:lnTo>
                      <a:lnTo>
                        <a:pt x="661" y="550"/>
                      </a:lnTo>
                      <a:lnTo>
                        <a:pt x="665" y="547"/>
                      </a:lnTo>
                      <a:lnTo>
                        <a:pt x="680" y="550"/>
                      </a:lnTo>
                      <a:lnTo>
                        <a:pt x="690" y="544"/>
                      </a:lnTo>
                      <a:lnTo>
                        <a:pt x="694" y="544"/>
                      </a:lnTo>
                      <a:lnTo>
                        <a:pt x="688" y="566"/>
                      </a:lnTo>
                      <a:lnTo>
                        <a:pt x="700" y="574"/>
                      </a:lnTo>
                      <a:lnTo>
                        <a:pt x="701" y="582"/>
                      </a:lnTo>
                      <a:lnTo>
                        <a:pt x="705" y="586"/>
                      </a:lnTo>
                      <a:lnTo>
                        <a:pt x="704" y="608"/>
                      </a:lnTo>
                      <a:lnTo>
                        <a:pt x="694" y="614"/>
                      </a:lnTo>
                      <a:lnTo>
                        <a:pt x="697" y="636"/>
                      </a:lnTo>
                      <a:lnTo>
                        <a:pt x="709" y="644"/>
                      </a:lnTo>
                      <a:lnTo>
                        <a:pt x="716" y="655"/>
                      </a:lnTo>
                      <a:lnTo>
                        <a:pt x="726" y="660"/>
                      </a:lnTo>
                      <a:lnTo>
                        <a:pt x="740" y="672"/>
                      </a:lnTo>
                      <a:lnTo>
                        <a:pt x="742" y="681"/>
                      </a:lnTo>
                      <a:lnTo>
                        <a:pt x="749" y="681"/>
                      </a:lnTo>
                      <a:lnTo>
                        <a:pt x="759" y="684"/>
                      </a:lnTo>
                      <a:lnTo>
                        <a:pt x="803" y="708"/>
                      </a:lnTo>
                      <a:lnTo>
                        <a:pt x="815" y="712"/>
                      </a:lnTo>
                      <a:lnTo>
                        <a:pt x="824" y="709"/>
                      </a:lnTo>
                      <a:lnTo>
                        <a:pt x="828" y="705"/>
                      </a:lnTo>
                      <a:lnTo>
                        <a:pt x="831" y="689"/>
                      </a:lnTo>
                      <a:lnTo>
                        <a:pt x="833" y="674"/>
                      </a:lnTo>
                      <a:lnTo>
                        <a:pt x="840" y="669"/>
                      </a:lnTo>
                      <a:lnTo>
                        <a:pt x="850" y="667"/>
                      </a:lnTo>
                      <a:lnTo>
                        <a:pt x="853" y="660"/>
                      </a:lnTo>
                      <a:lnTo>
                        <a:pt x="869" y="655"/>
                      </a:lnTo>
                      <a:lnTo>
                        <a:pt x="886" y="640"/>
                      </a:lnTo>
                      <a:lnTo>
                        <a:pt x="889" y="626"/>
                      </a:lnTo>
                      <a:lnTo>
                        <a:pt x="887" y="616"/>
                      </a:lnTo>
                      <a:lnTo>
                        <a:pt x="896" y="618"/>
                      </a:lnTo>
                      <a:lnTo>
                        <a:pt x="909" y="616"/>
                      </a:lnTo>
                      <a:lnTo>
                        <a:pt x="917" y="627"/>
                      </a:lnTo>
                      <a:lnTo>
                        <a:pt x="925" y="618"/>
                      </a:lnTo>
                      <a:lnTo>
                        <a:pt x="919" y="598"/>
                      </a:lnTo>
                      <a:lnTo>
                        <a:pt x="918" y="589"/>
                      </a:lnTo>
                      <a:lnTo>
                        <a:pt x="923" y="587"/>
                      </a:lnTo>
                      <a:lnTo>
                        <a:pt x="923" y="578"/>
                      </a:lnTo>
                      <a:lnTo>
                        <a:pt x="918" y="565"/>
                      </a:lnTo>
                      <a:lnTo>
                        <a:pt x="909" y="558"/>
                      </a:lnTo>
                      <a:lnTo>
                        <a:pt x="892" y="555"/>
                      </a:lnTo>
                      <a:lnTo>
                        <a:pt x="875" y="537"/>
                      </a:lnTo>
                      <a:lnTo>
                        <a:pt x="862" y="532"/>
                      </a:lnTo>
                      <a:lnTo>
                        <a:pt x="864" y="514"/>
                      </a:lnTo>
                      <a:lnTo>
                        <a:pt x="857" y="491"/>
                      </a:lnTo>
                      <a:lnTo>
                        <a:pt x="860" y="480"/>
                      </a:lnTo>
                      <a:lnTo>
                        <a:pt x="874" y="472"/>
                      </a:lnTo>
                      <a:lnTo>
                        <a:pt x="888" y="459"/>
                      </a:lnTo>
                      <a:lnTo>
                        <a:pt x="898" y="456"/>
                      </a:lnTo>
                      <a:lnTo>
                        <a:pt x="901" y="457"/>
                      </a:lnTo>
                      <a:lnTo>
                        <a:pt x="905" y="463"/>
                      </a:lnTo>
                      <a:lnTo>
                        <a:pt x="917" y="458"/>
                      </a:lnTo>
                      <a:lnTo>
                        <a:pt x="905" y="454"/>
                      </a:lnTo>
                      <a:lnTo>
                        <a:pt x="900" y="435"/>
                      </a:lnTo>
                      <a:lnTo>
                        <a:pt x="900" y="435"/>
                      </a:lnTo>
                      <a:lnTo>
                        <a:pt x="894" y="435"/>
                      </a:lnTo>
                      <a:lnTo>
                        <a:pt x="887" y="418"/>
                      </a:lnTo>
                      <a:lnTo>
                        <a:pt x="875" y="419"/>
                      </a:lnTo>
                      <a:lnTo>
                        <a:pt x="867" y="418"/>
                      </a:lnTo>
                      <a:lnTo>
                        <a:pt x="862" y="413"/>
                      </a:lnTo>
                      <a:lnTo>
                        <a:pt x="852" y="395"/>
                      </a:lnTo>
                      <a:lnTo>
                        <a:pt x="869" y="373"/>
                      </a:lnTo>
                      <a:lnTo>
                        <a:pt x="880" y="374"/>
                      </a:lnTo>
                      <a:lnTo>
                        <a:pt x="897" y="368"/>
                      </a:lnTo>
                      <a:lnTo>
                        <a:pt x="908" y="353"/>
                      </a:lnTo>
                      <a:lnTo>
                        <a:pt x="941" y="333"/>
                      </a:lnTo>
                      <a:lnTo>
                        <a:pt x="947" y="322"/>
                      </a:lnTo>
                      <a:lnTo>
                        <a:pt x="948" y="314"/>
                      </a:lnTo>
                      <a:lnTo>
                        <a:pt x="947" y="287"/>
                      </a:lnTo>
                      <a:lnTo>
                        <a:pt x="944" y="278"/>
                      </a:lnTo>
                      <a:lnTo>
                        <a:pt x="941" y="260"/>
                      </a:lnTo>
                      <a:lnTo>
                        <a:pt x="936" y="252"/>
                      </a:lnTo>
                      <a:lnTo>
                        <a:pt x="946" y="251"/>
                      </a:lnTo>
                      <a:lnTo>
                        <a:pt x="956" y="239"/>
                      </a:lnTo>
                      <a:lnTo>
                        <a:pt x="947" y="236"/>
                      </a:lnTo>
                      <a:lnTo>
                        <a:pt x="927" y="248"/>
                      </a:lnTo>
                      <a:lnTo>
                        <a:pt x="922" y="239"/>
                      </a:lnTo>
                      <a:lnTo>
                        <a:pt x="898" y="243"/>
                      </a:lnTo>
                      <a:lnTo>
                        <a:pt x="887" y="246"/>
                      </a:lnTo>
                      <a:lnTo>
                        <a:pt x="878" y="252"/>
                      </a:lnTo>
                      <a:lnTo>
                        <a:pt x="862" y="266"/>
                      </a:lnTo>
                      <a:lnTo>
                        <a:pt x="853" y="272"/>
                      </a:lnTo>
                      <a:lnTo>
                        <a:pt x="839" y="274"/>
                      </a:lnTo>
                      <a:lnTo>
                        <a:pt x="827" y="272"/>
                      </a:lnTo>
                      <a:lnTo>
                        <a:pt x="799" y="249"/>
                      </a:lnTo>
                      <a:lnTo>
                        <a:pt x="751" y="230"/>
                      </a:lnTo>
                      <a:lnTo>
                        <a:pt x="733" y="217"/>
                      </a:lnTo>
                      <a:lnTo>
                        <a:pt x="727" y="214"/>
                      </a:lnTo>
                      <a:lnTo>
                        <a:pt x="711" y="214"/>
                      </a:lnTo>
                      <a:lnTo>
                        <a:pt x="705" y="221"/>
                      </a:lnTo>
                      <a:lnTo>
                        <a:pt x="685" y="231"/>
                      </a:lnTo>
                      <a:lnTo>
                        <a:pt x="682" y="246"/>
                      </a:lnTo>
                      <a:lnTo>
                        <a:pt x="676" y="260"/>
                      </a:lnTo>
                      <a:lnTo>
                        <a:pt x="671" y="266"/>
                      </a:lnTo>
                      <a:lnTo>
                        <a:pt x="665" y="268"/>
                      </a:lnTo>
                      <a:lnTo>
                        <a:pt x="668" y="255"/>
                      </a:lnTo>
                      <a:lnTo>
                        <a:pt x="663" y="246"/>
                      </a:lnTo>
                      <a:lnTo>
                        <a:pt x="668" y="244"/>
                      </a:lnTo>
                      <a:lnTo>
                        <a:pt x="677" y="234"/>
                      </a:lnTo>
                      <a:lnTo>
                        <a:pt x="679" y="228"/>
                      </a:lnTo>
                      <a:lnTo>
                        <a:pt x="674" y="210"/>
                      </a:lnTo>
                      <a:lnTo>
                        <a:pt x="679" y="204"/>
                      </a:lnTo>
                      <a:lnTo>
                        <a:pt x="661" y="191"/>
                      </a:lnTo>
                      <a:lnTo>
                        <a:pt x="655" y="188"/>
                      </a:lnTo>
                      <a:lnTo>
                        <a:pt x="585" y="204"/>
                      </a:lnTo>
                      <a:lnTo>
                        <a:pt x="572" y="199"/>
                      </a:lnTo>
                      <a:lnTo>
                        <a:pt x="572" y="195"/>
                      </a:lnTo>
                      <a:lnTo>
                        <a:pt x="585" y="193"/>
                      </a:lnTo>
                      <a:lnTo>
                        <a:pt x="597" y="190"/>
                      </a:lnTo>
                      <a:lnTo>
                        <a:pt x="608" y="184"/>
                      </a:lnTo>
                      <a:lnTo>
                        <a:pt x="618" y="176"/>
                      </a:lnTo>
                      <a:lnTo>
                        <a:pt x="625" y="159"/>
                      </a:lnTo>
                      <a:lnTo>
                        <a:pt x="627" y="132"/>
                      </a:lnTo>
                      <a:lnTo>
                        <a:pt x="625" y="116"/>
                      </a:lnTo>
                      <a:lnTo>
                        <a:pt x="626" y="110"/>
                      </a:lnTo>
                      <a:lnTo>
                        <a:pt x="618" y="110"/>
                      </a:lnTo>
                      <a:lnTo>
                        <a:pt x="614" y="104"/>
                      </a:lnTo>
                      <a:lnTo>
                        <a:pt x="594" y="107"/>
                      </a:lnTo>
                      <a:lnTo>
                        <a:pt x="598" y="100"/>
                      </a:lnTo>
                      <a:lnTo>
                        <a:pt x="605" y="95"/>
                      </a:lnTo>
                      <a:lnTo>
                        <a:pt x="619" y="94"/>
                      </a:lnTo>
                      <a:lnTo>
                        <a:pt x="608" y="81"/>
                      </a:lnTo>
                      <a:lnTo>
                        <a:pt x="604" y="66"/>
                      </a:lnTo>
                      <a:lnTo>
                        <a:pt x="596" y="58"/>
                      </a:lnTo>
                      <a:lnTo>
                        <a:pt x="587" y="52"/>
                      </a:lnTo>
                      <a:lnTo>
                        <a:pt x="580" y="53"/>
                      </a:lnTo>
                      <a:lnTo>
                        <a:pt x="582" y="63"/>
                      </a:lnTo>
                      <a:lnTo>
                        <a:pt x="568" y="68"/>
                      </a:lnTo>
                      <a:lnTo>
                        <a:pt x="561" y="69"/>
                      </a:lnTo>
                      <a:lnTo>
                        <a:pt x="553" y="56"/>
                      </a:lnTo>
                      <a:lnTo>
                        <a:pt x="533" y="46"/>
                      </a:lnTo>
                      <a:lnTo>
                        <a:pt x="521" y="41"/>
                      </a:lnTo>
                      <a:lnTo>
                        <a:pt x="503" y="40"/>
                      </a:lnTo>
                      <a:lnTo>
                        <a:pt x="488" y="35"/>
                      </a:lnTo>
                      <a:lnTo>
                        <a:pt x="486" y="18"/>
                      </a:lnTo>
                      <a:lnTo>
                        <a:pt x="479" y="27"/>
                      </a:lnTo>
                      <a:lnTo>
                        <a:pt x="472" y="29"/>
                      </a:lnTo>
                      <a:lnTo>
                        <a:pt x="467" y="35"/>
                      </a:lnTo>
                      <a:lnTo>
                        <a:pt x="450" y="44"/>
                      </a:lnTo>
                      <a:lnTo>
                        <a:pt x="436" y="45"/>
                      </a:lnTo>
                      <a:lnTo>
                        <a:pt x="430" y="40"/>
                      </a:lnTo>
                      <a:lnTo>
                        <a:pt x="425" y="41"/>
                      </a:lnTo>
                      <a:lnTo>
                        <a:pt x="415" y="47"/>
                      </a:lnTo>
                      <a:lnTo>
                        <a:pt x="389" y="47"/>
                      </a:lnTo>
                      <a:lnTo>
                        <a:pt x="384" y="46"/>
                      </a:lnTo>
                      <a:lnTo>
                        <a:pt x="379" y="29"/>
                      </a:lnTo>
                      <a:lnTo>
                        <a:pt x="374" y="25"/>
                      </a:lnTo>
                      <a:lnTo>
                        <a:pt x="311" y="12"/>
                      </a:lnTo>
                      <a:lnTo>
                        <a:pt x="287" y="3"/>
                      </a:lnTo>
                      <a:lnTo>
                        <a:pt x="264" y="0"/>
                      </a:lnTo>
                      <a:lnTo>
                        <a:pt x="257" y="1"/>
                      </a:lnTo>
                      <a:lnTo>
                        <a:pt x="237" y="7"/>
                      </a:lnTo>
                      <a:lnTo>
                        <a:pt x="226" y="7"/>
                      </a:lnTo>
                      <a:lnTo>
                        <a:pt x="216" y="4"/>
                      </a:lnTo>
                      <a:lnTo>
                        <a:pt x="213" y="18"/>
                      </a:lnTo>
                      <a:lnTo>
                        <a:pt x="212" y="29"/>
                      </a:lnTo>
                      <a:lnTo>
                        <a:pt x="214" y="41"/>
                      </a:lnTo>
                      <a:lnTo>
                        <a:pt x="224" y="58"/>
                      </a:lnTo>
                      <a:lnTo>
                        <a:pt x="228" y="67"/>
                      </a:lnTo>
                      <a:lnTo>
                        <a:pt x="227" y="78"/>
                      </a:lnTo>
                      <a:lnTo>
                        <a:pt x="238" y="83"/>
                      </a:lnTo>
                      <a:lnTo>
                        <a:pt x="254" y="96"/>
                      </a:lnTo>
                      <a:lnTo>
                        <a:pt x="263" y="100"/>
                      </a:lnTo>
                      <a:lnTo>
                        <a:pt x="267" y="107"/>
                      </a:lnTo>
                      <a:lnTo>
                        <a:pt x="278" y="132"/>
                      </a:lnTo>
                      <a:lnTo>
                        <a:pt x="269" y="138"/>
                      </a:lnTo>
                      <a:lnTo>
                        <a:pt x="271" y="142"/>
                      </a:lnTo>
                      <a:lnTo>
                        <a:pt x="286" y="137"/>
                      </a:lnTo>
                      <a:lnTo>
                        <a:pt x="294" y="149"/>
                      </a:lnTo>
                      <a:lnTo>
                        <a:pt x="319" y="173"/>
                      </a:lnTo>
                      <a:lnTo>
                        <a:pt x="328" y="184"/>
                      </a:lnTo>
                      <a:lnTo>
                        <a:pt x="328" y="195"/>
                      </a:lnTo>
                      <a:lnTo>
                        <a:pt x="326" y="203"/>
                      </a:lnTo>
                      <a:lnTo>
                        <a:pt x="310" y="211"/>
                      </a:lnTo>
                      <a:lnTo>
                        <a:pt x="298" y="221"/>
                      </a:lnTo>
                      <a:lnTo>
                        <a:pt x="285" y="227"/>
                      </a:lnTo>
                      <a:lnTo>
                        <a:pt x="253" y="227"/>
                      </a:lnTo>
                      <a:lnTo>
                        <a:pt x="229" y="232"/>
                      </a:lnTo>
                      <a:lnTo>
                        <a:pt x="223" y="230"/>
                      </a:lnTo>
                      <a:lnTo>
                        <a:pt x="217" y="244"/>
                      </a:lnTo>
                      <a:lnTo>
                        <a:pt x="219" y="249"/>
                      </a:lnTo>
                      <a:lnTo>
                        <a:pt x="224" y="243"/>
                      </a:lnTo>
                      <a:lnTo>
                        <a:pt x="238" y="249"/>
                      </a:lnTo>
                      <a:lnTo>
                        <a:pt x="238" y="252"/>
                      </a:lnTo>
                      <a:lnTo>
                        <a:pt x="213" y="256"/>
                      </a:lnTo>
                      <a:lnTo>
                        <a:pt x="210" y="261"/>
                      </a:lnTo>
                      <a:lnTo>
                        <a:pt x="211" y="273"/>
                      </a:lnTo>
                      <a:lnTo>
                        <a:pt x="217" y="283"/>
                      </a:lnTo>
                      <a:lnTo>
                        <a:pt x="226" y="290"/>
                      </a:lnTo>
                      <a:lnTo>
                        <a:pt x="238" y="292"/>
                      </a:lnTo>
                      <a:lnTo>
                        <a:pt x="247" y="283"/>
                      </a:lnTo>
                      <a:lnTo>
                        <a:pt x="251" y="282"/>
                      </a:lnTo>
                      <a:lnTo>
                        <a:pt x="262" y="283"/>
                      </a:lnTo>
                      <a:lnTo>
                        <a:pt x="271" y="283"/>
                      </a:lnTo>
                      <a:lnTo>
                        <a:pt x="287" y="278"/>
                      </a:lnTo>
                      <a:lnTo>
                        <a:pt x="295" y="277"/>
                      </a:lnTo>
                      <a:lnTo>
                        <a:pt x="294" y="283"/>
                      </a:lnTo>
                      <a:lnTo>
                        <a:pt x="300" y="281"/>
                      </a:lnTo>
                      <a:lnTo>
                        <a:pt x="310" y="272"/>
                      </a:lnTo>
                      <a:lnTo>
                        <a:pt x="317" y="271"/>
                      </a:lnTo>
                      <a:lnTo>
                        <a:pt x="314" y="278"/>
                      </a:lnTo>
                      <a:lnTo>
                        <a:pt x="303" y="294"/>
                      </a:lnTo>
                      <a:lnTo>
                        <a:pt x="285" y="297"/>
                      </a:lnTo>
                      <a:lnTo>
                        <a:pt x="285" y="310"/>
                      </a:lnTo>
                      <a:lnTo>
                        <a:pt x="278" y="325"/>
                      </a:lnTo>
                      <a:lnTo>
                        <a:pt x="283" y="347"/>
                      </a:lnTo>
                      <a:lnTo>
                        <a:pt x="291" y="360"/>
                      </a:lnTo>
                      <a:lnTo>
                        <a:pt x="298" y="355"/>
                      </a:lnTo>
                      <a:lnTo>
                        <a:pt x="307" y="350"/>
                      </a:lnTo>
                      <a:lnTo>
                        <a:pt x="318" y="348"/>
                      </a:lnTo>
                      <a:lnTo>
                        <a:pt x="325" y="351"/>
                      </a:lnTo>
                      <a:lnTo>
                        <a:pt x="325" y="358"/>
                      </a:lnTo>
                      <a:lnTo>
                        <a:pt x="338" y="373"/>
                      </a:lnTo>
                      <a:lnTo>
                        <a:pt x="339" y="379"/>
                      </a:lnTo>
                      <a:lnTo>
                        <a:pt x="334" y="404"/>
                      </a:lnTo>
                      <a:lnTo>
                        <a:pt x="327" y="407"/>
                      </a:lnTo>
                      <a:lnTo>
                        <a:pt x="321" y="405"/>
                      </a:lnTo>
                      <a:lnTo>
                        <a:pt x="309" y="397"/>
                      </a:lnTo>
                      <a:lnTo>
                        <a:pt x="296" y="396"/>
                      </a:lnTo>
                      <a:lnTo>
                        <a:pt x="285" y="401"/>
                      </a:lnTo>
                      <a:lnTo>
                        <a:pt x="312" y="446"/>
                      </a:lnTo>
                      <a:lnTo>
                        <a:pt x="322" y="458"/>
                      </a:lnTo>
                      <a:lnTo>
                        <a:pt x="332" y="465"/>
                      </a:lnTo>
                      <a:lnTo>
                        <a:pt x="339" y="468"/>
                      </a:lnTo>
                      <a:lnTo>
                        <a:pt x="346" y="461"/>
                      </a:lnTo>
                      <a:lnTo>
                        <a:pt x="365" y="468"/>
                      </a:lnTo>
                      <a:lnTo>
                        <a:pt x="403" y="469"/>
                      </a:lnTo>
                      <a:lnTo>
                        <a:pt x="414" y="470"/>
                      </a:lnTo>
                      <a:lnTo>
                        <a:pt x="425" y="477"/>
                      </a:lnTo>
                      <a:lnTo>
                        <a:pt x="445" y="492"/>
                      </a:lnTo>
                      <a:lnTo>
                        <a:pt x="456" y="496"/>
                      </a:lnTo>
                      <a:lnTo>
                        <a:pt x="456" y="505"/>
                      </a:lnTo>
                      <a:lnTo>
                        <a:pt x="462" y="520"/>
                      </a:lnTo>
                      <a:lnTo>
                        <a:pt x="470" y="534"/>
                      </a:lnTo>
                      <a:lnTo>
                        <a:pt x="496" y="548"/>
                      </a:lnTo>
                      <a:lnTo>
                        <a:pt x="499" y="552"/>
                      </a:lnTo>
                      <a:lnTo>
                        <a:pt x="502" y="572"/>
                      </a:lnTo>
                      <a:lnTo>
                        <a:pt x="506" y="587"/>
                      </a:lnTo>
                      <a:lnTo>
                        <a:pt x="517" y="597"/>
                      </a:lnTo>
                      <a:lnTo>
                        <a:pt x="539" y="610"/>
                      </a:lnTo>
                      <a:lnTo>
                        <a:pt x="550" y="614"/>
                      </a:lnTo>
                      <a:lnTo>
                        <a:pt x="564" y="616"/>
                      </a:lnTo>
                      <a:close/>
                      <a:moveTo>
                        <a:pt x="108" y="0"/>
                      </a:moveTo>
                      <a:lnTo>
                        <a:pt x="107" y="7"/>
                      </a:lnTo>
                      <a:lnTo>
                        <a:pt x="105" y="57"/>
                      </a:lnTo>
                      <a:lnTo>
                        <a:pt x="107" y="69"/>
                      </a:lnTo>
                      <a:lnTo>
                        <a:pt x="109" y="75"/>
                      </a:lnTo>
                      <a:lnTo>
                        <a:pt x="112" y="59"/>
                      </a:lnTo>
                      <a:lnTo>
                        <a:pt x="110" y="34"/>
                      </a:lnTo>
                      <a:lnTo>
                        <a:pt x="113" y="18"/>
                      </a:lnTo>
                      <a:lnTo>
                        <a:pt x="121" y="13"/>
                      </a:lnTo>
                      <a:lnTo>
                        <a:pt x="129" y="13"/>
                      </a:lnTo>
                      <a:lnTo>
                        <a:pt x="154" y="18"/>
                      </a:lnTo>
                      <a:lnTo>
                        <a:pt x="170" y="9"/>
                      </a:lnTo>
                      <a:lnTo>
                        <a:pt x="207" y="11"/>
                      </a:lnTo>
                      <a:lnTo>
                        <a:pt x="214" y="6"/>
                      </a:lnTo>
                      <a:lnTo>
                        <a:pt x="150" y="8"/>
                      </a:lnTo>
                      <a:lnTo>
                        <a:pt x="136" y="5"/>
                      </a:lnTo>
                      <a:lnTo>
                        <a:pt x="129" y="0"/>
                      </a:lnTo>
                      <a:lnTo>
                        <a:pt x="108" y="0"/>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6" name="Rheinland-Pfalz" descr="{&quot;Key&quot;:&quot;rheinland-pfalz&quot;,&quot;Name&quot;:&quot;Rheinland-Pfalz&quot;,&quot;Value&quot;:1.0,&quot;Formula&quot;:&quot;&quot;,&quot;Text&quot;:&quot;&quot;,&quot;OfficeApplication&quot;:1,&quot;HasValue&quot;:true}">
                  <a:extLst>
                    <a:ext uri="{FF2B5EF4-FFF2-40B4-BE49-F238E27FC236}">
                      <a16:creationId xmlns:a16="http://schemas.microsoft.com/office/drawing/2014/main" id="{A08C8AFC-1666-4BB0-AD4B-6F5F63F2DF5B}"/>
                    </a:ext>
                  </a:extLst>
                </p:cNvPr>
                <p:cNvSpPr>
                  <a:spLocks/>
                </p:cNvSpPr>
                <p:nvPr/>
              </p:nvSpPr>
              <p:spPr bwMode="auto">
                <a:xfrm>
                  <a:off x="4530380" y="3958642"/>
                  <a:ext cx="1093735" cy="1373049"/>
                </a:xfrm>
                <a:custGeom>
                  <a:avLst/>
                  <a:gdLst>
                    <a:gd name="T0" fmla="*/ 578 w 744"/>
                    <a:gd name="T1" fmla="*/ 97 h 934"/>
                    <a:gd name="T2" fmla="*/ 558 w 744"/>
                    <a:gd name="T3" fmla="*/ 47 h 934"/>
                    <a:gd name="T4" fmla="*/ 522 w 744"/>
                    <a:gd name="T5" fmla="*/ 5 h 934"/>
                    <a:gd name="T6" fmla="*/ 496 w 744"/>
                    <a:gd name="T7" fmla="*/ 41 h 934"/>
                    <a:gd name="T8" fmla="*/ 473 w 744"/>
                    <a:gd name="T9" fmla="*/ 64 h 934"/>
                    <a:gd name="T10" fmla="*/ 454 w 744"/>
                    <a:gd name="T11" fmla="*/ 83 h 934"/>
                    <a:gd name="T12" fmla="*/ 401 w 744"/>
                    <a:gd name="T13" fmla="*/ 107 h 934"/>
                    <a:gd name="T14" fmla="*/ 352 w 744"/>
                    <a:gd name="T15" fmla="*/ 148 h 934"/>
                    <a:gd name="T16" fmla="*/ 313 w 744"/>
                    <a:gd name="T17" fmla="*/ 156 h 934"/>
                    <a:gd name="T18" fmla="*/ 250 w 744"/>
                    <a:gd name="T19" fmla="*/ 177 h 934"/>
                    <a:gd name="T20" fmla="*/ 234 w 744"/>
                    <a:gd name="T21" fmla="*/ 215 h 934"/>
                    <a:gd name="T22" fmla="*/ 194 w 744"/>
                    <a:gd name="T23" fmla="*/ 232 h 934"/>
                    <a:gd name="T24" fmla="*/ 185 w 744"/>
                    <a:gd name="T25" fmla="*/ 278 h 934"/>
                    <a:gd name="T26" fmla="*/ 155 w 744"/>
                    <a:gd name="T27" fmla="*/ 267 h 934"/>
                    <a:gd name="T28" fmla="*/ 104 w 744"/>
                    <a:gd name="T29" fmla="*/ 278 h 934"/>
                    <a:gd name="T30" fmla="*/ 95 w 744"/>
                    <a:gd name="T31" fmla="*/ 280 h 934"/>
                    <a:gd name="T32" fmla="*/ 77 w 744"/>
                    <a:gd name="T33" fmla="*/ 295 h 934"/>
                    <a:gd name="T34" fmla="*/ 48 w 744"/>
                    <a:gd name="T35" fmla="*/ 309 h 934"/>
                    <a:gd name="T36" fmla="*/ 23 w 744"/>
                    <a:gd name="T37" fmla="*/ 329 h 934"/>
                    <a:gd name="T38" fmla="*/ 6 w 744"/>
                    <a:gd name="T39" fmla="*/ 362 h 934"/>
                    <a:gd name="T40" fmla="*/ 0 w 744"/>
                    <a:gd name="T41" fmla="*/ 417 h 934"/>
                    <a:gd name="T42" fmla="*/ 24 w 744"/>
                    <a:gd name="T43" fmla="*/ 461 h 934"/>
                    <a:gd name="T44" fmla="*/ 60 w 744"/>
                    <a:gd name="T45" fmla="*/ 506 h 934"/>
                    <a:gd name="T46" fmla="*/ 99 w 744"/>
                    <a:gd name="T47" fmla="*/ 532 h 934"/>
                    <a:gd name="T48" fmla="*/ 125 w 744"/>
                    <a:gd name="T49" fmla="*/ 560 h 934"/>
                    <a:gd name="T50" fmla="*/ 103 w 744"/>
                    <a:gd name="T51" fmla="*/ 596 h 934"/>
                    <a:gd name="T52" fmla="*/ 90 w 744"/>
                    <a:gd name="T53" fmla="*/ 633 h 934"/>
                    <a:gd name="T54" fmla="*/ 126 w 744"/>
                    <a:gd name="T55" fmla="*/ 661 h 934"/>
                    <a:gd name="T56" fmla="*/ 239 w 744"/>
                    <a:gd name="T57" fmla="*/ 632 h 934"/>
                    <a:gd name="T58" fmla="*/ 303 w 744"/>
                    <a:gd name="T59" fmla="*/ 628 h 934"/>
                    <a:gd name="T60" fmla="*/ 354 w 744"/>
                    <a:gd name="T61" fmla="*/ 645 h 934"/>
                    <a:gd name="T62" fmla="*/ 378 w 744"/>
                    <a:gd name="T63" fmla="*/ 684 h 934"/>
                    <a:gd name="T64" fmla="*/ 374 w 744"/>
                    <a:gd name="T65" fmla="*/ 725 h 934"/>
                    <a:gd name="T66" fmla="*/ 404 w 744"/>
                    <a:gd name="T67" fmla="*/ 743 h 934"/>
                    <a:gd name="T68" fmla="*/ 389 w 744"/>
                    <a:gd name="T69" fmla="*/ 780 h 934"/>
                    <a:gd name="T70" fmla="*/ 375 w 744"/>
                    <a:gd name="T71" fmla="*/ 805 h 934"/>
                    <a:gd name="T72" fmla="*/ 408 w 744"/>
                    <a:gd name="T73" fmla="*/ 834 h 934"/>
                    <a:gd name="T74" fmla="*/ 434 w 744"/>
                    <a:gd name="T75" fmla="*/ 842 h 934"/>
                    <a:gd name="T76" fmla="*/ 469 w 744"/>
                    <a:gd name="T77" fmla="*/ 881 h 934"/>
                    <a:gd name="T78" fmla="*/ 527 w 744"/>
                    <a:gd name="T79" fmla="*/ 892 h 934"/>
                    <a:gd name="T80" fmla="*/ 625 w 744"/>
                    <a:gd name="T81" fmla="*/ 925 h 934"/>
                    <a:gd name="T82" fmla="*/ 669 w 744"/>
                    <a:gd name="T83" fmla="*/ 931 h 934"/>
                    <a:gd name="T84" fmla="*/ 706 w 744"/>
                    <a:gd name="T85" fmla="*/ 858 h 934"/>
                    <a:gd name="T86" fmla="*/ 739 w 744"/>
                    <a:gd name="T87" fmla="*/ 774 h 934"/>
                    <a:gd name="T88" fmla="*/ 744 w 744"/>
                    <a:gd name="T89" fmla="*/ 735 h 934"/>
                    <a:gd name="T90" fmla="*/ 725 w 744"/>
                    <a:gd name="T91" fmla="*/ 696 h 934"/>
                    <a:gd name="T92" fmla="*/ 715 w 744"/>
                    <a:gd name="T93" fmla="*/ 639 h 934"/>
                    <a:gd name="T94" fmla="*/ 701 w 744"/>
                    <a:gd name="T95" fmla="*/ 577 h 934"/>
                    <a:gd name="T96" fmla="*/ 714 w 744"/>
                    <a:gd name="T97" fmla="*/ 550 h 934"/>
                    <a:gd name="T98" fmla="*/ 686 w 744"/>
                    <a:gd name="T99" fmla="*/ 492 h 934"/>
                    <a:gd name="T100" fmla="*/ 633 w 744"/>
                    <a:gd name="T101" fmla="*/ 419 h 934"/>
                    <a:gd name="T102" fmla="*/ 556 w 744"/>
                    <a:gd name="T103" fmla="*/ 452 h 934"/>
                    <a:gd name="T104" fmla="*/ 514 w 744"/>
                    <a:gd name="T105" fmla="*/ 417 h 934"/>
                    <a:gd name="T106" fmla="*/ 544 w 744"/>
                    <a:gd name="T107" fmla="*/ 384 h 934"/>
                    <a:gd name="T108" fmla="*/ 546 w 744"/>
                    <a:gd name="T109" fmla="*/ 359 h 934"/>
                    <a:gd name="T110" fmla="*/ 584 w 744"/>
                    <a:gd name="T111" fmla="*/ 338 h 934"/>
                    <a:gd name="T112" fmla="*/ 605 w 744"/>
                    <a:gd name="T113" fmla="*/ 316 h 934"/>
                    <a:gd name="T114" fmla="*/ 599 w 744"/>
                    <a:gd name="T115" fmla="*/ 283 h 934"/>
                    <a:gd name="T116" fmla="*/ 568 w 744"/>
                    <a:gd name="T117" fmla="*/ 253 h 934"/>
                    <a:gd name="T118" fmla="*/ 578 w 744"/>
                    <a:gd name="T119" fmla="*/ 225 h 934"/>
                    <a:gd name="T120" fmla="*/ 593 w 744"/>
                    <a:gd name="T121" fmla="*/ 183 h 934"/>
                    <a:gd name="T122" fmla="*/ 618 w 744"/>
                    <a:gd name="T123" fmla="*/ 171 h 934"/>
                    <a:gd name="T124" fmla="*/ 609 w 744"/>
                    <a:gd name="T125" fmla="*/ 117 h 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4" h="934">
                      <a:moveTo>
                        <a:pt x="601" y="112"/>
                      </a:moveTo>
                      <a:lnTo>
                        <a:pt x="586" y="114"/>
                      </a:lnTo>
                      <a:lnTo>
                        <a:pt x="584" y="106"/>
                      </a:lnTo>
                      <a:lnTo>
                        <a:pt x="578" y="97"/>
                      </a:lnTo>
                      <a:lnTo>
                        <a:pt x="565" y="81"/>
                      </a:lnTo>
                      <a:lnTo>
                        <a:pt x="561" y="75"/>
                      </a:lnTo>
                      <a:lnTo>
                        <a:pt x="561" y="61"/>
                      </a:lnTo>
                      <a:lnTo>
                        <a:pt x="558" y="47"/>
                      </a:lnTo>
                      <a:lnTo>
                        <a:pt x="546" y="46"/>
                      </a:lnTo>
                      <a:lnTo>
                        <a:pt x="530" y="30"/>
                      </a:lnTo>
                      <a:lnTo>
                        <a:pt x="518" y="24"/>
                      </a:lnTo>
                      <a:lnTo>
                        <a:pt x="522" y="5"/>
                      </a:lnTo>
                      <a:lnTo>
                        <a:pt x="504" y="0"/>
                      </a:lnTo>
                      <a:lnTo>
                        <a:pt x="500" y="2"/>
                      </a:lnTo>
                      <a:lnTo>
                        <a:pt x="490" y="15"/>
                      </a:lnTo>
                      <a:lnTo>
                        <a:pt x="496" y="41"/>
                      </a:lnTo>
                      <a:lnTo>
                        <a:pt x="494" y="46"/>
                      </a:lnTo>
                      <a:lnTo>
                        <a:pt x="487" y="42"/>
                      </a:lnTo>
                      <a:lnTo>
                        <a:pt x="468" y="58"/>
                      </a:lnTo>
                      <a:lnTo>
                        <a:pt x="473" y="64"/>
                      </a:lnTo>
                      <a:lnTo>
                        <a:pt x="474" y="74"/>
                      </a:lnTo>
                      <a:lnTo>
                        <a:pt x="468" y="73"/>
                      </a:lnTo>
                      <a:lnTo>
                        <a:pt x="464" y="80"/>
                      </a:lnTo>
                      <a:lnTo>
                        <a:pt x="454" y="83"/>
                      </a:lnTo>
                      <a:lnTo>
                        <a:pt x="446" y="93"/>
                      </a:lnTo>
                      <a:lnTo>
                        <a:pt x="440" y="92"/>
                      </a:lnTo>
                      <a:lnTo>
                        <a:pt x="426" y="100"/>
                      </a:lnTo>
                      <a:lnTo>
                        <a:pt x="401" y="107"/>
                      </a:lnTo>
                      <a:lnTo>
                        <a:pt x="390" y="105"/>
                      </a:lnTo>
                      <a:lnTo>
                        <a:pt x="379" y="137"/>
                      </a:lnTo>
                      <a:lnTo>
                        <a:pt x="370" y="143"/>
                      </a:lnTo>
                      <a:lnTo>
                        <a:pt x="352" y="148"/>
                      </a:lnTo>
                      <a:lnTo>
                        <a:pt x="335" y="147"/>
                      </a:lnTo>
                      <a:lnTo>
                        <a:pt x="325" y="142"/>
                      </a:lnTo>
                      <a:lnTo>
                        <a:pt x="322" y="148"/>
                      </a:lnTo>
                      <a:lnTo>
                        <a:pt x="313" y="156"/>
                      </a:lnTo>
                      <a:lnTo>
                        <a:pt x="296" y="163"/>
                      </a:lnTo>
                      <a:lnTo>
                        <a:pt x="282" y="161"/>
                      </a:lnTo>
                      <a:lnTo>
                        <a:pt x="266" y="172"/>
                      </a:lnTo>
                      <a:lnTo>
                        <a:pt x="250" y="177"/>
                      </a:lnTo>
                      <a:lnTo>
                        <a:pt x="241" y="190"/>
                      </a:lnTo>
                      <a:lnTo>
                        <a:pt x="232" y="193"/>
                      </a:lnTo>
                      <a:lnTo>
                        <a:pt x="234" y="205"/>
                      </a:lnTo>
                      <a:lnTo>
                        <a:pt x="234" y="215"/>
                      </a:lnTo>
                      <a:lnTo>
                        <a:pt x="224" y="222"/>
                      </a:lnTo>
                      <a:lnTo>
                        <a:pt x="212" y="210"/>
                      </a:lnTo>
                      <a:lnTo>
                        <a:pt x="196" y="221"/>
                      </a:lnTo>
                      <a:lnTo>
                        <a:pt x="194" y="232"/>
                      </a:lnTo>
                      <a:lnTo>
                        <a:pt x="201" y="239"/>
                      </a:lnTo>
                      <a:lnTo>
                        <a:pt x="202" y="251"/>
                      </a:lnTo>
                      <a:lnTo>
                        <a:pt x="209" y="270"/>
                      </a:lnTo>
                      <a:lnTo>
                        <a:pt x="185" y="278"/>
                      </a:lnTo>
                      <a:lnTo>
                        <a:pt x="180" y="278"/>
                      </a:lnTo>
                      <a:lnTo>
                        <a:pt x="170" y="269"/>
                      </a:lnTo>
                      <a:lnTo>
                        <a:pt x="159" y="274"/>
                      </a:lnTo>
                      <a:lnTo>
                        <a:pt x="155" y="267"/>
                      </a:lnTo>
                      <a:lnTo>
                        <a:pt x="140" y="263"/>
                      </a:lnTo>
                      <a:lnTo>
                        <a:pt x="128" y="266"/>
                      </a:lnTo>
                      <a:lnTo>
                        <a:pt x="113" y="277"/>
                      </a:lnTo>
                      <a:lnTo>
                        <a:pt x="104" y="278"/>
                      </a:lnTo>
                      <a:lnTo>
                        <a:pt x="103" y="273"/>
                      </a:lnTo>
                      <a:lnTo>
                        <a:pt x="88" y="259"/>
                      </a:lnTo>
                      <a:lnTo>
                        <a:pt x="85" y="264"/>
                      </a:lnTo>
                      <a:lnTo>
                        <a:pt x="95" y="280"/>
                      </a:lnTo>
                      <a:lnTo>
                        <a:pt x="88" y="287"/>
                      </a:lnTo>
                      <a:lnTo>
                        <a:pt x="80" y="287"/>
                      </a:lnTo>
                      <a:lnTo>
                        <a:pt x="81" y="291"/>
                      </a:lnTo>
                      <a:lnTo>
                        <a:pt x="77" y="295"/>
                      </a:lnTo>
                      <a:lnTo>
                        <a:pt x="69" y="296"/>
                      </a:lnTo>
                      <a:lnTo>
                        <a:pt x="58" y="294"/>
                      </a:lnTo>
                      <a:lnTo>
                        <a:pt x="54" y="296"/>
                      </a:lnTo>
                      <a:lnTo>
                        <a:pt x="48" y="309"/>
                      </a:lnTo>
                      <a:lnTo>
                        <a:pt x="50" y="314"/>
                      </a:lnTo>
                      <a:lnTo>
                        <a:pt x="44" y="318"/>
                      </a:lnTo>
                      <a:lnTo>
                        <a:pt x="25" y="325"/>
                      </a:lnTo>
                      <a:lnTo>
                        <a:pt x="23" y="329"/>
                      </a:lnTo>
                      <a:lnTo>
                        <a:pt x="12" y="339"/>
                      </a:lnTo>
                      <a:lnTo>
                        <a:pt x="18" y="349"/>
                      </a:lnTo>
                      <a:lnTo>
                        <a:pt x="18" y="354"/>
                      </a:lnTo>
                      <a:lnTo>
                        <a:pt x="6" y="362"/>
                      </a:lnTo>
                      <a:lnTo>
                        <a:pt x="4" y="371"/>
                      </a:lnTo>
                      <a:lnTo>
                        <a:pt x="5" y="383"/>
                      </a:lnTo>
                      <a:lnTo>
                        <a:pt x="2" y="396"/>
                      </a:lnTo>
                      <a:lnTo>
                        <a:pt x="0" y="417"/>
                      </a:lnTo>
                      <a:lnTo>
                        <a:pt x="5" y="423"/>
                      </a:lnTo>
                      <a:lnTo>
                        <a:pt x="7" y="433"/>
                      </a:lnTo>
                      <a:lnTo>
                        <a:pt x="20" y="467"/>
                      </a:lnTo>
                      <a:lnTo>
                        <a:pt x="24" y="461"/>
                      </a:lnTo>
                      <a:lnTo>
                        <a:pt x="29" y="469"/>
                      </a:lnTo>
                      <a:lnTo>
                        <a:pt x="40" y="493"/>
                      </a:lnTo>
                      <a:lnTo>
                        <a:pt x="45" y="498"/>
                      </a:lnTo>
                      <a:lnTo>
                        <a:pt x="60" y="506"/>
                      </a:lnTo>
                      <a:lnTo>
                        <a:pt x="65" y="518"/>
                      </a:lnTo>
                      <a:lnTo>
                        <a:pt x="80" y="519"/>
                      </a:lnTo>
                      <a:lnTo>
                        <a:pt x="89" y="527"/>
                      </a:lnTo>
                      <a:lnTo>
                        <a:pt x="99" y="532"/>
                      </a:lnTo>
                      <a:lnTo>
                        <a:pt x="115" y="532"/>
                      </a:lnTo>
                      <a:lnTo>
                        <a:pt x="125" y="535"/>
                      </a:lnTo>
                      <a:lnTo>
                        <a:pt x="124" y="552"/>
                      </a:lnTo>
                      <a:lnTo>
                        <a:pt x="125" y="560"/>
                      </a:lnTo>
                      <a:lnTo>
                        <a:pt x="122" y="566"/>
                      </a:lnTo>
                      <a:lnTo>
                        <a:pt x="127" y="576"/>
                      </a:lnTo>
                      <a:lnTo>
                        <a:pt x="124" y="582"/>
                      </a:lnTo>
                      <a:lnTo>
                        <a:pt x="103" y="596"/>
                      </a:lnTo>
                      <a:lnTo>
                        <a:pt x="98" y="603"/>
                      </a:lnTo>
                      <a:lnTo>
                        <a:pt x="103" y="611"/>
                      </a:lnTo>
                      <a:lnTo>
                        <a:pt x="97" y="623"/>
                      </a:lnTo>
                      <a:lnTo>
                        <a:pt x="90" y="633"/>
                      </a:lnTo>
                      <a:lnTo>
                        <a:pt x="83" y="645"/>
                      </a:lnTo>
                      <a:lnTo>
                        <a:pt x="84" y="661"/>
                      </a:lnTo>
                      <a:lnTo>
                        <a:pt x="83" y="665"/>
                      </a:lnTo>
                      <a:lnTo>
                        <a:pt x="126" y="661"/>
                      </a:lnTo>
                      <a:lnTo>
                        <a:pt x="162" y="662"/>
                      </a:lnTo>
                      <a:lnTo>
                        <a:pt x="181" y="654"/>
                      </a:lnTo>
                      <a:lnTo>
                        <a:pt x="194" y="653"/>
                      </a:lnTo>
                      <a:lnTo>
                        <a:pt x="239" y="632"/>
                      </a:lnTo>
                      <a:lnTo>
                        <a:pt x="261" y="616"/>
                      </a:lnTo>
                      <a:lnTo>
                        <a:pt x="270" y="618"/>
                      </a:lnTo>
                      <a:lnTo>
                        <a:pt x="281" y="616"/>
                      </a:lnTo>
                      <a:lnTo>
                        <a:pt x="303" y="628"/>
                      </a:lnTo>
                      <a:lnTo>
                        <a:pt x="322" y="628"/>
                      </a:lnTo>
                      <a:lnTo>
                        <a:pt x="331" y="636"/>
                      </a:lnTo>
                      <a:lnTo>
                        <a:pt x="349" y="647"/>
                      </a:lnTo>
                      <a:lnTo>
                        <a:pt x="354" y="645"/>
                      </a:lnTo>
                      <a:lnTo>
                        <a:pt x="363" y="640"/>
                      </a:lnTo>
                      <a:lnTo>
                        <a:pt x="365" y="648"/>
                      </a:lnTo>
                      <a:lnTo>
                        <a:pt x="372" y="661"/>
                      </a:lnTo>
                      <a:lnTo>
                        <a:pt x="378" y="684"/>
                      </a:lnTo>
                      <a:lnTo>
                        <a:pt x="369" y="691"/>
                      </a:lnTo>
                      <a:lnTo>
                        <a:pt x="359" y="703"/>
                      </a:lnTo>
                      <a:lnTo>
                        <a:pt x="361" y="710"/>
                      </a:lnTo>
                      <a:lnTo>
                        <a:pt x="374" y="725"/>
                      </a:lnTo>
                      <a:lnTo>
                        <a:pt x="376" y="732"/>
                      </a:lnTo>
                      <a:lnTo>
                        <a:pt x="392" y="734"/>
                      </a:lnTo>
                      <a:lnTo>
                        <a:pt x="403" y="739"/>
                      </a:lnTo>
                      <a:lnTo>
                        <a:pt x="404" y="743"/>
                      </a:lnTo>
                      <a:lnTo>
                        <a:pt x="404" y="755"/>
                      </a:lnTo>
                      <a:lnTo>
                        <a:pt x="395" y="764"/>
                      </a:lnTo>
                      <a:lnTo>
                        <a:pt x="394" y="773"/>
                      </a:lnTo>
                      <a:lnTo>
                        <a:pt x="389" y="780"/>
                      </a:lnTo>
                      <a:lnTo>
                        <a:pt x="388" y="789"/>
                      </a:lnTo>
                      <a:lnTo>
                        <a:pt x="383" y="795"/>
                      </a:lnTo>
                      <a:lnTo>
                        <a:pt x="376" y="796"/>
                      </a:lnTo>
                      <a:lnTo>
                        <a:pt x="375" y="805"/>
                      </a:lnTo>
                      <a:lnTo>
                        <a:pt x="389" y="830"/>
                      </a:lnTo>
                      <a:lnTo>
                        <a:pt x="394" y="835"/>
                      </a:lnTo>
                      <a:lnTo>
                        <a:pt x="401" y="836"/>
                      </a:lnTo>
                      <a:lnTo>
                        <a:pt x="408" y="834"/>
                      </a:lnTo>
                      <a:lnTo>
                        <a:pt x="414" y="834"/>
                      </a:lnTo>
                      <a:lnTo>
                        <a:pt x="415" y="840"/>
                      </a:lnTo>
                      <a:lnTo>
                        <a:pt x="428" y="841"/>
                      </a:lnTo>
                      <a:lnTo>
                        <a:pt x="434" y="842"/>
                      </a:lnTo>
                      <a:lnTo>
                        <a:pt x="436" y="849"/>
                      </a:lnTo>
                      <a:lnTo>
                        <a:pt x="433" y="853"/>
                      </a:lnTo>
                      <a:lnTo>
                        <a:pt x="455" y="880"/>
                      </a:lnTo>
                      <a:lnTo>
                        <a:pt x="469" y="881"/>
                      </a:lnTo>
                      <a:lnTo>
                        <a:pt x="489" y="898"/>
                      </a:lnTo>
                      <a:lnTo>
                        <a:pt x="492" y="897"/>
                      </a:lnTo>
                      <a:lnTo>
                        <a:pt x="516" y="897"/>
                      </a:lnTo>
                      <a:lnTo>
                        <a:pt x="527" y="892"/>
                      </a:lnTo>
                      <a:lnTo>
                        <a:pt x="552" y="899"/>
                      </a:lnTo>
                      <a:lnTo>
                        <a:pt x="570" y="898"/>
                      </a:lnTo>
                      <a:lnTo>
                        <a:pt x="576" y="898"/>
                      </a:lnTo>
                      <a:lnTo>
                        <a:pt x="625" y="925"/>
                      </a:lnTo>
                      <a:lnTo>
                        <a:pt x="656" y="931"/>
                      </a:lnTo>
                      <a:lnTo>
                        <a:pt x="659" y="934"/>
                      </a:lnTo>
                      <a:lnTo>
                        <a:pt x="659" y="934"/>
                      </a:lnTo>
                      <a:lnTo>
                        <a:pt x="669" y="931"/>
                      </a:lnTo>
                      <a:lnTo>
                        <a:pt x="678" y="920"/>
                      </a:lnTo>
                      <a:lnTo>
                        <a:pt x="684" y="910"/>
                      </a:lnTo>
                      <a:lnTo>
                        <a:pt x="705" y="863"/>
                      </a:lnTo>
                      <a:lnTo>
                        <a:pt x="706" y="858"/>
                      </a:lnTo>
                      <a:lnTo>
                        <a:pt x="710" y="813"/>
                      </a:lnTo>
                      <a:lnTo>
                        <a:pt x="712" y="804"/>
                      </a:lnTo>
                      <a:lnTo>
                        <a:pt x="719" y="799"/>
                      </a:lnTo>
                      <a:lnTo>
                        <a:pt x="739" y="774"/>
                      </a:lnTo>
                      <a:lnTo>
                        <a:pt x="740" y="768"/>
                      </a:lnTo>
                      <a:lnTo>
                        <a:pt x="733" y="765"/>
                      </a:lnTo>
                      <a:lnTo>
                        <a:pt x="733" y="761"/>
                      </a:lnTo>
                      <a:lnTo>
                        <a:pt x="744" y="735"/>
                      </a:lnTo>
                      <a:lnTo>
                        <a:pt x="741" y="723"/>
                      </a:lnTo>
                      <a:lnTo>
                        <a:pt x="741" y="705"/>
                      </a:lnTo>
                      <a:lnTo>
                        <a:pt x="725" y="700"/>
                      </a:lnTo>
                      <a:lnTo>
                        <a:pt x="725" y="696"/>
                      </a:lnTo>
                      <a:lnTo>
                        <a:pt x="731" y="693"/>
                      </a:lnTo>
                      <a:lnTo>
                        <a:pt x="719" y="661"/>
                      </a:lnTo>
                      <a:lnTo>
                        <a:pt x="713" y="650"/>
                      </a:lnTo>
                      <a:lnTo>
                        <a:pt x="715" y="639"/>
                      </a:lnTo>
                      <a:lnTo>
                        <a:pt x="709" y="625"/>
                      </a:lnTo>
                      <a:lnTo>
                        <a:pt x="696" y="599"/>
                      </a:lnTo>
                      <a:lnTo>
                        <a:pt x="696" y="587"/>
                      </a:lnTo>
                      <a:lnTo>
                        <a:pt x="701" y="577"/>
                      </a:lnTo>
                      <a:lnTo>
                        <a:pt x="709" y="571"/>
                      </a:lnTo>
                      <a:lnTo>
                        <a:pt x="719" y="570"/>
                      </a:lnTo>
                      <a:lnTo>
                        <a:pt x="730" y="550"/>
                      </a:lnTo>
                      <a:lnTo>
                        <a:pt x="714" y="550"/>
                      </a:lnTo>
                      <a:lnTo>
                        <a:pt x="709" y="538"/>
                      </a:lnTo>
                      <a:lnTo>
                        <a:pt x="702" y="527"/>
                      </a:lnTo>
                      <a:lnTo>
                        <a:pt x="699" y="514"/>
                      </a:lnTo>
                      <a:lnTo>
                        <a:pt x="686" y="492"/>
                      </a:lnTo>
                      <a:lnTo>
                        <a:pt x="690" y="475"/>
                      </a:lnTo>
                      <a:lnTo>
                        <a:pt x="683" y="459"/>
                      </a:lnTo>
                      <a:lnTo>
                        <a:pt x="649" y="422"/>
                      </a:lnTo>
                      <a:lnTo>
                        <a:pt x="633" y="419"/>
                      </a:lnTo>
                      <a:lnTo>
                        <a:pt x="595" y="431"/>
                      </a:lnTo>
                      <a:lnTo>
                        <a:pt x="583" y="441"/>
                      </a:lnTo>
                      <a:lnTo>
                        <a:pt x="569" y="448"/>
                      </a:lnTo>
                      <a:lnTo>
                        <a:pt x="556" y="452"/>
                      </a:lnTo>
                      <a:lnTo>
                        <a:pt x="543" y="453"/>
                      </a:lnTo>
                      <a:lnTo>
                        <a:pt x="538" y="445"/>
                      </a:lnTo>
                      <a:lnTo>
                        <a:pt x="534" y="435"/>
                      </a:lnTo>
                      <a:lnTo>
                        <a:pt x="514" y="417"/>
                      </a:lnTo>
                      <a:lnTo>
                        <a:pt x="509" y="414"/>
                      </a:lnTo>
                      <a:lnTo>
                        <a:pt x="521" y="406"/>
                      </a:lnTo>
                      <a:lnTo>
                        <a:pt x="534" y="385"/>
                      </a:lnTo>
                      <a:lnTo>
                        <a:pt x="544" y="384"/>
                      </a:lnTo>
                      <a:lnTo>
                        <a:pt x="554" y="389"/>
                      </a:lnTo>
                      <a:lnTo>
                        <a:pt x="557" y="374"/>
                      </a:lnTo>
                      <a:lnTo>
                        <a:pt x="546" y="367"/>
                      </a:lnTo>
                      <a:lnTo>
                        <a:pt x="546" y="359"/>
                      </a:lnTo>
                      <a:lnTo>
                        <a:pt x="553" y="345"/>
                      </a:lnTo>
                      <a:lnTo>
                        <a:pt x="570" y="336"/>
                      </a:lnTo>
                      <a:lnTo>
                        <a:pt x="575" y="332"/>
                      </a:lnTo>
                      <a:lnTo>
                        <a:pt x="584" y="338"/>
                      </a:lnTo>
                      <a:lnTo>
                        <a:pt x="589" y="328"/>
                      </a:lnTo>
                      <a:lnTo>
                        <a:pt x="586" y="324"/>
                      </a:lnTo>
                      <a:lnTo>
                        <a:pt x="590" y="316"/>
                      </a:lnTo>
                      <a:lnTo>
                        <a:pt x="605" y="316"/>
                      </a:lnTo>
                      <a:lnTo>
                        <a:pt x="612" y="313"/>
                      </a:lnTo>
                      <a:lnTo>
                        <a:pt x="611" y="305"/>
                      </a:lnTo>
                      <a:lnTo>
                        <a:pt x="608" y="293"/>
                      </a:lnTo>
                      <a:lnTo>
                        <a:pt x="599" y="283"/>
                      </a:lnTo>
                      <a:lnTo>
                        <a:pt x="589" y="265"/>
                      </a:lnTo>
                      <a:lnTo>
                        <a:pt x="584" y="262"/>
                      </a:lnTo>
                      <a:lnTo>
                        <a:pt x="582" y="257"/>
                      </a:lnTo>
                      <a:lnTo>
                        <a:pt x="568" y="253"/>
                      </a:lnTo>
                      <a:lnTo>
                        <a:pt x="566" y="249"/>
                      </a:lnTo>
                      <a:lnTo>
                        <a:pt x="569" y="245"/>
                      </a:lnTo>
                      <a:lnTo>
                        <a:pt x="573" y="232"/>
                      </a:lnTo>
                      <a:lnTo>
                        <a:pt x="578" y="225"/>
                      </a:lnTo>
                      <a:lnTo>
                        <a:pt x="572" y="216"/>
                      </a:lnTo>
                      <a:lnTo>
                        <a:pt x="573" y="194"/>
                      </a:lnTo>
                      <a:lnTo>
                        <a:pt x="584" y="183"/>
                      </a:lnTo>
                      <a:lnTo>
                        <a:pt x="593" y="183"/>
                      </a:lnTo>
                      <a:lnTo>
                        <a:pt x="597" y="190"/>
                      </a:lnTo>
                      <a:lnTo>
                        <a:pt x="606" y="190"/>
                      </a:lnTo>
                      <a:lnTo>
                        <a:pt x="611" y="187"/>
                      </a:lnTo>
                      <a:lnTo>
                        <a:pt x="618" y="171"/>
                      </a:lnTo>
                      <a:lnTo>
                        <a:pt x="619" y="161"/>
                      </a:lnTo>
                      <a:lnTo>
                        <a:pt x="606" y="135"/>
                      </a:lnTo>
                      <a:lnTo>
                        <a:pt x="609" y="125"/>
                      </a:lnTo>
                      <a:lnTo>
                        <a:pt x="609" y="117"/>
                      </a:lnTo>
                      <a:lnTo>
                        <a:pt x="601" y="112"/>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7" name="Saarland" descr="{&quot;Key&quot;:&quot;saarland&quot;,&quot;Name&quot;:&quot;Saarland&quot;,&quot;Value&quot;:1.0,&quot;Formula&quot;:&quot;&quot;,&quot;Text&quot;:&quot;&quot;,&quot;OfficeApplication&quot;:1,&quot;HasValue&quot;:true}">
                  <a:extLst>
                    <a:ext uri="{FF2B5EF4-FFF2-40B4-BE49-F238E27FC236}">
                      <a16:creationId xmlns:a16="http://schemas.microsoft.com/office/drawing/2014/main" id="{AD3F32EF-E0E1-4101-A103-7B511422DE32}"/>
                    </a:ext>
                  </a:extLst>
                </p:cNvPr>
                <p:cNvSpPr>
                  <a:spLocks/>
                </p:cNvSpPr>
                <p:nvPr/>
              </p:nvSpPr>
              <p:spPr bwMode="auto">
                <a:xfrm>
                  <a:off x="4649456" y="4864208"/>
                  <a:ext cx="474834" cy="364578"/>
                </a:xfrm>
                <a:custGeom>
                  <a:avLst/>
                  <a:gdLst>
                    <a:gd name="T0" fmla="*/ 2 w 323"/>
                    <a:gd name="T1" fmla="*/ 79 h 248"/>
                    <a:gd name="T2" fmla="*/ 14 w 323"/>
                    <a:gd name="T3" fmla="*/ 78 h 248"/>
                    <a:gd name="T4" fmla="*/ 48 w 323"/>
                    <a:gd name="T5" fmla="*/ 92 h 248"/>
                    <a:gd name="T6" fmla="*/ 74 w 323"/>
                    <a:gd name="T7" fmla="*/ 133 h 248"/>
                    <a:gd name="T8" fmla="*/ 74 w 323"/>
                    <a:gd name="T9" fmla="*/ 150 h 248"/>
                    <a:gd name="T10" fmla="*/ 97 w 323"/>
                    <a:gd name="T11" fmla="*/ 180 h 248"/>
                    <a:gd name="T12" fmla="*/ 115 w 323"/>
                    <a:gd name="T13" fmla="*/ 197 h 248"/>
                    <a:gd name="T14" fmla="*/ 115 w 323"/>
                    <a:gd name="T15" fmla="*/ 216 h 248"/>
                    <a:gd name="T16" fmla="*/ 136 w 323"/>
                    <a:gd name="T17" fmla="*/ 225 h 248"/>
                    <a:gd name="T18" fmla="*/ 153 w 323"/>
                    <a:gd name="T19" fmla="*/ 228 h 248"/>
                    <a:gd name="T20" fmla="*/ 153 w 323"/>
                    <a:gd name="T21" fmla="*/ 206 h 248"/>
                    <a:gd name="T22" fmla="*/ 158 w 323"/>
                    <a:gd name="T23" fmla="*/ 198 h 248"/>
                    <a:gd name="T24" fmla="*/ 183 w 323"/>
                    <a:gd name="T25" fmla="*/ 201 h 248"/>
                    <a:gd name="T26" fmla="*/ 210 w 323"/>
                    <a:gd name="T27" fmla="*/ 213 h 248"/>
                    <a:gd name="T28" fmla="*/ 214 w 323"/>
                    <a:gd name="T29" fmla="*/ 242 h 248"/>
                    <a:gd name="T30" fmla="*/ 230 w 323"/>
                    <a:gd name="T31" fmla="*/ 242 h 248"/>
                    <a:gd name="T32" fmla="*/ 255 w 323"/>
                    <a:gd name="T33" fmla="*/ 244 h 248"/>
                    <a:gd name="T34" fmla="*/ 293 w 323"/>
                    <a:gd name="T35" fmla="*/ 247 h 248"/>
                    <a:gd name="T36" fmla="*/ 309 w 323"/>
                    <a:gd name="T37" fmla="*/ 235 h 248"/>
                    <a:gd name="T38" fmla="*/ 320 w 323"/>
                    <a:gd name="T39" fmla="*/ 220 h 248"/>
                    <a:gd name="T40" fmla="*/ 313 w 323"/>
                    <a:gd name="T41" fmla="*/ 219 h 248"/>
                    <a:gd name="T42" fmla="*/ 294 w 323"/>
                    <a:gd name="T43" fmla="*/ 189 h 248"/>
                    <a:gd name="T44" fmla="*/ 302 w 323"/>
                    <a:gd name="T45" fmla="*/ 179 h 248"/>
                    <a:gd name="T46" fmla="*/ 308 w 323"/>
                    <a:gd name="T47" fmla="*/ 164 h 248"/>
                    <a:gd name="T48" fmla="*/ 314 w 323"/>
                    <a:gd name="T49" fmla="*/ 148 h 248"/>
                    <a:gd name="T50" fmla="*/ 323 w 323"/>
                    <a:gd name="T51" fmla="*/ 127 h 248"/>
                    <a:gd name="T52" fmla="*/ 311 w 323"/>
                    <a:gd name="T53" fmla="*/ 118 h 248"/>
                    <a:gd name="T54" fmla="*/ 293 w 323"/>
                    <a:gd name="T55" fmla="*/ 109 h 248"/>
                    <a:gd name="T56" fmla="*/ 278 w 323"/>
                    <a:gd name="T57" fmla="*/ 87 h 248"/>
                    <a:gd name="T58" fmla="*/ 297 w 323"/>
                    <a:gd name="T59" fmla="*/ 68 h 248"/>
                    <a:gd name="T60" fmla="*/ 284 w 323"/>
                    <a:gd name="T61" fmla="*/ 32 h 248"/>
                    <a:gd name="T62" fmla="*/ 273 w 323"/>
                    <a:gd name="T63" fmla="*/ 29 h 248"/>
                    <a:gd name="T64" fmla="*/ 250 w 323"/>
                    <a:gd name="T65" fmla="*/ 20 h 248"/>
                    <a:gd name="T66" fmla="*/ 222 w 323"/>
                    <a:gd name="T67" fmla="*/ 12 h 248"/>
                    <a:gd name="T68" fmla="*/ 189 w 323"/>
                    <a:gd name="T69" fmla="*/ 2 h 248"/>
                    <a:gd name="T70" fmla="*/ 158 w 323"/>
                    <a:gd name="T71" fmla="*/ 16 h 248"/>
                    <a:gd name="T72" fmla="*/ 100 w 323"/>
                    <a:gd name="T73" fmla="*/ 38 h 248"/>
                    <a:gd name="T74" fmla="*/ 45 w 323"/>
                    <a:gd name="T75" fmla="*/ 45 h 248"/>
                    <a:gd name="T76" fmla="*/ 0 w 323"/>
                    <a:gd name="T77" fmla="*/ 6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48">
                      <a:moveTo>
                        <a:pt x="0" y="64"/>
                      </a:moveTo>
                      <a:lnTo>
                        <a:pt x="2" y="79"/>
                      </a:lnTo>
                      <a:lnTo>
                        <a:pt x="8" y="82"/>
                      </a:lnTo>
                      <a:lnTo>
                        <a:pt x="14" y="78"/>
                      </a:lnTo>
                      <a:lnTo>
                        <a:pt x="20" y="78"/>
                      </a:lnTo>
                      <a:lnTo>
                        <a:pt x="48" y="92"/>
                      </a:lnTo>
                      <a:lnTo>
                        <a:pt x="74" y="127"/>
                      </a:lnTo>
                      <a:lnTo>
                        <a:pt x="74" y="133"/>
                      </a:lnTo>
                      <a:lnTo>
                        <a:pt x="68" y="134"/>
                      </a:lnTo>
                      <a:lnTo>
                        <a:pt x="74" y="150"/>
                      </a:lnTo>
                      <a:lnTo>
                        <a:pt x="95" y="169"/>
                      </a:lnTo>
                      <a:lnTo>
                        <a:pt x="97" y="180"/>
                      </a:lnTo>
                      <a:lnTo>
                        <a:pt x="108" y="200"/>
                      </a:lnTo>
                      <a:lnTo>
                        <a:pt x="115" y="197"/>
                      </a:lnTo>
                      <a:lnTo>
                        <a:pt x="117" y="204"/>
                      </a:lnTo>
                      <a:lnTo>
                        <a:pt x="115" y="216"/>
                      </a:lnTo>
                      <a:lnTo>
                        <a:pt x="123" y="225"/>
                      </a:lnTo>
                      <a:lnTo>
                        <a:pt x="136" y="225"/>
                      </a:lnTo>
                      <a:lnTo>
                        <a:pt x="149" y="230"/>
                      </a:lnTo>
                      <a:lnTo>
                        <a:pt x="153" y="228"/>
                      </a:lnTo>
                      <a:lnTo>
                        <a:pt x="158" y="221"/>
                      </a:lnTo>
                      <a:lnTo>
                        <a:pt x="153" y="206"/>
                      </a:lnTo>
                      <a:lnTo>
                        <a:pt x="155" y="199"/>
                      </a:lnTo>
                      <a:lnTo>
                        <a:pt x="158" y="198"/>
                      </a:lnTo>
                      <a:lnTo>
                        <a:pt x="171" y="201"/>
                      </a:lnTo>
                      <a:lnTo>
                        <a:pt x="183" y="201"/>
                      </a:lnTo>
                      <a:lnTo>
                        <a:pt x="203" y="212"/>
                      </a:lnTo>
                      <a:lnTo>
                        <a:pt x="210" y="213"/>
                      </a:lnTo>
                      <a:lnTo>
                        <a:pt x="210" y="229"/>
                      </a:lnTo>
                      <a:lnTo>
                        <a:pt x="214" y="242"/>
                      </a:lnTo>
                      <a:lnTo>
                        <a:pt x="221" y="248"/>
                      </a:lnTo>
                      <a:lnTo>
                        <a:pt x="230" y="242"/>
                      </a:lnTo>
                      <a:lnTo>
                        <a:pt x="229" y="234"/>
                      </a:lnTo>
                      <a:lnTo>
                        <a:pt x="255" y="244"/>
                      </a:lnTo>
                      <a:lnTo>
                        <a:pt x="282" y="244"/>
                      </a:lnTo>
                      <a:lnTo>
                        <a:pt x="293" y="247"/>
                      </a:lnTo>
                      <a:lnTo>
                        <a:pt x="297" y="240"/>
                      </a:lnTo>
                      <a:lnTo>
                        <a:pt x="309" y="235"/>
                      </a:lnTo>
                      <a:lnTo>
                        <a:pt x="315" y="223"/>
                      </a:lnTo>
                      <a:lnTo>
                        <a:pt x="320" y="220"/>
                      </a:lnTo>
                      <a:lnTo>
                        <a:pt x="320" y="220"/>
                      </a:lnTo>
                      <a:lnTo>
                        <a:pt x="313" y="219"/>
                      </a:lnTo>
                      <a:lnTo>
                        <a:pt x="308" y="214"/>
                      </a:lnTo>
                      <a:lnTo>
                        <a:pt x="294" y="189"/>
                      </a:lnTo>
                      <a:lnTo>
                        <a:pt x="295" y="180"/>
                      </a:lnTo>
                      <a:lnTo>
                        <a:pt x="302" y="179"/>
                      </a:lnTo>
                      <a:lnTo>
                        <a:pt x="307" y="173"/>
                      </a:lnTo>
                      <a:lnTo>
                        <a:pt x="308" y="164"/>
                      </a:lnTo>
                      <a:lnTo>
                        <a:pt x="313" y="157"/>
                      </a:lnTo>
                      <a:lnTo>
                        <a:pt x="314" y="148"/>
                      </a:lnTo>
                      <a:lnTo>
                        <a:pt x="323" y="139"/>
                      </a:lnTo>
                      <a:lnTo>
                        <a:pt x="323" y="127"/>
                      </a:lnTo>
                      <a:lnTo>
                        <a:pt x="322" y="123"/>
                      </a:lnTo>
                      <a:lnTo>
                        <a:pt x="311" y="118"/>
                      </a:lnTo>
                      <a:lnTo>
                        <a:pt x="295" y="116"/>
                      </a:lnTo>
                      <a:lnTo>
                        <a:pt x="293" y="109"/>
                      </a:lnTo>
                      <a:lnTo>
                        <a:pt x="280" y="94"/>
                      </a:lnTo>
                      <a:lnTo>
                        <a:pt x="278" y="87"/>
                      </a:lnTo>
                      <a:lnTo>
                        <a:pt x="288" y="75"/>
                      </a:lnTo>
                      <a:lnTo>
                        <a:pt x="297" y="68"/>
                      </a:lnTo>
                      <a:lnTo>
                        <a:pt x="291" y="45"/>
                      </a:lnTo>
                      <a:lnTo>
                        <a:pt x="284" y="32"/>
                      </a:lnTo>
                      <a:lnTo>
                        <a:pt x="282" y="24"/>
                      </a:lnTo>
                      <a:lnTo>
                        <a:pt x="273" y="29"/>
                      </a:lnTo>
                      <a:lnTo>
                        <a:pt x="268" y="31"/>
                      </a:lnTo>
                      <a:lnTo>
                        <a:pt x="250" y="20"/>
                      </a:lnTo>
                      <a:lnTo>
                        <a:pt x="241" y="12"/>
                      </a:lnTo>
                      <a:lnTo>
                        <a:pt x="222" y="12"/>
                      </a:lnTo>
                      <a:lnTo>
                        <a:pt x="200" y="0"/>
                      </a:lnTo>
                      <a:lnTo>
                        <a:pt x="189" y="2"/>
                      </a:lnTo>
                      <a:lnTo>
                        <a:pt x="180" y="0"/>
                      </a:lnTo>
                      <a:lnTo>
                        <a:pt x="158" y="16"/>
                      </a:lnTo>
                      <a:lnTo>
                        <a:pt x="113" y="37"/>
                      </a:lnTo>
                      <a:lnTo>
                        <a:pt x="100" y="38"/>
                      </a:lnTo>
                      <a:lnTo>
                        <a:pt x="81" y="46"/>
                      </a:lnTo>
                      <a:lnTo>
                        <a:pt x="45" y="45"/>
                      </a:lnTo>
                      <a:lnTo>
                        <a:pt x="2" y="49"/>
                      </a:lnTo>
                      <a:lnTo>
                        <a:pt x="0" y="64"/>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8" name="Bayern" descr="{&quot;Key&quot;:&quot;bayern&quot;,&quot;Name&quot;:&quot;Bayern&quot;,&quot;Value&quot;:1.0,&quot;Formula&quot;:&quot;&quot;,&quot;Text&quot;:&quot;&quot;,&quot;OfficeApplication&quot;:1,&quot;HasValue&quot;:true}">
                  <a:extLst>
                    <a:ext uri="{FF2B5EF4-FFF2-40B4-BE49-F238E27FC236}">
                      <a16:creationId xmlns:a16="http://schemas.microsoft.com/office/drawing/2014/main" id="{B8343EC3-67D0-4772-9C8D-C9AFFD31B520}"/>
                    </a:ext>
                  </a:extLst>
                </p:cNvPr>
                <p:cNvSpPr>
                  <a:spLocks/>
                </p:cNvSpPr>
                <p:nvPr/>
              </p:nvSpPr>
              <p:spPr bwMode="auto">
                <a:xfrm>
                  <a:off x="5819635" y="4214435"/>
                  <a:ext cx="2225692" cy="2300666"/>
                </a:xfrm>
                <a:custGeom>
                  <a:avLst/>
                  <a:gdLst>
                    <a:gd name="T0" fmla="*/ 883 w 1514"/>
                    <a:gd name="T1" fmla="*/ 70 h 1565"/>
                    <a:gd name="T2" fmla="*/ 766 w 1514"/>
                    <a:gd name="T3" fmla="*/ 86 h 1565"/>
                    <a:gd name="T4" fmla="*/ 711 w 1514"/>
                    <a:gd name="T5" fmla="*/ 21 h 1565"/>
                    <a:gd name="T6" fmla="*/ 689 w 1514"/>
                    <a:gd name="T7" fmla="*/ 116 h 1565"/>
                    <a:gd name="T8" fmla="*/ 639 w 1514"/>
                    <a:gd name="T9" fmla="*/ 94 h 1565"/>
                    <a:gd name="T10" fmla="*/ 543 w 1514"/>
                    <a:gd name="T11" fmla="*/ 84 h 1565"/>
                    <a:gd name="T12" fmla="*/ 562 w 1514"/>
                    <a:gd name="T13" fmla="*/ 152 h 1565"/>
                    <a:gd name="T14" fmla="*/ 487 w 1514"/>
                    <a:gd name="T15" fmla="*/ 119 h 1565"/>
                    <a:gd name="T16" fmla="*/ 406 w 1514"/>
                    <a:gd name="T17" fmla="*/ 42 h 1565"/>
                    <a:gd name="T18" fmla="*/ 310 w 1514"/>
                    <a:gd name="T19" fmla="*/ 42 h 1565"/>
                    <a:gd name="T20" fmla="*/ 222 w 1514"/>
                    <a:gd name="T21" fmla="*/ 129 h 1565"/>
                    <a:gd name="T22" fmla="*/ 159 w 1514"/>
                    <a:gd name="T23" fmla="*/ 168 h 1565"/>
                    <a:gd name="T24" fmla="*/ 118 w 1514"/>
                    <a:gd name="T25" fmla="*/ 205 h 1565"/>
                    <a:gd name="T26" fmla="*/ 23 w 1514"/>
                    <a:gd name="T27" fmla="*/ 214 h 1565"/>
                    <a:gd name="T28" fmla="*/ 23 w 1514"/>
                    <a:gd name="T29" fmla="*/ 276 h 1565"/>
                    <a:gd name="T30" fmla="*/ 50 w 1514"/>
                    <a:gd name="T31" fmla="*/ 377 h 1565"/>
                    <a:gd name="T32" fmla="*/ 52 w 1514"/>
                    <a:gd name="T33" fmla="*/ 470 h 1565"/>
                    <a:gd name="T34" fmla="*/ 142 w 1514"/>
                    <a:gd name="T35" fmla="*/ 424 h 1565"/>
                    <a:gd name="T36" fmla="*/ 120 w 1514"/>
                    <a:gd name="T37" fmla="*/ 368 h 1565"/>
                    <a:gd name="T38" fmla="*/ 211 w 1514"/>
                    <a:gd name="T39" fmla="*/ 413 h 1565"/>
                    <a:gd name="T40" fmla="*/ 285 w 1514"/>
                    <a:gd name="T41" fmla="*/ 450 h 1565"/>
                    <a:gd name="T42" fmla="*/ 308 w 1514"/>
                    <a:gd name="T43" fmla="*/ 513 h 1565"/>
                    <a:gd name="T44" fmla="*/ 369 w 1514"/>
                    <a:gd name="T45" fmla="*/ 536 h 1565"/>
                    <a:gd name="T46" fmla="*/ 368 w 1514"/>
                    <a:gd name="T47" fmla="*/ 611 h 1565"/>
                    <a:gd name="T48" fmla="*/ 418 w 1514"/>
                    <a:gd name="T49" fmla="*/ 709 h 1565"/>
                    <a:gd name="T50" fmla="*/ 475 w 1514"/>
                    <a:gd name="T51" fmla="*/ 788 h 1565"/>
                    <a:gd name="T52" fmla="*/ 473 w 1514"/>
                    <a:gd name="T53" fmla="*/ 895 h 1565"/>
                    <a:gd name="T54" fmla="*/ 429 w 1514"/>
                    <a:gd name="T55" fmla="*/ 908 h 1565"/>
                    <a:gd name="T56" fmla="*/ 387 w 1514"/>
                    <a:gd name="T57" fmla="*/ 988 h 1565"/>
                    <a:gd name="T58" fmla="*/ 385 w 1514"/>
                    <a:gd name="T59" fmla="*/ 1146 h 1565"/>
                    <a:gd name="T60" fmla="*/ 389 w 1514"/>
                    <a:gd name="T61" fmla="*/ 1283 h 1565"/>
                    <a:gd name="T62" fmla="*/ 385 w 1514"/>
                    <a:gd name="T63" fmla="*/ 1384 h 1565"/>
                    <a:gd name="T64" fmla="*/ 263 w 1514"/>
                    <a:gd name="T65" fmla="*/ 1402 h 1565"/>
                    <a:gd name="T66" fmla="*/ 300 w 1514"/>
                    <a:gd name="T67" fmla="*/ 1415 h 1565"/>
                    <a:gd name="T68" fmla="*/ 363 w 1514"/>
                    <a:gd name="T69" fmla="*/ 1467 h 1565"/>
                    <a:gd name="T70" fmla="*/ 406 w 1514"/>
                    <a:gd name="T71" fmla="*/ 1521 h 1565"/>
                    <a:gd name="T72" fmla="*/ 463 w 1514"/>
                    <a:gd name="T73" fmla="*/ 1550 h 1565"/>
                    <a:gd name="T74" fmla="*/ 491 w 1514"/>
                    <a:gd name="T75" fmla="*/ 1421 h 1565"/>
                    <a:gd name="T76" fmla="*/ 600 w 1514"/>
                    <a:gd name="T77" fmla="*/ 1449 h 1565"/>
                    <a:gd name="T78" fmla="*/ 666 w 1514"/>
                    <a:gd name="T79" fmla="*/ 1505 h 1565"/>
                    <a:gd name="T80" fmla="*/ 757 w 1514"/>
                    <a:gd name="T81" fmla="*/ 1503 h 1565"/>
                    <a:gd name="T82" fmla="*/ 838 w 1514"/>
                    <a:gd name="T83" fmla="*/ 1451 h 1565"/>
                    <a:gd name="T84" fmla="*/ 936 w 1514"/>
                    <a:gd name="T85" fmla="*/ 1408 h 1565"/>
                    <a:gd name="T86" fmla="*/ 1049 w 1514"/>
                    <a:gd name="T87" fmla="*/ 1362 h 1565"/>
                    <a:gd name="T88" fmla="*/ 1166 w 1514"/>
                    <a:gd name="T89" fmla="*/ 1378 h 1565"/>
                    <a:gd name="T90" fmla="*/ 1222 w 1514"/>
                    <a:gd name="T91" fmla="*/ 1417 h 1565"/>
                    <a:gd name="T92" fmla="*/ 1305 w 1514"/>
                    <a:gd name="T93" fmla="*/ 1416 h 1565"/>
                    <a:gd name="T94" fmla="*/ 1264 w 1514"/>
                    <a:gd name="T95" fmla="*/ 1323 h 1565"/>
                    <a:gd name="T96" fmla="*/ 1198 w 1514"/>
                    <a:gd name="T97" fmla="*/ 1163 h 1565"/>
                    <a:gd name="T98" fmla="*/ 1368 w 1514"/>
                    <a:gd name="T99" fmla="*/ 1065 h 1565"/>
                    <a:gd name="T100" fmla="*/ 1458 w 1514"/>
                    <a:gd name="T101" fmla="*/ 948 h 1565"/>
                    <a:gd name="T102" fmla="*/ 1510 w 1514"/>
                    <a:gd name="T103" fmla="*/ 889 h 1565"/>
                    <a:gd name="T104" fmla="*/ 1465 w 1514"/>
                    <a:gd name="T105" fmla="*/ 799 h 1565"/>
                    <a:gd name="T106" fmla="*/ 1378 w 1514"/>
                    <a:gd name="T107" fmla="*/ 752 h 1565"/>
                    <a:gd name="T108" fmla="*/ 1266 w 1514"/>
                    <a:gd name="T109" fmla="*/ 628 h 1565"/>
                    <a:gd name="T110" fmla="*/ 1202 w 1514"/>
                    <a:gd name="T111" fmla="*/ 588 h 1565"/>
                    <a:gd name="T112" fmla="*/ 1126 w 1514"/>
                    <a:gd name="T113" fmla="*/ 498 h 1565"/>
                    <a:gd name="T114" fmla="*/ 1059 w 1514"/>
                    <a:gd name="T115" fmla="*/ 408 h 1565"/>
                    <a:gd name="T116" fmla="*/ 1085 w 1514"/>
                    <a:gd name="T117" fmla="*/ 311 h 1565"/>
                    <a:gd name="T118" fmla="*/ 992 w 1514"/>
                    <a:gd name="T119" fmla="*/ 228 h 1565"/>
                    <a:gd name="T120" fmla="*/ 949 w 1514"/>
                    <a:gd name="T121" fmla="*/ 135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14" h="1565">
                      <a:moveTo>
                        <a:pt x="946" y="118"/>
                      </a:moveTo>
                      <a:lnTo>
                        <a:pt x="943" y="114"/>
                      </a:lnTo>
                      <a:lnTo>
                        <a:pt x="926" y="110"/>
                      </a:lnTo>
                      <a:lnTo>
                        <a:pt x="910" y="100"/>
                      </a:lnTo>
                      <a:lnTo>
                        <a:pt x="907" y="84"/>
                      </a:lnTo>
                      <a:lnTo>
                        <a:pt x="900" y="80"/>
                      </a:lnTo>
                      <a:lnTo>
                        <a:pt x="894" y="70"/>
                      </a:lnTo>
                      <a:lnTo>
                        <a:pt x="891" y="69"/>
                      </a:lnTo>
                      <a:lnTo>
                        <a:pt x="883" y="70"/>
                      </a:lnTo>
                      <a:lnTo>
                        <a:pt x="877" y="74"/>
                      </a:lnTo>
                      <a:lnTo>
                        <a:pt x="859" y="76"/>
                      </a:lnTo>
                      <a:lnTo>
                        <a:pt x="850" y="70"/>
                      </a:lnTo>
                      <a:lnTo>
                        <a:pt x="842" y="70"/>
                      </a:lnTo>
                      <a:lnTo>
                        <a:pt x="833" y="76"/>
                      </a:lnTo>
                      <a:lnTo>
                        <a:pt x="798" y="83"/>
                      </a:lnTo>
                      <a:lnTo>
                        <a:pt x="784" y="79"/>
                      </a:lnTo>
                      <a:lnTo>
                        <a:pt x="773" y="87"/>
                      </a:lnTo>
                      <a:lnTo>
                        <a:pt x="766" y="86"/>
                      </a:lnTo>
                      <a:lnTo>
                        <a:pt x="756" y="77"/>
                      </a:lnTo>
                      <a:lnTo>
                        <a:pt x="753" y="64"/>
                      </a:lnTo>
                      <a:lnTo>
                        <a:pt x="746" y="64"/>
                      </a:lnTo>
                      <a:lnTo>
                        <a:pt x="739" y="58"/>
                      </a:lnTo>
                      <a:lnTo>
                        <a:pt x="734" y="36"/>
                      </a:lnTo>
                      <a:lnTo>
                        <a:pt x="739" y="32"/>
                      </a:lnTo>
                      <a:lnTo>
                        <a:pt x="735" y="24"/>
                      </a:lnTo>
                      <a:lnTo>
                        <a:pt x="730" y="22"/>
                      </a:lnTo>
                      <a:lnTo>
                        <a:pt x="711" y="21"/>
                      </a:lnTo>
                      <a:lnTo>
                        <a:pt x="703" y="28"/>
                      </a:lnTo>
                      <a:lnTo>
                        <a:pt x="703" y="32"/>
                      </a:lnTo>
                      <a:lnTo>
                        <a:pt x="683" y="42"/>
                      </a:lnTo>
                      <a:lnTo>
                        <a:pt x="687" y="65"/>
                      </a:lnTo>
                      <a:lnTo>
                        <a:pt x="690" y="85"/>
                      </a:lnTo>
                      <a:lnTo>
                        <a:pt x="694" y="89"/>
                      </a:lnTo>
                      <a:lnTo>
                        <a:pt x="691" y="100"/>
                      </a:lnTo>
                      <a:lnTo>
                        <a:pt x="692" y="104"/>
                      </a:lnTo>
                      <a:lnTo>
                        <a:pt x="689" y="116"/>
                      </a:lnTo>
                      <a:lnTo>
                        <a:pt x="692" y="121"/>
                      </a:lnTo>
                      <a:lnTo>
                        <a:pt x="685" y="137"/>
                      </a:lnTo>
                      <a:lnTo>
                        <a:pt x="674" y="132"/>
                      </a:lnTo>
                      <a:lnTo>
                        <a:pt x="670" y="138"/>
                      </a:lnTo>
                      <a:lnTo>
                        <a:pt x="654" y="124"/>
                      </a:lnTo>
                      <a:lnTo>
                        <a:pt x="652" y="120"/>
                      </a:lnTo>
                      <a:lnTo>
                        <a:pt x="658" y="111"/>
                      </a:lnTo>
                      <a:lnTo>
                        <a:pt x="651" y="100"/>
                      </a:lnTo>
                      <a:lnTo>
                        <a:pt x="639" y="94"/>
                      </a:lnTo>
                      <a:lnTo>
                        <a:pt x="634" y="99"/>
                      </a:lnTo>
                      <a:lnTo>
                        <a:pt x="624" y="102"/>
                      </a:lnTo>
                      <a:lnTo>
                        <a:pt x="617" y="95"/>
                      </a:lnTo>
                      <a:lnTo>
                        <a:pt x="608" y="94"/>
                      </a:lnTo>
                      <a:lnTo>
                        <a:pt x="591" y="83"/>
                      </a:lnTo>
                      <a:lnTo>
                        <a:pt x="566" y="82"/>
                      </a:lnTo>
                      <a:lnTo>
                        <a:pt x="560" y="81"/>
                      </a:lnTo>
                      <a:lnTo>
                        <a:pt x="550" y="85"/>
                      </a:lnTo>
                      <a:lnTo>
                        <a:pt x="543" y="84"/>
                      </a:lnTo>
                      <a:lnTo>
                        <a:pt x="536" y="97"/>
                      </a:lnTo>
                      <a:lnTo>
                        <a:pt x="525" y="97"/>
                      </a:lnTo>
                      <a:lnTo>
                        <a:pt x="523" y="114"/>
                      </a:lnTo>
                      <a:lnTo>
                        <a:pt x="538" y="126"/>
                      </a:lnTo>
                      <a:lnTo>
                        <a:pt x="548" y="128"/>
                      </a:lnTo>
                      <a:lnTo>
                        <a:pt x="554" y="135"/>
                      </a:lnTo>
                      <a:lnTo>
                        <a:pt x="562" y="138"/>
                      </a:lnTo>
                      <a:lnTo>
                        <a:pt x="565" y="149"/>
                      </a:lnTo>
                      <a:lnTo>
                        <a:pt x="562" y="152"/>
                      </a:lnTo>
                      <a:lnTo>
                        <a:pt x="551" y="149"/>
                      </a:lnTo>
                      <a:lnTo>
                        <a:pt x="530" y="152"/>
                      </a:lnTo>
                      <a:lnTo>
                        <a:pt x="528" y="168"/>
                      </a:lnTo>
                      <a:lnTo>
                        <a:pt x="518" y="162"/>
                      </a:lnTo>
                      <a:lnTo>
                        <a:pt x="509" y="160"/>
                      </a:lnTo>
                      <a:lnTo>
                        <a:pt x="496" y="160"/>
                      </a:lnTo>
                      <a:lnTo>
                        <a:pt x="488" y="139"/>
                      </a:lnTo>
                      <a:lnTo>
                        <a:pt x="489" y="125"/>
                      </a:lnTo>
                      <a:lnTo>
                        <a:pt x="487" y="119"/>
                      </a:lnTo>
                      <a:lnTo>
                        <a:pt x="473" y="97"/>
                      </a:lnTo>
                      <a:lnTo>
                        <a:pt x="456" y="98"/>
                      </a:lnTo>
                      <a:lnTo>
                        <a:pt x="446" y="87"/>
                      </a:lnTo>
                      <a:lnTo>
                        <a:pt x="441" y="77"/>
                      </a:lnTo>
                      <a:lnTo>
                        <a:pt x="428" y="79"/>
                      </a:lnTo>
                      <a:lnTo>
                        <a:pt x="424" y="75"/>
                      </a:lnTo>
                      <a:lnTo>
                        <a:pt x="425" y="66"/>
                      </a:lnTo>
                      <a:lnTo>
                        <a:pt x="411" y="53"/>
                      </a:lnTo>
                      <a:lnTo>
                        <a:pt x="406" y="42"/>
                      </a:lnTo>
                      <a:lnTo>
                        <a:pt x="399" y="33"/>
                      </a:lnTo>
                      <a:lnTo>
                        <a:pt x="374" y="25"/>
                      </a:lnTo>
                      <a:lnTo>
                        <a:pt x="365" y="10"/>
                      </a:lnTo>
                      <a:lnTo>
                        <a:pt x="343" y="8"/>
                      </a:lnTo>
                      <a:lnTo>
                        <a:pt x="339" y="0"/>
                      </a:lnTo>
                      <a:lnTo>
                        <a:pt x="334" y="3"/>
                      </a:lnTo>
                      <a:lnTo>
                        <a:pt x="318" y="22"/>
                      </a:lnTo>
                      <a:lnTo>
                        <a:pt x="317" y="27"/>
                      </a:lnTo>
                      <a:lnTo>
                        <a:pt x="310" y="42"/>
                      </a:lnTo>
                      <a:lnTo>
                        <a:pt x="297" y="59"/>
                      </a:lnTo>
                      <a:lnTo>
                        <a:pt x="279" y="70"/>
                      </a:lnTo>
                      <a:lnTo>
                        <a:pt x="258" y="78"/>
                      </a:lnTo>
                      <a:lnTo>
                        <a:pt x="252" y="76"/>
                      </a:lnTo>
                      <a:lnTo>
                        <a:pt x="243" y="68"/>
                      </a:lnTo>
                      <a:lnTo>
                        <a:pt x="234" y="76"/>
                      </a:lnTo>
                      <a:lnTo>
                        <a:pt x="227" y="102"/>
                      </a:lnTo>
                      <a:lnTo>
                        <a:pt x="230" y="121"/>
                      </a:lnTo>
                      <a:lnTo>
                        <a:pt x="222" y="129"/>
                      </a:lnTo>
                      <a:lnTo>
                        <a:pt x="214" y="132"/>
                      </a:lnTo>
                      <a:lnTo>
                        <a:pt x="205" y="139"/>
                      </a:lnTo>
                      <a:lnTo>
                        <a:pt x="205" y="151"/>
                      </a:lnTo>
                      <a:lnTo>
                        <a:pt x="206" y="154"/>
                      </a:lnTo>
                      <a:lnTo>
                        <a:pt x="179" y="158"/>
                      </a:lnTo>
                      <a:lnTo>
                        <a:pt x="174" y="160"/>
                      </a:lnTo>
                      <a:lnTo>
                        <a:pt x="165" y="156"/>
                      </a:lnTo>
                      <a:lnTo>
                        <a:pt x="158" y="159"/>
                      </a:lnTo>
                      <a:lnTo>
                        <a:pt x="159" y="168"/>
                      </a:lnTo>
                      <a:lnTo>
                        <a:pt x="156" y="179"/>
                      </a:lnTo>
                      <a:lnTo>
                        <a:pt x="158" y="183"/>
                      </a:lnTo>
                      <a:lnTo>
                        <a:pt x="164" y="184"/>
                      </a:lnTo>
                      <a:lnTo>
                        <a:pt x="162" y="199"/>
                      </a:lnTo>
                      <a:lnTo>
                        <a:pt x="163" y="211"/>
                      </a:lnTo>
                      <a:lnTo>
                        <a:pt x="160" y="215"/>
                      </a:lnTo>
                      <a:lnTo>
                        <a:pt x="142" y="223"/>
                      </a:lnTo>
                      <a:lnTo>
                        <a:pt x="131" y="222"/>
                      </a:lnTo>
                      <a:lnTo>
                        <a:pt x="118" y="205"/>
                      </a:lnTo>
                      <a:lnTo>
                        <a:pt x="104" y="200"/>
                      </a:lnTo>
                      <a:lnTo>
                        <a:pt x="75" y="198"/>
                      </a:lnTo>
                      <a:lnTo>
                        <a:pt x="66" y="201"/>
                      </a:lnTo>
                      <a:lnTo>
                        <a:pt x="63" y="210"/>
                      </a:lnTo>
                      <a:lnTo>
                        <a:pt x="58" y="216"/>
                      </a:lnTo>
                      <a:lnTo>
                        <a:pt x="52" y="218"/>
                      </a:lnTo>
                      <a:lnTo>
                        <a:pt x="48" y="211"/>
                      </a:lnTo>
                      <a:lnTo>
                        <a:pt x="38" y="206"/>
                      </a:lnTo>
                      <a:lnTo>
                        <a:pt x="23" y="214"/>
                      </a:lnTo>
                      <a:lnTo>
                        <a:pt x="12" y="217"/>
                      </a:lnTo>
                      <a:lnTo>
                        <a:pt x="9" y="220"/>
                      </a:lnTo>
                      <a:lnTo>
                        <a:pt x="4" y="236"/>
                      </a:lnTo>
                      <a:lnTo>
                        <a:pt x="0" y="241"/>
                      </a:lnTo>
                      <a:lnTo>
                        <a:pt x="7" y="245"/>
                      </a:lnTo>
                      <a:lnTo>
                        <a:pt x="13" y="243"/>
                      </a:lnTo>
                      <a:lnTo>
                        <a:pt x="18" y="256"/>
                      </a:lnTo>
                      <a:lnTo>
                        <a:pt x="20" y="261"/>
                      </a:lnTo>
                      <a:lnTo>
                        <a:pt x="23" y="276"/>
                      </a:lnTo>
                      <a:lnTo>
                        <a:pt x="17" y="273"/>
                      </a:lnTo>
                      <a:lnTo>
                        <a:pt x="18" y="310"/>
                      </a:lnTo>
                      <a:lnTo>
                        <a:pt x="30" y="342"/>
                      </a:lnTo>
                      <a:lnTo>
                        <a:pt x="40" y="340"/>
                      </a:lnTo>
                      <a:lnTo>
                        <a:pt x="43" y="361"/>
                      </a:lnTo>
                      <a:lnTo>
                        <a:pt x="47" y="363"/>
                      </a:lnTo>
                      <a:lnTo>
                        <a:pt x="53" y="363"/>
                      </a:lnTo>
                      <a:lnTo>
                        <a:pt x="55" y="367"/>
                      </a:lnTo>
                      <a:lnTo>
                        <a:pt x="50" y="377"/>
                      </a:lnTo>
                      <a:lnTo>
                        <a:pt x="50" y="383"/>
                      </a:lnTo>
                      <a:lnTo>
                        <a:pt x="58" y="390"/>
                      </a:lnTo>
                      <a:lnTo>
                        <a:pt x="55" y="398"/>
                      </a:lnTo>
                      <a:lnTo>
                        <a:pt x="45" y="414"/>
                      </a:lnTo>
                      <a:lnTo>
                        <a:pt x="49" y="436"/>
                      </a:lnTo>
                      <a:lnTo>
                        <a:pt x="38" y="451"/>
                      </a:lnTo>
                      <a:lnTo>
                        <a:pt x="45" y="459"/>
                      </a:lnTo>
                      <a:lnTo>
                        <a:pt x="50" y="468"/>
                      </a:lnTo>
                      <a:lnTo>
                        <a:pt x="52" y="470"/>
                      </a:lnTo>
                      <a:lnTo>
                        <a:pt x="71" y="465"/>
                      </a:lnTo>
                      <a:lnTo>
                        <a:pt x="95" y="465"/>
                      </a:lnTo>
                      <a:lnTo>
                        <a:pt x="99" y="460"/>
                      </a:lnTo>
                      <a:lnTo>
                        <a:pt x="105" y="440"/>
                      </a:lnTo>
                      <a:lnTo>
                        <a:pt x="109" y="437"/>
                      </a:lnTo>
                      <a:lnTo>
                        <a:pt x="132" y="432"/>
                      </a:lnTo>
                      <a:lnTo>
                        <a:pt x="135" y="436"/>
                      </a:lnTo>
                      <a:lnTo>
                        <a:pt x="144" y="431"/>
                      </a:lnTo>
                      <a:lnTo>
                        <a:pt x="142" y="424"/>
                      </a:lnTo>
                      <a:lnTo>
                        <a:pt x="144" y="404"/>
                      </a:lnTo>
                      <a:lnTo>
                        <a:pt x="137" y="399"/>
                      </a:lnTo>
                      <a:lnTo>
                        <a:pt x="128" y="409"/>
                      </a:lnTo>
                      <a:lnTo>
                        <a:pt x="126" y="399"/>
                      </a:lnTo>
                      <a:lnTo>
                        <a:pt x="110" y="395"/>
                      </a:lnTo>
                      <a:lnTo>
                        <a:pt x="109" y="391"/>
                      </a:lnTo>
                      <a:lnTo>
                        <a:pt x="110" y="385"/>
                      </a:lnTo>
                      <a:lnTo>
                        <a:pt x="108" y="377"/>
                      </a:lnTo>
                      <a:lnTo>
                        <a:pt x="120" y="368"/>
                      </a:lnTo>
                      <a:lnTo>
                        <a:pt x="135" y="369"/>
                      </a:lnTo>
                      <a:lnTo>
                        <a:pt x="146" y="364"/>
                      </a:lnTo>
                      <a:lnTo>
                        <a:pt x="162" y="363"/>
                      </a:lnTo>
                      <a:lnTo>
                        <a:pt x="179" y="371"/>
                      </a:lnTo>
                      <a:lnTo>
                        <a:pt x="188" y="369"/>
                      </a:lnTo>
                      <a:lnTo>
                        <a:pt x="196" y="374"/>
                      </a:lnTo>
                      <a:lnTo>
                        <a:pt x="212" y="369"/>
                      </a:lnTo>
                      <a:lnTo>
                        <a:pt x="207" y="408"/>
                      </a:lnTo>
                      <a:lnTo>
                        <a:pt x="211" y="413"/>
                      </a:lnTo>
                      <a:lnTo>
                        <a:pt x="218" y="414"/>
                      </a:lnTo>
                      <a:lnTo>
                        <a:pt x="230" y="398"/>
                      </a:lnTo>
                      <a:lnTo>
                        <a:pt x="238" y="414"/>
                      </a:lnTo>
                      <a:lnTo>
                        <a:pt x="240" y="410"/>
                      </a:lnTo>
                      <a:lnTo>
                        <a:pt x="256" y="398"/>
                      </a:lnTo>
                      <a:lnTo>
                        <a:pt x="268" y="413"/>
                      </a:lnTo>
                      <a:lnTo>
                        <a:pt x="272" y="434"/>
                      </a:lnTo>
                      <a:lnTo>
                        <a:pt x="283" y="446"/>
                      </a:lnTo>
                      <a:lnTo>
                        <a:pt x="285" y="450"/>
                      </a:lnTo>
                      <a:lnTo>
                        <a:pt x="274" y="477"/>
                      </a:lnTo>
                      <a:lnTo>
                        <a:pt x="274" y="481"/>
                      </a:lnTo>
                      <a:lnTo>
                        <a:pt x="283" y="478"/>
                      </a:lnTo>
                      <a:lnTo>
                        <a:pt x="291" y="467"/>
                      </a:lnTo>
                      <a:lnTo>
                        <a:pt x="294" y="465"/>
                      </a:lnTo>
                      <a:lnTo>
                        <a:pt x="296" y="474"/>
                      </a:lnTo>
                      <a:lnTo>
                        <a:pt x="300" y="477"/>
                      </a:lnTo>
                      <a:lnTo>
                        <a:pt x="304" y="510"/>
                      </a:lnTo>
                      <a:lnTo>
                        <a:pt x="308" y="513"/>
                      </a:lnTo>
                      <a:lnTo>
                        <a:pt x="330" y="512"/>
                      </a:lnTo>
                      <a:lnTo>
                        <a:pt x="344" y="498"/>
                      </a:lnTo>
                      <a:lnTo>
                        <a:pt x="342" y="488"/>
                      </a:lnTo>
                      <a:lnTo>
                        <a:pt x="349" y="482"/>
                      </a:lnTo>
                      <a:lnTo>
                        <a:pt x="353" y="493"/>
                      </a:lnTo>
                      <a:lnTo>
                        <a:pt x="363" y="500"/>
                      </a:lnTo>
                      <a:lnTo>
                        <a:pt x="361" y="509"/>
                      </a:lnTo>
                      <a:lnTo>
                        <a:pt x="365" y="516"/>
                      </a:lnTo>
                      <a:lnTo>
                        <a:pt x="369" y="536"/>
                      </a:lnTo>
                      <a:lnTo>
                        <a:pt x="378" y="558"/>
                      </a:lnTo>
                      <a:lnTo>
                        <a:pt x="369" y="558"/>
                      </a:lnTo>
                      <a:lnTo>
                        <a:pt x="364" y="565"/>
                      </a:lnTo>
                      <a:lnTo>
                        <a:pt x="365" y="582"/>
                      </a:lnTo>
                      <a:lnTo>
                        <a:pt x="375" y="592"/>
                      </a:lnTo>
                      <a:lnTo>
                        <a:pt x="373" y="599"/>
                      </a:lnTo>
                      <a:lnTo>
                        <a:pt x="377" y="610"/>
                      </a:lnTo>
                      <a:lnTo>
                        <a:pt x="376" y="614"/>
                      </a:lnTo>
                      <a:lnTo>
                        <a:pt x="368" y="611"/>
                      </a:lnTo>
                      <a:lnTo>
                        <a:pt x="374" y="623"/>
                      </a:lnTo>
                      <a:lnTo>
                        <a:pt x="376" y="635"/>
                      </a:lnTo>
                      <a:lnTo>
                        <a:pt x="394" y="663"/>
                      </a:lnTo>
                      <a:lnTo>
                        <a:pt x="399" y="667"/>
                      </a:lnTo>
                      <a:lnTo>
                        <a:pt x="403" y="665"/>
                      </a:lnTo>
                      <a:lnTo>
                        <a:pt x="412" y="670"/>
                      </a:lnTo>
                      <a:lnTo>
                        <a:pt x="411" y="684"/>
                      </a:lnTo>
                      <a:lnTo>
                        <a:pt x="403" y="693"/>
                      </a:lnTo>
                      <a:lnTo>
                        <a:pt x="418" y="709"/>
                      </a:lnTo>
                      <a:lnTo>
                        <a:pt x="417" y="716"/>
                      </a:lnTo>
                      <a:lnTo>
                        <a:pt x="419" y="718"/>
                      </a:lnTo>
                      <a:lnTo>
                        <a:pt x="432" y="721"/>
                      </a:lnTo>
                      <a:lnTo>
                        <a:pt x="437" y="724"/>
                      </a:lnTo>
                      <a:lnTo>
                        <a:pt x="462" y="749"/>
                      </a:lnTo>
                      <a:lnTo>
                        <a:pt x="477" y="770"/>
                      </a:lnTo>
                      <a:lnTo>
                        <a:pt x="480" y="780"/>
                      </a:lnTo>
                      <a:lnTo>
                        <a:pt x="473" y="786"/>
                      </a:lnTo>
                      <a:lnTo>
                        <a:pt x="475" y="788"/>
                      </a:lnTo>
                      <a:lnTo>
                        <a:pt x="475" y="814"/>
                      </a:lnTo>
                      <a:lnTo>
                        <a:pt x="478" y="819"/>
                      </a:lnTo>
                      <a:lnTo>
                        <a:pt x="473" y="839"/>
                      </a:lnTo>
                      <a:lnTo>
                        <a:pt x="473" y="860"/>
                      </a:lnTo>
                      <a:lnTo>
                        <a:pt x="481" y="867"/>
                      </a:lnTo>
                      <a:lnTo>
                        <a:pt x="493" y="884"/>
                      </a:lnTo>
                      <a:lnTo>
                        <a:pt x="480" y="896"/>
                      </a:lnTo>
                      <a:lnTo>
                        <a:pt x="476" y="899"/>
                      </a:lnTo>
                      <a:lnTo>
                        <a:pt x="473" y="895"/>
                      </a:lnTo>
                      <a:lnTo>
                        <a:pt x="476" y="882"/>
                      </a:lnTo>
                      <a:lnTo>
                        <a:pt x="456" y="900"/>
                      </a:lnTo>
                      <a:lnTo>
                        <a:pt x="447" y="888"/>
                      </a:lnTo>
                      <a:lnTo>
                        <a:pt x="440" y="889"/>
                      </a:lnTo>
                      <a:lnTo>
                        <a:pt x="433" y="883"/>
                      </a:lnTo>
                      <a:lnTo>
                        <a:pt x="429" y="883"/>
                      </a:lnTo>
                      <a:lnTo>
                        <a:pt x="424" y="893"/>
                      </a:lnTo>
                      <a:lnTo>
                        <a:pt x="424" y="898"/>
                      </a:lnTo>
                      <a:lnTo>
                        <a:pt x="429" y="908"/>
                      </a:lnTo>
                      <a:lnTo>
                        <a:pt x="435" y="912"/>
                      </a:lnTo>
                      <a:lnTo>
                        <a:pt x="443" y="925"/>
                      </a:lnTo>
                      <a:lnTo>
                        <a:pt x="438" y="929"/>
                      </a:lnTo>
                      <a:lnTo>
                        <a:pt x="443" y="943"/>
                      </a:lnTo>
                      <a:lnTo>
                        <a:pt x="439" y="960"/>
                      </a:lnTo>
                      <a:lnTo>
                        <a:pt x="429" y="965"/>
                      </a:lnTo>
                      <a:lnTo>
                        <a:pt x="421" y="976"/>
                      </a:lnTo>
                      <a:lnTo>
                        <a:pt x="392" y="995"/>
                      </a:lnTo>
                      <a:lnTo>
                        <a:pt x="387" y="988"/>
                      </a:lnTo>
                      <a:lnTo>
                        <a:pt x="378" y="988"/>
                      </a:lnTo>
                      <a:lnTo>
                        <a:pt x="366" y="992"/>
                      </a:lnTo>
                      <a:lnTo>
                        <a:pt x="358" y="1003"/>
                      </a:lnTo>
                      <a:lnTo>
                        <a:pt x="357" y="1011"/>
                      </a:lnTo>
                      <a:lnTo>
                        <a:pt x="340" y="1035"/>
                      </a:lnTo>
                      <a:lnTo>
                        <a:pt x="348" y="1041"/>
                      </a:lnTo>
                      <a:lnTo>
                        <a:pt x="359" y="1062"/>
                      </a:lnTo>
                      <a:lnTo>
                        <a:pt x="371" y="1089"/>
                      </a:lnTo>
                      <a:lnTo>
                        <a:pt x="385" y="1146"/>
                      </a:lnTo>
                      <a:lnTo>
                        <a:pt x="394" y="1166"/>
                      </a:lnTo>
                      <a:lnTo>
                        <a:pt x="396" y="1190"/>
                      </a:lnTo>
                      <a:lnTo>
                        <a:pt x="394" y="1200"/>
                      </a:lnTo>
                      <a:lnTo>
                        <a:pt x="386" y="1227"/>
                      </a:lnTo>
                      <a:lnTo>
                        <a:pt x="382" y="1230"/>
                      </a:lnTo>
                      <a:lnTo>
                        <a:pt x="382" y="1236"/>
                      </a:lnTo>
                      <a:lnTo>
                        <a:pt x="390" y="1259"/>
                      </a:lnTo>
                      <a:lnTo>
                        <a:pt x="386" y="1283"/>
                      </a:lnTo>
                      <a:lnTo>
                        <a:pt x="389" y="1283"/>
                      </a:lnTo>
                      <a:lnTo>
                        <a:pt x="398" y="1304"/>
                      </a:lnTo>
                      <a:lnTo>
                        <a:pt x="383" y="1315"/>
                      </a:lnTo>
                      <a:lnTo>
                        <a:pt x="385" y="1321"/>
                      </a:lnTo>
                      <a:lnTo>
                        <a:pt x="396" y="1332"/>
                      </a:lnTo>
                      <a:lnTo>
                        <a:pt x="398" y="1355"/>
                      </a:lnTo>
                      <a:lnTo>
                        <a:pt x="396" y="1372"/>
                      </a:lnTo>
                      <a:lnTo>
                        <a:pt x="390" y="1370"/>
                      </a:lnTo>
                      <a:lnTo>
                        <a:pt x="387" y="1380"/>
                      </a:lnTo>
                      <a:lnTo>
                        <a:pt x="385" y="1384"/>
                      </a:lnTo>
                      <a:lnTo>
                        <a:pt x="379" y="1372"/>
                      </a:lnTo>
                      <a:lnTo>
                        <a:pt x="375" y="1370"/>
                      </a:lnTo>
                      <a:lnTo>
                        <a:pt x="364" y="1372"/>
                      </a:lnTo>
                      <a:lnTo>
                        <a:pt x="347" y="1379"/>
                      </a:lnTo>
                      <a:lnTo>
                        <a:pt x="321" y="1373"/>
                      </a:lnTo>
                      <a:lnTo>
                        <a:pt x="310" y="1377"/>
                      </a:lnTo>
                      <a:lnTo>
                        <a:pt x="288" y="1398"/>
                      </a:lnTo>
                      <a:lnTo>
                        <a:pt x="274" y="1405"/>
                      </a:lnTo>
                      <a:lnTo>
                        <a:pt x="263" y="1402"/>
                      </a:lnTo>
                      <a:lnTo>
                        <a:pt x="257" y="1409"/>
                      </a:lnTo>
                      <a:lnTo>
                        <a:pt x="245" y="1412"/>
                      </a:lnTo>
                      <a:lnTo>
                        <a:pt x="241" y="1416"/>
                      </a:lnTo>
                      <a:lnTo>
                        <a:pt x="250" y="1420"/>
                      </a:lnTo>
                      <a:lnTo>
                        <a:pt x="263" y="1430"/>
                      </a:lnTo>
                      <a:lnTo>
                        <a:pt x="276" y="1434"/>
                      </a:lnTo>
                      <a:lnTo>
                        <a:pt x="279" y="1424"/>
                      </a:lnTo>
                      <a:lnTo>
                        <a:pt x="286" y="1417"/>
                      </a:lnTo>
                      <a:lnTo>
                        <a:pt x="300" y="1415"/>
                      </a:lnTo>
                      <a:lnTo>
                        <a:pt x="303" y="1419"/>
                      </a:lnTo>
                      <a:lnTo>
                        <a:pt x="306" y="1436"/>
                      </a:lnTo>
                      <a:lnTo>
                        <a:pt x="312" y="1439"/>
                      </a:lnTo>
                      <a:lnTo>
                        <a:pt x="320" y="1436"/>
                      </a:lnTo>
                      <a:lnTo>
                        <a:pt x="329" y="1439"/>
                      </a:lnTo>
                      <a:lnTo>
                        <a:pt x="347" y="1436"/>
                      </a:lnTo>
                      <a:lnTo>
                        <a:pt x="348" y="1444"/>
                      </a:lnTo>
                      <a:lnTo>
                        <a:pt x="356" y="1452"/>
                      </a:lnTo>
                      <a:lnTo>
                        <a:pt x="363" y="1467"/>
                      </a:lnTo>
                      <a:lnTo>
                        <a:pt x="372" y="1462"/>
                      </a:lnTo>
                      <a:lnTo>
                        <a:pt x="387" y="1484"/>
                      </a:lnTo>
                      <a:lnTo>
                        <a:pt x="391" y="1490"/>
                      </a:lnTo>
                      <a:lnTo>
                        <a:pt x="390" y="1496"/>
                      </a:lnTo>
                      <a:lnTo>
                        <a:pt x="383" y="1501"/>
                      </a:lnTo>
                      <a:lnTo>
                        <a:pt x="386" y="1505"/>
                      </a:lnTo>
                      <a:lnTo>
                        <a:pt x="390" y="1519"/>
                      </a:lnTo>
                      <a:lnTo>
                        <a:pt x="393" y="1523"/>
                      </a:lnTo>
                      <a:lnTo>
                        <a:pt x="406" y="1521"/>
                      </a:lnTo>
                      <a:lnTo>
                        <a:pt x="412" y="1516"/>
                      </a:lnTo>
                      <a:lnTo>
                        <a:pt x="426" y="1513"/>
                      </a:lnTo>
                      <a:lnTo>
                        <a:pt x="432" y="1516"/>
                      </a:lnTo>
                      <a:lnTo>
                        <a:pt x="432" y="1525"/>
                      </a:lnTo>
                      <a:lnTo>
                        <a:pt x="427" y="1543"/>
                      </a:lnTo>
                      <a:lnTo>
                        <a:pt x="419" y="1565"/>
                      </a:lnTo>
                      <a:lnTo>
                        <a:pt x="443" y="1562"/>
                      </a:lnTo>
                      <a:lnTo>
                        <a:pt x="450" y="1558"/>
                      </a:lnTo>
                      <a:lnTo>
                        <a:pt x="463" y="1550"/>
                      </a:lnTo>
                      <a:lnTo>
                        <a:pt x="485" y="1517"/>
                      </a:lnTo>
                      <a:lnTo>
                        <a:pt x="491" y="1514"/>
                      </a:lnTo>
                      <a:lnTo>
                        <a:pt x="503" y="1496"/>
                      </a:lnTo>
                      <a:lnTo>
                        <a:pt x="506" y="1484"/>
                      </a:lnTo>
                      <a:lnTo>
                        <a:pt x="505" y="1474"/>
                      </a:lnTo>
                      <a:lnTo>
                        <a:pt x="499" y="1462"/>
                      </a:lnTo>
                      <a:lnTo>
                        <a:pt x="494" y="1459"/>
                      </a:lnTo>
                      <a:lnTo>
                        <a:pt x="497" y="1435"/>
                      </a:lnTo>
                      <a:lnTo>
                        <a:pt x="491" y="1421"/>
                      </a:lnTo>
                      <a:lnTo>
                        <a:pt x="505" y="1417"/>
                      </a:lnTo>
                      <a:lnTo>
                        <a:pt x="506" y="1422"/>
                      </a:lnTo>
                      <a:lnTo>
                        <a:pt x="504" y="1434"/>
                      </a:lnTo>
                      <a:lnTo>
                        <a:pt x="514" y="1439"/>
                      </a:lnTo>
                      <a:lnTo>
                        <a:pt x="527" y="1442"/>
                      </a:lnTo>
                      <a:lnTo>
                        <a:pt x="544" y="1426"/>
                      </a:lnTo>
                      <a:lnTo>
                        <a:pt x="552" y="1426"/>
                      </a:lnTo>
                      <a:lnTo>
                        <a:pt x="593" y="1442"/>
                      </a:lnTo>
                      <a:lnTo>
                        <a:pt x="600" y="1449"/>
                      </a:lnTo>
                      <a:lnTo>
                        <a:pt x="609" y="1448"/>
                      </a:lnTo>
                      <a:lnTo>
                        <a:pt x="626" y="1440"/>
                      </a:lnTo>
                      <a:lnTo>
                        <a:pt x="641" y="1449"/>
                      </a:lnTo>
                      <a:lnTo>
                        <a:pt x="629" y="1459"/>
                      </a:lnTo>
                      <a:lnTo>
                        <a:pt x="631" y="1462"/>
                      </a:lnTo>
                      <a:lnTo>
                        <a:pt x="647" y="1470"/>
                      </a:lnTo>
                      <a:lnTo>
                        <a:pt x="665" y="1490"/>
                      </a:lnTo>
                      <a:lnTo>
                        <a:pt x="662" y="1499"/>
                      </a:lnTo>
                      <a:lnTo>
                        <a:pt x="666" y="1505"/>
                      </a:lnTo>
                      <a:lnTo>
                        <a:pt x="670" y="1507"/>
                      </a:lnTo>
                      <a:lnTo>
                        <a:pt x="703" y="1508"/>
                      </a:lnTo>
                      <a:lnTo>
                        <a:pt x="709" y="1507"/>
                      </a:lnTo>
                      <a:lnTo>
                        <a:pt x="728" y="1492"/>
                      </a:lnTo>
                      <a:lnTo>
                        <a:pt x="736" y="1490"/>
                      </a:lnTo>
                      <a:lnTo>
                        <a:pt x="743" y="1492"/>
                      </a:lnTo>
                      <a:lnTo>
                        <a:pt x="743" y="1506"/>
                      </a:lnTo>
                      <a:lnTo>
                        <a:pt x="750" y="1506"/>
                      </a:lnTo>
                      <a:lnTo>
                        <a:pt x="757" y="1503"/>
                      </a:lnTo>
                      <a:lnTo>
                        <a:pt x="771" y="1486"/>
                      </a:lnTo>
                      <a:lnTo>
                        <a:pt x="776" y="1484"/>
                      </a:lnTo>
                      <a:lnTo>
                        <a:pt x="789" y="1484"/>
                      </a:lnTo>
                      <a:lnTo>
                        <a:pt x="797" y="1477"/>
                      </a:lnTo>
                      <a:lnTo>
                        <a:pt x="789" y="1470"/>
                      </a:lnTo>
                      <a:lnTo>
                        <a:pt x="802" y="1453"/>
                      </a:lnTo>
                      <a:lnTo>
                        <a:pt x="809" y="1451"/>
                      </a:lnTo>
                      <a:lnTo>
                        <a:pt x="824" y="1455"/>
                      </a:lnTo>
                      <a:lnTo>
                        <a:pt x="838" y="1451"/>
                      </a:lnTo>
                      <a:lnTo>
                        <a:pt x="845" y="1449"/>
                      </a:lnTo>
                      <a:lnTo>
                        <a:pt x="856" y="1422"/>
                      </a:lnTo>
                      <a:lnTo>
                        <a:pt x="870" y="1413"/>
                      </a:lnTo>
                      <a:lnTo>
                        <a:pt x="884" y="1416"/>
                      </a:lnTo>
                      <a:lnTo>
                        <a:pt x="909" y="1416"/>
                      </a:lnTo>
                      <a:lnTo>
                        <a:pt x="927" y="1420"/>
                      </a:lnTo>
                      <a:lnTo>
                        <a:pt x="930" y="1418"/>
                      </a:lnTo>
                      <a:lnTo>
                        <a:pt x="933" y="1411"/>
                      </a:lnTo>
                      <a:lnTo>
                        <a:pt x="936" y="1408"/>
                      </a:lnTo>
                      <a:lnTo>
                        <a:pt x="962" y="1403"/>
                      </a:lnTo>
                      <a:lnTo>
                        <a:pt x="1033" y="1405"/>
                      </a:lnTo>
                      <a:lnTo>
                        <a:pt x="1036" y="1405"/>
                      </a:lnTo>
                      <a:lnTo>
                        <a:pt x="1044" y="1394"/>
                      </a:lnTo>
                      <a:lnTo>
                        <a:pt x="1044" y="1373"/>
                      </a:lnTo>
                      <a:lnTo>
                        <a:pt x="1035" y="1361"/>
                      </a:lnTo>
                      <a:lnTo>
                        <a:pt x="1034" y="1357"/>
                      </a:lnTo>
                      <a:lnTo>
                        <a:pt x="1053" y="1347"/>
                      </a:lnTo>
                      <a:lnTo>
                        <a:pt x="1049" y="1362"/>
                      </a:lnTo>
                      <a:lnTo>
                        <a:pt x="1051" y="1367"/>
                      </a:lnTo>
                      <a:lnTo>
                        <a:pt x="1070" y="1365"/>
                      </a:lnTo>
                      <a:lnTo>
                        <a:pt x="1088" y="1369"/>
                      </a:lnTo>
                      <a:lnTo>
                        <a:pt x="1106" y="1363"/>
                      </a:lnTo>
                      <a:lnTo>
                        <a:pt x="1121" y="1384"/>
                      </a:lnTo>
                      <a:lnTo>
                        <a:pt x="1131" y="1392"/>
                      </a:lnTo>
                      <a:lnTo>
                        <a:pt x="1141" y="1394"/>
                      </a:lnTo>
                      <a:lnTo>
                        <a:pt x="1148" y="1393"/>
                      </a:lnTo>
                      <a:lnTo>
                        <a:pt x="1166" y="1378"/>
                      </a:lnTo>
                      <a:lnTo>
                        <a:pt x="1183" y="1372"/>
                      </a:lnTo>
                      <a:lnTo>
                        <a:pt x="1194" y="1372"/>
                      </a:lnTo>
                      <a:lnTo>
                        <a:pt x="1211" y="1377"/>
                      </a:lnTo>
                      <a:lnTo>
                        <a:pt x="1216" y="1376"/>
                      </a:lnTo>
                      <a:lnTo>
                        <a:pt x="1213" y="1384"/>
                      </a:lnTo>
                      <a:lnTo>
                        <a:pt x="1219" y="1390"/>
                      </a:lnTo>
                      <a:lnTo>
                        <a:pt x="1234" y="1402"/>
                      </a:lnTo>
                      <a:lnTo>
                        <a:pt x="1226" y="1406"/>
                      </a:lnTo>
                      <a:lnTo>
                        <a:pt x="1222" y="1417"/>
                      </a:lnTo>
                      <a:lnTo>
                        <a:pt x="1224" y="1429"/>
                      </a:lnTo>
                      <a:lnTo>
                        <a:pt x="1233" y="1436"/>
                      </a:lnTo>
                      <a:lnTo>
                        <a:pt x="1243" y="1440"/>
                      </a:lnTo>
                      <a:lnTo>
                        <a:pt x="1258" y="1456"/>
                      </a:lnTo>
                      <a:lnTo>
                        <a:pt x="1274" y="1468"/>
                      </a:lnTo>
                      <a:lnTo>
                        <a:pt x="1296" y="1472"/>
                      </a:lnTo>
                      <a:lnTo>
                        <a:pt x="1306" y="1459"/>
                      </a:lnTo>
                      <a:lnTo>
                        <a:pt x="1304" y="1416"/>
                      </a:lnTo>
                      <a:lnTo>
                        <a:pt x="1305" y="1416"/>
                      </a:lnTo>
                      <a:lnTo>
                        <a:pt x="1313" y="1379"/>
                      </a:lnTo>
                      <a:lnTo>
                        <a:pt x="1309" y="1372"/>
                      </a:lnTo>
                      <a:lnTo>
                        <a:pt x="1295" y="1354"/>
                      </a:lnTo>
                      <a:lnTo>
                        <a:pt x="1290" y="1353"/>
                      </a:lnTo>
                      <a:lnTo>
                        <a:pt x="1278" y="1358"/>
                      </a:lnTo>
                      <a:lnTo>
                        <a:pt x="1260" y="1355"/>
                      </a:lnTo>
                      <a:lnTo>
                        <a:pt x="1255" y="1349"/>
                      </a:lnTo>
                      <a:lnTo>
                        <a:pt x="1262" y="1333"/>
                      </a:lnTo>
                      <a:lnTo>
                        <a:pt x="1264" y="1323"/>
                      </a:lnTo>
                      <a:lnTo>
                        <a:pt x="1282" y="1290"/>
                      </a:lnTo>
                      <a:lnTo>
                        <a:pt x="1274" y="1278"/>
                      </a:lnTo>
                      <a:lnTo>
                        <a:pt x="1262" y="1253"/>
                      </a:lnTo>
                      <a:lnTo>
                        <a:pt x="1247" y="1239"/>
                      </a:lnTo>
                      <a:lnTo>
                        <a:pt x="1234" y="1220"/>
                      </a:lnTo>
                      <a:lnTo>
                        <a:pt x="1228" y="1210"/>
                      </a:lnTo>
                      <a:lnTo>
                        <a:pt x="1206" y="1186"/>
                      </a:lnTo>
                      <a:lnTo>
                        <a:pt x="1198" y="1169"/>
                      </a:lnTo>
                      <a:lnTo>
                        <a:pt x="1198" y="1163"/>
                      </a:lnTo>
                      <a:lnTo>
                        <a:pt x="1206" y="1158"/>
                      </a:lnTo>
                      <a:lnTo>
                        <a:pt x="1222" y="1141"/>
                      </a:lnTo>
                      <a:lnTo>
                        <a:pt x="1238" y="1121"/>
                      </a:lnTo>
                      <a:lnTo>
                        <a:pt x="1255" y="1118"/>
                      </a:lnTo>
                      <a:lnTo>
                        <a:pt x="1269" y="1107"/>
                      </a:lnTo>
                      <a:lnTo>
                        <a:pt x="1285" y="1091"/>
                      </a:lnTo>
                      <a:lnTo>
                        <a:pt x="1316" y="1079"/>
                      </a:lnTo>
                      <a:lnTo>
                        <a:pt x="1358" y="1071"/>
                      </a:lnTo>
                      <a:lnTo>
                        <a:pt x="1368" y="1065"/>
                      </a:lnTo>
                      <a:lnTo>
                        <a:pt x="1397" y="1038"/>
                      </a:lnTo>
                      <a:lnTo>
                        <a:pt x="1400" y="1030"/>
                      </a:lnTo>
                      <a:lnTo>
                        <a:pt x="1404" y="994"/>
                      </a:lnTo>
                      <a:lnTo>
                        <a:pt x="1409" y="971"/>
                      </a:lnTo>
                      <a:lnTo>
                        <a:pt x="1405" y="962"/>
                      </a:lnTo>
                      <a:lnTo>
                        <a:pt x="1406" y="943"/>
                      </a:lnTo>
                      <a:lnTo>
                        <a:pt x="1416" y="940"/>
                      </a:lnTo>
                      <a:lnTo>
                        <a:pt x="1427" y="938"/>
                      </a:lnTo>
                      <a:lnTo>
                        <a:pt x="1458" y="948"/>
                      </a:lnTo>
                      <a:lnTo>
                        <a:pt x="1469" y="955"/>
                      </a:lnTo>
                      <a:lnTo>
                        <a:pt x="1475" y="962"/>
                      </a:lnTo>
                      <a:lnTo>
                        <a:pt x="1488" y="968"/>
                      </a:lnTo>
                      <a:lnTo>
                        <a:pt x="1490" y="955"/>
                      </a:lnTo>
                      <a:lnTo>
                        <a:pt x="1503" y="949"/>
                      </a:lnTo>
                      <a:lnTo>
                        <a:pt x="1511" y="932"/>
                      </a:lnTo>
                      <a:lnTo>
                        <a:pt x="1512" y="926"/>
                      </a:lnTo>
                      <a:lnTo>
                        <a:pt x="1510" y="895"/>
                      </a:lnTo>
                      <a:lnTo>
                        <a:pt x="1510" y="889"/>
                      </a:lnTo>
                      <a:lnTo>
                        <a:pt x="1514" y="886"/>
                      </a:lnTo>
                      <a:lnTo>
                        <a:pt x="1505" y="876"/>
                      </a:lnTo>
                      <a:lnTo>
                        <a:pt x="1504" y="872"/>
                      </a:lnTo>
                      <a:lnTo>
                        <a:pt x="1512" y="852"/>
                      </a:lnTo>
                      <a:lnTo>
                        <a:pt x="1505" y="845"/>
                      </a:lnTo>
                      <a:lnTo>
                        <a:pt x="1489" y="815"/>
                      </a:lnTo>
                      <a:lnTo>
                        <a:pt x="1481" y="804"/>
                      </a:lnTo>
                      <a:lnTo>
                        <a:pt x="1476" y="802"/>
                      </a:lnTo>
                      <a:lnTo>
                        <a:pt x="1465" y="799"/>
                      </a:lnTo>
                      <a:lnTo>
                        <a:pt x="1449" y="784"/>
                      </a:lnTo>
                      <a:lnTo>
                        <a:pt x="1445" y="775"/>
                      </a:lnTo>
                      <a:lnTo>
                        <a:pt x="1443" y="766"/>
                      </a:lnTo>
                      <a:lnTo>
                        <a:pt x="1438" y="767"/>
                      </a:lnTo>
                      <a:lnTo>
                        <a:pt x="1414" y="755"/>
                      </a:lnTo>
                      <a:lnTo>
                        <a:pt x="1410" y="757"/>
                      </a:lnTo>
                      <a:lnTo>
                        <a:pt x="1404" y="770"/>
                      </a:lnTo>
                      <a:lnTo>
                        <a:pt x="1387" y="760"/>
                      </a:lnTo>
                      <a:lnTo>
                        <a:pt x="1378" y="752"/>
                      </a:lnTo>
                      <a:lnTo>
                        <a:pt x="1373" y="744"/>
                      </a:lnTo>
                      <a:lnTo>
                        <a:pt x="1372" y="730"/>
                      </a:lnTo>
                      <a:lnTo>
                        <a:pt x="1368" y="723"/>
                      </a:lnTo>
                      <a:lnTo>
                        <a:pt x="1354" y="709"/>
                      </a:lnTo>
                      <a:lnTo>
                        <a:pt x="1334" y="690"/>
                      </a:lnTo>
                      <a:lnTo>
                        <a:pt x="1316" y="690"/>
                      </a:lnTo>
                      <a:lnTo>
                        <a:pt x="1307" y="684"/>
                      </a:lnTo>
                      <a:lnTo>
                        <a:pt x="1296" y="667"/>
                      </a:lnTo>
                      <a:lnTo>
                        <a:pt x="1266" y="628"/>
                      </a:lnTo>
                      <a:lnTo>
                        <a:pt x="1262" y="625"/>
                      </a:lnTo>
                      <a:lnTo>
                        <a:pt x="1251" y="613"/>
                      </a:lnTo>
                      <a:lnTo>
                        <a:pt x="1247" y="600"/>
                      </a:lnTo>
                      <a:lnTo>
                        <a:pt x="1242" y="599"/>
                      </a:lnTo>
                      <a:lnTo>
                        <a:pt x="1222" y="583"/>
                      </a:lnTo>
                      <a:lnTo>
                        <a:pt x="1210" y="579"/>
                      </a:lnTo>
                      <a:lnTo>
                        <a:pt x="1206" y="581"/>
                      </a:lnTo>
                      <a:lnTo>
                        <a:pt x="1208" y="587"/>
                      </a:lnTo>
                      <a:lnTo>
                        <a:pt x="1202" y="588"/>
                      </a:lnTo>
                      <a:lnTo>
                        <a:pt x="1184" y="585"/>
                      </a:lnTo>
                      <a:lnTo>
                        <a:pt x="1178" y="583"/>
                      </a:lnTo>
                      <a:lnTo>
                        <a:pt x="1173" y="577"/>
                      </a:lnTo>
                      <a:lnTo>
                        <a:pt x="1162" y="555"/>
                      </a:lnTo>
                      <a:lnTo>
                        <a:pt x="1155" y="549"/>
                      </a:lnTo>
                      <a:lnTo>
                        <a:pt x="1140" y="542"/>
                      </a:lnTo>
                      <a:lnTo>
                        <a:pt x="1134" y="537"/>
                      </a:lnTo>
                      <a:lnTo>
                        <a:pt x="1130" y="530"/>
                      </a:lnTo>
                      <a:lnTo>
                        <a:pt x="1126" y="498"/>
                      </a:lnTo>
                      <a:lnTo>
                        <a:pt x="1117" y="496"/>
                      </a:lnTo>
                      <a:lnTo>
                        <a:pt x="1113" y="493"/>
                      </a:lnTo>
                      <a:lnTo>
                        <a:pt x="1097" y="454"/>
                      </a:lnTo>
                      <a:lnTo>
                        <a:pt x="1089" y="450"/>
                      </a:lnTo>
                      <a:lnTo>
                        <a:pt x="1086" y="445"/>
                      </a:lnTo>
                      <a:lnTo>
                        <a:pt x="1086" y="427"/>
                      </a:lnTo>
                      <a:lnTo>
                        <a:pt x="1083" y="422"/>
                      </a:lnTo>
                      <a:lnTo>
                        <a:pt x="1064" y="412"/>
                      </a:lnTo>
                      <a:lnTo>
                        <a:pt x="1059" y="408"/>
                      </a:lnTo>
                      <a:lnTo>
                        <a:pt x="1046" y="388"/>
                      </a:lnTo>
                      <a:lnTo>
                        <a:pt x="1050" y="380"/>
                      </a:lnTo>
                      <a:lnTo>
                        <a:pt x="1062" y="375"/>
                      </a:lnTo>
                      <a:lnTo>
                        <a:pt x="1066" y="370"/>
                      </a:lnTo>
                      <a:lnTo>
                        <a:pt x="1068" y="346"/>
                      </a:lnTo>
                      <a:lnTo>
                        <a:pt x="1075" y="348"/>
                      </a:lnTo>
                      <a:lnTo>
                        <a:pt x="1076" y="340"/>
                      </a:lnTo>
                      <a:lnTo>
                        <a:pt x="1083" y="328"/>
                      </a:lnTo>
                      <a:lnTo>
                        <a:pt x="1085" y="311"/>
                      </a:lnTo>
                      <a:lnTo>
                        <a:pt x="1066" y="299"/>
                      </a:lnTo>
                      <a:lnTo>
                        <a:pt x="1068" y="287"/>
                      </a:lnTo>
                      <a:lnTo>
                        <a:pt x="1066" y="280"/>
                      </a:lnTo>
                      <a:lnTo>
                        <a:pt x="1061" y="275"/>
                      </a:lnTo>
                      <a:lnTo>
                        <a:pt x="1050" y="274"/>
                      </a:lnTo>
                      <a:lnTo>
                        <a:pt x="1044" y="269"/>
                      </a:lnTo>
                      <a:lnTo>
                        <a:pt x="997" y="245"/>
                      </a:lnTo>
                      <a:lnTo>
                        <a:pt x="994" y="233"/>
                      </a:lnTo>
                      <a:lnTo>
                        <a:pt x="992" y="228"/>
                      </a:lnTo>
                      <a:lnTo>
                        <a:pt x="978" y="217"/>
                      </a:lnTo>
                      <a:lnTo>
                        <a:pt x="974" y="211"/>
                      </a:lnTo>
                      <a:lnTo>
                        <a:pt x="975" y="193"/>
                      </a:lnTo>
                      <a:lnTo>
                        <a:pt x="974" y="185"/>
                      </a:lnTo>
                      <a:lnTo>
                        <a:pt x="960" y="166"/>
                      </a:lnTo>
                      <a:lnTo>
                        <a:pt x="944" y="157"/>
                      </a:lnTo>
                      <a:lnTo>
                        <a:pt x="941" y="151"/>
                      </a:lnTo>
                      <a:lnTo>
                        <a:pt x="949" y="142"/>
                      </a:lnTo>
                      <a:lnTo>
                        <a:pt x="949" y="135"/>
                      </a:lnTo>
                      <a:lnTo>
                        <a:pt x="937" y="117"/>
                      </a:lnTo>
                      <a:lnTo>
                        <a:pt x="946" y="118"/>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89" name="Berlin" descr="{&quot;Key&quot;:&quot;berlin&quot;,&quot;Name&quot;:&quot;Berlin&quot;,&quot;Value&quot;:1.0,&quot;Formula&quot;:&quot;&quot;,&quot;Text&quot;:&quot;&quot;,&quot;OfficeApplication&quot;:1,&quot;HasValue&quot;:true}">
                  <a:extLst>
                    <a:ext uri="{FF2B5EF4-FFF2-40B4-BE49-F238E27FC236}">
                      <a16:creationId xmlns:a16="http://schemas.microsoft.com/office/drawing/2014/main" id="{373006ED-EB48-4723-9B64-339C8971C205}"/>
                    </a:ext>
                  </a:extLst>
                </p:cNvPr>
                <p:cNvSpPr>
                  <a:spLocks/>
                </p:cNvSpPr>
                <p:nvPr/>
              </p:nvSpPr>
              <p:spPr bwMode="auto">
                <a:xfrm>
                  <a:off x="7563142" y="2776703"/>
                  <a:ext cx="280785" cy="210221"/>
                </a:xfrm>
                <a:custGeom>
                  <a:avLst/>
                  <a:gdLst>
                    <a:gd name="T0" fmla="*/ 114 w 191"/>
                    <a:gd name="T1" fmla="*/ 3 h 143"/>
                    <a:gd name="T2" fmla="*/ 98 w 191"/>
                    <a:gd name="T3" fmla="*/ 0 h 143"/>
                    <a:gd name="T4" fmla="*/ 88 w 191"/>
                    <a:gd name="T5" fmla="*/ 0 h 143"/>
                    <a:gd name="T6" fmla="*/ 81 w 191"/>
                    <a:gd name="T7" fmla="*/ 6 h 143"/>
                    <a:gd name="T8" fmla="*/ 63 w 191"/>
                    <a:gd name="T9" fmla="*/ 11 h 143"/>
                    <a:gd name="T10" fmla="*/ 56 w 191"/>
                    <a:gd name="T11" fmla="*/ 7 h 143"/>
                    <a:gd name="T12" fmla="*/ 54 w 191"/>
                    <a:gd name="T13" fmla="*/ 0 h 143"/>
                    <a:gd name="T14" fmla="*/ 48 w 191"/>
                    <a:gd name="T15" fmla="*/ 0 h 143"/>
                    <a:gd name="T16" fmla="*/ 31 w 191"/>
                    <a:gd name="T17" fmla="*/ 11 h 143"/>
                    <a:gd name="T18" fmla="*/ 29 w 191"/>
                    <a:gd name="T19" fmla="*/ 19 h 143"/>
                    <a:gd name="T20" fmla="*/ 31 w 191"/>
                    <a:gd name="T21" fmla="*/ 29 h 143"/>
                    <a:gd name="T22" fmla="*/ 15 w 191"/>
                    <a:gd name="T23" fmla="*/ 24 h 143"/>
                    <a:gd name="T24" fmla="*/ 12 w 191"/>
                    <a:gd name="T25" fmla="*/ 24 h 143"/>
                    <a:gd name="T26" fmla="*/ 11 w 191"/>
                    <a:gd name="T27" fmla="*/ 59 h 143"/>
                    <a:gd name="T28" fmla="*/ 16 w 191"/>
                    <a:gd name="T29" fmla="*/ 70 h 143"/>
                    <a:gd name="T30" fmla="*/ 4 w 191"/>
                    <a:gd name="T31" fmla="*/ 84 h 143"/>
                    <a:gd name="T32" fmla="*/ 4 w 191"/>
                    <a:gd name="T33" fmla="*/ 99 h 143"/>
                    <a:gd name="T34" fmla="*/ 0 w 191"/>
                    <a:gd name="T35" fmla="*/ 111 h 143"/>
                    <a:gd name="T36" fmla="*/ 19 w 191"/>
                    <a:gd name="T37" fmla="*/ 118 h 143"/>
                    <a:gd name="T38" fmla="*/ 24 w 191"/>
                    <a:gd name="T39" fmla="*/ 114 h 143"/>
                    <a:gd name="T40" fmla="*/ 35 w 191"/>
                    <a:gd name="T41" fmla="*/ 109 h 143"/>
                    <a:gd name="T42" fmla="*/ 49 w 191"/>
                    <a:gd name="T43" fmla="*/ 114 h 143"/>
                    <a:gd name="T44" fmla="*/ 58 w 191"/>
                    <a:gd name="T45" fmla="*/ 111 h 143"/>
                    <a:gd name="T46" fmla="*/ 66 w 191"/>
                    <a:gd name="T47" fmla="*/ 116 h 143"/>
                    <a:gd name="T48" fmla="*/ 73 w 191"/>
                    <a:gd name="T49" fmla="*/ 114 h 143"/>
                    <a:gd name="T50" fmla="*/ 91 w 191"/>
                    <a:gd name="T51" fmla="*/ 125 h 143"/>
                    <a:gd name="T52" fmla="*/ 100 w 191"/>
                    <a:gd name="T53" fmla="*/ 125 h 143"/>
                    <a:gd name="T54" fmla="*/ 101 w 191"/>
                    <a:gd name="T55" fmla="*/ 111 h 143"/>
                    <a:gd name="T56" fmla="*/ 106 w 191"/>
                    <a:gd name="T57" fmla="*/ 109 h 143"/>
                    <a:gd name="T58" fmla="*/ 116 w 191"/>
                    <a:gd name="T59" fmla="*/ 117 h 143"/>
                    <a:gd name="T60" fmla="*/ 128 w 191"/>
                    <a:gd name="T61" fmla="*/ 114 h 143"/>
                    <a:gd name="T62" fmla="*/ 141 w 191"/>
                    <a:gd name="T63" fmla="*/ 118 h 143"/>
                    <a:gd name="T64" fmla="*/ 148 w 191"/>
                    <a:gd name="T65" fmla="*/ 122 h 143"/>
                    <a:gd name="T66" fmla="*/ 162 w 191"/>
                    <a:gd name="T67" fmla="*/ 125 h 143"/>
                    <a:gd name="T68" fmla="*/ 170 w 191"/>
                    <a:gd name="T69" fmla="*/ 143 h 143"/>
                    <a:gd name="T70" fmla="*/ 175 w 191"/>
                    <a:gd name="T71" fmla="*/ 134 h 143"/>
                    <a:gd name="T72" fmla="*/ 184 w 191"/>
                    <a:gd name="T73" fmla="*/ 129 h 143"/>
                    <a:gd name="T74" fmla="*/ 186 w 191"/>
                    <a:gd name="T75" fmla="*/ 112 h 143"/>
                    <a:gd name="T76" fmla="*/ 191 w 191"/>
                    <a:gd name="T77" fmla="*/ 107 h 143"/>
                    <a:gd name="T78" fmla="*/ 191 w 191"/>
                    <a:gd name="T79" fmla="*/ 89 h 143"/>
                    <a:gd name="T80" fmla="*/ 178 w 191"/>
                    <a:gd name="T81" fmla="*/ 84 h 143"/>
                    <a:gd name="T82" fmla="*/ 168 w 191"/>
                    <a:gd name="T83" fmla="*/ 75 h 143"/>
                    <a:gd name="T84" fmla="*/ 157 w 191"/>
                    <a:gd name="T85" fmla="*/ 76 h 143"/>
                    <a:gd name="T86" fmla="*/ 162 w 191"/>
                    <a:gd name="T87" fmla="*/ 56 h 143"/>
                    <a:gd name="T88" fmla="*/ 162 w 191"/>
                    <a:gd name="T89" fmla="*/ 51 h 143"/>
                    <a:gd name="T90" fmla="*/ 155 w 191"/>
                    <a:gd name="T91" fmla="*/ 51 h 143"/>
                    <a:gd name="T92" fmla="*/ 137 w 191"/>
                    <a:gd name="T93" fmla="*/ 40 h 143"/>
                    <a:gd name="T94" fmla="*/ 116 w 191"/>
                    <a:gd name="T95" fmla="*/ 19 h 143"/>
                    <a:gd name="T96" fmla="*/ 114 w 191"/>
                    <a:gd name="T97" fmla="*/ 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43">
                      <a:moveTo>
                        <a:pt x="114" y="3"/>
                      </a:moveTo>
                      <a:lnTo>
                        <a:pt x="98" y="0"/>
                      </a:lnTo>
                      <a:lnTo>
                        <a:pt x="88" y="0"/>
                      </a:lnTo>
                      <a:lnTo>
                        <a:pt x="81" y="6"/>
                      </a:lnTo>
                      <a:lnTo>
                        <a:pt x="63" y="11"/>
                      </a:lnTo>
                      <a:lnTo>
                        <a:pt x="56" y="7"/>
                      </a:lnTo>
                      <a:lnTo>
                        <a:pt x="54" y="0"/>
                      </a:lnTo>
                      <a:lnTo>
                        <a:pt x="48" y="0"/>
                      </a:lnTo>
                      <a:lnTo>
                        <a:pt x="31" y="11"/>
                      </a:lnTo>
                      <a:lnTo>
                        <a:pt x="29" y="19"/>
                      </a:lnTo>
                      <a:lnTo>
                        <a:pt x="31" y="29"/>
                      </a:lnTo>
                      <a:lnTo>
                        <a:pt x="15" y="24"/>
                      </a:lnTo>
                      <a:lnTo>
                        <a:pt x="12" y="24"/>
                      </a:lnTo>
                      <a:lnTo>
                        <a:pt x="11" y="59"/>
                      </a:lnTo>
                      <a:lnTo>
                        <a:pt x="16" y="70"/>
                      </a:lnTo>
                      <a:lnTo>
                        <a:pt x="4" y="84"/>
                      </a:lnTo>
                      <a:lnTo>
                        <a:pt x="4" y="99"/>
                      </a:lnTo>
                      <a:lnTo>
                        <a:pt x="0" y="111"/>
                      </a:lnTo>
                      <a:lnTo>
                        <a:pt x="19" y="118"/>
                      </a:lnTo>
                      <a:lnTo>
                        <a:pt x="24" y="114"/>
                      </a:lnTo>
                      <a:lnTo>
                        <a:pt x="35" y="109"/>
                      </a:lnTo>
                      <a:lnTo>
                        <a:pt x="49" y="114"/>
                      </a:lnTo>
                      <a:lnTo>
                        <a:pt x="58" y="111"/>
                      </a:lnTo>
                      <a:lnTo>
                        <a:pt x="66" y="116"/>
                      </a:lnTo>
                      <a:lnTo>
                        <a:pt x="73" y="114"/>
                      </a:lnTo>
                      <a:lnTo>
                        <a:pt x="91" y="125"/>
                      </a:lnTo>
                      <a:lnTo>
                        <a:pt x="100" y="125"/>
                      </a:lnTo>
                      <a:lnTo>
                        <a:pt x="101" y="111"/>
                      </a:lnTo>
                      <a:lnTo>
                        <a:pt x="106" y="109"/>
                      </a:lnTo>
                      <a:lnTo>
                        <a:pt x="116" y="117"/>
                      </a:lnTo>
                      <a:lnTo>
                        <a:pt x="128" y="114"/>
                      </a:lnTo>
                      <a:lnTo>
                        <a:pt x="141" y="118"/>
                      </a:lnTo>
                      <a:lnTo>
                        <a:pt x="148" y="122"/>
                      </a:lnTo>
                      <a:lnTo>
                        <a:pt x="162" y="125"/>
                      </a:lnTo>
                      <a:lnTo>
                        <a:pt x="170" y="143"/>
                      </a:lnTo>
                      <a:lnTo>
                        <a:pt x="175" y="134"/>
                      </a:lnTo>
                      <a:lnTo>
                        <a:pt x="184" y="129"/>
                      </a:lnTo>
                      <a:lnTo>
                        <a:pt x="186" y="112"/>
                      </a:lnTo>
                      <a:lnTo>
                        <a:pt x="191" y="107"/>
                      </a:lnTo>
                      <a:lnTo>
                        <a:pt x="191" y="89"/>
                      </a:lnTo>
                      <a:lnTo>
                        <a:pt x="178" y="84"/>
                      </a:lnTo>
                      <a:lnTo>
                        <a:pt x="168" y="75"/>
                      </a:lnTo>
                      <a:lnTo>
                        <a:pt x="157" y="76"/>
                      </a:lnTo>
                      <a:lnTo>
                        <a:pt x="162" y="56"/>
                      </a:lnTo>
                      <a:lnTo>
                        <a:pt x="162" y="51"/>
                      </a:lnTo>
                      <a:lnTo>
                        <a:pt x="155" y="51"/>
                      </a:lnTo>
                      <a:lnTo>
                        <a:pt x="137" y="40"/>
                      </a:lnTo>
                      <a:lnTo>
                        <a:pt x="116" y="19"/>
                      </a:lnTo>
                      <a:lnTo>
                        <a:pt x="114" y="3"/>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90" name="Sachsen-Anhalt" descr="{&quot;Key&quot;:&quot;sachsen-anhalt&quot;,&quot;Name&quot;:&quot;Sachsen-Anhalt&quot;,&quot;Value&quot;:1.0,&quot;Formula&quot;:&quot;&quot;,&quot;Text&quot;:&quot;&quot;,&quot;OfficeApplication&quot;:1,&quot;HasValue&quot;:true}">
                  <a:extLst>
                    <a:ext uri="{FF2B5EF4-FFF2-40B4-BE49-F238E27FC236}">
                      <a16:creationId xmlns:a16="http://schemas.microsoft.com/office/drawing/2014/main" id="{460E3BC3-792F-4692-96F6-CD0AFA19C179}"/>
                    </a:ext>
                  </a:extLst>
                </p:cNvPr>
                <p:cNvSpPr>
                  <a:spLocks/>
                </p:cNvSpPr>
                <p:nvPr/>
              </p:nvSpPr>
              <p:spPr bwMode="auto">
                <a:xfrm>
                  <a:off x="6466467" y="2503269"/>
                  <a:ext cx="1184879" cy="1458313"/>
                </a:xfrm>
                <a:custGeom>
                  <a:avLst/>
                  <a:gdLst>
                    <a:gd name="T0" fmla="*/ 784 w 806"/>
                    <a:gd name="T1" fmla="*/ 595 h 992"/>
                    <a:gd name="T2" fmla="*/ 786 w 806"/>
                    <a:gd name="T3" fmla="*/ 556 h 992"/>
                    <a:gd name="T4" fmla="*/ 731 w 806"/>
                    <a:gd name="T5" fmla="*/ 545 h 992"/>
                    <a:gd name="T6" fmla="*/ 670 w 806"/>
                    <a:gd name="T7" fmla="*/ 514 h 992"/>
                    <a:gd name="T8" fmla="*/ 599 w 806"/>
                    <a:gd name="T9" fmla="*/ 502 h 992"/>
                    <a:gd name="T10" fmla="*/ 516 w 806"/>
                    <a:gd name="T11" fmla="*/ 438 h 992"/>
                    <a:gd name="T12" fmla="*/ 490 w 806"/>
                    <a:gd name="T13" fmla="*/ 381 h 992"/>
                    <a:gd name="T14" fmla="*/ 486 w 806"/>
                    <a:gd name="T15" fmla="*/ 334 h 992"/>
                    <a:gd name="T16" fmla="*/ 497 w 806"/>
                    <a:gd name="T17" fmla="*/ 276 h 992"/>
                    <a:gd name="T18" fmla="*/ 476 w 806"/>
                    <a:gd name="T19" fmla="*/ 239 h 992"/>
                    <a:gd name="T20" fmla="*/ 452 w 806"/>
                    <a:gd name="T21" fmla="*/ 232 h 992"/>
                    <a:gd name="T22" fmla="*/ 479 w 806"/>
                    <a:gd name="T23" fmla="*/ 168 h 992"/>
                    <a:gd name="T24" fmla="*/ 477 w 806"/>
                    <a:gd name="T25" fmla="*/ 108 h 992"/>
                    <a:gd name="T26" fmla="*/ 435 w 806"/>
                    <a:gd name="T27" fmla="*/ 74 h 992"/>
                    <a:gd name="T28" fmla="*/ 358 w 806"/>
                    <a:gd name="T29" fmla="*/ 44 h 992"/>
                    <a:gd name="T30" fmla="*/ 311 w 806"/>
                    <a:gd name="T31" fmla="*/ 31 h 992"/>
                    <a:gd name="T32" fmla="*/ 289 w 806"/>
                    <a:gd name="T33" fmla="*/ 0 h 992"/>
                    <a:gd name="T34" fmla="*/ 245 w 806"/>
                    <a:gd name="T35" fmla="*/ 51 h 992"/>
                    <a:gd name="T36" fmla="*/ 155 w 806"/>
                    <a:gd name="T37" fmla="*/ 68 h 992"/>
                    <a:gd name="T38" fmla="*/ 96 w 806"/>
                    <a:gd name="T39" fmla="*/ 86 h 992"/>
                    <a:gd name="T40" fmla="*/ 36 w 806"/>
                    <a:gd name="T41" fmla="*/ 123 h 992"/>
                    <a:gd name="T42" fmla="*/ 78 w 806"/>
                    <a:gd name="T43" fmla="*/ 186 h 992"/>
                    <a:gd name="T44" fmla="*/ 100 w 806"/>
                    <a:gd name="T45" fmla="*/ 213 h 992"/>
                    <a:gd name="T46" fmla="*/ 103 w 806"/>
                    <a:gd name="T47" fmla="*/ 259 h 992"/>
                    <a:gd name="T48" fmla="*/ 141 w 806"/>
                    <a:gd name="T49" fmla="*/ 322 h 992"/>
                    <a:gd name="T50" fmla="*/ 126 w 806"/>
                    <a:gd name="T51" fmla="*/ 355 h 992"/>
                    <a:gd name="T52" fmla="*/ 135 w 806"/>
                    <a:gd name="T53" fmla="*/ 408 h 992"/>
                    <a:gd name="T54" fmla="*/ 111 w 806"/>
                    <a:gd name="T55" fmla="*/ 443 h 992"/>
                    <a:gd name="T56" fmla="*/ 43 w 806"/>
                    <a:gd name="T57" fmla="*/ 466 h 992"/>
                    <a:gd name="T58" fmla="*/ 0 w 806"/>
                    <a:gd name="T59" fmla="*/ 487 h 992"/>
                    <a:gd name="T60" fmla="*/ 21 w 806"/>
                    <a:gd name="T61" fmla="*/ 530 h 992"/>
                    <a:gd name="T62" fmla="*/ 10 w 806"/>
                    <a:gd name="T63" fmla="*/ 593 h 992"/>
                    <a:gd name="T64" fmla="*/ 52 w 806"/>
                    <a:gd name="T65" fmla="*/ 662 h 992"/>
                    <a:gd name="T66" fmla="*/ 123 w 806"/>
                    <a:gd name="T67" fmla="*/ 679 h 992"/>
                    <a:gd name="T68" fmla="*/ 125 w 806"/>
                    <a:gd name="T69" fmla="*/ 722 h 992"/>
                    <a:gd name="T70" fmla="*/ 191 w 806"/>
                    <a:gd name="T71" fmla="*/ 772 h 992"/>
                    <a:gd name="T72" fmla="*/ 265 w 806"/>
                    <a:gd name="T73" fmla="*/ 806 h 992"/>
                    <a:gd name="T74" fmla="*/ 267 w 806"/>
                    <a:gd name="T75" fmla="*/ 869 h 992"/>
                    <a:gd name="T76" fmla="*/ 304 w 806"/>
                    <a:gd name="T77" fmla="*/ 917 h 992"/>
                    <a:gd name="T78" fmla="*/ 362 w 806"/>
                    <a:gd name="T79" fmla="*/ 917 h 992"/>
                    <a:gd name="T80" fmla="*/ 383 w 806"/>
                    <a:gd name="T81" fmla="*/ 949 h 992"/>
                    <a:gd name="T82" fmla="*/ 456 w 806"/>
                    <a:gd name="T83" fmla="*/ 977 h 992"/>
                    <a:gd name="T84" fmla="*/ 506 w 806"/>
                    <a:gd name="T85" fmla="*/ 981 h 992"/>
                    <a:gd name="T86" fmla="*/ 540 w 806"/>
                    <a:gd name="T87" fmla="*/ 954 h 992"/>
                    <a:gd name="T88" fmla="*/ 534 w 806"/>
                    <a:gd name="T89" fmla="*/ 918 h 992"/>
                    <a:gd name="T90" fmla="*/ 498 w 806"/>
                    <a:gd name="T91" fmla="*/ 874 h 992"/>
                    <a:gd name="T92" fmla="*/ 502 w 806"/>
                    <a:gd name="T93" fmla="*/ 806 h 992"/>
                    <a:gd name="T94" fmla="*/ 502 w 806"/>
                    <a:gd name="T95" fmla="*/ 732 h 992"/>
                    <a:gd name="T96" fmla="*/ 531 w 806"/>
                    <a:gd name="T97" fmla="*/ 699 h 992"/>
                    <a:gd name="T98" fmla="*/ 605 w 806"/>
                    <a:gd name="T99" fmla="*/ 679 h 992"/>
                    <a:gd name="T100" fmla="*/ 666 w 806"/>
                    <a:gd name="T101" fmla="*/ 660 h 992"/>
                    <a:gd name="T102" fmla="*/ 707 w 806"/>
                    <a:gd name="T103" fmla="*/ 643 h 992"/>
                    <a:gd name="T104" fmla="*/ 760 w 806"/>
                    <a:gd name="T105" fmla="*/ 670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6" h="992">
                      <a:moveTo>
                        <a:pt x="766" y="659"/>
                      </a:moveTo>
                      <a:lnTo>
                        <a:pt x="785" y="642"/>
                      </a:lnTo>
                      <a:lnTo>
                        <a:pt x="793" y="631"/>
                      </a:lnTo>
                      <a:lnTo>
                        <a:pt x="785" y="607"/>
                      </a:lnTo>
                      <a:lnTo>
                        <a:pt x="784" y="595"/>
                      </a:lnTo>
                      <a:lnTo>
                        <a:pt x="794" y="574"/>
                      </a:lnTo>
                      <a:lnTo>
                        <a:pt x="804" y="563"/>
                      </a:lnTo>
                      <a:lnTo>
                        <a:pt x="806" y="557"/>
                      </a:lnTo>
                      <a:lnTo>
                        <a:pt x="799" y="555"/>
                      </a:lnTo>
                      <a:lnTo>
                        <a:pt x="786" y="556"/>
                      </a:lnTo>
                      <a:lnTo>
                        <a:pt x="783" y="562"/>
                      </a:lnTo>
                      <a:lnTo>
                        <a:pt x="774" y="556"/>
                      </a:lnTo>
                      <a:lnTo>
                        <a:pt x="754" y="558"/>
                      </a:lnTo>
                      <a:lnTo>
                        <a:pt x="748" y="557"/>
                      </a:lnTo>
                      <a:lnTo>
                        <a:pt x="731" y="545"/>
                      </a:lnTo>
                      <a:lnTo>
                        <a:pt x="721" y="535"/>
                      </a:lnTo>
                      <a:lnTo>
                        <a:pt x="712" y="532"/>
                      </a:lnTo>
                      <a:lnTo>
                        <a:pt x="698" y="531"/>
                      </a:lnTo>
                      <a:lnTo>
                        <a:pt x="685" y="517"/>
                      </a:lnTo>
                      <a:lnTo>
                        <a:pt x="670" y="514"/>
                      </a:lnTo>
                      <a:lnTo>
                        <a:pt x="642" y="499"/>
                      </a:lnTo>
                      <a:lnTo>
                        <a:pt x="628" y="492"/>
                      </a:lnTo>
                      <a:lnTo>
                        <a:pt x="624" y="497"/>
                      </a:lnTo>
                      <a:lnTo>
                        <a:pt x="613" y="506"/>
                      </a:lnTo>
                      <a:lnTo>
                        <a:pt x="599" y="502"/>
                      </a:lnTo>
                      <a:lnTo>
                        <a:pt x="579" y="489"/>
                      </a:lnTo>
                      <a:lnTo>
                        <a:pt x="556" y="484"/>
                      </a:lnTo>
                      <a:lnTo>
                        <a:pt x="540" y="473"/>
                      </a:lnTo>
                      <a:lnTo>
                        <a:pt x="536" y="462"/>
                      </a:lnTo>
                      <a:lnTo>
                        <a:pt x="516" y="438"/>
                      </a:lnTo>
                      <a:lnTo>
                        <a:pt x="502" y="427"/>
                      </a:lnTo>
                      <a:lnTo>
                        <a:pt x="500" y="421"/>
                      </a:lnTo>
                      <a:lnTo>
                        <a:pt x="487" y="406"/>
                      </a:lnTo>
                      <a:lnTo>
                        <a:pt x="484" y="399"/>
                      </a:lnTo>
                      <a:lnTo>
                        <a:pt x="490" y="381"/>
                      </a:lnTo>
                      <a:lnTo>
                        <a:pt x="496" y="374"/>
                      </a:lnTo>
                      <a:lnTo>
                        <a:pt x="491" y="363"/>
                      </a:lnTo>
                      <a:lnTo>
                        <a:pt x="484" y="359"/>
                      </a:lnTo>
                      <a:lnTo>
                        <a:pt x="484" y="352"/>
                      </a:lnTo>
                      <a:lnTo>
                        <a:pt x="486" y="334"/>
                      </a:lnTo>
                      <a:lnTo>
                        <a:pt x="490" y="327"/>
                      </a:lnTo>
                      <a:lnTo>
                        <a:pt x="488" y="317"/>
                      </a:lnTo>
                      <a:lnTo>
                        <a:pt x="495" y="288"/>
                      </a:lnTo>
                      <a:lnTo>
                        <a:pt x="491" y="282"/>
                      </a:lnTo>
                      <a:lnTo>
                        <a:pt x="497" y="276"/>
                      </a:lnTo>
                      <a:lnTo>
                        <a:pt x="502" y="264"/>
                      </a:lnTo>
                      <a:lnTo>
                        <a:pt x="503" y="248"/>
                      </a:lnTo>
                      <a:lnTo>
                        <a:pt x="491" y="248"/>
                      </a:lnTo>
                      <a:lnTo>
                        <a:pt x="485" y="241"/>
                      </a:lnTo>
                      <a:lnTo>
                        <a:pt x="476" y="239"/>
                      </a:lnTo>
                      <a:lnTo>
                        <a:pt x="473" y="248"/>
                      </a:lnTo>
                      <a:lnTo>
                        <a:pt x="466" y="249"/>
                      </a:lnTo>
                      <a:lnTo>
                        <a:pt x="459" y="242"/>
                      </a:lnTo>
                      <a:lnTo>
                        <a:pt x="463" y="234"/>
                      </a:lnTo>
                      <a:lnTo>
                        <a:pt x="452" y="232"/>
                      </a:lnTo>
                      <a:lnTo>
                        <a:pt x="459" y="219"/>
                      </a:lnTo>
                      <a:lnTo>
                        <a:pt x="460" y="195"/>
                      </a:lnTo>
                      <a:lnTo>
                        <a:pt x="470" y="192"/>
                      </a:lnTo>
                      <a:lnTo>
                        <a:pt x="476" y="185"/>
                      </a:lnTo>
                      <a:lnTo>
                        <a:pt x="479" y="168"/>
                      </a:lnTo>
                      <a:lnTo>
                        <a:pt x="473" y="162"/>
                      </a:lnTo>
                      <a:lnTo>
                        <a:pt x="466" y="147"/>
                      </a:lnTo>
                      <a:lnTo>
                        <a:pt x="467" y="124"/>
                      </a:lnTo>
                      <a:lnTo>
                        <a:pt x="476" y="117"/>
                      </a:lnTo>
                      <a:lnTo>
                        <a:pt x="477" y="108"/>
                      </a:lnTo>
                      <a:lnTo>
                        <a:pt x="470" y="91"/>
                      </a:lnTo>
                      <a:lnTo>
                        <a:pt x="456" y="83"/>
                      </a:lnTo>
                      <a:lnTo>
                        <a:pt x="446" y="85"/>
                      </a:lnTo>
                      <a:lnTo>
                        <a:pt x="439" y="85"/>
                      </a:lnTo>
                      <a:lnTo>
                        <a:pt x="435" y="74"/>
                      </a:lnTo>
                      <a:lnTo>
                        <a:pt x="395" y="77"/>
                      </a:lnTo>
                      <a:lnTo>
                        <a:pt x="387" y="73"/>
                      </a:lnTo>
                      <a:lnTo>
                        <a:pt x="373" y="69"/>
                      </a:lnTo>
                      <a:lnTo>
                        <a:pt x="353" y="56"/>
                      </a:lnTo>
                      <a:lnTo>
                        <a:pt x="358" y="44"/>
                      </a:lnTo>
                      <a:lnTo>
                        <a:pt x="345" y="42"/>
                      </a:lnTo>
                      <a:lnTo>
                        <a:pt x="341" y="39"/>
                      </a:lnTo>
                      <a:lnTo>
                        <a:pt x="331" y="26"/>
                      </a:lnTo>
                      <a:lnTo>
                        <a:pt x="316" y="32"/>
                      </a:lnTo>
                      <a:lnTo>
                        <a:pt x="311" y="31"/>
                      </a:lnTo>
                      <a:lnTo>
                        <a:pt x="306" y="17"/>
                      </a:lnTo>
                      <a:lnTo>
                        <a:pt x="303" y="15"/>
                      </a:lnTo>
                      <a:lnTo>
                        <a:pt x="288" y="13"/>
                      </a:lnTo>
                      <a:lnTo>
                        <a:pt x="292" y="2"/>
                      </a:lnTo>
                      <a:lnTo>
                        <a:pt x="289" y="0"/>
                      </a:lnTo>
                      <a:lnTo>
                        <a:pt x="276" y="3"/>
                      </a:lnTo>
                      <a:lnTo>
                        <a:pt x="271" y="18"/>
                      </a:lnTo>
                      <a:lnTo>
                        <a:pt x="254" y="28"/>
                      </a:lnTo>
                      <a:lnTo>
                        <a:pt x="254" y="51"/>
                      </a:lnTo>
                      <a:lnTo>
                        <a:pt x="245" y="51"/>
                      </a:lnTo>
                      <a:lnTo>
                        <a:pt x="218" y="70"/>
                      </a:lnTo>
                      <a:lnTo>
                        <a:pt x="200" y="78"/>
                      </a:lnTo>
                      <a:lnTo>
                        <a:pt x="184" y="81"/>
                      </a:lnTo>
                      <a:lnTo>
                        <a:pt x="170" y="71"/>
                      </a:lnTo>
                      <a:lnTo>
                        <a:pt x="155" y="68"/>
                      </a:lnTo>
                      <a:lnTo>
                        <a:pt x="130" y="66"/>
                      </a:lnTo>
                      <a:lnTo>
                        <a:pt x="121" y="64"/>
                      </a:lnTo>
                      <a:lnTo>
                        <a:pt x="105" y="69"/>
                      </a:lnTo>
                      <a:lnTo>
                        <a:pt x="105" y="73"/>
                      </a:lnTo>
                      <a:lnTo>
                        <a:pt x="96" y="86"/>
                      </a:lnTo>
                      <a:lnTo>
                        <a:pt x="74" y="95"/>
                      </a:lnTo>
                      <a:lnTo>
                        <a:pt x="60" y="94"/>
                      </a:lnTo>
                      <a:lnTo>
                        <a:pt x="47" y="95"/>
                      </a:lnTo>
                      <a:lnTo>
                        <a:pt x="37" y="102"/>
                      </a:lnTo>
                      <a:lnTo>
                        <a:pt x="36" y="123"/>
                      </a:lnTo>
                      <a:lnTo>
                        <a:pt x="50" y="147"/>
                      </a:lnTo>
                      <a:lnTo>
                        <a:pt x="51" y="152"/>
                      </a:lnTo>
                      <a:lnTo>
                        <a:pt x="58" y="156"/>
                      </a:lnTo>
                      <a:lnTo>
                        <a:pt x="66" y="164"/>
                      </a:lnTo>
                      <a:lnTo>
                        <a:pt x="78" y="186"/>
                      </a:lnTo>
                      <a:lnTo>
                        <a:pt x="89" y="200"/>
                      </a:lnTo>
                      <a:lnTo>
                        <a:pt x="95" y="203"/>
                      </a:lnTo>
                      <a:lnTo>
                        <a:pt x="103" y="199"/>
                      </a:lnTo>
                      <a:lnTo>
                        <a:pt x="107" y="203"/>
                      </a:lnTo>
                      <a:lnTo>
                        <a:pt x="100" y="213"/>
                      </a:lnTo>
                      <a:lnTo>
                        <a:pt x="98" y="227"/>
                      </a:lnTo>
                      <a:lnTo>
                        <a:pt x="100" y="231"/>
                      </a:lnTo>
                      <a:lnTo>
                        <a:pt x="115" y="258"/>
                      </a:lnTo>
                      <a:lnTo>
                        <a:pt x="110" y="256"/>
                      </a:lnTo>
                      <a:lnTo>
                        <a:pt x="103" y="259"/>
                      </a:lnTo>
                      <a:lnTo>
                        <a:pt x="99" y="274"/>
                      </a:lnTo>
                      <a:lnTo>
                        <a:pt x="122" y="301"/>
                      </a:lnTo>
                      <a:lnTo>
                        <a:pt x="130" y="305"/>
                      </a:lnTo>
                      <a:lnTo>
                        <a:pt x="139" y="312"/>
                      </a:lnTo>
                      <a:lnTo>
                        <a:pt x="141" y="322"/>
                      </a:lnTo>
                      <a:lnTo>
                        <a:pt x="135" y="326"/>
                      </a:lnTo>
                      <a:lnTo>
                        <a:pt x="126" y="327"/>
                      </a:lnTo>
                      <a:lnTo>
                        <a:pt x="121" y="335"/>
                      </a:lnTo>
                      <a:lnTo>
                        <a:pt x="132" y="348"/>
                      </a:lnTo>
                      <a:lnTo>
                        <a:pt x="126" y="355"/>
                      </a:lnTo>
                      <a:lnTo>
                        <a:pt x="141" y="369"/>
                      </a:lnTo>
                      <a:lnTo>
                        <a:pt x="148" y="377"/>
                      </a:lnTo>
                      <a:lnTo>
                        <a:pt x="146" y="387"/>
                      </a:lnTo>
                      <a:lnTo>
                        <a:pt x="132" y="394"/>
                      </a:lnTo>
                      <a:lnTo>
                        <a:pt x="135" y="408"/>
                      </a:lnTo>
                      <a:lnTo>
                        <a:pt x="139" y="409"/>
                      </a:lnTo>
                      <a:lnTo>
                        <a:pt x="142" y="420"/>
                      </a:lnTo>
                      <a:lnTo>
                        <a:pt x="140" y="424"/>
                      </a:lnTo>
                      <a:lnTo>
                        <a:pt x="130" y="434"/>
                      </a:lnTo>
                      <a:lnTo>
                        <a:pt x="111" y="443"/>
                      </a:lnTo>
                      <a:lnTo>
                        <a:pt x="117" y="450"/>
                      </a:lnTo>
                      <a:lnTo>
                        <a:pt x="117" y="461"/>
                      </a:lnTo>
                      <a:lnTo>
                        <a:pt x="114" y="462"/>
                      </a:lnTo>
                      <a:lnTo>
                        <a:pt x="83" y="466"/>
                      </a:lnTo>
                      <a:lnTo>
                        <a:pt x="43" y="466"/>
                      </a:lnTo>
                      <a:lnTo>
                        <a:pt x="24" y="469"/>
                      </a:lnTo>
                      <a:lnTo>
                        <a:pt x="24" y="475"/>
                      </a:lnTo>
                      <a:lnTo>
                        <a:pt x="19" y="481"/>
                      </a:lnTo>
                      <a:lnTo>
                        <a:pt x="3" y="484"/>
                      </a:lnTo>
                      <a:lnTo>
                        <a:pt x="0" y="487"/>
                      </a:lnTo>
                      <a:lnTo>
                        <a:pt x="6" y="501"/>
                      </a:lnTo>
                      <a:lnTo>
                        <a:pt x="24" y="511"/>
                      </a:lnTo>
                      <a:lnTo>
                        <a:pt x="16" y="516"/>
                      </a:lnTo>
                      <a:lnTo>
                        <a:pt x="15" y="526"/>
                      </a:lnTo>
                      <a:lnTo>
                        <a:pt x="21" y="530"/>
                      </a:lnTo>
                      <a:lnTo>
                        <a:pt x="24" y="540"/>
                      </a:lnTo>
                      <a:lnTo>
                        <a:pt x="20" y="550"/>
                      </a:lnTo>
                      <a:lnTo>
                        <a:pt x="8" y="559"/>
                      </a:lnTo>
                      <a:lnTo>
                        <a:pt x="7" y="580"/>
                      </a:lnTo>
                      <a:lnTo>
                        <a:pt x="10" y="593"/>
                      </a:lnTo>
                      <a:lnTo>
                        <a:pt x="33" y="623"/>
                      </a:lnTo>
                      <a:lnTo>
                        <a:pt x="37" y="631"/>
                      </a:lnTo>
                      <a:lnTo>
                        <a:pt x="38" y="644"/>
                      </a:lnTo>
                      <a:lnTo>
                        <a:pt x="47" y="659"/>
                      </a:lnTo>
                      <a:lnTo>
                        <a:pt x="52" y="662"/>
                      </a:lnTo>
                      <a:lnTo>
                        <a:pt x="84" y="663"/>
                      </a:lnTo>
                      <a:lnTo>
                        <a:pt x="90" y="667"/>
                      </a:lnTo>
                      <a:lnTo>
                        <a:pt x="102" y="669"/>
                      </a:lnTo>
                      <a:lnTo>
                        <a:pt x="106" y="672"/>
                      </a:lnTo>
                      <a:lnTo>
                        <a:pt x="123" y="679"/>
                      </a:lnTo>
                      <a:lnTo>
                        <a:pt x="124" y="689"/>
                      </a:lnTo>
                      <a:lnTo>
                        <a:pt x="114" y="688"/>
                      </a:lnTo>
                      <a:lnTo>
                        <a:pt x="114" y="693"/>
                      </a:lnTo>
                      <a:lnTo>
                        <a:pt x="126" y="715"/>
                      </a:lnTo>
                      <a:lnTo>
                        <a:pt x="125" y="722"/>
                      </a:lnTo>
                      <a:lnTo>
                        <a:pt x="134" y="741"/>
                      </a:lnTo>
                      <a:lnTo>
                        <a:pt x="132" y="750"/>
                      </a:lnTo>
                      <a:lnTo>
                        <a:pt x="135" y="762"/>
                      </a:lnTo>
                      <a:lnTo>
                        <a:pt x="144" y="766"/>
                      </a:lnTo>
                      <a:lnTo>
                        <a:pt x="191" y="772"/>
                      </a:lnTo>
                      <a:lnTo>
                        <a:pt x="204" y="772"/>
                      </a:lnTo>
                      <a:lnTo>
                        <a:pt x="231" y="776"/>
                      </a:lnTo>
                      <a:lnTo>
                        <a:pt x="240" y="778"/>
                      </a:lnTo>
                      <a:lnTo>
                        <a:pt x="256" y="790"/>
                      </a:lnTo>
                      <a:lnTo>
                        <a:pt x="265" y="806"/>
                      </a:lnTo>
                      <a:lnTo>
                        <a:pt x="284" y="831"/>
                      </a:lnTo>
                      <a:lnTo>
                        <a:pt x="276" y="844"/>
                      </a:lnTo>
                      <a:lnTo>
                        <a:pt x="249" y="856"/>
                      </a:lnTo>
                      <a:lnTo>
                        <a:pt x="250" y="859"/>
                      </a:lnTo>
                      <a:lnTo>
                        <a:pt x="267" y="869"/>
                      </a:lnTo>
                      <a:lnTo>
                        <a:pt x="277" y="883"/>
                      </a:lnTo>
                      <a:lnTo>
                        <a:pt x="280" y="896"/>
                      </a:lnTo>
                      <a:lnTo>
                        <a:pt x="278" y="907"/>
                      </a:lnTo>
                      <a:lnTo>
                        <a:pt x="288" y="915"/>
                      </a:lnTo>
                      <a:lnTo>
                        <a:pt x="304" y="917"/>
                      </a:lnTo>
                      <a:lnTo>
                        <a:pt x="310" y="913"/>
                      </a:lnTo>
                      <a:lnTo>
                        <a:pt x="327" y="913"/>
                      </a:lnTo>
                      <a:lnTo>
                        <a:pt x="346" y="912"/>
                      </a:lnTo>
                      <a:lnTo>
                        <a:pt x="352" y="911"/>
                      </a:lnTo>
                      <a:lnTo>
                        <a:pt x="362" y="917"/>
                      </a:lnTo>
                      <a:lnTo>
                        <a:pt x="363" y="928"/>
                      </a:lnTo>
                      <a:lnTo>
                        <a:pt x="371" y="942"/>
                      </a:lnTo>
                      <a:lnTo>
                        <a:pt x="373" y="947"/>
                      </a:lnTo>
                      <a:lnTo>
                        <a:pt x="380" y="952"/>
                      </a:lnTo>
                      <a:lnTo>
                        <a:pt x="383" y="949"/>
                      </a:lnTo>
                      <a:lnTo>
                        <a:pt x="414" y="947"/>
                      </a:lnTo>
                      <a:lnTo>
                        <a:pt x="421" y="952"/>
                      </a:lnTo>
                      <a:lnTo>
                        <a:pt x="441" y="963"/>
                      </a:lnTo>
                      <a:lnTo>
                        <a:pt x="446" y="972"/>
                      </a:lnTo>
                      <a:lnTo>
                        <a:pt x="456" y="977"/>
                      </a:lnTo>
                      <a:lnTo>
                        <a:pt x="470" y="981"/>
                      </a:lnTo>
                      <a:lnTo>
                        <a:pt x="478" y="979"/>
                      </a:lnTo>
                      <a:lnTo>
                        <a:pt x="495" y="985"/>
                      </a:lnTo>
                      <a:lnTo>
                        <a:pt x="503" y="980"/>
                      </a:lnTo>
                      <a:lnTo>
                        <a:pt x="506" y="981"/>
                      </a:lnTo>
                      <a:lnTo>
                        <a:pt x="520" y="992"/>
                      </a:lnTo>
                      <a:lnTo>
                        <a:pt x="524" y="988"/>
                      </a:lnTo>
                      <a:lnTo>
                        <a:pt x="524" y="980"/>
                      </a:lnTo>
                      <a:lnTo>
                        <a:pt x="533" y="967"/>
                      </a:lnTo>
                      <a:lnTo>
                        <a:pt x="540" y="954"/>
                      </a:lnTo>
                      <a:lnTo>
                        <a:pt x="535" y="945"/>
                      </a:lnTo>
                      <a:lnTo>
                        <a:pt x="530" y="943"/>
                      </a:lnTo>
                      <a:lnTo>
                        <a:pt x="531" y="932"/>
                      </a:lnTo>
                      <a:lnTo>
                        <a:pt x="535" y="923"/>
                      </a:lnTo>
                      <a:lnTo>
                        <a:pt x="534" y="918"/>
                      </a:lnTo>
                      <a:lnTo>
                        <a:pt x="522" y="917"/>
                      </a:lnTo>
                      <a:lnTo>
                        <a:pt x="516" y="904"/>
                      </a:lnTo>
                      <a:lnTo>
                        <a:pt x="507" y="894"/>
                      </a:lnTo>
                      <a:lnTo>
                        <a:pt x="508" y="881"/>
                      </a:lnTo>
                      <a:lnTo>
                        <a:pt x="498" y="874"/>
                      </a:lnTo>
                      <a:lnTo>
                        <a:pt x="499" y="847"/>
                      </a:lnTo>
                      <a:lnTo>
                        <a:pt x="493" y="840"/>
                      </a:lnTo>
                      <a:lnTo>
                        <a:pt x="489" y="822"/>
                      </a:lnTo>
                      <a:lnTo>
                        <a:pt x="492" y="811"/>
                      </a:lnTo>
                      <a:lnTo>
                        <a:pt x="502" y="806"/>
                      </a:lnTo>
                      <a:lnTo>
                        <a:pt x="497" y="782"/>
                      </a:lnTo>
                      <a:lnTo>
                        <a:pt x="497" y="774"/>
                      </a:lnTo>
                      <a:lnTo>
                        <a:pt x="493" y="757"/>
                      </a:lnTo>
                      <a:lnTo>
                        <a:pt x="493" y="751"/>
                      </a:lnTo>
                      <a:lnTo>
                        <a:pt x="502" y="732"/>
                      </a:lnTo>
                      <a:lnTo>
                        <a:pt x="502" y="710"/>
                      </a:lnTo>
                      <a:lnTo>
                        <a:pt x="509" y="704"/>
                      </a:lnTo>
                      <a:lnTo>
                        <a:pt x="513" y="694"/>
                      </a:lnTo>
                      <a:lnTo>
                        <a:pt x="522" y="699"/>
                      </a:lnTo>
                      <a:lnTo>
                        <a:pt x="531" y="699"/>
                      </a:lnTo>
                      <a:lnTo>
                        <a:pt x="549" y="692"/>
                      </a:lnTo>
                      <a:lnTo>
                        <a:pt x="571" y="689"/>
                      </a:lnTo>
                      <a:lnTo>
                        <a:pt x="574" y="676"/>
                      </a:lnTo>
                      <a:lnTo>
                        <a:pt x="601" y="676"/>
                      </a:lnTo>
                      <a:lnTo>
                        <a:pt x="605" y="679"/>
                      </a:lnTo>
                      <a:lnTo>
                        <a:pt x="633" y="674"/>
                      </a:lnTo>
                      <a:lnTo>
                        <a:pt x="638" y="676"/>
                      </a:lnTo>
                      <a:lnTo>
                        <a:pt x="644" y="673"/>
                      </a:lnTo>
                      <a:lnTo>
                        <a:pt x="655" y="659"/>
                      </a:lnTo>
                      <a:lnTo>
                        <a:pt x="666" y="660"/>
                      </a:lnTo>
                      <a:lnTo>
                        <a:pt x="675" y="664"/>
                      </a:lnTo>
                      <a:lnTo>
                        <a:pt x="681" y="661"/>
                      </a:lnTo>
                      <a:lnTo>
                        <a:pt x="696" y="648"/>
                      </a:lnTo>
                      <a:lnTo>
                        <a:pt x="698" y="645"/>
                      </a:lnTo>
                      <a:lnTo>
                        <a:pt x="707" y="643"/>
                      </a:lnTo>
                      <a:lnTo>
                        <a:pt x="711" y="651"/>
                      </a:lnTo>
                      <a:lnTo>
                        <a:pt x="734" y="664"/>
                      </a:lnTo>
                      <a:lnTo>
                        <a:pt x="739" y="663"/>
                      </a:lnTo>
                      <a:lnTo>
                        <a:pt x="754" y="668"/>
                      </a:lnTo>
                      <a:lnTo>
                        <a:pt x="760" y="670"/>
                      </a:lnTo>
                      <a:lnTo>
                        <a:pt x="766" y="659"/>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91" name="Sachsen" descr="{&quot;Key&quot;:&quot;sachsen&quot;,&quot;Name&quot;:&quot;Sachsen&quot;,&quot;Value&quot;:1.0,&quot;Formula&quot;:&quot;&quot;,&quot;Text&quot;:&quot;&quot;,&quot;OfficeApplication&quot;:1,&quot;HasValue&quot;:true}">
                  <a:extLst>
                    <a:ext uri="{FF2B5EF4-FFF2-40B4-BE49-F238E27FC236}">
                      <a16:creationId xmlns:a16="http://schemas.microsoft.com/office/drawing/2014/main" id="{F6E0CD61-B5BB-4A80-AE62-2B0BA1DDDE0D}"/>
                    </a:ext>
                  </a:extLst>
                </p:cNvPr>
                <p:cNvSpPr>
                  <a:spLocks/>
                </p:cNvSpPr>
                <p:nvPr/>
              </p:nvSpPr>
              <p:spPr bwMode="auto">
                <a:xfrm>
                  <a:off x="7114770" y="3448527"/>
                  <a:ext cx="1355408" cy="1043752"/>
                </a:xfrm>
                <a:custGeom>
                  <a:avLst/>
                  <a:gdLst>
                    <a:gd name="T0" fmla="*/ 270 w 922"/>
                    <a:gd name="T1" fmla="*/ 8 h 710"/>
                    <a:gd name="T2" fmla="*/ 240 w 922"/>
                    <a:gd name="T3" fmla="*/ 18 h 710"/>
                    <a:gd name="T4" fmla="*/ 203 w 922"/>
                    <a:gd name="T5" fmla="*/ 30 h 710"/>
                    <a:gd name="T6" fmla="*/ 160 w 922"/>
                    <a:gd name="T7" fmla="*/ 33 h 710"/>
                    <a:gd name="T8" fmla="*/ 90 w 922"/>
                    <a:gd name="T9" fmla="*/ 56 h 710"/>
                    <a:gd name="T10" fmla="*/ 61 w 922"/>
                    <a:gd name="T11" fmla="*/ 67 h 710"/>
                    <a:gd name="T12" fmla="*/ 56 w 922"/>
                    <a:gd name="T13" fmla="*/ 131 h 710"/>
                    <a:gd name="T14" fmla="*/ 48 w 922"/>
                    <a:gd name="T15" fmla="*/ 179 h 710"/>
                    <a:gd name="T16" fmla="*/ 67 w 922"/>
                    <a:gd name="T17" fmla="*/ 238 h 710"/>
                    <a:gd name="T18" fmla="*/ 93 w 922"/>
                    <a:gd name="T19" fmla="*/ 275 h 710"/>
                    <a:gd name="T20" fmla="*/ 199 w 922"/>
                    <a:gd name="T21" fmla="*/ 337 h 710"/>
                    <a:gd name="T22" fmla="*/ 201 w 922"/>
                    <a:gd name="T23" fmla="*/ 373 h 710"/>
                    <a:gd name="T24" fmla="*/ 147 w 922"/>
                    <a:gd name="T25" fmla="*/ 397 h 710"/>
                    <a:gd name="T26" fmla="*/ 108 w 922"/>
                    <a:gd name="T27" fmla="*/ 424 h 710"/>
                    <a:gd name="T28" fmla="*/ 105 w 922"/>
                    <a:gd name="T29" fmla="*/ 448 h 710"/>
                    <a:gd name="T30" fmla="*/ 104 w 922"/>
                    <a:gd name="T31" fmla="*/ 490 h 710"/>
                    <a:gd name="T32" fmla="*/ 71 w 922"/>
                    <a:gd name="T33" fmla="*/ 522 h 710"/>
                    <a:gd name="T34" fmla="*/ 43 w 922"/>
                    <a:gd name="T35" fmla="*/ 536 h 710"/>
                    <a:gd name="T36" fmla="*/ 7 w 922"/>
                    <a:gd name="T37" fmla="*/ 552 h 710"/>
                    <a:gd name="T38" fmla="*/ 5 w 922"/>
                    <a:gd name="T39" fmla="*/ 580 h 710"/>
                    <a:gd name="T40" fmla="*/ 13 w 922"/>
                    <a:gd name="T41" fmla="*/ 591 h 710"/>
                    <a:gd name="T42" fmla="*/ 45 w 922"/>
                    <a:gd name="T43" fmla="*/ 631 h 710"/>
                    <a:gd name="T44" fmla="*/ 87 w 922"/>
                    <a:gd name="T45" fmla="*/ 648 h 710"/>
                    <a:gd name="T46" fmla="*/ 109 w 922"/>
                    <a:gd name="T47" fmla="*/ 670 h 710"/>
                    <a:gd name="T48" fmla="*/ 124 w 922"/>
                    <a:gd name="T49" fmla="*/ 710 h 710"/>
                    <a:gd name="T50" fmla="*/ 137 w 922"/>
                    <a:gd name="T51" fmla="*/ 672 h 710"/>
                    <a:gd name="T52" fmla="*/ 176 w 922"/>
                    <a:gd name="T53" fmla="*/ 624 h 710"/>
                    <a:gd name="T54" fmla="*/ 221 w 922"/>
                    <a:gd name="T55" fmla="*/ 598 h 710"/>
                    <a:gd name="T56" fmla="*/ 270 w 922"/>
                    <a:gd name="T57" fmla="*/ 582 h 710"/>
                    <a:gd name="T58" fmla="*/ 334 w 922"/>
                    <a:gd name="T59" fmla="*/ 582 h 710"/>
                    <a:gd name="T60" fmla="*/ 352 w 922"/>
                    <a:gd name="T61" fmla="*/ 555 h 710"/>
                    <a:gd name="T62" fmla="*/ 392 w 922"/>
                    <a:gd name="T63" fmla="*/ 539 h 710"/>
                    <a:gd name="T64" fmla="*/ 428 w 922"/>
                    <a:gd name="T65" fmla="*/ 502 h 710"/>
                    <a:gd name="T66" fmla="*/ 453 w 922"/>
                    <a:gd name="T67" fmla="*/ 503 h 710"/>
                    <a:gd name="T68" fmla="*/ 478 w 922"/>
                    <a:gd name="T69" fmla="*/ 484 h 710"/>
                    <a:gd name="T70" fmla="*/ 496 w 922"/>
                    <a:gd name="T71" fmla="*/ 454 h 710"/>
                    <a:gd name="T72" fmla="*/ 560 w 922"/>
                    <a:gd name="T73" fmla="*/ 445 h 710"/>
                    <a:gd name="T74" fmla="*/ 593 w 922"/>
                    <a:gd name="T75" fmla="*/ 437 h 710"/>
                    <a:gd name="T76" fmla="*/ 638 w 922"/>
                    <a:gd name="T77" fmla="*/ 408 h 710"/>
                    <a:gd name="T78" fmla="*/ 730 w 922"/>
                    <a:gd name="T79" fmla="*/ 371 h 710"/>
                    <a:gd name="T80" fmla="*/ 719 w 922"/>
                    <a:gd name="T81" fmla="*/ 345 h 710"/>
                    <a:gd name="T82" fmla="*/ 697 w 922"/>
                    <a:gd name="T83" fmla="*/ 319 h 710"/>
                    <a:gd name="T84" fmla="*/ 728 w 922"/>
                    <a:gd name="T85" fmla="*/ 300 h 710"/>
                    <a:gd name="T86" fmla="*/ 766 w 922"/>
                    <a:gd name="T87" fmla="*/ 298 h 710"/>
                    <a:gd name="T88" fmla="*/ 797 w 922"/>
                    <a:gd name="T89" fmla="*/ 338 h 710"/>
                    <a:gd name="T90" fmla="*/ 814 w 922"/>
                    <a:gd name="T91" fmla="*/ 353 h 710"/>
                    <a:gd name="T92" fmla="*/ 839 w 922"/>
                    <a:gd name="T93" fmla="*/ 402 h 710"/>
                    <a:gd name="T94" fmla="*/ 874 w 922"/>
                    <a:gd name="T95" fmla="*/ 366 h 710"/>
                    <a:gd name="T96" fmla="*/ 908 w 922"/>
                    <a:gd name="T97" fmla="*/ 266 h 710"/>
                    <a:gd name="T98" fmla="*/ 918 w 922"/>
                    <a:gd name="T99" fmla="*/ 214 h 710"/>
                    <a:gd name="T100" fmla="*/ 908 w 922"/>
                    <a:gd name="T101" fmla="*/ 170 h 710"/>
                    <a:gd name="T102" fmla="*/ 892 w 922"/>
                    <a:gd name="T103" fmla="*/ 104 h 710"/>
                    <a:gd name="T104" fmla="*/ 825 w 922"/>
                    <a:gd name="T105" fmla="*/ 73 h 710"/>
                    <a:gd name="T106" fmla="*/ 782 w 922"/>
                    <a:gd name="T107" fmla="*/ 51 h 710"/>
                    <a:gd name="T108" fmla="*/ 707 w 922"/>
                    <a:gd name="T109" fmla="*/ 76 h 710"/>
                    <a:gd name="T110" fmla="*/ 652 w 922"/>
                    <a:gd name="T111" fmla="*/ 68 h 710"/>
                    <a:gd name="T112" fmla="*/ 621 w 922"/>
                    <a:gd name="T113" fmla="*/ 114 h 710"/>
                    <a:gd name="T114" fmla="*/ 540 w 922"/>
                    <a:gd name="T115" fmla="*/ 151 h 710"/>
                    <a:gd name="T116" fmla="*/ 460 w 922"/>
                    <a:gd name="T117" fmla="*/ 135 h 710"/>
                    <a:gd name="T118" fmla="*/ 383 w 922"/>
                    <a:gd name="T119" fmla="*/ 135 h 710"/>
                    <a:gd name="T120" fmla="*/ 365 w 922"/>
                    <a:gd name="T121" fmla="*/ 112 h 710"/>
                    <a:gd name="T122" fmla="*/ 356 w 922"/>
                    <a:gd name="T123" fmla="*/ 63 h 710"/>
                    <a:gd name="T124" fmla="*/ 319 w 922"/>
                    <a:gd name="T125" fmla="*/ 27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2" h="710">
                      <a:moveTo>
                        <a:pt x="313" y="25"/>
                      </a:moveTo>
                      <a:lnTo>
                        <a:pt x="298" y="20"/>
                      </a:lnTo>
                      <a:lnTo>
                        <a:pt x="293" y="21"/>
                      </a:lnTo>
                      <a:lnTo>
                        <a:pt x="270" y="8"/>
                      </a:lnTo>
                      <a:lnTo>
                        <a:pt x="266" y="0"/>
                      </a:lnTo>
                      <a:lnTo>
                        <a:pt x="257" y="2"/>
                      </a:lnTo>
                      <a:lnTo>
                        <a:pt x="255" y="5"/>
                      </a:lnTo>
                      <a:lnTo>
                        <a:pt x="240" y="18"/>
                      </a:lnTo>
                      <a:lnTo>
                        <a:pt x="234" y="21"/>
                      </a:lnTo>
                      <a:lnTo>
                        <a:pt x="225" y="17"/>
                      </a:lnTo>
                      <a:lnTo>
                        <a:pt x="214" y="16"/>
                      </a:lnTo>
                      <a:lnTo>
                        <a:pt x="203" y="30"/>
                      </a:lnTo>
                      <a:lnTo>
                        <a:pt x="197" y="33"/>
                      </a:lnTo>
                      <a:lnTo>
                        <a:pt x="192" y="31"/>
                      </a:lnTo>
                      <a:lnTo>
                        <a:pt x="164" y="36"/>
                      </a:lnTo>
                      <a:lnTo>
                        <a:pt x="160" y="33"/>
                      </a:lnTo>
                      <a:lnTo>
                        <a:pt x="133" y="33"/>
                      </a:lnTo>
                      <a:lnTo>
                        <a:pt x="130" y="46"/>
                      </a:lnTo>
                      <a:lnTo>
                        <a:pt x="108" y="49"/>
                      </a:lnTo>
                      <a:lnTo>
                        <a:pt x="90" y="56"/>
                      </a:lnTo>
                      <a:lnTo>
                        <a:pt x="81" y="56"/>
                      </a:lnTo>
                      <a:lnTo>
                        <a:pt x="72" y="51"/>
                      </a:lnTo>
                      <a:lnTo>
                        <a:pt x="68" y="61"/>
                      </a:lnTo>
                      <a:lnTo>
                        <a:pt x="61" y="67"/>
                      </a:lnTo>
                      <a:lnTo>
                        <a:pt x="61" y="89"/>
                      </a:lnTo>
                      <a:lnTo>
                        <a:pt x="52" y="108"/>
                      </a:lnTo>
                      <a:lnTo>
                        <a:pt x="52" y="114"/>
                      </a:lnTo>
                      <a:lnTo>
                        <a:pt x="56" y="131"/>
                      </a:lnTo>
                      <a:lnTo>
                        <a:pt x="56" y="139"/>
                      </a:lnTo>
                      <a:lnTo>
                        <a:pt x="61" y="163"/>
                      </a:lnTo>
                      <a:lnTo>
                        <a:pt x="51" y="168"/>
                      </a:lnTo>
                      <a:lnTo>
                        <a:pt x="48" y="179"/>
                      </a:lnTo>
                      <a:lnTo>
                        <a:pt x="52" y="197"/>
                      </a:lnTo>
                      <a:lnTo>
                        <a:pt x="58" y="204"/>
                      </a:lnTo>
                      <a:lnTo>
                        <a:pt x="57" y="231"/>
                      </a:lnTo>
                      <a:lnTo>
                        <a:pt x="67" y="238"/>
                      </a:lnTo>
                      <a:lnTo>
                        <a:pt x="66" y="251"/>
                      </a:lnTo>
                      <a:lnTo>
                        <a:pt x="75" y="261"/>
                      </a:lnTo>
                      <a:lnTo>
                        <a:pt x="81" y="274"/>
                      </a:lnTo>
                      <a:lnTo>
                        <a:pt x="93" y="275"/>
                      </a:lnTo>
                      <a:lnTo>
                        <a:pt x="113" y="274"/>
                      </a:lnTo>
                      <a:lnTo>
                        <a:pt x="160" y="287"/>
                      </a:lnTo>
                      <a:lnTo>
                        <a:pt x="177" y="325"/>
                      </a:lnTo>
                      <a:lnTo>
                        <a:pt x="199" y="337"/>
                      </a:lnTo>
                      <a:lnTo>
                        <a:pt x="207" y="349"/>
                      </a:lnTo>
                      <a:lnTo>
                        <a:pt x="214" y="366"/>
                      </a:lnTo>
                      <a:lnTo>
                        <a:pt x="203" y="376"/>
                      </a:lnTo>
                      <a:lnTo>
                        <a:pt x="201" y="373"/>
                      </a:lnTo>
                      <a:lnTo>
                        <a:pt x="173" y="371"/>
                      </a:lnTo>
                      <a:lnTo>
                        <a:pt x="172" y="375"/>
                      </a:lnTo>
                      <a:lnTo>
                        <a:pt x="160" y="382"/>
                      </a:lnTo>
                      <a:lnTo>
                        <a:pt x="147" y="397"/>
                      </a:lnTo>
                      <a:lnTo>
                        <a:pt x="135" y="396"/>
                      </a:lnTo>
                      <a:lnTo>
                        <a:pt x="99" y="413"/>
                      </a:lnTo>
                      <a:lnTo>
                        <a:pt x="99" y="418"/>
                      </a:lnTo>
                      <a:lnTo>
                        <a:pt x="108" y="424"/>
                      </a:lnTo>
                      <a:lnTo>
                        <a:pt x="109" y="428"/>
                      </a:lnTo>
                      <a:lnTo>
                        <a:pt x="101" y="433"/>
                      </a:lnTo>
                      <a:lnTo>
                        <a:pt x="96" y="444"/>
                      </a:lnTo>
                      <a:lnTo>
                        <a:pt x="105" y="448"/>
                      </a:lnTo>
                      <a:lnTo>
                        <a:pt x="108" y="465"/>
                      </a:lnTo>
                      <a:lnTo>
                        <a:pt x="122" y="469"/>
                      </a:lnTo>
                      <a:lnTo>
                        <a:pt x="113" y="483"/>
                      </a:lnTo>
                      <a:lnTo>
                        <a:pt x="104" y="490"/>
                      </a:lnTo>
                      <a:lnTo>
                        <a:pt x="83" y="490"/>
                      </a:lnTo>
                      <a:lnTo>
                        <a:pt x="74" y="501"/>
                      </a:lnTo>
                      <a:lnTo>
                        <a:pt x="75" y="512"/>
                      </a:lnTo>
                      <a:lnTo>
                        <a:pt x="71" y="522"/>
                      </a:lnTo>
                      <a:lnTo>
                        <a:pt x="63" y="523"/>
                      </a:lnTo>
                      <a:lnTo>
                        <a:pt x="56" y="521"/>
                      </a:lnTo>
                      <a:lnTo>
                        <a:pt x="52" y="522"/>
                      </a:lnTo>
                      <a:lnTo>
                        <a:pt x="43" y="536"/>
                      </a:lnTo>
                      <a:lnTo>
                        <a:pt x="36" y="535"/>
                      </a:lnTo>
                      <a:lnTo>
                        <a:pt x="33" y="530"/>
                      </a:lnTo>
                      <a:lnTo>
                        <a:pt x="25" y="529"/>
                      </a:lnTo>
                      <a:lnTo>
                        <a:pt x="7" y="552"/>
                      </a:lnTo>
                      <a:lnTo>
                        <a:pt x="8" y="558"/>
                      </a:lnTo>
                      <a:lnTo>
                        <a:pt x="12" y="561"/>
                      </a:lnTo>
                      <a:lnTo>
                        <a:pt x="11" y="578"/>
                      </a:lnTo>
                      <a:lnTo>
                        <a:pt x="5" y="580"/>
                      </a:lnTo>
                      <a:lnTo>
                        <a:pt x="0" y="587"/>
                      </a:lnTo>
                      <a:lnTo>
                        <a:pt x="2" y="591"/>
                      </a:lnTo>
                      <a:lnTo>
                        <a:pt x="10" y="590"/>
                      </a:lnTo>
                      <a:lnTo>
                        <a:pt x="13" y="591"/>
                      </a:lnTo>
                      <a:lnTo>
                        <a:pt x="19" y="601"/>
                      </a:lnTo>
                      <a:lnTo>
                        <a:pt x="26" y="605"/>
                      </a:lnTo>
                      <a:lnTo>
                        <a:pt x="29" y="621"/>
                      </a:lnTo>
                      <a:lnTo>
                        <a:pt x="45" y="631"/>
                      </a:lnTo>
                      <a:lnTo>
                        <a:pt x="62" y="635"/>
                      </a:lnTo>
                      <a:lnTo>
                        <a:pt x="65" y="639"/>
                      </a:lnTo>
                      <a:lnTo>
                        <a:pt x="79" y="640"/>
                      </a:lnTo>
                      <a:lnTo>
                        <a:pt x="87" y="648"/>
                      </a:lnTo>
                      <a:lnTo>
                        <a:pt x="88" y="656"/>
                      </a:lnTo>
                      <a:lnTo>
                        <a:pt x="97" y="664"/>
                      </a:lnTo>
                      <a:lnTo>
                        <a:pt x="106" y="664"/>
                      </a:lnTo>
                      <a:lnTo>
                        <a:pt x="109" y="670"/>
                      </a:lnTo>
                      <a:lnTo>
                        <a:pt x="106" y="677"/>
                      </a:lnTo>
                      <a:lnTo>
                        <a:pt x="116" y="692"/>
                      </a:lnTo>
                      <a:lnTo>
                        <a:pt x="120" y="705"/>
                      </a:lnTo>
                      <a:lnTo>
                        <a:pt x="124" y="710"/>
                      </a:lnTo>
                      <a:lnTo>
                        <a:pt x="133" y="708"/>
                      </a:lnTo>
                      <a:lnTo>
                        <a:pt x="130" y="692"/>
                      </a:lnTo>
                      <a:lnTo>
                        <a:pt x="130" y="685"/>
                      </a:lnTo>
                      <a:lnTo>
                        <a:pt x="137" y="672"/>
                      </a:lnTo>
                      <a:lnTo>
                        <a:pt x="138" y="664"/>
                      </a:lnTo>
                      <a:lnTo>
                        <a:pt x="147" y="655"/>
                      </a:lnTo>
                      <a:lnTo>
                        <a:pt x="155" y="638"/>
                      </a:lnTo>
                      <a:lnTo>
                        <a:pt x="176" y="624"/>
                      </a:lnTo>
                      <a:lnTo>
                        <a:pt x="176" y="615"/>
                      </a:lnTo>
                      <a:lnTo>
                        <a:pt x="187" y="603"/>
                      </a:lnTo>
                      <a:lnTo>
                        <a:pt x="199" y="600"/>
                      </a:lnTo>
                      <a:lnTo>
                        <a:pt x="221" y="598"/>
                      </a:lnTo>
                      <a:lnTo>
                        <a:pt x="245" y="597"/>
                      </a:lnTo>
                      <a:lnTo>
                        <a:pt x="251" y="587"/>
                      </a:lnTo>
                      <a:lnTo>
                        <a:pt x="264" y="581"/>
                      </a:lnTo>
                      <a:lnTo>
                        <a:pt x="270" y="582"/>
                      </a:lnTo>
                      <a:lnTo>
                        <a:pt x="281" y="579"/>
                      </a:lnTo>
                      <a:lnTo>
                        <a:pt x="311" y="596"/>
                      </a:lnTo>
                      <a:lnTo>
                        <a:pt x="321" y="597"/>
                      </a:lnTo>
                      <a:lnTo>
                        <a:pt x="334" y="582"/>
                      </a:lnTo>
                      <a:lnTo>
                        <a:pt x="335" y="574"/>
                      </a:lnTo>
                      <a:lnTo>
                        <a:pt x="336" y="554"/>
                      </a:lnTo>
                      <a:lnTo>
                        <a:pt x="343" y="552"/>
                      </a:lnTo>
                      <a:lnTo>
                        <a:pt x="352" y="555"/>
                      </a:lnTo>
                      <a:lnTo>
                        <a:pt x="365" y="552"/>
                      </a:lnTo>
                      <a:lnTo>
                        <a:pt x="381" y="552"/>
                      </a:lnTo>
                      <a:lnTo>
                        <a:pt x="388" y="546"/>
                      </a:lnTo>
                      <a:lnTo>
                        <a:pt x="392" y="539"/>
                      </a:lnTo>
                      <a:lnTo>
                        <a:pt x="401" y="512"/>
                      </a:lnTo>
                      <a:lnTo>
                        <a:pt x="417" y="518"/>
                      </a:lnTo>
                      <a:lnTo>
                        <a:pt x="424" y="515"/>
                      </a:lnTo>
                      <a:lnTo>
                        <a:pt x="428" y="502"/>
                      </a:lnTo>
                      <a:lnTo>
                        <a:pt x="438" y="495"/>
                      </a:lnTo>
                      <a:lnTo>
                        <a:pt x="441" y="490"/>
                      </a:lnTo>
                      <a:lnTo>
                        <a:pt x="444" y="491"/>
                      </a:lnTo>
                      <a:lnTo>
                        <a:pt x="453" y="503"/>
                      </a:lnTo>
                      <a:lnTo>
                        <a:pt x="460" y="506"/>
                      </a:lnTo>
                      <a:lnTo>
                        <a:pt x="466" y="505"/>
                      </a:lnTo>
                      <a:lnTo>
                        <a:pt x="480" y="487"/>
                      </a:lnTo>
                      <a:lnTo>
                        <a:pt x="478" y="484"/>
                      </a:lnTo>
                      <a:lnTo>
                        <a:pt x="487" y="474"/>
                      </a:lnTo>
                      <a:lnTo>
                        <a:pt x="487" y="468"/>
                      </a:lnTo>
                      <a:lnTo>
                        <a:pt x="483" y="461"/>
                      </a:lnTo>
                      <a:lnTo>
                        <a:pt x="496" y="454"/>
                      </a:lnTo>
                      <a:lnTo>
                        <a:pt x="509" y="450"/>
                      </a:lnTo>
                      <a:lnTo>
                        <a:pt x="537" y="450"/>
                      </a:lnTo>
                      <a:lnTo>
                        <a:pt x="553" y="445"/>
                      </a:lnTo>
                      <a:lnTo>
                        <a:pt x="560" y="445"/>
                      </a:lnTo>
                      <a:lnTo>
                        <a:pt x="574" y="446"/>
                      </a:lnTo>
                      <a:lnTo>
                        <a:pt x="579" y="445"/>
                      </a:lnTo>
                      <a:lnTo>
                        <a:pt x="591" y="439"/>
                      </a:lnTo>
                      <a:lnTo>
                        <a:pt x="593" y="437"/>
                      </a:lnTo>
                      <a:lnTo>
                        <a:pt x="595" y="418"/>
                      </a:lnTo>
                      <a:lnTo>
                        <a:pt x="604" y="419"/>
                      </a:lnTo>
                      <a:lnTo>
                        <a:pt x="620" y="407"/>
                      </a:lnTo>
                      <a:lnTo>
                        <a:pt x="638" y="408"/>
                      </a:lnTo>
                      <a:lnTo>
                        <a:pt x="683" y="387"/>
                      </a:lnTo>
                      <a:lnTo>
                        <a:pt x="695" y="372"/>
                      </a:lnTo>
                      <a:lnTo>
                        <a:pt x="706" y="370"/>
                      </a:lnTo>
                      <a:lnTo>
                        <a:pt x="730" y="371"/>
                      </a:lnTo>
                      <a:lnTo>
                        <a:pt x="738" y="364"/>
                      </a:lnTo>
                      <a:lnTo>
                        <a:pt x="739" y="353"/>
                      </a:lnTo>
                      <a:lnTo>
                        <a:pt x="730" y="348"/>
                      </a:lnTo>
                      <a:lnTo>
                        <a:pt x="719" y="345"/>
                      </a:lnTo>
                      <a:lnTo>
                        <a:pt x="711" y="337"/>
                      </a:lnTo>
                      <a:lnTo>
                        <a:pt x="708" y="327"/>
                      </a:lnTo>
                      <a:lnTo>
                        <a:pt x="694" y="323"/>
                      </a:lnTo>
                      <a:lnTo>
                        <a:pt x="697" y="319"/>
                      </a:lnTo>
                      <a:lnTo>
                        <a:pt x="700" y="305"/>
                      </a:lnTo>
                      <a:lnTo>
                        <a:pt x="707" y="298"/>
                      </a:lnTo>
                      <a:lnTo>
                        <a:pt x="717" y="297"/>
                      </a:lnTo>
                      <a:lnTo>
                        <a:pt x="728" y="300"/>
                      </a:lnTo>
                      <a:lnTo>
                        <a:pt x="737" y="309"/>
                      </a:lnTo>
                      <a:lnTo>
                        <a:pt x="749" y="305"/>
                      </a:lnTo>
                      <a:lnTo>
                        <a:pt x="760" y="306"/>
                      </a:lnTo>
                      <a:lnTo>
                        <a:pt x="766" y="298"/>
                      </a:lnTo>
                      <a:lnTo>
                        <a:pt x="770" y="308"/>
                      </a:lnTo>
                      <a:lnTo>
                        <a:pt x="785" y="316"/>
                      </a:lnTo>
                      <a:lnTo>
                        <a:pt x="796" y="326"/>
                      </a:lnTo>
                      <a:lnTo>
                        <a:pt x="797" y="338"/>
                      </a:lnTo>
                      <a:lnTo>
                        <a:pt x="791" y="357"/>
                      </a:lnTo>
                      <a:lnTo>
                        <a:pt x="794" y="360"/>
                      </a:lnTo>
                      <a:lnTo>
                        <a:pt x="810" y="353"/>
                      </a:lnTo>
                      <a:lnTo>
                        <a:pt x="814" y="353"/>
                      </a:lnTo>
                      <a:lnTo>
                        <a:pt x="816" y="358"/>
                      </a:lnTo>
                      <a:lnTo>
                        <a:pt x="810" y="376"/>
                      </a:lnTo>
                      <a:lnTo>
                        <a:pt x="811" y="388"/>
                      </a:lnTo>
                      <a:lnTo>
                        <a:pt x="839" y="402"/>
                      </a:lnTo>
                      <a:lnTo>
                        <a:pt x="861" y="403"/>
                      </a:lnTo>
                      <a:lnTo>
                        <a:pt x="871" y="382"/>
                      </a:lnTo>
                      <a:lnTo>
                        <a:pt x="870" y="373"/>
                      </a:lnTo>
                      <a:lnTo>
                        <a:pt x="874" y="366"/>
                      </a:lnTo>
                      <a:lnTo>
                        <a:pt x="884" y="354"/>
                      </a:lnTo>
                      <a:lnTo>
                        <a:pt x="897" y="319"/>
                      </a:lnTo>
                      <a:lnTo>
                        <a:pt x="908" y="286"/>
                      </a:lnTo>
                      <a:lnTo>
                        <a:pt x="908" y="266"/>
                      </a:lnTo>
                      <a:lnTo>
                        <a:pt x="913" y="258"/>
                      </a:lnTo>
                      <a:lnTo>
                        <a:pt x="913" y="240"/>
                      </a:lnTo>
                      <a:lnTo>
                        <a:pt x="915" y="226"/>
                      </a:lnTo>
                      <a:lnTo>
                        <a:pt x="918" y="214"/>
                      </a:lnTo>
                      <a:lnTo>
                        <a:pt x="922" y="204"/>
                      </a:lnTo>
                      <a:lnTo>
                        <a:pt x="920" y="187"/>
                      </a:lnTo>
                      <a:lnTo>
                        <a:pt x="915" y="179"/>
                      </a:lnTo>
                      <a:lnTo>
                        <a:pt x="908" y="170"/>
                      </a:lnTo>
                      <a:lnTo>
                        <a:pt x="901" y="157"/>
                      </a:lnTo>
                      <a:lnTo>
                        <a:pt x="893" y="117"/>
                      </a:lnTo>
                      <a:lnTo>
                        <a:pt x="896" y="111"/>
                      </a:lnTo>
                      <a:lnTo>
                        <a:pt x="892" y="104"/>
                      </a:lnTo>
                      <a:lnTo>
                        <a:pt x="874" y="92"/>
                      </a:lnTo>
                      <a:lnTo>
                        <a:pt x="860" y="88"/>
                      </a:lnTo>
                      <a:lnTo>
                        <a:pt x="846" y="79"/>
                      </a:lnTo>
                      <a:lnTo>
                        <a:pt x="825" y="73"/>
                      </a:lnTo>
                      <a:lnTo>
                        <a:pt x="818" y="67"/>
                      </a:lnTo>
                      <a:lnTo>
                        <a:pt x="817" y="61"/>
                      </a:lnTo>
                      <a:lnTo>
                        <a:pt x="804" y="61"/>
                      </a:lnTo>
                      <a:lnTo>
                        <a:pt x="782" y="51"/>
                      </a:lnTo>
                      <a:lnTo>
                        <a:pt x="770" y="50"/>
                      </a:lnTo>
                      <a:lnTo>
                        <a:pt x="757" y="54"/>
                      </a:lnTo>
                      <a:lnTo>
                        <a:pt x="719" y="73"/>
                      </a:lnTo>
                      <a:lnTo>
                        <a:pt x="707" y="76"/>
                      </a:lnTo>
                      <a:lnTo>
                        <a:pt x="697" y="69"/>
                      </a:lnTo>
                      <a:lnTo>
                        <a:pt x="685" y="65"/>
                      </a:lnTo>
                      <a:lnTo>
                        <a:pt x="671" y="63"/>
                      </a:lnTo>
                      <a:lnTo>
                        <a:pt x="652" y="68"/>
                      </a:lnTo>
                      <a:lnTo>
                        <a:pt x="637" y="78"/>
                      </a:lnTo>
                      <a:lnTo>
                        <a:pt x="627" y="93"/>
                      </a:lnTo>
                      <a:lnTo>
                        <a:pt x="624" y="104"/>
                      </a:lnTo>
                      <a:lnTo>
                        <a:pt x="621" y="114"/>
                      </a:lnTo>
                      <a:lnTo>
                        <a:pt x="606" y="138"/>
                      </a:lnTo>
                      <a:lnTo>
                        <a:pt x="601" y="146"/>
                      </a:lnTo>
                      <a:lnTo>
                        <a:pt x="591" y="146"/>
                      </a:lnTo>
                      <a:lnTo>
                        <a:pt x="540" y="151"/>
                      </a:lnTo>
                      <a:lnTo>
                        <a:pt x="494" y="148"/>
                      </a:lnTo>
                      <a:lnTo>
                        <a:pt x="479" y="144"/>
                      </a:lnTo>
                      <a:lnTo>
                        <a:pt x="465" y="143"/>
                      </a:lnTo>
                      <a:lnTo>
                        <a:pt x="460" y="135"/>
                      </a:lnTo>
                      <a:lnTo>
                        <a:pt x="444" y="124"/>
                      </a:lnTo>
                      <a:lnTo>
                        <a:pt x="430" y="118"/>
                      </a:lnTo>
                      <a:lnTo>
                        <a:pt x="416" y="123"/>
                      </a:lnTo>
                      <a:lnTo>
                        <a:pt x="383" y="135"/>
                      </a:lnTo>
                      <a:lnTo>
                        <a:pt x="373" y="126"/>
                      </a:lnTo>
                      <a:lnTo>
                        <a:pt x="364" y="135"/>
                      </a:lnTo>
                      <a:lnTo>
                        <a:pt x="359" y="123"/>
                      </a:lnTo>
                      <a:lnTo>
                        <a:pt x="365" y="112"/>
                      </a:lnTo>
                      <a:lnTo>
                        <a:pt x="365" y="96"/>
                      </a:lnTo>
                      <a:lnTo>
                        <a:pt x="367" y="82"/>
                      </a:lnTo>
                      <a:lnTo>
                        <a:pt x="362" y="67"/>
                      </a:lnTo>
                      <a:lnTo>
                        <a:pt x="356" y="63"/>
                      </a:lnTo>
                      <a:lnTo>
                        <a:pt x="344" y="40"/>
                      </a:lnTo>
                      <a:lnTo>
                        <a:pt x="338" y="41"/>
                      </a:lnTo>
                      <a:lnTo>
                        <a:pt x="322" y="27"/>
                      </a:lnTo>
                      <a:lnTo>
                        <a:pt x="319" y="27"/>
                      </a:lnTo>
                      <a:lnTo>
                        <a:pt x="313" y="25"/>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92" name="Brandenburg" descr="{&quot;Key&quot;:&quot;brandenburg&quot;,&quot;Name&quot;:&quot;Brandenburg&quot;,&quot;Value&quot;:1.0,&quot;Formula&quot;:&quot;&quot;,&quot;Text&quot;:&quot;&quot;,&quot;OfficeApplication&quot;:1,&quot;HasValue&quot;:true}">
                  <a:extLst>
                    <a:ext uri="{FF2B5EF4-FFF2-40B4-BE49-F238E27FC236}">
                      <a16:creationId xmlns:a16="http://schemas.microsoft.com/office/drawing/2014/main" id="{C62856A2-1CE9-4A78-91AA-8C83E160D720}"/>
                    </a:ext>
                  </a:extLst>
                </p:cNvPr>
                <p:cNvSpPr>
                  <a:spLocks noEditPoints="1"/>
                </p:cNvSpPr>
                <p:nvPr/>
              </p:nvSpPr>
              <p:spPr bwMode="auto">
                <a:xfrm>
                  <a:off x="6734020" y="2166623"/>
                  <a:ext cx="1595030" cy="1503886"/>
                </a:xfrm>
                <a:custGeom>
                  <a:avLst/>
                  <a:gdLst>
                    <a:gd name="T0" fmla="*/ 44 w 1085"/>
                    <a:gd name="T1" fmla="*/ 215 h 1023"/>
                    <a:gd name="T2" fmla="*/ 107 w 1085"/>
                    <a:gd name="T3" fmla="*/ 229 h 1023"/>
                    <a:gd name="T4" fmla="*/ 134 w 1085"/>
                    <a:gd name="T5" fmla="*/ 261 h 1023"/>
                    <a:gd name="T6" fmla="*/ 191 w 1085"/>
                    <a:gd name="T7" fmla="*/ 298 h 1023"/>
                    <a:gd name="T8" fmla="*/ 274 w 1085"/>
                    <a:gd name="T9" fmla="*/ 312 h 1023"/>
                    <a:gd name="T10" fmla="*/ 291 w 1085"/>
                    <a:gd name="T11" fmla="*/ 391 h 1023"/>
                    <a:gd name="T12" fmla="*/ 270 w 1085"/>
                    <a:gd name="T13" fmla="*/ 461 h 1023"/>
                    <a:gd name="T14" fmla="*/ 303 w 1085"/>
                    <a:gd name="T15" fmla="*/ 470 h 1023"/>
                    <a:gd name="T16" fmla="*/ 313 w 1085"/>
                    <a:gd name="T17" fmla="*/ 517 h 1023"/>
                    <a:gd name="T18" fmla="*/ 309 w 1085"/>
                    <a:gd name="T19" fmla="*/ 592 h 1023"/>
                    <a:gd name="T20" fmla="*/ 320 w 1085"/>
                    <a:gd name="T21" fmla="*/ 656 h 1023"/>
                    <a:gd name="T22" fmla="*/ 417 w 1085"/>
                    <a:gd name="T23" fmla="*/ 731 h 1023"/>
                    <a:gd name="T24" fmla="*/ 503 w 1085"/>
                    <a:gd name="T25" fmla="*/ 746 h 1023"/>
                    <a:gd name="T26" fmla="*/ 572 w 1085"/>
                    <a:gd name="T27" fmla="*/ 787 h 1023"/>
                    <a:gd name="T28" fmla="*/ 622 w 1085"/>
                    <a:gd name="T29" fmla="*/ 792 h 1023"/>
                    <a:gd name="T30" fmla="*/ 584 w 1085"/>
                    <a:gd name="T31" fmla="*/ 888 h 1023"/>
                    <a:gd name="T32" fmla="*/ 621 w 1085"/>
                    <a:gd name="T33" fmla="*/ 939 h 1023"/>
                    <a:gd name="T34" fmla="*/ 632 w 1085"/>
                    <a:gd name="T35" fmla="*/ 998 h 1023"/>
                    <a:gd name="T36" fmla="*/ 724 w 1085"/>
                    <a:gd name="T37" fmla="*/ 1015 h 1023"/>
                    <a:gd name="T38" fmla="*/ 865 w 1085"/>
                    <a:gd name="T39" fmla="*/ 1010 h 1023"/>
                    <a:gd name="T40" fmla="*/ 930 w 1085"/>
                    <a:gd name="T41" fmla="*/ 935 h 1023"/>
                    <a:gd name="T42" fmla="*/ 1029 w 1085"/>
                    <a:gd name="T43" fmla="*/ 922 h 1023"/>
                    <a:gd name="T44" fmla="*/ 1082 w 1085"/>
                    <a:gd name="T45" fmla="*/ 912 h 1023"/>
                    <a:gd name="T46" fmla="*/ 1052 w 1085"/>
                    <a:gd name="T47" fmla="*/ 850 h 1023"/>
                    <a:gd name="T48" fmla="*/ 1033 w 1085"/>
                    <a:gd name="T49" fmla="*/ 792 h 1023"/>
                    <a:gd name="T50" fmla="*/ 1068 w 1085"/>
                    <a:gd name="T51" fmla="*/ 693 h 1023"/>
                    <a:gd name="T52" fmla="*/ 1050 w 1085"/>
                    <a:gd name="T53" fmla="*/ 628 h 1023"/>
                    <a:gd name="T54" fmla="*/ 1014 w 1085"/>
                    <a:gd name="T55" fmla="*/ 583 h 1023"/>
                    <a:gd name="T56" fmla="*/ 1018 w 1085"/>
                    <a:gd name="T57" fmla="*/ 498 h 1023"/>
                    <a:gd name="T58" fmla="*/ 992 w 1085"/>
                    <a:gd name="T59" fmla="*/ 421 h 1023"/>
                    <a:gd name="T60" fmla="*/ 906 w 1085"/>
                    <a:gd name="T61" fmla="*/ 352 h 1023"/>
                    <a:gd name="T62" fmla="*/ 865 w 1085"/>
                    <a:gd name="T63" fmla="*/ 315 h 1023"/>
                    <a:gd name="T64" fmla="*/ 917 w 1085"/>
                    <a:gd name="T65" fmla="*/ 229 h 1023"/>
                    <a:gd name="T66" fmla="*/ 926 w 1085"/>
                    <a:gd name="T67" fmla="*/ 123 h 1023"/>
                    <a:gd name="T68" fmla="*/ 886 w 1085"/>
                    <a:gd name="T69" fmla="*/ 129 h 1023"/>
                    <a:gd name="T70" fmla="*/ 871 w 1085"/>
                    <a:gd name="T71" fmla="*/ 85 h 1023"/>
                    <a:gd name="T72" fmla="*/ 843 w 1085"/>
                    <a:gd name="T73" fmla="*/ 49 h 1023"/>
                    <a:gd name="T74" fmla="*/ 773 w 1085"/>
                    <a:gd name="T75" fmla="*/ 48 h 1023"/>
                    <a:gd name="T76" fmla="*/ 732 w 1085"/>
                    <a:gd name="T77" fmla="*/ 0 h 1023"/>
                    <a:gd name="T78" fmla="*/ 714 w 1085"/>
                    <a:gd name="T79" fmla="*/ 32 h 1023"/>
                    <a:gd name="T80" fmla="*/ 663 w 1085"/>
                    <a:gd name="T81" fmla="*/ 82 h 1023"/>
                    <a:gd name="T82" fmla="*/ 579 w 1085"/>
                    <a:gd name="T83" fmla="*/ 144 h 1023"/>
                    <a:gd name="T84" fmla="*/ 513 w 1085"/>
                    <a:gd name="T85" fmla="*/ 174 h 1023"/>
                    <a:gd name="T86" fmla="*/ 464 w 1085"/>
                    <a:gd name="T87" fmla="*/ 161 h 1023"/>
                    <a:gd name="T88" fmla="*/ 397 w 1085"/>
                    <a:gd name="T89" fmla="*/ 133 h 1023"/>
                    <a:gd name="T90" fmla="*/ 270 w 1085"/>
                    <a:gd name="T91" fmla="*/ 82 h 1023"/>
                    <a:gd name="T92" fmla="*/ 217 w 1085"/>
                    <a:gd name="T93" fmla="*/ 99 h 1023"/>
                    <a:gd name="T94" fmla="*/ 158 w 1085"/>
                    <a:gd name="T95" fmla="*/ 136 h 1023"/>
                    <a:gd name="T96" fmla="*/ 110 w 1085"/>
                    <a:gd name="T97" fmla="*/ 136 h 1023"/>
                    <a:gd name="T98" fmla="*/ 68 w 1085"/>
                    <a:gd name="T99" fmla="*/ 197 h 1023"/>
                    <a:gd name="T100" fmla="*/ 0 w 1085"/>
                    <a:gd name="T101" fmla="*/ 198 h 1023"/>
                    <a:gd name="T102" fmla="*/ 726 w 1085"/>
                    <a:gd name="T103" fmla="*/ 466 h 1023"/>
                    <a:gd name="T104" fmla="*/ 755 w 1085"/>
                    <a:gd name="T105" fmla="*/ 522 h 1023"/>
                    <a:gd name="T106" fmla="*/ 712 w 1085"/>
                    <a:gd name="T107" fmla="*/ 537 h 1023"/>
                    <a:gd name="T108" fmla="*/ 664 w 1085"/>
                    <a:gd name="T109" fmla="*/ 540 h 1023"/>
                    <a:gd name="T110" fmla="*/ 599 w 1085"/>
                    <a:gd name="T111" fmla="*/ 524 h 1023"/>
                    <a:gd name="T112" fmla="*/ 580 w 1085"/>
                    <a:gd name="T113" fmla="*/ 485 h 1023"/>
                    <a:gd name="T114" fmla="*/ 595 w 1085"/>
                    <a:gd name="T115" fmla="*/ 426 h 1023"/>
                    <a:gd name="T116" fmla="*/ 652 w 1085"/>
                    <a:gd name="T117" fmla="*/ 415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5" h="1023">
                      <a:moveTo>
                        <a:pt x="0" y="198"/>
                      </a:moveTo>
                      <a:lnTo>
                        <a:pt x="0" y="198"/>
                      </a:lnTo>
                      <a:lnTo>
                        <a:pt x="6" y="206"/>
                      </a:lnTo>
                      <a:lnTo>
                        <a:pt x="18" y="218"/>
                      </a:lnTo>
                      <a:lnTo>
                        <a:pt x="34" y="221"/>
                      </a:lnTo>
                      <a:lnTo>
                        <a:pt x="44" y="215"/>
                      </a:lnTo>
                      <a:lnTo>
                        <a:pt x="50" y="213"/>
                      </a:lnTo>
                      <a:lnTo>
                        <a:pt x="57" y="215"/>
                      </a:lnTo>
                      <a:lnTo>
                        <a:pt x="66" y="224"/>
                      </a:lnTo>
                      <a:lnTo>
                        <a:pt x="79" y="227"/>
                      </a:lnTo>
                      <a:lnTo>
                        <a:pt x="94" y="232"/>
                      </a:lnTo>
                      <a:lnTo>
                        <a:pt x="107" y="229"/>
                      </a:lnTo>
                      <a:lnTo>
                        <a:pt x="110" y="231"/>
                      </a:lnTo>
                      <a:lnTo>
                        <a:pt x="106" y="242"/>
                      </a:lnTo>
                      <a:lnTo>
                        <a:pt x="121" y="244"/>
                      </a:lnTo>
                      <a:lnTo>
                        <a:pt x="124" y="246"/>
                      </a:lnTo>
                      <a:lnTo>
                        <a:pt x="129" y="260"/>
                      </a:lnTo>
                      <a:lnTo>
                        <a:pt x="134" y="261"/>
                      </a:lnTo>
                      <a:lnTo>
                        <a:pt x="149" y="255"/>
                      </a:lnTo>
                      <a:lnTo>
                        <a:pt x="159" y="268"/>
                      </a:lnTo>
                      <a:lnTo>
                        <a:pt x="163" y="271"/>
                      </a:lnTo>
                      <a:lnTo>
                        <a:pt x="176" y="273"/>
                      </a:lnTo>
                      <a:lnTo>
                        <a:pt x="171" y="285"/>
                      </a:lnTo>
                      <a:lnTo>
                        <a:pt x="191" y="298"/>
                      </a:lnTo>
                      <a:lnTo>
                        <a:pt x="205" y="302"/>
                      </a:lnTo>
                      <a:lnTo>
                        <a:pt x="213" y="306"/>
                      </a:lnTo>
                      <a:lnTo>
                        <a:pt x="253" y="303"/>
                      </a:lnTo>
                      <a:lnTo>
                        <a:pt x="257" y="314"/>
                      </a:lnTo>
                      <a:lnTo>
                        <a:pt x="264" y="314"/>
                      </a:lnTo>
                      <a:lnTo>
                        <a:pt x="274" y="312"/>
                      </a:lnTo>
                      <a:lnTo>
                        <a:pt x="288" y="320"/>
                      </a:lnTo>
                      <a:lnTo>
                        <a:pt x="295" y="337"/>
                      </a:lnTo>
                      <a:lnTo>
                        <a:pt x="294" y="346"/>
                      </a:lnTo>
                      <a:lnTo>
                        <a:pt x="285" y="353"/>
                      </a:lnTo>
                      <a:lnTo>
                        <a:pt x="284" y="376"/>
                      </a:lnTo>
                      <a:lnTo>
                        <a:pt x="291" y="391"/>
                      </a:lnTo>
                      <a:lnTo>
                        <a:pt x="297" y="397"/>
                      </a:lnTo>
                      <a:lnTo>
                        <a:pt x="294" y="414"/>
                      </a:lnTo>
                      <a:lnTo>
                        <a:pt x="288" y="421"/>
                      </a:lnTo>
                      <a:lnTo>
                        <a:pt x="278" y="424"/>
                      </a:lnTo>
                      <a:lnTo>
                        <a:pt x="277" y="448"/>
                      </a:lnTo>
                      <a:lnTo>
                        <a:pt x="270" y="461"/>
                      </a:lnTo>
                      <a:lnTo>
                        <a:pt x="281" y="463"/>
                      </a:lnTo>
                      <a:lnTo>
                        <a:pt x="277" y="471"/>
                      </a:lnTo>
                      <a:lnTo>
                        <a:pt x="284" y="478"/>
                      </a:lnTo>
                      <a:lnTo>
                        <a:pt x="291" y="477"/>
                      </a:lnTo>
                      <a:lnTo>
                        <a:pt x="294" y="468"/>
                      </a:lnTo>
                      <a:lnTo>
                        <a:pt x="303" y="470"/>
                      </a:lnTo>
                      <a:lnTo>
                        <a:pt x="309" y="477"/>
                      </a:lnTo>
                      <a:lnTo>
                        <a:pt x="321" y="477"/>
                      </a:lnTo>
                      <a:lnTo>
                        <a:pt x="320" y="493"/>
                      </a:lnTo>
                      <a:lnTo>
                        <a:pt x="315" y="505"/>
                      </a:lnTo>
                      <a:lnTo>
                        <a:pt x="309" y="511"/>
                      </a:lnTo>
                      <a:lnTo>
                        <a:pt x="313" y="517"/>
                      </a:lnTo>
                      <a:lnTo>
                        <a:pt x="306" y="546"/>
                      </a:lnTo>
                      <a:lnTo>
                        <a:pt x="308" y="556"/>
                      </a:lnTo>
                      <a:lnTo>
                        <a:pt x="304" y="563"/>
                      </a:lnTo>
                      <a:lnTo>
                        <a:pt x="302" y="581"/>
                      </a:lnTo>
                      <a:lnTo>
                        <a:pt x="302" y="588"/>
                      </a:lnTo>
                      <a:lnTo>
                        <a:pt x="309" y="592"/>
                      </a:lnTo>
                      <a:lnTo>
                        <a:pt x="314" y="603"/>
                      </a:lnTo>
                      <a:lnTo>
                        <a:pt x="308" y="610"/>
                      </a:lnTo>
                      <a:lnTo>
                        <a:pt x="302" y="628"/>
                      </a:lnTo>
                      <a:lnTo>
                        <a:pt x="305" y="635"/>
                      </a:lnTo>
                      <a:lnTo>
                        <a:pt x="318" y="650"/>
                      </a:lnTo>
                      <a:lnTo>
                        <a:pt x="320" y="656"/>
                      </a:lnTo>
                      <a:lnTo>
                        <a:pt x="334" y="667"/>
                      </a:lnTo>
                      <a:lnTo>
                        <a:pt x="354" y="691"/>
                      </a:lnTo>
                      <a:lnTo>
                        <a:pt x="358" y="702"/>
                      </a:lnTo>
                      <a:lnTo>
                        <a:pt x="374" y="713"/>
                      </a:lnTo>
                      <a:lnTo>
                        <a:pt x="397" y="718"/>
                      </a:lnTo>
                      <a:lnTo>
                        <a:pt x="417" y="731"/>
                      </a:lnTo>
                      <a:lnTo>
                        <a:pt x="431" y="735"/>
                      </a:lnTo>
                      <a:lnTo>
                        <a:pt x="442" y="726"/>
                      </a:lnTo>
                      <a:lnTo>
                        <a:pt x="446" y="721"/>
                      </a:lnTo>
                      <a:lnTo>
                        <a:pt x="460" y="728"/>
                      </a:lnTo>
                      <a:lnTo>
                        <a:pt x="488" y="743"/>
                      </a:lnTo>
                      <a:lnTo>
                        <a:pt x="503" y="746"/>
                      </a:lnTo>
                      <a:lnTo>
                        <a:pt x="516" y="760"/>
                      </a:lnTo>
                      <a:lnTo>
                        <a:pt x="530" y="761"/>
                      </a:lnTo>
                      <a:lnTo>
                        <a:pt x="539" y="764"/>
                      </a:lnTo>
                      <a:lnTo>
                        <a:pt x="549" y="774"/>
                      </a:lnTo>
                      <a:lnTo>
                        <a:pt x="566" y="786"/>
                      </a:lnTo>
                      <a:lnTo>
                        <a:pt x="572" y="787"/>
                      </a:lnTo>
                      <a:lnTo>
                        <a:pt x="592" y="785"/>
                      </a:lnTo>
                      <a:lnTo>
                        <a:pt x="601" y="791"/>
                      </a:lnTo>
                      <a:lnTo>
                        <a:pt x="604" y="785"/>
                      </a:lnTo>
                      <a:lnTo>
                        <a:pt x="617" y="784"/>
                      </a:lnTo>
                      <a:lnTo>
                        <a:pt x="624" y="786"/>
                      </a:lnTo>
                      <a:lnTo>
                        <a:pt x="622" y="792"/>
                      </a:lnTo>
                      <a:lnTo>
                        <a:pt x="612" y="803"/>
                      </a:lnTo>
                      <a:lnTo>
                        <a:pt x="602" y="824"/>
                      </a:lnTo>
                      <a:lnTo>
                        <a:pt x="603" y="836"/>
                      </a:lnTo>
                      <a:lnTo>
                        <a:pt x="611" y="860"/>
                      </a:lnTo>
                      <a:lnTo>
                        <a:pt x="603" y="871"/>
                      </a:lnTo>
                      <a:lnTo>
                        <a:pt x="584" y="888"/>
                      </a:lnTo>
                      <a:lnTo>
                        <a:pt x="578" y="899"/>
                      </a:lnTo>
                      <a:lnTo>
                        <a:pt x="581" y="899"/>
                      </a:lnTo>
                      <a:lnTo>
                        <a:pt x="597" y="913"/>
                      </a:lnTo>
                      <a:lnTo>
                        <a:pt x="603" y="912"/>
                      </a:lnTo>
                      <a:lnTo>
                        <a:pt x="615" y="935"/>
                      </a:lnTo>
                      <a:lnTo>
                        <a:pt x="621" y="939"/>
                      </a:lnTo>
                      <a:lnTo>
                        <a:pt x="626" y="954"/>
                      </a:lnTo>
                      <a:lnTo>
                        <a:pt x="624" y="968"/>
                      </a:lnTo>
                      <a:lnTo>
                        <a:pt x="624" y="984"/>
                      </a:lnTo>
                      <a:lnTo>
                        <a:pt x="618" y="995"/>
                      </a:lnTo>
                      <a:lnTo>
                        <a:pt x="623" y="1007"/>
                      </a:lnTo>
                      <a:lnTo>
                        <a:pt x="632" y="998"/>
                      </a:lnTo>
                      <a:lnTo>
                        <a:pt x="642" y="1007"/>
                      </a:lnTo>
                      <a:lnTo>
                        <a:pt x="675" y="995"/>
                      </a:lnTo>
                      <a:lnTo>
                        <a:pt x="689" y="990"/>
                      </a:lnTo>
                      <a:lnTo>
                        <a:pt x="703" y="996"/>
                      </a:lnTo>
                      <a:lnTo>
                        <a:pt x="719" y="1007"/>
                      </a:lnTo>
                      <a:lnTo>
                        <a:pt x="724" y="1015"/>
                      </a:lnTo>
                      <a:lnTo>
                        <a:pt x="738" y="1016"/>
                      </a:lnTo>
                      <a:lnTo>
                        <a:pt x="753" y="1020"/>
                      </a:lnTo>
                      <a:lnTo>
                        <a:pt x="799" y="1023"/>
                      </a:lnTo>
                      <a:lnTo>
                        <a:pt x="850" y="1018"/>
                      </a:lnTo>
                      <a:lnTo>
                        <a:pt x="860" y="1018"/>
                      </a:lnTo>
                      <a:lnTo>
                        <a:pt x="865" y="1010"/>
                      </a:lnTo>
                      <a:lnTo>
                        <a:pt x="880" y="986"/>
                      </a:lnTo>
                      <a:lnTo>
                        <a:pt x="883" y="976"/>
                      </a:lnTo>
                      <a:lnTo>
                        <a:pt x="886" y="965"/>
                      </a:lnTo>
                      <a:lnTo>
                        <a:pt x="896" y="950"/>
                      </a:lnTo>
                      <a:lnTo>
                        <a:pt x="911" y="940"/>
                      </a:lnTo>
                      <a:lnTo>
                        <a:pt x="930" y="935"/>
                      </a:lnTo>
                      <a:lnTo>
                        <a:pt x="944" y="937"/>
                      </a:lnTo>
                      <a:lnTo>
                        <a:pt x="956" y="941"/>
                      </a:lnTo>
                      <a:lnTo>
                        <a:pt x="966" y="948"/>
                      </a:lnTo>
                      <a:lnTo>
                        <a:pt x="978" y="945"/>
                      </a:lnTo>
                      <a:lnTo>
                        <a:pt x="1016" y="926"/>
                      </a:lnTo>
                      <a:lnTo>
                        <a:pt x="1029" y="922"/>
                      </a:lnTo>
                      <a:lnTo>
                        <a:pt x="1041" y="923"/>
                      </a:lnTo>
                      <a:lnTo>
                        <a:pt x="1063" y="933"/>
                      </a:lnTo>
                      <a:lnTo>
                        <a:pt x="1076" y="933"/>
                      </a:lnTo>
                      <a:lnTo>
                        <a:pt x="1075" y="930"/>
                      </a:lnTo>
                      <a:lnTo>
                        <a:pt x="1077" y="921"/>
                      </a:lnTo>
                      <a:lnTo>
                        <a:pt x="1082" y="912"/>
                      </a:lnTo>
                      <a:lnTo>
                        <a:pt x="1085" y="903"/>
                      </a:lnTo>
                      <a:lnTo>
                        <a:pt x="1084" y="890"/>
                      </a:lnTo>
                      <a:lnTo>
                        <a:pt x="1080" y="878"/>
                      </a:lnTo>
                      <a:lnTo>
                        <a:pt x="1075" y="871"/>
                      </a:lnTo>
                      <a:lnTo>
                        <a:pt x="1060" y="859"/>
                      </a:lnTo>
                      <a:lnTo>
                        <a:pt x="1052" y="850"/>
                      </a:lnTo>
                      <a:lnTo>
                        <a:pt x="1048" y="838"/>
                      </a:lnTo>
                      <a:lnTo>
                        <a:pt x="1047" y="826"/>
                      </a:lnTo>
                      <a:lnTo>
                        <a:pt x="1037" y="817"/>
                      </a:lnTo>
                      <a:lnTo>
                        <a:pt x="1031" y="810"/>
                      </a:lnTo>
                      <a:lnTo>
                        <a:pt x="1029" y="800"/>
                      </a:lnTo>
                      <a:lnTo>
                        <a:pt x="1033" y="792"/>
                      </a:lnTo>
                      <a:lnTo>
                        <a:pt x="1049" y="775"/>
                      </a:lnTo>
                      <a:lnTo>
                        <a:pt x="1058" y="759"/>
                      </a:lnTo>
                      <a:lnTo>
                        <a:pt x="1059" y="750"/>
                      </a:lnTo>
                      <a:lnTo>
                        <a:pt x="1059" y="722"/>
                      </a:lnTo>
                      <a:lnTo>
                        <a:pt x="1066" y="706"/>
                      </a:lnTo>
                      <a:lnTo>
                        <a:pt x="1068" y="693"/>
                      </a:lnTo>
                      <a:lnTo>
                        <a:pt x="1075" y="682"/>
                      </a:lnTo>
                      <a:lnTo>
                        <a:pt x="1054" y="668"/>
                      </a:lnTo>
                      <a:lnTo>
                        <a:pt x="1050" y="662"/>
                      </a:lnTo>
                      <a:lnTo>
                        <a:pt x="1051" y="650"/>
                      </a:lnTo>
                      <a:lnTo>
                        <a:pt x="1055" y="635"/>
                      </a:lnTo>
                      <a:lnTo>
                        <a:pt x="1050" y="628"/>
                      </a:lnTo>
                      <a:lnTo>
                        <a:pt x="1055" y="618"/>
                      </a:lnTo>
                      <a:lnTo>
                        <a:pt x="1055" y="608"/>
                      </a:lnTo>
                      <a:lnTo>
                        <a:pt x="1049" y="600"/>
                      </a:lnTo>
                      <a:lnTo>
                        <a:pt x="1032" y="595"/>
                      </a:lnTo>
                      <a:lnTo>
                        <a:pt x="1021" y="590"/>
                      </a:lnTo>
                      <a:lnTo>
                        <a:pt x="1014" y="583"/>
                      </a:lnTo>
                      <a:lnTo>
                        <a:pt x="1015" y="574"/>
                      </a:lnTo>
                      <a:lnTo>
                        <a:pt x="1008" y="561"/>
                      </a:lnTo>
                      <a:lnTo>
                        <a:pt x="1000" y="540"/>
                      </a:lnTo>
                      <a:lnTo>
                        <a:pt x="996" y="522"/>
                      </a:lnTo>
                      <a:lnTo>
                        <a:pt x="1011" y="509"/>
                      </a:lnTo>
                      <a:lnTo>
                        <a:pt x="1018" y="498"/>
                      </a:lnTo>
                      <a:lnTo>
                        <a:pt x="1022" y="487"/>
                      </a:lnTo>
                      <a:lnTo>
                        <a:pt x="1020" y="482"/>
                      </a:lnTo>
                      <a:lnTo>
                        <a:pt x="1014" y="477"/>
                      </a:lnTo>
                      <a:lnTo>
                        <a:pt x="1016" y="466"/>
                      </a:lnTo>
                      <a:lnTo>
                        <a:pt x="1023" y="449"/>
                      </a:lnTo>
                      <a:lnTo>
                        <a:pt x="992" y="421"/>
                      </a:lnTo>
                      <a:lnTo>
                        <a:pt x="974" y="415"/>
                      </a:lnTo>
                      <a:lnTo>
                        <a:pt x="965" y="404"/>
                      </a:lnTo>
                      <a:lnTo>
                        <a:pt x="956" y="398"/>
                      </a:lnTo>
                      <a:lnTo>
                        <a:pt x="944" y="379"/>
                      </a:lnTo>
                      <a:lnTo>
                        <a:pt x="939" y="374"/>
                      </a:lnTo>
                      <a:lnTo>
                        <a:pt x="906" y="352"/>
                      </a:lnTo>
                      <a:lnTo>
                        <a:pt x="897" y="347"/>
                      </a:lnTo>
                      <a:lnTo>
                        <a:pt x="886" y="337"/>
                      </a:lnTo>
                      <a:lnTo>
                        <a:pt x="867" y="332"/>
                      </a:lnTo>
                      <a:lnTo>
                        <a:pt x="862" y="329"/>
                      </a:lnTo>
                      <a:lnTo>
                        <a:pt x="858" y="322"/>
                      </a:lnTo>
                      <a:lnTo>
                        <a:pt x="865" y="315"/>
                      </a:lnTo>
                      <a:lnTo>
                        <a:pt x="868" y="310"/>
                      </a:lnTo>
                      <a:lnTo>
                        <a:pt x="861" y="271"/>
                      </a:lnTo>
                      <a:lnTo>
                        <a:pt x="874" y="261"/>
                      </a:lnTo>
                      <a:lnTo>
                        <a:pt x="892" y="252"/>
                      </a:lnTo>
                      <a:lnTo>
                        <a:pt x="908" y="239"/>
                      </a:lnTo>
                      <a:lnTo>
                        <a:pt x="917" y="229"/>
                      </a:lnTo>
                      <a:lnTo>
                        <a:pt x="928" y="191"/>
                      </a:lnTo>
                      <a:lnTo>
                        <a:pt x="922" y="170"/>
                      </a:lnTo>
                      <a:lnTo>
                        <a:pt x="925" y="158"/>
                      </a:lnTo>
                      <a:lnTo>
                        <a:pt x="932" y="150"/>
                      </a:lnTo>
                      <a:lnTo>
                        <a:pt x="939" y="135"/>
                      </a:lnTo>
                      <a:lnTo>
                        <a:pt x="926" y="123"/>
                      </a:lnTo>
                      <a:lnTo>
                        <a:pt x="924" y="106"/>
                      </a:lnTo>
                      <a:lnTo>
                        <a:pt x="921" y="97"/>
                      </a:lnTo>
                      <a:lnTo>
                        <a:pt x="902" y="109"/>
                      </a:lnTo>
                      <a:lnTo>
                        <a:pt x="895" y="119"/>
                      </a:lnTo>
                      <a:lnTo>
                        <a:pt x="887" y="122"/>
                      </a:lnTo>
                      <a:lnTo>
                        <a:pt x="886" y="129"/>
                      </a:lnTo>
                      <a:lnTo>
                        <a:pt x="881" y="132"/>
                      </a:lnTo>
                      <a:lnTo>
                        <a:pt x="861" y="130"/>
                      </a:lnTo>
                      <a:lnTo>
                        <a:pt x="838" y="126"/>
                      </a:lnTo>
                      <a:lnTo>
                        <a:pt x="837" y="116"/>
                      </a:lnTo>
                      <a:lnTo>
                        <a:pt x="861" y="101"/>
                      </a:lnTo>
                      <a:lnTo>
                        <a:pt x="871" y="85"/>
                      </a:lnTo>
                      <a:lnTo>
                        <a:pt x="874" y="75"/>
                      </a:lnTo>
                      <a:lnTo>
                        <a:pt x="875" y="66"/>
                      </a:lnTo>
                      <a:lnTo>
                        <a:pt x="874" y="54"/>
                      </a:lnTo>
                      <a:lnTo>
                        <a:pt x="867" y="53"/>
                      </a:lnTo>
                      <a:lnTo>
                        <a:pt x="854" y="54"/>
                      </a:lnTo>
                      <a:lnTo>
                        <a:pt x="843" y="49"/>
                      </a:lnTo>
                      <a:lnTo>
                        <a:pt x="836" y="49"/>
                      </a:lnTo>
                      <a:lnTo>
                        <a:pt x="831" y="58"/>
                      </a:lnTo>
                      <a:lnTo>
                        <a:pt x="817" y="54"/>
                      </a:lnTo>
                      <a:lnTo>
                        <a:pt x="799" y="53"/>
                      </a:lnTo>
                      <a:lnTo>
                        <a:pt x="778" y="54"/>
                      </a:lnTo>
                      <a:lnTo>
                        <a:pt x="773" y="48"/>
                      </a:lnTo>
                      <a:lnTo>
                        <a:pt x="771" y="41"/>
                      </a:lnTo>
                      <a:lnTo>
                        <a:pt x="762" y="26"/>
                      </a:lnTo>
                      <a:lnTo>
                        <a:pt x="760" y="16"/>
                      </a:lnTo>
                      <a:lnTo>
                        <a:pt x="746" y="11"/>
                      </a:lnTo>
                      <a:lnTo>
                        <a:pt x="738" y="1"/>
                      </a:lnTo>
                      <a:lnTo>
                        <a:pt x="732" y="0"/>
                      </a:lnTo>
                      <a:lnTo>
                        <a:pt x="733" y="9"/>
                      </a:lnTo>
                      <a:lnTo>
                        <a:pt x="741" y="21"/>
                      </a:lnTo>
                      <a:lnTo>
                        <a:pt x="743" y="27"/>
                      </a:lnTo>
                      <a:lnTo>
                        <a:pt x="735" y="31"/>
                      </a:lnTo>
                      <a:lnTo>
                        <a:pt x="724" y="30"/>
                      </a:lnTo>
                      <a:lnTo>
                        <a:pt x="714" y="32"/>
                      </a:lnTo>
                      <a:lnTo>
                        <a:pt x="696" y="46"/>
                      </a:lnTo>
                      <a:lnTo>
                        <a:pt x="692" y="55"/>
                      </a:lnTo>
                      <a:lnTo>
                        <a:pt x="685" y="61"/>
                      </a:lnTo>
                      <a:lnTo>
                        <a:pt x="675" y="62"/>
                      </a:lnTo>
                      <a:lnTo>
                        <a:pt x="664" y="73"/>
                      </a:lnTo>
                      <a:lnTo>
                        <a:pt x="663" y="82"/>
                      </a:lnTo>
                      <a:lnTo>
                        <a:pt x="655" y="104"/>
                      </a:lnTo>
                      <a:lnTo>
                        <a:pt x="630" y="125"/>
                      </a:lnTo>
                      <a:lnTo>
                        <a:pt x="601" y="118"/>
                      </a:lnTo>
                      <a:lnTo>
                        <a:pt x="593" y="118"/>
                      </a:lnTo>
                      <a:lnTo>
                        <a:pt x="584" y="127"/>
                      </a:lnTo>
                      <a:lnTo>
                        <a:pt x="579" y="144"/>
                      </a:lnTo>
                      <a:lnTo>
                        <a:pt x="571" y="144"/>
                      </a:lnTo>
                      <a:lnTo>
                        <a:pt x="556" y="132"/>
                      </a:lnTo>
                      <a:lnTo>
                        <a:pt x="544" y="142"/>
                      </a:lnTo>
                      <a:lnTo>
                        <a:pt x="542" y="148"/>
                      </a:lnTo>
                      <a:lnTo>
                        <a:pt x="526" y="161"/>
                      </a:lnTo>
                      <a:lnTo>
                        <a:pt x="513" y="174"/>
                      </a:lnTo>
                      <a:lnTo>
                        <a:pt x="505" y="176"/>
                      </a:lnTo>
                      <a:lnTo>
                        <a:pt x="498" y="173"/>
                      </a:lnTo>
                      <a:lnTo>
                        <a:pt x="499" y="162"/>
                      </a:lnTo>
                      <a:lnTo>
                        <a:pt x="492" y="164"/>
                      </a:lnTo>
                      <a:lnTo>
                        <a:pt x="468" y="165"/>
                      </a:lnTo>
                      <a:lnTo>
                        <a:pt x="464" y="161"/>
                      </a:lnTo>
                      <a:lnTo>
                        <a:pt x="455" y="160"/>
                      </a:lnTo>
                      <a:lnTo>
                        <a:pt x="440" y="162"/>
                      </a:lnTo>
                      <a:lnTo>
                        <a:pt x="436" y="161"/>
                      </a:lnTo>
                      <a:lnTo>
                        <a:pt x="433" y="148"/>
                      </a:lnTo>
                      <a:lnTo>
                        <a:pt x="411" y="143"/>
                      </a:lnTo>
                      <a:lnTo>
                        <a:pt x="397" y="133"/>
                      </a:lnTo>
                      <a:lnTo>
                        <a:pt x="365" y="126"/>
                      </a:lnTo>
                      <a:lnTo>
                        <a:pt x="345" y="128"/>
                      </a:lnTo>
                      <a:lnTo>
                        <a:pt x="311" y="105"/>
                      </a:lnTo>
                      <a:lnTo>
                        <a:pt x="299" y="99"/>
                      </a:lnTo>
                      <a:lnTo>
                        <a:pt x="277" y="93"/>
                      </a:lnTo>
                      <a:lnTo>
                        <a:pt x="270" y="82"/>
                      </a:lnTo>
                      <a:lnTo>
                        <a:pt x="263" y="82"/>
                      </a:lnTo>
                      <a:lnTo>
                        <a:pt x="252" y="88"/>
                      </a:lnTo>
                      <a:lnTo>
                        <a:pt x="248" y="82"/>
                      </a:lnTo>
                      <a:lnTo>
                        <a:pt x="228" y="87"/>
                      </a:lnTo>
                      <a:lnTo>
                        <a:pt x="225" y="94"/>
                      </a:lnTo>
                      <a:lnTo>
                        <a:pt x="217" y="99"/>
                      </a:lnTo>
                      <a:lnTo>
                        <a:pt x="215" y="113"/>
                      </a:lnTo>
                      <a:lnTo>
                        <a:pt x="200" y="123"/>
                      </a:lnTo>
                      <a:lnTo>
                        <a:pt x="194" y="121"/>
                      </a:lnTo>
                      <a:lnTo>
                        <a:pt x="178" y="127"/>
                      </a:lnTo>
                      <a:lnTo>
                        <a:pt x="171" y="135"/>
                      </a:lnTo>
                      <a:lnTo>
                        <a:pt x="158" y="136"/>
                      </a:lnTo>
                      <a:lnTo>
                        <a:pt x="164" y="140"/>
                      </a:lnTo>
                      <a:lnTo>
                        <a:pt x="166" y="147"/>
                      </a:lnTo>
                      <a:lnTo>
                        <a:pt x="144" y="149"/>
                      </a:lnTo>
                      <a:lnTo>
                        <a:pt x="137" y="152"/>
                      </a:lnTo>
                      <a:lnTo>
                        <a:pt x="133" y="144"/>
                      </a:lnTo>
                      <a:lnTo>
                        <a:pt x="110" y="136"/>
                      </a:lnTo>
                      <a:lnTo>
                        <a:pt x="94" y="142"/>
                      </a:lnTo>
                      <a:lnTo>
                        <a:pt x="88" y="145"/>
                      </a:lnTo>
                      <a:lnTo>
                        <a:pt x="76" y="157"/>
                      </a:lnTo>
                      <a:lnTo>
                        <a:pt x="81" y="192"/>
                      </a:lnTo>
                      <a:lnTo>
                        <a:pt x="76" y="196"/>
                      </a:lnTo>
                      <a:lnTo>
                        <a:pt x="68" y="197"/>
                      </a:lnTo>
                      <a:lnTo>
                        <a:pt x="51" y="188"/>
                      </a:lnTo>
                      <a:lnTo>
                        <a:pt x="41" y="188"/>
                      </a:lnTo>
                      <a:lnTo>
                        <a:pt x="37" y="190"/>
                      </a:lnTo>
                      <a:lnTo>
                        <a:pt x="36" y="202"/>
                      </a:lnTo>
                      <a:lnTo>
                        <a:pt x="23" y="198"/>
                      </a:lnTo>
                      <a:lnTo>
                        <a:pt x="0" y="198"/>
                      </a:lnTo>
                      <a:lnTo>
                        <a:pt x="0" y="198"/>
                      </a:lnTo>
                      <a:close/>
                      <a:moveTo>
                        <a:pt x="678" y="418"/>
                      </a:moveTo>
                      <a:lnTo>
                        <a:pt x="680" y="434"/>
                      </a:lnTo>
                      <a:lnTo>
                        <a:pt x="701" y="455"/>
                      </a:lnTo>
                      <a:lnTo>
                        <a:pt x="719" y="466"/>
                      </a:lnTo>
                      <a:lnTo>
                        <a:pt x="726" y="466"/>
                      </a:lnTo>
                      <a:lnTo>
                        <a:pt x="726" y="471"/>
                      </a:lnTo>
                      <a:lnTo>
                        <a:pt x="721" y="491"/>
                      </a:lnTo>
                      <a:lnTo>
                        <a:pt x="732" y="490"/>
                      </a:lnTo>
                      <a:lnTo>
                        <a:pt x="742" y="499"/>
                      </a:lnTo>
                      <a:lnTo>
                        <a:pt x="755" y="504"/>
                      </a:lnTo>
                      <a:lnTo>
                        <a:pt x="755" y="522"/>
                      </a:lnTo>
                      <a:lnTo>
                        <a:pt x="750" y="527"/>
                      </a:lnTo>
                      <a:lnTo>
                        <a:pt x="748" y="544"/>
                      </a:lnTo>
                      <a:lnTo>
                        <a:pt x="739" y="549"/>
                      </a:lnTo>
                      <a:lnTo>
                        <a:pt x="734" y="558"/>
                      </a:lnTo>
                      <a:lnTo>
                        <a:pt x="726" y="540"/>
                      </a:lnTo>
                      <a:lnTo>
                        <a:pt x="712" y="537"/>
                      </a:lnTo>
                      <a:lnTo>
                        <a:pt x="705" y="533"/>
                      </a:lnTo>
                      <a:lnTo>
                        <a:pt x="692" y="529"/>
                      </a:lnTo>
                      <a:lnTo>
                        <a:pt x="680" y="532"/>
                      </a:lnTo>
                      <a:lnTo>
                        <a:pt x="670" y="524"/>
                      </a:lnTo>
                      <a:lnTo>
                        <a:pt x="665" y="526"/>
                      </a:lnTo>
                      <a:lnTo>
                        <a:pt x="664" y="540"/>
                      </a:lnTo>
                      <a:lnTo>
                        <a:pt x="655" y="540"/>
                      </a:lnTo>
                      <a:lnTo>
                        <a:pt x="637" y="529"/>
                      </a:lnTo>
                      <a:lnTo>
                        <a:pt x="630" y="531"/>
                      </a:lnTo>
                      <a:lnTo>
                        <a:pt x="622" y="526"/>
                      </a:lnTo>
                      <a:lnTo>
                        <a:pt x="613" y="529"/>
                      </a:lnTo>
                      <a:lnTo>
                        <a:pt x="599" y="524"/>
                      </a:lnTo>
                      <a:lnTo>
                        <a:pt x="588" y="529"/>
                      </a:lnTo>
                      <a:lnTo>
                        <a:pt x="583" y="533"/>
                      </a:lnTo>
                      <a:lnTo>
                        <a:pt x="564" y="526"/>
                      </a:lnTo>
                      <a:lnTo>
                        <a:pt x="568" y="514"/>
                      </a:lnTo>
                      <a:lnTo>
                        <a:pt x="568" y="499"/>
                      </a:lnTo>
                      <a:lnTo>
                        <a:pt x="580" y="485"/>
                      </a:lnTo>
                      <a:lnTo>
                        <a:pt x="575" y="474"/>
                      </a:lnTo>
                      <a:lnTo>
                        <a:pt x="576" y="439"/>
                      </a:lnTo>
                      <a:lnTo>
                        <a:pt x="579" y="439"/>
                      </a:lnTo>
                      <a:lnTo>
                        <a:pt x="595" y="444"/>
                      </a:lnTo>
                      <a:lnTo>
                        <a:pt x="593" y="434"/>
                      </a:lnTo>
                      <a:lnTo>
                        <a:pt x="595" y="426"/>
                      </a:lnTo>
                      <a:lnTo>
                        <a:pt x="612" y="415"/>
                      </a:lnTo>
                      <a:lnTo>
                        <a:pt x="618" y="415"/>
                      </a:lnTo>
                      <a:lnTo>
                        <a:pt x="620" y="422"/>
                      </a:lnTo>
                      <a:lnTo>
                        <a:pt x="627" y="426"/>
                      </a:lnTo>
                      <a:lnTo>
                        <a:pt x="645" y="421"/>
                      </a:lnTo>
                      <a:lnTo>
                        <a:pt x="652" y="415"/>
                      </a:lnTo>
                      <a:lnTo>
                        <a:pt x="662" y="415"/>
                      </a:lnTo>
                      <a:lnTo>
                        <a:pt x="678" y="418"/>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sp>
              <p:nvSpPr>
                <p:cNvPr id="2393" name="Mecklenburg-Vorpommern" descr="{&quot;Key&quot;:&quot;mecklenburg-vorpommern&quot;,&quot;Name&quot;:&quot;Mecklenburg-Vorpommern&quot;,&quot;Value&quot;:1.0,&quot;Formula&quot;:&quot;&quot;,&quot;Text&quot;:&quot;&quot;,&quot;OfficeApplication&quot;:1,&quot;HasValue&quot;:true}">
                  <a:extLst>
                    <a:ext uri="{FF2B5EF4-FFF2-40B4-BE49-F238E27FC236}">
                      <a16:creationId xmlns:a16="http://schemas.microsoft.com/office/drawing/2014/main" id="{29A99331-DC77-4829-843D-9C22AB5D1183}"/>
                    </a:ext>
                  </a:extLst>
                </p:cNvPr>
                <p:cNvSpPr>
                  <a:spLocks noEditPoints="1"/>
                </p:cNvSpPr>
                <p:nvPr/>
              </p:nvSpPr>
              <p:spPr bwMode="auto">
                <a:xfrm>
                  <a:off x="6429716" y="1388953"/>
                  <a:ext cx="1658243" cy="1074624"/>
                </a:xfrm>
                <a:custGeom>
                  <a:avLst/>
                  <a:gdLst>
                    <a:gd name="T0" fmla="*/ 239 w 1128"/>
                    <a:gd name="T1" fmla="*/ 335 h 731"/>
                    <a:gd name="T2" fmla="*/ 261 w 1128"/>
                    <a:gd name="T3" fmla="*/ 291 h 731"/>
                    <a:gd name="T4" fmla="*/ 928 w 1128"/>
                    <a:gd name="T5" fmla="*/ 263 h 731"/>
                    <a:gd name="T6" fmla="*/ 947 w 1128"/>
                    <a:gd name="T7" fmla="*/ 311 h 731"/>
                    <a:gd name="T8" fmla="*/ 1000 w 1128"/>
                    <a:gd name="T9" fmla="*/ 307 h 731"/>
                    <a:gd name="T10" fmla="*/ 980 w 1128"/>
                    <a:gd name="T11" fmla="*/ 345 h 731"/>
                    <a:gd name="T12" fmla="*/ 951 w 1128"/>
                    <a:gd name="T13" fmla="*/ 375 h 731"/>
                    <a:gd name="T14" fmla="*/ 1053 w 1128"/>
                    <a:gd name="T15" fmla="*/ 374 h 731"/>
                    <a:gd name="T16" fmla="*/ 81 w 1128"/>
                    <a:gd name="T17" fmla="*/ 354 h 731"/>
                    <a:gd name="T18" fmla="*/ 40 w 1128"/>
                    <a:gd name="T19" fmla="*/ 414 h 731"/>
                    <a:gd name="T20" fmla="*/ 95 w 1128"/>
                    <a:gd name="T21" fmla="*/ 498 h 731"/>
                    <a:gd name="T22" fmla="*/ 29 w 1128"/>
                    <a:gd name="T23" fmla="*/ 560 h 731"/>
                    <a:gd name="T24" fmla="*/ 40 w 1128"/>
                    <a:gd name="T25" fmla="*/ 618 h 731"/>
                    <a:gd name="T26" fmla="*/ 180 w 1128"/>
                    <a:gd name="T27" fmla="*/ 711 h 731"/>
                    <a:gd name="T28" fmla="*/ 248 w 1128"/>
                    <a:gd name="T29" fmla="*/ 717 h 731"/>
                    <a:gd name="T30" fmla="*/ 340 w 1128"/>
                    <a:gd name="T31" fmla="*/ 673 h 731"/>
                    <a:gd name="T32" fmla="*/ 407 w 1128"/>
                    <a:gd name="T33" fmla="*/ 652 h 731"/>
                    <a:gd name="T34" fmla="*/ 484 w 1128"/>
                    <a:gd name="T35" fmla="*/ 622 h 731"/>
                    <a:gd name="T36" fmla="*/ 647 w 1128"/>
                    <a:gd name="T37" fmla="*/ 691 h 731"/>
                    <a:gd name="T38" fmla="*/ 733 w 1128"/>
                    <a:gd name="T39" fmla="*/ 690 h 731"/>
                    <a:gd name="T40" fmla="*/ 837 w 1128"/>
                    <a:gd name="T41" fmla="*/ 654 h 731"/>
                    <a:gd name="T42" fmla="*/ 931 w 1128"/>
                    <a:gd name="T43" fmla="*/ 559 h 731"/>
                    <a:gd name="T44" fmla="*/ 969 w 1128"/>
                    <a:gd name="T45" fmla="*/ 555 h 731"/>
                    <a:gd name="T46" fmla="*/ 1061 w 1128"/>
                    <a:gd name="T47" fmla="*/ 583 h 731"/>
                    <a:gd name="T48" fmla="*/ 1068 w 1128"/>
                    <a:gd name="T49" fmla="*/ 659 h 731"/>
                    <a:gd name="T50" fmla="*/ 1108 w 1128"/>
                    <a:gd name="T51" fmla="*/ 566 h 731"/>
                    <a:gd name="T52" fmla="*/ 1063 w 1128"/>
                    <a:gd name="T53" fmla="*/ 453 h 731"/>
                    <a:gd name="T54" fmla="*/ 1009 w 1128"/>
                    <a:gd name="T55" fmla="*/ 431 h 731"/>
                    <a:gd name="T56" fmla="*/ 964 w 1128"/>
                    <a:gd name="T57" fmla="*/ 348 h 731"/>
                    <a:gd name="T58" fmla="*/ 905 w 1128"/>
                    <a:gd name="T59" fmla="*/ 251 h 731"/>
                    <a:gd name="T60" fmla="*/ 841 w 1128"/>
                    <a:gd name="T61" fmla="*/ 275 h 731"/>
                    <a:gd name="T62" fmla="*/ 784 w 1128"/>
                    <a:gd name="T63" fmla="*/ 240 h 731"/>
                    <a:gd name="T64" fmla="*/ 736 w 1128"/>
                    <a:gd name="T65" fmla="*/ 190 h 731"/>
                    <a:gd name="T66" fmla="*/ 690 w 1128"/>
                    <a:gd name="T67" fmla="*/ 117 h 731"/>
                    <a:gd name="T68" fmla="*/ 619 w 1128"/>
                    <a:gd name="T69" fmla="*/ 137 h 731"/>
                    <a:gd name="T70" fmla="*/ 584 w 1128"/>
                    <a:gd name="T71" fmla="*/ 130 h 731"/>
                    <a:gd name="T72" fmla="*/ 511 w 1128"/>
                    <a:gd name="T73" fmla="*/ 194 h 731"/>
                    <a:gd name="T74" fmla="*/ 505 w 1128"/>
                    <a:gd name="T75" fmla="*/ 155 h 731"/>
                    <a:gd name="T76" fmla="*/ 563 w 1128"/>
                    <a:gd name="T77" fmla="*/ 139 h 731"/>
                    <a:gd name="T78" fmla="*/ 643 w 1128"/>
                    <a:gd name="T79" fmla="*/ 125 h 731"/>
                    <a:gd name="T80" fmla="*/ 539 w 1128"/>
                    <a:gd name="T81" fmla="*/ 95 h 731"/>
                    <a:gd name="T82" fmla="*/ 435 w 1128"/>
                    <a:gd name="T83" fmla="*/ 221 h 731"/>
                    <a:gd name="T84" fmla="*/ 421 w 1128"/>
                    <a:gd name="T85" fmla="*/ 241 h 731"/>
                    <a:gd name="T86" fmla="*/ 276 w 1128"/>
                    <a:gd name="T87" fmla="*/ 287 h 731"/>
                    <a:gd name="T88" fmla="*/ 241 w 1128"/>
                    <a:gd name="T89" fmla="*/ 357 h 731"/>
                    <a:gd name="T90" fmla="*/ 174 w 1128"/>
                    <a:gd name="T91" fmla="*/ 325 h 731"/>
                    <a:gd name="T92" fmla="*/ 719 w 1128"/>
                    <a:gd name="T93" fmla="*/ 38 h 731"/>
                    <a:gd name="T94" fmla="*/ 717 w 1128"/>
                    <a:gd name="T95" fmla="*/ 42 h 731"/>
                    <a:gd name="T96" fmla="*/ 740 w 1128"/>
                    <a:gd name="T97" fmla="*/ 25 h 731"/>
                    <a:gd name="T98" fmla="*/ 783 w 1128"/>
                    <a:gd name="T99" fmla="*/ 35 h 731"/>
                    <a:gd name="T100" fmla="*/ 828 w 1128"/>
                    <a:gd name="T101" fmla="*/ 92 h 731"/>
                    <a:gd name="T102" fmla="*/ 780 w 1128"/>
                    <a:gd name="T103" fmla="*/ 76 h 731"/>
                    <a:gd name="T104" fmla="*/ 725 w 1128"/>
                    <a:gd name="T105" fmla="*/ 64 h 731"/>
                    <a:gd name="T106" fmla="*/ 741 w 1128"/>
                    <a:gd name="T107" fmla="*/ 107 h 731"/>
                    <a:gd name="T108" fmla="*/ 733 w 1128"/>
                    <a:gd name="T109" fmla="*/ 140 h 731"/>
                    <a:gd name="T110" fmla="*/ 745 w 1128"/>
                    <a:gd name="T111" fmla="*/ 180 h 731"/>
                    <a:gd name="T112" fmla="*/ 809 w 1128"/>
                    <a:gd name="T113" fmla="*/ 194 h 731"/>
                    <a:gd name="T114" fmla="*/ 868 w 1128"/>
                    <a:gd name="T115" fmla="*/ 161 h 731"/>
                    <a:gd name="T116" fmla="*/ 899 w 1128"/>
                    <a:gd name="T117" fmla="*/ 186 h 731"/>
                    <a:gd name="T118" fmla="*/ 850 w 1128"/>
                    <a:gd name="T119" fmla="*/ 108 h 731"/>
                    <a:gd name="T120" fmla="*/ 813 w 1128"/>
                    <a:gd name="T121" fmla="*/ 5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8" h="731">
                      <a:moveTo>
                        <a:pt x="249" y="307"/>
                      </a:moveTo>
                      <a:lnTo>
                        <a:pt x="240" y="303"/>
                      </a:lnTo>
                      <a:lnTo>
                        <a:pt x="228" y="307"/>
                      </a:lnTo>
                      <a:lnTo>
                        <a:pt x="218" y="316"/>
                      </a:lnTo>
                      <a:lnTo>
                        <a:pt x="214" y="326"/>
                      </a:lnTo>
                      <a:lnTo>
                        <a:pt x="229" y="333"/>
                      </a:lnTo>
                      <a:lnTo>
                        <a:pt x="233" y="330"/>
                      </a:lnTo>
                      <a:lnTo>
                        <a:pt x="235" y="319"/>
                      </a:lnTo>
                      <a:lnTo>
                        <a:pt x="239" y="335"/>
                      </a:lnTo>
                      <a:lnTo>
                        <a:pt x="242" y="331"/>
                      </a:lnTo>
                      <a:lnTo>
                        <a:pt x="249" y="307"/>
                      </a:lnTo>
                      <a:close/>
                      <a:moveTo>
                        <a:pt x="261" y="291"/>
                      </a:moveTo>
                      <a:lnTo>
                        <a:pt x="264" y="284"/>
                      </a:lnTo>
                      <a:lnTo>
                        <a:pt x="277" y="273"/>
                      </a:lnTo>
                      <a:lnTo>
                        <a:pt x="277" y="269"/>
                      </a:lnTo>
                      <a:lnTo>
                        <a:pt x="258" y="279"/>
                      </a:lnTo>
                      <a:lnTo>
                        <a:pt x="259" y="291"/>
                      </a:lnTo>
                      <a:lnTo>
                        <a:pt x="261" y="291"/>
                      </a:lnTo>
                      <a:close/>
                      <a:moveTo>
                        <a:pt x="983" y="285"/>
                      </a:moveTo>
                      <a:lnTo>
                        <a:pt x="972" y="281"/>
                      </a:lnTo>
                      <a:lnTo>
                        <a:pt x="951" y="270"/>
                      </a:lnTo>
                      <a:lnTo>
                        <a:pt x="943" y="263"/>
                      </a:lnTo>
                      <a:lnTo>
                        <a:pt x="929" y="238"/>
                      </a:lnTo>
                      <a:lnTo>
                        <a:pt x="924" y="235"/>
                      </a:lnTo>
                      <a:lnTo>
                        <a:pt x="912" y="247"/>
                      </a:lnTo>
                      <a:lnTo>
                        <a:pt x="916" y="252"/>
                      </a:lnTo>
                      <a:lnTo>
                        <a:pt x="928" y="263"/>
                      </a:lnTo>
                      <a:lnTo>
                        <a:pt x="932" y="271"/>
                      </a:lnTo>
                      <a:lnTo>
                        <a:pt x="931" y="283"/>
                      </a:lnTo>
                      <a:lnTo>
                        <a:pt x="924" y="298"/>
                      </a:lnTo>
                      <a:lnTo>
                        <a:pt x="922" y="307"/>
                      </a:lnTo>
                      <a:lnTo>
                        <a:pt x="928" y="309"/>
                      </a:lnTo>
                      <a:lnTo>
                        <a:pt x="936" y="301"/>
                      </a:lnTo>
                      <a:lnTo>
                        <a:pt x="950" y="296"/>
                      </a:lnTo>
                      <a:lnTo>
                        <a:pt x="952" y="301"/>
                      </a:lnTo>
                      <a:lnTo>
                        <a:pt x="947" y="311"/>
                      </a:lnTo>
                      <a:lnTo>
                        <a:pt x="947" y="317"/>
                      </a:lnTo>
                      <a:lnTo>
                        <a:pt x="959" y="312"/>
                      </a:lnTo>
                      <a:lnTo>
                        <a:pt x="966" y="301"/>
                      </a:lnTo>
                      <a:lnTo>
                        <a:pt x="963" y="291"/>
                      </a:lnTo>
                      <a:lnTo>
                        <a:pt x="971" y="287"/>
                      </a:lnTo>
                      <a:lnTo>
                        <a:pt x="978" y="288"/>
                      </a:lnTo>
                      <a:lnTo>
                        <a:pt x="991" y="302"/>
                      </a:lnTo>
                      <a:lnTo>
                        <a:pt x="993" y="310"/>
                      </a:lnTo>
                      <a:lnTo>
                        <a:pt x="1000" y="307"/>
                      </a:lnTo>
                      <a:lnTo>
                        <a:pt x="1005" y="315"/>
                      </a:lnTo>
                      <a:lnTo>
                        <a:pt x="1006" y="328"/>
                      </a:lnTo>
                      <a:lnTo>
                        <a:pt x="1003" y="339"/>
                      </a:lnTo>
                      <a:lnTo>
                        <a:pt x="1006" y="345"/>
                      </a:lnTo>
                      <a:lnTo>
                        <a:pt x="996" y="342"/>
                      </a:lnTo>
                      <a:lnTo>
                        <a:pt x="999" y="335"/>
                      </a:lnTo>
                      <a:lnTo>
                        <a:pt x="987" y="335"/>
                      </a:lnTo>
                      <a:lnTo>
                        <a:pt x="984" y="337"/>
                      </a:lnTo>
                      <a:lnTo>
                        <a:pt x="980" y="345"/>
                      </a:lnTo>
                      <a:lnTo>
                        <a:pt x="980" y="338"/>
                      </a:lnTo>
                      <a:lnTo>
                        <a:pt x="982" y="323"/>
                      </a:lnTo>
                      <a:lnTo>
                        <a:pt x="977" y="321"/>
                      </a:lnTo>
                      <a:lnTo>
                        <a:pt x="962" y="319"/>
                      </a:lnTo>
                      <a:lnTo>
                        <a:pt x="962" y="331"/>
                      </a:lnTo>
                      <a:lnTo>
                        <a:pt x="974" y="351"/>
                      </a:lnTo>
                      <a:lnTo>
                        <a:pt x="973" y="364"/>
                      </a:lnTo>
                      <a:lnTo>
                        <a:pt x="960" y="372"/>
                      </a:lnTo>
                      <a:lnTo>
                        <a:pt x="951" y="375"/>
                      </a:lnTo>
                      <a:lnTo>
                        <a:pt x="942" y="380"/>
                      </a:lnTo>
                      <a:lnTo>
                        <a:pt x="948" y="387"/>
                      </a:lnTo>
                      <a:lnTo>
                        <a:pt x="958" y="390"/>
                      </a:lnTo>
                      <a:lnTo>
                        <a:pt x="977" y="390"/>
                      </a:lnTo>
                      <a:lnTo>
                        <a:pt x="993" y="386"/>
                      </a:lnTo>
                      <a:lnTo>
                        <a:pt x="1002" y="380"/>
                      </a:lnTo>
                      <a:lnTo>
                        <a:pt x="1008" y="374"/>
                      </a:lnTo>
                      <a:lnTo>
                        <a:pt x="1020" y="378"/>
                      </a:lnTo>
                      <a:lnTo>
                        <a:pt x="1053" y="374"/>
                      </a:lnTo>
                      <a:lnTo>
                        <a:pt x="1050" y="367"/>
                      </a:lnTo>
                      <a:lnTo>
                        <a:pt x="1045" y="361"/>
                      </a:lnTo>
                      <a:lnTo>
                        <a:pt x="1050" y="358"/>
                      </a:lnTo>
                      <a:lnTo>
                        <a:pt x="1054" y="346"/>
                      </a:lnTo>
                      <a:lnTo>
                        <a:pt x="1048" y="343"/>
                      </a:lnTo>
                      <a:lnTo>
                        <a:pt x="993" y="290"/>
                      </a:lnTo>
                      <a:lnTo>
                        <a:pt x="983" y="285"/>
                      </a:lnTo>
                      <a:close/>
                      <a:moveTo>
                        <a:pt x="76" y="335"/>
                      </a:moveTo>
                      <a:lnTo>
                        <a:pt x="81" y="354"/>
                      </a:lnTo>
                      <a:lnTo>
                        <a:pt x="93" y="358"/>
                      </a:lnTo>
                      <a:lnTo>
                        <a:pt x="81" y="363"/>
                      </a:lnTo>
                      <a:lnTo>
                        <a:pt x="77" y="357"/>
                      </a:lnTo>
                      <a:lnTo>
                        <a:pt x="74" y="356"/>
                      </a:lnTo>
                      <a:lnTo>
                        <a:pt x="64" y="359"/>
                      </a:lnTo>
                      <a:lnTo>
                        <a:pt x="50" y="372"/>
                      </a:lnTo>
                      <a:lnTo>
                        <a:pt x="36" y="380"/>
                      </a:lnTo>
                      <a:lnTo>
                        <a:pt x="33" y="391"/>
                      </a:lnTo>
                      <a:lnTo>
                        <a:pt x="40" y="414"/>
                      </a:lnTo>
                      <a:lnTo>
                        <a:pt x="38" y="432"/>
                      </a:lnTo>
                      <a:lnTo>
                        <a:pt x="51" y="437"/>
                      </a:lnTo>
                      <a:lnTo>
                        <a:pt x="68" y="455"/>
                      </a:lnTo>
                      <a:lnTo>
                        <a:pt x="85" y="458"/>
                      </a:lnTo>
                      <a:lnTo>
                        <a:pt x="94" y="465"/>
                      </a:lnTo>
                      <a:lnTo>
                        <a:pt x="99" y="478"/>
                      </a:lnTo>
                      <a:lnTo>
                        <a:pt x="99" y="487"/>
                      </a:lnTo>
                      <a:lnTo>
                        <a:pt x="94" y="489"/>
                      </a:lnTo>
                      <a:lnTo>
                        <a:pt x="95" y="498"/>
                      </a:lnTo>
                      <a:lnTo>
                        <a:pt x="101" y="518"/>
                      </a:lnTo>
                      <a:lnTo>
                        <a:pt x="93" y="527"/>
                      </a:lnTo>
                      <a:lnTo>
                        <a:pt x="85" y="516"/>
                      </a:lnTo>
                      <a:lnTo>
                        <a:pt x="72" y="518"/>
                      </a:lnTo>
                      <a:lnTo>
                        <a:pt x="63" y="516"/>
                      </a:lnTo>
                      <a:lnTo>
                        <a:pt x="65" y="526"/>
                      </a:lnTo>
                      <a:lnTo>
                        <a:pt x="62" y="540"/>
                      </a:lnTo>
                      <a:lnTo>
                        <a:pt x="45" y="555"/>
                      </a:lnTo>
                      <a:lnTo>
                        <a:pt x="29" y="560"/>
                      </a:lnTo>
                      <a:lnTo>
                        <a:pt x="26" y="567"/>
                      </a:lnTo>
                      <a:lnTo>
                        <a:pt x="16" y="569"/>
                      </a:lnTo>
                      <a:lnTo>
                        <a:pt x="9" y="574"/>
                      </a:lnTo>
                      <a:lnTo>
                        <a:pt x="7" y="589"/>
                      </a:lnTo>
                      <a:lnTo>
                        <a:pt x="4" y="605"/>
                      </a:lnTo>
                      <a:lnTo>
                        <a:pt x="0" y="609"/>
                      </a:lnTo>
                      <a:lnTo>
                        <a:pt x="22" y="608"/>
                      </a:lnTo>
                      <a:lnTo>
                        <a:pt x="33" y="610"/>
                      </a:lnTo>
                      <a:lnTo>
                        <a:pt x="40" y="618"/>
                      </a:lnTo>
                      <a:lnTo>
                        <a:pt x="43" y="638"/>
                      </a:lnTo>
                      <a:lnTo>
                        <a:pt x="58" y="645"/>
                      </a:lnTo>
                      <a:lnTo>
                        <a:pt x="64" y="653"/>
                      </a:lnTo>
                      <a:lnTo>
                        <a:pt x="74" y="661"/>
                      </a:lnTo>
                      <a:lnTo>
                        <a:pt x="102" y="675"/>
                      </a:lnTo>
                      <a:lnTo>
                        <a:pt x="136" y="704"/>
                      </a:lnTo>
                      <a:lnTo>
                        <a:pt x="151" y="714"/>
                      </a:lnTo>
                      <a:lnTo>
                        <a:pt x="167" y="702"/>
                      </a:lnTo>
                      <a:lnTo>
                        <a:pt x="180" y="711"/>
                      </a:lnTo>
                      <a:lnTo>
                        <a:pt x="183" y="716"/>
                      </a:lnTo>
                      <a:lnTo>
                        <a:pt x="191" y="710"/>
                      </a:lnTo>
                      <a:lnTo>
                        <a:pt x="203" y="720"/>
                      </a:lnTo>
                      <a:lnTo>
                        <a:pt x="207" y="727"/>
                      </a:lnTo>
                      <a:lnTo>
                        <a:pt x="207" y="727"/>
                      </a:lnTo>
                      <a:lnTo>
                        <a:pt x="230" y="727"/>
                      </a:lnTo>
                      <a:lnTo>
                        <a:pt x="243" y="731"/>
                      </a:lnTo>
                      <a:lnTo>
                        <a:pt x="244" y="719"/>
                      </a:lnTo>
                      <a:lnTo>
                        <a:pt x="248" y="717"/>
                      </a:lnTo>
                      <a:lnTo>
                        <a:pt x="258" y="717"/>
                      </a:lnTo>
                      <a:lnTo>
                        <a:pt x="275" y="726"/>
                      </a:lnTo>
                      <a:lnTo>
                        <a:pt x="283" y="725"/>
                      </a:lnTo>
                      <a:lnTo>
                        <a:pt x="288" y="721"/>
                      </a:lnTo>
                      <a:lnTo>
                        <a:pt x="283" y="686"/>
                      </a:lnTo>
                      <a:lnTo>
                        <a:pt x="295" y="674"/>
                      </a:lnTo>
                      <a:lnTo>
                        <a:pt x="301" y="671"/>
                      </a:lnTo>
                      <a:lnTo>
                        <a:pt x="317" y="665"/>
                      </a:lnTo>
                      <a:lnTo>
                        <a:pt x="340" y="673"/>
                      </a:lnTo>
                      <a:lnTo>
                        <a:pt x="344" y="681"/>
                      </a:lnTo>
                      <a:lnTo>
                        <a:pt x="351" y="678"/>
                      </a:lnTo>
                      <a:lnTo>
                        <a:pt x="373" y="676"/>
                      </a:lnTo>
                      <a:lnTo>
                        <a:pt x="371" y="669"/>
                      </a:lnTo>
                      <a:lnTo>
                        <a:pt x="365" y="665"/>
                      </a:lnTo>
                      <a:lnTo>
                        <a:pt x="378" y="664"/>
                      </a:lnTo>
                      <a:lnTo>
                        <a:pt x="385" y="656"/>
                      </a:lnTo>
                      <a:lnTo>
                        <a:pt x="401" y="650"/>
                      </a:lnTo>
                      <a:lnTo>
                        <a:pt x="407" y="652"/>
                      </a:lnTo>
                      <a:lnTo>
                        <a:pt x="422" y="642"/>
                      </a:lnTo>
                      <a:lnTo>
                        <a:pt x="424" y="628"/>
                      </a:lnTo>
                      <a:lnTo>
                        <a:pt x="432" y="623"/>
                      </a:lnTo>
                      <a:lnTo>
                        <a:pt x="435" y="616"/>
                      </a:lnTo>
                      <a:lnTo>
                        <a:pt x="455" y="611"/>
                      </a:lnTo>
                      <a:lnTo>
                        <a:pt x="459" y="617"/>
                      </a:lnTo>
                      <a:lnTo>
                        <a:pt x="470" y="611"/>
                      </a:lnTo>
                      <a:lnTo>
                        <a:pt x="477" y="611"/>
                      </a:lnTo>
                      <a:lnTo>
                        <a:pt x="484" y="622"/>
                      </a:lnTo>
                      <a:lnTo>
                        <a:pt x="506" y="628"/>
                      </a:lnTo>
                      <a:lnTo>
                        <a:pt x="518" y="634"/>
                      </a:lnTo>
                      <a:lnTo>
                        <a:pt x="552" y="657"/>
                      </a:lnTo>
                      <a:lnTo>
                        <a:pt x="572" y="655"/>
                      </a:lnTo>
                      <a:lnTo>
                        <a:pt x="604" y="662"/>
                      </a:lnTo>
                      <a:lnTo>
                        <a:pt x="618" y="672"/>
                      </a:lnTo>
                      <a:lnTo>
                        <a:pt x="640" y="677"/>
                      </a:lnTo>
                      <a:lnTo>
                        <a:pt x="643" y="690"/>
                      </a:lnTo>
                      <a:lnTo>
                        <a:pt x="647" y="691"/>
                      </a:lnTo>
                      <a:lnTo>
                        <a:pt x="662" y="689"/>
                      </a:lnTo>
                      <a:lnTo>
                        <a:pt x="671" y="690"/>
                      </a:lnTo>
                      <a:lnTo>
                        <a:pt x="675" y="694"/>
                      </a:lnTo>
                      <a:lnTo>
                        <a:pt x="699" y="693"/>
                      </a:lnTo>
                      <a:lnTo>
                        <a:pt x="706" y="691"/>
                      </a:lnTo>
                      <a:lnTo>
                        <a:pt x="705" y="702"/>
                      </a:lnTo>
                      <a:lnTo>
                        <a:pt x="712" y="705"/>
                      </a:lnTo>
                      <a:lnTo>
                        <a:pt x="720" y="703"/>
                      </a:lnTo>
                      <a:lnTo>
                        <a:pt x="733" y="690"/>
                      </a:lnTo>
                      <a:lnTo>
                        <a:pt x="749" y="677"/>
                      </a:lnTo>
                      <a:lnTo>
                        <a:pt x="751" y="671"/>
                      </a:lnTo>
                      <a:lnTo>
                        <a:pt x="763" y="661"/>
                      </a:lnTo>
                      <a:lnTo>
                        <a:pt x="778" y="673"/>
                      </a:lnTo>
                      <a:lnTo>
                        <a:pt x="786" y="673"/>
                      </a:lnTo>
                      <a:lnTo>
                        <a:pt x="791" y="656"/>
                      </a:lnTo>
                      <a:lnTo>
                        <a:pt x="800" y="647"/>
                      </a:lnTo>
                      <a:lnTo>
                        <a:pt x="808" y="647"/>
                      </a:lnTo>
                      <a:lnTo>
                        <a:pt x="837" y="654"/>
                      </a:lnTo>
                      <a:lnTo>
                        <a:pt x="862" y="633"/>
                      </a:lnTo>
                      <a:lnTo>
                        <a:pt x="870" y="611"/>
                      </a:lnTo>
                      <a:lnTo>
                        <a:pt x="871" y="602"/>
                      </a:lnTo>
                      <a:lnTo>
                        <a:pt x="882" y="591"/>
                      </a:lnTo>
                      <a:lnTo>
                        <a:pt x="892" y="590"/>
                      </a:lnTo>
                      <a:lnTo>
                        <a:pt x="899" y="584"/>
                      </a:lnTo>
                      <a:lnTo>
                        <a:pt x="903" y="575"/>
                      </a:lnTo>
                      <a:lnTo>
                        <a:pt x="921" y="561"/>
                      </a:lnTo>
                      <a:lnTo>
                        <a:pt x="931" y="559"/>
                      </a:lnTo>
                      <a:lnTo>
                        <a:pt x="942" y="560"/>
                      </a:lnTo>
                      <a:lnTo>
                        <a:pt x="950" y="556"/>
                      </a:lnTo>
                      <a:lnTo>
                        <a:pt x="948" y="550"/>
                      </a:lnTo>
                      <a:lnTo>
                        <a:pt x="940" y="538"/>
                      </a:lnTo>
                      <a:lnTo>
                        <a:pt x="939" y="529"/>
                      </a:lnTo>
                      <a:lnTo>
                        <a:pt x="945" y="530"/>
                      </a:lnTo>
                      <a:lnTo>
                        <a:pt x="953" y="540"/>
                      </a:lnTo>
                      <a:lnTo>
                        <a:pt x="967" y="545"/>
                      </a:lnTo>
                      <a:lnTo>
                        <a:pt x="969" y="555"/>
                      </a:lnTo>
                      <a:lnTo>
                        <a:pt x="978" y="570"/>
                      </a:lnTo>
                      <a:lnTo>
                        <a:pt x="980" y="577"/>
                      </a:lnTo>
                      <a:lnTo>
                        <a:pt x="985" y="583"/>
                      </a:lnTo>
                      <a:lnTo>
                        <a:pt x="1006" y="582"/>
                      </a:lnTo>
                      <a:lnTo>
                        <a:pt x="1024" y="583"/>
                      </a:lnTo>
                      <a:lnTo>
                        <a:pt x="1038" y="587"/>
                      </a:lnTo>
                      <a:lnTo>
                        <a:pt x="1043" y="578"/>
                      </a:lnTo>
                      <a:lnTo>
                        <a:pt x="1050" y="578"/>
                      </a:lnTo>
                      <a:lnTo>
                        <a:pt x="1061" y="583"/>
                      </a:lnTo>
                      <a:lnTo>
                        <a:pt x="1074" y="582"/>
                      </a:lnTo>
                      <a:lnTo>
                        <a:pt x="1081" y="583"/>
                      </a:lnTo>
                      <a:lnTo>
                        <a:pt x="1082" y="595"/>
                      </a:lnTo>
                      <a:lnTo>
                        <a:pt x="1081" y="604"/>
                      </a:lnTo>
                      <a:lnTo>
                        <a:pt x="1078" y="614"/>
                      </a:lnTo>
                      <a:lnTo>
                        <a:pt x="1068" y="630"/>
                      </a:lnTo>
                      <a:lnTo>
                        <a:pt x="1044" y="645"/>
                      </a:lnTo>
                      <a:lnTo>
                        <a:pt x="1045" y="655"/>
                      </a:lnTo>
                      <a:lnTo>
                        <a:pt x="1068" y="659"/>
                      </a:lnTo>
                      <a:lnTo>
                        <a:pt x="1088" y="661"/>
                      </a:lnTo>
                      <a:lnTo>
                        <a:pt x="1093" y="658"/>
                      </a:lnTo>
                      <a:lnTo>
                        <a:pt x="1094" y="651"/>
                      </a:lnTo>
                      <a:lnTo>
                        <a:pt x="1102" y="648"/>
                      </a:lnTo>
                      <a:lnTo>
                        <a:pt x="1109" y="638"/>
                      </a:lnTo>
                      <a:lnTo>
                        <a:pt x="1128" y="626"/>
                      </a:lnTo>
                      <a:lnTo>
                        <a:pt x="1120" y="600"/>
                      </a:lnTo>
                      <a:lnTo>
                        <a:pt x="1115" y="575"/>
                      </a:lnTo>
                      <a:lnTo>
                        <a:pt x="1108" y="566"/>
                      </a:lnTo>
                      <a:lnTo>
                        <a:pt x="1104" y="555"/>
                      </a:lnTo>
                      <a:lnTo>
                        <a:pt x="1097" y="545"/>
                      </a:lnTo>
                      <a:lnTo>
                        <a:pt x="1093" y="536"/>
                      </a:lnTo>
                      <a:lnTo>
                        <a:pt x="1091" y="504"/>
                      </a:lnTo>
                      <a:lnTo>
                        <a:pt x="1084" y="486"/>
                      </a:lnTo>
                      <a:lnTo>
                        <a:pt x="1079" y="477"/>
                      </a:lnTo>
                      <a:lnTo>
                        <a:pt x="1079" y="470"/>
                      </a:lnTo>
                      <a:lnTo>
                        <a:pt x="1076" y="457"/>
                      </a:lnTo>
                      <a:lnTo>
                        <a:pt x="1063" y="453"/>
                      </a:lnTo>
                      <a:lnTo>
                        <a:pt x="1076" y="443"/>
                      </a:lnTo>
                      <a:lnTo>
                        <a:pt x="1078" y="440"/>
                      </a:lnTo>
                      <a:lnTo>
                        <a:pt x="1077" y="432"/>
                      </a:lnTo>
                      <a:lnTo>
                        <a:pt x="1072" y="429"/>
                      </a:lnTo>
                      <a:lnTo>
                        <a:pt x="1062" y="436"/>
                      </a:lnTo>
                      <a:lnTo>
                        <a:pt x="1054" y="438"/>
                      </a:lnTo>
                      <a:lnTo>
                        <a:pt x="1030" y="437"/>
                      </a:lnTo>
                      <a:lnTo>
                        <a:pt x="1016" y="431"/>
                      </a:lnTo>
                      <a:lnTo>
                        <a:pt x="1009" y="431"/>
                      </a:lnTo>
                      <a:lnTo>
                        <a:pt x="1003" y="425"/>
                      </a:lnTo>
                      <a:lnTo>
                        <a:pt x="993" y="422"/>
                      </a:lnTo>
                      <a:lnTo>
                        <a:pt x="957" y="396"/>
                      </a:lnTo>
                      <a:lnTo>
                        <a:pt x="955" y="391"/>
                      </a:lnTo>
                      <a:lnTo>
                        <a:pt x="941" y="386"/>
                      </a:lnTo>
                      <a:lnTo>
                        <a:pt x="937" y="380"/>
                      </a:lnTo>
                      <a:lnTo>
                        <a:pt x="940" y="374"/>
                      </a:lnTo>
                      <a:lnTo>
                        <a:pt x="960" y="358"/>
                      </a:lnTo>
                      <a:lnTo>
                        <a:pt x="964" y="348"/>
                      </a:lnTo>
                      <a:lnTo>
                        <a:pt x="964" y="344"/>
                      </a:lnTo>
                      <a:lnTo>
                        <a:pt x="952" y="339"/>
                      </a:lnTo>
                      <a:lnTo>
                        <a:pt x="948" y="339"/>
                      </a:lnTo>
                      <a:lnTo>
                        <a:pt x="942" y="324"/>
                      </a:lnTo>
                      <a:lnTo>
                        <a:pt x="926" y="313"/>
                      </a:lnTo>
                      <a:lnTo>
                        <a:pt x="913" y="301"/>
                      </a:lnTo>
                      <a:lnTo>
                        <a:pt x="921" y="296"/>
                      </a:lnTo>
                      <a:lnTo>
                        <a:pt x="930" y="269"/>
                      </a:lnTo>
                      <a:lnTo>
                        <a:pt x="905" y="251"/>
                      </a:lnTo>
                      <a:lnTo>
                        <a:pt x="895" y="247"/>
                      </a:lnTo>
                      <a:lnTo>
                        <a:pt x="899" y="238"/>
                      </a:lnTo>
                      <a:lnTo>
                        <a:pt x="890" y="240"/>
                      </a:lnTo>
                      <a:lnTo>
                        <a:pt x="876" y="250"/>
                      </a:lnTo>
                      <a:lnTo>
                        <a:pt x="867" y="253"/>
                      </a:lnTo>
                      <a:lnTo>
                        <a:pt x="831" y="260"/>
                      </a:lnTo>
                      <a:lnTo>
                        <a:pt x="832" y="263"/>
                      </a:lnTo>
                      <a:lnTo>
                        <a:pt x="841" y="273"/>
                      </a:lnTo>
                      <a:lnTo>
                        <a:pt x="841" y="275"/>
                      </a:lnTo>
                      <a:lnTo>
                        <a:pt x="834" y="275"/>
                      </a:lnTo>
                      <a:lnTo>
                        <a:pt x="829" y="272"/>
                      </a:lnTo>
                      <a:lnTo>
                        <a:pt x="813" y="247"/>
                      </a:lnTo>
                      <a:lnTo>
                        <a:pt x="806" y="249"/>
                      </a:lnTo>
                      <a:lnTo>
                        <a:pt x="802" y="247"/>
                      </a:lnTo>
                      <a:lnTo>
                        <a:pt x="808" y="238"/>
                      </a:lnTo>
                      <a:lnTo>
                        <a:pt x="802" y="235"/>
                      </a:lnTo>
                      <a:lnTo>
                        <a:pt x="791" y="240"/>
                      </a:lnTo>
                      <a:lnTo>
                        <a:pt x="784" y="240"/>
                      </a:lnTo>
                      <a:lnTo>
                        <a:pt x="791" y="234"/>
                      </a:lnTo>
                      <a:lnTo>
                        <a:pt x="783" y="228"/>
                      </a:lnTo>
                      <a:lnTo>
                        <a:pt x="772" y="209"/>
                      </a:lnTo>
                      <a:lnTo>
                        <a:pt x="764" y="206"/>
                      </a:lnTo>
                      <a:lnTo>
                        <a:pt x="754" y="204"/>
                      </a:lnTo>
                      <a:lnTo>
                        <a:pt x="738" y="195"/>
                      </a:lnTo>
                      <a:lnTo>
                        <a:pt x="728" y="196"/>
                      </a:lnTo>
                      <a:lnTo>
                        <a:pt x="736" y="194"/>
                      </a:lnTo>
                      <a:lnTo>
                        <a:pt x="736" y="190"/>
                      </a:lnTo>
                      <a:lnTo>
                        <a:pt x="723" y="190"/>
                      </a:lnTo>
                      <a:lnTo>
                        <a:pt x="719" y="189"/>
                      </a:lnTo>
                      <a:lnTo>
                        <a:pt x="716" y="174"/>
                      </a:lnTo>
                      <a:lnTo>
                        <a:pt x="707" y="162"/>
                      </a:lnTo>
                      <a:lnTo>
                        <a:pt x="705" y="155"/>
                      </a:lnTo>
                      <a:lnTo>
                        <a:pt x="710" y="146"/>
                      </a:lnTo>
                      <a:lnTo>
                        <a:pt x="694" y="137"/>
                      </a:lnTo>
                      <a:lnTo>
                        <a:pt x="687" y="121"/>
                      </a:lnTo>
                      <a:lnTo>
                        <a:pt x="690" y="117"/>
                      </a:lnTo>
                      <a:lnTo>
                        <a:pt x="683" y="115"/>
                      </a:lnTo>
                      <a:lnTo>
                        <a:pt x="671" y="119"/>
                      </a:lnTo>
                      <a:lnTo>
                        <a:pt x="660" y="127"/>
                      </a:lnTo>
                      <a:lnTo>
                        <a:pt x="651" y="138"/>
                      </a:lnTo>
                      <a:lnTo>
                        <a:pt x="649" y="145"/>
                      </a:lnTo>
                      <a:lnTo>
                        <a:pt x="640" y="153"/>
                      </a:lnTo>
                      <a:lnTo>
                        <a:pt x="629" y="152"/>
                      </a:lnTo>
                      <a:lnTo>
                        <a:pt x="624" y="146"/>
                      </a:lnTo>
                      <a:lnTo>
                        <a:pt x="619" y="137"/>
                      </a:lnTo>
                      <a:lnTo>
                        <a:pt x="617" y="140"/>
                      </a:lnTo>
                      <a:lnTo>
                        <a:pt x="607" y="139"/>
                      </a:lnTo>
                      <a:lnTo>
                        <a:pt x="604" y="143"/>
                      </a:lnTo>
                      <a:lnTo>
                        <a:pt x="595" y="133"/>
                      </a:lnTo>
                      <a:lnTo>
                        <a:pt x="589" y="146"/>
                      </a:lnTo>
                      <a:lnTo>
                        <a:pt x="590" y="140"/>
                      </a:lnTo>
                      <a:lnTo>
                        <a:pt x="598" y="130"/>
                      </a:lnTo>
                      <a:lnTo>
                        <a:pt x="598" y="127"/>
                      </a:lnTo>
                      <a:lnTo>
                        <a:pt x="584" y="130"/>
                      </a:lnTo>
                      <a:lnTo>
                        <a:pt x="586" y="137"/>
                      </a:lnTo>
                      <a:lnTo>
                        <a:pt x="571" y="145"/>
                      </a:lnTo>
                      <a:lnTo>
                        <a:pt x="563" y="147"/>
                      </a:lnTo>
                      <a:lnTo>
                        <a:pt x="547" y="146"/>
                      </a:lnTo>
                      <a:lnTo>
                        <a:pt x="553" y="152"/>
                      </a:lnTo>
                      <a:lnTo>
                        <a:pt x="535" y="161"/>
                      </a:lnTo>
                      <a:lnTo>
                        <a:pt x="522" y="177"/>
                      </a:lnTo>
                      <a:lnTo>
                        <a:pt x="516" y="183"/>
                      </a:lnTo>
                      <a:lnTo>
                        <a:pt x="511" y="194"/>
                      </a:lnTo>
                      <a:lnTo>
                        <a:pt x="518" y="198"/>
                      </a:lnTo>
                      <a:lnTo>
                        <a:pt x="520" y="203"/>
                      </a:lnTo>
                      <a:lnTo>
                        <a:pt x="513" y="201"/>
                      </a:lnTo>
                      <a:lnTo>
                        <a:pt x="499" y="194"/>
                      </a:lnTo>
                      <a:lnTo>
                        <a:pt x="502" y="189"/>
                      </a:lnTo>
                      <a:lnTo>
                        <a:pt x="496" y="174"/>
                      </a:lnTo>
                      <a:lnTo>
                        <a:pt x="501" y="173"/>
                      </a:lnTo>
                      <a:lnTo>
                        <a:pt x="503" y="158"/>
                      </a:lnTo>
                      <a:lnTo>
                        <a:pt x="505" y="155"/>
                      </a:lnTo>
                      <a:lnTo>
                        <a:pt x="513" y="158"/>
                      </a:lnTo>
                      <a:lnTo>
                        <a:pt x="511" y="151"/>
                      </a:lnTo>
                      <a:lnTo>
                        <a:pt x="521" y="137"/>
                      </a:lnTo>
                      <a:lnTo>
                        <a:pt x="531" y="138"/>
                      </a:lnTo>
                      <a:lnTo>
                        <a:pt x="538" y="140"/>
                      </a:lnTo>
                      <a:lnTo>
                        <a:pt x="543" y="146"/>
                      </a:lnTo>
                      <a:lnTo>
                        <a:pt x="545" y="140"/>
                      </a:lnTo>
                      <a:lnTo>
                        <a:pt x="556" y="137"/>
                      </a:lnTo>
                      <a:lnTo>
                        <a:pt x="563" y="139"/>
                      </a:lnTo>
                      <a:lnTo>
                        <a:pt x="558" y="130"/>
                      </a:lnTo>
                      <a:lnTo>
                        <a:pt x="564" y="127"/>
                      </a:lnTo>
                      <a:lnTo>
                        <a:pt x="565" y="130"/>
                      </a:lnTo>
                      <a:lnTo>
                        <a:pt x="578" y="124"/>
                      </a:lnTo>
                      <a:lnTo>
                        <a:pt x="583" y="124"/>
                      </a:lnTo>
                      <a:lnTo>
                        <a:pt x="590" y="117"/>
                      </a:lnTo>
                      <a:lnTo>
                        <a:pt x="598" y="118"/>
                      </a:lnTo>
                      <a:lnTo>
                        <a:pt x="611" y="122"/>
                      </a:lnTo>
                      <a:lnTo>
                        <a:pt x="643" y="125"/>
                      </a:lnTo>
                      <a:lnTo>
                        <a:pt x="650" y="124"/>
                      </a:lnTo>
                      <a:lnTo>
                        <a:pt x="657" y="117"/>
                      </a:lnTo>
                      <a:lnTo>
                        <a:pt x="653" y="112"/>
                      </a:lnTo>
                      <a:lnTo>
                        <a:pt x="644" y="110"/>
                      </a:lnTo>
                      <a:lnTo>
                        <a:pt x="637" y="114"/>
                      </a:lnTo>
                      <a:lnTo>
                        <a:pt x="626" y="109"/>
                      </a:lnTo>
                      <a:lnTo>
                        <a:pt x="559" y="109"/>
                      </a:lnTo>
                      <a:lnTo>
                        <a:pt x="546" y="104"/>
                      </a:lnTo>
                      <a:lnTo>
                        <a:pt x="539" y="95"/>
                      </a:lnTo>
                      <a:lnTo>
                        <a:pt x="532" y="99"/>
                      </a:lnTo>
                      <a:lnTo>
                        <a:pt x="529" y="111"/>
                      </a:lnTo>
                      <a:lnTo>
                        <a:pt x="516" y="135"/>
                      </a:lnTo>
                      <a:lnTo>
                        <a:pt x="500" y="158"/>
                      </a:lnTo>
                      <a:lnTo>
                        <a:pt x="491" y="177"/>
                      </a:lnTo>
                      <a:lnTo>
                        <a:pt x="475" y="190"/>
                      </a:lnTo>
                      <a:lnTo>
                        <a:pt x="446" y="206"/>
                      </a:lnTo>
                      <a:lnTo>
                        <a:pt x="440" y="216"/>
                      </a:lnTo>
                      <a:lnTo>
                        <a:pt x="435" y="221"/>
                      </a:lnTo>
                      <a:lnTo>
                        <a:pt x="423" y="238"/>
                      </a:lnTo>
                      <a:lnTo>
                        <a:pt x="435" y="234"/>
                      </a:lnTo>
                      <a:lnTo>
                        <a:pt x="433" y="240"/>
                      </a:lnTo>
                      <a:lnTo>
                        <a:pt x="425" y="245"/>
                      </a:lnTo>
                      <a:lnTo>
                        <a:pt x="422" y="251"/>
                      </a:lnTo>
                      <a:lnTo>
                        <a:pt x="426" y="267"/>
                      </a:lnTo>
                      <a:lnTo>
                        <a:pt x="422" y="265"/>
                      </a:lnTo>
                      <a:lnTo>
                        <a:pt x="421" y="254"/>
                      </a:lnTo>
                      <a:lnTo>
                        <a:pt x="421" y="241"/>
                      </a:lnTo>
                      <a:lnTo>
                        <a:pt x="419" y="228"/>
                      </a:lnTo>
                      <a:lnTo>
                        <a:pt x="408" y="234"/>
                      </a:lnTo>
                      <a:lnTo>
                        <a:pt x="338" y="248"/>
                      </a:lnTo>
                      <a:lnTo>
                        <a:pt x="313" y="245"/>
                      </a:lnTo>
                      <a:lnTo>
                        <a:pt x="302" y="246"/>
                      </a:lnTo>
                      <a:lnTo>
                        <a:pt x="293" y="252"/>
                      </a:lnTo>
                      <a:lnTo>
                        <a:pt x="284" y="272"/>
                      </a:lnTo>
                      <a:lnTo>
                        <a:pt x="286" y="273"/>
                      </a:lnTo>
                      <a:lnTo>
                        <a:pt x="276" y="287"/>
                      </a:lnTo>
                      <a:lnTo>
                        <a:pt x="271" y="300"/>
                      </a:lnTo>
                      <a:lnTo>
                        <a:pt x="263" y="304"/>
                      </a:lnTo>
                      <a:lnTo>
                        <a:pt x="255" y="301"/>
                      </a:lnTo>
                      <a:lnTo>
                        <a:pt x="257" y="307"/>
                      </a:lnTo>
                      <a:lnTo>
                        <a:pt x="248" y="317"/>
                      </a:lnTo>
                      <a:lnTo>
                        <a:pt x="250" y="326"/>
                      </a:lnTo>
                      <a:lnTo>
                        <a:pt x="243" y="332"/>
                      </a:lnTo>
                      <a:lnTo>
                        <a:pt x="245" y="340"/>
                      </a:lnTo>
                      <a:lnTo>
                        <a:pt x="241" y="357"/>
                      </a:lnTo>
                      <a:lnTo>
                        <a:pt x="241" y="361"/>
                      </a:lnTo>
                      <a:lnTo>
                        <a:pt x="223" y="346"/>
                      </a:lnTo>
                      <a:lnTo>
                        <a:pt x="210" y="345"/>
                      </a:lnTo>
                      <a:lnTo>
                        <a:pt x="202" y="335"/>
                      </a:lnTo>
                      <a:lnTo>
                        <a:pt x="191" y="345"/>
                      </a:lnTo>
                      <a:lnTo>
                        <a:pt x="180" y="345"/>
                      </a:lnTo>
                      <a:lnTo>
                        <a:pt x="176" y="343"/>
                      </a:lnTo>
                      <a:lnTo>
                        <a:pt x="175" y="328"/>
                      </a:lnTo>
                      <a:lnTo>
                        <a:pt x="174" y="325"/>
                      </a:lnTo>
                      <a:lnTo>
                        <a:pt x="163" y="323"/>
                      </a:lnTo>
                      <a:lnTo>
                        <a:pt x="154" y="309"/>
                      </a:lnTo>
                      <a:lnTo>
                        <a:pt x="118" y="314"/>
                      </a:lnTo>
                      <a:lnTo>
                        <a:pt x="103" y="322"/>
                      </a:lnTo>
                      <a:lnTo>
                        <a:pt x="92" y="324"/>
                      </a:lnTo>
                      <a:lnTo>
                        <a:pt x="79" y="336"/>
                      </a:lnTo>
                      <a:lnTo>
                        <a:pt x="76" y="335"/>
                      </a:lnTo>
                      <a:close/>
                      <a:moveTo>
                        <a:pt x="721" y="41"/>
                      </a:moveTo>
                      <a:lnTo>
                        <a:pt x="719" y="38"/>
                      </a:lnTo>
                      <a:lnTo>
                        <a:pt x="707" y="39"/>
                      </a:lnTo>
                      <a:lnTo>
                        <a:pt x="697" y="85"/>
                      </a:lnTo>
                      <a:lnTo>
                        <a:pt x="697" y="101"/>
                      </a:lnTo>
                      <a:lnTo>
                        <a:pt x="699" y="101"/>
                      </a:lnTo>
                      <a:lnTo>
                        <a:pt x="700" y="82"/>
                      </a:lnTo>
                      <a:lnTo>
                        <a:pt x="707" y="73"/>
                      </a:lnTo>
                      <a:lnTo>
                        <a:pt x="710" y="64"/>
                      </a:lnTo>
                      <a:lnTo>
                        <a:pt x="711" y="47"/>
                      </a:lnTo>
                      <a:lnTo>
                        <a:pt x="717" y="42"/>
                      </a:lnTo>
                      <a:lnTo>
                        <a:pt x="721" y="41"/>
                      </a:lnTo>
                      <a:close/>
                      <a:moveTo>
                        <a:pt x="788" y="17"/>
                      </a:moveTo>
                      <a:lnTo>
                        <a:pt x="804" y="7"/>
                      </a:lnTo>
                      <a:lnTo>
                        <a:pt x="804" y="3"/>
                      </a:lnTo>
                      <a:lnTo>
                        <a:pt x="795" y="0"/>
                      </a:lnTo>
                      <a:lnTo>
                        <a:pt x="787" y="0"/>
                      </a:lnTo>
                      <a:lnTo>
                        <a:pt x="748" y="11"/>
                      </a:lnTo>
                      <a:lnTo>
                        <a:pt x="740" y="20"/>
                      </a:lnTo>
                      <a:lnTo>
                        <a:pt x="740" y="25"/>
                      </a:lnTo>
                      <a:lnTo>
                        <a:pt x="759" y="20"/>
                      </a:lnTo>
                      <a:lnTo>
                        <a:pt x="758" y="32"/>
                      </a:lnTo>
                      <a:lnTo>
                        <a:pt x="754" y="36"/>
                      </a:lnTo>
                      <a:lnTo>
                        <a:pt x="750" y="52"/>
                      </a:lnTo>
                      <a:lnTo>
                        <a:pt x="751" y="57"/>
                      </a:lnTo>
                      <a:lnTo>
                        <a:pt x="757" y="59"/>
                      </a:lnTo>
                      <a:lnTo>
                        <a:pt x="766" y="50"/>
                      </a:lnTo>
                      <a:lnTo>
                        <a:pt x="773" y="46"/>
                      </a:lnTo>
                      <a:lnTo>
                        <a:pt x="783" y="35"/>
                      </a:lnTo>
                      <a:lnTo>
                        <a:pt x="801" y="53"/>
                      </a:lnTo>
                      <a:lnTo>
                        <a:pt x="806" y="60"/>
                      </a:lnTo>
                      <a:lnTo>
                        <a:pt x="829" y="54"/>
                      </a:lnTo>
                      <a:lnTo>
                        <a:pt x="824" y="60"/>
                      </a:lnTo>
                      <a:lnTo>
                        <a:pt x="824" y="64"/>
                      </a:lnTo>
                      <a:lnTo>
                        <a:pt x="831" y="76"/>
                      </a:lnTo>
                      <a:lnTo>
                        <a:pt x="831" y="79"/>
                      </a:lnTo>
                      <a:lnTo>
                        <a:pt x="826" y="88"/>
                      </a:lnTo>
                      <a:lnTo>
                        <a:pt x="828" y="92"/>
                      </a:lnTo>
                      <a:lnTo>
                        <a:pt x="813" y="93"/>
                      </a:lnTo>
                      <a:lnTo>
                        <a:pt x="805" y="90"/>
                      </a:lnTo>
                      <a:lnTo>
                        <a:pt x="799" y="82"/>
                      </a:lnTo>
                      <a:lnTo>
                        <a:pt x="800" y="76"/>
                      </a:lnTo>
                      <a:lnTo>
                        <a:pt x="787" y="57"/>
                      </a:lnTo>
                      <a:lnTo>
                        <a:pt x="784" y="64"/>
                      </a:lnTo>
                      <a:lnTo>
                        <a:pt x="792" y="67"/>
                      </a:lnTo>
                      <a:lnTo>
                        <a:pt x="790" y="72"/>
                      </a:lnTo>
                      <a:lnTo>
                        <a:pt x="780" y="76"/>
                      </a:lnTo>
                      <a:lnTo>
                        <a:pt x="784" y="67"/>
                      </a:lnTo>
                      <a:lnTo>
                        <a:pt x="779" y="61"/>
                      </a:lnTo>
                      <a:lnTo>
                        <a:pt x="784" y="48"/>
                      </a:lnTo>
                      <a:lnTo>
                        <a:pt x="779" y="49"/>
                      </a:lnTo>
                      <a:lnTo>
                        <a:pt x="765" y="64"/>
                      </a:lnTo>
                      <a:lnTo>
                        <a:pt x="768" y="70"/>
                      </a:lnTo>
                      <a:lnTo>
                        <a:pt x="768" y="76"/>
                      </a:lnTo>
                      <a:lnTo>
                        <a:pt x="748" y="61"/>
                      </a:lnTo>
                      <a:lnTo>
                        <a:pt x="725" y="64"/>
                      </a:lnTo>
                      <a:lnTo>
                        <a:pt x="719" y="67"/>
                      </a:lnTo>
                      <a:lnTo>
                        <a:pt x="725" y="70"/>
                      </a:lnTo>
                      <a:lnTo>
                        <a:pt x="725" y="75"/>
                      </a:lnTo>
                      <a:lnTo>
                        <a:pt x="732" y="83"/>
                      </a:lnTo>
                      <a:lnTo>
                        <a:pt x="746" y="79"/>
                      </a:lnTo>
                      <a:lnTo>
                        <a:pt x="747" y="90"/>
                      </a:lnTo>
                      <a:lnTo>
                        <a:pt x="759" y="95"/>
                      </a:lnTo>
                      <a:lnTo>
                        <a:pt x="756" y="101"/>
                      </a:lnTo>
                      <a:lnTo>
                        <a:pt x="741" y="107"/>
                      </a:lnTo>
                      <a:lnTo>
                        <a:pt x="727" y="121"/>
                      </a:lnTo>
                      <a:lnTo>
                        <a:pt x="740" y="117"/>
                      </a:lnTo>
                      <a:lnTo>
                        <a:pt x="747" y="123"/>
                      </a:lnTo>
                      <a:lnTo>
                        <a:pt x="751" y="124"/>
                      </a:lnTo>
                      <a:lnTo>
                        <a:pt x="752" y="136"/>
                      </a:lnTo>
                      <a:lnTo>
                        <a:pt x="761" y="139"/>
                      </a:lnTo>
                      <a:lnTo>
                        <a:pt x="752" y="145"/>
                      </a:lnTo>
                      <a:lnTo>
                        <a:pt x="743" y="146"/>
                      </a:lnTo>
                      <a:lnTo>
                        <a:pt x="733" y="140"/>
                      </a:lnTo>
                      <a:lnTo>
                        <a:pt x="726" y="144"/>
                      </a:lnTo>
                      <a:lnTo>
                        <a:pt x="721" y="151"/>
                      </a:lnTo>
                      <a:lnTo>
                        <a:pt x="718" y="161"/>
                      </a:lnTo>
                      <a:lnTo>
                        <a:pt x="737" y="174"/>
                      </a:lnTo>
                      <a:lnTo>
                        <a:pt x="737" y="177"/>
                      </a:lnTo>
                      <a:lnTo>
                        <a:pt x="727" y="180"/>
                      </a:lnTo>
                      <a:lnTo>
                        <a:pt x="729" y="183"/>
                      </a:lnTo>
                      <a:lnTo>
                        <a:pt x="741" y="179"/>
                      </a:lnTo>
                      <a:lnTo>
                        <a:pt x="745" y="180"/>
                      </a:lnTo>
                      <a:lnTo>
                        <a:pt x="744" y="186"/>
                      </a:lnTo>
                      <a:lnTo>
                        <a:pt x="747" y="190"/>
                      </a:lnTo>
                      <a:lnTo>
                        <a:pt x="765" y="199"/>
                      </a:lnTo>
                      <a:lnTo>
                        <a:pt x="784" y="187"/>
                      </a:lnTo>
                      <a:lnTo>
                        <a:pt x="778" y="202"/>
                      </a:lnTo>
                      <a:lnTo>
                        <a:pt x="789" y="208"/>
                      </a:lnTo>
                      <a:lnTo>
                        <a:pt x="807" y="212"/>
                      </a:lnTo>
                      <a:lnTo>
                        <a:pt x="811" y="211"/>
                      </a:lnTo>
                      <a:lnTo>
                        <a:pt x="809" y="194"/>
                      </a:lnTo>
                      <a:lnTo>
                        <a:pt x="793" y="196"/>
                      </a:lnTo>
                      <a:lnTo>
                        <a:pt x="791" y="203"/>
                      </a:lnTo>
                      <a:lnTo>
                        <a:pt x="791" y="190"/>
                      </a:lnTo>
                      <a:lnTo>
                        <a:pt x="805" y="186"/>
                      </a:lnTo>
                      <a:lnTo>
                        <a:pt x="811" y="174"/>
                      </a:lnTo>
                      <a:lnTo>
                        <a:pt x="825" y="161"/>
                      </a:lnTo>
                      <a:lnTo>
                        <a:pt x="831" y="158"/>
                      </a:lnTo>
                      <a:lnTo>
                        <a:pt x="860" y="155"/>
                      </a:lnTo>
                      <a:lnTo>
                        <a:pt x="868" y="161"/>
                      </a:lnTo>
                      <a:lnTo>
                        <a:pt x="879" y="155"/>
                      </a:lnTo>
                      <a:lnTo>
                        <a:pt x="887" y="155"/>
                      </a:lnTo>
                      <a:lnTo>
                        <a:pt x="879" y="166"/>
                      </a:lnTo>
                      <a:lnTo>
                        <a:pt x="894" y="165"/>
                      </a:lnTo>
                      <a:lnTo>
                        <a:pt x="887" y="173"/>
                      </a:lnTo>
                      <a:lnTo>
                        <a:pt x="876" y="177"/>
                      </a:lnTo>
                      <a:lnTo>
                        <a:pt x="885" y="182"/>
                      </a:lnTo>
                      <a:lnTo>
                        <a:pt x="894" y="177"/>
                      </a:lnTo>
                      <a:lnTo>
                        <a:pt x="899" y="186"/>
                      </a:lnTo>
                      <a:lnTo>
                        <a:pt x="899" y="172"/>
                      </a:lnTo>
                      <a:lnTo>
                        <a:pt x="902" y="166"/>
                      </a:lnTo>
                      <a:lnTo>
                        <a:pt x="909" y="158"/>
                      </a:lnTo>
                      <a:lnTo>
                        <a:pt x="902" y="156"/>
                      </a:lnTo>
                      <a:lnTo>
                        <a:pt x="888" y="137"/>
                      </a:lnTo>
                      <a:lnTo>
                        <a:pt x="881" y="132"/>
                      </a:lnTo>
                      <a:lnTo>
                        <a:pt x="867" y="129"/>
                      </a:lnTo>
                      <a:lnTo>
                        <a:pt x="861" y="127"/>
                      </a:lnTo>
                      <a:lnTo>
                        <a:pt x="850" y="108"/>
                      </a:lnTo>
                      <a:lnTo>
                        <a:pt x="849" y="100"/>
                      </a:lnTo>
                      <a:lnTo>
                        <a:pt x="851" y="93"/>
                      </a:lnTo>
                      <a:lnTo>
                        <a:pt x="857" y="87"/>
                      </a:lnTo>
                      <a:lnTo>
                        <a:pt x="870" y="79"/>
                      </a:lnTo>
                      <a:lnTo>
                        <a:pt x="876" y="68"/>
                      </a:lnTo>
                      <a:lnTo>
                        <a:pt x="874" y="56"/>
                      </a:lnTo>
                      <a:lnTo>
                        <a:pt x="864" y="48"/>
                      </a:lnTo>
                      <a:lnTo>
                        <a:pt x="851" y="44"/>
                      </a:lnTo>
                      <a:lnTo>
                        <a:pt x="813" y="51"/>
                      </a:lnTo>
                      <a:lnTo>
                        <a:pt x="800" y="48"/>
                      </a:lnTo>
                      <a:lnTo>
                        <a:pt x="788" y="32"/>
                      </a:lnTo>
                      <a:lnTo>
                        <a:pt x="786" y="24"/>
                      </a:lnTo>
                      <a:lnTo>
                        <a:pt x="788" y="17"/>
                      </a:lnTo>
                      <a:close/>
                    </a:path>
                  </a:pathLst>
                </a:custGeom>
                <a:grpFill/>
                <a:ln w="4763" cap="flat">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bodyPr>
                <a:lstStyle/>
                <a:p>
                  <a:pPr algn="ctr"/>
                  <a:endParaRPr lang="en-US" sz="900" dirty="0">
                    <a:solidFill>
                      <a:prstClr val="black"/>
                    </a:solidFill>
                  </a:endParaRPr>
                </a:p>
              </p:txBody>
            </p:sp>
          </p:grpSp>
          <p:grpSp>
            <p:nvGrpSpPr>
              <p:cNvPr id="2332" name="Etiquettes">
                <a:extLst>
                  <a:ext uri="{FF2B5EF4-FFF2-40B4-BE49-F238E27FC236}">
                    <a16:creationId xmlns:a16="http://schemas.microsoft.com/office/drawing/2014/main" id="{61005EFF-352B-4EBC-AB7D-00C4A50855C2}"/>
                  </a:ext>
                </a:extLst>
              </p:cNvPr>
              <p:cNvGrpSpPr/>
              <p:nvPr/>
            </p:nvGrpSpPr>
            <p:grpSpPr>
              <a:xfrm>
                <a:off x="3412718" y="862409"/>
                <a:ext cx="5507861" cy="5216584"/>
                <a:chOff x="3412718" y="862409"/>
                <a:chExt cx="5507861" cy="5216584"/>
              </a:xfrm>
              <a:grpFill/>
            </p:grpSpPr>
            <p:sp>
              <p:nvSpPr>
                <p:cNvPr id="2358" name="Etiquette - DARK - Hamburg" hidden="1">
                  <a:extLst>
                    <a:ext uri="{FF2B5EF4-FFF2-40B4-BE49-F238E27FC236}">
                      <a16:creationId xmlns:a16="http://schemas.microsoft.com/office/drawing/2014/main" id="{6F715826-4C30-45E9-9F2D-3FA81232194D}"/>
                    </a:ext>
                  </a:extLst>
                </p:cNvPr>
                <p:cNvSpPr>
                  <a:spLocks noChangeArrowheads="1"/>
                </p:cNvSpPr>
                <p:nvPr/>
              </p:nvSpPr>
              <p:spPr bwMode="auto">
                <a:xfrm>
                  <a:off x="4600788" y="1695875"/>
                  <a:ext cx="1280528"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Hamburg</a:t>
                  </a:r>
                </a:p>
              </p:txBody>
            </p:sp>
            <p:sp>
              <p:nvSpPr>
                <p:cNvPr id="2359" name="Etiquette - Niedersachsen" hidden="1">
                  <a:extLst>
                    <a:ext uri="{FF2B5EF4-FFF2-40B4-BE49-F238E27FC236}">
                      <a16:creationId xmlns:a16="http://schemas.microsoft.com/office/drawing/2014/main" id="{5420808D-97BA-43B2-B7C0-B4C78D2E3651}"/>
                    </a:ext>
                  </a:extLst>
                </p:cNvPr>
                <p:cNvSpPr>
                  <a:spLocks noChangeArrowheads="1"/>
                </p:cNvSpPr>
                <p:nvPr/>
              </p:nvSpPr>
              <p:spPr bwMode="auto">
                <a:xfrm>
                  <a:off x="5008560" y="2566408"/>
                  <a:ext cx="2024361"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Niedersachsen</a:t>
                  </a:r>
                </a:p>
              </p:txBody>
            </p:sp>
            <p:sp>
              <p:nvSpPr>
                <p:cNvPr id="2360" name="Etiquette - DARK - Bremen" hidden="1">
                  <a:extLst>
                    <a:ext uri="{FF2B5EF4-FFF2-40B4-BE49-F238E27FC236}">
                      <a16:creationId xmlns:a16="http://schemas.microsoft.com/office/drawing/2014/main" id="{53ADF6E3-9011-4F8B-85EC-EC9DF7FD6389}"/>
                    </a:ext>
                  </a:extLst>
                </p:cNvPr>
                <p:cNvSpPr>
                  <a:spLocks noChangeArrowheads="1"/>
                </p:cNvSpPr>
                <p:nvPr/>
              </p:nvSpPr>
              <p:spPr bwMode="auto">
                <a:xfrm>
                  <a:off x="4071070" y="2352236"/>
                  <a:ext cx="1092213" cy="406754"/>
                </a:xfrm>
                <a:prstGeom prst="rect">
                  <a:avLst/>
                </a:prstGeom>
                <a:grpFill/>
                <a:ln w="9525">
                  <a:solidFill>
                    <a:srgbClr val="000000"/>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Bremen</a:t>
                  </a:r>
                </a:p>
              </p:txBody>
            </p:sp>
            <p:sp>
              <p:nvSpPr>
                <p:cNvPr id="2361" name="Etiquette - Hessen" hidden="1">
                  <a:extLst>
                    <a:ext uri="{FF2B5EF4-FFF2-40B4-BE49-F238E27FC236}">
                      <a16:creationId xmlns:a16="http://schemas.microsoft.com/office/drawing/2014/main" id="{61D6447E-90EA-4DAB-953A-34CC37F5F783}"/>
                    </a:ext>
                  </a:extLst>
                </p:cNvPr>
                <p:cNvSpPr>
                  <a:spLocks noChangeArrowheads="1"/>
                </p:cNvSpPr>
                <p:nvPr/>
              </p:nvSpPr>
              <p:spPr bwMode="auto">
                <a:xfrm>
                  <a:off x="5369801" y="3941809"/>
                  <a:ext cx="993349"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Hessen</a:t>
                  </a:r>
                </a:p>
              </p:txBody>
            </p:sp>
            <p:sp>
              <p:nvSpPr>
                <p:cNvPr id="2362" name="Etiquette - Bayern" hidden="1">
                  <a:extLst>
                    <a:ext uri="{FF2B5EF4-FFF2-40B4-BE49-F238E27FC236}">
                      <a16:creationId xmlns:a16="http://schemas.microsoft.com/office/drawing/2014/main" id="{2C01E7AA-F28F-43DC-B48C-C2F92FEFCF5B}"/>
                    </a:ext>
                  </a:extLst>
                </p:cNvPr>
                <p:cNvSpPr>
                  <a:spLocks noChangeArrowheads="1"/>
                </p:cNvSpPr>
                <p:nvPr/>
              </p:nvSpPr>
              <p:spPr bwMode="auto">
                <a:xfrm>
                  <a:off x="6542669" y="5109359"/>
                  <a:ext cx="965102"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Bayern</a:t>
                  </a:r>
                </a:p>
              </p:txBody>
            </p:sp>
            <p:sp>
              <p:nvSpPr>
                <p:cNvPr id="2363" name="Etiquette - DARK - Saarland" hidden="1">
                  <a:extLst>
                    <a:ext uri="{FF2B5EF4-FFF2-40B4-BE49-F238E27FC236}">
                      <a16:creationId xmlns:a16="http://schemas.microsoft.com/office/drawing/2014/main" id="{50C9824A-64C0-4368-858E-83F0AD5B4961}"/>
                    </a:ext>
                  </a:extLst>
                </p:cNvPr>
                <p:cNvSpPr>
                  <a:spLocks noChangeArrowheads="1"/>
                </p:cNvSpPr>
                <p:nvPr/>
              </p:nvSpPr>
              <p:spPr bwMode="auto">
                <a:xfrm>
                  <a:off x="3412718" y="5022342"/>
                  <a:ext cx="1191077" cy="406754"/>
                </a:xfrm>
                <a:prstGeom prst="rect">
                  <a:avLst/>
                </a:prstGeom>
                <a:grpFill/>
                <a:ln w="9525">
                  <a:solidFill>
                    <a:srgbClr val="000000"/>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r" eaLnBrk="1" hangingPunct="1"/>
                  <a:r>
                    <a:rPr lang="en-US" altLang="fr-FR" sz="900" dirty="0">
                      <a:solidFill>
                        <a:srgbClr val="000000"/>
                      </a:solidFill>
                      <a:latin typeface="Calibri" panose="020F0502020204030204"/>
                    </a:rPr>
                    <a:t>Saarland</a:t>
                  </a:r>
                </a:p>
              </p:txBody>
            </p:sp>
            <p:sp>
              <p:nvSpPr>
                <p:cNvPr id="2364" name="Etiquette - DARK - Berlin" hidden="1">
                  <a:extLst>
                    <a:ext uri="{FF2B5EF4-FFF2-40B4-BE49-F238E27FC236}">
                      <a16:creationId xmlns:a16="http://schemas.microsoft.com/office/drawing/2014/main" id="{6D9A90EA-DDA0-410D-9E38-86198C08E899}"/>
                    </a:ext>
                  </a:extLst>
                </p:cNvPr>
                <p:cNvSpPr>
                  <a:spLocks noChangeArrowheads="1"/>
                </p:cNvSpPr>
                <p:nvPr/>
              </p:nvSpPr>
              <p:spPr bwMode="auto">
                <a:xfrm>
                  <a:off x="8110834" y="2808975"/>
                  <a:ext cx="809745" cy="406754"/>
                </a:xfrm>
                <a:prstGeom prst="rect">
                  <a:avLst/>
                </a:prstGeom>
                <a:grpFill/>
                <a:ln w="9525">
                  <a:solidFill>
                    <a:srgbClr val="000000"/>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Berlin</a:t>
                  </a:r>
                </a:p>
              </p:txBody>
            </p:sp>
            <p:sp>
              <p:nvSpPr>
                <p:cNvPr id="2365" name="Etiquette - Brandenburg" hidden="1">
                  <a:extLst>
                    <a:ext uri="{FF2B5EF4-FFF2-40B4-BE49-F238E27FC236}">
                      <a16:creationId xmlns:a16="http://schemas.microsoft.com/office/drawing/2014/main" id="{058EC2A3-6263-4F0B-995B-AA741524C189}"/>
                    </a:ext>
                  </a:extLst>
                </p:cNvPr>
                <p:cNvSpPr>
                  <a:spLocks noChangeArrowheads="1"/>
                </p:cNvSpPr>
                <p:nvPr/>
              </p:nvSpPr>
              <p:spPr bwMode="auto">
                <a:xfrm>
                  <a:off x="6891781" y="2946110"/>
                  <a:ext cx="1803094"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Brandenburg</a:t>
                  </a:r>
                </a:p>
              </p:txBody>
            </p:sp>
            <p:sp>
              <p:nvSpPr>
                <p:cNvPr id="2366" name="Etiquette - Sachsen" hidden="1">
                  <a:extLst>
                    <a:ext uri="{FF2B5EF4-FFF2-40B4-BE49-F238E27FC236}">
                      <a16:creationId xmlns:a16="http://schemas.microsoft.com/office/drawing/2014/main" id="{FE2C905C-F1E2-4D92-8D41-6A0AFDF0561C}"/>
                    </a:ext>
                  </a:extLst>
                </p:cNvPr>
                <p:cNvSpPr>
                  <a:spLocks noChangeArrowheads="1"/>
                </p:cNvSpPr>
                <p:nvPr/>
              </p:nvSpPr>
              <p:spPr bwMode="auto">
                <a:xfrm>
                  <a:off x="7153015" y="3650154"/>
                  <a:ext cx="1115752"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Sachsen</a:t>
                  </a:r>
                </a:p>
              </p:txBody>
            </p:sp>
            <p:sp>
              <p:nvSpPr>
                <p:cNvPr id="2367" name="Etiquette - Sachsen-Anhalt" hidden="1">
                  <a:extLst>
                    <a:ext uri="{FF2B5EF4-FFF2-40B4-BE49-F238E27FC236}">
                      <a16:creationId xmlns:a16="http://schemas.microsoft.com/office/drawing/2014/main" id="{4D827A49-D9CA-4684-8D32-CE78D157D978}"/>
                    </a:ext>
                  </a:extLst>
                </p:cNvPr>
                <p:cNvSpPr>
                  <a:spLocks noChangeArrowheads="1"/>
                </p:cNvSpPr>
                <p:nvPr/>
              </p:nvSpPr>
              <p:spPr bwMode="auto">
                <a:xfrm>
                  <a:off x="5942752" y="3162983"/>
                  <a:ext cx="2127929"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Sachsen-Anhalt</a:t>
                  </a:r>
                </a:p>
              </p:txBody>
            </p:sp>
            <p:sp>
              <p:nvSpPr>
                <p:cNvPr id="2368" name="Etiquette - Schleswig-Holstein" hidden="1">
                  <a:extLst>
                    <a:ext uri="{FF2B5EF4-FFF2-40B4-BE49-F238E27FC236}">
                      <a16:creationId xmlns:a16="http://schemas.microsoft.com/office/drawing/2014/main" id="{D038153D-F5B7-47AE-B1A2-FF975D221FD3}"/>
                    </a:ext>
                  </a:extLst>
                </p:cNvPr>
                <p:cNvSpPr>
                  <a:spLocks noChangeArrowheads="1"/>
                </p:cNvSpPr>
                <p:nvPr/>
              </p:nvSpPr>
              <p:spPr bwMode="auto">
                <a:xfrm>
                  <a:off x="5794563" y="1033608"/>
                  <a:ext cx="727313" cy="1627020"/>
                </a:xfrm>
                <a:prstGeom prst="rect">
                  <a:avLst/>
                </a:prstGeom>
                <a:grpFill/>
                <a:ln w="9525">
                  <a:solidFill>
                    <a:srgbClr val="000000"/>
                  </a:solidFill>
                  <a:miter lim="800000"/>
                  <a:headEnd/>
                  <a:tailEnd/>
                </a:ln>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Schleswig-Holstein</a:t>
                  </a:r>
                </a:p>
              </p:txBody>
            </p:sp>
            <p:sp>
              <p:nvSpPr>
                <p:cNvPr id="2369" name="Etiquette - Mecklenburg-Vorpommern" hidden="1">
                  <a:extLst>
                    <a:ext uri="{FF2B5EF4-FFF2-40B4-BE49-F238E27FC236}">
                      <a16:creationId xmlns:a16="http://schemas.microsoft.com/office/drawing/2014/main" id="{F3442CC5-EA8A-415E-8304-54B870096171}"/>
                    </a:ext>
                  </a:extLst>
                </p:cNvPr>
                <p:cNvSpPr>
                  <a:spLocks noChangeArrowheads="1"/>
                </p:cNvSpPr>
                <p:nvPr/>
              </p:nvSpPr>
              <p:spPr bwMode="auto">
                <a:xfrm>
                  <a:off x="6763906" y="862409"/>
                  <a:ext cx="968306" cy="2440531"/>
                </a:xfrm>
                <a:prstGeom prst="rect">
                  <a:avLst/>
                </a:prstGeom>
                <a:grpFill/>
                <a:ln w="9525">
                  <a:solidFill>
                    <a:srgbClr val="000000"/>
                  </a:solidFill>
                  <a:miter lim="800000"/>
                  <a:headEnd/>
                  <a:tailEnd/>
                </a:ln>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Mecklenburg-Vorpommern</a:t>
                  </a:r>
                </a:p>
              </p:txBody>
            </p:sp>
            <p:sp>
              <p:nvSpPr>
                <p:cNvPr id="2370" name="Etiquette - Nordrhein-Westfalen" hidden="1">
                  <a:extLst>
                    <a:ext uri="{FF2B5EF4-FFF2-40B4-BE49-F238E27FC236}">
                      <a16:creationId xmlns:a16="http://schemas.microsoft.com/office/drawing/2014/main" id="{2477386B-BD4D-42A0-B189-F5A71B8658A1}"/>
                    </a:ext>
                  </a:extLst>
                </p:cNvPr>
                <p:cNvSpPr>
                  <a:spLocks noChangeArrowheads="1"/>
                </p:cNvSpPr>
                <p:nvPr/>
              </p:nvSpPr>
              <p:spPr bwMode="auto">
                <a:xfrm>
                  <a:off x="3669750" y="3362834"/>
                  <a:ext cx="2928259"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Nordrhein-Westfalen</a:t>
                  </a:r>
                </a:p>
              </p:txBody>
            </p:sp>
            <p:sp>
              <p:nvSpPr>
                <p:cNvPr id="2371" name="Etiquette - Thüringen" hidden="1">
                  <a:extLst>
                    <a:ext uri="{FF2B5EF4-FFF2-40B4-BE49-F238E27FC236}">
                      <a16:creationId xmlns:a16="http://schemas.microsoft.com/office/drawing/2014/main" id="{1641861B-642A-4764-9DF2-15675DD082AF}"/>
                    </a:ext>
                  </a:extLst>
                </p:cNvPr>
                <p:cNvSpPr>
                  <a:spLocks noChangeArrowheads="1"/>
                </p:cNvSpPr>
                <p:nvPr/>
              </p:nvSpPr>
              <p:spPr bwMode="auto">
                <a:xfrm>
                  <a:off x="6061716" y="3816842"/>
                  <a:ext cx="1407636"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Thüringen</a:t>
                  </a:r>
                </a:p>
              </p:txBody>
            </p:sp>
            <p:sp>
              <p:nvSpPr>
                <p:cNvPr id="2372" name="Etiquette - Rheinland-Pfalz" hidden="1">
                  <a:extLst>
                    <a:ext uri="{FF2B5EF4-FFF2-40B4-BE49-F238E27FC236}">
                      <a16:creationId xmlns:a16="http://schemas.microsoft.com/office/drawing/2014/main" id="{9FFF99F7-82D2-48A5-8228-B77BFDAD9ABF}"/>
                    </a:ext>
                  </a:extLst>
                </p:cNvPr>
                <p:cNvSpPr>
                  <a:spLocks noChangeArrowheads="1"/>
                </p:cNvSpPr>
                <p:nvPr/>
              </p:nvSpPr>
              <p:spPr bwMode="auto">
                <a:xfrm>
                  <a:off x="4053261" y="4543339"/>
                  <a:ext cx="2142056"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err="1">
                      <a:solidFill>
                        <a:srgbClr val="000000"/>
                      </a:solidFill>
                      <a:latin typeface="Calibri" panose="020F0502020204030204"/>
                    </a:rPr>
                    <a:t>Rheinland</a:t>
                  </a:r>
                  <a:r>
                    <a:rPr lang="en-US" altLang="fr-FR" sz="900" dirty="0">
                      <a:solidFill>
                        <a:srgbClr val="000000"/>
                      </a:solidFill>
                      <a:latin typeface="Calibri" panose="020F0502020204030204"/>
                    </a:rPr>
                    <a:t>-Pfalz</a:t>
                  </a:r>
                </a:p>
              </p:txBody>
            </p:sp>
            <p:sp>
              <p:nvSpPr>
                <p:cNvPr id="2373" name="Etiquette - Baden-Württemberg" hidden="1">
                  <a:extLst>
                    <a:ext uri="{FF2B5EF4-FFF2-40B4-BE49-F238E27FC236}">
                      <a16:creationId xmlns:a16="http://schemas.microsoft.com/office/drawing/2014/main" id="{5E5C226C-92DE-4664-A419-214DC6CC1829}"/>
                    </a:ext>
                  </a:extLst>
                </p:cNvPr>
                <p:cNvSpPr>
                  <a:spLocks noChangeArrowheads="1"/>
                </p:cNvSpPr>
                <p:nvPr/>
              </p:nvSpPr>
              <p:spPr bwMode="auto">
                <a:xfrm>
                  <a:off x="4405653" y="5672239"/>
                  <a:ext cx="2867057" cy="406754"/>
                </a:xfrm>
                <a:prstGeom prst="rect">
                  <a:avLst/>
                </a:prstGeom>
                <a:grpFill/>
                <a:ln w="9525">
                  <a:solidFill>
                    <a:srgbClr val="000000"/>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rgbClr val="000000"/>
                      </a:solidFill>
                      <a:latin typeface="Calibri" panose="020F0502020204030204"/>
                    </a:rPr>
                    <a:t>Baden-Württemberg</a:t>
                  </a:r>
                </a:p>
              </p:txBody>
            </p:sp>
            <p:cxnSp>
              <p:nvCxnSpPr>
                <p:cNvPr id="2374" name="Etiquette -" hidden="1">
                  <a:extLst>
                    <a:ext uri="{FF2B5EF4-FFF2-40B4-BE49-F238E27FC236}">
                      <a16:creationId xmlns:a16="http://schemas.microsoft.com/office/drawing/2014/main" id="{522C101A-501C-4694-97AA-765DCA0BEF76}"/>
                    </a:ext>
                  </a:extLst>
                </p:cNvPr>
                <p:cNvCxnSpPr/>
                <p:nvPr/>
              </p:nvCxnSpPr>
              <p:spPr>
                <a:xfrm flipV="1">
                  <a:off x="4635345" y="5091590"/>
                  <a:ext cx="226843" cy="3"/>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75" name="Etiquette -" hidden="1">
                  <a:extLst>
                    <a:ext uri="{FF2B5EF4-FFF2-40B4-BE49-F238E27FC236}">
                      <a16:creationId xmlns:a16="http://schemas.microsoft.com/office/drawing/2014/main" id="{556C5FF9-1F07-4B63-B687-27A6CA8879A0}"/>
                    </a:ext>
                  </a:extLst>
                </p:cNvPr>
                <p:cNvCxnSpPr/>
                <p:nvPr/>
              </p:nvCxnSpPr>
              <p:spPr>
                <a:xfrm>
                  <a:off x="4862188" y="2427083"/>
                  <a:ext cx="757724" cy="0"/>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76" name="Etiquette -" hidden="1">
                  <a:extLst>
                    <a:ext uri="{FF2B5EF4-FFF2-40B4-BE49-F238E27FC236}">
                      <a16:creationId xmlns:a16="http://schemas.microsoft.com/office/drawing/2014/main" id="{BE304AF9-A3FC-474E-B628-9DC1F6BA88B3}"/>
                    </a:ext>
                  </a:extLst>
                </p:cNvPr>
                <p:cNvCxnSpPr/>
                <p:nvPr/>
              </p:nvCxnSpPr>
              <p:spPr>
                <a:xfrm>
                  <a:off x="7776089" y="2883647"/>
                  <a:ext cx="552961" cy="0"/>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77" name="Etiquette -" hidden="1">
                  <a:extLst>
                    <a:ext uri="{FF2B5EF4-FFF2-40B4-BE49-F238E27FC236}">
                      <a16:creationId xmlns:a16="http://schemas.microsoft.com/office/drawing/2014/main" id="{BB64B8BB-8355-4E12-8A3B-B54375F9043C}"/>
                    </a:ext>
                  </a:extLst>
                </p:cNvPr>
                <p:cNvCxnSpPr/>
                <p:nvPr/>
              </p:nvCxnSpPr>
              <p:spPr>
                <a:xfrm>
                  <a:off x="5488973" y="1944172"/>
                  <a:ext cx="692089" cy="228595"/>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333" name="GradientColorLegend">
                <a:extLst>
                  <a:ext uri="{FF2B5EF4-FFF2-40B4-BE49-F238E27FC236}">
                    <a16:creationId xmlns:a16="http://schemas.microsoft.com/office/drawing/2014/main" id="{A6E78C8F-511C-4207-9C9D-47C66AE3D43C}"/>
                  </a:ext>
                </a:extLst>
              </p:cNvPr>
              <p:cNvGrpSpPr/>
              <p:nvPr/>
            </p:nvGrpSpPr>
            <p:grpSpPr>
              <a:xfrm>
                <a:off x="3197084" y="2823673"/>
                <a:ext cx="188314" cy="2206077"/>
                <a:chOff x="1032050" y="2160859"/>
                <a:chExt cx="188314" cy="2206077"/>
              </a:xfrm>
              <a:grpFill/>
            </p:grpSpPr>
            <p:sp>
              <p:nvSpPr>
                <p:cNvPr id="2355" name="Etiquette - GradientColorLegend - DARK - Shape" hidden="1">
                  <a:extLst>
                    <a:ext uri="{FF2B5EF4-FFF2-40B4-BE49-F238E27FC236}">
                      <a16:creationId xmlns:a16="http://schemas.microsoft.com/office/drawing/2014/main" id="{28AF3CEC-B96A-4B27-A368-6890D0DB961C}"/>
                    </a:ext>
                  </a:extLst>
                </p:cNvPr>
                <p:cNvSpPr/>
                <p:nvPr/>
              </p:nvSpPr>
              <p:spPr>
                <a:xfrm>
                  <a:off x="1066170" y="2575168"/>
                  <a:ext cx="120073" cy="1382400"/>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prstClr val="white"/>
                    </a:solidFill>
                  </a:endParaRPr>
                </a:p>
              </p:txBody>
            </p:sp>
            <p:sp>
              <p:nvSpPr>
                <p:cNvPr id="2356" name="Etiquette - GradientColorLegend - DARK - MaxValue" hidden="1">
                  <a:extLst>
                    <a:ext uri="{FF2B5EF4-FFF2-40B4-BE49-F238E27FC236}">
                      <a16:creationId xmlns:a16="http://schemas.microsoft.com/office/drawing/2014/main" id="{CCE403C7-1F41-420D-8800-9F17F83BE3E2}"/>
                    </a:ext>
                  </a:extLst>
                </p:cNvPr>
                <p:cNvSpPr txBox="1"/>
                <p:nvPr/>
              </p:nvSpPr>
              <p:spPr>
                <a:xfrm>
                  <a:off x="1032050" y="2160859"/>
                  <a:ext cx="188314" cy="406753"/>
                </a:xfrm>
                <a:prstGeom prst="rect">
                  <a:avLst/>
                </a:prstGeom>
                <a:grpFill/>
                <a:ln>
                  <a:solidFill>
                    <a:schemeClr val="bg1">
                      <a:lumMod val="75000"/>
                    </a:schemeClr>
                  </a:solidFill>
                </a:ln>
              </p:spPr>
              <p:txBody>
                <a:bodyPr wrap="none" lIns="0" tIns="0" rIns="0" bIns="0" rtlCol="0" anchor="b">
                  <a:spAutoFit/>
                </a:bodyPr>
                <a:lstStyle/>
                <a:p>
                  <a:pPr algn="ctr"/>
                  <a:r>
                    <a:rPr lang="en-US" sz="900" dirty="0">
                      <a:solidFill>
                        <a:prstClr val="black"/>
                      </a:solidFill>
                    </a:rPr>
                    <a:t>1</a:t>
                  </a:r>
                </a:p>
              </p:txBody>
            </p:sp>
            <p:sp>
              <p:nvSpPr>
                <p:cNvPr id="2357" name="Etiquette - GradientColorLegend - DARK - MinValue" hidden="1">
                  <a:extLst>
                    <a:ext uri="{FF2B5EF4-FFF2-40B4-BE49-F238E27FC236}">
                      <a16:creationId xmlns:a16="http://schemas.microsoft.com/office/drawing/2014/main" id="{56BAE5E2-6D90-42AD-98D3-2BE40CE6260B}"/>
                    </a:ext>
                  </a:extLst>
                </p:cNvPr>
                <p:cNvSpPr txBox="1"/>
                <p:nvPr/>
              </p:nvSpPr>
              <p:spPr>
                <a:xfrm>
                  <a:off x="1032050" y="3960182"/>
                  <a:ext cx="188314" cy="406754"/>
                </a:xfrm>
                <a:prstGeom prst="rect">
                  <a:avLst/>
                </a:prstGeom>
                <a:grpFill/>
                <a:ln>
                  <a:solidFill>
                    <a:schemeClr val="bg1">
                      <a:lumMod val="75000"/>
                    </a:schemeClr>
                  </a:solidFill>
                </a:ln>
              </p:spPr>
              <p:txBody>
                <a:bodyPr wrap="none" lIns="0" tIns="0" rIns="0" bIns="0" rtlCol="0">
                  <a:spAutoFit/>
                </a:bodyPr>
                <a:lstStyle/>
                <a:p>
                  <a:pPr algn="ctr"/>
                  <a:r>
                    <a:rPr lang="en-US" sz="900" dirty="0">
                      <a:solidFill>
                        <a:prstClr val="black"/>
                      </a:solidFill>
                    </a:rPr>
                    <a:t>1</a:t>
                  </a:r>
                </a:p>
              </p:txBody>
            </p:sp>
          </p:grpSp>
          <p:grpSp>
            <p:nvGrpSpPr>
              <p:cNvPr id="2334" name="RangeColorLegend">
                <a:extLst>
                  <a:ext uri="{FF2B5EF4-FFF2-40B4-BE49-F238E27FC236}">
                    <a16:creationId xmlns:a16="http://schemas.microsoft.com/office/drawing/2014/main" id="{A8CDC251-FCE7-4323-B23D-BA8E2926872B}"/>
                  </a:ext>
                </a:extLst>
              </p:cNvPr>
              <p:cNvGrpSpPr/>
              <p:nvPr/>
            </p:nvGrpSpPr>
            <p:grpSpPr>
              <a:xfrm>
                <a:off x="2726093" y="3530476"/>
                <a:ext cx="1270800" cy="1538880"/>
                <a:chOff x="9228362" y="4919762"/>
                <a:chExt cx="1270800" cy="1538880"/>
              </a:xfrm>
              <a:grpFill/>
            </p:grpSpPr>
            <p:sp>
              <p:nvSpPr>
                <p:cNvPr id="2335" name="Etiquette - RangeColorLegend - DARK - Color - 2" hidden="1">
                  <a:extLst>
                    <a:ext uri="{FF2B5EF4-FFF2-40B4-BE49-F238E27FC236}">
                      <a16:creationId xmlns:a16="http://schemas.microsoft.com/office/drawing/2014/main" id="{C6E8FF50-805C-41A9-A84A-11C854AECAE1}"/>
                    </a:ext>
                  </a:extLst>
                </p:cNvPr>
                <p:cNvSpPr/>
                <p:nvPr/>
              </p:nvSpPr>
              <p:spPr>
                <a:xfrm>
                  <a:off x="9228362" y="5073650"/>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36" name="Etiquette - RangeColorLegend - DARK - Color - 1" hidden="1">
                  <a:extLst>
                    <a:ext uri="{FF2B5EF4-FFF2-40B4-BE49-F238E27FC236}">
                      <a16:creationId xmlns:a16="http://schemas.microsoft.com/office/drawing/2014/main" id="{5CE96225-7441-4FD6-8690-9AF6692A2EF4}"/>
                    </a:ext>
                  </a:extLst>
                </p:cNvPr>
                <p:cNvSpPr/>
                <p:nvPr/>
              </p:nvSpPr>
              <p:spPr>
                <a:xfrm>
                  <a:off x="9228362" y="4919762"/>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37" name="Etiquette - RangeColorLegend - DARK - Number - 2" hidden="1">
                  <a:extLst>
                    <a:ext uri="{FF2B5EF4-FFF2-40B4-BE49-F238E27FC236}">
                      <a16:creationId xmlns:a16="http://schemas.microsoft.com/office/drawing/2014/main" id="{D69EC8C4-35B5-4294-A2F5-25C6863E0A8E}"/>
                    </a:ext>
                  </a:extLst>
                </p:cNvPr>
                <p:cNvSpPr/>
                <p:nvPr/>
              </p:nvSpPr>
              <p:spPr>
                <a:xfrm>
                  <a:off x="9383162" y="5073650"/>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100 to 200[</a:t>
                  </a:r>
                </a:p>
              </p:txBody>
            </p:sp>
            <p:sp>
              <p:nvSpPr>
                <p:cNvPr id="2338" name="Etiquette - RangeColorLegend - DARK - Number - 1" hidden="1">
                  <a:extLst>
                    <a:ext uri="{FF2B5EF4-FFF2-40B4-BE49-F238E27FC236}">
                      <a16:creationId xmlns:a16="http://schemas.microsoft.com/office/drawing/2014/main" id="{F7A9807D-8449-455E-94F6-3AB4BC467B82}"/>
                    </a:ext>
                  </a:extLst>
                </p:cNvPr>
                <p:cNvSpPr/>
                <p:nvPr/>
              </p:nvSpPr>
              <p:spPr>
                <a:xfrm>
                  <a:off x="9383162" y="4919762"/>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0 to 100[</a:t>
                  </a:r>
                </a:p>
              </p:txBody>
            </p:sp>
            <p:sp>
              <p:nvSpPr>
                <p:cNvPr id="2339" name="Etiquette - RangeColorLegend - DARK - Color - 4" hidden="1">
                  <a:extLst>
                    <a:ext uri="{FF2B5EF4-FFF2-40B4-BE49-F238E27FC236}">
                      <a16:creationId xmlns:a16="http://schemas.microsoft.com/office/drawing/2014/main" id="{625A8B68-9189-4138-9EE5-A7136E4724F5}"/>
                    </a:ext>
                  </a:extLst>
                </p:cNvPr>
                <p:cNvSpPr/>
                <p:nvPr/>
              </p:nvSpPr>
              <p:spPr>
                <a:xfrm>
                  <a:off x="9228362" y="5381426"/>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40" name="Etiquette - RangeColorLegend - DARK - Color - 3" hidden="1">
                  <a:extLst>
                    <a:ext uri="{FF2B5EF4-FFF2-40B4-BE49-F238E27FC236}">
                      <a16:creationId xmlns:a16="http://schemas.microsoft.com/office/drawing/2014/main" id="{4E11A682-22EB-4573-9E6E-824D298C1C42}"/>
                    </a:ext>
                  </a:extLst>
                </p:cNvPr>
                <p:cNvSpPr/>
                <p:nvPr/>
              </p:nvSpPr>
              <p:spPr>
                <a:xfrm>
                  <a:off x="9228362" y="5227538"/>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41" name="Etiquette - RangeColorLegend - DARK - Number - 4" hidden="1">
                  <a:extLst>
                    <a:ext uri="{FF2B5EF4-FFF2-40B4-BE49-F238E27FC236}">
                      <a16:creationId xmlns:a16="http://schemas.microsoft.com/office/drawing/2014/main" id="{2C638019-B3E3-436E-8D08-A81D1FD70294}"/>
                    </a:ext>
                  </a:extLst>
                </p:cNvPr>
                <p:cNvSpPr/>
                <p:nvPr/>
              </p:nvSpPr>
              <p:spPr>
                <a:xfrm>
                  <a:off x="9383162" y="5381426"/>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300 to 400[</a:t>
                  </a:r>
                </a:p>
              </p:txBody>
            </p:sp>
            <p:sp>
              <p:nvSpPr>
                <p:cNvPr id="2342" name="Etiquette - RangeColorLegend - DARK - Number - 3" hidden="1">
                  <a:extLst>
                    <a:ext uri="{FF2B5EF4-FFF2-40B4-BE49-F238E27FC236}">
                      <a16:creationId xmlns:a16="http://schemas.microsoft.com/office/drawing/2014/main" id="{33ECC250-679D-47D5-B9A4-B2E6A25FA5EE}"/>
                    </a:ext>
                  </a:extLst>
                </p:cNvPr>
                <p:cNvSpPr/>
                <p:nvPr/>
              </p:nvSpPr>
              <p:spPr>
                <a:xfrm>
                  <a:off x="9383162" y="5227538"/>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200 to 300[</a:t>
                  </a:r>
                </a:p>
              </p:txBody>
            </p:sp>
            <p:sp>
              <p:nvSpPr>
                <p:cNvPr id="2343" name="Etiquette - RangeColorLegend - DARK - Color - 5" hidden="1">
                  <a:extLst>
                    <a:ext uri="{FF2B5EF4-FFF2-40B4-BE49-F238E27FC236}">
                      <a16:creationId xmlns:a16="http://schemas.microsoft.com/office/drawing/2014/main" id="{BD07D19D-48D1-436E-97A0-1F8CF95D973B}"/>
                    </a:ext>
                  </a:extLst>
                </p:cNvPr>
                <p:cNvSpPr/>
                <p:nvPr/>
              </p:nvSpPr>
              <p:spPr>
                <a:xfrm>
                  <a:off x="9228362" y="5535314"/>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44" name="Etiquette - RangeColorLegend - DARK - Number - 5" hidden="1">
                  <a:extLst>
                    <a:ext uri="{FF2B5EF4-FFF2-40B4-BE49-F238E27FC236}">
                      <a16:creationId xmlns:a16="http://schemas.microsoft.com/office/drawing/2014/main" id="{A3B797EF-A197-499D-A1CE-080B13F05D88}"/>
                    </a:ext>
                  </a:extLst>
                </p:cNvPr>
                <p:cNvSpPr/>
                <p:nvPr/>
              </p:nvSpPr>
              <p:spPr>
                <a:xfrm>
                  <a:off x="9383162" y="5535314"/>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400+</a:t>
                  </a:r>
                </a:p>
              </p:txBody>
            </p:sp>
            <p:sp>
              <p:nvSpPr>
                <p:cNvPr id="2345" name="Etiquette - RangeColorLegend - DARK - Color - 6" hidden="1">
                  <a:extLst>
                    <a:ext uri="{FF2B5EF4-FFF2-40B4-BE49-F238E27FC236}">
                      <a16:creationId xmlns:a16="http://schemas.microsoft.com/office/drawing/2014/main" id="{4ACF76D5-63CE-4EF8-BFB7-AC557F1E8878}"/>
                    </a:ext>
                  </a:extLst>
                </p:cNvPr>
                <p:cNvSpPr/>
                <p:nvPr/>
              </p:nvSpPr>
              <p:spPr>
                <a:xfrm>
                  <a:off x="9228362" y="5689202"/>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46" name="Etiquette - RangeColorLegend - DARK - Number - 6" hidden="1">
                  <a:extLst>
                    <a:ext uri="{FF2B5EF4-FFF2-40B4-BE49-F238E27FC236}">
                      <a16:creationId xmlns:a16="http://schemas.microsoft.com/office/drawing/2014/main" id="{77C02A42-00E3-4CC5-A681-59AC1808144B}"/>
                    </a:ext>
                  </a:extLst>
                </p:cNvPr>
                <p:cNvSpPr/>
                <p:nvPr/>
              </p:nvSpPr>
              <p:spPr>
                <a:xfrm>
                  <a:off x="9383162" y="5689202"/>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400+</a:t>
                  </a:r>
                </a:p>
              </p:txBody>
            </p:sp>
            <p:sp>
              <p:nvSpPr>
                <p:cNvPr id="2347" name="Etiquette - RangeColorLegend - DARK - Color - 7" hidden="1">
                  <a:extLst>
                    <a:ext uri="{FF2B5EF4-FFF2-40B4-BE49-F238E27FC236}">
                      <a16:creationId xmlns:a16="http://schemas.microsoft.com/office/drawing/2014/main" id="{3E49458E-A630-42C0-BF34-F6A5E3B645AE}"/>
                    </a:ext>
                  </a:extLst>
                </p:cNvPr>
                <p:cNvSpPr/>
                <p:nvPr/>
              </p:nvSpPr>
              <p:spPr>
                <a:xfrm>
                  <a:off x="9228362" y="5843090"/>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48" name="Etiquette - RangeColorLegend - DARK - Number - 7" hidden="1">
                  <a:extLst>
                    <a:ext uri="{FF2B5EF4-FFF2-40B4-BE49-F238E27FC236}">
                      <a16:creationId xmlns:a16="http://schemas.microsoft.com/office/drawing/2014/main" id="{13E10F2B-C357-439C-9178-3977DA367DA7}"/>
                    </a:ext>
                  </a:extLst>
                </p:cNvPr>
                <p:cNvSpPr/>
                <p:nvPr/>
              </p:nvSpPr>
              <p:spPr>
                <a:xfrm>
                  <a:off x="9383162" y="5843090"/>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400+</a:t>
                  </a:r>
                </a:p>
              </p:txBody>
            </p:sp>
            <p:sp>
              <p:nvSpPr>
                <p:cNvPr id="2349" name="Etiquette - RangeColorLegend - DARK - Color - 8" hidden="1">
                  <a:extLst>
                    <a:ext uri="{FF2B5EF4-FFF2-40B4-BE49-F238E27FC236}">
                      <a16:creationId xmlns:a16="http://schemas.microsoft.com/office/drawing/2014/main" id="{8E1028D9-8C66-4130-A529-B4449B9409B2}"/>
                    </a:ext>
                  </a:extLst>
                </p:cNvPr>
                <p:cNvSpPr/>
                <p:nvPr/>
              </p:nvSpPr>
              <p:spPr>
                <a:xfrm>
                  <a:off x="9228362" y="5996978"/>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50" name="Etiquette - RangeColorLegend - DARK - Number - 8" hidden="1">
                  <a:extLst>
                    <a:ext uri="{FF2B5EF4-FFF2-40B4-BE49-F238E27FC236}">
                      <a16:creationId xmlns:a16="http://schemas.microsoft.com/office/drawing/2014/main" id="{3EDEFB41-1CAE-4676-B0C5-7B9B974E987F}"/>
                    </a:ext>
                  </a:extLst>
                </p:cNvPr>
                <p:cNvSpPr/>
                <p:nvPr/>
              </p:nvSpPr>
              <p:spPr>
                <a:xfrm>
                  <a:off x="9383162" y="5996978"/>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400+</a:t>
                  </a:r>
                </a:p>
              </p:txBody>
            </p:sp>
            <p:sp>
              <p:nvSpPr>
                <p:cNvPr id="2351" name="Etiquette - RangeColorLegend - DARK - Color - 9" hidden="1">
                  <a:extLst>
                    <a:ext uri="{FF2B5EF4-FFF2-40B4-BE49-F238E27FC236}">
                      <a16:creationId xmlns:a16="http://schemas.microsoft.com/office/drawing/2014/main" id="{A5A66FD2-BA71-4613-965F-4076C7A91E25}"/>
                    </a:ext>
                  </a:extLst>
                </p:cNvPr>
                <p:cNvSpPr/>
                <p:nvPr/>
              </p:nvSpPr>
              <p:spPr>
                <a:xfrm>
                  <a:off x="9228362" y="6150866"/>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52" name="Etiquette - RangeColorLegend - DARK - Number - 9" hidden="1">
                  <a:extLst>
                    <a:ext uri="{FF2B5EF4-FFF2-40B4-BE49-F238E27FC236}">
                      <a16:creationId xmlns:a16="http://schemas.microsoft.com/office/drawing/2014/main" id="{8F7808C8-9719-4810-82D6-260A3B69FA55}"/>
                    </a:ext>
                  </a:extLst>
                </p:cNvPr>
                <p:cNvSpPr/>
                <p:nvPr/>
              </p:nvSpPr>
              <p:spPr>
                <a:xfrm>
                  <a:off x="9383162" y="6150866"/>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400+</a:t>
                  </a:r>
                </a:p>
              </p:txBody>
            </p:sp>
            <p:sp>
              <p:nvSpPr>
                <p:cNvPr id="2353" name="Etiquette - RangeColorLegend - DARK - Color - 10" hidden="1">
                  <a:extLst>
                    <a:ext uri="{FF2B5EF4-FFF2-40B4-BE49-F238E27FC236}">
                      <a16:creationId xmlns:a16="http://schemas.microsoft.com/office/drawing/2014/main" id="{39F0594A-09C1-495C-AC88-805CF4BF7F9C}"/>
                    </a:ext>
                  </a:extLst>
                </p:cNvPr>
                <p:cNvSpPr/>
                <p:nvPr/>
              </p:nvSpPr>
              <p:spPr>
                <a:xfrm>
                  <a:off x="9228362" y="6304754"/>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900" dirty="0">
                    <a:solidFill>
                      <a:prstClr val="black"/>
                    </a:solidFill>
                  </a:endParaRPr>
                </a:p>
              </p:txBody>
            </p:sp>
            <p:sp>
              <p:nvSpPr>
                <p:cNvPr id="2354" name="Etiquette - RangeColorLegend - DARK - Number - 10" hidden="1">
                  <a:extLst>
                    <a:ext uri="{FF2B5EF4-FFF2-40B4-BE49-F238E27FC236}">
                      <a16:creationId xmlns:a16="http://schemas.microsoft.com/office/drawing/2014/main" id="{C3EF7B83-555A-49ED-A371-9F131585B80E}"/>
                    </a:ext>
                  </a:extLst>
                </p:cNvPr>
                <p:cNvSpPr/>
                <p:nvPr/>
              </p:nvSpPr>
              <p:spPr>
                <a:xfrm>
                  <a:off x="9383162" y="6304754"/>
                  <a:ext cx="1116000" cy="153888"/>
                </a:xfrm>
                <a:prstGeom prst="rect">
                  <a:avLst/>
                </a:prstGeom>
                <a:grpFill/>
                <a:ln>
                  <a:solidFill>
                    <a:schemeClr val="bg1">
                      <a:lumMod val="75000"/>
                    </a:schemeClr>
                  </a:solidFill>
                </a:ln>
              </p:spPr>
              <p:txBody>
                <a:bodyPr wrap="none" lIns="72000" tIns="0" rIns="0" bIns="0" anchor="ctr">
                  <a:noAutofit/>
                </a:bodyPr>
                <a:lstStyle/>
                <a:p>
                  <a:r>
                    <a:rPr lang="en-US" sz="900" dirty="0">
                      <a:solidFill>
                        <a:prstClr val="black"/>
                      </a:solidFill>
                    </a:rPr>
                    <a:t>400+</a:t>
                  </a:r>
                </a:p>
              </p:txBody>
            </p:sp>
          </p:grpSp>
        </p:grpSp>
        <p:sp>
          <p:nvSpPr>
            <p:cNvPr id="40" name="POWER_USER_DATA_MAP_TITLE">
              <a:extLst>
                <a:ext uri="{FF2B5EF4-FFF2-40B4-BE49-F238E27FC236}">
                  <a16:creationId xmlns:a16="http://schemas.microsoft.com/office/drawing/2014/main" id="{1E339363-4C41-4D68-9FE3-E3A82346E3E4}"/>
                </a:ext>
              </a:extLst>
            </p:cNvPr>
            <p:cNvSpPr/>
            <p:nvPr/>
          </p:nvSpPr>
          <p:spPr>
            <a:xfrm>
              <a:off x="2096766" y="-526430"/>
              <a:ext cx="5927472" cy="635001"/>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500" b="1" dirty="0">
                  <a:solidFill>
                    <a:srgbClr val="000000"/>
                  </a:solidFill>
                </a:rPr>
                <a:t>Germany</a:t>
              </a:r>
            </a:p>
          </p:txBody>
        </p:sp>
        <p:sp>
          <p:nvSpPr>
            <p:cNvPr id="41" name="POWER_USER_DATA_MAP_STORAGE">
              <a:extLst>
                <a:ext uri="{FF2B5EF4-FFF2-40B4-BE49-F238E27FC236}">
                  <a16:creationId xmlns:a16="http://schemas.microsoft.com/office/drawing/2014/main" id="{F173CD2E-A17A-47B1-ACE2-0DCAF5D1A697}"/>
                </a:ext>
              </a:extLst>
            </p:cNvPr>
            <p:cNvSpPr/>
            <p:nvPr/>
          </p:nvSpPr>
          <p:spPr>
            <a:xfrm>
              <a:off x="1608264" y="570173"/>
              <a:ext cx="0" cy="0"/>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dirty="0"/>
            </a:p>
          </p:txBody>
        </p:sp>
      </p:grpSp>
      <p:grpSp>
        <p:nvGrpSpPr>
          <p:cNvPr id="46" name="POWER_USER_DATA_MAP" descr="{&quot;IsGrandientColor&quot;:true,&quot;GradientColor&quot;:&quot;#7CC9EC&quot;,&quot;IsRangesColor&quot;:false,&quot;RangesSettings&quot;:[{&quot;RangeColorHexa&quot;:&quot;#25A6E0&quot;,&quot;ComparisonValue&quot;:1.0,&quot;RangeOperator&quot;:1,&quot;RangeComparison&quot;:0},{&quot;RangeColorHexa&quot;:&quot;#104499&quot;,&quot;ComparisonValue&quot;:1.0,&quot;RangeOperator&quot;:1,&quot;RangeComparison&quot;:0}],&quot;RangeName&quot;:&quot;POWER_USER_EXCEL_MAP_1FA94E32_1C6A_4A15_BA3F_311105BBC508&quot;,&quot;Version&quot;:&quot;1.6.1146.0&quot;}">
            <a:extLst>
              <a:ext uri="{FF2B5EF4-FFF2-40B4-BE49-F238E27FC236}">
                <a16:creationId xmlns:a16="http://schemas.microsoft.com/office/drawing/2014/main" id="{4AE5C9FE-C295-43D8-9995-CFE158392089}"/>
              </a:ext>
            </a:extLst>
          </p:cNvPr>
          <p:cNvGrpSpPr>
            <a:grpSpLocks noChangeAspect="1"/>
          </p:cNvGrpSpPr>
          <p:nvPr/>
        </p:nvGrpSpPr>
        <p:grpSpPr>
          <a:xfrm>
            <a:off x="-309755" y="3120856"/>
            <a:ext cx="2667379" cy="2072885"/>
            <a:chOff x="85643" y="-359744"/>
            <a:chExt cx="8082862" cy="6281386"/>
          </a:xfrm>
          <a:solidFill>
            <a:srgbClr val="0070C0"/>
          </a:solidFill>
        </p:grpSpPr>
        <p:grpSp>
          <p:nvGrpSpPr>
            <p:cNvPr id="2394" name="India">
              <a:extLst>
                <a:ext uri="{FF2B5EF4-FFF2-40B4-BE49-F238E27FC236}">
                  <a16:creationId xmlns:a16="http://schemas.microsoft.com/office/drawing/2014/main" id="{14724ACD-6953-4D95-8CDA-73D5B96C6618}"/>
                </a:ext>
              </a:extLst>
            </p:cNvPr>
            <p:cNvGrpSpPr>
              <a:grpSpLocks noChangeAspect="1"/>
            </p:cNvGrpSpPr>
            <p:nvPr/>
          </p:nvGrpSpPr>
          <p:grpSpPr>
            <a:xfrm>
              <a:off x="361570" y="53424"/>
              <a:ext cx="7806935" cy="5868218"/>
              <a:chOff x="1753417" y="665684"/>
              <a:chExt cx="7806935" cy="5868218"/>
            </a:xfrm>
            <a:grpFill/>
          </p:grpSpPr>
          <p:grpSp>
            <p:nvGrpSpPr>
              <p:cNvPr id="2395" name="Map">
                <a:extLst>
                  <a:ext uri="{FF2B5EF4-FFF2-40B4-BE49-F238E27FC236}">
                    <a16:creationId xmlns:a16="http://schemas.microsoft.com/office/drawing/2014/main" id="{E53712E5-9D96-4C33-91D8-75455B55EE6E}"/>
                  </a:ext>
                </a:extLst>
              </p:cNvPr>
              <p:cNvGrpSpPr>
                <a:grpSpLocks noChangeAspect="1"/>
              </p:cNvGrpSpPr>
              <p:nvPr/>
            </p:nvGrpSpPr>
            <p:grpSpPr>
              <a:xfrm>
                <a:off x="3463133" y="1183239"/>
                <a:ext cx="4640390" cy="5271541"/>
                <a:chOff x="3083551" y="6037"/>
                <a:chExt cx="6023087" cy="6842304"/>
              </a:xfrm>
              <a:grpFill/>
            </p:grpSpPr>
            <p:sp>
              <p:nvSpPr>
                <p:cNvPr id="2480" name="Andaman and Nicobar" descr="{&quot;Key&quot;:&quot;andaman and nicobar&quot;,&quot;Name&quot;:&quot;Andaman and Nicobar&quot;,&quot;Value&quot;:1.0,&quot;Formula&quot;:&quot;&quot;,&quot;Text&quot;:&quot;&quot;,&quot;OfficeApplication&quot;:1,&quot;HasValue&quot;:true}">
                  <a:extLst>
                    <a:ext uri="{FF2B5EF4-FFF2-40B4-BE49-F238E27FC236}">
                      <a16:creationId xmlns:a16="http://schemas.microsoft.com/office/drawing/2014/main" id="{6325E63E-2B0D-4085-875E-CD37D6D1781A}"/>
                    </a:ext>
                  </a:extLst>
                </p:cNvPr>
                <p:cNvSpPr/>
                <p:nvPr/>
              </p:nvSpPr>
              <p:spPr>
                <a:xfrm>
                  <a:off x="8035679" y="5139878"/>
                  <a:ext cx="422588" cy="1708463"/>
                </a:xfrm>
                <a:custGeom>
                  <a:avLst/>
                  <a:gdLst>
                    <a:gd name="connsiteX0" fmla="*/ 338070 w 422588"/>
                    <a:gd name="connsiteY0" fmla="*/ 1611268 h 1708463"/>
                    <a:gd name="connsiteX1" fmla="*/ 338674 w 422588"/>
                    <a:gd name="connsiteY1" fmla="*/ 1616701 h 1708463"/>
                    <a:gd name="connsiteX2" fmla="*/ 342900 w 422588"/>
                    <a:gd name="connsiteY2" fmla="*/ 1616097 h 1708463"/>
                    <a:gd name="connsiteX3" fmla="*/ 345315 w 422588"/>
                    <a:gd name="connsiteY3" fmla="*/ 1622134 h 1708463"/>
                    <a:gd name="connsiteX4" fmla="*/ 344711 w 422588"/>
                    <a:gd name="connsiteY4" fmla="*/ 1624549 h 1708463"/>
                    <a:gd name="connsiteX5" fmla="*/ 347126 w 422588"/>
                    <a:gd name="connsiteY5" fmla="*/ 1636019 h 1708463"/>
                    <a:gd name="connsiteX6" fmla="*/ 346522 w 422588"/>
                    <a:gd name="connsiteY6" fmla="*/ 1643264 h 1708463"/>
                    <a:gd name="connsiteX7" fmla="*/ 348937 w 422588"/>
                    <a:gd name="connsiteY7" fmla="*/ 1645075 h 1708463"/>
                    <a:gd name="connsiteX8" fmla="*/ 351955 w 422588"/>
                    <a:gd name="connsiteY8" fmla="*/ 1651112 h 1708463"/>
                    <a:gd name="connsiteX9" fmla="*/ 353163 w 422588"/>
                    <a:gd name="connsiteY9" fmla="*/ 1658959 h 1708463"/>
                    <a:gd name="connsiteX10" fmla="*/ 351955 w 422588"/>
                    <a:gd name="connsiteY10" fmla="*/ 1660771 h 1708463"/>
                    <a:gd name="connsiteX11" fmla="*/ 354974 w 422588"/>
                    <a:gd name="connsiteY11" fmla="*/ 1664393 h 1708463"/>
                    <a:gd name="connsiteX12" fmla="*/ 356181 w 422588"/>
                    <a:gd name="connsiteY12" fmla="*/ 1668619 h 1708463"/>
                    <a:gd name="connsiteX13" fmla="*/ 352559 w 422588"/>
                    <a:gd name="connsiteY13" fmla="*/ 1672845 h 1708463"/>
                    <a:gd name="connsiteX14" fmla="*/ 348333 w 422588"/>
                    <a:gd name="connsiteY14" fmla="*/ 1681297 h 1708463"/>
                    <a:gd name="connsiteX15" fmla="*/ 348937 w 422588"/>
                    <a:gd name="connsiteY15" fmla="*/ 1685522 h 1708463"/>
                    <a:gd name="connsiteX16" fmla="*/ 347730 w 422588"/>
                    <a:gd name="connsiteY16" fmla="*/ 1692767 h 1708463"/>
                    <a:gd name="connsiteX17" fmla="*/ 350748 w 422588"/>
                    <a:gd name="connsiteY17" fmla="*/ 1694578 h 1708463"/>
                    <a:gd name="connsiteX18" fmla="*/ 347730 w 422588"/>
                    <a:gd name="connsiteY18" fmla="*/ 1701823 h 1708463"/>
                    <a:gd name="connsiteX19" fmla="*/ 345918 w 422588"/>
                    <a:gd name="connsiteY19" fmla="*/ 1703633 h 1708463"/>
                    <a:gd name="connsiteX20" fmla="*/ 342296 w 422588"/>
                    <a:gd name="connsiteY20" fmla="*/ 1699408 h 1708463"/>
                    <a:gd name="connsiteX21" fmla="*/ 339278 w 422588"/>
                    <a:gd name="connsiteY21" fmla="*/ 1699408 h 1708463"/>
                    <a:gd name="connsiteX22" fmla="*/ 338070 w 422588"/>
                    <a:gd name="connsiteY22" fmla="*/ 1706652 h 1708463"/>
                    <a:gd name="connsiteX23" fmla="*/ 333844 w 422588"/>
                    <a:gd name="connsiteY23" fmla="*/ 1712085 h 1708463"/>
                    <a:gd name="connsiteX24" fmla="*/ 329619 w 422588"/>
                    <a:gd name="connsiteY24" fmla="*/ 1710274 h 1708463"/>
                    <a:gd name="connsiteX25" fmla="*/ 330826 w 422588"/>
                    <a:gd name="connsiteY25" fmla="*/ 1701218 h 1708463"/>
                    <a:gd name="connsiteX26" fmla="*/ 325393 w 422588"/>
                    <a:gd name="connsiteY26" fmla="*/ 1695181 h 1708463"/>
                    <a:gd name="connsiteX27" fmla="*/ 327204 w 422588"/>
                    <a:gd name="connsiteY27" fmla="*/ 1692163 h 1708463"/>
                    <a:gd name="connsiteX28" fmla="*/ 322978 w 422588"/>
                    <a:gd name="connsiteY28" fmla="*/ 1689144 h 1708463"/>
                    <a:gd name="connsiteX29" fmla="*/ 324185 w 422588"/>
                    <a:gd name="connsiteY29" fmla="*/ 1685522 h 1708463"/>
                    <a:gd name="connsiteX30" fmla="*/ 320563 w 422588"/>
                    <a:gd name="connsiteY30" fmla="*/ 1680089 h 1708463"/>
                    <a:gd name="connsiteX31" fmla="*/ 316337 w 422588"/>
                    <a:gd name="connsiteY31" fmla="*/ 1676467 h 1708463"/>
                    <a:gd name="connsiteX32" fmla="*/ 318149 w 422588"/>
                    <a:gd name="connsiteY32" fmla="*/ 1673448 h 1708463"/>
                    <a:gd name="connsiteX33" fmla="*/ 316941 w 422588"/>
                    <a:gd name="connsiteY33" fmla="*/ 1669223 h 1708463"/>
                    <a:gd name="connsiteX34" fmla="*/ 313923 w 422588"/>
                    <a:gd name="connsiteY34" fmla="*/ 1667411 h 1708463"/>
                    <a:gd name="connsiteX35" fmla="*/ 312112 w 422588"/>
                    <a:gd name="connsiteY35" fmla="*/ 1662582 h 1708463"/>
                    <a:gd name="connsiteX36" fmla="*/ 309093 w 422588"/>
                    <a:gd name="connsiteY36" fmla="*/ 1663186 h 1708463"/>
                    <a:gd name="connsiteX37" fmla="*/ 307282 w 422588"/>
                    <a:gd name="connsiteY37" fmla="*/ 1658959 h 1708463"/>
                    <a:gd name="connsiteX38" fmla="*/ 301245 w 422588"/>
                    <a:gd name="connsiteY38" fmla="*/ 1658356 h 1708463"/>
                    <a:gd name="connsiteX39" fmla="*/ 298227 w 422588"/>
                    <a:gd name="connsiteY39" fmla="*/ 1634812 h 1708463"/>
                    <a:gd name="connsiteX40" fmla="*/ 302453 w 422588"/>
                    <a:gd name="connsiteY40" fmla="*/ 1631793 h 1708463"/>
                    <a:gd name="connsiteX41" fmla="*/ 302453 w 422588"/>
                    <a:gd name="connsiteY41" fmla="*/ 1624549 h 1708463"/>
                    <a:gd name="connsiteX42" fmla="*/ 304867 w 422588"/>
                    <a:gd name="connsiteY42" fmla="*/ 1621531 h 1708463"/>
                    <a:gd name="connsiteX43" fmla="*/ 310301 w 422588"/>
                    <a:gd name="connsiteY43" fmla="*/ 1620927 h 1708463"/>
                    <a:gd name="connsiteX44" fmla="*/ 314526 w 422588"/>
                    <a:gd name="connsiteY44" fmla="*/ 1622134 h 1708463"/>
                    <a:gd name="connsiteX45" fmla="*/ 318752 w 422588"/>
                    <a:gd name="connsiteY45" fmla="*/ 1617305 h 1708463"/>
                    <a:gd name="connsiteX46" fmla="*/ 329619 w 422588"/>
                    <a:gd name="connsiteY46" fmla="*/ 1616701 h 1708463"/>
                    <a:gd name="connsiteX47" fmla="*/ 329619 w 422588"/>
                    <a:gd name="connsiteY47" fmla="*/ 1613682 h 1708463"/>
                    <a:gd name="connsiteX48" fmla="*/ 338070 w 422588"/>
                    <a:gd name="connsiteY48" fmla="*/ 1611268 h 1708463"/>
                    <a:gd name="connsiteX49" fmla="*/ 310301 w 422588"/>
                    <a:gd name="connsiteY49" fmla="*/ 1569009 h 1708463"/>
                    <a:gd name="connsiteX50" fmla="*/ 312715 w 422588"/>
                    <a:gd name="connsiteY50" fmla="*/ 1578668 h 1708463"/>
                    <a:gd name="connsiteX51" fmla="*/ 319356 w 422588"/>
                    <a:gd name="connsiteY51" fmla="*/ 1583497 h 1708463"/>
                    <a:gd name="connsiteX52" fmla="*/ 312715 w 422588"/>
                    <a:gd name="connsiteY52" fmla="*/ 1596779 h 1708463"/>
                    <a:gd name="connsiteX53" fmla="*/ 303056 w 422588"/>
                    <a:gd name="connsiteY53" fmla="*/ 1601608 h 1708463"/>
                    <a:gd name="connsiteX54" fmla="*/ 301245 w 422588"/>
                    <a:gd name="connsiteY54" fmla="*/ 1607042 h 1708463"/>
                    <a:gd name="connsiteX55" fmla="*/ 297019 w 422588"/>
                    <a:gd name="connsiteY55" fmla="*/ 1610664 h 1708463"/>
                    <a:gd name="connsiteX56" fmla="*/ 292793 w 422588"/>
                    <a:gd name="connsiteY56" fmla="*/ 1605231 h 1708463"/>
                    <a:gd name="connsiteX57" fmla="*/ 294001 w 422588"/>
                    <a:gd name="connsiteY57" fmla="*/ 1601005 h 1708463"/>
                    <a:gd name="connsiteX58" fmla="*/ 292190 w 422588"/>
                    <a:gd name="connsiteY58" fmla="*/ 1597383 h 1708463"/>
                    <a:gd name="connsiteX59" fmla="*/ 294604 w 422588"/>
                    <a:gd name="connsiteY59" fmla="*/ 1594364 h 1708463"/>
                    <a:gd name="connsiteX60" fmla="*/ 293397 w 422588"/>
                    <a:gd name="connsiteY60" fmla="*/ 1585912 h 1708463"/>
                    <a:gd name="connsiteX61" fmla="*/ 299434 w 422588"/>
                    <a:gd name="connsiteY61" fmla="*/ 1581687 h 1708463"/>
                    <a:gd name="connsiteX62" fmla="*/ 309093 w 422588"/>
                    <a:gd name="connsiteY62" fmla="*/ 1579272 h 1708463"/>
                    <a:gd name="connsiteX63" fmla="*/ 309093 w 422588"/>
                    <a:gd name="connsiteY63" fmla="*/ 1570216 h 1708463"/>
                    <a:gd name="connsiteX64" fmla="*/ 310301 w 422588"/>
                    <a:gd name="connsiteY64" fmla="*/ 1569009 h 1708463"/>
                    <a:gd name="connsiteX65" fmla="*/ 241479 w 422588"/>
                    <a:gd name="connsiteY65" fmla="*/ 1447665 h 1708463"/>
                    <a:gd name="connsiteX66" fmla="*/ 247516 w 422588"/>
                    <a:gd name="connsiteY66" fmla="*/ 1451892 h 1708463"/>
                    <a:gd name="connsiteX67" fmla="*/ 246308 w 422588"/>
                    <a:gd name="connsiteY67" fmla="*/ 1458532 h 1708463"/>
                    <a:gd name="connsiteX68" fmla="*/ 249931 w 422588"/>
                    <a:gd name="connsiteY68" fmla="*/ 1461551 h 1708463"/>
                    <a:gd name="connsiteX69" fmla="*/ 251742 w 422588"/>
                    <a:gd name="connsiteY69" fmla="*/ 1459739 h 1708463"/>
                    <a:gd name="connsiteX70" fmla="*/ 258382 w 422588"/>
                    <a:gd name="connsiteY70" fmla="*/ 1466381 h 1708463"/>
                    <a:gd name="connsiteX71" fmla="*/ 260797 w 422588"/>
                    <a:gd name="connsiteY71" fmla="*/ 1474832 h 1708463"/>
                    <a:gd name="connsiteX72" fmla="*/ 258382 w 422588"/>
                    <a:gd name="connsiteY72" fmla="*/ 1479662 h 1708463"/>
                    <a:gd name="connsiteX73" fmla="*/ 251742 w 422588"/>
                    <a:gd name="connsiteY73" fmla="*/ 1473021 h 1708463"/>
                    <a:gd name="connsiteX74" fmla="*/ 245101 w 422588"/>
                    <a:gd name="connsiteY74" fmla="*/ 1473625 h 1708463"/>
                    <a:gd name="connsiteX75" fmla="*/ 240875 w 422588"/>
                    <a:gd name="connsiteY75" fmla="*/ 1477850 h 1708463"/>
                    <a:gd name="connsiteX76" fmla="*/ 234234 w 422588"/>
                    <a:gd name="connsiteY76" fmla="*/ 1473625 h 1708463"/>
                    <a:gd name="connsiteX77" fmla="*/ 234838 w 422588"/>
                    <a:gd name="connsiteY77" fmla="*/ 1468795 h 1708463"/>
                    <a:gd name="connsiteX78" fmla="*/ 228801 w 422588"/>
                    <a:gd name="connsiteY78" fmla="*/ 1465173 h 1708463"/>
                    <a:gd name="connsiteX79" fmla="*/ 226990 w 422588"/>
                    <a:gd name="connsiteY79" fmla="*/ 1460947 h 1708463"/>
                    <a:gd name="connsiteX80" fmla="*/ 230009 w 422588"/>
                    <a:gd name="connsiteY80" fmla="*/ 1457929 h 1708463"/>
                    <a:gd name="connsiteX81" fmla="*/ 230009 w 422588"/>
                    <a:gd name="connsiteY81" fmla="*/ 1454307 h 1708463"/>
                    <a:gd name="connsiteX82" fmla="*/ 232423 w 422588"/>
                    <a:gd name="connsiteY82" fmla="*/ 1450684 h 1708463"/>
                    <a:gd name="connsiteX83" fmla="*/ 236649 w 422588"/>
                    <a:gd name="connsiteY83" fmla="*/ 1451288 h 1708463"/>
                    <a:gd name="connsiteX84" fmla="*/ 241479 w 422588"/>
                    <a:gd name="connsiteY84" fmla="*/ 1447665 h 1708463"/>
                    <a:gd name="connsiteX85" fmla="*/ 275890 w 422588"/>
                    <a:gd name="connsiteY85" fmla="*/ 1447062 h 1708463"/>
                    <a:gd name="connsiteX86" fmla="*/ 279512 w 422588"/>
                    <a:gd name="connsiteY86" fmla="*/ 1447665 h 1708463"/>
                    <a:gd name="connsiteX87" fmla="*/ 283134 w 422588"/>
                    <a:gd name="connsiteY87" fmla="*/ 1454910 h 1708463"/>
                    <a:gd name="connsiteX88" fmla="*/ 282530 w 422588"/>
                    <a:gd name="connsiteY88" fmla="*/ 1466984 h 1708463"/>
                    <a:gd name="connsiteX89" fmla="*/ 281323 w 422588"/>
                    <a:gd name="connsiteY89" fmla="*/ 1468191 h 1708463"/>
                    <a:gd name="connsiteX90" fmla="*/ 268042 w 422588"/>
                    <a:gd name="connsiteY90" fmla="*/ 1456117 h 1708463"/>
                    <a:gd name="connsiteX91" fmla="*/ 275286 w 422588"/>
                    <a:gd name="connsiteY91" fmla="*/ 1450080 h 1708463"/>
                    <a:gd name="connsiteX92" fmla="*/ 275890 w 422588"/>
                    <a:gd name="connsiteY92" fmla="*/ 1447062 h 1708463"/>
                    <a:gd name="connsiteX93" fmla="*/ 282530 w 422588"/>
                    <a:gd name="connsiteY93" fmla="*/ 1427140 h 1708463"/>
                    <a:gd name="connsiteX94" fmla="*/ 284342 w 422588"/>
                    <a:gd name="connsiteY94" fmla="*/ 1430159 h 1708463"/>
                    <a:gd name="connsiteX95" fmla="*/ 285549 w 422588"/>
                    <a:gd name="connsiteY95" fmla="*/ 1445251 h 1708463"/>
                    <a:gd name="connsiteX96" fmla="*/ 281323 w 422588"/>
                    <a:gd name="connsiteY96" fmla="*/ 1439214 h 1708463"/>
                    <a:gd name="connsiteX97" fmla="*/ 278908 w 422588"/>
                    <a:gd name="connsiteY97" fmla="*/ 1428347 h 1708463"/>
                    <a:gd name="connsiteX98" fmla="*/ 282530 w 422588"/>
                    <a:gd name="connsiteY98" fmla="*/ 1427140 h 1708463"/>
                    <a:gd name="connsiteX99" fmla="*/ 271664 w 422588"/>
                    <a:gd name="connsiteY99" fmla="*/ 1404803 h 1708463"/>
                    <a:gd name="connsiteX100" fmla="*/ 275286 w 422588"/>
                    <a:gd name="connsiteY100" fmla="*/ 1406011 h 1708463"/>
                    <a:gd name="connsiteX101" fmla="*/ 275286 w 422588"/>
                    <a:gd name="connsiteY101" fmla="*/ 1412048 h 1708463"/>
                    <a:gd name="connsiteX102" fmla="*/ 271664 w 422588"/>
                    <a:gd name="connsiteY102" fmla="*/ 1417481 h 1708463"/>
                    <a:gd name="connsiteX103" fmla="*/ 268042 w 422588"/>
                    <a:gd name="connsiteY103" fmla="*/ 1418688 h 1708463"/>
                    <a:gd name="connsiteX104" fmla="*/ 267438 w 422588"/>
                    <a:gd name="connsiteY104" fmla="*/ 1422914 h 1708463"/>
                    <a:gd name="connsiteX105" fmla="*/ 271664 w 422588"/>
                    <a:gd name="connsiteY105" fmla="*/ 1428347 h 1708463"/>
                    <a:gd name="connsiteX106" fmla="*/ 272871 w 422588"/>
                    <a:gd name="connsiteY106" fmla="*/ 1432573 h 1708463"/>
                    <a:gd name="connsiteX107" fmla="*/ 276493 w 422588"/>
                    <a:gd name="connsiteY107" fmla="*/ 1434988 h 1708463"/>
                    <a:gd name="connsiteX108" fmla="*/ 277097 w 422588"/>
                    <a:gd name="connsiteY108" fmla="*/ 1439214 h 1708463"/>
                    <a:gd name="connsiteX109" fmla="*/ 274682 w 422588"/>
                    <a:gd name="connsiteY109" fmla="*/ 1445251 h 1708463"/>
                    <a:gd name="connsiteX110" fmla="*/ 268042 w 422588"/>
                    <a:gd name="connsiteY110" fmla="*/ 1445855 h 1708463"/>
                    <a:gd name="connsiteX111" fmla="*/ 267438 w 422588"/>
                    <a:gd name="connsiteY111" fmla="*/ 1452495 h 1708463"/>
                    <a:gd name="connsiteX112" fmla="*/ 264419 w 422588"/>
                    <a:gd name="connsiteY112" fmla="*/ 1453099 h 1708463"/>
                    <a:gd name="connsiteX113" fmla="*/ 263816 w 422588"/>
                    <a:gd name="connsiteY113" fmla="*/ 1445251 h 1708463"/>
                    <a:gd name="connsiteX114" fmla="*/ 266231 w 422588"/>
                    <a:gd name="connsiteY114" fmla="*/ 1444647 h 1708463"/>
                    <a:gd name="connsiteX115" fmla="*/ 271664 w 422588"/>
                    <a:gd name="connsiteY115" fmla="*/ 1437403 h 1708463"/>
                    <a:gd name="connsiteX116" fmla="*/ 269853 w 422588"/>
                    <a:gd name="connsiteY116" fmla="*/ 1435592 h 1708463"/>
                    <a:gd name="connsiteX117" fmla="*/ 263212 w 422588"/>
                    <a:gd name="connsiteY117" fmla="*/ 1442233 h 1708463"/>
                    <a:gd name="connsiteX118" fmla="*/ 262608 w 422588"/>
                    <a:gd name="connsiteY118" fmla="*/ 1436799 h 1708463"/>
                    <a:gd name="connsiteX119" fmla="*/ 257779 w 422588"/>
                    <a:gd name="connsiteY119" fmla="*/ 1427140 h 1708463"/>
                    <a:gd name="connsiteX120" fmla="*/ 257175 w 422588"/>
                    <a:gd name="connsiteY120" fmla="*/ 1416274 h 1708463"/>
                    <a:gd name="connsiteX121" fmla="*/ 264419 w 422588"/>
                    <a:gd name="connsiteY121" fmla="*/ 1411444 h 1708463"/>
                    <a:gd name="connsiteX122" fmla="*/ 265023 w 422588"/>
                    <a:gd name="connsiteY122" fmla="*/ 1406614 h 1708463"/>
                    <a:gd name="connsiteX123" fmla="*/ 271664 w 422588"/>
                    <a:gd name="connsiteY123" fmla="*/ 1404803 h 1708463"/>
                    <a:gd name="connsiteX124" fmla="*/ 211898 w 422588"/>
                    <a:gd name="connsiteY124" fmla="*/ 1397559 h 1708463"/>
                    <a:gd name="connsiteX125" fmla="*/ 214916 w 422588"/>
                    <a:gd name="connsiteY125" fmla="*/ 1405407 h 1708463"/>
                    <a:gd name="connsiteX126" fmla="*/ 212501 w 422588"/>
                    <a:gd name="connsiteY126" fmla="*/ 1407218 h 1708463"/>
                    <a:gd name="connsiteX127" fmla="*/ 208879 w 422588"/>
                    <a:gd name="connsiteY127" fmla="*/ 1401785 h 1708463"/>
                    <a:gd name="connsiteX128" fmla="*/ 211898 w 422588"/>
                    <a:gd name="connsiteY128" fmla="*/ 1397559 h 1708463"/>
                    <a:gd name="connsiteX129" fmla="*/ 189561 w 422588"/>
                    <a:gd name="connsiteY129" fmla="*/ 1378845 h 1708463"/>
                    <a:gd name="connsiteX130" fmla="*/ 192580 w 422588"/>
                    <a:gd name="connsiteY130" fmla="*/ 1380655 h 1708463"/>
                    <a:gd name="connsiteX131" fmla="*/ 190165 w 422588"/>
                    <a:gd name="connsiteY131" fmla="*/ 1388504 h 1708463"/>
                    <a:gd name="connsiteX132" fmla="*/ 188957 w 422588"/>
                    <a:gd name="connsiteY132" fmla="*/ 1395144 h 1708463"/>
                    <a:gd name="connsiteX133" fmla="*/ 194994 w 422588"/>
                    <a:gd name="connsiteY133" fmla="*/ 1402388 h 1708463"/>
                    <a:gd name="connsiteX134" fmla="*/ 203446 w 422588"/>
                    <a:gd name="connsiteY134" fmla="*/ 1406011 h 1708463"/>
                    <a:gd name="connsiteX135" fmla="*/ 205257 w 422588"/>
                    <a:gd name="connsiteY135" fmla="*/ 1408425 h 1708463"/>
                    <a:gd name="connsiteX136" fmla="*/ 204654 w 422588"/>
                    <a:gd name="connsiteY136" fmla="*/ 1412651 h 1708463"/>
                    <a:gd name="connsiteX137" fmla="*/ 197409 w 422588"/>
                    <a:gd name="connsiteY137" fmla="*/ 1411444 h 1708463"/>
                    <a:gd name="connsiteX138" fmla="*/ 188957 w 422588"/>
                    <a:gd name="connsiteY138" fmla="*/ 1407218 h 1708463"/>
                    <a:gd name="connsiteX139" fmla="*/ 184128 w 422588"/>
                    <a:gd name="connsiteY139" fmla="*/ 1401785 h 1708463"/>
                    <a:gd name="connsiteX140" fmla="*/ 181109 w 422588"/>
                    <a:gd name="connsiteY140" fmla="*/ 1396351 h 1708463"/>
                    <a:gd name="connsiteX141" fmla="*/ 181109 w 422588"/>
                    <a:gd name="connsiteY141" fmla="*/ 1389107 h 1708463"/>
                    <a:gd name="connsiteX142" fmla="*/ 182920 w 422588"/>
                    <a:gd name="connsiteY142" fmla="*/ 1382467 h 1708463"/>
                    <a:gd name="connsiteX143" fmla="*/ 189561 w 422588"/>
                    <a:gd name="connsiteY143" fmla="*/ 1378845 h 1708463"/>
                    <a:gd name="connsiteX144" fmla="*/ 172054 w 422588"/>
                    <a:gd name="connsiteY144" fmla="*/ 1354697 h 1708463"/>
                    <a:gd name="connsiteX145" fmla="*/ 174469 w 422588"/>
                    <a:gd name="connsiteY145" fmla="*/ 1357111 h 1708463"/>
                    <a:gd name="connsiteX146" fmla="*/ 173865 w 422588"/>
                    <a:gd name="connsiteY146" fmla="*/ 1361941 h 1708463"/>
                    <a:gd name="connsiteX147" fmla="*/ 170243 w 422588"/>
                    <a:gd name="connsiteY147" fmla="*/ 1358922 h 1708463"/>
                    <a:gd name="connsiteX148" fmla="*/ 172054 w 422588"/>
                    <a:gd name="connsiteY148" fmla="*/ 1354697 h 1708463"/>
                    <a:gd name="connsiteX149" fmla="*/ 290379 w 422588"/>
                    <a:gd name="connsiteY149" fmla="*/ 1333567 h 1708463"/>
                    <a:gd name="connsiteX150" fmla="*/ 291586 w 422588"/>
                    <a:gd name="connsiteY150" fmla="*/ 1342623 h 1708463"/>
                    <a:gd name="connsiteX151" fmla="*/ 294001 w 422588"/>
                    <a:gd name="connsiteY151" fmla="*/ 1343830 h 1708463"/>
                    <a:gd name="connsiteX152" fmla="*/ 295812 w 422588"/>
                    <a:gd name="connsiteY152" fmla="*/ 1355904 h 1708463"/>
                    <a:gd name="connsiteX153" fmla="*/ 292190 w 422588"/>
                    <a:gd name="connsiteY153" fmla="*/ 1355904 h 1708463"/>
                    <a:gd name="connsiteX154" fmla="*/ 292190 w 422588"/>
                    <a:gd name="connsiteY154" fmla="*/ 1345641 h 1708463"/>
                    <a:gd name="connsiteX155" fmla="*/ 289171 w 422588"/>
                    <a:gd name="connsiteY155" fmla="*/ 1339604 h 1708463"/>
                    <a:gd name="connsiteX156" fmla="*/ 290379 w 422588"/>
                    <a:gd name="connsiteY156" fmla="*/ 1333567 h 1708463"/>
                    <a:gd name="connsiteX157" fmla="*/ 119532 w 422588"/>
                    <a:gd name="connsiteY157" fmla="*/ 1193509 h 1708463"/>
                    <a:gd name="connsiteX158" fmla="*/ 124965 w 422588"/>
                    <a:gd name="connsiteY158" fmla="*/ 1198943 h 1708463"/>
                    <a:gd name="connsiteX159" fmla="*/ 128587 w 422588"/>
                    <a:gd name="connsiteY159" fmla="*/ 1210413 h 1708463"/>
                    <a:gd name="connsiteX160" fmla="*/ 126776 w 422588"/>
                    <a:gd name="connsiteY160" fmla="*/ 1215846 h 1708463"/>
                    <a:gd name="connsiteX161" fmla="*/ 124362 w 422588"/>
                    <a:gd name="connsiteY161" fmla="*/ 1218865 h 1708463"/>
                    <a:gd name="connsiteX162" fmla="*/ 119532 w 422588"/>
                    <a:gd name="connsiteY162" fmla="*/ 1220072 h 1708463"/>
                    <a:gd name="connsiteX163" fmla="*/ 115306 w 422588"/>
                    <a:gd name="connsiteY163" fmla="*/ 1218261 h 1708463"/>
                    <a:gd name="connsiteX164" fmla="*/ 108062 w 422588"/>
                    <a:gd name="connsiteY164" fmla="*/ 1218865 h 1708463"/>
                    <a:gd name="connsiteX165" fmla="*/ 105647 w 422588"/>
                    <a:gd name="connsiteY165" fmla="*/ 1214035 h 1708463"/>
                    <a:gd name="connsiteX166" fmla="*/ 105647 w 422588"/>
                    <a:gd name="connsiteY166" fmla="*/ 1200150 h 1708463"/>
                    <a:gd name="connsiteX167" fmla="*/ 114702 w 422588"/>
                    <a:gd name="connsiteY167" fmla="*/ 1199546 h 1708463"/>
                    <a:gd name="connsiteX168" fmla="*/ 119532 w 422588"/>
                    <a:gd name="connsiteY168" fmla="*/ 1193509 h 1708463"/>
                    <a:gd name="connsiteX169" fmla="*/ 63388 w 422588"/>
                    <a:gd name="connsiteY169" fmla="*/ 847591 h 1708463"/>
                    <a:gd name="connsiteX170" fmla="*/ 72444 w 422588"/>
                    <a:gd name="connsiteY170" fmla="*/ 854835 h 1708463"/>
                    <a:gd name="connsiteX171" fmla="*/ 73048 w 422588"/>
                    <a:gd name="connsiteY171" fmla="*/ 865702 h 1708463"/>
                    <a:gd name="connsiteX172" fmla="*/ 78481 w 422588"/>
                    <a:gd name="connsiteY172" fmla="*/ 870531 h 1708463"/>
                    <a:gd name="connsiteX173" fmla="*/ 77273 w 422588"/>
                    <a:gd name="connsiteY173" fmla="*/ 880190 h 1708463"/>
                    <a:gd name="connsiteX174" fmla="*/ 80292 w 422588"/>
                    <a:gd name="connsiteY174" fmla="*/ 887435 h 1708463"/>
                    <a:gd name="connsiteX175" fmla="*/ 80292 w 422588"/>
                    <a:gd name="connsiteY175" fmla="*/ 892264 h 1708463"/>
                    <a:gd name="connsiteX176" fmla="*/ 76066 w 422588"/>
                    <a:gd name="connsiteY176" fmla="*/ 895283 h 1708463"/>
                    <a:gd name="connsiteX177" fmla="*/ 76670 w 422588"/>
                    <a:gd name="connsiteY177" fmla="*/ 897697 h 1708463"/>
                    <a:gd name="connsiteX178" fmla="*/ 71236 w 422588"/>
                    <a:gd name="connsiteY178" fmla="*/ 901923 h 1708463"/>
                    <a:gd name="connsiteX179" fmla="*/ 68218 w 422588"/>
                    <a:gd name="connsiteY179" fmla="*/ 906753 h 1708463"/>
                    <a:gd name="connsiteX180" fmla="*/ 69425 w 422588"/>
                    <a:gd name="connsiteY180" fmla="*/ 910979 h 1708463"/>
                    <a:gd name="connsiteX181" fmla="*/ 74255 w 422588"/>
                    <a:gd name="connsiteY181" fmla="*/ 914601 h 1708463"/>
                    <a:gd name="connsiteX182" fmla="*/ 67011 w 422588"/>
                    <a:gd name="connsiteY182" fmla="*/ 924864 h 1708463"/>
                    <a:gd name="connsiteX183" fmla="*/ 66407 w 422588"/>
                    <a:gd name="connsiteY183" fmla="*/ 926675 h 1708463"/>
                    <a:gd name="connsiteX184" fmla="*/ 59766 w 422588"/>
                    <a:gd name="connsiteY184" fmla="*/ 928486 h 1708463"/>
                    <a:gd name="connsiteX185" fmla="*/ 52522 w 422588"/>
                    <a:gd name="connsiteY185" fmla="*/ 923053 h 1708463"/>
                    <a:gd name="connsiteX186" fmla="*/ 46485 w 422588"/>
                    <a:gd name="connsiteY186" fmla="*/ 920638 h 1708463"/>
                    <a:gd name="connsiteX187" fmla="*/ 43466 w 422588"/>
                    <a:gd name="connsiteY187" fmla="*/ 921242 h 1708463"/>
                    <a:gd name="connsiteX188" fmla="*/ 39844 w 422588"/>
                    <a:gd name="connsiteY188" fmla="*/ 924260 h 1708463"/>
                    <a:gd name="connsiteX189" fmla="*/ 36222 w 422588"/>
                    <a:gd name="connsiteY189" fmla="*/ 921845 h 1708463"/>
                    <a:gd name="connsiteX190" fmla="*/ 41655 w 422588"/>
                    <a:gd name="connsiteY190" fmla="*/ 913394 h 1708463"/>
                    <a:gd name="connsiteX191" fmla="*/ 44070 w 422588"/>
                    <a:gd name="connsiteY191" fmla="*/ 906753 h 1708463"/>
                    <a:gd name="connsiteX192" fmla="*/ 41051 w 422588"/>
                    <a:gd name="connsiteY192" fmla="*/ 899509 h 1708463"/>
                    <a:gd name="connsiteX193" fmla="*/ 38637 w 422588"/>
                    <a:gd name="connsiteY193" fmla="*/ 895886 h 1708463"/>
                    <a:gd name="connsiteX194" fmla="*/ 35618 w 422588"/>
                    <a:gd name="connsiteY194" fmla="*/ 895886 h 1708463"/>
                    <a:gd name="connsiteX195" fmla="*/ 36222 w 422588"/>
                    <a:gd name="connsiteY195" fmla="*/ 885020 h 1708463"/>
                    <a:gd name="connsiteX196" fmla="*/ 34411 w 422588"/>
                    <a:gd name="connsiteY196" fmla="*/ 871739 h 1708463"/>
                    <a:gd name="connsiteX197" fmla="*/ 38637 w 422588"/>
                    <a:gd name="connsiteY197" fmla="*/ 872342 h 1708463"/>
                    <a:gd name="connsiteX198" fmla="*/ 42259 w 422588"/>
                    <a:gd name="connsiteY198" fmla="*/ 870531 h 1708463"/>
                    <a:gd name="connsiteX199" fmla="*/ 45881 w 422588"/>
                    <a:gd name="connsiteY199" fmla="*/ 863287 h 1708463"/>
                    <a:gd name="connsiteX200" fmla="*/ 51918 w 422588"/>
                    <a:gd name="connsiteY200" fmla="*/ 857854 h 1708463"/>
                    <a:gd name="connsiteX201" fmla="*/ 51314 w 422588"/>
                    <a:gd name="connsiteY201" fmla="*/ 855439 h 1708463"/>
                    <a:gd name="connsiteX202" fmla="*/ 56144 w 422588"/>
                    <a:gd name="connsiteY202" fmla="*/ 853024 h 1708463"/>
                    <a:gd name="connsiteX203" fmla="*/ 58559 w 422588"/>
                    <a:gd name="connsiteY203" fmla="*/ 849402 h 1708463"/>
                    <a:gd name="connsiteX204" fmla="*/ 63388 w 422588"/>
                    <a:gd name="connsiteY204" fmla="*/ 847591 h 1708463"/>
                    <a:gd name="connsiteX205" fmla="*/ 89347 w 422588"/>
                    <a:gd name="connsiteY205" fmla="*/ 718400 h 1708463"/>
                    <a:gd name="connsiteX206" fmla="*/ 94781 w 422588"/>
                    <a:gd name="connsiteY206" fmla="*/ 722625 h 1708463"/>
                    <a:gd name="connsiteX207" fmla="*/ 98403 w 422588"/>
                    <a:gd name="connsiteY207" fmla="*/ 734699 h 1708463"/>
                    <a:gd name="connsiteX208" fmla="*/ 94177 w 422588"/>
                    <a:gd name="connsiteY208" fmla="*/ 743151 h 1708463"/>
                    <a:gd name="connsiteX209" fmla="*/ 99610 w 422588"/>
                    <a:gd name="connsiteY209" fmla="*/ 744359 h 1708463"/>
                    <a:gd name="connsiteX210" fmla="*/ 99610 w 422588"/>
                    <a:gd name="connsiteY210" fmla="*/ 747981 h 1708463"/>
                    <a:gd name="connsiteX211" fmla="*/ 88744 w 422588"/>
                    <a:gd name="connsiteY211" fmla="*/ 752810 h 1708463"/>
                    <a:gd name="connsiteX212" fmla="*/ 80896 w 422588"/>
                    <a:gd name="connsiteY212" fmla="*/ 752810 h 1708463"/>
                    <a:gd name="connsiteX213" fmla="*/ 76670 w 422588"/>
                    <a:gd name="connsiteY213" fmla="*/ 748585 h 1708463"/>
                    <a:gd name="connsiteX214" fmla="*/ 79085 w 422588"/>
                    <a:gd name="connsiteY214" fmla="*/ 746170 h 1708463"/>
                    <a:gd name="connsiteX215" fmla="*/ 78481 w 422588"/>
                    <a:gd name="connsiteY215" fmla="*/ 741340 h 1708463"/>
                    <a:gd name="connsiteX216" fmla="*/ 85122 w 422588"/>
                    <a:gd name="connsiteY216" fmla="*/ 740736 h 1708463"/>
                    <a:gd name="connsiteX217" fmla="*/ 85725 w 422588"/>
                    <a:gd name="connsiteY217" fmla="*/ 733492 h 1708463"/>
                    <a:gd name="connsiteX218" fmla="*/ 83310 w 422588"/>
                    <a:gd name="connsiteY218" fmla="*/ 729266 h 1708463"/>
                    <a:gd name="connsiteX219" fmla="*/ 83914 w 422588"/>
                    <a:gd name="connsiteY219" fmla="*/ 723833 h 1708463"/>
                    <a:gd name="connsiteX220" fmla="*/ 87536 w 422588"/>
                    <a:gd name="connsiteY220" fmla="*/ 717796 h 1708463"/>
                    <a:gd name="connsiteX221" fmla="*/ 89347 w 422588"/>
                    <a:gd name="connsiteY221" fmla="*/ 718400 h 1708463"/>
                    <a:gd name="connsiteX222" fmla="*/ 2415 w 422588"/>
                    <a:gd name="connsiteY222" fmla="*/ 701496 h 1708463"/>
                    <a:gd name="connsiteX223" fmla="*/ 12678 w 422588"/>
                    <a:gd name="connsiteY223" fmla="*/ 702703 h 1708463"/>
                    <a:gd name="connsiteX224" fmla="*/ 12678 w 422588"/>
                    <a:gd name="connsiteY224" fmla="*/ 709344 h 1708463"/>
                    <a:gd name="connsiteX225" fmla="*/ 13885 w 422588"/>
                    <a:gd name="connsiteY225" fmla="*/ 713570 h 1708463"/>
                    <a:gd name="connsiteX226" fmla="*/ 8452 w 422588"/>
                    <a:gd name="connsiteY226" fmla="*/ 715381 h 1708463"/>
                    <a:gd name="connsiteX227" fmla="*/ 1811 w 422588"/>
                    <a:gd name="connsiteY227" fmla="*/ 714777 h 1708463"/>
                    <a:gd name="connsiteX228" fmla="*/ 0 w 422588"/>
                    <a:gd name="connsiteY228" fmla="*/ 710551 h 1708463"/>
                    <a:gd name="connsiteX229" fmla="*/ 2415 w 422588"/>
                    <a:gd name="connsiteY229" fmla="*/ 701496 h 1708463"/>
                    <a:gd name="connsiteX230" fmla="*/ 68218 w 422588"/>
                    <a:gd name="connsiteY230" fmla="*/ 699081 h 1708463"/>
                    <a:gd name="connsiteX231" fmla="*/ 73651 w 422588"/>
                    <a:gd name="connsiteY231" fmla="*/ 701496 h 1708463"/>
                    <a:gd name="connsiteX232" fmla="*/ 71236 w 422588"/>
                    <a:gd name="connsiteY232" fmla="*/ 707533 h 1708463"/>
                    <a:gd name="connsiteX233" fmla="*/ 67614 w 422588"/>
                    <a:gd name="connsiteY233" fmla="*/ 708137 h 1708463"/>
                    <a:gd name="connsiteX234" fmla="*/ 67011 w 422588"/>
                    <a:gd name="connsiteY234" fmla="*/ 700892 h 1708463"/>
                    <a:gd name="connsiteX235" fmla="*/ 68218 w 422588"/>
                    <a:gd name="connsiteY235" fmla="*/ 699081 h 1708463"/>
                    <a:gd name="connsiteX236" fmla="*/ 167828 w 422588"/>
                    <a:gd name="connsiteY236" fmla="*/ 648371 h 1708463"/>
                    <a:gd name="connsiteX237" fmla="*/ 169639 w 422588"/>
                    <a:gd name="connsiteY237" fmla="*/ 650182 h 1708463"/>
                    <a:gd name="connsiteX238" fmla="*/ 176280 w 422588"/>
                    <a:gd name="connsiteY238" fmla="*/ 648371 h 1708463"/>
                    <a:gd name="connsiteX239" fmla="*/ 178091 w 422588"/>
                    <a:gd name="connsiteY239" fmla="*/ 650182 h 1708463"/>
                    <a:gd name="connsiteX240" fmla="*/ 173261 w 422588"/>
                    <a:gd name="connsiteY240" fmla="*/ 655011 h 1708463"/>
                    <a:gd name="connsiteX241" fmla="*/ 166621 w 422588"/>
                    <a:gd name="connsiteY241" fmla="*/ 651389 h 1708463"/>
                    <a:gd name="connsiteX242" fmla="*/ 167828 w 422588"/>
                    <a:gd name="connsiteY242" fmla="*/ 648371 h 1708463"/>
                    <a:gd name="connsiteX243" fmla="*/ 156961 w 422588"/>
                    <a:gd name="connsiteY243" fmla="*/ 608527 h 1708463"/>
                    <a:gd name="connsiteX244" fmla="*/ 159980 w 422588"/>
                    <a:gd name="connsiteY244" fmla="*/ 606112 h 1708463"/>
                    <a:gd name="connsiteX245" fmla="*/ 164206 w 422588"/>
                    <a:gd name="connsiteY245" fmla="*/ 609130 h 1708463"/>
                    <a:gd name="connsiteX246" fmla="*/ 164809 w 422588"/>
                    <a:gd name="connsiteY246" fmla="*/ 615771 h 1708463"/>
                    <a:gd name="connsiteX247" fmla="*/ 170846 w 422588"/>
                    <a:gd name="connsiteY247" fmla="*/ 626638 h 1708463"/>
                    <a:gd name="connsiteX248" fmla="*/ 174469 w 422588"/>
                    <a:gd name="connsiteY248" fmla="*/ 637504 h 1708463"/>
                    <a:gd name="connsiteX249" fmla="*/ 172658 w 422588"/>
                    <a:gd name="connsiteY249" fmla="*/ 639919 h 1708463"/>
                    <a:gd name="connsiteX250" fmla="*/ 168432 w 422588"/>
                    <a:gd name="connsiteY250" fmla="*/ 639315 h 1708463"/>
                    <a:gd name="connsiteX251" fmla="*/ 167828 w 422588"/>
                    <a:gd name="connsiteY251" fmla="*/ 636297 h 1708463"/>
                    <a:gd name="connsiteX252" fmla="*/ 160584 w 422588"/>
                    <a:gd name="connsiteY252" fmla="*/ 626034 h 1708463"/>
                    <a:gd name="connsiteX253" fmla="*/ 157565 w 422588"/>
                    <a:gd name="connsiteY253" fmla="*/ 626034 h 1708463"/>
                    <a:gd name="connsiteX254" fmla="*/ 155150 w 422588"/>
                    <a:gd name="connsiteY254" fmla="*/ 619997 h 1708463"/>
                    <a:gd name="connsiteX255" fmla="*/ 149717 w 422588"/>
                    <a:gd name="connsiteY255" fmla="*/ 618790 h 1708463"/>
                    <a:gd name="connsiteX256" fmla="*/ 149113 w 422588"/>
                    <a:gd name="connsiteY256" fmla="*/ 614564 h 1708463"/>
                    <a:gd name="connsiteX257" fmla="*/ 153339 w 422588"/>
                    <a:gd name="connsiteY257" fmla="*/ 612753 h 1708463"/>
                    <a:gd name="connsiteX258" fmla="*/ 156961 w 422588"/>
                    <a:gd name="connsiteY258" fmla="*/ 608527 h 1708463"/>
                    <a:gd name="connsiteX259" fmla="*/ 161187 w 422588"/>
                    <a:gd name="connsiteY259" fmla="*/ 592830 h 1708463"/>
                    <a:gd name="connsiteX260" fmla="*/ 164206 w 422588"/>
                    <a:gd name="connsiteY260" fmla="*/ 593434 h 1708463"/>
                    <a:gd name="connsiteX261" fmla="*/ 162998 w 422588"/>
                    <a:gd name="connsiteY261" fmla="*/ 605508 h 1708463"/>
                    <a:gd name="connsiteX262" fmla="*/ 161187 w 422588"/>
                    <a:gd name="connsiteY262" fmla="*/ 606112 h 1708463"/>
                    <a:gd name="connsiteX263" fmla="*/ 155150 w 422588"/>
                    <a:gd name="connsiteY263" fmla="*/ 600075 h 1708463"/>
                    <a:gd name="connsiteX264" fmla="*/ 155150 w 422588"/>
                    <a:gd name="connsiteY264" fmla="*/ 592830 h 1708463"/>
                    <a:gd name="connsiteX265" fmla="*/ 161187 w 422588"/>
                    <a:gd name="connsiteY265" fmla="*/ 592830 h 1708463"/>
                    <a:gd name="connsiteX266" fmla="*/ 169035 w 422588"/>
                    <a:gd name="connsiteY266" fmla="*/ 582568 h 1708463"/>
                    <a:gd name="connsiteX267" fmla="*/ 168432 w 422588"/>
                    <a:gd name="connsiteY267" fmla="*/ 586190 h 1708463"/>
                    <a:gd name="connsiteX268" fmla="*/ 170243 w 422588"/>
                    <a:gd name="connsiteY268" fmla="*/ 589208 h 1708463"/>
                    <a:gd name="connsiteX269" fmla="*/ 170846 w 422588"/>
                    <a:gd name="connsiteY269" fmla="*/ 594642 h 1708463"/>
                    <a:gd name="connsiteX270" fmla="*/ 174469 w 422588"/>
                    <a:gd name="connsiteY270" fmla="*/ 599471 h 1708463"/>
                    <a:gd name="connsiteX271" fmla="*/ 172054 w 422588"/>
                    <a:gd name="connsiteY271" fmla="*/ 606112 h 1708463"/>
                    <a:gd name="connsiteX272" fmla="*/ 168432 w 422588"/>
                    <a:gd name="connsiteY272" fmla="*/ 600679 h 1708463"/>
                    <a:gd name="connsiteX273" fmla="*/ 164809 w 422588"/>
                    <a:gd name="connsiteY273" fmla="*/ 599471 h 1708463"/>
                    <a:gd name="connsiteX274" fmla="*/ 164206 w 422588"/>
                    <a:gd name="connsiteY274" fmla="*/ 592830 h 1708463"/>
                    <a:gd name="connsiteX275" fmla="*/ 158169 w 422588"/>
                    <a:gd name="connsiteY275" fmla="*/ 591623 h 1708463"/>
                    <a:gd name="connsiteX276" fmla="*/ 155754 w 422588"/>
                    <a:gd name="connsiteY276" fmla="*/ 589812 h 1708463"/>
                    <a:gd name="connsiteX277" fmla="*/ 155754 w 422588"/>
                    <a:gd name="connsiteY277" fmla="*/ 583775 h 1708463"/>
                    <a:gd name="connsiteX278" fmla="*/ 161791 w 422588"/>
                    <a:gd name="connsiteY278" fmla="*/ 585586 h 1708463"/>
                    <a:gd name="connsiteX279" fmla="*/ 169035 w 422588"/>
                    <a:gd name="connsiteY279" fmla="*/ 582568 h 1708463"/>
                    <a:gd name="connsiteX280" fmla="*/ 177487 w 422588"/>
                    <a:gd name="connsiteY280" fmla="*/ 571097 h 1708463"/>
                    <a:gd name="connsiteX281" fmla="*/ 181109 w 422588"/>
                    <a:gd name="connsiteY281" fmla="*/ 574116 h 1708463"/>
                    <a:gd name="connsiteX282" fmla="*/ 182920 w 422588"/>
                    <a:gd name="connsiteY282" fmla="*/ 584379 h 1708463"/>
                    <a:gd name="connsiteX283" fmla="*/ 181713 w 422588"/>
                    <a:gd name="connsiteY283" fmla="*/ 588001 h 1708463"/>
                    <a:gd name="connsiteX284" fmla="*/ 182317 w 422588"/>
                    <a:gd name="connsiteY284" fmla="*/ 592830 h 1708463"/>
                    <a:gd name="connsiteX285" fmla="*/ 180506 w 422588"/>
                    <a:gd name="connsiteY285" fmla="*/ 596453 h 1708463"/>
                    <a:gd name="connsiteX286" fmla="*/ 177487 w 422588"/>
                    <a:gd name="connsiteY286" fmla="*/ 597056 h 1708463"/>
                    <a:gd name="connsiteX287" fmla="*/ 170846 w 422588"/>
                    <a:gd name="connsiteY287" fmla="*/ 587397 h 1708463"/>
                    <a:gd name="connsiteX288" fmla="*/ 175072 w 422588"/>
                    <a:gd name="connsiteY288" fmla="*/ 575323 h 1708463"/>
                    <a:gd name="connsiteX289" fmla="*/ 177487 w 422588"/>
                    <a:gd name="connsiteY289" fmla="*/ 571097 h 1708463"/>
                    <a:gd name="connsiteX290" fmla="*/ 101421 w 422588"/>
                    <a:gd name="connsiteY290" fmla="*/ 565664 h 1708463"/>
                    <a:gd name="connsiteX291" fmla="*/ 102629 w 422588"/>
                    <a:gd name="connsiteY291" fmla="*/ 567475 h 1708463"/>
                    <a:gd name="connsiteX292" fmla="*/ 104440 w 422588"/>
                    <a:gd name="connsiteY292" fmla="*/ 580153 h 1708463"/>
                    <a:gd name="connsiteX293" fmla="*/ 108665 w 422588"/>
                    <a:gd name="connsiteY293" fmla="*/ 577134 h 1708463"/>
                    <a:gd name="connsiteX294" fmla="*/ 112891 w 422588"/>
                    <a:gd name="connsiteY294" fmla="*/ 578342 h 1708463"/>
                    <a:gd name="connsiteX295" fmla="*/ 112891 w 422588"/>
                    <a:gd name="connsiteY295" fmla="*/ 583171 h 1708463"/>
                    <a:gd name="connsiteX296" fmla="*/ 109269 w 422588"/>
                    <a:gd name="connsiteY296" fmla="*/ 592227 h 1708463"/>
                    <a:gd name="connsiteX297" fmla="*/ 108665 w 422588"/>
                    <a:gd name="connsiteY297" fmla="*/ 597056 h 1708463"/>
                    <a:gd name="connsiteX298" fmla="*/ 109269 w 422588"/>
                    <a:gd name="connsiteY298" fmla="*/ 597660 h 1708463"/>
                    <a:gd name="connsiteX299" fmla="*/ 112288 w 422588"/>
                    <a:gd name="connsiteY299" fmla="*/ 600679 h 1708463"/>
                    <a:gd name="connsiteX300" fmla="*/ 117117 w 422588"/>
                    <a:gd name="connsiteY300" fmla="*/ 609130 h 1708463"/>
                    <a:gd name="connsiteX301" fmla="*/ 114099 w 422588"/>
                    <a:gd name="connsiteY301" fmla="*/ 610941 h 1708463"/>
                    <a:gd name="connsiteX302" fmla="*/ 109873 w 422588"/>
                    <a:gd name="connsiteY302" fmla="*/ 608527 h 1708463"/>
                    <a:gd name="connsiteX303" fmla="*/ 112891 w 422588"/>
                    <a:gd name="connsiteY303" fmla="*/ 618186 h 1708463"/>
                    <a:gd name="connsiteX304" fmla="*/ 106854 w 422588"/>
                    <a:gd name="connsiteY304" fmla="*/ 621204 h 1708463"/>
                    <a:gd name="connsiteX305" fmla="*/ 104440 w 422588"/>
                    <a:gd name="connsiteY305" fmla="*/ 626034 h 1708463"/>
                    <a:gd name="connsiteX306" fmla="*/ 108062 w 422588"/>
                    <a:gd name="connsiteY306" fmla="*/ 636901 h 1708463"/>
                    <a:gd name="connsiteX307" fmla="*/ 111080 w 422588"/>
                    <a:gd name="connsiteY307" fmla="*/ 629656 h 1708463"/>
                    <a:gd name="connsiteX308" fmla="*/ 117117 w 422588"/>
                    <a:gd name="connsiteY308" fmla="*/ 628449 h 1708463"/>
                    <a:gd name="connsiteX309" fmla="*/ 119532 w 422588"/>
                    <a:gd name="connsiteY309" fmla="*/ 631467 h 1708463"/>
                    <a:gd name="connsiteX310" fmla="*/ 117721 w 422588"/>
                    <a:gd name="connsiteY310" fmla="*/ 638108 h 1708463"/>
                    <a:gd name="connsiteX311" fmla="*/ 119532 w 422588"/>
                    <a:gd name="connsiteY311" fmla="*/ 642334 h 1708463"/>
                    <a:gd name="connsiteX312" fmla="*/ 112891 w 422588"/>
                    <a:gd name="connsiteY312" fmla="*/ 674933 h 1708463"/>
                    <a:gd name="connsiteX313" fmla="*/ 105043 w 422588"/>
                    <a:gd name="connsiteY313" fmla="*/ 677348 h 1708463"/>
                    <a:gd name="connsiteX314" fmla="*/ 102025 w 422588"/>
                    <a:gd name="connsiteY314" fmla="*/ 680366 h 1708463"/>
                    <a:gd name="connsiteX315" fmla="*/ 100818 w 422588"/>
                    <a:gd name="connsiteY315" fmla="*/ 685800 h 1708463"/>
                    <a:gd name="connsiteX316" fmla="*/ 94781 w 422588"/>
                    <a:gd name="connsiteY316" fmla="*/ 693044 h 1708463"/>
                    <a:gd name="connsiteX317" fmla="*/ 99610 w 422588"/>
                    <a:gd name="connsiteY317" fmla="*/ 693044 h 1708463"/>
                    <a:gd name="connsiteX318" fmla="*/ 104440 w 422588"/>
                    <a:gd name="connsiteY318" fmla="*/ 685800 h 1708463"/>
                    <a:gd name="connsiteX319" fmla="*/ 110477 w 422588"/>
                    <a:gd name="connsiteY319" fmla="*/ 683989 h 1708463"/>
                    <a:gd name="connsiteX320" fmla="*/ 112891 w 422588"/>
                    <a:gd name="connsiteY320" fmla="*/ 685800 h 1708463"/>
                    <a:gd name="connsiteX321" fmla="*/ 112288 w 422588"/>
                    <a:gd name="connsiteY321" fmla="*/ 697874 h 1708463"/>
                    <a:gd name="connsiteX322" fmla="*/ 107458 w 422588"/>
                    <a:gd name="connsiteY322" fmla="*/ 708740 h 1708463"/>
                    <a:gd name="connsiteX323" fmla="*/ 106251 w 422588"/>
                    <a:gd name="connsiteY323" fmla="*/ 715381 h 1708463"/>
                    <a:gd name="connsiteX324" fmla="*/ 106854 w 422588"/>
                    <a:gd name="connsiteY324" fmla="*/ 717192 h 1708463"/>
                    <a:gd name="connsiteX325" fmla="*/ 103232 w 422588"/>
                    <a:gd name="connsiteY325" fmla="*/ 723229 h 1708463"/>
                    <a:gd name="connsiteX326" fmla="*/ 100818 w 422588"/>
                    <a:gd name="connsiteY326" fmla="*/ 719607 h 1708463"/>
                    <a:gd name="connsiteX327" fmla="*/ 94177 w 422588"/>
                    <a:gd name="connsiteY327" fmla="*/ 719607 h 1708463"/>
                    <a:gd name="connsiteX328" fmla="*/ 90555 w 422588"/>
                    <a:gd name="connsiteY328" fmla="*/ 715985 h 1708463"/>
                    <a:gd name="connsiteX329" fmla="*/ 91159 w 422588"/>
                    <a:gd name="connsiteY329" fmla="*/ 709948 h 1708463"/>
                    <a:gd name="connsiteX330" fmla="*/ 86329 w 422588"/>
                    <a:gd name="connsiteY330" fmla="*/ 705722 h 1708463"/>
                    <a:gd name="connsiteX331" fmla="*/ 82103 w 422588"/>
                    <a:gd name="connsiteY331" fmla="*/ 700892 h 1708463"/>
                    <a:gd name="connsiteX332" fmla="*/ 82707 w 422588"/>
                    <a:gd name="connsiteY332" fmla="*/ 692440 h 1708463"/>
                    <a:gd name="connsiteX333" fmla="*/ 79688 w 422588"/>
                    <a:gd name="connsiteY333" fmla="*/ 685800 h 1708463"/>
                    <a:gd name="connsiteX334" fmla="*/ 80896 w 422588"/>
                    <a:gd name="connsiteY334" fmla="*/ 680970 h 1708463"/>
                    <a:gd name="connsiteX335" fmla="*/ 77877 w 422588"/>
                    <a:gd name="connsiteY335" fmla="*/ 674933 h 1708463"/>
                    <a:gd name="connsiteX336" fmla="*/ 71236 w 422588"/>
                    <a:gd name="connsiteY336" fmla="*/ 674329 h 1708463"/>
                    <a:gd name="connsiteX337" fmla="*/ 71840 w 422588"/>
                    <a:gd name="connsiteY337" fmla="*/ 663463 h 1708463"/>
                    <a:gd name="connsiteX338" fmla="*/ 69425 w 422588"/>
                    <a:gd name="connsiteY338" fmla="*/ 651993 h 1708463"/>
                    <a:gd name="connsiteX339" fmla="*/ 65199 w 422588"/>
                    <a:gd name="connsiteY339" fmla="*/ 651993 h 1708463"/>
                    <a:gd name="connsiteX340" fmla="*/ 62785 w 422588"/>
                    <a:gd name="connsiteY340" fmla="*/ 647767 h 1708463"/>
                    <a:gd name="connsiteX341" fmla="*/ 65199 w 422588"/>
                    <a:gd name="connsiteY341" fmla="*/ 642334 h 1708463"/>
                    <a:gd name="connsiteX342" fmla="*/ 65803 w 422588"/>
                    <a:gd name="connsiteY342" fmla="*/ 637504 h 1708463"/>
                    <a:gd name="connsiteX343" fmla="*/ 68822 w 422588"/>
                    <a:gd name="connsiteY343" fmla="*/ 631467 h 1708463"/>
                    <a:gd name="connsiteX344" fmla="*/ 73651 w 422588"/>
                    <a:gd name="connsiteY344" fmla="*/ 627241 h 1708463"/>
                    <a:gd name="connsiteX345" fmla="*/ 76066 w 422588"/>
                    <a:gd name="connsiteY345" fmla="*/ 630864 h 1708463"/>
                    <a:gd name="connsiteX346" fmla="*/ 77877 w 422588"/>
                    <a:gd name="connsiteY346" fmla="*/ 639315 h 1708463"/>
                    <a:gd name="connsiteX347" fmla="*/ 83310 w 422588"/>
                    <a:gd name="connsiteY347" fmla="*/ 642938 h 1708463"/>
                    <a:gd name="connsiteX348" fmla="*/ 82103 w 422588"/>
                    <a:gd name="connsiteY348" fmla="*/ 631467 h 1708463"/>
                    <a:gd name="connsiteX349" fmla="*/ 83310 w 422588"/>
                    <a:gd name="connsiteY349" fmla="*/ 627845 h 1708463"/>
                    <a:gd name="connsiteX350" fmla="*/ 83310 w 422588"/>
                    <a:gd name="connsiteY350" fmla="*/ 613960 h 1708463"/>
                    <a:gd name="connsiteX351" fmla="*/ 86329 w 422588"/>
                    <a:gd name="connsiteY351" fmla="*/ 602490 h 1708463"/>
                    <a:gd name="connsiteX352" fmla="*/ 84518 w 422588"/>
                    <a:gd name="connsiteY352" fmla="*/ 600679 h 1708463"/>
                    <a:gd name="connsiteX353" fmla="*/ 85725 w 422588"/>
                    <a:gd name="connsiteY353" fmla="*/ 594038 h 1708463"/>
                    <a:gd name="connsiteX354" fmla="*/ 89951 w 422588"/>
                    <a:gd name="connsiteY354" fmla="*/ 577738 h 1708463"/>
                    <a:gd name="connsiteX355" fmla="*/ 99006 w 422588"/>
                    <a:gd name="connsiteY355" fmla="*/ 565664 h 1708463"/>
                    <a:gd name="connsiteX356" fmla="*/ 101421 w 422588"/>
                    <a:gd name="connsiteY356" fmla="*/ 565664 h 1708463"/>
                    <a:gd name="connsiteX357" fmla="*/ 107458 w 422588"/>
                    <a:gd name="connsiteY357" fmla="*/ 564457 h 1708463"/>
                    <a:gd name="connsiteX358" fmla="*/ 114099 w 422588"/>
                    <a:gd name="connsiteY358" fmla="*/ 566871 h 1708463"/>
                    <a:gd name="connsiteX359" fmla="*/ 115306 w 422588"/>
                    <a:gd name="connsiteY359" fmla="*/ 572908 h 1708463"/>
                    <a:gd name="connsiteX360" fmla="*/ 114702 w 422588"/>
                    <a:gd name="connsiteY360" fmla="*/ 577134 h 1708463"/>
                    <a:gd name="connsiteX361" fmla="*/ 106251 w 422588"/>
                    <a:gd name="connsiteY361" fmla="*/ 575927 h 1708463"/>
                    <a:gd name="connsiteX362" fmla="*/ 106251 w 422588"/>
                    <a:gd name="connsiteY362" fmla="*/ 567475 h 1708463"/>
                    <a:gd name="connsiteX363" fmla="*/ 107458 w 422588"/>
                    <a:gd name="connsiteY363" fmla="*/ 564457 h 1708463"/>
                    <a:gd name="connsiteX364" fmla="*/ 143076 w 422588"/>
                    <a:gd name="connsiteY364" fmla="*/ 561438 h 1708463"/>
                    <a:gd name="connsiteX365" fmla="*/ 145491 w 422588"/>
                    <a:gd name="connsiteY365" fmla="*/ 566871 h 1708463"/>
                    <a:gd name="connsiteX366" fmla="*/ 136436 w 422588"/>
                    <a:gd name="connsiteY366" fmla="*/ 565060 h 1708463"/>
                    <a:gd name="connsiteX367" fmla="*/ 143076 w 422588"/>
                    <a:gd name="connsiteY367" fmla="*/ 561438 h 1708463"/>
                    <a:gd name="connsiteX368" fmla="*/ 179298 w 422588"/>
                    <a:gd name="connsiteY368" fmla="*/ 560231 h 1708463"/>
                    <a:gd name="connsiteX369" fmla="*/ 181109 w 422588"/>
                    <a:gd name="connsiteY369" fmla="*/ 565664 h 1708463"/>
                    <a:gd name="connsiteX370" fmla="*/ 176883 w 422588"/>
                    <a:gd name="connsiteY370" fmla="*/ 567475 h 1708463"/>
                    <a:gd name="connsiteX371" fmla="*/ 179298 w 422588"/>
                    <a:gd name="connsiteY371" fmla="*/ 560231 h 1708463"/>
                    <a:gd name="connsiteX372" fmla="*/ 103836 w 422588"/>
                    <a:gd name="connsiteY372" fmla="*/ 552987 h 1708463"/>
                    <a:gd name="connsiteX373" fmla="*/ 106251 w 422588"/>
                    <a:gd name="connsiteY373" fmla="*/ 552987 h 1708463"/>
                    <a:gd name="connsiteX374" fmla="*/ 103836 w 422588"/>
                    <a:gd name="connsiteY374" fmla="*/ 563249 h 1708463"/>
                    <a:gd name="connsiteX375" fmla="*/ 101421 w 422588"/>
                    <a:gd name="connsiteY375" fmla="*/ 559023 h 1708463"/>
                    <a:gd name="connsiteX376" fmla="*/ 103836 w 422588"/>
                    <a:gd name="connsiteY376" fmla="*/ 552987 h 1708463"/>
                    <a:gd name="connsiteX377" fmla="*/ 150924 w 422588"/>
                    <a:gd name="connsiteY377" fmla="*/ 556005 h 1708463"/>
                    <a:gd name="connsiteX378" fmla="*/ 147302 w 422588"/>
                    <a:gd name="connsiteY378" fmla="*/ 560834 h 1708463"/>
                    <a:gd name="connsiteX379" fmla="*/ 143076 w 422588"/>
                    <a:gd name="connsiteY379" fmla="*/ 556609 h 1708463"/>
                    <a:gd name="connsiteX380" fmla="*/ 145491 w 422588"/>
                    <a:gd name="connsiteY380" fmla="*/ 553590 h 1708463"/>
                    <a:gd name="connsiteX381" fmla="*/ 150924 w 422588"/>
                    <a:gd name="connsiteY381" fmla="*/ 556005 h 1708463"/>
                    <a:gd name="connsiteX382" fmla="*/ 123758 w 422588"/>
                    <a:gd name="connsiteY382" fmla="*/ 549364 h 1708463"/>
                    <a:gd name="connsiteX383" fmla="*/ 127984 w 422588"/>
                    <a:gd name="connsiteY383" fmla="*/ 552383 h 1708463"/>
                    <a:gd name="connsiteX384" fmla="*/ 134021 w 422588"/>
                    <a:gd name="connsiteY384" fmla="*/ 551175 h 1708463"/>
                    <a:gd name="connsiteX385" fmla="*/ 136436 w 422588"/>
                    <a:gd name="connsiteY385" fmla="*/ 551779 h 1708463"/>
                    <a:gd name="connsiteX386" fmla="*/ 140058 w 422588"/>
                    <a:gd name="connsiteY386" fmla="*/ 560834 h 1708463"/>
                    <a:gd name="connsiteX387" fmla="*/ 134021 w 422588"/>
                    <a:gd name="connsiteY387" fmla="*/ 563249 h 1708463"/>
                    <a:gd name="connsiteX388" fmla="*/ 137039 w 422588"/>
                    <a:gd name="connsiteY388" fmla="*/ 567475 h 1708463"/>
                    <a:gd name="connsiteX389" fmla="*/ 137643 w 422588"/>
                    <a:gd name="connsiteY389" fmla="*/ 574719 h 1708463"/>
                    <a:gd name="connsiteX390" fmla="*/ 132813 w 422588"/>
                    <a:gd name="connsiteY390" fmla="*/ 572305 h 1708463"/>
                    <a:gd name="connsiteX391" fmla="*/ 132210 w 422588"/>
                    <a:gd name="connsiteY391" fmla="*/ 581360 h 1708463"/>
                    <a:gd name="connsiteX392" fmla="*/ 129795 w 422588"/>
                    <a:gd name="connsiteY392" fmla="*/ 580153 h 1708463"/>
                    <a:gd name="connsiteX393" fmla="*/ 121947 w 422588"/>
                    <a:gd name="connsiteY393" fmla="*/ 592830 h 1708463"/>
                    <a:gd name="connsiteX394" fmla="*/ 120739 w 422588"/>
                    <a:gd name="connsiteY394" fmla="*/ 598264 h 1708463"/>
                    <a:gd name="connsiteX395" fmla="*/ 114702 w 422588"/>
                    <a:gd name="connsiteY395" fmla="*/ 601886 h 1708463"/>
                    <a:gd name="connsiteX396" fmla="*/ 109269 w 422588"/>
                    <a:gd name="connsiteY396" fmla="*/ 597660 h 1708463"/>
                    <a:gd name="connsiteX397" fmla="*/ 109269 w 422588"/>
                    <a:gd name="connsiteY397" fmla="*/ 594642 h 1708463"/>
                    <a:gd name="connsiteX398" fmla="*/ 114702 w 422588"/>
                    <a:gd name="connsiteY398" fmla="*/ 578342 h 1708463"/>
                    <a:gd name="connsiteX399" fmla="*/ 115910 w 422588"/>
                    <a:gd name="connsiteY399" fmla="*/ 572908 h 1708463"/>
                    <a:gd name="connsiteX400" fmla="*/ 115306 w 422588"/>
                    <a:gd name="connsiteY400" fmla="*/ 567475 h 1708463"/>
                    <a:gd name="connsiteX401" fmla="*/ 109873 w 422588"/>
                    <a:gd name="connsiteY401" fmla="*/ 563853 h 1708463"/>
                    <a:gd name="connsiteX402" fmla="*/ 112288 w 422588"/>
                    <a:gd name="connsiteY402" fmla="*/ 557816 h 1708463"/>
                    <a:gd name="connsiteX403" fmla="*/ 114702 w 422588"/>
                    <a:gd name="connsiteY403" fmla="*/ 559627 h 1708463"/>
                    <a:gd name="connsiteX404" fmla="*/ 118325 w 422588"/>
                    <a:gd name="connsiteY404" fmla="*/ 555401 h 1708463"/>
                    <a:gd name="connsiteX405" fmla="*/ 117117 w 422588"/>
                    <a:gd name="connsiteY405" fmla="*/ 549968 h 1708463"/>
                    <a:gd name="connsiteX406" fmla="*/ 120739 w 422588"/>
                    <a:gd name="connsiteY406" fmla="*/ 551175 h 1708463"/>
                    <a:gd name="connsiteX407" fmla="*/ 121343 w 422588"/>
                    <a:gd name="connsiteY407" fmla="*/ 551175 h 1708463"/>
                    <a:gd name="connsiteX408" fmla="*/ 116513 w 422588"/>
                    <a:gd name="connsiteY408" fmla="*/ 548157 h 1708463"/>
                    <a:gd name="connsiteX409" fmla="*/ 111080 w 422588"/>
                    <a:gd name="connsiteY409" fmla="*/ 552383 h 1708463"/>
                    <a:gd name="connsiteX410" fmla="*/ 105043 w 422588"/>
                    <a:gd name="connsiteY410" fmla="*/ 551779 h 1708463"/>
                    <a:gd name="connsiteX411" fmla="*/ 101421 w 422588"/>
                    <a:gd name="connsiteY411" fmla="*/ 544535 h 1708463"/>
                    <a:gd name="connsiteX412" fmla="*/ 100818 w 422588"/>
                    <a:gd name="connsiteY412" fmla="*/ 526424 h 1708463"/>
                    <a:gd name="connsiteX413" fmla="*/ 102629 w 422588"/>
                    <a:gd name="connsiteY413" fmla="*/ 520387 h 1708463"/>
                    <a:gd name="connsiteX414" fmla="*/ 101421 w 422588"/>
                    <a:gd name="connsiteY414" fmla="*/ 516161 h 1708463"/>
                    <a:gd name="connsiteX415" fmla="*/ 103232 w 422588"/>
                    <a:gd name="connsiteY415" fmla="*/ 511935 h 1708463"/>
                    <a:gd name="connsiteX416" fmla="*/ 100214 w 422588"/>
                    <a:gd name="connsiteY416" fmla="*/ 507106 h 1708463"/>
                    <a:gd name="connsiteX417" fmla="*/ 103232 w 422588"/>
                    <a:gd name="connsiteY417" fmla="*/ 498050 h 1708463"/>
                    <a:gd name="connsiteX418" fmla="*/ 102629 w 422588"/>
                    <a:gd name="connsiteY418" fmla="*/ 490202 h 1708463"/>
                    <a:gd name="connsiteX419" fmla="*/ 104440 w 422588"/>
                    <a:gd name="connsiteY419" fmla="*/ 481146 h 1708463"/>
                    <a:gd name="connsiteX420" fmla="*/ 110477 w 422588"/>
                    <a:gd name="connsiteY420" fmla="*/ 473902 h 1708463"/>
                    <a:gd name="connsiteX421" fmla="*/ 109873 w 422588"/>
                    <a:gd name="connsiteY421" fmla="*/ 462432 h 1708463"/>
                    <a:gd name="connsiteX422" fmla="*/ 108062 w 422588"/>
                    <a:gd name="connsiteY422" fmla="*/ 458810 h 1708463"/>
                    <a:gd name="connsiteX423" fmla="*/ 105647 w 422588"/>
                    <a:gd name="connsiteY423" fmla="*/ 449150 h 1708463"/>
                    <a:gd name="connsiteX424" fmla="*/ 106251 w 422588"/>
                    <a:gd name="connsiteY424" fmla="*/ 440699 h 1708463"/>
                    <a:gd name="connsiteX425" fmla="*/ 109269 w 422588"/>
                    <a:gd name="connsiteY425" fmla="*/ 440699 h 1708463"/>
                    <a:gd name="connsiteX426" fmla="*/ 115910 w 422588"/>
                    <a:gd name="connsiteY426" fmla="*/ 433455 h 1708463"/>
                    <a:gd name="connsiteX427" fmla="*/ 120739 w 422588"/>
                    <a:gd name="connsiteY427" fmla="*/ 433455 h 1708463"/>
                    <a:gd name="connsiteX428" fmla="*/ 120136 w 422588"/>
                    <a:gd name="connsiteY428" fmla="*/ 427418 h 1708463"/>
                    <a:gd name="connsiteX429" fmla="*/ 126173 w 422588"/>
                    <a:gd name="connsiteY429" fmla="*/ 426210 h 1708463"/>
                    <a:gd name="connsiteX430" fmla="*/ 122550 w 422588"/>
                    <a:gd name="connsiteY430" fmla="*/ 425607 h 1708463"/>
                    <a:gd name="connsiteX431" fmla="*/ 120739 w 422588"/>
                    <a:gd name="connsiteY431" fmla="*/ 422588 h 1708463"/>
                    <a:gd name="connsiteX432" fmla="*/ 121947 w 422588"/>
                    <a:gd name="connsiteY432" fmla="*/ 417758 h 1708463"/>
                    <a:gd name="connsiteX433" fmla="*/ 120739 w 422588"/>
                    <a:gd name="connsiteY433" fmla="*/ 414136 h 1708463"/>
                    <a:gd name="connsiteX434" fmla="*/ 120739 w 422588"/>
                    <a:gd name="connsiteY434" fmla="*/ 408703 h 1708463"/>
                    <a:gd name="connsiteX435" fmla="*/ 124965 w 422588"/>
                    <a:gd name="connsiteY435" fmla="*/ 408099 h 1708463"/>
                    <a:gd name="connsiteX436" fmla="*/ 126173 w 422588"/>
                    <a:gd name="connsiteY436" fmla="*/ 404477 h 1708463"/>
                    <a:gd name="connsiteX437" fmla="*/ 120136 w 422588"/>
                    <a:gd name="connsiteY437" fmla="*/ 401459 h 1708463"/>
                    <a:gd name="connsiteX438" fmla="*/ 121343 w 422588"/>
                    <a:gd name="connsiteY438" fmla="*/ 385159 h 1708463"/>
                    <a:gd name="connsiteX439" fmla="*/ 126173 w 422588"/>
                    <a:gd name="connsiteY439" fmla="*/ 382744 h 1708463"/>
                    <a:gd name="connsiteX440" fmla="*/ 124362 w 422588"/>
                    <a:gd name="connsiteY440" fmla="*/ 377311 h 1708463"/>
                    <a:gd name="connsiteX441" fmla="*/ 131002 w 422588"/>
                    <a:gd name="connsiteY441" fmla="*/ 373688 h 1708463"/>
                    <a:gd name="connsiteX442" fmla="*/ 123758 w 422588"/>
                    <a:gd name="connsiteY442" fmla="*/ 371877 h 1708463"/>
                    <a:gd name="connsiteX443" fmla="*/ 128587 w 422588"/>
                    <a:gd name="connsiteY443" fmla="*/ 359200 h 1708463"/>
                    <a:gd name="connsiteX444" fmla="*/ 127984 w 422588"/>
                    <a:gd name="connsiteY444" fmla="*/ 354370 h 1708463"/>
                    <a:gd name="connsiteX445" fmla="*/ 132210 w 422588"/>
                    <a:gd name="connsiteY445" fmla="*/ 353766 h 1708463"/>
                    <a:gd name="connsiteX446" fmla="*/ 126776 w 422588"/>
                    <a:gd name="connsiteY446" fmla="*/ 345918 h 1708463"/>
                    <a:gd name="connsiteX447" fmla="*/ 130399 w 422588"/>
                    <a:gd name="connsiteY447" fmla="*/ 340485 h 1708463"/>
                    <a:gd name="connsiteX448" fmla="*/ 127380 w 422588"/>
                    <a:gd name="connsiteY448" fmla="*/ 339278 h 1708463"/>
                    <a:gd name="connsiteX449" fmla="*/ 129191 w 422588"/>
                    <a:gd name="connsiteY449" fmla="*/ 332637 h 1708463"/>
                    <a:gd name="connsiteX450" fmla="*/ 129795 w 422588"/>
                    <a:gd name="connsiteY450" fmla="*/ 326600 h 1708463"/>
                    <a:gd name="connsiteX451" fmla="*/ 132813 w 422588"/>
                    <a:gd name="connsiteY451" fmla="*/ 322374 h 1708463"/>
                    <a:gd name="connsiteX452" fmla="*/ 131606 w 422588"/>
                    <a:gd name="connsiteY452" fmla="*/ 317545 h 1708463"/>
                    <a:gd name="connsiteX453" fmla="*/ 137039 w 422588"/>
                    <a:gd name="connsiteY453" fmla="*/ 316337 h 1708463"/>
                    <a:gd name="connsiteX454" fmla="*/ 139454 w 422588"/>
                    <a:gd name="connsiteY454" fmla="*/ 313319 h 1708463"/>
                    <a:gd name="connsiteX455" fmla="*/ 137039 w 422588"/>
                    <a:gd name="connsiteY455" fmla="*/ 309697 h 1708463"/>
                    <a:gd name="connsiteX456" fmla="*/ 137643 w 422588"/>
                    <a:gd name="connsiteY456" fmla="*/ 303660 h 1708463"/>
                    <a:gd name="connsiteX457" fmla="*/ 142473 w 422588"/>
                    <a:gd name="connsiteY457" fmla="*/ 303056 h 1708463"/>
                    <a:gd name="connsiteX458" fmla="*/ 143680 w 422588"/>
                    <a:gd name="connsiteY458" fmla="*/ 298830 h 1708463"/>
                    <a:gd name="connsiteX459" fmla="*/ 148510 w 422588"/>
                    <a:gd name="connsiteY459" fmla="*/ 298226 h 1708463"/>
                    <a:gd name="connsiteX460" fmla="*/ 145491 w 422588"/>
                    <a:gd name="connsiteY460" fmla="*/ 291586 h 1708463"/>
                    <a:gd name="connsiteX461" fmla="*/ 146698 w 422588"/>
                    <a:gd name="connsiteY461" fmla="*/ 290378 h 1708463"/>
                    <a:gd name="connsiteX462" fmla="*/ 155754 w 422588"/>
                    <a:gd name="connsiteY462" fmla="*/ 289171 h 1708463"/>
                    <a:gd name="connsiteX463" fmla="*/ 158169 w 422588"/>
                    <a:gd name="connsiteY463" fmla="*/ 292793 h 1708463"/>
                    <a:gd name="connsiteX464" fmla="*/ 161791 w 422588"/>
                    <a:gd name="connsiteY464" fmla="*/ 290982 h 1708463"/>
                    <a:gd name="connsiteX465" fmla="*/ 159376 w 422588"/>
                    <a:gd name="connsiteY465" fmla="*/ 287360 h 1708463"/>
                    <a:gd name="connsiteX466" fmla="*/ 161791 w 422588"/>
                    <a:gd name="connsiteY466" fmla="*/ 284341 h 1708463"/>
                    <a:gd name="connsiteX467" fmla="*/ 166621 w 422588"/>
                    <a:gd name="connsiteY467" fmla="*/ 287963 h 1708463"/>
                    <a:gd name="connsiteX468" fmla="*/ 169035 w 422588"/>
                    <a:gd name="connsiteY468" fmla="*/ 283134 h 1708463"/>
                    <a:gd name="connsiteX469" fmla="*/ 171450 w 422588"/>
                    <a:gd name="connsiteY469" fmla="*/ 288567 h 1708463"/>
                    <a:gd name="connsiteX470" fmla="*/ 172054 w 422588"/>
                    <a:gd name="connsiteY470" fmla="*/ 297019 h 1708463"/>
                    <a:gd name="connsiteX471" fmla="*/ 170243 w 422588"/>
                    <a:gd name="connsiteY471" fmla="*/ 307282 h 1708463"/>
                    <a:gd name="connsiteX472" fmla="*/ 170846 w 422588"/>
                    <a:gd name="connsiteY472" fmla="*/ 315734 h 1708463"/>
                    <a:gd name="connsiteX473" fmla="*/ 173865 w 422588"/>
                    <a:gd name="connsiteY473" fmla="*/ 318752 h 1708463"/>
                    <a:gd name="connsiteX474" fmla="*/ 176280 w 422588"/>
                    <a:gd name="connsiteY474" fmla="*/ 327808 h 1708463"/>
                    <a:gd name="connsiteX475" fmla="*/ 179298 w 422588"/>
                    <a:gd name="connsiteY475" fmla="*/ 332033 h 1708463"/>
                    <a:gd name="connsiteX476" fmla="*/ 178091 w 422588"/>
                    <a:gd name="connsiteY476" fmla="*/ 336259 h 1708463"/>
                    <a:gd name="connsiteX477" fmla="*/ 174469 w 422588"/>
                    <a:gd name="connsiteY477" fmla="*/ 334448 h 1708463"/>
                    <a:gd name="connsiteX478" fmla="*/ 171450 w 422588"/>
                    <a:gd name="connsiteY478" fmla="*/ 336259 h 1708463"/>
                    <a:gd name="connsiteX479" fmla="*/ 169035 w 422588"/>
                    <a:gd name="connsiteY479" fmla="*/ 331430 h 1708463"/>
                    <a:gd name="connsiteX480" fmla="*/ 164206 w 422588"/>
                    <a:gd name="connsiteY480" fmla="*/ 329619 h 1708463"/>
                    <a:gd name="connsiteX481" fmla="*/ 158772 w 422588"/>
                    <a:gd name="connsiteY481" fmla="*/ 333241 h 1708463"/>
                    <a:gd name="connsiteX482" fmla="*/ 155754 w 422588"/>
                    <a:gd name="connsiteY482" fmla="*/ 328411 h 1708463"/>
                    <a:gd name="connsiteX483" fmla="*/ 153943 w 422588"/>
                    <a:gd name="connsiteY483" fmla="*/ 331430 h 1708463"/>
                    <a:gd name="connsiteX484" fmla="*/ 155150 w 422588"/>
                    <a:gd name="connsiteY484" fmla="*/ 335052 h 1708463"/>
                    <a:gd name="connsiteX485" fmla="*/ 158772 w 422588"/>
                    <a:gd name="connsiteY485" fmla="*/ 335656 h 1708463"/>
                    <a:gd name="connsiteX486" fmla="*/ 166017 w 422588"/>
                    <a:gd name="connsiteY486" fmla="*/ 339278 h 1708463"/>
                    <a:gd name="connsiteX487" fmla="*/ 172658 w 422588"/>
                    <a:gd name="connsiteY487" fmla="*/ 349540 h 1708463"/>
                    <a:gd name="connsiteX488" fmla="*/ 175676 w 422588"/>
                    <a:gd name="connsiteY488" fmla="*/ 348937 h 1708463"/>
                    <a:gd name="connsiteX489" fmla="*/ 175072 w 422588"/>
                    <a:gd name="connsiteY489" fmla="*/ 354974 h 1708463"/>
                    <a:gd name="connsiteX490" fmla="*/ 169639 w 422588"/>
                    <a:gd name="connsiteY490" fmla="*/ 366444 h 1708463"/>
                    <a:gd name="connsiteX491" fmla="*/ 170846 w 422588"/>
                    <a:gd name="connsiteY491" fmla="*/ 374896 h 1708463"/>
                    <a:gd name="connsiteX492" fmla="*/ 169639 w 422588"/>
                    <a:gd name="connsiteY492" fmla="*/ 376707 h 1708463"/>
                    <a:gd name="connsiteX493" fmla="*/ 170846 w 422588"/>
                    <a:gd name="connsiteY493" fmla="*/ 385159 h 1708463"/>
                    <a:gd name="connsiteX494" fmla="*/ 169639 w 422588"/>
                    <a:gd name="connsiteY494" fmla="*/ 389988 h 1708463"/>
                    <a:gd name="connsiteX495" fmla="*/ 164809 w 422588"/>
                    <a:gd name="connsiteY495" fmla="*/ 397836 h 1708463"/>
                    <a:gd name="connsiteX496" fmla="*/ 157565 w 422588"/>
                    <a:gd name="connsiteY496" fmla="*/ 397836 h 1708463"/>
                    <a:gd name="connsiteX497" fmla="*/ 155150 w 422588"/>
                    <a:gd name="connsiteY497" fmla="*/ 401459 h 1708463"/>
                    <a:gd name="connsiteX498" fmla="*/ 150321 w 422588"/>
                    <a:gd name="connsiteY498" fmla="*/ 396025 h 1708463"/>
                    <a:gd name="connsiteX499" fmla="*/ 148510 w 422588"/>
                    <a:gd name="connsiteY499" fmla="*/ 391196 h 1708463"/>
                    <a:gd name="connsiteX500" fmla="*/ 146095 w 422588"/>
                    <a:gd name="connsiteY500" fmla="*/ 393007 h 1708463"/>
                    <a:gd name="connsiteX501" fmla="*/ 143076 w 422588"/>
                    <a:gd name="connsiteY501" fmla="*/ 399647 h 1708463"/>
                    <a:gd name="connsiteX502" fmla="*/ 144284 w 422588"/>
                    <a:gd name="connsiteY502" fmla="*/ 404477 h 1708463"/>
                    <a:gd name="connsiteX503" fmla="*/ 150321 w 422588"/>
                    <a:gd name="connsiteY503" fmla="*/ 409307 h 1708463"/>
                    <a:gd name="connsiteX504" fmla="*/ 147906 w 422588"/>
                    <a:gd name="connsiteY504" fmla="*/ 413533 h 1708463"/>
                    <a:gd name="connsiteX505" fmla="*/ 144887 w 422588"/>
                    <a:gd name="connsiteY505" fmla="*/ 412325 h 1708463"/>
                    <a:gd name="connsiteX506" fmla="*/ 144284 w 422588"/>
                    <a:gd name="connsiteY506" fmla="*/ 407496 h 1708463"/>
                    <a:gd name="connsiteX507" fmla="*/ 138850 w 422588"/>
                    <a:gd name="connsiteY507" fmla="*/ 408099 h 1708463"/>
                    <a:gd name="connsiteX508" fmla="*/ 137643 w 422588"/>
                    <a:gd name="connsiteY508" fmla="*/ 415947 h 1708463"/>
                    <a:gd name="connsiteX509" fmla="*/ 134021 w 422588"/>
                    <a:gd name="connsiteY509" fmla="*/ 418362 h 1708463"/>
                    <a:gd name="connsiteX510" fmla="*/ 134021 w 422588"/>
                    <a:gd name="connsiteY510" fmla="*/ 425003 h 1708463"/>
                    <a:gd name="connsiteX511" fmla="*/ 137039 w 422588"/>
                    <a:gd name="connsiteY511" fmla="*/ 429229 h 1708463"/>
                    <a:gd name="connsiteX512" fmla="*/ 134021 w 422588"/>
                    <a:gd name="connsiteY512" fmla="*/ 429832 h 1708463"/>
                    <a:gd name="connsiteX513" fmla="*/ 132813 w 422588"/>
                    <a:gd name="connsiteY513" fmla="*/ 429832 h 1708463"/>
                    <a:gd name="connsiteX514" fmla="*/ 131002 w 422588"/>
                    <a:gd name="connsiteY514" fmla="*/ 430436 h 1708463"/>
                    <a:gd name="connsiteX515" fmla="*/ 130399 w 422588"/>
                    <a:gd name="connsiteY515" fmla="*/ 430436 h 1708463"/>
                    <a:gd name="connsiteX516" fmla="*/ 131002 w 422588"/>
                    <a:gd name="connsiteY516" fmla="*/ 428625 h 1708463"/>
                    <a:gd name="connsiteX517" fmla="*/ 131002 w 422588"/>
                    <a:gd name="connsiteY517" fmla="*/ 427418 h 1708463"/>
                    <a:gd name="connsiteX518" fmla="*/ 126776 w 422588"/>
                    <a:gd name="connsiteY518" fmla="*/ 426814 h 1708463"/>
                    <a:gd name="connsiteX519" fmla="*/ 127984 w 422588"/>
                    <a:gd name="connsiteY519" fmla="*/ 428625 h 1708463"/>
                    <a:gd name="connsiteX520" fmla="*/ 129191 w 422588"/>
                    <a:gd name="connsiteY520" fmla="*/ 428625 h 1708463"/>
                    <a:gd name="connsiteX521" fmla="*/ 130399 w 422588"/>
                    <a:gd name="connsiteY521" fmla="*/ 427418 h 1708463"/>
                    <a:gd name="connsiteX522" fmla="*/ 131002 w 422588"/>
                    <a:gd name="connsiteY522" fmla="*/ 428625 h 1708463"/>
                    <a:gd name="connsiteX523" fmla="*/ 130399 w 422588"/>
                    <a:gd name="connsiteY523" fmla="*/ 429832 h 1708463"/>
                    <a:gd name="connsiteX524" fmla="*/ 130399 w 422588"/>
                    <a:gd name="connsiteY524" fmla="*/ 430436 h 1708463"/>
                    <a:gd name="connsiteX525" fmla="*/ 131002 w 422588"/>
                    <a:gd name="connsiteY525" fmla="*/ 431040 h 1708463"/>
                    <a:gd name="connsiteX526" fmla="*/ 137643 w 422588"/>
                    <a:gd name="connsiteY526" fmla="*/ 429229 h 1708463"/>
                    <a:gd name="connsiteX527" fmla="*/ 140661 w 422588"/>
                    <a:gd name="connsiteY527" fmla="*/ 426210 h 1708463"/>
                    <a:gd name="connsiteX528" fmla="*/ 142473 w 422588"/>
                    <a:gd name="connsiteY528" fmla="*/ 421984 h 1708463"/>
                    <a:gd name="connsiteX529" fmla="*/ 144887 w 422588"/>
                    <a:gd name="connsiteY529" fmla="*/ 423795 h 1708463"/>
                    <a:gd name="connsiteX530" fmla="*/ 144284 w 422588"/>
                    <a:gd name="connsiteY530" fmla="*/ 429229 h 1708463"/>
                    <a:gd name="connsiteX531" fmla="*/ 148510 w 422588"/>
                    <a:gd name="connsiteY531" fmla="*/ 429229 h 1708463"/>
                    <a:gd name="connsiteX532" fmla="*/ 151528 w 422588"/>
                    <a:gd name="connsiteY532" fmla="*/ 440699 h 1708463"/>
                    <a:gd name="connsiteX533" fmla="*/ 153943 w 422588"/>
                    <a:gd name="connsiteY533" fmla="*/ 444925 h 1708463"/>
                    <a:gd name="connsiteX534" fmla="*/ 149717 w 422588"/>
                    <a:gd name="connsiteY534" fmla="*/ 450358 h 1708463"/>
                    <a:gd name="connsiteX535" fmla="*/ 150924 w 422588"/>
                    <a:gd name="connsiteY535" fmla="*/ 453376 h 1708463"/>
                    <a:gd name="connsiteX536" fmla="*/ 155150 w 422588"/>
                    <a:gd name="connsiteY536" fmla="*/ 456395 h 1708463"/>
                    <a:gd name="connsiteX537" fmla="*/ 155754 w 422588"/>
                    <a:gd name="connsiteY537" fmla="*/ 461828 h 1708463"/>
                    <a:gd name="connsiteX538" fmla="*/ 158772 w 422588"/>
                    <a:gd name="connsiteY538" fmla="*/ 463639 h 1708463"/>
                    <a:gd name="connsiteX539" fmla="*/ 155754 w 422588"/>
                    <a:gd name="connsiteY539" fmla="*/ 467865 h 1708463"/>
                    <a:gd name="connsiteX540" fmla="*/ 156358 w 422588"/>
                    <a:gd name="connsiteY540" fmla="*/ 472091 h 1708463"/>
                    <a:gd name="connsiteX541" fmla="*/ 154547 w 422588"/>
                    <a:gd name="connsiteY541" fmla="*/ 479939 h 1708463"/>
                    <a:gd name="connsiteX542" fmla="*/ 153943 w 422588"/>
                    <a:gd name="connsiteY542" fmla="*/ 487183 h 1708463"/>
                    <a:gd name="connsiteX543" fmla="*/ 155150 w 422588"/>
                    <a:gd name="connsiteY543" fmla="*/ 493824 h 1708463"/>
                    <a:gd name="connsiteX544" fmla="*/ 158169 w 422588"/>
                    <a:gd name="connsiteY544" fmla="*/ 501069 h 1708463"/>
                    <a:gd name="connsiteX545" fmla="*/ 154547 w 422588"/>
                    <a:gd name="connsiteY545" fmla="*/ 513143 h 1708463"/>
                    <a:gd name="connsiteX546" fmla="*/ 152132 w 422588"/>
                    <a:gd name="connsiteY546" fmla="*/ 510728 h 1708463"/>
                    <a:gd name="connsiteX547" fmla="*/ 149717 w 422588"/>
                    <a:gd name="connsiteY547" fmla="*/ 513746 h 1708463"/>
                    <a:gd name="connsiteX548" fmla="*/ 152735 w 422588"/>
                    <a:gd name="connsiteY548" fmla="*/ 517368 h 1708463"/>
                    <a:gd name="connsiteX549" fmla="*/ 147302 w 422588"/>
                    <a:gd name="connsiteY549" fmla="*/ 523405 h 1708463"/>
                    <a:gd name="connsiteX550" fmla="*/ 145491 w 422588"/>
                    <a:gd name="connsiteY550" fmla="*/ 528839 h 1708463"/>
                    <a:gd name="connsiteX551" fmla="*/ 141869 w 422588"/>
                    <a:gd name="connsiteY551" fmla="*/ 524613 h 1708463"/>
                    <a:gd name="connsiteX552" fmla="*/ 138247 w 422588"/>
                    <a:gd name="connsiteY552" fmla="*/ 527631 h 1708463"/>
                    <a:gd name="connsiteX553" fmla="*/ 127984 w 422588"/>
                    <a:gd name="connsiteY553" fmla="*/ 525217 h 1708463"/>
                    <a:gd name="connsiteX554" fmla="*/ 129795 w 422588"/>
                    <a:gd name="connsiteY554" fmla="*/ 531857 h 1708463"/>
                    <a:gd name="connsiteX555" fmla="*/ 137039 w 422588"/>
                    <a:gd name="connsiteY555" fmla="*/ 540913 h 1708463"/>
                    <a:gd name="connsiteX556" fmla="*/ 140058 w 422588"/>
                    <a:gd name="connsiteY556" fmla="*/ 547553 h 1708463"/>
                    <a:gd name="connsiteX557" fmla="*/ 138247 w 422588"/>
                    <a:gd name="connsiteY557" fmla="*/ 549364 h 1708463"/>
                    <a:gd name="connsiteX558" fmla="*/ 134021 w 422588"/>
                    <a:gd name="connsiteY558" fmla="*/ 549364 h 1708463"/>
                    <a:gd name="connsiteX559" fmla="*/ 128587 w 422588"/>
                    <a:gd name="connsiteY559" fmla="*/ 551779 h 1708463"/>
                    <a:gd name="connsiteX560" fmla="*/ 123758 w 422588"/>
                    <a:gd name="connsiteY560" fmla="*/ 549364 h 1708463"/>
                    <a:gd name="connsiteX561" fmla="*/ 336259 w 422588"/>
                    <a:gd name="connsiteY561" fmla="*/ 548157 h 1708463"/>
                    <a:gd name="connsiteX562" fmla="*/ 339881 w 422588"/>
                    <a:gd name="connsiteY562" fmla="*/ 553590 h 1708463"/>
                    <a:gd name="connsiteX563" fmla="*/ 344107 w 422588"/>
                    <a:gd name="connsiteY563" fmla="*/ 556005 h 1708463"/>
                    <a:gd name="connsiteX564" fmla="*/ 342900 w 422588"/>
                    <a:gd name="connsiteY564" fmla="*/ 559023 h 1708463"/>
                    <a:gd name="connsiteX565" fmla="*/ 344711 w 422588"/>
                    <a:gd name="connsiteY565" fmla="*/ 565664 h 1708463"/>
                    <a:gd name="connsiteX566" fmla="*/ 336259 w 422588"/>
                    <a:gd name="connsiteY566" fmla="*/ 565664 h 1708463"/>
                    <a:gd name="connsiteX567" fmla="*/ 333844 w 422588"/>
                    <a:gd name="connsiteY567" fmla="*/ 563853 h 1708463"/>
                    <a:gd name="connsiteX568" fmla="*/ 331430 w 422588"/>
                    <a:gd name="connsiteY568" fmla="*/ 555401 h 1708463"/>
                    <a:gd name="connsiteX569" fmla="*/ 333241 w 422588"/>
                    <a:gd name="connsiteY569" fmla="*/ 550572 h 1708463"/>
                    <a:gd name="connsiteX570" fmla="*/ 336259 w 422588"/>
                    <a:gd name="connsiteY570" fmla="*/ 548157 h 1708463"/>
                    <a:gd name="connsiteX571" fmla="*/ 132813 w 422588"/>
                    <a:gd name="connsiteY571" fmla="*/ 529442 h 1708463"/>
                    <a:gd name="connsiteX572" fmla="*/ 137039 w 422588"/>
                    <a:gd name="connsiteY572" fmla="*/ 530046 h 1708463"/>
                    <a:gd name="connsiteX573" fmla="*/ 140661 w 422588"/>
                    <a:gd name="connsiteY573" fmla="*/ 533065 h 1708463"/>
                    <a:gd name="connsiteX574" fmla="*/ 135832 w 422588"/>
                    <a:gd name="connsiteY574" fmla="*/ 536083 h 1708463"/>
                    <a:gd name="connsiteX575" fmla="*/ 132210 w 422588"/>
                    <a:gd name="connsiteY575" fmla="*/ 532461 h 1708463"/>
                    <a:gd name="connsiteX576" fmla="*/ 132813 w 422588"/>
                    <a:gd name="connsiteY576" fmla="*/ 529442 h 1708463"/>
                    <a:gd name="connsiteX577" fmla="*/ 153943 w 422588"/>
                    <a:gd name="connsiteY577" fmla="*/ 528235 h 1708463"/>
                    <a:gd name="connsiteX578" fmla="*/ 151528 w 422588"/>
                    <a:gd name="connsiteY578" fmla="*/ 531254 h 1708463"/>
                    <a:gd name="connsiteX579" fmla="*/ 149113 w 422588"/>
                    <a:gd name="connsiteY579" fmla="*/ 539705 h 1708463"/>
                    <a:gd name="connsiteX580" fmla="*/ 146698 w 422588"/>
                    <a:gd name="connsiteY580" fmla="*/ 538498 h 1708463"/>
                    <a:gd name="connsiteX581" fmla="*/ 149113 w 422588"/>
                    <a:gd name="connsiteY581" fmla="*/ 527028 h 1708463"/>
                    <a:gd name="connsiteX582" fmla="*/ 153943 w 422588"/>
                    <a:gd name="connsiteY582" fmla="*/ 528235 h 1708463"/>
                    <a:gd name="connsiteX583" fmla="*/ 103836 w 422588"/>
                    <a:gd name="connsiteY583" fmla="*/ 440699 h 1708463"/>
                    <a:gd name="connsiteX584" fmla="*/ 104440 w 422588"/>
                    <a:gd name="connsiteY584" fmla="*/ 452169 h 1708463"/>
                    <a:gd name="connsiteX585" fmla="*/ 100214 w 422588"/>
                    <a:gd name="connsiteY585" fmla="*/ 447339 h 1708463"/>
                    <a:gd name="connsiteX586" fmla="*/ 103836 w 422588"/>
                    <a:gd name="connsiteY586" fmla="*/ 440699 h 1708463"/>
                    <a:gd name="connsiteX587" fmla="*/ 100214 w 422588"/>
                    <a:gd name="connsiteY587" fmla="*/ 406288 h 1708463"/>
                    <a:gd name="connsiteX588" fmla="*/ 105647 w 422588"/>
                    <a:gd name="connsiteY588" fmla="*/ 408703 h 1708463"/>
                    <a:gd name="connsiteX589" fmla="*/ 105647 w 422588"/>
                    <a:gd name="connsiteY589" fmla="*/ 428021 h 1708463"/>
                    <a:gd name="connsiteX590" fmla="*/ 104440 w 422588"/>
                    <a:gd name="connsiteY590" fmla="*/ 433455 h 1708463"/>
                    <a:gd name="connsiteX591" fmla="*/ 99006 w 422588"/>
                    <a:gd name="connsiteY591" fmla="*/ 439491 h 1708463"/>
                    <a:gd name="connsiteX592" fmla="*/ 99006 w 422588"/>
                    <a:gd name="connsiteY592" fmla="*/ 443114 h 1708463"/>
                    <a:gd name="connsiteX593" fmla="*/ 95384 w 422588"/>
                    <a:gd name="connsiteY593" fmla="*/ 447943 h 1708463"/>
                    <a:gd name="connsiteX594" fmla="*/ 91762 w 422588"/>
                    <a:gd name="connsiteY594" fmla="*/ 438888 h 1708463"/>
                    <a:gd name="connsiteX595" fmla="*/ 91159 w 422588"/>
                    <a:gd name="connsiteY595" fmla="*/ 434058 h 1708463"/>
                    <a:gd name="connsiteX596" fmla="*/ 94177 w 422588"/>
                    <a:gd name="connsiteY596" fmla="*/ 429832 h 1708463"/>
                    <a:gd name="connsiteX597" fmla="*/ 94781 w 422588"/>
                    <a:gd name="connsiteY597" fmla="*/ 421381 h 1708463"/>
                    <a:gd name="connsiteX598" fmla="*/ 97195 w 422588"/>
                    <a:gd name="connsiteY598" fmla="*/ 416551 h 1708463"/>
                    <a:gd name="connsiteX599" fmla="*/ 95384 w 422588"/>
                    <a:gd name="connsiteY599" fmla="*/ 414740 h 1708463"/>
                    <a:gd name="connsiteX600" fmla="*/ 98403 w 422588"/>
                    <a:gd name="connsiteY600" fmla="*/ 406892 h 1708463"/>
                    <a:gd name="connsiteX601" fmla="*/ 100214 w 422588"/>
                    <a:gd name="connsiteY601" fmla="*/ 406288 h 1708463"/>
                    <a:gd name="connsiteX602" fmla="*/ 164809 w 422588"/>
                    <a:gd name="connsiteY602" fmla="*/ 405081 h 1708463"/>
                    <a:gd name="connsiteX603" fmla="*/ 161791 w 422588"/>
                    <a:gd name="connsiteY603" fmla="*/ 407496 h 1708463"/>
                    <a:gd name="connsiteX604" fmla="*/ 157565 w 422588"/>
                    <a:gd name="connsiteY604" fmla="*/ 414136 h 1708463"/>
                    <a:gd name="connsiteX605" fmla="*/ 155150 w 422588"/>
                    <a:gd name="connsiteY605" fmla="*/ 413533 h 1708463"/>
                    <a:gd name="connsiteX606" fmla="*/ 155150 w 422588"/>
                    <a:gd name="connsiteY606" fmla="*/ 406288 h 1708463"/>
                    <a:gd name="connsiteX607" fmla="*/ 158772 w 422588"/>
                    <a:gd name="connsiteY607" fmla="*/ 408703 h 1708463"/>
                    <a:gd name="connsiteX608" fmla="*/ 164809 w 422588"/>
                    <a:gd name="connsiteY608" fmla="*/ 405081 h 1708463"/>
                    <a:gd name="connsiteX609" fmla="*/ 147906 w 422588"/>
                    <a:gd name="connsiteY609" fmla="*/ 399044 h 1708463"/>
                    <a:gd name="connsiteX610" fmla="*/ 150321 w 422588"/>
                    <a:gd name="connsiteY610" fmla="*/ 399044 h 1708463"/>
                    <a:gd name="connsiteX611" fmla="*/ 151528 w 422588"/>
                    <a:gd name="connsiteY611" fmla="*/ 405081 h 1708463"/>
                    <a:gd name="connsiteX612" fmla="*/ 146698 w 422588"/>
                    <a:gd name="connsiteY612" fmla="*/ 403873 h 1708463"/>
                    <a:gd name="connsiteX613" fmla="*/ 147906 w 422588"/>
                    <a:gd name="connsiteY613" fmla="*/ 399044 h 1708463"/>
                    <a:gd name="connsiteX614" fmla="*/ 425607 w 422588"/>
                    <a:gd name="connsiteY614" fmla="*/ 306074 h 1708463"/>
                    <a:gd name="connsiteX615" fmla="*/ 426210 w 422588"/>
                    <a:gd name="connsiteY615" fmla="*/ 310904 h 1708463"/>
                    <a:gd name="connsiteX616" fmla="*/ 421985 w 422588"/>
                    <a:gd name="connsiteY616" fmla="*/ 313319 h 1708463"/>
                    <a:gd name="connsiteX617" fmla="*/ 420777 w 422588"/>
                    <a:gd name="connsiteY617" fmla="*/ 309697 h 1708463"/>
                    <a:gd name="connsiteX618" fmla="*/ 425607 w 422588"/>
                    <a:gd name="connsiteY618" fmla="*/ 306074 h 1708463"/>
                    <a:gd name="connsiteX619" fmla="*/ 166621 w 422588"/>
                    <a:gd name="connsiteY619" fmla="*/ 260797 h 1708463"/>
                    <a:gd name="connsiteX620" fmla="*/ 168432 w 422588"/>
                    <a:gd name="connsiteY620" fmla="*/ 264419 h 1708463"/>
                    <a:gd name="connsiteX621" fmla="*/ 166017 w 422588"/>
                    <a:gd name="connsiteY621" fmla="*/ 268041 h 1708463"/>
                    <a:gd name="connsiteX622" fmla="*/ 160584 w 422588"/>
                    <a:gd name="connsiteY622" fmla="*/ 268041 h 1708463"/>
                    <a:gd name="connsiteX623" fmla="*/ 159376 w 422588"/>
                    <a:gd name="connsiteY623" fmla="*/ 263212 h 1708463"/>
                    <a:gd name="connsiteX624" fmla="*/ 166621 w 422588"/>
                    <a:gd name="connsiteY624" fmla="*/ 260797 h 1708463"/>
                    <a:gd name="connsiteX625" fmla="*/ 238460 w 422588"/>
                    <a:gd name="connsiteY625" fmla="*/ 158772 h 1708463"/>
                    <a:gd name="connsiteX626" fmla="*/ 241479 w 422588"/>
                    <a:gd name="connsiteY626" fmla="*/ 166620 h 1708463"/>
                    <a:gd name="connsiteX627" fmla="*/ 239064 w 422588"/>
                    <a:gd name="connsiteY627" fmla="*/ 177487 h 1708463"/>
                    <a:gd name="connsiteX628" fmla="*/ 236649 w 422588"/>
                    <a:gd name="connsiteY628" fmla="*/ 176883 h 1708463"/>
                    <a:gd name="connsiteX629" fmla="*/ 238460 w 422588"/>
                    <a:gd name="connsiteY629" fmla="*/ 171450 h 1708463"/>
                    <a:gd name="connsiteX630" fmla="*/ 236046 w 422588"/>
                    <a:gd name="connsiteY630" fmla="*/ 160583 h 1708463"/>
                    <a:gd name="connsiteX631" fmla="*/ 238460 w 422588"/>
                    <a:gd name="connsiteY631" fmla="*/ 158772 h 1708463"/>
                    <a:gd name="connsiteX632" fmla="*/ 295208 w 422588"/>
                    <a:gd name="connsiteY632" fmla="*/ 0 h 1708463"/>
                    <a:gd name="connsiteX633" fmla="*/ 294001 w 422588"/>
                    <a:gd name="connsiteY633" fmla="*/ 6037 h 1708463"/>
                    <a:gd name="connsiteX634" fmla="*/ 289775 w 422588"/>
                    <a:gd name="connsiteY634" fmla="*/ 6037 h 1708463"/>
                    <a:gd name="connsiteX635" fmla="*/ 292190 w 422588"/>
                    <a:gd name="connsiteY635" fmla="*/ 1207 h 1708463"/>
                    <a:gd name="connsiteX636" fmla="*/ 295208 w 422588"/>
                    <a:gd name="connsiteY636" fmla="*/ 0 h 1708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Lst>
                  <a:rect l="l" t="t" r="r" b="b"/>
                  <a:pathLst>
                    <a:path w="422588" h="1708463">
                      <a:moveTo>
                        <a:pt x="338070" y="1611268"/>
                      </a:moveTo>
                      <a:lnTo>
                        <a:pt x="338674" y="1616701"/>
                      </a:lnTo>
                      <a:lnTo>
                        <a:pt x="342900" y="1616097"/>
                      </a:lnTo>
                      <a:lnTo>
                        <a:pt x="345315" y="1622134"/>
                      </a:lnTo>
                      <a:lnTo>
                        <a:pt x="344711" y="1624549"/>
                      </a:lnTo>
                      <a:lnTo>
                        <a:pt x="347126" y="1636019"/>
                      </a:lnTo>
                      <a:lnTo>
                        <a:pt x="346522" y="1643264"/>
                      </a:lnTo>
                      <a:lnTo>
                        <a:pt x="348937" y="1645075"/>
                      </a:lnTo>
                      <a:lnTo>
                        <a:pt x="351955" y="1651112"/>
                      </a:lnTo>
                      <a:lnTo>
                        <a:pt x="353163" y="1658959"/>
                      </a:lnTo>
                      <a:lnTo>
                        <a:pt x="351955" y="1660771"/>
                      </a:lnTo>
                      <a:lnTo>
                        <a:pt x="354974" y="1664393"/>
                      </a:lnTo>
                      <a:lnTo>
                        <a:pt x="356181" y="1668619"/>
                      </a:lnTo>
                      <a:lnTo>
                        <a:pt x="352559" y="1672845"/>
                      </a:lnTo>
                      <a:lnTo>
                        <a:pt x="348333" y="1681297"/>
                      </a:lnTo>
                      <a:lnTo>
                        <a:pt x="348937" y="1685522"/>
                      </a:lnTo>
                      <a:lnTo>
                        <a:pt x="347730" y="1692767"/>
                      </a:lnTo>
                      <a:lnTo>
                        <a:pt x="350748" y="1694578"/>
                      </a:lnTo>
                      <a:lnTo>
                        <a:pt x="347730" y="1701823"/>
                      </a:lnTo>
                      <a:lnTo>
                        <a:pt x="345918" y="1703633"/>
                      </a:lnTo>
                      <a:lnTo>
                        <a:pt x="342296" y="1699408"/>
                      </a:lnTo>
                      <a:lnTo>
                        <a:pt x="339278" y="1699408"/>
                      </a:lnTo>
                      <a:lnTo>
                        <a:pt x="338070" y="1706652"/>
                      </a:lnTo>
                      <a:lnTo>
                        <a:pt x="333844" y="1712085"/>
                      </a:lnTo>
                      <a:lnTo>
                        <a:pt x="329619" y="1710274"/>
                      </a:lnTo>
                      <a:lnTo>
                        <a:pt x="330826" y="1701218"/>
                      </a:lnTo>
                      <a:lnTo>
                        <a:pt x="325393" y="1695181"/>
                      </a:lnTo>
                      <a:lnTo>
                        <a:pt x="327204" y="1692163"/>
                      </a:lnTo>
                      <a:lnTo>
                        <a:pt x="322978" y="1689144"/>
                      </a:lnTo>
                      <a:lnTo>
                        <a:pt x="324185" y="1685522"/>
                      </a:lnTo>
                      <a:lnTo>
                        <a:pt x="320563" y="1680089"/>
                      </a:lnTo>
                      <a:lnTo>
                        <a:pt x="316337" y="1676467"/>
                      </a:lnTo>
                      <a:lnTo>
                        <a:pt x="318149" y="1673448"/>
                      </a:lnTo>
                      <a:lnTo>
                        <a:pt x="316941" y="1669223"/>
                      </a:lnTo>
                      <a:lnTo>
                        <a:pt x="313923" y="1667411"/>
                      </a:lnTo>
                      <a:lnTo>
                        <a:pt x="312112" y="1662582"/>
                      </a:lnTo>
                      <a:lnTo>
                        <a:pt x="309093" y="1663186"/>
                      </a:lnTo>
                      <a:lnTo>
                        <a:pt x="307282" y="1658959"/>
                      </a:lnTo>
                      <a:lnTo>
                        <a:pt x="301245" y="1658356"/>
                      </a:lnTo>
                      <a:lnTo>
                        <a:pt x="298227" y="1634812"/>
                      </a:lnTo>
                      <a:lnTo>
                        <a:pt x="302453" y="1631793"/>
                      </a:lnTo>
                      <a:lnTo>
                        <a:pt x="302453" y="1624549"/>
                      </a:lnTo>
                      <a:lnTo>
                        <a:pt x="304867" y="1621531"/>
                      </a:lnTo>
                      <a:lnTo>
                        <a:pt x="310301" y="1620927"/>
                      </a:lnTo>
                      <a:lnTo>
                        <a:pt x="314526" y="1622134"/>
                      </a:lnTo>
                      <a:lnTo>
                        <a:pt x="318752" y="1617305"/>
                      </a:lnTo>
                      <a:lnTo>
                        <a:pt x="329619" y="1616701"/>
                      </a:lnTo>
                      <a:lnTo>
                        <a:pt x="329619" y="1613682"/>
                      </a:lnTo>
                      <a:lnTo>
                        <a:pt x="338070" y="1611268"/>
                      </a:lnTo>
                      <a:close/>
                      <a:moveTo>
                        <a:pt x="310301" y="1569009"/>
                      </a:moveTo>
                      <a:lnTo>
                        <a:pt x="312715" y="1578668"/>
                      </a:lnTo>
                      <a:lnTo>
                        <a:pt x="319356" y="1583497"/>
                      </a:lnTo>
                      <a:lnTo>
                        <a:pt x="312715" y="1596779"/>
                      </a:lnTo>
                      <a:lnTo>
                        <a:pt x="303056" y="1601608"/>
                      </a:lnTo>
                      <a:lnTo>
                        <a:pt x="301245" y="1607042"/>
                      </a:lnTo>
                      <a:lnTo>
                        <a:pt x="297019" y="1610664"/>
                      </a:lnTo>
                      <a:lnTo>
                        <a:pt x="292793" y="1605231"/>
                      </a:lnTo>
                      <a:lnTo>
                        <a:pt x="294001" y="1601005"/>
                      </a:lnTo>
                      <a:lnTo>
                        <a:pt x="292190" y="1597383"/>
                      </a:lnTo>
                      <a:lnTo>
                        <a:pt x="294604" y="1594364"/>
                      </a:lnTo>
                      <a:lnTo>
                        <a:pt x="293397" y="1585912"/>
                      </a:lnTo>
                      <a:lnTo>
                        <a:pt x="299434" y="1581687"/>
                      </a:lnTo>
                      <a:lnTo>
                        <a:pt x="309093" y="1579272"/>
                      </a:lnTo>
                      <a:lnTo>
                        <a:pt x="309093" y="1570216"/>
                      </a:lnTo>
                      <a:lnTo>
                        <a:pt x="310301" y="1569009"/>
                      </a:lnTo>
                      <a:close/>
                      <a:moveTo>
                        <a:pt x="241479" y="1447665"/>
                      </a:moveTo>
                      <a:lnTo>
                        <a:pt x="247516" y="1451892"/>
                      </a:lnTo>
                      <a:lnTo>
                        <a:pt x="246308" y="1458532"/>
                      </a:lnTo>
                      <a:lnTo>
                        <a:pt x="249931" y="1461551"/>
                      </a:lnTo>
                      <a:lnTo>
                        <a:pt x="251742" y="1459739"/>
                      </a:lnTo>
                      <a:lnTo>
                        <a:pt x="258382" y="1466381"/>
                      </a:lnTo>
                      <a:lnTo>
                        <a:pt x="260797" y="1474832"/>
                      </a:lnTo>
                      <a:lnTo>
                        <a:pt x="258382" y="1479662"/>
                      </a:lnTo>
                      <a:lnTo>
                        <a:pt x="251742" y="1473021"/>
                      </a:lnTo>
                      <a:lnTo>
                        <a:pt x="245101" y="1473625"/>
                      </a:lnTo>
                      <a:lnTo>
                        <a:pt x="240875" y="1477850"/>
                      </a:lnTo>
                      <a:lnTo>
                        <a:pt x="234234" y="1473625"/>
                      </a:lnTo>
                      <a:lnTo>
                        <a:pt x="234838" y="1468795"/>
                      </a:lnTo>
                      <a:lnTo>
                        <a:pt x="228801" y="1465173"/>
                      </a:lnTo>
                      <a:lnTo>
                        <a:pt x="226990" y="1460947"/>
                      </a:lnTo>
                      <a:lnTo>
                        <a:pt x="230009" y="1457929"/>
                      </a:lnTo>
                      <a:lnTo>
                        <a:pt x="230009" y="1454307"/>
                      </a:lnTo>
                      <a:lnTo>
                        <a:pt x="232423" y="1450684"/>
                      </a:lnTo>
                      <a:lnTo>
                        <a:pt x="236649" y="1451288"/>
                      </a:lnTo>
                      <a:lnTo>
                        <a:pt x="241479" y="1447665"/>
                      </a:lnTo>
                      <a:close/>
                      <a:moveTo>
                        <a:pt x="275890" y="1447062"/>
                      </a:moveTo>
                      <a:lnTo>
                        <a:pt x="279512" y="1447665"/>
                      </a:lnTo>
                      <a:lnTo>
                        <a:pt x="283134" y="1454910"/>
                      </a:lnTo>
                      <a:lnTo>
                        <a:pt x="282530" y="1466984"/>
                      </a:lnTo>
                      <a:lnTo>
                        <a:pt x="281323" y="1468191"/>
                      </a:lnTo>
                      <a:lnTo>
                        <a:pt x="268042" y="1456117"/>
                      </a:lnTo>
                      <a:lnTo>
                        <a:pt x="275286" y="1450080"/>
                      </a:lnTo>
                      <a:lnTo>
                        <a:pt x="275890" y="1447062"/>
                      </a:lnTo>
                      <a:close/>
                      <a:moveTo>
                        <a:pt x="282530" y="1427140"/>
                      </a:moveTo>
                      <a:lnTo>
                        <a:pt x="284342" y="1430159"/>
                      </a:lnTo>
                      <a:lnTo>
                        <a:pt x="285549" y="1445251"/>
                      </a:lnTo>
                      <a:lnTo>
                        <a:pt x="281323" y="1439214"/>
                      </a:lnTo>
                      <a:lnTo>
                        <a:pt x="278908" y="1428347"/>
                      </a:lnTo>
                      <a:lnTo>
                        <a:pt x="282530" y="1427140"/>
                      </a:lnTo>
                      <a:close/>
                      <a:moveTo>
                        <a:pt x="271664" y="1404803"/>
                      </a:moveTo>
                      <a:lnTo>
                        <a:pt x="275286" y="1406011"/>
                      </a:lnTo>
                      <a:lnTo>
                        <a:pt x="275286" y="1412048"/>
                      </a:lnTo>
                      <a:lnTo>
                        <a:pt x="271664" y="1417481"/>
                      </a:lnTo>
                      <a:lnTo>
                        <a:pt x="268042" y="1418688"/>
                      </a:lnTo>
                      <a:lnTo>
                        <a:pt x="267438" y="1422914"/>
                      </a:lnTo>
                      <a:lnTo>
                        <a:pt x="271664" y="1428347"/>
                      </a:lnTo>
                      <a:lnTo>
                        <a:pt x="272871" y="1432573"/>
                      </a:lnTo>
                      <a:lnTo>
                        <a:pt x="276493" y="1434988"/>
                      </a:lnTo>
                      <a:lnTo>
                        <a:pt x="277097" y="1439214"/>
                      </a:lnTo>
                      <a:lnTo>
                        <a:pt x="274682" y="1445251"/>
                      </a:lnTo>
                      <a:lnTo>
                        <a:pt x="268042" y="1445855"/>
                      </a:lnTo>
                      <a:lnTo>
                        <a:pt x="267438" y="1452495"/>
                      </a:lnTo>
                      <a:lnTo>
                        <a:pt x="264419" y="1453099"/>
                      </a:lnTo>
                      <a:lnTo>
                        <a:pt x="263816" y="1445251"/>
                      </a:lnTo>
                      <a:lnTo>
                        <a:pt x="266231" y="1444647"/>
                      </a:lnTo>
                      <a:lnTo>
                        <a:pt x="271664" y="1437403"/>
                      </a:lnTo>
                      <a:lnTo>
                        <a:pt x="269853" y="1435592"/>
                      </a:lnTo>
                      <a:lnTo>
                        <a:pt x="263212" y="1442233"/>
                      </a:lnTo>
                      <a:lnTo>
                        <a:pt x="262608" y="1436799"/>
                      </a:lnTo>
                      <a:lnTo>
                        <a:pt x="257779" y="1427140"/>
                      </a:lnTo>
                      <a:lnTo>
                        <a:pt x="257175" y="1416274"/>
                      </a:lnTo>
                      <a:lnTo>
                        <a:pt x="264419" y="1411444"/>
                      </a:lnTo>
                      <a:lnTo>
                        <a:pt x="265023" y="1406614"/>
                      </a:lnTo>
                      <a:lnTo>
                        <a:pt x="271664" y="1404803"/>
                      </a:lnTo>
                      <a:close/>
                      <a:moveTo>
                        <a:pt x="211898" y="1397559"/>
                      </a:moveTo>
                      <a:lnTo>
                        <a:pt x="214916" y="1405407"/>
                      </a:lnTo>
                      <a:lnTo>
                        <a:pt x="212501" y="1407218"/>
                      </a:lnTo>
                      <a:lnTo>
                        <a:pt x="208879" y="1401785"/>
                      </a:lnTo>
                      <a:lnTo>
                        <a:pt x="211898" y="1397559"/>
                      </a:lnTo>
                      <a:close/>
                      <a:moveTo>
                        <a:pt x="189561" y="1378845"/>
                      </a:moveTo>
                      <a:lnTo>
                        <a:pt x="192580" y="1380655"/>
                      </a:lnTo>
                      <a:lnTo>
                        <a:pt x="190165" y="1388504"/>
                      </a:lnTo>
                      <a:lnTo>
                        <a:pt x="188957" y="1395144"/>
                      </a:lnTo>
                      <a:lnTo>
                        <a:pt x="194994" y="1402388"/>
                      </a:lnTo>
                      <a:lnTo>
                        <a:pt x="203446" y="1406011"/>
                      </a:lnTo>
                      <a:lnTo>
                        <a:pt x="205257" y="1408425"/>
                      </a:lnTo>
                      <a:lnTo>
                        <a:pt x="204654" y="1412651"/>
                      </a:lnTo>
                      <a:lnTo>
                        <a:pt x="197409" y="1411444"/>
                      </a:lnTo>
                      <a:lnTo>
                        <a:pt x="188957" y="1407218"/>
                      </a:lnTo>
                      <a:lnTo>
                        <a:pt x="184128" y="1401785"/>
                      </a:lnTo>
                      <a:lnTo>
                        <a:pt x="181109" y="1396351"/>
                      </a:lnTo>
                      <a:lnTo>
                        <a:pt x="181109" y="1389107"/>
                      </a:lnTo>
                      <a:lnTo>
                        <a:pt x="182920" y="1382467"/>
                      </a:lnTo>
                      <a:lnTo>
                        <a:pt x="189561" y="1378845"/>
                      </a:lnTo>
                      <a:close/>
                      <a:moveTo>
                        <a:pt x="172054" y="1354697"/>
                      </a:moveTo>
                      <a:lnTo>
                        <a:pt x="174469" y="1357111"/>
                      </a:lnTo>
                      <a:lnTo>
                        <a:pt x="173865" y="1361941"/>
                      </a:lnTo>
                      <a:lnTo>
                        <a:pt x="170243" y="1358922"/>
                      </a:lnTo>
                      <a:lnTo>
                        <a:pt x="172054" y="1354697"/>
                      </a:lnTo>
                      <a:close/>
                      <a:moveTo>
                        <a:pt x="290379" y="1333567"/>
                      </a:moveTo>
                      <a:lnTo>
                        <a:pt x="291586" y="1342623"/>
                      </a:lnTo>
                      <a:lnTo>
                        <a:pt x="294001" y="1343830"/>
                      </a:lnTo>
                      <a:lnTo>
                        <a:pt x="295812" y="1355904"/>
                      </a:lnTo>
                      <a:lnTo>
                        <a:pt x="292190" y="1355904"/>
                      </a:lnTo>
                      <a:lnTo>
                        <a:pt x="292190" y="1345641"/>
                      </a:lnTo>
                      <a:lnTo>
                        <a:pt x="289171" y="1339604"/>
                      </a:lnTo>
                      <a:lnTo>
                        <a:pt x="290379" y="1333567"/>
                      </a:lnTo>
                      <a:close/>
                      <a:moveTo>
                        <a:pt x="119532" y="1193509"/>
                      </a:moveTo>
                      <a:lnTo>
                        <a:pt x="124965" y="1198943"/>
                      </a:lnTo>
                      <a:lnTo>
                        <a:pt x="128587" y="1210413"/>
                      </a:lnTo>
                      <a:lnTo>
                        <a:pt x="126776" y="1215846"/>
                      </a:lnTo>
                      <a:lnTo>
                        <a:pt x="124362" y="1218865"/>
                      </a:lnTo>
                      <a:lnTo>
                        <a:pt x="119532" y="1220072"/>
                      </a:lnTo>
                      <a:lnTo>
                        <a:pt x="115306" y="1218261"/>
                      </a:lnTo>
                      <a:lnTo>
                        <a:pt x="108062" y="1218865"/>
                      </a:lnTo>
                      <a:lnTo>
                        <a:pt x="105647" y="1214035"/>
                      </a:lnTo>
                      <a:lnTo>
                        <a:pt x="105647" y="1200150"/>
                      </a:lnTo>
                      <a:lnTo>
                        <a:pt x="114702" y="1199546"/>
                      </a:lnTo>
                      <a:lnTo>
                        <a:pt x="119532" y="1193509"/>
                      </a:lnTo>
                      <a:close/>
                      <a:moveTo>
                        <a:pt x="63388" y="847591"/>
                      </a:moveTo>
                      <a:lnTo>
                        <a:pt x="72444" y="854835"/>
                      </a:lnTo>
                      <a:lnTo>
                        <a:pt x="73048" y="865702"/>
                      </a:lnTo>
                      <a:lnTo>
                        <a:pt x="78481" y="870531"/>
                      </a:lnTo>
                      <a:lnTo>
                        <a:pt x="77273" y="880190"/>
                      </a:lnTo>
                      <a:lnTo>
                        <a:pt x="80292" y="887435"/>
                      </a:lnTo>
                      <a:lnTo>
                        <a:pt x="80292" y="892264"/>
                      </a:lnTo>
                      <a:lnTo>
                        <a:pt x="76066" y="895283"/>
                      </a:lnTo>
                      <a:lnTo>
                        <a:pt x="76670" y="897697"/>
                      </a:lnTo>
                      <a:lnTo>
                        <a:pt x="71236" y="901923"/>
                      </a:lnTo>
                      <a:lnTo>
                        <a:pt x="68218" y="906753"/>
                      </a:lnTo>
                      <a:lnTo>
                        <a:pt x="69425" y="910979"/>
                      </a:lnTo>
                      <a:lnTo>
                        <a:pt x="74255" y="914601"/>
                      </a:lnTo>
                      <a:lnTo>
                        <a:pt x="67011" y="924864"/>
                      </a:lnTo>
                      <a:lnTo>
                        <a:pt x="66407" y="926675"/>
                      </a:lnTo>
                      <a:lnTo>
                        <a:pt x="59766" y="928486"/>
                      </a:lnTo>
                      <a:lnTo>
                        <a:pt x="52522" y="923053"/>
                      </a:lnTo>
                      <a:lnTo>
                        <a:pt x="46485" y="920638"/>
                      </a:lnTo>
                      <a:lnTo>
                        <a:pt x="43466" y="921242"/>
                      </a:lnTo>
                      <a:lnTo>
                        <a:pt x="39844" y="924260"/>
                      </a:lnTo>
                      <a:lnTo>
                        <a:pt x="36222" y="921845"/>
                      </a:lnTo>
                      <a:lnTo>
                        <a:pt x="41655" y="913394"/>
                      </a:lnTo>
                      <a:lnTo>
                        <a:pt x="44070" y="906753"/>
                      </a:lnTo>
                      <a:lnTo>
                        <a:pt x="41051" y="899509"/>
                      </a:lnTo>
                      <a:lnTo>
                        <a:pt x="38637" y="895886"/>
                      </a:lnTo>
                      <a:lnTo>
                        <a:pt x="35618" y="895886"/>
                      </a:lnTo>
                      <a:lnTo>
                        <a:pt x="36222" y="885020"/>
                      </a:lnTo>
                      <a:lnTo>
                        <a:pt x="34411" y="871739"/>
                      </a:lnTo>
                      <a:lnTo>
                        <a:pt x="38637" y="872342"/>
                      </a:lnTo>
                      <a:lnTo>
                        <a:pt x="42259" y="870531"/>
                      </a:lnTo>
                      <a:lnTo>
                        <a:pt x="45881" y="863287"/>
                      </a:lnTo>
                      <a:lnTo>
                        <a:pt x="51918" y="857854"/>
                      </a:lnTo>
                      <a:lnTo>
                        <a:pt x="51314" y="855439"/>
                      </a:lnTo>
                      <a:lnTo>
                        <a:pt x="56144" y="853024"/>
                      </a:lnTo>
                      <a:lnTo>
                        <a:pt x="58559" y="849402"/>
                      </a:lnTo>
                      <a:lnTo>
                        <a:pt x="63388" y="847591"/>
                      </a:lnTo>
                      <a:close/>
                      <a:moveTo>
                        <a:pt x="89347" y="718400"/>
                      </a:moveTo>
                      <a:lnTo>
                        <a:pt x="94781" y="722625"/>
                      </a:lnTo>
                      <a:lnTo>
                        <a:pt x="98403" y="734699"/>
                      </a:lnTo>
                      <a:lnTo>
                        <a:pt x="94177" y="743151"/>
                      </a:lnTo>
                      <a:lnTo>
                        <a:pt x="99610" y="744359"/>
                      </a:lnTo>
                      <a:lnTo>
                        <a:pt x="99610" y="747981"/>
                      </a:lnTo>
                      <a:lnTo>
                        <a:pt x="88744" y="752810"/>
                      </a:lnTo>
                      <a:lnTo>
                        <a:pt x="80896" y="752810"/>
                      </a:lnTo>
                      <a:lnTo>
                        <a:pt x="76670" y="748585"/>
                      </a:lnTo>
                      <a:lnTo>
                        <a:pt x="79085" y="746170"/>
                      </a:lnTo>
                      <a:lnTo>
                        <a:pt x="78481" y="741340"/>
                      </a:lnTo>
                      <a:lnTo>
                        <a:pt x="85122" y="740736"/>
                      </a:lnTo>
                      <a:lnTo>
                        <a:pt x="85725" y="733492"/>
                      </a:lnTo>
                      <a:lnTo>
                        <a:pt x="83310" y="729266"/>
                      </a:lnTo>
                      <a:lnTo>
                        <a:pt x="83914" y="723833"/>
                      </a:lnTo>
                      <a:lnTo>
                        <a:pt x="87536" y="717796"/>
                      </a:lnTo>
                      <a:lnTo>
                        <a:pt x="89347" y="718400"/>
                      </a:lnTo>
                      <a:close/>
                      <a:moveTo>
                        <a:pt x="2415" y="701496"/>
                      </a:moveTo>
                      <a:lnTo>
                        <a:pt x="12678" y="702703"/>
                      </a:lnTo>
                      <a:lnTo>
                        <a:pt x="12678" y="709344"/>
                      </a:lnTo>
                      <a:lnTo>
                        <a:pt x="13885" y="713570"/>
                      </a:lnTo>
                      <a:lnTo>
                        <a:pt x="8452" y="715381"/>
                      </a:lnTo>
                      <a:lnTo>
                        <a:pt x="1811" y="714777"/>
                      </a:lnTo>
                      <a:lnTo>
                        <a:pt x="0" y="710551"/>
                      </a:lnTo>
                      <a:lnTo>
                        <a:pt x="2415" y="701496"/>
                      </a:lnTo>
                      <a:close/>
                      <a:moveTo>
                        <a:pt x="68218" y="699081"/>
                      </a:moveTo>
                      <a:lnTo>
                        <a:pt x="73651" y="701496"/>
                      </a:lnTo>
                      <a:lnTo>
                        <a:pt x="71236" y="707533"/>
                      </a:lnTo>
                      <a:lnTo>
                        <a:pt x="67614" y="708137"/>
                      </a:lnTo>
                      <a:lnTo>
                        <a:pt x="67011" y="700892"/>
                      </a:lnTo>
                      <a:lnTo>
                        <a:pt x="68218" y="699081"/>
                      </a:lnTo>
                      <a:close/>
                      <a:moveTo>
                        <a:pt x="167828" y="648371"/>
                      </a:moveTo>
                      <a:lnTo>
                        <a:pt x="169639" y="650182"/>
                      </a:lnTo>
                      <a:lnTo>
                        <a:pt x="176280" y="648371"/>
                      </a:lnTo>
                      <a:lnTo>
                        <a:pt x="178091" y="650182"/>
                      </a:lnTo>
                      <a:lnTo>
                        <a:pt x="173261" y="655011"/>
                      </a:lnTo>
                      <a:lnTo>
                        <a:pt x="166621" y="651389"/>
                      </a:lnTo>
                      <a:lnTo>
                        <a:pt x="167828" y="648371"/>
                      </a:lnTo>
                      <a:close/>
                      <a:moveTo>
                        <a:pt x="156961" y="608527"/>
                      </a:moveTo>
                      <a:lnTo>
                        <a:pt x="159980" y="606112"/>
                      </a:lnTo>
                      <a:lnTo>
                        <a:pt x="164206" y="609130"/>
                      </a:lnTo>
                      <a:lnTo>
                        <a:pt x="164809" y="615771"/>
                      </a:lnTo>
                      <a:lnTo>
                        <a:pt x="170846" y="626638"/>
                      </a:lnTo>
                      <a:lnTo>
                        <a:pt x="174469" y="637504"/>
                      </a:lnTo>
                      <a:lnTo>
                        <a:pt x="172658" y="639919"/>
                      </a:lnTo>
                      <a:lnTo>
                        <a:pt x="168432" y="639315"/>
                      </a:lnTo>
                      <a:lnTo>
                        <a:pt x="167828" y="636297"/>
                      </a:lnTo>
                      <a:lnTo>
                        <a:pt x="160584" y="626034"/>
                      </a:lnTo>
                      <a:lnTo>
                        <a:pt x="157565" y="626034"/>
                      </a:lnTo>
                      <a:lnTo>
                        <a:pt x="155150" y="619997"/>
                      </a:lnTo>
                      <a:lnTo>
                        <a:pt x="149717" y="618790"/>
                      </a:lnTo>
                      <a:lnTo>
                        <a:pt x="149113" y="614564"/>
                      </a:lnTo>
                      <a:lnTo>
                        <a:pt x="153339" y="612753"/>
                      </a:lnTo>
                      <a:lnTo>
                        <a:pt x="156961" y="608527"/>
                      </a:lnTo>
                      <a:close/>
                      <a:moveTo>
                        <a:pt x="161187" y="592830"/>
                      </a:moveTo>
                      <a:lnTo>
                        <a:pt x="164206" y="593434"/>
                      </a:lnTo>
                      <a:lnTo>
                        <a:pt x="162998" y="605508"/>
                      </a:lnTo>
                      <a:lnTo>
                        <a:pt x="161187" y="606112"/>
                      </a:lnTo>
                      <a:lnTo>
                        <a:pt x="155150" y="600075"/>
                      </a:lnTo>
                      <a:lnTo>
                        <a:pt x="155150" y="592830"/>
                      </a:lnTo>
                      <a:lnTo>
                        <a:pt x="161187" y="592830"/>
                      </a:lnTo>
                      <a:close/>
                      <a:moveTo>
                        <a:pt x="169035" y="582568"/>
                      </a:moveTo>
                      <a:lnTo>
                        <a:pt x="168432" y="586190"/>
                      </a:lnTo>
                      <a:lnTo>
                        <a:pt x="170243" y="589208"/>
                      </a:lnTo>
                      <a:lnTo>
                        <a:pt x="170846" y="594642"/>
                      </a:lnTo>
                      <a:lnTo>
                        <a:pt x="174469" y="599471"/>
                      </a:lnTo>
                      <a:lnTo>
                        <a:pt x="172054" y="606112"/>
                      </a:lnTo>
                      <a:lnTo>
                        <a:pt x="168432" y="600679"/>
                      </a:lnTo>
                      <a:lnTo>
                        <a:pt x="164809" y="599471"/>
                      </a:lnTo>
                      <a:lnTo>
                        <a:pt x="164206" y="592830"/>
                      </a:lnTo>
                      <a:lnTo>
                        <a:pt x="158169" y="591623"/>
                      </a:lnTo>
                      <a:lnTo>
                        <a:pt x="155754" y="589812"/>
                      </a:lnTo>
                      <a:lnTo>
                        <a:pt x="155754" y="583775"/>
                      </a:lnTo>
                      <a:lnTo>
                        <a:pt x="161791" y="585586"/>
                      </a:lnTo>
                      <a:lnTo>
                        <a:pt x="169035" y="582568"/>
                      </a:lnTo>
                      <a:close/>
                      <a:moveTo>
                        <a:pt x="177487" y="571097"/>
                      </a:moveTo>
                      <a:lnTo>
                        <a:pt x="181109" y="574116"/>
                      </a:lnTo>
                      <a:lnTo>
                        <a:pt x="182920" y="584379"/>
                      </a:lnTo>
                      <a:lnTo>
                        <a:pt x="181713" y="588001"/>
                      </a:lnTo>
                      <a:lnTo>
                        <a:pt x="182317" y="592830"/>
                      </a:lnTo>
                      <a:lnTo>
                        <a:pt x="180506" y="596453"/>
                      </a:lnTo>
                      <a:lnTo>
                        <a:pt x="177487" y="597056"/>
                      </a:lnTo>
                      <a:lnTo>
                        <a:pt x="170846" y="587397"/>
                      </a:lnTo>
                      <a:lnTo>
                        <a:pt x="175072" y="575323"/>
                      </a:lnTo>
                      <a:lnTo>
                        <a:pt x="177487" y="571097"/>
                      </a:lnTo>
                      <a:close/>
                      <a:moveTo>
                        <a:pt x="101421" y="565664"/>
                      </a:moveTo>
                      <a:lnTo>
                        <a:pt x="102629" y="567475"/>
                      </a:lnTo>
                      <a:lnTo>
                        <a:pt x="104440" y="580153"/>
                      </a:lnTo>
                      <a:lnTo>
                        <a:pt x="108665" y="577134"/>
                      </a:lnTo>
                      <a:lnTo>
                        <a:pt x="112891" y="578342"/>
                      </a:lnTo>
                      <a:lnTo>
                        <a:pt x="112891" y="583171"/>
                      </a:lnTo>
                      <a:lnTo>
                        <a:pt x="109269" y="592227"/>
                      </a:lnTo>
                      <a:lnTo>
                        <a:pt x="108665" y="597056"/>
                      </a:lnTo>
                      <a:lnTo>
                        <a:pt x="109269" y="597660"/>
                      </a:lnTo>
                      <a:lnTo>
                        <a:pt x="112288" y="600679"/>
                      </a:lnTo>
                      <a:lnTo>
                        <a:pt x="117117" y="609130"/>
                      </a:lnTo>
                      <a:lnTo>
                        <a:pt x="114099" y="610941"/>
                      </a:lnTo>
                      <a:lnTo>
                        <a:pt x="109873" y="608527"/>
                      </a:lnTo>
                      <a:lnTo>
                        <a:pt x="112891" y="618186"/>
                      </a:lnTo>
                      <a:lnTo>
                        <a:pt x="106854" y="621204"/>
                      </a:lnTo>
                      <a:lnTo>
                        <a:pt x="104440" y="626034"/>
                      </a:lnTo>
                      <a:lnTo>
                        <a:pt x="108062" y="636901"/>
                      </a:lnTo>
                      <a:lnTo>
                        <a:pt x="111080" y="629656"/>
                      </a:lnTo>
                      <a:lnTo>
                        <a:pt x="117117" y="628449"/>
                      </a:lnTo>
                      <a:lnTo>
                        <a:pt x="119532" y="631467"/>
                      </a:lnTo>
                      <a:lnTo>
                        <a:pt x="117721" y="638108"/>
                      </a:lnTo>
                      <a:lnTo>
                        <a:pt x="119532" y="642334"/>
                      </a:lnTo>
                      <a:lnTo>
                        <a:pt x="112891" y="674933"/>
                      </a:lnTo>
                      <a:lnTo>
                        <a:pt x="105043" y="677348"/>
                      </a:lnTo>
                      <a:lnTo>
                        <a:pt x="102025" y="680366"/>
                      </a:lnTo>
                      <a:lnTo>
                        <a:pt x="100818" y="685800"/>
                      </a:lnTo>
                      <a:lnTo>
                        <a:pt x="94781" y="693044"/>
                      </a:lnTo>
                      <a:lnTo>
                        <a:pt x="99610" y="693044"/>
                      </a:lnTo>
                      <a:lnTo>
                        <a:pt x="104440" y="685800"/>
                      </a:lnTo>
                      <a:lnTo>
                        <a:pt x="110477" y="683989"/>
                      </a:lnTo>
                      <a:lnTo>
                        <a:pt x="112891" y="685800"/>
                      </a:lnTo>
                      <a:lnTo>
                        <a:pt x="112288" y="697874"/>
                      </a:lnTo>
                      <a:lnTo>
                        <a:pt x="107458" y="708740"/>
                      </a:lnTo>
                      <a:lnTo>
                        <a:pt x="106251" y="715381"/>
                      </a:lnTo>
                      <a:lnTo>
                        <a:pt x="106854" y="717192"/>
                      </a:lnTo>
                      <a:lnTo>
                        <a:pt x="103232" y="723229"/>
                      </a:lnTo>
                      <a:lnTo>
                        <a:pt x="100818" y="719607"/>
                      </a:lnTo>
                      <a:lnTo>
                        <a:pt x="94177" y="719607"/>
                      </a:lnTo>
                      <a:lnTo>
                        <a:pt x="90555" y="715985"/>
                      </a:lnTo>
                      <a:lnTo>
                        <a:pt x="91159" y="709948"/>
                      </a:lnTo>
                      <a:lnTo>
                        <a:pt x="86329" y="705722"/>
                      </a:lnTo>
                      <a:lnTo>
                        <a:pt x="82103" y="700892"/>
                      </a:lnTo>
                      <a:lnTo>
                        <a:pt x="82707" y="692440"/>
                      </a:lnTo>
                      <a:lnTo>
                        <a:pt x="79688" y="685800"/>
                      </a:lnTo>
                      <a:lnTo>
                        <a:pt x="80896" y="680970"/>
                      </a:lnTo>
                      <a:lnTo>
                        <a:pt x="77877" y="674933"/>
                      </a:lnTo>
                      <a:lnTo>
                        <a:pt x="71236" y="674329"/>
                      </a:lnTo>
                      <a:lnTo>
                        <a:pt x="71840" y="663463"/>
                      </a:lnTo>
                      <a:lnTo>
                        <a:pt x="69425" y="651993"/>
                      </a:lnTo>
                      <a:lnTo>
                        <a:pt x="65199" y="651993"/>
                      </a:lnTo>
                      <a:lnTo>
                        <a:pt x="62785" y="647767"/>
                      </a:lnTo>
                      <a:lnTo>
                        <a:pt x="65199" y="642334"/>
                      </a:lnTo>
                      <a:lnTo>
                        <a:pt x="65803" y="637504"/>
                      </a:lnTo>
                      <a:lnTo>
                        <a:pt x="68822" y="631467"/>
                      </a:lnTo>
                      <a:lnTo>
                        <a:pt x="73651" y="627241"/>
                      </a:lnTo>
                      <a:lnTo>
                        <a:pt x="76066" y="630864"/>
                      </a:lnTo>
                      <a:lnTo>
                        <a:pt x="77877" y="639315"/>
                      </a:lnTo>
                      <a:lnTo>
                        <a:pt x="83310" y="642938"/>
                      </a:lnTo>
                      <a:lnTo>
                        <a:pt x="82103" y="631467"/>
                      </a:lnTo>
                      <a:lnTo>
                        <a:pt x="83310" y="627845"/>
                      </a:lnTo>
                      <a:lnTo>
                        <a:pt x="83310" y="613960"/>
                      </a:lnTo>
                      <a:lnTo>
                        <a:pt x="86329" y="602490"/>
                      </a:lnTo>
                      <a:lnTo>
                        <a:pt x="84518" y="600679"/>
                      </a:lnTo>
                      <a:lnTo>
                        <a:pt x="85725" y="594038"/>
                      </a:lnTo>
                      <a:lnTo>
                        <a:pt x="89951" y="577738"/>
                      </a:lnTo>
                      <a:lnTo>
                        <a:pt x="99006" y="565664"/>
                      </a:lnTo>
                      <a:lnTo>
                        <a:pt x="101421" y="565664"/>
                      </a:lnTo>
                      <a:close/>
                      <a:moveTo>
                        <a:pt x="107458" y="564457"/>
                      </a:moveTo>
                      <a:lnTo>
                        <a:pt x="114099" y="566871"/>
                      </a:lnTo>
                      <a:lnTo>
                        <a:pt x="115306" y="572908"/>
                      </a:lnTo>
                      <a:lnTo>
                        <a:pt x="114702" y="577134"/>
                      </a:lnTo>
                      <a:lnTo>
                        <a:pt x="106251" y="575927"/>
                      </a:lnTo>
                      <a:lnTo>
                        <a:pt x="106251" y="567475"/>
                      </a:lnTo>
                      <a:lnTo>
                        <a:pt x="107458" y="564457"/>
                      </a:lnTo>
                      <a:close/>
                      <a:moveTo>
                        <a:pt x="143076" y="561438"/>
                      </a:moveTo>
                      <a:lnTo>
                        <a:pt x="145491" y="566871"/>
                      </a:lnTo>
                      <a:lnTo>
                        <a:pt x="136436" y="565060"/>
                      </a:lnTo>
                      <a:lnTo>
                        <a:pt x="143076" y="561438"/>
                      </a:lnTo>
                      <a:close/>
                      <a:moveTo>
                        <a:pt x="179298" y="560231"/>
                      </a:moveTo>
                      <a:lnTo>
                        <a:pt x="181109" y="565664"/>
                      </a:lnTo>
                      <a:lnTo>
                        <a:pt x="176883" y="567475"/>
                      </a:lnTo>
                      <a:lnTo>
                        <a:pt x="179298" y="560231"/>
                      </a:lnTo>
                      <a:close/>
                      <a:moveTo>
                        <a:pt x="103836" y="552987"/>
                      </a:moveTo>
                      <a:lnTo>
                        <a:pt x="106251" y="552987"/>
                      </a:lnTo>
                      <a:lnTo>
                        <a:pt x="103836" y="563249"/>
                      </a:lnTo>
                      <a:lnTo>
                        <a:pt x="101421" y="559023"/>
                      </a:lnTo>
                      <a:lnTo>
                        <a:pt x="103836" y="552987"/>
                      </a:lnTo>
                      <a:close/>
                      <a:moveTo>
                        <a:pt x="150924" y="556005"/>
                      </a:moveTo>
                      <a:lnTo>
                        <a:pt x="147302" y="560834"/>
                      </a:lnTo>
                      <a:lnTo>
                        <a:pt x="143076" y="556609"/>
                      </a:lnTo>
                      <a:lnTo>
                        <a:pt x="145491" y="553590"/>
                      </a:lnTo>
                      <a:lnTo>
                        <a:pt x="150924" y="556005"/>
                      </a:lnTo>
                      <a:close/>
                      <a:moveTo>
                        <a:pt x="123758" y="549364"/>
                      </a:moveTo>
                      <a:lnTo>
                        <a:pt x="127984" y="552383"/>
                      </a:lnTo>
                      <a:lnTo>
                        <a:pt x="134021" y="551175"/>
                      </a:lnTo>
                      <a:lnTo>
                        <a:pt x="136436" y="551779"/>
                      </a:lnTo>
                      <a:lnTo>
                        <a:pt x="140058" y="560834"/>
                      </a:lnTo>
                      <a:lnTo>
                        <a:pt x="134021" y="563249"/>
                      </a:lnTo>
                      <a:lnTo>
                        <a:pt x="137039" y="567475"/>
                      </a:lnTo>
                      <a:lnTo>
                        <a:pt x="137643" y="574719"/>
                      </a:lnTo>
                      <a:lnTo>
                        <a:pt x="132813" y="572305"/>
                      </a:lnTo>
                      <a:lnTo>
                        <a:pt x="132210" y="581360"/>
                      </a:lnTo>
                      <a:lnTo>
                        <a:pt x="129795" y="580153"/>
                      </a:lnTo>
                      <a:lnTo>
                        <a:pt x="121947" y="592830"/>
                      </a:lnTo>
                      <a:lnTo>
                        <a:pt x="120739" y="598264"/>
                      </a:lnTo>
                      <a:lnTo>
                        <a:pt x="114702" y="601886"/>
                      </a:lnTo>
                      <a:lnTo>
                        <a:pt x="109269" y="597660"/>
                      </a:lnTo>
                      <a:lnTo>
                        <a:pt x="109269" y="594642"/>
                      </a:lnTo>
                      <a:lnTo>
                        <a:pt x="114702" y="578342"/>
                      </a:lnTo>
                      <a:lnTo>
                        <a:pt x="115910" y="572908"/>
                      </a:lnTo>
                      <a:lnTo>
                        <a:pt x="115306" y="567475"/>
                      </a:lnTo>
                      <a:lnTo>
                        <a:pt x="109873" y="563853"/>
                      </a:lnTo>
                      <a:lnTo>
                        <a:pt x="112288" y="557816"/>
                      </a:lnTo>
                      <a:lnTo>
                        <a:pt x="114702" y="559627"/>
                      </a:lnTo>
                      <a:lnTo>
                        <a:pt x="118325" y="555401"/>
                      </a:lnTo>
                      <a:lnTo>
                        <a:pt x="117117" y="549968"/>
                      </a:lnTo>
                      <a:lnTo>
                        <a:pt x="120739" y="551175"/>
                      </a:lnTo>
                      <a:lnTo>
                        <a:pt x="121343" y="551175"/>
                      </a:lnTo>
                      <a:lnTo>
                        <a:pt x="116513" y="548157"/>
                      </a:lnTo>
                      <a:lnTo>
                        <a:pt x="111080" y="552383"/>
                      </a:lnTo>
                      <a:lnTo>
                        <a:pt x="105043" y="551779"/>
                      </a:lnTo>
                      <a:lnTo>
                        <a:pt x="101421" y="544535"/>
                      </a:lnTo>
                      <a:lnTo>
                        <a:pt x="100818" y="526424"/>
                      </a:lnTo>
                      <a:lnTo>
                        <a:pt x="102629" y="520387"/>
                      </a:lnTo>
                      <a:lnTo>
                        <a:pt x="101421" y="516161"/>
                      </a:lnTo>
                      <a:lnTo>
                        <a:pt x="103232" y="511935"/>
                      </a:lnTo>
                      <a:lnTo>
                        <a:pt x="100214" y="507106"/>
                      </a:lnTo>
                      <a:lnTo>
                        <a:pt x="103232" y="498050"/>
                      </a:lnTo>
                      <a:lnTo>
                        <a:pt x="102629" y="490202"/>
                      </a:lnTo>
                      <a:lnTo>
                        <a:pt x="104440" y="481146"/>
                      </a:lnTo>
                      <a:lnTo>
                        <a:pt x="110477" y="473902"/>
                      </a:lnTo>
                      <a:lnTo>
                        <a:pt x="109873" y="462432"/>
                      </a:lnTo>
                      <a:lnTo>
                        <a:pt x="108062" y="458810"/>
                      </a:lnTo>
                      <a:lnTo>
                        <a:pt x="105647" y="449150"/>
                      </a:lnTo>
                      <a:lnTo>
                        <a:pt x="106251" y="440699"/>
                      </a:lnTo>
                      <a:lnTo>
                        <a:pt x="109269" y="440699"/>
                      </a:lnTo>
                      <a:lnTo>
                        <a:pt x="115910" y="433455"/>
                      </a:lnTo>
                      <a:lnTo>
                        <a:pt x="120739" y="433455"/>
                      </a:lnTo>
                      <a:lnTo>
                        <a:pt x="120136" y="427418"/>
                      </a:lnTo>
                      <a:lnTo>
                        <a:pt x="126173" y="426210"/>
                      </a:lnTo>
                      <a:lnTo>
                        <a:pt x="122550" y="425607"/>
                      </a:lnTo>
                      <a:lnTo>
                        <a:pt x="120739" y="422588"/>
                      </a:lnTo>
                      <a:lnTo>
                        <a:pt x="121947" y="417758"/>
                      </a:lnTo>
                      <a:lnTo>
                        <a:pt x="120739" y="414136"/>
                      </a:lnTo>
                      <a:lnTo>
                        <a:pt x="120739" y="408703"/>
                      </a:lnTo>
                      <a:lnTo>
                        <a:pt x="124965" y="408099"/>
                      </a:lnTo>
                      <a:lnTo>
                        <a:pt x="126173" y="404477"/>
                      </a:lnTo>
                      <a:lnTo>
                        <a:pt x="120136" y="401459"/>
                      </a:lnTo>
                      <a:lnTo>
                        <a:pt x="121343" y="385159"/>
                      </a:lnTo>
                      <a:lnTo>
                        <a:pt x="126173" y="382744"/>
                      </a:lnTo>
                      <a:lnTo>
                        <a:pt x="124362" y="377311"/>
                      </a:lnTo>
                      <a:lnTo>
                        <a:pt x="131002" y="373688"/>
                      </a:lnTo>
                      <a:lnTo>
                        <a:pt x="123758" y="371877"/>
                      </a:lnTo>
                      <a:lnTo>
                        <a:pt x="128587" y="359200"/>
                      </a:lnTo>
                      <a:lnTo>
                        <a:pt x="127984" y="354370"/>
                      </a:lnTo>
                      <a:lnTo>
                        <a:pt x="132210" y="353766"/>
                      </a:lnTo>
                      <a:lnTo>
                        <a:pt x="126776" y="345918"/>
                      </a:lnTo>
                      <a:lnTo>
                        <a:pt x="130399" y="340485"/>
                      </a:lnTo>
                      <a:lnTo>
                        <a:pt x="127380" y="339278"/>
                      </a:lnTo>
                      <a:lnTo>
                        <a:pt x="129191" y="332637"/>
                      </a:lnTo>
                      <a:lnTo>
                        <a:pt x="129795" y="326600"/>
                      </a:lnTo>
                      <a:lnTo>
                        <a:pt x="132813" y="322374"/>
                      </a:lnTo>
                      <a:lnTo>
                        <a:pt x="131606" y="317545"/>
                      </a:lnTo>
                      <a:lnTo>
                        <a:pt x="137039" y="316337"/>
                      </a:lnTo>
                      <a:lnTo>
                        <a:pt x="139454" y="313319"/>
                      </a:lnTo>
                      <a:lnTo>
                        <a:pt x="137039" y="309697"/>
                      </a:lnTo>
                      <a:lnTo>
                        <a:pt x="137643" y="303660"/>
                      </a:lnTo>
                      <a:lnTo>
                        <a:pt x="142473" y="303056"/>
                      </a:lnTo>
                      <a:lnTo>
                        <a:pt x="143680" y="298830"/>
                      </a:lnTo>
                      <a:lnTo>
                        <a:pt x="148510" y="298226"/>
                      </a:lnTo>
                      <a:lnTo>
                        <a:pt x="145491" y="291586"/>
                      </a:lnTo>
                      <a:lnTo>
                        <a:pt x="146698" y="290378"/>
                      </a:lnTo>
                      <a:lnTo>
                        <a:pt x="155754" y="289171"/>
                      </a:lnTo>
                      <a:lnTo>
                        <a:pt x="158169" y="292793"/>
                      </a:lnTo>
                      <a:lnTo>
                        <a:pt x="161791" y="290982"/>
                      </a:lnTo>
                      <a:lnTo>
                        <a:pt x="159376" y="287360"/>
                      </a:lnTo>
                      <a:lnTo>
                        <a:pt x="161791" y="284341"/>
                      </a:lnTo>
                      <a:lnTo>
                        <a:pt x="166621" y="287963"/>
                      </a:lnTo>
                      <a:lnTo>
                        <a:pt x="169035" y="283134"/>
                      </a:lnTo>
                      <a:lnTo>
                        <a:pt x="171450" y="288567"/>
                      </a:lnTo>
                      <a:lnTo>
                        <a:pt x="172054" y="297019"/>
                      </a:lnTo>
                      <a:lnTo>
                        <a:pt x="170243" y="307282"/>
                      </a:lnTo>
                      <a:lnTo>
                        <a:pt x="170846" y="315734"/>
                      </a:lnTo>
                      <a:lnTo>
                        <a:pt x="173865" y="318752"/>
                      </a:lnTo>
                      <a:lnTo>
                        <a:pt x="176280" y="327808"/>
                      </a:lnTo>
                      <a:lnTo>
                        <a:pt x="179298" y="332033"/>
                      </a:lnTo>
                      <a:lnTo>
                        <a:pt x="178091" y="336259"/>
                      </a:lnTo>
                      <a:lnTo>
                        <a:pt x="174469" y="334448"/>
                      </a:lnTo>
                      <a:lnTo>
                        <a:pt x="171450" y="336259"/>
                      </a:lnTo>
                      <a:lnTo>
                        <a:pt x="169035" y="331430"/>
                      </a:lnTo>
                      <a:lnTo>
                        <a:pt x="164206" y="329619"/>
                      </a:lnTo>
                      <a:lnTo>
                        <a:pt x="158772" y="333241"/>
                      </a:lnTo>
                      <a:lnTo>
                        <a:pt x="155754" y="328411"/>
                      </a:lnTo>
                      <a:lnTo>
                        <a:pt x="153943" y="331430"/>
                      </a:lnTo>
                      <a:lnTo>
                        <a:pt x="155150" y="335052"/>
                      </a:lnTo>
                      <a:lnTo>
                        <a:pt x="158772" y="335656"/>
                      </a:lnTo>
                      <a:lnTo>
                        <a:pt x="166017" y="339278"/>
                      </a:lnTo>
                      <a:lnTo>
                        <a:pt x="172658" y="349540"/>
                      </a:lnTo>
                      <a:lnTo>
                        <a:pt x="175676" y="348937"/>
                      </a:lnTo>
                      <a:lnTo>
                        <a:pt x="175072" y="354974"/>
                      </a:lnTo>
                      <a:lnTo>
                        <a:pt x="169639" y="366444"/>
                      </a:lnTo>
                      <a:lnTo>
                        <a:pt x="170846" y="374896"/>
                      </a:lnTo>
                      <a:lnTo>
                        <a:pt x="169639" y="376707"/>
                      </a:lnTo>
                      <a:lnTo>
                        <a:pt x="170846" y="385159"/>
                      </a:lnTo>
                      <a:lnTo>
                        <a:pt x="169639" y="389988"/>
                      </a:lnTo>
                      <a:lnTo>
                        <a:pt x="164809" y="397836"/>
                      </a:lnTo>
                      <a:lnTo>
                        <a:pt x="157565" y="397836"/>
                      </a:lnTo>
                      <a:lnTo>
                        <a:pt x="155150" y="401459"/>
                      </a:lnTo>
                      <a:lnTo>
                        <a:pt x="150321" y="396025"/>
                      </a:lnTo>
                      <a:lnTo>
                        <a:pt x="148510" y="391196"/>
                      </a:lnTo>
                      <a:lnTo>
                        <a:pt x="146095" y="393007"/>
                      </a:lnTo>
                      <a:lnTo>
                        <a:pt x="143076" y="399647"/>
                      </a:lnTo>
                      <a:lnTo>
                        <a:pt x="144284" y="404477"/>
                      </a:lnTo>
                      <a:lnTo>
                        <a:pt x="150321" y="409307"/>
                      </a:lnTo>
                      <a:lnTo>
                        <a:pt x="147906" y="413533"/>
                      </a:lnTo>
                      <a:lnTo>
                        <a:pt x="144887" y="412325"/>
                      </a:lnTo>
                      <a:lnTo>
                        <a:pt x="144284" y="407496"/>
                      </a:lnTo>
                      <a:lnTo>
                        <a:pt x="138850" y="408099"/>
                      </a:lnTo>
                      <a:lnTo>
                        <a:pt x="137643" y="415947"/>
                      </a:lnTo>
                      <a:lnTo>
                        <a:pt x="134021" y="418362"/>
                      </a:lnTo>
                      <a:lnTo>
                        <a:pt x="134021" y="425003"/>
                      </a:lnTo>
                      <a:lnTo>
                        <a:pt x="137039" y="429229"/>
                      </a:lnTo>
                      <a:lnTo>
                        <a:pt x="134021" y="429832"/>
                      </a:lnTo>
                      <a:lnTo>
                        <a:pt x="132813" y="429832"/>
                      </a:lnTo>
                      <a:lnTo>
                        <a:pt x="131002" y="430436"/>
                      </a:lnTo>
                      <a:lnTo>
                        <a:pt x="130399" y="430436"/>
                      </a:lnTo>
                      <a:lnTo>
                        <a:pt x="131002" y="428625"/>
                      </a:lnTo>
                      <a:lnTo>
                        <a:pt x="131002" y="427418"/>
                      </a:lnTo>
                      <a:lnTo>
                        <a:pt x="126776" y="426814"/>
                      </a:lnTo>
                      <a:lnTo>
                        <a:pt x="127984" y="428625"/>
                      </a:lnTo>
                      <a:lnTo>
                        <a:pt x="129191" y="428625"/>
                      </a:lnTo>
                      <a:lnTo>
                        <a:pt x="130399" y="427418"/>
                      </a:lnTo>
                      <a:lnTo>
                        <a:pt x="131002" y="428625"/>
                      </a:lnTo>
                      <a:lnTo>
                        <a:pt x="130399" y="429832"/>
                      </a:lnTo>
                      <a:lnTo>
                        <a:pt x="130399" y="430436"/>
                      </a:lnTo>
                      <a:lnTo>
                        <a:pt x="131002" y="431040"/>
                      </a:lnTo>
                      <a:lnTo>
                        <a:pt x="137643" y="429229"/>
                      </a:lnTo>
                      <a:lnTo>
                        <a:pt x="140661" y="426210"/>
                      </a:lnTo>
                      <a:lnTo>
                        <a:pt x="142473" y="421984"/>
                      </a:lnTo>
                      <a:lnTo>
                        <a:pt x="144887" y="423795"/>
                      </a:lnTo>
                      <a:lnTo>
                        <a:pt x="144284" y="429229"/>
                      </a:lnTo>
                      <a:lnTo>
                        <a:pt x="148510" y="429229"/>
                      </a:lnTo>
                      <a:lnTo>
                        <a:pt x="151528" y="440699"/>
                      </a:lnTo>
                      <a:lnTo>
                        <a:pt x="153943" y="444925"/>
                      </a:lnTo>
                      <a:lnTo>
                        <a:pt x="149717" y="450358"/>
                      </a:lnTo>
                      <a:lnTo>
                        <a:pt x="150924" y="453376"/>
                      </a:lnTo>
                      <a:lnTo>
                        <a:pt x="155150" y="456395"/>
                      </a:lnTo>
                      <a:lnTo>
                        <a:pt x="155754" y="461828"/>
                      </a:lnTo>
                      <a:lnTo>
                        <a:pt x="158772" y="463639"/>
                      </a:lnTo>
                      <a:lnTo>
                        <a:pt x="155754" y="467865"/>
                      </a:lnTo>
                      <a:lnTo>
                        <a:pt x="156358" y="472091"/>
                      </a:lnTo>
                      <a:lnTo>
                        <a:pt x="154547" y="479939"/>
                      </a:lnTo>
                      <a:lnTo>
                        <a:pt x="153943" y="487183"/>
                      </a:lnTo>
                      <a:lnTo>
                        <a:pt x="155150" y="493824"/>
                      </a:lnTo>
                      <a:lnTo>
                        <a:pt x="158169" y="501069"/>
                      </a:lnTo>
                      <a:lnTo>
                        <a:pt x="154547" y="513143"/>
                      </a:lnTo>
                      <a:lnTo>
                        <a:pt x="152132" y="510728"/>
                      </a:lnTo>
                      <a:lnTo>
                        <a:pt x="149717" y="513746"/>
                      </a:lnTo>
                      <a:lnTo>
                        <a:pt x="152735" y="517368"/>
                      </a:lnTo>
                      <a:lnTo>
                        <a:pt x="147302" y="523405"/>
                      </a:lnTo>
                      <a:lnTo>
                        <a:pt x="145491" y="528839"/>
                      </a:lnTo>
                      <a:lnTo>
                        <a:pt x="141869" y="524613"/>
                      </a:lnTo>
                      <a:lnTo>
                        <a:pt x="138247" y="527631"/>
                      </a:lnTo>
                      <a:lnTo>
                        <a:pt x="127984" y="525217"/>
                      </a:lnTo>
                      <a:lnTo>
                        <a:pt x="129795" y="531857"/>
                      </a:lnTo>
                      <a:lnTo>
                        <a:pt x="137039" y="540913"/>
                      </a:lnTo>
                      <a:lnTo>
                        <a:pt x="140058" y="547553"/>
                      </a:lnTo>
                      <a:lnTo>
                        <a:pt x="138247" y="549364"/>
                      </a:lnTo>
                      <a:lnTo>
                        <a:pt x="134021" y="549364"/>
                      </a:lnTo>
                      <a:lnTo>
                        <a:pt x="128587" y="551779"/>
                      </a:lnTo>
                      <a:lnTo>
                        <a:pt x="123758" y="549364"/>
                      </a:lnTo>
                      <a:close/>
                      <a:moveTo>
                        <a:pt x="336259" y="548157"/>
                      </a:moveTo>
                      <a:lnTo>
                        <a:pt x="339881" y="553590"/>
                      </a:lnTo>
                      <a:lnTo>
                        <a:pt x="344107" y="556005"/>
                      </a:lnTo>
                      <a:lnTo>
                        <a:pt x="342900" y="559023"/>
                      </a:lnTo>
                      <a:lnTo>
                        <a:pt x="344711" y="565664"/>
                      </a:lnTo>
                      <a:lnTo>
                        <a:pt x="336259" y="565664"/>
                      </a:lnTo>
                      <a:lnTo>
                        <a:pt x="333844" y="563853"/>
                      </a:lnTo>
                      <a:lnTo>
                        <a:pt x="331430" y="555401"/>
                      </a:lnTo>
                      <a:lnTo>
                        <a:pt x="333241" y="550572"/>
                      </a:lnTo>
                      <a:lnTo>
                        <a:pt x="336259" y="548157"/>
                      </a:lnTo>
                      <a:close/>
                      <a:moveTo>
                        <a:pt x="132813" y="529442"/>
                      </a:moveTo>
                      <a:lnTo>
                        <a:pt x="137039" y="530046"/>
                      </a:lnTo>
                      <a:lnTo>
                        <a:pt x="140661" y="533065"/>
                      </a:lnTo>
                      <a:lnTo>
                        <a:pt x="135832" y="536083"/>
                      </a:lnTo>
                      <a:lnTo>
                        <a:pt x="132210" y="532461"/>
                      </a:lnTo>
                      <a:lnTo>
                        <a:pt x="132813" y="529442"/>
                      </a:lnTo>
                      <a:close/>
                      <a:moveTo>
                        <a:pt x="153943" y="528235"/>
                      </a:moveTo>
                      <a:lnTo>
                        <a:pt x="151528" y="531254"/>
                      </a:lnTo>
                      <a:lnTo>
                        <a:pt x="149113" y="539705"/>
                      </a:lnTo>
                      <a:lnTo>
                        <a:pt x="146698" y="538498"/>
                      </a:lnTo>
                      <a:lnTo>
                        <a:pt x="149113" y="527028"/>
                      </a:lnTo>
                      <a:lnTo>
                        <a:pt x="153943" y="528235"/>
                      </a:lnTo>
                      <a:close/>
                      <a:moveTo>
                        <a:pt x="103836" y="440699"/>
                      </a:moveTo>
                      <a:lnTo>
                        <a:pt x="104440" y="452169"/>
                      </a:lnTo>
                      <a:lnTo>
                        <a:pt x="100214" y="447339"/>
                      </a:lnTo>
                      <a:lnTo>
                        <a:pt x="103836" y="440699"/>
                      </a:lnTo>
                      <a:close/>
                      <a:moveTo>
                        <a:pt x="100214" y="406288"/>
                      </a:moveTo>
                      <a:lnTo>
                        <a:pt x="105647" y="408703"/>
                      </a:lnTo>
                      <a:lnTo>
                        <a:pt x="105647" y="428021"/>
                      </a:lnTo>
                      <a:lnTo>
                        <a:pt x="104440" y="433455"/>
                      </a:lnTo>
                      <a:lnTo>
                        <a:pt x="99006" y="439491"/>
                      </a:lnTo>
                      <a:lnTo>
                        <a:pt x="99006" y="443114"/>
                      </a:lnTo>
                      <a:lnTo>
                        <a:pt x="95384" y="447943"/>
                      </a:lnTo>
                      <a:lnTo>
                        <a:pt x="91762" y="438888"/>
                      </a:lnTo>
                      <a:lnTo>
                        <a:pt x="91159" y="434058"/>
                      </a:lnTo>
                      <a:lnTo>
                        <a:pt x="94177" y="429832"/>
                      </a:lnTo>
                      <a:lnTo>
                        <a:pt x="94781" y="421381"/>
                      </a:lnTo>
                      <a:lnTo>
                        <a:pt x="97195" y="416551"/>
                      </a:lnTo>
                      <a:lnTo>
                        <a:pt x="95384" y="414740"/>
                      </a:lnTo>
                      <a:lnTo>
                        <a:pt x="98403" y="406892"/>
                      </a:lnTo>
                      <a:lnTo>
                        <a:pt x="100214" y="406288"/>
                      </a:lnTo>
                      <a:close/>
                      <a:moveTo>
                        <a:pt x="164809" y="405081"/>
                      </a:moveTo>
                      <a:lnTo>
                        <a:pt x="161791" y="407496"/>
                      </a:lnTo>
                      <a:lnTo>
                        <a:pt x="157565" y="414136"/>
                      </a:lnTo>
                      <a:lnTo>
                        <a:pt x="155150" y="413533"/>
                      </a:lnTo>
                      <a:lnTo>
                        <a:pt x="155150" y="406288"/>
                      </a:lnTo>
                      <a:lnTo>
                        <a:pt x="158772" y="408703"/>
                      </a:lnTo>
                      <a:lnTo>
                        <a:pt x="164809" y="405081"/>
                      </a:lnTo>
                      <a:close/>
                      <a:moveTo>
                        <a:pt x="147906" y="399044"/>
                      </a:moveTo>
                      <a:lnTo>
                        <a:pt x="150321" y="399044"/>
                      </a:lnTo>
                      <a:lnTo>
                        <a:pt x="151528" y="405081"/>
                      </a:lnTo>
                      <a:lnTo>
                        <a:pt x="146698" y="403873"/>
                      </a:lnTo>
                      <a:lnTo>
                        <a:pt x="147906" y="399044"/>
                      </a:lnTo>
                      <a:close/>
                      <a:moveTo>
                        <a:pt x="425607" y="306074"/>
                      </a:moveTo>
                      <a:lnTo>
                        <a:pt x="426210" y="310904"/>
                      </a:lnTo>
                      <a:lnTo>
                        <a:pt x="421985" y="313319"/>
                      </a:lnTo>
                      <a:lnTo>
                        <a:pt x="420777" y="309697"/>
                      </a:lnTo>
                      <a:lnTo>
                        <a:pt x="425607" y="306074"/>
                      </a:lnTo>
                      <a:close/>
                      <a:moveTo>
                        <a:pt x="166621" y="260797"/>
                      </a:moveTo>
                      <a:lnTo>
                        <a:pt x="168432" y="264419"/>
                      </a:lnTo>
                      <a:lnTo>
                        <a:pt x="166017" y="268041"/>
                      </a:lnTo>
                      <a:lnTo>
                        <a:pt x="160584" y="268041"/>
                      </a:lnTo>
                      <a:lnTo>
                        <a:pt x="159376" y="263212"/>
                      </a:lnTo>
                      <a:lnTo>
                        <a:pt x="166621" y="260797"/>
                      </a:lnTo>
                      <a:close/>
                      <a:moveTo>
                        <a:pt x="238460" y="158772"/>
                      </a:moveTo>
                      <a:lnTo>
                        <a:pt x="241479" y="166620"/>
                      </a:lnTo>
                      <a:lnTo>
                        <a:pt x="239064" y="177487"/>
                      </a:lnTo>
                      <a:lnTo>
                        <a:pt x="236649" y="176883"/>
                      </a:lnTo>
                      <a:lnTo>
                        <a:pt x="238460" y="171450"/>
                      </a:lnTo>
                      <a:lnTo>
                        <a:pt x="236046" y="160583"/>
                      </a:lnTo>
                      <a:lnTo>
                        <a:pt x="238460" y="158772"/>
                      </a:lnTo>
                      <a:close/>
                      <a:moveTo>
                        <a:pt x="295208" y="0"/>
                      </a:moveTo>
                      <a:lnTo>
                        <a:pt x="294001" y="6037"/>
                      </a:lnTo>
                      <a:lnTo>
                        <a:pt x="289775" y="6037"/>
                      </a:lnTo>
                      <a:lnTo>
                        <a:pt x="292190" y="1207"/>
                      </a:lnTo>
                      <a:lnTo>
                        <a:pt x="295208" y="0"/>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81" name="Telangana" descr="{&quot;Key&quot;:&quot;telangana&quot;,&quot;Name&quot;:&quot;Telangana&quot;,&quot;Value&quot;:1.0,&quot;Formula&quot;:&quot;&quot;,&quot;Text&quot;:&quot;&quot;,&quot;OfficeApplication&quot;:1,&quot;HasValue&quot;:true}">
                  <a:extLst>
                    <a:ext uri="{FF2B5EF4-FFF2-40B4-BE49-F238E27FC236}">
                      <a16:creationId xmlns:a16="http://schemas.microsoft.com/office/drawing/2014/main" id="{6B1C4A05-5B10-40CE-A0F8-61C594AE4280}"/>
                    </a:ext>
                  </a:extLst>
                </p:cNvPr>
                <p:cNvSpPr/>
                <p:nvPr/>
              </p:nvSpPr>
              <p:spPr>
                <a:xfrm>
                  <a:off x="4951994" y="4056845"/>
                  <a:ext cx="935731" cy="881398"/>
                </a:xfrm>
                <a:custGeom>
                  <a:avLst/>
                  <a:gdLst>
                    <a:gd name="connsiteX0" fmla="*/ 53125 w 935730"/>
                    <a:gd name="connsiteY0" fmla="*/ 865702 h 881397"/>
                    <a:gd name="connsiteX1" fmla="*/ 54333 w 935730"/>
                    <a:gd name="connsiteY1" fmla="*/ 856043 h 881397"/>
                    <a:gd name="connsiteX2" fmla="*/ 52522 w 935730"/>
                    <a:gd name="connsiteY2" fmla="*/ 854232 h 881397"/>
                    <a:gd name="connsiteX3" fmla="*/ 53125 w 935730"/>
                    <a:gd name="connsiteY3" fmla="*/ 848195 h 881397"/>
                    <a:gd name="connsiteX4" fmla="*/ 49503 w 935730"/>
                    <a:gd name="connsiteY4" fmla="*/ 842158 h 881397"/>
                    <a:gd name="connsiteX5" fmla="*/ 51918 w 935730"/>
                    <a:gd name="connsiteY5" fmla="*/ 832499 h 881397"/>
                    <a:gd name="connsiteX6" fmla="*/ 50711 w 935730"/>
                    <a:gd name="connsiteY6" fmla="*/ 827669 h 881397"/>
                    <a:gd name="connsiteX7" fmla="*/ 48296 w 935730"/>
                    <a:gd name="connsiteY7" fmla="*/ 823443 h 881397"/>
                    <a:gd name="connsiteX8" fmla="*/ 47692 w 935730"/>
                    <a:gd name="connsiteY8" fmla="*/ 814388 h 881397"/>
                    <a:gd name="connsiteX9" fmla="*/ 50107 w 935730"/>
                    <a:gd name="connsiteY9" fmla="*/ 808351 h 881397"/>
                    <a:gd name="connsiteX10" fmla="*/ 50107 w 935730"/>
                    <a:gd name="connsiteY10" fmla="*/ 802917 h 881397"/>
                    <a:gd name="connsiteX11" fmla="*/ 48900 w 935730"/>
                    <a:gd name="connsiteY11" fmla="*/ 795069 h 881397"/>
                    <a:gd name="connsiteX12" fmla="*/ 51314 w 935730"/>
                    <a:gd name="connsiteY12" fmla="*/ 790843 h 881397"/>
                    <a:gd name="connsiteX13" fmla="*/ 56144 w 935730"/>
                    <a:gd name="connsiteY13" fmla="*/ 790240 h 881397"/>
                    <a:gd name="connsiteX14" fmla="*/ 60370 w 935730"/>
                    <a:gd name="connsiteY14" fmla="*/ 786617 h 881397"/>
                    <a:gd name="connsiteX15" fmla="*/ 64596 w 935730"/>
                    <a:gd name="connsiteY15" fmla="*/ 784806 h 881397"/>
                    <a:gd name="connsiteX16" fmla="*/ 68218 w 935730"/>
                    <a:gd name="connsiteY16" fmla="*/ 787221 h 881397"/>
                    <a:gd name="connsiteX17" fmla="*/ 70029 w 935730"/>
                    <a:gd name="connsiteY17" fmla="*/ 781184 h 881397"/>
                    <a:gd name="connsiteX18" fmla="*/ 68821 w 935730"/>
                    <a:gd name="connsiteY18" fmla="*/ 778166 h 881397"/>
                    <a:gd name="connsiteX19" fmla="*/ 58559 w 935730"/>
                    <a:gd name="connsiteY19" fmla="*/ 772732 h 881397"/>
                    <a:gd name="connsiteX20" fmla="*/ 54936 w 935730"/>
                    <a:gd name="connsiteY20" fmla="*/ 769110 h 881397"/>
                    <a:gd name="connsiteX21" fmla="*/ 47692 w 935730"/>
                    <a:gd name="connsiteY21" fmla="*/ 767299 h 881397"/>
                    <a:gd name="connsiteX22" fmla="*/ 38637 w 935730"/>
                    <a:gd name="connsiteY22" fmla="*/ 767903 h 881397"/>
                    <a:gd name="connsiteX23" fmla="*/ 33203 w 935730"/>
                    <a:gd name="connsiteY23" fmla="*/ 770317 h 881397"/>
                    <a:gd name="connsiteX24" fmla="*/ 25355 w 935730"/>
                    <a:gd name="connsiteY24" fmla="*/ 766695 h 881397"/>
                    <a:gd name="connsiteX25" fmla="*/ 21129 w 935730"/>
                    <a:gd name="connsiteY25" fmla="*/ 767299 h 881397"/>
                    <a:gd name="connsiteX26" fmla="*/ 16903 w 935730"/>
                    <a:gd name="connsiteY26" fmla="*/ 764884 h 881397"/>
                    <a:gd name="connsiteX27" fmla="*/ 7244 w 935730"/>
                    <a:gd name="connsiteY27" fmla="*/ 761866 h 881397"/>
                    <a:gd name="connsiteX28" fmla="*/ 3018 w 935730"/>
                    <a:gd name="connsiteY28" fmla="*/ 755829 h 881397"/>
                    <a:gd name="connsiteX29" fmla="*/ 0 w 935730"/>
                    <a:gd name="connsiteY29" fmla="*/ 747981 h 881397"/>
                    <a:gd name="connsiteX30" fmla="*/ 8452 w 935730"/>
                    <a:gd name="connsiteY30" fmla="*/ 746774 h 881397"/>
                    <a:gd name="connsiteX31" fmla="*/ 9659 w 935730"/>
                    <a:gd name="connsiteY31" fmla="*/ 743151 h 881397"/>
                    <a:gd name="connsiteX32" fmla="*/ 15092 w 935730"/>
                    <a:gd name="connsiteY32" fmla="*/ 744963 h 881397"/>
                    <a:gd name="connsiteX33" fmla="*/ 23544 w 935730"/>
                    <a:gd name="connsiteY33" fmla="*/ 744359 h 881397"/>
                    <a:gd name="connsiteX34" fmla="*/ 24148 w 935730"/>
                    <a:gd name="connsiteY34" fmla="*/ 740737 h 881397"/>
                    <a:gd name="connsiteX35" fmla="*/ 26563 w 935730"/>
                    <a:gd name="connsiteY35" fmla="*/ 738322 h 881397"/>
                    <a:gd name="connsiteX36" fmla="*/ 33807 w 935730"/>
                    <a:gd name="connsiteY36" fmla="*/ 737114 h 881397"/>
                    <a:gd name="connsiteX37" fmla="*/ 33807 w 935730"/>
                    <a:gd name="connsiteY37" fmla="*/ 731681 h 881397"/>
                    <a:gd name="connsiteX38" fmla="*/ 30789 w 935730"/>
                    <a:gd name="connsiteY38" fmla="*/ 731077 h 881397"/>
                    <a:gd name="connsiteX39" fmla="*/ 28977 w 935730"/>
                    <a:gd name="connsiteY39" fmla="*/ 726852 h 881397"/>
                    <a:gd name="connsiteX40" fmla="*/ 35014 w 935730"/>
                    <a:gd name="connsiteY40" fmla="*/ 726852 h 881397"/>
                    <a:gd name="connsiteX41" fmla="*/ 38033 w 935730"/>
                    <a:gd name="connsiteY41" fmla="*/ 723833 h 881397"/>
                    <a:gd name="connsiteX42" fmla="*/ 42259 w 935730"/>
                    <a:gd name="connsiteY42" fmla="*/ 723833 h 881397"/>
                    <a:gd name="connsiteX43" fmla="*/ 41655 w 935730"/>
                    <a:gd name="connsiteY43" fmla="*/ 717796 h 881397"/>
                    <a:gd name="connsiteX44" fmla="*/ 45277 w 935730"/>
                    <a:gd name="connsiteY44" fmla="*/ 709948 h 881397"/>
                    <a:gd name="connsiteX45" fmla="*/ 43466 w 935730"/>
                    <a:gd name="connsiteY45" fmla="*/ 709344 h 881397"/>
                    <a:gd name="connsiteX46" fmla="*/ 37429 w 935730"/>
                    <a:gd name="connsiteY46" fmla="*/ 711155 h 881397"/>
                    <a:gd name="connsiteX47" fmla="*/ 34411 w 935730"/>
                    <a:gd name="connsiteY47" fmla="*/ 706326 h 881397"/>
                    <a:gd name="connsiteX48" fmla="*/ 44070 w 935730"/>
                    <a:gd name="connsiteY48" fmla="*/ 702704 h 881397"/>
                    <a:gd name="connsiteX49" fmla="*/ 44674 w 935730"/>
                    <a:gd name="connsiteY49" fmla="*/ 696063 h 881397"/>
                    <a:gd name="connsiteX50" fmla="*/ 35618 w 935730"/>
                    <a:gd name="connsiteY50" fmla="*/ 694855 h 881397"/>
                    <a:gd name="connsiteX51" fmla="*/ 38637 w 935730"/>
                    <a:gd name="connsiteY51" fmla="*/ 684593 h 881397"/>
                    <a:gd name="connsiteX52" fmla="*/ 38033 w 935730"/>
                    <a:gd name="connsiteY52" fmla="*/ 681574 h 881397"/>
                    <a:gd name="connsiteX53" fmla="*/ 44674 w 935730"/>
                    <a:gd name="connsiteY53" fmla="*/ 681574 h 881397"/>
                    <a:gd name="connsiteX54" fmla="*/ 45277 w 935730"/>
                    <a:gd name="connsiteY54" fmla="*/ 677348 h 881397"/>
                    <a:gd name="connsiteX55" fmla="*/ 42259 w 935730"/>
                    <a:gd name="connsiteY55" fmla="*/ 671311 h 881397"/>
                    <a:gd name="connsiteX56" fmla="*/ 43466 w 935730"/>
                    <a:gd name="connsiteY56" fmla="*/ 667085 h 881397"/>
                    <a:gd name="connsiteX57" fmla="*/ 41655 w 935730"/>
                    <a:gd name="connsiteY57" fmla="*/ 653200 h 881397"/>
                    <a:gd name="connsiteX58" fmla="*/ 44674 w 935730"/>
                    <a:gd name="connsiteY58" fmla="*/ 651389 h 881397"/>
                    <a:gd name="connsiteX59" fmla="*/ 44070 w 935730"/>
                    <a:gd name="connsiteY59" fmla="*/ 643541 h 881397"/>
                    <a:gd name="connsiteX60" fmla="*/ 47088 w 935730"/>
                    <a:gd name="connsiteY60" fmla="*/ 640523 h 881397"/>
                    <a:gd name="connsiteX61" fmla="*/ 47088 w 935730"/>
                    <a:gd name="connsiteY61" fmla="*/ 635693 h 881397"/>
                    <a:gd name="connsiteX62" fmla="*/ 51314 w 935730"/>
                    <a:gd name="connsiteY62" fmla="*/ 632071 h 881397"/>
                    <a:gd name="connsiteX63" fmla="*/ 50107 w 935730"/>
                    <a:gd name="connsiteY63" fmla="*/ 626034 h 881397"/>
                    <a:gd name="connsiteX64" fmla="*/ 47088 w 935730"/>
                    <a:gd name="connsiteY64" fmla="*/ 619997 h 881397"/>
                    <a:gd name="connsiteX65" fmla="*/ 46485 w 935730"/>
                    <a:gd name="connsiteY65" fmla="*/ 616979 h 881397"/>
                    <a:gd name="connsiteX66" fmla="*/ 42863 w 935730"/>
                    <a:gd name="connsiteY66" fmla="*/ 613356 h 881397"/>
                    <a:gd name="connsiteX67" fmla="*/ 43466 w 935730"/>
                    <a:gd name="connsiteY67" fmla="*/ 610942 h 881397"/>
                    <a:gd name="connsiteX68" fmla="*/ 31392 w 935730"/>
                    <a:gd name="connsiteY68" fmla="*/ 606716 h 881397"/>
                    <a:gd name="connsiteX69" fmla="*/ 25959 w 935730"/>
                    <a:gd name="connsiteY69" fmla="*/ 603697 h 881397"/>
                    <a:gd name="connsiteX70" fmla="*/ 22337 w 935730"/>
                    <a:gd name="connsiteY70" fmla="*/ 598264 h 881397"/>
                    <a:gd name="connsiteX71" fmla="*/ 24752 w 935730"/>
                    <a:gd name="connsiteY71" fmla="*/ 592227 h 881397"/>
                    <a:gd name="connsiteX72" fmla="*/ 28977 w 935730"/>
                    <a:gd name="connsiteY72" fmla="*/ 591623 h 881397"/>
                    <a:gd name="connsiteX73" fmla="*/ 29581 w 935730"/>
                    <a:gd name="connsiteY73" fmla="*/ 588001 h 881397"/>
                    <a:gd name="connsiteX74" fmla="*/ 26563 w 935730"/>
                    <a:gd name="connsiteY74" fmla="*/ 586190 h 881397"/>
                    <a:gd name="connsiteX75" fmla="*/ 42259 w 935730"/>
                    <a:gd name="connsiteY75" fmla="*/ 574116 h 881397"/>
                    <a:gd name="connsiteX76" fmla="*/ 38033 w 935730"/>
                    <a:gd name="connsiteY76" fmla="*/ 571097 h 881397"/>
                    <a:gd name="connsiteX77" fmla="*/ 41051 w 935730"/>
                    <a:gd name="connsiteY77" fmla="*/ 565664 h 881397"/>
                    <a:gd name="connsiteX78" fmla="*/ 42259 w 935730"/>
                    <a:gd name="connsiteY78" fmla="*/ 559023 h 881397"/>
                    <a:gd name="connsiteX79" fmla="*/ 41655 w 935730"/>
                    <a:gd name="connsiteY79" fmla="*/ 553590 h 881397"/>
                    <a:gd name="connsiteX80" fmla="*/ 46485 w 935730"/>
                    <a:gd name="connsiteY80" fmla="*/ 554194 h 881397"/>
                    <a:gd name="connsiteX81" fmla="*/ 47692 w 935730"/>
                    <a:gd name="connsiteY81" fmla="*/ 557212 h 881397"/>
                    <a:gd name="connsiteX82" fmla="*/ 55540 w 935730"/>
                    <a:gd name="connsiteY82" fmla="*/ 555401 h 881397"/>
                    <a:gd name="connsiteX83" fmla="*/ 55540 w 935730"/>
                    <a:gd name="connsiteY83" fmla="*/ 549968 h 881397"/>
                    <a:gd name="connsiteX84" fmla="*/ 58559 w 935730"/>
                    <a:gd name="connsiteY84" fmla="*/ 547553 h 881397"/>
                    <a:gd name="connsiteX85" fmla="*/ 53729 w 935730"/>
                    <a:gd name="connsiteY85" fmla="*/ 544535 h 881397"/>
                    <a:gd name="connsiteX86" fmla="*/ 53729 w 935730"/>
                    <a:gd name="connsiteY86" fmla="*/ 540913 h 881397"/>
                    <a:gd name="connsiteX87" fmla="*/ 57955 w 935730"/>
                    <a:gd name="connsiteY87" fmla="*/ 538498 h 881397"/>
                    <a:gd name="connsiteX88" fmla="*/ 66407 w 935730"/>
                    <a:gd name="connsiteY88" fmla="*/ 540913 h 881397"/>
                    <a:gd name="connsiteX89" fmla="*/ 66407 w 935730"/>
                    <a:gd name="connsiteY89" fmla="*/ 535480 h 881397"/>
                    <a:gd name="connsiteX90" fmla="*/ 71236 w 935730"/>
                    <a:gd name="connsiteY90" fmla="*/ 537894 h 881397"/>
                    <a:gd name="connsiteX91" fmla="*/ 74255 w 935730"/>
                    <a:gd name="connsiteY91" fmla="*/ 537291 h 881397"/>
                    <a:gd name="connsiteX92" fmla="*/ 74255 w 935730"/>
                    <a:gd name="connsiteY92" fmla="*/ 531857 h 881397"/>
                    <a:gd name="connsiteX93" fmla="*/ 82103 w 935730"/>
                    <a:gd name="connsiteY93" fmla="*/ 529443 h 881397"/>
                    <a:gd name="connsiteX94" fmla="*/ 89347 w 935730"/>
                    <a:gd name="connsiteY94" fmla="*/ 531254 h 881397"/>
                    <a:gd name="connsiteX95" fmla="*/ 89951 w 935730"/>
                    <a:gd name="connsiteY95" fmla="*/ 525820 h 881397"/>
                    <a:gd name="connsiteX96" fmla="*/ 83914 w 935730"/>
                    <a:gd name="connsiteY96" fmla="*/ 520991 h 881397"/>
                    <a:gd name="connsiteX97" fmla="*/ 76066 w 935730"/>
                    <a:gd name="connsiteY97" fmla="*/ 520387 h 881397"/>
                    <a:gd name="connsiteX98" fmla="*/ 70029 w 935730"/>
                    <a:gd name="connsiteY98" fmla="*/ 518576 h 881397"/>
                    <a:gd name="connsiteX99" fmla="*/ 68821 w 935730"/>
                    <a:gd name="connsiteY99" fmla="*/ 513143 h 881397"/>
                    <a:gd name="connsiteX100" fmla="*/ 61577 w 935730"/>
                    <a:gd name="connsiteY100" fmla="*/ 514954 h 881397"/>
                    <a:gd name="connsiteX101" fmla="*/ 56748 w 935730"/>
                    <a:gd name="connsiteY101" fmla="*/ 509521 h 881397"/>
                    <a:gd name="connsiteX102" fmla="*/ 51918 w 935730"/>
                    <a:gd name="connsiteY102" fmla="*/ 516765 h 881397"/>
                    <a:gd name="connsiteX103" fmla="*/ 49503 w 935730"/>
                    <a:gd name="connsiteY103" fmla="*/ 511332 h 881397"/>
                    <a:gd name="connsiteX104" fmla="*/ 45881 w 935730"/>
                    <a:gd name="connsiteY104" fmla="*/ 511332 h 881397"/>
                    <a:gd name="connsiteX105" fmla="*/ 43466 w 935730"/>
                    <a:gd name="connsiteY105" fmla="*/ 508917 h 881397"/>
                    <a:gd name="connsiteX106" fmla="*/ 39240 w 935730"/>
                    <a:gd name="connsiteY106" fmla="*/ 507709 h 881397"/>
                    <a:gd name="connsiteX107" fmla="*/ 39240 w 935730"/>
                    <a:gd name="connsiteY107" fmla="*/ 502880 h 881397"/>
                    <a:gd name="connsiteX108" fmla="*/ 41051 w 935730"/>
                    <a:gd name="connsiteY108" fmla="*/ 496843 h 881397"/>
                    <a:gd name="connsiteX109" fmla="*/ 39844 w 935730"/>
                    <a:gd name="connsiteY109" fmla="*/ 491410 h 881397"/>
                    <a:gd name="connsiteX110" fmla="*/ 42863 w 935730"/>
                    <a:gd name="connsiteY110" fmla="*/ 482354 h 881397"/>
                    <a:gd name="connsiteX111" fmla="*/ 48900 w 935730"/>
                    <a:gd name="connsiteY111" fmla="*/ 480543 h 881397"/>
                    <a:gd name="connsiteX112" fmla="*/ 50107 w 935730"/>
                    <a:gd name="connsiteY112" fmla="*/ 478732 h 881397"/>
                    <a:gd name="connsiteX113" fmla="*/ 56748 w 935730"/>
                    <a:gd name="connsiteY113" fmla="*/ 476317 h 881397"/>
                    <a:gd name="connsiteX114" fmla="*/ 59162 w 935730"/>
                    <a:gd name="connsiteY114" fmla="*/ 476921 h 881397"/>
                    <a:gd name="connsiteX115" fmla="*/ 63992 w 935730"/>
                    <a:gd name="connsiteY115" fmla="*/ 472091 h 881397"/>
                    <a:gd name="connsiteX116" fmla="*/ 62784 w 935730"/>
                    <a:gd name="connsiteY116" fmla="*/ 469073 h 881397"/>
                    <a:gd name="connsiteX117" fmla="*/ 56144 w 935730"/>
                    <a:gd name="connsiteY117" fmla="*/ 464847 h 881397"/>
                    <a:gd name="connsiteX118" fmla="*/ 52522 w 935730"/>
                    <a:gd name="connsiteY118" fmla="*/ 464243 h 881397"/>
                    <a:gd name="connsiteX119" fmla="*/ 53729 w 935730"/>
                    <a:gd name="connsiteY119" fmla="*/ 460017 h 881397"/>
                    <a:gd name="connsiteX120" fmla="*/ 56748 w 935730"/>
                    <a:gd name="connsiteY120" fmla="*/ 458206 h 881397"/>
                    <a:gd name="connsiteX121" fmla="*/ 56748 w 935730"/>
                    <a:gd name="connsiteY121" fmla="*/ 454584 h 881397"/>
                    <a:gd name="connsiteX122" fmla="*/ 62784 w 935730"/>
                    <a:gd name="connsiteY122" fmla="*/ 453980 h 881397"/>
                    <a:gd name="connsiteX123" fmla="*/ 65199 w 935730"/>
                    <a:gd name="connsiteY123" fmla="*/ 446132 h 881397"/>
                    <a:gd name="connsiteX124" fmla="*/ 70633 w 935730"/>
                    <a:gd name="connsiteY124" fmla="*/ 443114 h 881397"/>
                    <a:gd name="connsiteX125" fmla="*/ 68821 w 935730"/>
                    <a:gd name="connsiteY125" fmla="*/ 437077 h 881397"/>
                    <a:gd name="connsiteX126" fmla="*/ 75462 w 935730"/>
                    <a:gd name="connsiteY126" fmla="*/ 438284 h 881397"/>
                    <a:gd name="connsiteX127" fmla="*/ 76066 w 935730"/>
                    <a:gd name="connsiteY127" fmla="*/ 429229 h 881397"/>
                    <a:gd name="connsiteX128" fmla="*/ 80895 w 935730"/>
                    <a:gd name="connsiteY128" fmla="*/ 428625 h 881397"/>
                    <a:gd name="connsiteX129" fmla="*/ 82707 w 935730"/>
                    <a:gd name="connsiteY129" fmla="*/ 423796 h 881397"/>
                    <a:gd name="connsiteX130" fmla="*/ 81499 w 935730"/>
                    <a:gd name="connsiteY130" fmla="*/ 418966 h 881397"/>
                    <a:gd name="connsiteX131" fmla="*/ 77877 w 935730"/>
                    <a:gd name="connsiteY131" fmla="*/ 418966 h 881397"/>
                    <a:gd name="connsiteX132" fmla="*/ 73047 w 935730"/>
                    <a:gd name="connsiteY132" fmla="*/ 413533 h 881397"/>
                    <a:gd name="connsiteX133" fmla="*/ 62181 w 935730"/>
                    <a:gd name="connsiteY133" fmla="*/ 409911 h 881397"/>
                    <a:gd name="connsiteX134" fmla="*/ 60973 w 935730"/>
                    <a:gd name="connsiteY134" fmla="*/ 405685 h 881397"/>
                    <a:gd name="connsiteX135" fmla="*/ 65199 w 935730"/>
                    <a:gd name="connsiteY135" fmla="*/ 400855 h 881397"/>
                    <a:gd name="connsiteX136" fmla="*/ 71236 w 935730"/>
                    <a:gd name="connsiteY136" fmla="*/ 399044 h 881397"/>
                    <a:gd name="connsiteX137" fmla="*/ 71840 w 935730"/>
                    <a:gd name="connsiteY137" fmla="*/ 395422 h 881397"/>
                    <a:gd name="connsiteX138" fmla="*/ 70633 w 935730"/>
                    <a:gd name="connsiteY138" fmla="*/ 389385 h 881397"/>
                    <a:gd name="connsiteX139" fmla="*/ 71236 w 935730"/>
                    <a:gd name="connsiteY139" fmla="*/ 384555 h 881397"/>
                    <a:gd name="connsiteX140" fmla="*/ 67614 w 935730"/>
                    <a:gd name="connsiteY140" fmla="*/ 382140 h 881397"/>
                    <a:gd name="connsiteX141" fmla="*/ 65803 w 935730"/>
                    <a:gd name="connsiteY141" fmla="*/ 376103 h 881397"/>
                    <a:gd name="connsiteX142" fmla="*/ 68821 w 935730"/>
                    <a:gd name="connsiteY142" fmla="*/ 370066 h 881397"/>
                    <a:gd name="connsiteX143" fmla="*/ 66407 w 935730"/>
                    <a:gd name="connsiteY143" fmla="*/ 365237 h 881397"/>
                    <a:gd name="connsiteX144" fmla="*/ 72444 w 935730"/>
                    <a:gd name="connsiteY144" fmla="*/ 356785 h 881397"/>
                    <a:gd name="connsiteX145" fmla="*/ 65803 w 935730"/>
                    <a:gd name="connsiteY145" fmla="*/ 354370 h 881397"/>
                    <a:gd name="connsiteX146" fmla="*/ 61577 w 935730"/>
                    <a:gd name="connsiteY146" fmla="*/ 353766 h 881397"/>
                    <a:gd name="connsiteX147" fmla="*/ 65803 w 935730"/>
                    <a:gd name="connsiteY147" fmla="*/ 350144 h 881397"/>
                    <a:gd name="connsiteX148" fmla="*/ 62181 w 935730"/>
                    <a:gd name="connsiteY148" fmla="*/ 345315 h 881397"/>
                    <a:gd name="connsiteX149" fmla="*/ 56748 w 935730"/>
                    <a:gd name="connsiteY149" fmla="*/ 343504 h 881397"/>
                    <a:gd name="connsiteX150" fmla="*/ 55540 w 935730"/>
                    <a:gd name="connsiteY150" fmla="*/ 338070 h 881397"/>
                    <a:gd name="connsiteX151" fmla="*/ 61577 w 935730"/>
                    <a:gd name="connsiteY151" fmla="*/ 333241 h 881397"/>
                    <a:gd name="connsiteX152" fmla="*/ 62784 w 935730"/>
                    <a:gd name="connsiteY152" fmla="*/ 326600 h 881397"/>
                    <a:gd name="connsiteX153" fmla="*/ 56748 w 935730"/>
                    <a:gd name="connsiteY153" fmla="*/ 324185 h 881397"/>
                    <a:gd name="connsiteX154" fmla="*/ 57351 w 935730"/>
                    <a:gd name="connsiteY154" fmla="*/ 321771 h 881397"/>
                    <a:gd name="connsiteX155" fmla="*/ 63992 w 935730"/>
                    <a:gd name="connsiteY155" fmla="*/ 322978 h 881397"/>
                    <a:gd name="connsiteX156" fmla="*/ 68218 w 935730"/>
                    <a:gd name="connsiteY156" fmla="*/ 321167 h 881397"/>
                    <a:gd name="connsiteX157" fmla="*/ 65803 w 935730"/>
                    <a:gd name="connsiteY157" fmla="*/ 315734 h 881397"/>
                    <a:gd name="connsiteX158" fmla="*/ 67010 w 935730"/>
                    <a:gd name="connsiteY158" fmla="*/ 312112 h 881397"/>
                    <a:gd name="connsiteX159" fmla="*/ 72444 w 935730"/>
                    <a:gd name="connsiteY159" fmla="*/ 314526 h 881397"/>
                    <a:gd name="connsiteX160" fmla="*/ 72444 w 935730"/>
                    <a:gd name="connsiteY160" fmla="*/ 310301 h 881397"/>
                    <a:gd name="connsiteX161" fmla="*/ 69425 w 935730"/>
                    <a:gd name="connsiteY161" fmla="*/ 307886 h 881397"/>
                    <a:gd name="connsiteX162" fmla="*/ 71236 w 935730"/>
                    <a:gd name="connsiteY162" fmla="*/ 298227 h 881397"/>
                    <a:gd name="connsiteX163" fmla="*/ 80292 w 935730"/>
                    <a:gd name="connsiteY163" fmla="*/ 297019 h 881397"/>
                    <a:gd name="connsiteX164" fmla="*/ 83914 w 935730"/>
                    <a:gd name="connsiteY164" fmla="*/ 303056 h 881397"/>
                    <a:gd name="connsiteX165" fmla="*/ 95384 w 935730"/>
                    <a:gd name="connsiteY165" fmla="*/ 297019 h 881397"/>
                    <a:gd name="connsiteX166" fmla="*/ 98403 w 935730"/>
                    <a:gd name="connsiteY166" fmla="*/ 297623 h 881397"/>
                    <a:gd name="connsiteX167" fmla="*/ 102025 w 935730"/>
                    <a:gd name="connsiteY167" fmla="*/ 289171 h 881397"/>
                    <a:gd name="connsiteX168" fmla="*/ 101421 w 935730"/>
                    <a:gd name="connsiteY168" fmla="*/ 282530 h 881397"/>
                    <a:gd name="connsiteX169" fmla="*/ 98403 w 935730"/>
                    <a:gd name="connsiteY169" fmla="*/ 277701 h 881397"/>
                    <a:gd name="connsiteX170" fmla="*/ 99610 w 935730"/>
                    <a:gd name="connsiteY170" fmla="*/ 270456 h 881397"/>
                    <a:gd name="connsiteX171" fmla="*/ 102629 w 935730"/>
                    <a:gd name="connsiteY171" fmla="*/ 267438 h 881397"/>
                    <a:gd name="connsiteX172" fmla="*/ 110477 w 935730"/>
                    <a:gd name="connsiteY172" fmla="*/ 266230 h 881397"/>
                    <a:gd name="connsiteX173" fmla="*/ 113495 w 935730"/>
                    <a:gd name="connsiteY173" fmla="*/ 261401 h 881397"/>
                    <a:gd name="connsiteX174" fmla="*/ 113495 w 935730"/>
                    <a:gd name="connsiteY174" fmla="*/ 258986 h 881397"/>
                    <a:gd name="connsiteX175" fmla="*/ 117721 w 935730"/>
                    <a:gd name="connsiteY175" fmla="*/ 250534 h 881397"/>
                    <a:gd name="connsiteX176" fmla="*/ 120739 w 935730"/>
                    <a:gd name="connsiteY176" fmla="*/ 241479 h 881397"/>
                    <a:gd name="connsiteX177" fmla="*/ 135228 w 935730"/>
                    <a:gd name="connsiteY177" fmla="*/ 237253 h 881397"/>
                    <a:gd name="connsiteX178" fmla="*/ 142473 w 935730"/>
                    <a:gd name="connsiteY178" fmla="*/ 238460 h 881397"/>
                    <a:gd name="connsiteX179" fmla="*/ 143076 w 935730"/>
                    <a:gd name="connsiteY179" fmla="*/ 234234 h 881397"/>
                    <a:gd name="connsiteX180" fmla="*/ 138850 w 935730"/>
                    <a:gd name="connsiteY180" fmla="*/ 230612 h 881397"/>
                    <a:gd name="connsiteX181" fmla="*/ 133417 w 935730"/>
                    <a:gd name="connsiteY181" fmla="*/ 228801 h 881397"/>
                    <a:gd name="connsiteX182" fmla="*/ 129795 w 935730"/>
                    <a:gd name="connsiteY182" fmla="*/ 219746 h 881397"/>
                    <a:gd name="connsiteX183" fmla="*/ 121343 w 935730"/>
                    <a:gd name="connsiteY183" fmla="*/ 219142 h 881397"/>
                    <a:gd name="connsiteX184" fmla="*/ 124362 w 935730"/>
                    <a:gd name="connsiteY184" fmla="*/ 210087 h 881397"/>
                    <a:gd name="connsiteX185" fmla="*/ 115910 w 935730"/>
                    <a:gd name="connsiteY185" fmla="*/ 210690 h 881397"/>
                    <a:gd name="connsiteX186" fmla="*/ 116513 w 935730"/>
                    <a:gd name="connsiteY186" fmla="*/ 203446 h 881397"/>
                    <a:gd name="connsiteX187" fmla="*/ 106251 w 935730"/>
                    <a:gd name="connsiteY187" fmla="*/ 204050 h 881397"/>
                    <a:gd name="connsiteX188" fmla="*/ 105647 w 935730"/>
                    <a:gd name="connsiteY188" fmla="*/ 195598 h 881397"/>
                    <a:gd name="connsiteX189" fmla="*/ 104440 w 935730"/>
                    <a:gd name="connsiteY189" fmla="*/ 193787 h 881397"/>
                    <a:gd name="connsiteX190" fmla="*/ 105043 w 935730"/>
                    <a:gd name="connsiteY190" fmla="*/ 186543 h 881397"/>
                    <a:gd name="connsiteX191" fmla="*/ 112891 w 935730"/>
                    <a:gd name="connsiteY191" fmla="*/ 188354 h 881397"/>
                    <a:gd name="connsiteX192" fmla="*/ 111684 w 935730"/>
                    <a:gd name="connsiteY192" fmla="*/ 184128 h 881397"/>
                    <a:gd name="connsiteX193" fmla="*/ 113495 w 935730"/>
                    <a:gd name="connsiteY193" fmla="*/ 178091 h 881397"/>
                    <a:gd name="connsiteX194" fmla="*/ 116513 w 935730"/>
                    <a:gd name="connsiteY194" fmla="*/ 177487 h 881397"/>
                    <a:gd name="connsiteX195" fmla="*/ 118928 w 935730"/>
                    <a:gd name="connsiteY195" fmla="*/ 181109 h 881397"/>
                    <a:gd name="connsiteX196" fmla="*/ 121947 w 935730"/>
                    <a:gd name="connsiteY196" fmla="*/ 181109 h 881397"/>
                    <a:gd name="connsiteX197" fmla="*/ 122550 w 935730"/>
                    <a:gd name="connsiteY197" fmla="*/ 175072 h 881397"/>
                    <a:gd name="connsiteX198" fmla="*/ 120136 w 935730"/>
                    <a:gd name="connsiteY198" fmla="*/ 170846 h 881397"/>
                    <a:gd name="connsiteX199" fmla="*/ 123154 w 935730"/>
                    <a:gd name="connsiteY199" fmla="*/ 166017 h 881397"/>
                    <a:gd name="connsiteX200" fmla="*/ 124362 w 935730"/>
                    <a:gd name="connsiteY200" fmla="*/ 161187 h 881397"/>
                    <a:gd name="connsiteX201" fmla="*/ 122550 w 935730"/>
                    <a:gd name="connsiteY201" fmla="*/ 158772 h 881397"/>
                    <a:gd name="connsiteX202" fmla="*/ 127380 w 935730"/>
                    <a:gd name="connsiteY202" fmla="*/ 146095 h 881397"/>
                    <a:gd name="connsiteX203" fmla="*/ 134021 w 935730"/>
                    <a:gd name="connsiteY203" fmla="*/ 139454 h 881397"/>
                    <a:gd name="connsiteX204" fmla="*/ 126173 w 935730"/>
                    <a:gd name="connsiteY204" fmla="*/ 137643 h 881397"/>
                    <a:gd name="connsiteX205" fmla="*/ 125569 w 935730"/>
                    <a:gd name="connsiteY205" fmla="*/ 134021 h 881397"/>
                    <a:gd name="connsiteX206" fmla="*/ 136436 w 935730"/>
                    <a:gd name="connsiteY206" fmla="*/ 130398 h 881397"/>
                    <a:gd name="connsiteX207" fmla="*/ 139454 w 935730"/>
                    <a:gd name="connsiteY207" fmla="*/ 127380 h 881397"/>
                    <a:gd name="connsiteX208" fmla="*/ 143680 w 935730"/>
                    <a:gd name="connsiteY208" fmla="*/ 125569 h 881397"/>
                    <a:gd name="connsiteX209" fmla="*/ 151528 w 935730"/>
                    <a:gd name="connsiteY209" fmla="*/ 132210 h 881397"/>
                    <a:gd name="connsiteX210" fmla="*/ 156961 w 935730"/>
                    <a:gd name="connsiteY210" fmla="*/ 134021 h 881397"/>
                    <a:gd name="connsiteX211" fmla="*/ 159980 w 935730"/>
                    <a:gd name="connsiteY211" fmla="*/ 138850 h 881397"/>
                    <a:gd name="connsiteX212" fmla="*/ 163602 w 935730"/>
                    <a:gd name="connsiteY212" fmla="*/ 140661 h 881397"/>
                    <a:gd name="connsiteX213" fmla="*/ 164206 w 935730"/>
                    <a:gd name="connsiteY213" fmla="*/ 146095 h 881397"/>
                    <a:gd name="connsiteX214" fmla="*/ 166017 w 935730"/>
                    <a:gd name="connsiteY214" fmla="*/ 147302 h 881397"/>
                    <a:gd name="connsiteX215" fmla="*/ 171450 w 935730"/>
                    <a:gd name="connsiteY215" fmla="*/ 144284 h 881397"/>
                    <a:gd name="connsiteX216" fmla="*/ 175072 w 935730"/>
                    <a:gd name="connsiteY216" fmla="*/ 146095 h 881397"/>
                    <a:gd name="connsiteX217" fmla="*/ 180505 w 935730"/>
                    <a:gd name="connsiteY217" fmla="*/ 146095 h 881397"/>
                    <a:gd name="connsiteX218" fmla="*/ 185335 w 935730"/>
                    <a:gd name="connsiteY218" fmla="*/ 149717 h 881397"/>
                    <a:gd name="connsiteX219" fmla="*/ 191976 w 935730"/>
                    <a:gd name="connsiteY219" fmla="*/ 147302 h 881397"/>
                    <a:gd name="connsiteX220" fmla="*/ 191976 w 935730"/>
                    <a:gd name="connsiteY220" fmla="*/ 138850 h 881397"/>
                    <a:gd name="connsiteX221" fmla="*/ 194391 w 935730"/>
                    <a:gd name="connsiteY221" fmla="*/ 133417 h 881397"/>
                    <a:gd name="connsiteX222" fmla="*/ 194994 w 935730"/>
                    <a:gd name="connsiteY222" fmla="*/ 127380 h 881397"/>
                    <a:gd name="connsiteX223" fmla="*/ 191372 w 935730"/>
                    <a:gd name="connsiteY223" fmla="*/ 122550 h 881397"/>
                    <a:gd name="connsiteX224" fmla="*/ 193183 w 935730"/>
                    <a:gd name="connsiteY224" fmla="*/ 113495 h 881397"/>
                    <a:gd name="connsiteX225" fmla="*/ 200428 w 935730"/>
                    <a:gd name="connsiteY225" fmla="*/ 105043 h 881397"/>
                    <a:gd name="connsiteX226" fmla="*/ 206465 w 935730"/>
                    <a:gd name="connsiteY226" fmla="*/ 105647 h 881397"/>
                    <a:gd name="connsiteX227" fmla="*/ 210690 w 935730"/>
                    <a:gd name="connsiteY227" fmla="*/ 100818 h 881397"/>
                    <a:gd name="connsiteX228" fmla="*/ 215520 w 935730"/>
                    <a:gd name="connsiteY228" fmla="*/ 102025 h 881397"/>
                    <a:gd name="connsiteX229" fmla="*/ 218538 w 935730"/>
                    <a:gd name="connsiteY229" fmla="*/ 97799 h 881397"/>
                    <a:gd name="connsiteX230" fmla="*/ 218538 w 935730"/>
                    <a:gd name="connsiteY230" fmla="*/ 93573 h 881397"/>
                    <a:gd name="connsiteX231" fmla="*/ 216124 w 935730"/>
                    <a:gd name="connsiteY231" fmla="*/ 89951 h 881397"/>
                    <a:gd name="connsiteX232" fmla="*/ 215520 w 935730"/>
                    <a:gd name="connsiteY232" fmla="*/ 77877 h 881397"/>
                    <a:gd name="connsiteX233" fmla="*/ 218538 w 935730"/>
                    <a:gd name="connsiteY233" fmla="*/ 74859 h 881397"/>
                    <a:gd name="connsiteX234" fmla="*/ 218538 w 935730"/>
                    <a:gd name="connsiteY234" fmla="*/ 67614 h 881397"/>
                    <a:gd name="connsiteX235" fmla="*/ 213709 w 935730"/>
                    <a:gd name="connsiteY235" fmla="*/ 56748 h 881397"/>
                    <a:gd name="connsiteX236" fmla="*/ 210087 w 935730"/>
                    <a:gd name="connsiteY236" fmla="*/ 54936 h 881397"/>
                    <a:gd name="connsiteX237" fmla="*/ 213105 w 935730"/>
                    <a:gd name="connsiteY237" fmla="*/ 48899 h 881397"/>
                    <a:gd name="connsiteX238" fmla="*/ 219746 w 935730"/>
                    <a:gd name="connsiteY238" fmla="*/ 48899 h 881397"/>
                    <a:gd name="connsiteX239" fmla="*/ 220953 w 935730"/>
                    <a:gd name="connsiteY239" fmla="*/ 45881 h 881397"/>
                    <a:gd name="connsiteX240" fmla="*/ 225783 w 935730"/>
                    <a:gd name="connsiteY240" fmla="*/ 44070 h 881397"/>
                    <a:gd name="connsiteX241" fmla="*/ 225783 w 935730"/>
                    <a:gd name="connsiteY241" fmla="*/ 39240 h 881397"/>
                    <a:gd name="connsiteX242" fmla="*/ 228801 w 935730"/>
                    <a:gd name="connsiteY242" fmla="*/ 35014 h 881397"/>
                    <a:gd name="connsiteX243" fmla="*/ 230009 w 935730"/>
                    <a:gd name="connsiteY243" fmla="*/ 28977 h 881397"/>
                    <a:gd name="connsiteX244" fmla="*/ 228801 w 935730"/>
                    <a:gd name="connsiteY244" fmla="*/ 23544 h 881397"/>
                    <a:gd name="connsiteX245" fmla="*/ 224575 w 935730"/>
                    <a:gd name="connsiteY245" fmla="*/ 21733 h 881397"/>
                    <a:gd name="connsiteX246" fmla="*/ 224575 w 935730"/>
                    <a:gd name="connsiteY246" fmla="*/ 16300 h 881397"/>
                    <a:gd name="connsiteX247" fmla="*/ 214916 w 935730"/>
                    <a:gd name="connsiteY247" fmla="*/ 13885 h 881397"/>
                    <a:gd name="connsiteX248" fmla="*/ 218538 w 935730"/>
                    <a:gd name="connsiteY248" fmla="*/ 0 h 881397"/>
                    <a:gd name="connsiteX249" fmla="*/ 223972 w 935730"/>
                    <a:gd name="connsiteY249" fmla="*/ 6641 h 881397"/>
                    <a:gd name="connsiteX250" fmla="*/ 233631 w 935730"/>
                    <a:gd name="connsiteY250" fmla="*/ 7848 h 881397"/>
                    <a:gd name="connsiteX251" fmla="*/ 234234 w 935730"/>
                    <a:gd name="connsiteY251" fmla="*/ 13281 h 881397"/>
                    <a:gd name="connsiteX252" fmla="*/ 236649 w 935730"/>
                    <a:gd name="connsiteY252" fmla="*/ 16903 h 881397"/>
                    <a:gd name="connsiteX253" fmla="*/ 242686 w 935730"/>
                    <a:gd name="connsiteY253" fmla="*/ 19922 h 881397"/>
                    <a:gd name="connsiteX254" fmla="*/ 252345 w 935730"/>
                    <a:gd name="connsiteY254" fmla="*/ 21129 h 881397"/>
                    <a:gd name="connsiteX255" fmla="*/ 255968 w 935730"/>
                    <a:gd name="connsiteY255" fmla="*/ 26563 h 881397"/>
                    <a:gd name="connsiteX256" fmla="*/ 263212 w 935730"/>
                    <a:gd name="connsiteY256" fmla="*/ 19922 h 881397"/>
                    <a:gd name="connsiteX257" fmla="*/ 275286 w 935730"/>
                    <a:gd name="connsiteY257" fmla="*/ 22337 h 881397"/>
                    <a:gd name="connsiteX258" fmla="*/ 278908 w 935730"/>
                    <a:gd name="connsiteY258" fmla="*/ 21129 h 881397"/>
                    <a:gd name="connsiteX259" fmla="*/ 281927 w 935730"/>
                    <a:gd name="connsiteY259" fmla="*/ 22940 h 881397"/>
                    <a:gd name="connsiteX260" fmla="*/ 298830 w 935730"/>
                    <a:gd name="connsiteY260" fmla="*/ 28374 h 881397"/>
                    <a:gd name="connsiteX261" fmla="*/ 301849 w 935730"/>
                    <a:gd name="connsiteY261" fmla="*/ 31996 h 881397"/>
                    <a:gd name="connsiteX262" fmla="*/ 306678 w 935730"/>
                    <a:gd name="connsiteY262" fmla="*/ 29581 h 881397"/>
                    <a:gd name="connsiteX263" fmla="*/ 316337 w 935730"/>
                    <a:gd name="connsiteY263" fmla="*/ 29581 h 881397"/>
                    <a:gd name="connsiteX264" fmla="*/ 321167 w 935730"/>
                    <a:gd name="connsiteY264" fmla="*/ 34411 h 881397"/>
                    <a:gd name="connsiteX265" fmla="*/ 329015 w 935730"/>
                    <a:gd name="connsiteY265" fmla="*/ 33807 h 881397"/>
                    <a:gd name="connsiteX266" fmla="*/ 330826 w 935730"/>
                    <a:gd name="connsiteY266" fmla="*/ 39844 h 881397"/>
                    <a:gd name="connsiteX267" fmla="*/ 332637 w 935730"/>
                    <a:gd name="connsiteY267" fmla="*/ 47692 h 881397"/>
                    <a:gd name="connsiteX268" fmla="*/ 331430 w 935730"/>
                    <a:gd name="connsiteY268" fmla="*/ 56144 h 881397"/>
                    <a:gd name="connsiteX269" fmla="*/ 338070 w 935730"/>
                    <a:gd name="connsiteY269" fmla="*/ 56748 h 881397"/>
                    <a:gd name="connsiteX270" fmla="*/ 343504 w 935730"/>
                    <a:gd name="connsiteY270" fmla="*/ 53729 h 881397"/>
                    <a:gd name="connsiteX271" fmla="*/ 348937 w 935730"/>
                    <a:gd name="connsiteY271" fmla="*/ 54333 h 881397"/>
                    <a:gd name="connsiteX272" fmla="*/ 354370 w 935730"/>
                    <a:gd name="connsiteY272" fmla="*/ 57955 h 881397"/>
                    <a:gd name="connsiteX273" fmla="*/ 353163 w 935730"/>
                    <a:gd name="connsiteY273" fmla="*/ 65199 h 881397"/>
                    <a:gd name="connsiteX274" fmla="*/ 356181 w 935730"/>
                    <a:gd name="connsiteY274" fmla="*/ 73047 h 881397"/>
                    <a:gd name="connsiteX275" fmla="*/ 351352 w 935730"/>
                    <a:gd name="connsiteY275" fmla="*/ 76670 h 881397"/>
                    <a:gd name="connsiteX276" fmla="*/ 356181 w 935730"/>
                    <a:gd name="connsiteY276" fmla="*/ 79688 h 881397"/>
                    <a:gd name="connsiteX277" fmla="*/ 359200 w 935730"/>
                    <a:gd name="connsiteY277" fmla="*/ 77273 h 881397"/>
                    <a:gd name="connsiteX278" fmla="*/ 364633 w 935730"/>
                    <a:gd name="connsiteY278" fmla="*/ 82103 h 881397"/>
                    <a:gd name="connsiteX279" fmla="*/ 371274 w 935730"/>
                    <a:gd name="connsiteY279" fmla="*/ 80896 h 881397"/>
                    <a:gd name="connsiteX280" fmla="*/ 373689 w 935730"/>
                    <a:gd name="connsiteY280" fmla="*/ 83914 h 881397"/>
                    <a:gd name="connsiteX281" fmla="*/ 381537 w 935730"/>
                    <a:gd name="connsiteY281" fmla="*/ 84518 h 881397"/>
                    <a:gd name="connsiteX282" fmla="*/ 382140 w 935730"/>
                    <a:gd name="connsiteY282" fmla="*/ 88140 h 881397"/>
                    <a:gd name="connsiteX283" fmla="*/ 389385 w 935730"/>
                    <a:gd name="connsiteY283" fmla="*/ 90555 h 881397"/>
                    <a:gd name="connsiteX284" fmla="*/ 395422 w 935730"/>
                    <a:gd name="connsiteY284" fmla="*/ 97799 h 881397"/>
                    <a:gd name="connsiteX285" fmla="*/ 399648 w 935730"/>
                    <a:gd name="connsiteY285" fmla="*/ 99610 h 881397"/>
                    <a:gd name="connsiteX286" fmla="*/ 405685 w 935730"/>
                    <a:gd name="connsiteY286" fmla="*/ 98403 h 881397"/>
                    <a:gd name="connsiteX287" fmla="*/ 403873 w 935730"/>
                    <a:gd name="connsiteY287" fmla="*/ 94177 h 881397"/>
                    <a:gd name="connsiteX288" fmla="*/ 405081 w 935730"/>
                    <a:gd name="connsiteY288" fmla="*/ 88140 h 881397"/>
                    <a:gd name="connsiteX289" fmla="*/ 409307 w 935730"/>
                    <a:gd name="connsiteY289" fmla="*/ 84518 h 881397"/>
                    <a:gd name="connsiteX290" fmla="*/ 409910 w 935730"/>
                    <a:gd name="connsiteY290" fmla="*/ 77877 h 881397"/>
                    <a:gd name="connsiteX291" fmla="*/ 412325 w 935730"/>
                    <a:gd name="connsiteY291" fmla="*/ 73651 h 881397"/>
                    <a:gd name="connsiteX292" fmla="*/ 409307 w 935730"/>
                    <a:gd name="connsiteY292" fmla="*/ 66407 h 881397"/>
                    <a:gd name="connsiteX293" fmla="*/ 412929 w 935730"/>
                    <a:gd name="connsiteY293" fmla="*/ 66407 h 881397"/>
                    <a:gd name="connsiteX294" fmla="*/ 423192 w 935730"/>
                    <a:gd name="connsiteY294" fmla="*/ 70633 h 881397"/>
                    <a:gd name="connsiteX295" fmla="*/ 425607 w 935730"/>
                    <a:gd name="connsiteY295" fmla="*/ 76066 h 881397"/>
                    <a:gd name="connsiteX296" fmla="*/ 431040 w 935730"/>
                    <a:gd name="connsiteY296" fmla="*/ 74255 h 881397"/>
                    <a:gd name="connsiteX297" fmla="*/ 436473 w 935730"/>
                    <a:gd name="connsiteY297" fmla="*/ 74859 h 881397"/>
                    <a:gd name="connsiteX298" fmla="*/ 437077 w 935730"/>
                    <a:gd name="connsiteY298" fmla="*/ 77273 h 881397"/>
                    <a:gd name="connsiteX299" fmla="*/ 446132 w 935730"/>
                    <a:gd name="connsiteY299" fmla="*/ 83310 h 881397"/>
                    <a:gd name="connsiteX300" fmla="*/ 451565 w 935730"/>
                    <a:gd name="connsiteY300" fmla="*/ 83310 h 881397"/>
                    <a:gd name="connsiteX301" fmla="*/ 455188 w 935730"/>
                    <a:gd name="connsiteY301" fmla="*/ 86329 h 881397"/>
                    <a:gd name="connsiteX302" fmla="*/ 457602 w 935730"/>
                    <a:gd name="connsiteY302" fmla="*/ 91158 h 881397"/>
                    <a:gd name="connsiteX303" fmla="*/ 466658 w 935730"/>
                    <a:gd name="connsiteY303" fmla="*/ 86933 h 881397"/>
                    <a:gd name="connsiteX304" fmla="*/ 466658 w 935730"/>
                    <a:gd name="connsiteY304" fmla="*/ 81499 h 881397"/>
                    <a:gd name="connsiteX305" fmla="*/ 472695 w 935730"/>
                    <a:gd name="connsiteY305" fmla="*/ 80292 h 881397"/>
                    <a:gd name="connsiteX306" fmla="*/ 473299 w 935730"/>
                    <a:gd name="connsiteY306" fmla="*/ 85121 h 881397"/>
                    <a:gd name="connsiteX307" fmla="*/ 476921 w 935730"/>
                    <a:gd name="connsiteY307" fmla="*/ 88140 h 881397"/>
                    <a:gd name="connsiteX308" fmla="*/ 482354 w 935730"/>
                    <a:gd name="connsiteY308" fmla="*/ 89951 h 881397"/>
                    <a:gd name="connsiteX309" fmla="*/ 484165 w 935730"/>
                    <a:gd name="connsiteY309" fmla="*/ 88744 h 881397"/>
                    <a:gd name="connsiteX310" fmla="*/ 485976 w 935730"/>
                    <a:gd name="connsiteY310" fmla="*/ 82103 h 881397"/>
                    <a:gd name="connsiteX311" fmla="*/ 488995 w 935730"/>
                    <a:gd name="connsiteY311" fmla="*/ 76670 h 881397"/>
                    <a:gd name="connsiteX312" fmla="*/ 492617 w 935730"/>
                    <a:gd name="connsiteY312" fmla="*/ 74255 h 881397"/>
                    <a:gd name="connsiteX313" fmla="*/ 500465 w 935730"/>
                    <a:gd name="connsiteY313" fmla="*/ 73651 h 881397"/>
                    <a:gd name="connsiteX314" fmla="*/ 507709 w 935730"/>
                    <a:gd name="connsiteY314" fmla="*/ 72444 h 881397"/>
                    <a:gd name="connsiteX315" fmla="*/ 513143 w 935730"/>
                    <a:gd name="connsiteY315" fmla="*/ 68218 h 881397"/>
                    <a:gd name="connsiteX316" fmla="*/ 520991 w 935730"/>
                    <a:gd name="connsiteY316" fmla="*/ 69425 h 881397"/>
                    <a:gd name="connsiteX317" fmla="*/ 524009 w 935730"/>
                    <a:gd name="connsiteY317" fmla="*/ 73047 h 881397"/>
                    <a:gd name="connsiteX318" fmla="*/ 528839 w 935730"/>
                    <a:gd name="connsiteY318" fmla="*/ 75462 h 881397"/>
                    <a:gd name="connsiteX319" fmla="*/ 531254 w 935730"/>
                    <a:gd name="connsiteY319" fmla="*/ 82707 h 881397"/>
                    <a:gd name="connsiteX320" fmla="*/ 541516 w 935730"/>
                    <a:gd name="connsiteY320" fmla="*/ 90555 h 881397"/>
                    <a:gd name="connsiteX321" fmla="*/ 548157 w 935730"/>
                    <a:gd name="connsiteY321" fmla="*/ 92366 h 881397"/>
                    <a:gd name="connsiteX322" fmla="*/ 555401 w 935730"/>
                    <a:gd name="connsiteY322" fmla="*/ 99610 h 881397"/>
                    <a:gd name="connsiteX323" fmla="*/ 555401 w 935730"/>
                    <a:gd name="connsiteY323" fmla="*/ 103836 h 881397"/>
                    <a:gd name="connsiteX324" fmla="*/ 561438 w 935730"/>
                    <a:gd name="connsiteY324" fmla="*/ 112288 h 881397"/>
                    <a:gd name="connsiteX325" fmla="*/ 559627 w 935730"/>
                    <a:gd name="connsiteY325" fmla="*/ 123154 h 881397"/>
                    <a:gd name="connsiteX326" fmla="*/ 557816 w 935730"/>
                    <a:gd name="connsiteY326" fmla="*/ 126776 h 881397"/>
                    <a:gd name="connsiteX327" fmla="*/ 559024 w 935730"/>
                    <a:gd name="connsiteY327" fmla="*/ 134624 h 881397"/>
                    <a:gd name="connsiteX328" fmla="*/ 555401 w 935730"/>
                    <a:gd name="connsiteY328" fmla="*/ 137643 h 881397"/>
                    <a:gd name="connsiteX329" fmla="*/ 550572 w 935730"/>
                    <a:gd name="connsiteY329" fmla="*/ 150321 h 881397"/>
                    <a:gd name="connsiteX330" fmla="*/ 550572 w 935730"/>
                    <a:gd name="connsiteY330" fmla="*/ 155150 h 881397"/>
                    <a:gd name="connsiteX331" fmla="*/ 554798 w 935730"/>
                    <a:gd name="connsiteY331" fmla="*/ 161187 h 881397"/>
                    <a:gd name="connsiteX332" fmla="*/ 547553 w 935730"/>
                    <a:gd name="connsiteY332" fmla="*/ 169035 h 881397"/>
                    <a:gd name="connsiteX333" fmla="*/ 540309 w 935730"/>
                    <a:gd name="connsiteY333" fmla="*/ 173261 h 881397"/>
                    <a:gd name="connsiteX334" fmla="*/ 537291 w 935730"/>
                    <a:gd name="connsiteY334" fmla="*/ 176883 h 881397"/>
                    <a:gd name="connsiteX335" fmla="*/ 537894 w 935730"/>
                    <a:gd name="connsiteY335" fmla="*/ 186543 h 881397"/>
                    <a:gd name="connsiteX336" fmla="*/ 537291 w 935730"/>
                    <a:gd name="connsiteY336" fmla="*/ 190768 h 881397"/>
                    <a:gd name="connsiteX337" fmla="*/ 540309 w 935730"/>
                    <a:gd name="connsiteY337" fmla="*/ 191976 h 881397"/>
                    <a:gd name="connsiteX338" fmla="*/ 544535 w 935730"/>
                    <a:gd name="connsiteY338" fmla="*/ 190165 h 881397"/>
                    <a:gd name="connsiteX339" fmla="*/ 551779 w 935730"/>
                    <a:gd name="connsiteY339" fmla="*/ 190768 h 881397"/>
                    <a:gd name="connsiteX340" fmla="*/ 552987 w 935730"/>
                    <a:gd name="connsiteY340" fmla="*/ 194994 h 881397"/>
                    <a:gd name="connsiteX341" fmla="*/ 552383 w 935730"/>
                    <a:gd name="connsiteY341" fmla="*/ 205257 h 881397"/>
                    <a:gd name="connsiteX342" fmla="*/ 554798 w 935730"/>
                    <a:gd name="connsiteY342" fmla="*/ 213709 h 881397"/>
                    <a:gd name="connsiteX343" fmla="*/ 554194 w 935730"/>
                    <a:gd name="connsiteY343" fmla="*/ 230612 h 881397"/>
                    <a:gd name="connsiteX344" fmla="*/ 551176 w 935730"/>
                    <a:gd name="connsiteY344" fmla="*/ 235442 h 881397"/>
                    <a:gd name="connsiteX345" fmla="*/ 545139 w 935730"/>
                    <a:gd name="connsiteY345" fmla="*/ 236649 h 881397"/>
                    <a:gd name="connsiteX346" fmla="*/ 549364 w 935730"/>
                    <a:gd name="connsiteY346" fmla="*/ 243894 h 881397"/>
                    <a:gd name="connsiteX347" fmla="*/ 552987 w 935730"/>
                    <a:gd name="connsiteY347" fmla="*/ 246912 h 881397"/>
                    <a:gd name="connsiteX348" fmla="*/ 569286 w 935730"/>
                    <a:gd name="connsiteY348" fmla="*/ 250534 h 881397"/>
                    <a:gd name="connsiteX349" fmla="*/ 573512 w 935730"/>
                    <a:gd name="connsiteY349" fmla="*/ 255364 h 881397"/>
                    <a:gd name="connsiteX350" fmla="*/ 576531 w 935730"/>
                    <a:gd name="connsiteY350" fmla="*/ 260797 h 881397"/>
                    <a:gd name="connsiteX351" fmla="*/ 583775 w 935730"/>
                    <a:gd name="connsiteY351" fmla="*/ 264419 h 881397"/>
                    <a:gd name="connsiteX352" fmla="*/ 588605 w 935730"/>
                    <a:gd name="connsiteY352" fmla="*/ 269853 h 881397"/>
                    <a:gd name="connsiteX353" fmla="*/ 599471 w 935730"/>
                    <a:gd name="connsiteY353" fmla="*/ 266230 h 881397"/>
                    <a:gd name="connsiteX354" fmla="*/ 601282 w 935730"/>
                    <a:gd name="connsiteY354" fmla="*/ 269249 h 881397"/>
                    <a:gd name="connsiteX355" fmla="*/ 605508 w 935730"/>
                    <a:gd name="connsiteY355" fmla="*/ 270456 h 881397"/>
                    <a:gd name="connsiteX356" fmla="*/ 608527 w 935730"/>
                    <a:gd name="connsiteY356" fmla="*/ 265627 h 881397"/>
                    <a:gd name="connsiteX357" fmla="*/ 617582 w 935730"/>
                    <a:gd name="connsiteY357" fmla="*/ 265023 h 881397"/>
                    <a:gd name="connsiteX358" fmla="*/ 621808 w 935730"/>
                    <a:gd name="connsiteY358" fmla="*/ 261401 h 881397"/>
                    <a:gd name="connsiteX359" fmla="*/ 627845 w 935730"/>
                    <a:gd name="connsiteY359" fmla="*/ 268042 h 881397"/>
                    <a:gd name="connsiteX360" fmla="*/ 632675 w 935730"/>
                    <a:gd name="connsiteY360" fmla="*/ 281927 h 881397"/>
                    <a:gd name="connsiteX361" fmla="*/ 637504 w 935730"/>
                    <a:gd name="connsiteY361" fmla="*/ 289775 h 881397"/>
                    <a:gd name="connsiteX362" fmla="*/ 642334 w 935730"/>
                    <a:gd name="connsiteY362" fmla="*/ 286153 h 881397"/>
                    <a:gd name="connsiteX363" fmla="*/ 645352 w 935730"/>
                    <a:gd name="connsiteY363" fmla="*/ 288567 h 881397"/>
                    <a:gd name="connsiteX364" fmla="*/ 649578 w 935730"/>
                    <a:gd name="connsiteY364" fmla="*/ 285549 h 881397"/>
                    <a:gd name="connsiteX365" fmla="*/ 659841 w 935730"/>
                    <a:gd name="connsiteY365" fmla="*/ 281323 h 881397"/>
                    <a:gd name="connsiteX366" fmla="*/ 667689 w 935730"/>
                    <a:gd name="connsiteY366" fmla="*/ 281323 h 881397"/>
                    <a:gd name="connsiteX367" fmla="*/ 671915 w 935730"/>
                    <a:gd name="connsiteY367" fmla="*/ 283738 h 881397"/>
                    <a:gd name="connsiteX368" fmla="*/ 676141 w 935730"/>
                    <a:gd name="connsiteY368" fmla="*/ 289775 h 881397"/>
                    <a:gd name="connsiteX369" fmla="*/ 690630 w 935730"/>
                    <a:gd name="connsiteY369" fmla="*/ 298830 h 881397"/>
                    <a:gd name="connsiteX370" fmla="*/ 693044 w 935730"/>
                    <a:gd name="connsiteY370" fmla="*/ 303056 h 881397"/>
                    <a:gd name="connsiteX371" fmla="*/ 697270 w 935730"/>
                    <a:gd name="connsiteY371" fmla="*/ 304867 h 881397"/>
                    <a:gd name="connsiteX372" fmla="*/ 697874 w 935730"/>
                    <a:gd name="connsiteY372" fmla="*/ 309697 h 881397"/>
                    <a:gd name="connsiteX373" fmla="*/ 700893 w 935730"/>
                    <a:gd name="connsiteY373" fmla="*/ 314526 h 881397"/>
                    <a:gd name="connsiteX374" fmla="*/ 706929 w 935730"/>
                    <a:gd name="connsiteY374" fmla="*/ 318752 h 881397"/>
                    <a:gd name="connsiteX375" fmla="*/ 709948 w 935730"/>
                    <a:gd name="connsiteY375" fmla="*/ 322978 h 881397"/>
                    <a:gd name="connsiteX376" fmla="*/ 709344 w 935730"/>
                    <a:gd name="connsiteY376" fmla="*/ 325996 h 881397"/>
                    <a:gd name="connsiteX377" fmla="*/ 713570 w 935730"/>
                    <a:gd name="connsiteY377" fmla="*/ 329015 h 881397"/>
                    <a:gd name="connsiteX378" fmla="*/ 715985 w 935730"/>
                    <a:gd name="connsiteY378" fmla="*/ 338674 h 881397"/>
                    <a:gd name="connsiteX379" fmla="*/ 720211 w 935730"/>
                    <a:gd name="connsiteY379" fmla="*/ 348333 h 881397"/>
                    <a:gd name="connsiteX380" fmla="*/ 720211 w 935730"/>
                    <a:gd name="connsiteY380" fmla="*/ 351955 h 881397"/>
                    <a:gd name="connsiteX381" fmla="*/ 725040 w 935730"/>
                    <a:gd name="connsiteY381" fmla="*/ 356785 h 881397"/>
                    <a:gd name="connsiteX382" fmla="*/ 728663 w 935730"/>
                    <a:gd name="connsiteY382" fmla="*/ 364633 h 881397"/>
                    <a:gd name="connsiteX383" fmla="*/ 717796 w 935730"/>
                    <a:gd name="connsiteY383" fmla="*/ 370066 h 881397"/>
                    <a:gd name="connsiteX384" fmla="*/ 718400 w 935730"/>
                    <a:gd name="connsiteY384" fmla="*/ 379726 h 881397"/>
                    <a:gd name="connsiteX385" fmla="*/ 723833 w 935730"/>
                    <a:gd name="connsiteY385" fmla="*/ 382140 h 881397"/>
                    <a:gd name="connsiteX386" fmla="*/ 731077 w 935730"/>
                    <a:gd name="connsiteY386" fmla="*/ 380933 h 881397"/>
                    <a:gd name="connsiteX387" fmla="*/ 735303 w 935730"/>
                    <a:gd name="connsiteY387" fmla="*/ 375500 h 881397"/>
                    <a:gd name="connsiteX388" fmla="*/ 735303 w 935730"/>
                    <a:gd name="connsiteY388" fmla="*/ 368255 h 881397"/>
                    <a:gd name="connsiteX389" fmla="*/ 736511 w 935730"/>
                    <a:gd name="connsiteY389" fmla="*/ 366444 h 881397"/>
                    <a:gd name="connsiteX390" fmla="*/ 743755 w 935730"/>
                    <a:gd name="connsiteY390" fmla="*/ 368255 h 881397"/>
                    <a:gd name="connsiteX391" fmla="*/ 745566 w 935730"/>
                    <a:gd name="connsiteY391" fmla="*/ 372481 h 881397"/>
                    <a:gd name="connsiteX392" fmla="*/ 741944 w 935730"/>
                    <a:gd name="connsiteY392" fmla="*/ 373689 h 881397"/>
                    <a:gd name="connsiteX393" fmla="*/ 743151 w 935730"/>
                    <a:gd name="connsiteY393" fmla="*/ 386366 h 881397"/>
                    <a:gd name="connsiteX394" fmla="*/ 744359 w 935730"/>
                    <a:gd name="connsiteY394" fmla="*/ 388177 h 881397"/>
                    <a:gd name="connsiteX395" fmla="*/ 752207 w 935730"/>
                    <a:gd name="connsiteY395" fmla="*/ 388177 h 881397"/>
                    <a:gd name="connsiteX396" fmla="*/ 761262 w 935730"/>
                    <a:gd name="connsiteY396" fmla="*/ 383348 h 881397"/>
                    <a:gd name="connsiteX397" fmla="*/ 767299 w 935730"/>
                    <a:gd name="connsiteY397" fmla="*/ 380933 h 881397"/>
                    <a:gd name="connsiteX398" fmla="*/ 767299 w 935730"/>
                    <a:gd name="connsiteY398" fmla="*/ 386366 h 881397"/>
                    <a:gd name="connsiteX399" fmla="*/ 762470 w 935730"/>
                    <a:gd name="connsiteY399" fmla="*/ 390592 h 881397"/>
                    <a:gd name="connsiteX400" fmla="*/ 762470 w 935730"/>
                    <a:gd name="connsiteY400" fmla="*/ 397233 h 881397"/>
                    <a:gd name="connsiteX401" fmla="*/ 766092 w 935730"/>
                    <a:gd name="connsiteY401" fmla="*/ 408099 h 881397"/>
                    <a:gd name="connsiteX402" fmla="*/ 764884 w 935730"/>
                    <a:gd name="connsiteY402" fmla="*/ 410514 h 881397"/>
                    <a:gd name="connsiteX403" fmla="*/ 767299 w 935730"/>
                    <a:gd name="connsiteY403" fmla="*/ 418966 h 881397"/>
                    <a:gd name="connsiteX404" fmla="*/ 769714 w 935730"/>
                    <a:gd name="connsiteY404" fmla="*/ 434058 h 881397"/>
                    <a:gd name="connsiteX405" fmla="*/ 771525 w 935730"/>
                    <a:gd name="connsiteY405" fmla="*/ 435869 h 881397"/>
                    <a:gd name="connsiteX406" fmla="*/ 773940 w 935730"/>
                    <a:gd name="connsiteY406" fmla="*/ 452169 h 881397"/>
                    <a:gd name="connsiteX407" fmla="*/ 775751 w 935730"/>
                    <a:gd name="connsiteY407" fmla="*/ 456999 h 881397"/>
                    <a:gd name="connsiteX408" fmla="*/ 779373 w 935730"/>
                    <a:gd name="connsiteY408" fmla="*/ 463036 h 881397"/>
                    <a:gd name="connsiteX409" fmla="*/ 784203 w 935730"/>
                    <a:gd name="connsiteY409" fmla="*/ 464243 h 881397"/>
                    <a:gd name="connsiteX410" fmla="*/ 787825 w 935730"/>
                    <a:gd name="connsiteY410" fmla="*/ 463639 h 881397"/>
                    <a:gd name="connsiteX411" fmla="*/ 793258 w 935730"/>
                    <a:gd name="connsiteY411" fmla="*/ 456999 h 881397"/>
                    <a:gd name="connsiteX412" fmla="*/ 805936 w 935730"/>
                    <a:gd name="connsiteY412" fmla="*/ 449151 h 881397"/>
                    <a:gd name="connsiteX413" fmla="*/ 812576 w 935730"/>
                    <a:gd name="connsiteY413" fmla="*/ 450358 h 881397"/>
                    <a:gd name="connsiteX414" fmla="*/ 825254 w 935730"/>
                    <a:gd name="connsiteY414" fmla="*/ 458206 h 881397"/>
                    <a:gd name="connsiteX415" fmla="*/ 837932 w 935730"/>
                    <a:gd name="connsiteY415" fmla="*/ 457602 h 881397"/>
                    <a:gd name="connsiteX416" fmla="*/ 852421 w 935730"/>
                    <a:gd name="connsiteY416" fmla="*/ 459413 h 881397"/>
                    <a:gd name="connsiteX417" fmla="*/ 857250 w 935730"/>
                    <a:gd name="connsiteY417" fmla="*/ 459413 h 881397"/>
                    <a:gd name="connsiteX418" fmla="*/ 860872 w 935730"/>
                    <a:gd name="connsiteY418" fmla="*/ 455791 h 881397"/>
                    <a:gd name="connsiteX419" fmla="*/ 863287 w 935730"/>
                    <a:gd name="connsiteY419" fmla="*/ 456999 h 881397"/>
                    <a:gd name="connsiteX420" fmla="*/ 869928 w 935730"/>
                    <a:gd name="connsiteY420" fmla="*/ 455791 h 881397"/>
                    <a:gd name="connsiteX421" fmla="*/ 872342 w 935730"/>
                    <a:gd name="connsiteY421" fmla="*/ 460017 h 881397"/>
                    <a:gd name="connsiteX422" fmla="*/ 886831 w 935730"/>
                    <a:gd name="connsiteY422" fmla="*/ 456999 h 881397"/>
                    <a:gd name="connsiteX423" fmla="*/ 891661 w 935730"/>
                    <a:gd name="connsiteY423" fmla="*/ 454584 h 881397"/>
                    <a:gd name="connsiteX424" fmla="*/ 898905 w 935730"/>
                    <a:gd name="connsiteY424" fmla="*/ 456999 h 881397"/>
                    <a:gd name="connsiteX425" fmla="*/ 905546 w 935730"/>
                    <a:gd name="connsiteY425" fmla="*/ 452169 h 881397"/>
                    <a:gd name="connsiteX426" fmla="*/ 906150 w 935730"/>
                    <a:gd name="connsiteY426" fmla="*/ 448547 h 881397"/>
                    <a:gd name="connsiteX427" fmla="*/ 909772 w 935730"/>
                    <a:gd name="connsiteY427" fmla="*/ 443717 h 881397"/>
                    <a:gd name="connsiteX428" fmla="*/ 914601 w 935730"/>
                    <a:gd name="connsiteY428" fmla="*/ 441906 h 881397"/>
                    <a:gd name="connsiteX429" fmla="*/ 917620 w 935730"/>
                    <a:gd name="connsiteY429" fmla="*/ 447339 h 881397"/>
                    <a:gd name="connsiteX430" fmla="*/ 929090 w 935730"/>
                    <a:gd name="connsiteY430" fmla="*/ 440095 h 881397"/>
                    <a:gd name="connsiteX431" fmla="*/ 933920 w 935730"/>
                    <a:gd name="connsiteY431" fmla="*/ 445528 h 881397"/>
                    <a:gd name="connsiteX432" fmla="*/ 936938 w 935730"/>
                    <a:gd name="connsiteY432" fmla="*/ 450962 h 881397"/>
                    <a:gd name="connsiteX433" fmla="*/ 933920 w 935730"/>
                    <a:gd name="connsiteY433" fmla="*/ 453376 h 881397"/>
                    <a:gd name="connsiteX434" fmla="*/ 930297 w 935730"/>
                    <a:gd name="connsiteY434" fmla="*/ 453980 h 881397"/>
                    <a:gd name="connsiteX435" fmla="*/ 927883 w 935730"/>
                    <a:gd name="connsiteY435" fmla="*/ 456395 h 881397"/>
                    <a:gd name="connsiteX436" fmla="*/ 923053 w 935730"/>
                    <a:gd name="connsiteY436" fmla="*/ 456395 h 881397"/>
                    <a:gd name="connsiteX437" fmla="*/ 918224 w 935730"/>
                    <a:gd name="connsiteY437" fmla="*/ 460621 h 881397"/>
                    <a:gd name="connsiteX438" fmla="*/ 917016 w 935730"/>
                    <a:gd name="connsiteY438" fmla="*/ 463639 h 881397"/>
                    <a:gd name="connsiteX439" fmla="*/ 912187 w 935730"/>
                    <a:gd name="connsiteY439" fmla="*/ 467865 h 881397"/>
                    <a:gd name="connsiteX440" fmla="*/ 901320 w 935730"/>
                    <a:gd name="connsiteY440" fmla="*/ 468469 h 881397"/>
                    <a:gd name="connsiteX441" fmla="*/ 898301 w 935730"/>
                    <a:gd name="connsiteY441" fmla="*/ 472695 h 881397"/>
                    <a:gd name="connsiteX442" fmla="*/ 892868 w 935730"/>
                    <a:gd name="connsiteY442" fmla="*/ 475713 h 881397"/>
                    <a:gd name="connsiteX443" fmla="*/ 891057 w 935730"/>
                    <a:gd name="connsiteY443" fmla="*/ 478128 h 881397"/>
                    <a:gd name="connsiteX444" fmla="*/ 890453 w 935730"/>
                    <a:gd name="connsiteY444" fmla="*/ 484769 h 881397"/>
                    <a:gd name="connsiteX445" fmla="*/ 886831 w 935730"/>
                    <a:gd name="connsiteY445" fmla="*/ 489598 h 881397"/>
                    <a:gd name="connsiteX446" fmla="*/ 883209 w 935730"/>
                    <a:gd name="connsiteY446" fmla="*/ 497447 h 881397"/>
                    <a:gd name="connsiteX447" fmla="*/ 878379 w 935730"/>
                    <a:gd name="connsiteY447" fmla="*/ 501672 h 881397"/>
                    <a:gd name="connsiteX448" fmla="*/ 876568 w 935730"/>
                    <a:gd name="connsiteY448" fmla="*/ 505898 h 881397"/>
                    <a:gd name="connsiteX449" fmla="*/ 880794 w 935730"/>
                    <a:gd name="connsiteY449" fmla="*/ 509521 h 881397"/>
                    <a:gd name="connsiteX450" fmla="*/ 876568 w 935730"/>
                    <a:gd name="connsiteY450" fmla="*/ 516765 h 881397"/>
                    <a:gd name="connsiteX451" fmla="*/ 874757 w 935730"/>
                    <a:gd name="connsiteY451" fmla="*/ 536687 h 881397"/>
                    <a:gd name="connsiteX452" fmla="*/ 863891 w 935730"/>
                    <a:gd name="connsiteY452" fmla="*/ 551175 h 881397"/>
                    <a:gd name="connsiteX453" fmla="*/ 858458 w 935730"/>
                    <a:gd name="connsiteY453" fmla="*/ 555401 h 881397"/>
                    <a:gd name="connsiteX454" fmla="*/ 852421 w 935730"/>
                    <a:gd name="connsiteY454" fmla="*/ 556609 h 881397"/>
                    <a:gd name="connsiteX455" fmla="*/ 845176 w 935730"/>
                    <a:gd name="connsiteY455" fmla="*/ 553590 h 881397"/>
                    <a:gd name="connsiteX456" fmla="*/ 843365 w 935730"/>
                    <a:gd name="connsiteY456" fmla="*/ 549968 h 881397"/>
                    <a:gd name="connsiteX457" fmla="*/ 839139 w 935730"/>
                    <a:gd name="connsiteY457" fmla="*/ 549364 h 881397"/>
                    <a:gd name="connsiteX458" fmla="*/ 832498 w 935730"/>
                    <a:gd name="connsiteY458" fmla="*/ 560835 h 881397"/>
                    <a:gd name="connsiteX459" fmla="*/ 828273 w 935730"/>
                    <a:gd name="connsiteY459" fmla="*/ 564457 h 881397"/>
                    <a:gd name="connsiteX460" fmla="*/ 818010 w 935730"/>
                    <a:gd name="connsiteY460" fmla="*/ 563853 h 881397"/>
                    <a:gd name="connsiteX461" fmla="*/ 811973 w 935730"/>
                    <a:gd name="connsiteY461" fmla="*/ 562646 h 881397"/>
                    <a:gd name="connsiteX462" fmla="*/ 808351 w 935730"/>
                    <a:gd name="connsiteY462" fmla="*/ 567475 h 881397"/>
                    <a:gd name="connsiteX463" fmla="*/ 808351 w 935730"/>
                    <a:gd name="connsiteY463" fmla="*/ 575927 h 881397"/>
                    <a:gd name="connsiteX464" fmla="*/ 810162 w 935730"/>
                    <a:gd name="connsiteY464" fmla="*/ 578342 h 881397"/>
                    <a:gd name="connsiteX465" fmla="*/ 806540 w 935730"/>
                    <a:gd name="connsiteY465" fmla="*/ 583171 h 881397"/>
                    <a:gd name="connsiteX466" fmla="*/ 802917 w 935730"/>
                    <a:gd name="connsiteY466" fmla="*/ 583171 h 881397"/>
                    <a:gd name="connsiteX467" fmla="*/ 790240 w 935730"/>
                    <a:gd name="connsiteY467" fmla="*/ 587397 h 881397"/>
                    <a:gd name="connsiteX468" fmla="*/ 786014 w 935730"/>
                    <a:gd name="connsiteY468" fmla="*/ 589208 h 881397"/>
                    <a:gd name="connsiteX469" fmla="*/ 781788 w 935730"/>
                    <a:gd name="connsiteY469" fmla="*/ 589208 h 881397"/>
                    <a:gd name="connsiteX470" fmla="*/ 778166 w 935730"/>
                    <a:gd name="connsiteY470" fmla="*/ 593434 h 881397"/>
                    <a:gd name="connsiteX471" fmla="*/ 769714 w 935730"/>
                    <a:gd name="connsiteY471" fmla="*/ 594642 h 881397"/>
                    <a:gd name="connsiteX472" fmla="*/ 763677 w 935730"/>
                    <a:gd name="connsiteY472" fmla="*/ 592831 h 881397"/>
                    <a:gd name="connsiteX473" fmla="*/ 758847 w 935730"/>
                    <a:gd name="connsiteY473" fmla="*/ 589208 h 881397"/>
                    <a:gd name="connsiteX474" fmla="*/ 753414 w 935730"/>
                    <a:gd name="connsiteY474" fmla="*/ 589812 h 881397"/>
                    <a:gd name="connsiteX475" fmla="*/ 755225 w 935730"/>
                    <a:gd name="connsiteY475" fmla="*/ 597057 h 881397"/>
                    <a:gd name="connsiteX476" fmla="*/ 755225 w 935730"/>
                    <a:gd name="connsiteY476" fmla="*/ 601886 h 881397"/>
                    <a:gd name="connsiteX477" fmla="*/ 749792 w 935730"/>
                    <a:gd name="connsiteY477" fmla="*/ 603094 h 881397"/>
                    <a:gd name="connsiteX478" fmla="*/ 746170 w 935730"/>
                    <a:gd name="connsiteY478" fmla="*/ 601886 h 881397"/>
                    <a:gd name="connsiteX479" fmla="*/ 745566 w 935730"/>
                    <a:gd name="connsiteY479" fmla="*/ 606716 h 881397"/>
                    <a:gd name="connsiteX480" fmla="*/ 743151 w 935730"/>
                    <a:gd name="connsiteY480" fmla="*/ 609131 h 881397"/>
                    <a:gd name="connsiteX481" fmla="*/ 744962 w 935730"/>
                    <a:gd name="connsiteY481" fmla="*/ 612753 h 881397"/>
                    <a:gd name="connsiteX482" fmla="*/ 743151 w 935730"/>
                    <a:gd name="connsiteY482" fmla="*/ 618790 h 881397"/>
                    <a:gd name="connsiteX483" fmla="*/ 743755 w 935730"/>
                    <a:gd name="connsiteY483" fmla="*/ 622412 h 881397"/>
                    <a:gd name="connsiteX484" fmla="*/ 738322 w 935730"/>
                    <a:gd name="connsiteY484" fmla="*/ 627845 h 881397"/>
                    <a:gd name="connsiteX485" fmla="*/ 736511 w 935730"/>
                    <a:gd name="connsiteY485" fmla="*/ 625430 h 881397"/>
                    <a:gd name="connsiteX486" fmla="*/ 720814 w 935730"/>
                    <a:gd name="connsiteY486" fmla="*/ 621808 h 881397"/>
                    <a:gd name="connsiteX487" fmla="*/ 716589 w 935730"/>
                    <a:gd name="connsiteY487" fmla="*/ 619393 h 881397"/>
                    <a:gd name="connsiteX488" fmla="*/ 707533 w 935730"/>
                    <a:gd name="connsiteY488" fmla="*/ 618790 h 881397"/>
                    <a:gd name="connsiteX489" fmla="*/ 700893 w 935730"/>
                    <a:gd name="connsiteY489" fmla="*/ 621808 h 881397"/>
                    <a:gd name="connsiteX490" fmla="*/ 698478 w 935730"/>
                    <a:gd name="connsiteY490" fmla="*/ 618186 h 881397"/>
                    <a:gd name="connsiteX491" fmla="*/ 702100 w 935730"/>
                    <a:gd name="connsiteY491" fmla="*/ 615168 h 881397"/>
                    <a:gd name="connsiteX492" fmla="*/ 696667 w 935730"/>
                    <a:gd name="connsiteY492" fmla="*/ 609734 h 881397"/>
                    <a:gd name="connsiteX493" fmla="*/ 689422 w 935730"/>
                    <a:gd name="connsiteY493" fmla="*/ 607319 h 881397"/>
                    <a:gd name="connsiteX494" fmla="*/ 682178 w 935730"/>
                    <a:gd name="connsiteY494" fmla="*/ 603697 h 881397"/>
                    <a:gd name="connsiteX495" fmla="*/ 679763 w 935730"/>
                    <a:gd name="connsiteY495" fmla="*/ 606716 h 881397"/>
                    <a:gd name="connsiteX496" fmla="*/ 668896 w 935730"/>
                    <a:gd name="connsiteY496" fmla="*/ 611545 h 881397"/>
                    <a:gd name="connsiteX497" fmla="*/ 667085 w 935730"/>
                    <a:gd name="connsiteY497" fmla="*/ 615771 h 881397"/>
                    <a:gd name="connsiteX498" fmla="*/ 666482 w 935730"/>
                    <a:gd name="connsiteY498" fmla="*/ 621205 h 881397"/>
                    <a:gd name="connsiteX499" fmla="*/ 664067 w 935730"/>
                    <a:gd name="connsiteY499" fmla="*/ 625430 h 881397"/>
                    <a:gd name="connsiteX500" fmla="*/ 659841 w 935730"/>
                    <a:gd name="connsiteY500" fmla="*/ 625430 h 881397"/>
                    <a:gd name="connsiteX501" fmla="*/ 658634 w 935730"/>
                    <a:gd name="connsiteY501" fmla="*/ 629656 h 881397"/>
                    <a:gd name="connsiteX502" fmla="*/ 653200 w 935730"/>
                    <a:gd name="connsiteY502" fmla="*/ 627845 h 881397"/>
                    <a:gd name="connsiteX503" fmla="*/ 649578 w 935730"/>
                    <a:gd name="connsiteY503" fmla="*/ 621808 h 881397"/>
                    <a:gd name="connsiteX504" fmla="*/ 648371 w 935730"/>
                    <a:gd name="connsiteY504" fmla="*/ 616979 h 881397"/>
                    <a:gd name="connsiteX505" fmla="*/ 642334 w 935730"/>
                    <a:gd name="connsiteY505" fmla="*/ 621205 h 881397"/>
                    <a:gd name="connsiteX506" fmla="*/ 647164 w 935730"/>
                    <a:gd name="connsiteY506" fmla="*/ 630260 h 881397"/>
                    <a:gd name="connsiteX507" fmla="*/ 643541 w 935730"/>
                    <a:gd name="connsiteY507" fmla="*/ 634486 h 881397"/>
                    <a:gd name="connsiteX508" fmla="*/ 641127 w 935730"/>
                    <a:gd name="connsiteY508" fmla="*/ 639919 h 881397"/>
                    <a:gd name="connsiteX509" fmla="*/ 658030 w 935730"/>
                    <a:gd name="connsiteY509" fmla="*/ 645352 h 881397"/>
                    <a:gd name="connsiteX510" fmla="*/ 665274 w 935730"/>
                    <a:gd name="connsiteY510" fmla="*/ 650182 h 881397"/>
                    <a:gd name="connsiteX511" fmla="*/ 668293 w 935730"/>
                    <a:gd name="connsiteY511" fmla="*/ 644749 h 881397"/>
                    <a:gd name="connsiteX512" fmla="*/ 674330 w 935730"/>
                    <a:gd name="connsiteY512" fmla="*/ 647163 h 881397"/>
                    <a:gd name="connsiteX513" fmla="*/ 676141 w 935730"/>
                    <a:gd name="connsiteY513" fmla="*/ 644145 h 881397"/>
                    <a:gd name="connsiteX514" fmla="*/ 683989 w 935730"/>
                    <a:gd name="connsiteY514" fmla="*/ 648975 h 881397"/>
                    <a:gd name="connsiteX515" fmla="*/ 687007 w 935730"/>
                    <a:gd name="connsiteY515" fmla="*/ 648975 h 881397"/>
                    <a:gd name="connsiteX516" fmla="*/ 687611 w 935730"/>
                    <a:gd name="connsiteY516" fmla="*/ 660445 h 881397"/>
                    <a:gd name="connsiteX517" fmla="*/ 683385 w 935730"/>
                    <a:gd name="connsiteY517" fmla="*/ 661652 h 881397"/>
                    <a:gd name="connsiteX518" fmla="*/ 682782 w 935730"/>
                    <a:gd name="connsiteY518" fmla="*/ 668896 h 881397"/>
                    <a:gd name="connsiteX519" fmla="*/ 680970 w 935730"/>
                    <a:gd name="connsiteY519" fmla="*/ 671311 h 881397"/>
                    <a:gd name="connsiteX520" fmla="*/ 687611 w 935730"/>
                    <a:gd name="connsiteY520" fmla="*/ 674933 h 881397"/>
                    <a:gd name="connsiteX521" fmla="*/ 690026 w 935730"/>
                    <a:gd name="connsiteY521" fmla="*/ 679763 h 881397"/>
                    <a:gd name="connsiteX522" fmla="*/ 682782 w 935730"/>
                    <a:gd name="connsiteY522" fmla="*/ 684593 h 881397"/>
                    <a:gd name="connsiteX523" fmla="*/ 667689 w 935730"/>
                    <a:gd name="connsiteY523" fmla="*/ 681574 h 881397"/>
                    <a:gd name="connsiteX524" fmla="*/ 661048 w 935730"/>
                    <a:gd name="connsiteY524" fmla="*/ 678556 h 881397"/>
                    <a:gd name="connsiteX525" fmla="*/ 659841 w 935730"/>
                    <a:gd name="connsiteY525" fmla="*/ 673122 h 881397"/>
                    <a:gd name="connsiteX526" fmla="*/ 653804 w 935730"/>
                    <a:gd name="connsiteY526" fmla="*/ 670104 h 881397"/>
                    <a:gd name="connsiteX527" fmla="*/ 653200 w 935730"/>
                    <a:gd name="connsiteY527" fmla="*/ 667085 h 881397"/>
                    <a:gd name="connsiteX528" fmla="*/ 643541 w 935730"/>
                    <a:gd name="connsiteY528" fmla="*/ 674330 h 881397"/>
                    <a:gd name="connsiteX529" fmla="*/ 640523 w 935730"/>
                    <a:gd name="connsiteY529" fmla="*/ 664670 h 881397"/>
                    <a:gd name="connsiteX530" fmla="*/ 635693 w 935730"/>
                    <a:gd name="connsiteY530" fmla="*/ 664670 h 881397"/>
                    <a:gd name="connsiteX531" fmla="*/ 632675 w 935730"/>
                    <a:gd name="connsiteY531" fmla="*/ 661048 h 881397"/>
                    <a:gd name="connsiteX532" fmla="*/ 631467 w 935730"/>
                    <a:gd name="connsiteY532" fmla="*/ 652597 h 881397"/>
                    <a:gd name="connsiteX533" fmla="*/ 629053 w 935730"/>
                    <a:gd name="connsiteY533" fmla="*/ 642938 h 881397"/>
                    <a:gd name="connsiteX534" fmla="*/ 620601 w 935730"/>
                    <a:gd name="connsiteY534" fmla="*/ 630864 h 881397"/>
                    <a:gd name="connsiteX535" fmla="*/ 616375 w 935730"/>
                    <a:gd name="connsiteY535" fmla="*/ 632675 h 881397"/>
                    <a:gd name="connsiteX536" fmla="*/ 611545 w 935730"/>
                    <a:gd name="connsiteY536" fmla="*/ 629053 h 881397"/>
                    <a:gd name="connsiteX537" fmla="*/ 607319 w 935730"/>
                    <a:gd name="connsiteY537" fmla="*/ 629656 h 881397"/>
                    <a:gd name="connsiteX538" fmla="*/ 606716 w 935730"/>
                    <a:gd name="connsiteY538" fmla="*/ 624223 h 881397"/>
                    <a:gd name="connsiteX539" fmla="*/ 604301 w 935730"/>
                    <a:gd name="connsiteY539" fmla="*/ 623619 h 881397"/>
                    <a:gd name="connsiteX540" fmla="*/ 601282 w 935730"/>
                    <a:gd name="connsiteY540" fmla="*/ 628449 h 881397"/>
                    <a:gd name="connsiteX541" fmla="*/ 595849 w 935730"/>
                    <a:gd name="connsiteY541" fmla="*/ 633279 h 881397"/>
                    <a:gd name="connsiteX542" fmla="*/ 594642 w 935730"/>
                    <a:gd name="connsiteY542" fmla="*/ 636297 h 881397"/>
                    <a:gd name="connsiteX543" fmla="*/ 588605 w 935730"/>
                    <a:gd name="connsiteY543" fmla="*/ 637504 h 881397"/>
                    <a:gd name="connsiteX544" fmla="*/ 584983 w 935730"/>
                    <a:gd name="connsiteY544" fmla="*/ 636297 h 881397"/>
                    <a:gd name="connsiteX545" fmla="*/ 584379 w 935730"/>
                    <a:gd name="connsiteY545" fmla="*/ 641127 h 881397"/>
                    <a:gd name="connsiteX546" fmla="*/ 575927 w 935730"/>
                    <a:gd name="connsiteY546" fmla="*/ 641127 h 881397"/>
                    <a:gd name="connsiteX547" fmla="*/ 574116 w 935730"/>
                    <a:gd name="connsiteY547" fmla="*/ 647163 h 881397"/>
                    <a:gd name="connsiteX548" fmla="*/ 568683 w 935730"/>
                    <a:gd name="connsiteY548" fmla="*/ 653200 h 881397"/>
                    <a:gd name="connsiteX549" fmla="*/ 565061 w 935730"/>
                    <a:gd name="connsiteY549" fmla="*/ 662859 h 881397"/>
                    <a:gd name="connsiteX550" fmla="*/ 569890 w 935730"/>
                    <a:gd name="connsiteY550" fmla="*/ 665274 h 881397"/>
                    <a:gd name="connsiteX551" fmla="*/ 573512 w 935730"/>
                    <a:gd name="connsiteY551" fmla="*/ 665274 h 881397"/>
                    <a:gd name="connsiteX552" fmla="*/ 575323 w 935730"/>
                    <a:gd name="connsiteY552" fmla="*/ 670707 h 881397"/>
                    <a:gd name="connsiteX553" fmla="*/ 581360 w 935730"/>
                    <a:gd name="connsiteY553" fmla="*/ 673726 h 881397"/>
                    <a:gd name="connsiteX554" fmla="*/ 577135 w 935730"/>
                    <a:gd name="connsiteY554" fmla="*/ 682781 h 881397"/>
                    <a:gd name="connsiteX555" fmla="*/ 576531 w 935730"/>
                    <a:gd name="connsiteY555" fmla="*/ 688215 h 881397"/>
                    <a:gd name="connsiteX556" fmla="*/ 570494 w 935730"/>
                    <a:gd name="connsiteY556" fmla="*/ 695459 h 881397"/>
                    <a:gd name="connsiteX557" fmla="*/ 565061 w 935730"/>
                    <a:gd name="connsiteY557" fmla="*/ 699685 h 881397"/>
                    <a:gd name="connsiteX558" fmla="*/ 561438 w 935730"/>
                    <a:gd name="connsiteY558" fmla="*/ 706929 h 881397"/>
                    <a:gd name="connsiteX559" fmla="*/ 554798 w 935730"/>
                    <a:gd name="connsiteY559" fmla="*/ 712363 h 881397"/>
                    <a:gd name="connsiteX560" fmla="*/ 551176 w 935730"/>
                    <a:gd name="connsiteY560" fmla="*/ 712966 h 881397"/>
                    <a:gd name="connsiteX561" fmla="*/ 544535 w 935730"/>
                    <a:gd name="connsiteY561" fmla="*/ 708741 h 881397"/>
                    <a:gd name="connsiteX562" fmla="*/ 540913 w 935730"/>
                    <a:gd name="connsiteY562" fmla="*/ 700289 h 881397"/>
                    <a:gd name="connsiteX563" fmla="*/ 538498 w 935730"/>
                    <a:gd name="connsiteY563" fmla="*/ 698478 h 881397"/>
                    <a:gd name="connsiteX564" fmla="*/ 527631 w 935730"/>
                    <a:gd name="connsiteY564" fmla="*/ 700289 h 881397"/>
                    <a:gd name="connsiteX565" fmla="*/ 520387 w 935730"/>
                    <a:gd name="connsiteY565" fmla="*/ 691837 h 881397"/>
                    <a:gd name="connsiteX566" fmla="*/ 515557 w 935730"/>
                    <a:gd name="connsiteY566" fmla="*/ 693648 h 881397"/>
                    <a:gd name="connsiteX567" fmla="*/ 509520 w 935730"/>
                    <a:gd name="connsiteY567" fmla="*/ 699685 h 881397"/>
                    <a:gd name="connsiteX568" fmla="*/ 501672 w 935730"/>
                    <a:gd name="connsiteY568" fmla="*/ 700289 h 881397"/>
                    <a:gd name="connsiteX569" fmla="*/ 495635 w 935730"/>
                    <a:gd name="connsiteY569" fmla="*/ 703307 h 881397"/>
                    <a:gd name="connsiteX570" fmla="*/ 494428 w 935730"/>
                    <a:gd name="connsiteY570" fmla="*/ 706326 h 881397"/>
                    <a:gd name="connsiteX571" fmla="*/ 484165 w 935730"/>
                    <a:gd name="connsiteY571" fmla="*/ 705722 h 881397"/>
                    <a:gd name="connsiteX572" fmla="*/ 478732 w 935730"/>
                    <a:gd name="connsiteY572" fmla="*/ 709948 h 881397"/>
                    <a:gd name="connsiteX573" fmla="*/ 471488 w 935730"/>
                    <a:gd name="connsiteY573" fmla="*/ 712966 h 881397"/>
                    <a:gd name="connsiteX574" fmla="*/ 463036 w 935730"/>
                    <a:gd name="connsiteY574" fmla="*/ 712966 h 881397"/>
                    <a:gd name="connsiteX575" fmla="*/ 453377 w 935730"/>
                    <a:gd name="connsiteY575" fmla="*/ 717796 h 881397"/>
                    <a:gd name="connsiteX576" fmla="*/ 448547 w 935730"/>
                    <a:gd name="connsiteY576" fmla="*/ 723229 h 881397"/>
                    <a:gd name="connsiteX577" fmla="*/ 431644 w 935730"/>
                    <a:gd name="connsiteY577" fmla="*/ 723833 h 881397"/>
                    <a:gd name="connsiteX578" fmla="*/ 426814 w 935730"/>
                    <a:gd name="connsiteY578" fmla="*/ 725040 h 881397"/>
                    <a:gd name="connsiteX579" fmla="*/ 415344 w 935730"/>
                    <a:gd name="connsiteY579" fmla="*/ 728059 h 881397"/>
                    <a:gd name="connsiteX580" fmla="*/ 414136 w 935730"/>
                    <a:gd name="connsiteY580" fmla="*/ 731077 h 881397"/>
                    <a:gd name="connsiteX581" fmla="*/ 408099 w 935730"/>
                    <a:gd name="connsiteY581" fmla="*/ 737114 h 881397"/>
                    <a:gd name="connsiteX582" fmla="*/ 406892 w 935730"/>
                    <a:gd name="connsiteY582" fmla="*/ 742548 h 881397"/>
                    <a:gd name="connsiteX583" fmla="*/ 409307 w 935730"/>
                    <a:gd name="connsiteY583" fmla="*/ 749792 h 881397"/>
                    <a:gd name="connsiteX584" fmla="*/ 405685 w 935730"/>
                    <a:gd name="connsiteY584" fmla="*/ 754622 h 881397"/>
                    <a:gd name="connsiteX585" fmla="*/ 404477 w 935730"/>
                    <a:gd name="connsiteY585" fmla="*/ 770317 h 881397"/>
                    <a:gd name="connsiteX586" fmla="*/ 407496 w 935730"/>
                    <a:gd name="connsiteY586" fmla="*/ 776354 h 881397"/>
                    <a:gd name="connsiteX587" fmla="*/ 408099 w 935730"/>
                    <a:gd name="connsiteY587" fmla="*/ 784203 h 881397"/>
                    <a:gd name="connsiteX588" fmla="*/ 406892 w 935730"/>
                    <a:gd name="connsiteY588" fmla="*/ 794465 h 881397"/>
                    <a:gd name="connsiteX589" fmla="*/ 403270 w 935730"/>
                    <a:gd name="connsiteY589" fmla="*/ 798691 h 881397"/>
                    <a:gd name="connsiteX590" fmla="*/ 397233 w 935730"/>
                    <a:gd name="connsiteY590" fmla="*/ 801710 h 881397"/>
                    <a:gd name="connsiteX591" fmla="*/ 385762 w 935730"/>
                    <a:gd name="connsiteY591" fmla="*/ 797484 h 881397"/>
                    <a:gd name="connsiteX592" fmla="*/ 374896 w 935730"/>
                    <a:gd name="connsiteY592" fmla="*/ 797484 h 881397"/>
                    <a:gd name="connsiteX593" fmla="*/ 364633 w 935730"/>
                    <a:gd name="connsiteY593" fmla="*/ 796277 h 881397"/>
                    <a:gd name="connsiteX594" fmla="*/ 359200 w 935730"/>
                    <a:gd name="connsiteY594" fmla="*/ 799295 h 881397"/>
                    <a:gd name="connsiteX595" fmla="*/ 351955 w 935730"/>
                    <a:gd name="connsiteY595" fmla="*/ 801710 h 881397"/>
                    <a:gd name="connsiteX596" fmla="*/ 341693 w 935730"/>
                    <a:gd name="connsiteY596" fmla="*/ 807143 h 881397"/>
                    <a:gd name="connsiteX597" fmla="*/ 341089 w 935730"/>
                    <a:gd name="connsiteY597" fmla="*/ 813180 h 881397"/>
                    <a:gd name="connsiteX598" fmla="*/ 344711 w 935730"/>
                    <a:gd name="connsiteY598" fmla="*/ 822236 h 881397"/>
                    <a:gd name="connsiteX599" fmla="*/ 340485 w 935730"/>
                    <a:gd name="connsiteY599" fmla="*/ 827669 h 881397"/>
                    <a:gd name="connsiteX600" fmla="*/ 334448 w 935730"/>
                    <a:gd name="connsiteY600" fmla="*/ 824650 h 881397"/>
                    <a:gd name="connsiteX601" fmla="*/ 333241 w 935730"/>
                    <a:gd name="connsiteY601" fmla="*/ 817406 h 881397"/>
                    <a:gd name="connsiteX602" fmla="*/ 330826 w 935730"/>
                    <a:gd name="connsiteY602" fmla="*/ 814388 h 881397"/>
                    <a:gd name="connsiteX603" fmla="*/ 325997 w 935730"/>
                    <a:gd name="connsiteY603" fmla="*/ 815595 h 881397"/>
                    <a:gd name="connsiteX604" fmla="*/ 326600 w 935730"/>
                    <a:gd name="connsiteY604" fmla="*/ 829480 h 881397"/>
                    <a:gd name="connsiteX605" fmla="*/ 321167 w 935730"/>
                    <a:gd name="connsiteY605" fmla="*/ 838536 h 881397"/>
                    <a:gd name="connsiteX606" fmla="*/ 313923 w 935730"/>
                    <a:gd name="connsiteY606" fmla="*/ 843365 h 881397"/>
                    <a:gd name="connsiteX607" fmla="*/ 306678 w 935730"/>
                    <a:gd name="connsiteY607" fmla="*/ 843969 h 881397"/>
                    <a:gd name="connsiteX608" fmla="*/ 301849 w 935730"/>
                    <a:gd name="connsiteY608" fmla="*/ 842761 h 881397"/>
                    <a:gd name="connsiteX609" fmla="*/ 295812 w 935730"/>
                    <a:gd name="connsiteY609" fmla="*/ 839743 h 881397"/>
                    <a:gd name="connsiteX610" fmla="*/ 285549 w 935730"/>
                    <a:gd name="connsiteY610" fmla="*/ 828876 h 881397"/>
                    <a:gd name="connsiteX611" fmla="*/ 278908 w 935730"/>
                    <a:gd name="connsiteY611" fmla="*/ 827669 h 881397"/>
                    <a:gd name="connsiteX612" fmla="*/ 269853 w 935730"/>
                    <a:gd name="connsiteY612" fmla="*/ 836121 h 881397"/>
                    <a:gd name="connsiteX613" fmla="*/ 256571 w 935730"/>
                    <a:gd name="connsiteY613" fmla="*/ 832499 h 881397"/>
                    <a:gd name="connsiteX614" fmla="*/ 247516 w 935730"/>
                    <a:gd name="connsiteY614" fmla="*/ 831291 h 881397"/>
                    <a:gd name="connsiteX615" fmla="*/ 237857 w 935730"/>
                    <a:gd name="connsiteY615" fmla="*/ 831291 h 881397"/>
                    <a:gd name="connsiteX616" fmla="*/ 230612 w 935730"/>
                    <a:gd name="connsiteY616" fmla="*/ 835517 h 881397"/>
                    <a:gd name="connsiteX617" fmla="*/ 224575 w 935730"/>
                    <a:gd name="connsiteY617" fmla="*/ 837328 h 881397"/>
                    <a:gd name="connsiteX618" fmla="*/ 219746 w 935730"/>
                    <a:gd name="connsiteY618" fmla="*/ 842158 h 881397"/>
                    <a:gd name="connsiteX619" fmla="*/ 209483 w 935730"/>
                    <a:gd name="connsiteY619" fmla="*/ 840950 h 881397"/>
                    <a:gd name="connsiteX620" fmla="*/ 206465 w 935730"/>
                    <a:gd name="connsiteY620" fmla="*/ 842761 h 881397"/>
                    <a:gd name="connsiteX621" fmla="*/ 208276 w 935730"/>
                    <a:gd name="connsiteY621" fmla="*/ 849402 h 881397"/>
                    <a:gd name="connsiteX622" fmla="*/ 205861 w 935730"/>
                    <a:gd name="connsiteY622" fmla="*/ 855439 h 881397"/>
                    <a:gd name="connsiteX623" fmla="*/ 204653 w 935730"/>
                    <a:gd name="connsiteY623" fmla="*/ 862080 h 881397"/>
                    <a:gd name="connsiteX624" fmla="*/ 201635 w 935730"/>
                    <a:gd name="connsiteY624" fmla="*/ 865098 h 881397"/>
                    <a:gd name="connsiteX625" fmla="*/ 196805 w 935730"/>
                    <a:gd name="connsiteY625" fmla="*/ 866305 h 881397"/>
                    <a:gd name="connsiteX626" fmla="*/ 191372 w 935730"/>
                    <a:gd name="connsiteY626" fmla="*/ 869928 h 881397"/>
                    <a:gd name="connsiteX627" fmla="*/ 191976 w 935730"/>
                    <a:gd name="connsiteY627" fmla="*/ 872342 h 881397"/>
                    <a:gd name="connsiteX628" fmla="*/ 188354 w 935730"/>
                    <a:gd name="connsiteY628" fmla="*/ 880794 h 881397"/>
                    <a:gd name="connsiteX629" fmla="*/ 180505 w 935730"/>
                    <a:gd name="connsiteY629" fmla="*/ 880794 h 881397"/>
                    <a:gd name="connsiteX630" fmla="*/ 180505 w 935730"/>
                    <a:gd name="connsiteY630" fmla="*/ 883813 h 881397"/>
                    <a:gd name="connsiteX631" fmla="*/ 175072 w 935730"/>
                    <a:gd name="connsiteY631" fmla="*/ 885624 h 881397"/>
                    <a:gd name="connsiteX632" fmla="*/ 167828 w 935730"/>
                    <a:gd name="connsiteY632" fmla="*/ 882001 h 881397"/>
                    <a:gd name="connsiteX633" fmla="*/ 162395 w 935730"/>
                    <a:gd name="connsiteY633" fmla="*/ 870531 h 881397"/>
                    <a:gd name="connsiteX634" fmla="*/ 158169 w 935730"/>
                    <a:gd name="connsiteY634" fmla="*/ 871135 h 881397"/>
                    <a:gd name="connsiteX635" fmla="*/ 154547 w 935730"/>
                    <a:gd name="connsiteY635" fmla="*/ 878379 h 881397"/>
                    <a:gd name="connsiteX636" fmla="*/ 149113 w 935730"/>
                    <a:gd name="connsiteY636" fmla="*/ 875361 h 881397"/>
                    <a:gd name="connsiteX637" fmla="*/ 139454 w 935730"/>
                    <a:gd name="connsiteY637" fmla="*/ 874757 h 881397"/>
                    <a:gd name="connsiteX638" fmla="*/ 131002 w 935730"/>
                    <a:gd name="connsiteY638" fmla="*/ 870531 h 881397"/>
                    <a:gd name="connsiteX639" fmla="*/ 126776 w 935730"/>
                    <a:gd name="connsiteY639" fmla="*/ 871739 h 881397"/>
                    <a:gd name="connsiteX640" fmla="*/ 124965 w 935730"/>
                    <a:gd name="connsiteY640" fmla="*/ 875361 h 881397"/>
                    <a:gd name="connsiteX641" fmla="*/ 120136 w 935730"/>
                    <a:gd name="connsiteY641" fmla="*/ 875361 h 881397"/>
                    <a:gd name="connsiteX642" fmla="*/ 112891 w 935730"/>
                    <a:gd name="connsiteY642" fmla="*/ 877172 h 881397"/>
                    <a:gd name="connsiteX643" fmla="*/ 95988 w 935730"/>
                    <a:gd name="connsiteY643" fmla="*/ 872946 h 881397"/>
                    <a:gd name="connsiteX644" fmla="*/ 89347 w 935730"/>
                    <a:gd name="connsiteY644" fmla="*/ 875361 h 881397"/>
                    <a:gd name="connsiteX645" fmla="*/ 80292 w 935730"/>
                    <a:gd name="connsiteY645" fmla="*/ 873550 h 881397"/>
                    <a:gd name="connsiteX646" fmla="*/ 73047 w 935730"/>
                    <a:gd name="connsiteY646" fmla="*/ 867513 h 881397"/>
                    <a:gd name="connsiteX647" fmla="*/ 69425 w 935730"/>
                    <a:gd name="connsiteY647" fmla="*/ 868117 h 881397"/>
                    <a:gd name="connsiteX648" fmla="*/ 53125 w 935730"/>
                    <a:gd name="connsiteY648" fmla="*/ 865702 h 88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Lst>
                  <a:rect l="l" t="t" r="r" b="b"/>
                  <a:pathLst>
                    <a:path w="935730" h="881397">
                      <a:moveTo>
                        <a:pt x="53125" y="865702"/>
                      </a:moveTo>
                      <a:lnTo>
                        <a:pt x="54333" y="856043"/>
                      </a:lnTo>
                      <a:lnTo>
                        <a:pt x="52522" y="854232"/>
                      </a:lnTo>
                      <a:lnTo>
                        <a:pt x="53125" y="848195"/>
                      </a:lnTo>
                      <a:lnTo>
                        <a:pt x="49503" y="842158"/>
                      </a:lnTo>
                      <a:lnTo>
                        <a:pt x="51918" y="832499"/>
                      </a:lnTo>
                      <a:lnTo>
                        <a:pt x="50711" y="827669"/>
                      </a:lnTo>
                      <a:lnTo>
                        <a:pt x="48296" y="823443"/>
                      </a:lnTo>
                      <a:lnTo>
                        <a:pt x="47692" y="814388"/>
                      </a:lnTo>
                      <a:lnTo>
                        <a:pt x="50107" y="808351"/>
                      </a:lnTo>
                      <a:lnTo>
                        <a:pt x="50107" y="802917"/>
                      </a:lnTo>
                      <a:lnTo>
                        <a:pt x="48900" y="795069"/>
                      </a:lnTo>
                      <a:lnTo>
                        <a:pt x="51314" y="790843"/>
                      </a:lnTo>
                      <a:lnTo>
                        <a:pt x="56144" y="790240"/>
                      </a:lnTo>
                      <a:lnTo>
                        <a:pt x="60370" y="786617"/>
                      </a:lnTo>
                      <a:lnTo>
                        <a:pt x="64596" y="784806"/>
                      </a:lnTo>
                      <a:lnTo>
                        <a:pt x="68218" y="787221"/>
                      </a:lnTo>
                      <a:lnTo>
                        <a:pt x="70029" y="781184"/>
                      </a:lnTo>
                      <a:lnTo>
                        <a:pt x="68821" y="778166"/>
                      </a:lnTo>
                      <a:lnTo>
                        <a:pt x="58559" y="772732"/>
                      </a:lnTo>
                      <a:lnTo>
                        <a:pt x="54936" y="769110"/>
                      </a:lnTo>
                      <a:lnTo>
                        <a:pt x="47692" y="767299"/>
                      </a:lnTo>
                      <a:lnTo>
                        <a:pt x="38637" y="767903"/>
                      </a:lnTo>
                      <a:lnTo>
                        <a:pt x="33203" y="770317"/>
                      </a:lnTo>
                      <a:lnTo>
                        <a:pt x="25355" y="766695"/>
                      </a:lnTo>
                      <a:lnTo>
                        <a:pt x="21129" y="767299"/>
                      </a:lnTo>
                      <a:lnTo>
                        <a:pt x="16903" y="764884"/>
                      </a:lnTo>
                      <a:lnTo>
                        <a:pt x="7244" y="761866"/>
                      </a:lnTo>
                      <a:lnTo>
                        <a:pt x="3018" y="755829"/>
                      </a:lnTo>
                      <a:lnTo>
                        <a:pt x="0" y="747981"/>
                      </a:lnTo>
                      <a:lnTo>
                        <a:pt x="8452" y="746774"/>
                      </a:lnTo>
                      <a:lnTo>
                        <a:pt x="9659" y="743151"/>
                      </a:lnTo>
                      <a:lnTo>
                        <a:pt x="15092" y="744963"/>
                      </a:lnTo>
                      <a:lnTo>
                        <a:pt x="23544" y="744359"/>
                      </a:lnTo>
                      <a:lnTo>
                        <a:pt x="24148" y="740737"/>
                      </a:lnTo>
                      <a:lnTo>
                        <a:pt x="26563" y="738322"/>
                      </a:lnTo>
                      <a:lnTo>
                        <a:pt x="33807" y="737114"/>
                      </a:lnTo>
                      <a:lnTo>
                        <a:pt x="33807" y="731681"/>
                      </a:lnTo>
                      <a:lnTo>
                        <a:pt x="30789" y="731077"/>
                      </a:lnTo>
                      <a:lnTo>
                        <a:pt x="28977" y="726852"/>
                      </a:lnTo>
                      <a:lnTo>
                        <a:pt x="35014" y="726852"/>
                      </a:lnTo>
                      <a:lnTo>
                        <a:pt x="38033" y="723833"/>
                      </a:lnTo>
                      <a:lnTo>
                        <a:pt x="42259" y="723833"/>
                      </a:lnTo>
                      <a:lnTo>
                        <a:pt x="41655" y="717796"/>
                      </a:lnTo>
                      <a:lnTo>
                        <a:pt x="45277" y="709948"/>
                      </a:lnTo>
                      <a:lnTo>
                        <a:pt x="43466" y="709344"/>
                      </a:lnTo>
                      <a:lnTo>
                        <a:pt x="37429" y="711155"/>
                      </a:lnTo>
                      <a:lnTo>
                        <a:pt x="34411" y="706326"/>
                      </a:lnTo>
                      <a:lnTo>
                        <a:pt x="44070" y="702704"/>
                      </a:lnTo>
                      <a:lnTo>
                        <a:pt x="44674" y="696063"/>
                      </a:lnTo>
                      <a:lnTo>
                        <a:pt x="35618" y="694855"/>
                      </a:lnTo>
                      <a:lnTo>
                        <a:pt x="38637" y="684593"/>
                      </a:lnTo>
                      <a:lnTo>
                        <a:pt x="38033" y="681574"/>
                      </a:lnTo>
                      <a:lnTo>
                        <a:pt x="44674" y="681574"/>
                      </a:lnTo>
                      <a:lnTo>
                        <a:pt x="45277" y="677348"/>
                      </a:lnTo>
                      <a:lnTo>
                        <a:pt x="42259" y="671311"/>
                      </a:lnTo>
                      <a:lnTo>
                        <a:pt x="43466" y="667085"/>
                      </a:lnTo>
                      <a:lnTo>
                        <a:pt x="41655" y="653200"/>
                      </a:lnTo>
                      <a:lnTo>
                        <a:pt x="44674" y="651389"/>
                      </a:lnTo>
                      <a:lnTo>
                        <a:pt x="44070" y="643541"/>
                      </a:lnTo>
                      <a:lnTo>
                        <a:pt x="47088" y="640523"/>
                      </a:lnTo>
                      <a:lnTo>
                        <a:pt x="47088" y="635693"/>
                      </a:lnTo>
                      <a:lnTo>
                        <a:pt x="51314" y="632071"/>
                      </a:lnTo>
                      <a:lnTo>
                        <a:pt x="50107" y="626034"/>
                      </a:lnTo>
                      <a:lnTo>
                        <a:pt x="47088" y="619997"/>
                      </a:lnTo>
                      <a:lnTo>
                        <a:pt x="46485" y="616979"/>
                      </a:lnTo>
                      <a:lnTo>
                        <a:pt x="42863" y="613356"/>
                      </a:lnTo>
                      <a:lnTo>
                        <a:pt x="43466" y="610942"/>
                      </a:lnTo>
                      <a:lnTo>
                        <a:pt x="31392" y="606716"/>
                      </a:lnTo>
                      <a:lnTo>
                        <a:pt x="25959" y="603697"/>
                      </a:lnTo>
                      <a:lnTo>
                        <a:pt x="22337" y="598264"/>
                      </a:lnTo>
                      <a:lnTo>
                        <a:pt x="24752" y="592227"/>
                      </a:lnTo>
                      <a:lnTo>
                        <a:pt x="28977" y="591623"/>
                      </a:lnTo>
                      <a:lnTo>
                        <a:pt x="29581" y="588001"/>
                      </a:lnTo>
                      <a:lnTo>
                        <a:pt x="26563" y="586190"/>
                      </a:lnTo>
                      <a:lnTo>
                        <a:pt x="42259" y="574116"/>
                      </a:lnTo>
                      <a:lnTo>
                        <a:pt x="38033" y="571097"/>
                      </a:lnTo>
                      <a:lnTo>
                        <a:pt x="41051" y="565664"/>
                      </a:lnTo>
                      <a:lnTo>
                        <a:pt x="42259" y="559023"/>
                      </a:lnTo>
                      <a:lnTo>
                        <a:pt x="41655" y="553590"/>
                      </a:lnTo>
                      <a:lnTo>
                        <a:pt x="46485" y="554194"/>
                      </a:lnTo>
                      <a:lnTo>
                        <a:pt x="47692" y="557212"/>
                      </a:lnTo>
                      <a:lnTo>
                        <a:pt x="55540" y="555401"/>
                      </a:lnTo>
                      <a:lnTo>
                        <a:pt x="55540" y="549968"/>
                      </a:lnTo>
                      <a:lnTo>
                        <a:pt x="58559" y="547553"/>
                      </a:lnTo>
                      <a:lnTo>
                        <a:pt x="53729" y="544535"/>
                      </a:lnTo>
                      <a:lnTo>
                        <a:pt x="53729" y="540913"/>
                      </a:lnTo>
                      <a:lnTo>
                        <a:pt x="57955" y="538498"/>
                      </a:lnTo>
                      <a:lnTo>
                        <a:pt x="66407" y="540913"/>
                      </a:lnTo>
                      <a:lnTo>
                        <a:pt x="66407" y="535480"/>
                      </a:lnTo>
                      <a:lnTo>
                        <a:pt x="71236" y="537894"/>
                      </a:lnTo>
                      <a:lnTo>
                        <a:pt x="74255" y="537291"/>
                      </a:lnTo>
                      <a:lnTo>
                        <a:pt x="74255" y="531857"/>
                      </a:lnTo>
                      <a:lnTo>
                        <a:pt x="82103" y="529443"/>
                      </a:lnTo>
                      <a:lnTo>
                        <a:pt x="89347" y="531254"/>
                      </a:lnTo>
                      <a:lnTo>
                        <a:pt x="89951" y="525820"/>
                      </a:lnTo>
                      <a:lnTo>
                        <a:pt x="83914" y="520991"/>
                      </a:lnTo>
                      <a:lnTo>
                        <a:pt x="76066" y="520387"/>
                      </a:lnTo>
                      <a:lnTo>
                        <a:pt x="70029" y="518576"/>
                      </a:lnTo>
                      <a:lnTo>
                        <a:pt x="68821" y="513143"/>
                      </a:lnTo>
                      <a:lnTo>
                        <a:pt x="61577" y="514954"/>
                      </a:lnTo>
                      <a:lnTo>
                        <a:pt x="56748" y="509521"/>
                      </a:lnTo>
                      <a:lnTo>
                        <a:pt x="51918" y="516765"/>
                      </a:lnTo>
                      <a:lnTo>
                        <a:pt x="49503" y="511332"/>
                      </a:lnTo>
                      <a:lnTo>
                        <a:pt x="45881" y="511332"/>
                      </a:lnTo>
                      <a:lnTo>
                        <a:pt x="43466" y="508917"/>
                      </a:lnTo>
                      <a:lnTo>
                        <a:pt x="39240" y="507709"/>
                      </a:lnTo>
                      <a:lnTo>
                        <a:pt x="39240" y="502880"/>
                      </a:lnTo>
                      <a:lnTo>
                        <a:pt x="41051" y="496843"/>
                      </a:lnTo>
                      <a:lnTo>
                        <a:pt x="39844" y="491410"/>
                      </a:lnTo>
                      <a:lnTo>
                        <a:pt x="42863" y="482354"/>
                      </a:lnTo>
                      <a:lnTo>
                        <a:pt x="48900" y="480543"/>
                      </a:lnTo>
                      <a:lnTo>
                        <a:pt x="50107" y="478732"/>
                      </a:lnTo>
                      <a:lnTo>
                        <a:pt x="56748" y="476317"/>
                      </a:lnTo>
                      <a:lnTo>
                        <a:pt x="59162" y="476921"/>
                      </a:lnTo>
                      <a:lnTo>
                        <a:pt x="63992" y="472091"/>
                      </a:lnTo>
                      <a:lnTo>
                        <a:pt x="62784" y="469073"/>
                      </a:lnTo>
                      <a:lnTo>
                        <a:pt x="56144" y="464847"/>
                      </a:lnTo>
                      <a:lnTo>
                        <a:pt x="52522" y="464243"/>
                      </a:lnTo>
                      <a:lnTo>
                        <a:pt x="53729" y="460017"/>
                      </a:lnTo>
                      <a:lnTo>
                        <a:pt x="56748" y="458206"/>
                      </a:lnTo>
                      <a:lnTo>
                        <a:pt x="56748" y="454584"/>
                      </a:lnTo>
                      <a:lnTo>
                        <a:pt x="62784" y="453980"/>
                      </a:lnTo>
                      <a:lnTo>
                        <a:pt x="65199" y="446132"/>
                      </a:lnTo>
                      <a:lnTo>
                        <a:pt x="70633" y="443114"/>
                      </a:lnTo>
                      <a:lnTo>
                        <a:pt x="68821" y="437077"/>
                      </a:lnTo>
                      <a:lnTo>
                        <a:pt x="75462" y="438284"/>
                      </a:lnTo>
                      <a:lnTo>
                        <a:pt x="76066" y="429229"/>
                      </a:lnTo>
                      <a:lnTo>
                        <a:pt x="80895" y="428625"/>
                      </a:lnTo>
                      <a:lnTo>
                        <a:pt x="82707" y="423796"/>
                      </a:lnTo>
                      <a:lnTo>
                        <a:pt x="81499" y="418966"/>
                      </a:lnTo>
                      <a:lnTo>
                        <a:pt x="77877" y="418966"/>
                      </a:lnTo>
                      <a:lnTo>
                        <a:pt x="73047" y="413533"/>
                      </a:lnTo>
                      <a:lnTo>
                        <a:pt x="62181" y="409911"/>
                      </a:lnTo>
                      <a:lnTo>
                        <a:pt x="60973" y="405685"/>
                      </a:lnTo>
                      <a:lnTo>
                        <a:pt x="65199" y="400855"/>
                      </a:lnTo>
                      <a:lnTo>
                        <a:pt x="71236" y="399044"/>
                      </a:lnTo>
                      <a:lnTo>
                        <a:pt x="71840" y="395422"/>
                      </a:lnTo>
                      <a:lnTo>
                        <a:pt x="70633" y="389385"/>
                      </a:lnTo>
                      <a:lnTo>
                        <a:pt x="71236" y="384555"/>
                      </a:lnTo>
                      <a:lnTo>
                        <a:pt x="67614" y="382140"/>
                      </a:lnTo>
                      <a:lnTo>
                        <a:pt x="65803" y="376103"/>
                      </a:lnTo>
                      <a:lnTo>
                        <a:pt x="68821" y="370066"/>
                      </a:lnTo>
                      <a:lnTo>
                        <a:pt x="66407" y="365237"/>
                      </a:lnTo>
                      <a:lnTo>
                        <a:pt x="72444" y="356785"/>
                      </a:lnTo>
                      <a:lnTo>
                        <a:pt x="65803" y="354370"/>
                      </a:lnTo>
                      <a:lnTo>
                        <a:pt x="61577" y="353766"/>
                      </a:lnTo>
                      <a:lnTo>
                        <a:pt x="65803" y="350144"/>
                      </a:lnTo>
                      <a:lnTo>
                        <a:pt x="62181" y="345315"/>
                      </a:lnTo>
                      <a:lnTo>
                        <a:pt x="56748" y="343504"/>
                      </a:lnTo>
                      <a:lnTo>
                        <a:pt x="55540" y="338070"/>
                      </a:lnTo>
                      <a:lnTo>
                        <a:pt x="61577" y="333241"/>
                      </a:lnTo>
                      <a:lnTo>
                        <a:pt x="62784" y="326600"/>
                      </a:lnTo>
                      <a:lnTo>
                        <a:pt x="56748" y="324185"/>
                      </a:lnTo>
                      <a:lnTo>
                        <a:pt x="57351" y="321771"/>
                      </a:lnTo>
                      <a:lnTo>
                        <a:pt x="63992" y="322978"/>
                      </a:lnTo>
                      <a:lnTo>
                        <a:pt x="68218" y="321167"/>
                      </a:lnTo>
                      <a:lnTo>
                        <a:pt x="65803" y="315734"/>
                      </a:lnTo>
                      <a:lnTo>
                        <a:pt x="67010" y="312112"/>
                      </a:lnTo>
                      <a:lnTo>
                        <a:pt x="72444" y="314526"/>
                      </a:lnTo>
                      <a:lnTo>
                        <a:pt x="72444" y="310301"/>
                      </a:lnTo>
                      <a:lnTo>
                        <a:pt x="69425" y="307886"/>
                      </a:lnTo>
                      <a:lnTo>
                        <a:pt x="71236" y="298227"/>
                      </a:lnTo>
                      <a:lnTo>
                        <a:pt x="80292" y="297019"/>
                      </a:lnTo>
                      <a:lnTo>
                        <a:pt x="83914" y="303056"/>
                      </a:lnTo>
                      <a:lnTo>
                        <a:pt x="95384" y="297019"/>
                      </a:lnTo>
                      <a:lnTo>
                        <a:pt x="98403" y="297623"/>
                      </a:lnTo>
                      <a:lnTo>
                        <a:pt x="102025" y="289171"/>
                      </a:lnTo>
                      <a:lnTo>
                        <a:pt x="101421" y="282530"/>
                      </a:lnTo>
                      <a:lnTo>
                        <a:pt x="98403" y="277701"/>
                      </a:lnTo>
                      <a:lnTo>
                        <a:pt x="99610" y="270456"/>
                      </a:lnTo>
                      <a:lnTo>
                        <a:pt x="102629" y="267438"/>
                      </a:lnTo>
                      <a:lnTo>
                        <a:pt x="110477" y="266230"/>
                      </a:lnTo>
                      <a:lnTo>
                        <a:pt x="113495" y="261401"/>
                      </a:lnTo>
                      <a:lnTo>
                        <a:pt x="113495" y="258986"/>
                      </a:lnTo>
                      <a:lnTo>
                        <a:pt x="117721" y="250534"/>
                      </a:lnTo>
                      <a:lnTo>
                        <a:pt x="120739" y="241479"/>
                      </a:lnTo>
                      <a:lnTo>
                        <a:pt x="135228" y="237253"/>
                      </a:lnTo>
                      <a:lnTo>
                        <a:pt x="142473" y="238460"/>
                      </a:lnTo>
                      <a:lnTo>
                        <a:pt x="143076" y="234234"/>
                      </a:lnTo>
                      <a:lnTo>
                        <a:pt x="138850" y="230612"/>
                      </a:lnTo>
                      <a:lnTo>
                        <a:pt x="133417" y="228801"/>
                      </a:lnTo>
                      <a:lnTo>
                        <a:pt x="129795" y="219746"/>
                      </a:lnTo>
                      <a:lnTo>
                        <a:pt x="121343" y="219142"/>
                      </a:lnTo>
                      <a:lnTo>
                        <a:pt x="124362" y="210087"/>
                      </a:lnTo>
                      <a:lnTo>
                        <a:pt x="115910" y="210690"/>
                      </a:lnTo>
                      <a:lnTo>
                        <a:pt x="116513" y="203446"/>
                      </a:lnTo>
                      <a:lnTo>
                        <a:pt x="106251" y="204050"/>
                      </a:lnTo>
                      <a:lnTo>
                        <a:pt x="105647" y="195598"/>
                      </a:lnTo>
                      <a:lnTo>
                        <a:pt x="104440" y="193787"/>
                      </a:lnTo>
                      <a:lnTo>
                        <a:pt x="105043" y="186543"/>
                      </a:lnTo>
                      <a:lnTo>
                        <a:pt x="112891" y="188354"/>
                      </a:lnTo>
                      <a:lnTo>
                        <a:pt x="111684" y="184128"/>
                      </a:lnTo>
                      <a:lnTo>
                        <a:pt x="113495" y="178091"/>
                      </a:lnTo>
                      <a:lnTo>
                        <a:pt x="116513" y="177487"/>
                      </a:lnTo>
                      <a:lnTo>
                        <a:pt x="118928" y="181109"/>
                      </a:lnTo>
                      <a:lnTo>
                        <a:pt x="121947" y="181109"/>
                      </a:lnTo>
                      <a:lnTo>
                        <a:pt x="122550" y="175072"/>
                      </a:lnTo>
                      <a:lnTo>
                        <a:pt x="120136" y="170846"/>
                      </a:lnTo>
                      <a:lnTo>
                        <a:pt x="123154" y="166017"/>
                      </a:lnTo>
                      <a:lnTo>
                        <a:pt x="124362" y="161187"/>
                      </a:lnTo>
                      <a:lnTo>
                        <a:pt x="122550" y="158772"/>
                      </a:lnTo>
                      <a:lnTo>
                        <a:pt x="127380" y="146095"/>
                      </a:lnTo>
                      <a:lnTo>
                        <a:pt x="134021" y="139454"/>
                      </a:lnTo>
                      <a:lnTo>
                        <a:pt x="126173" y="137643"/>
                      </a:lnTo>
                      <a:lnTo>
                        <a:pt x="125569" y="134021"/>
                      </a:lnTo>
                      <a:lnTo>
                        <a:pt x="136436" y="130398"/>
                      </a:lnTo>
                      <a:lnTo>
                        <a:pt x="139454" y="127380"/>
                      </a:lnTo>
                      <a:lnTo>
                        <a:pt x="143680" y="125569"/>
                      </a:lnTo>
                      <a:lnTo>
                        <a:pt x="151528" y="132210"/>
                      </a:lnTo>
                      <a:lnTo>
                        <a:pt x="156961" y="134021"/>
                      </a:lnTo>
                      <a:lnTo>
                        <a:pt x="159980" y="138850"/>
                      </a:lnTo>
                      <a:lnTo>
                        <a:pt x="163602" y="140661"/>
                      </a:lnTo>
                      <a:lnTo>
                        <a:pt x="164206" y="146095"/>
                      </a:lnTo>
                      <a:lnTo>
                        <a:pt x="166017" y="147302"/>
                      </a:lnTo>
                      <a:lnTo>
                        <a:pt x="171450" y="144284"/>
                      </a:lnTo>
                      <a:lnTo>
                        <a:pt x="175072" y="146095"/>
                      </a:lnTo>
                      <a:lnTo>
                        <a:pt x="180505" y="146095"/>
                      </a:lnTo>
                      <a:lnTo>
                        <a:pt x="185335" y="149717"/>
                      </a:lnTo>
                      <a:lnTo>
                        <a:pt x="191976" y="147302"/>
                      </a:lnTo>
                      <a:lnTo>
                        <a:pt x="191976" y="138850"/>
                      </a:lnTo>
                      <a:lnTo>
                        <a:pt x="194391" y="133417"/>
                      </a:lnTo>
                      <a:lnTo>
                        <a:pt x="194994" y="127380"/>
                      </a:lnTo>
                      <a:lnTo>
                        <a:pt x="191372" y="122550"/>
                      </a:lnTo>
                      <a:lnTo>
                        <a:pt x="193183" y="113495"/>
                      </a:lnTo>
                      <a:lnTo>
                        <a:pt x="200428" y="105043"/>
                      </a:lnTo>
                      <a:lnTo>
                        <a:pt x="206465" y="105647"/>
                      </a:lnTo>
                      <a:lnTo>
                        <a:pt x="210690" y="100818"/>
                      </a:lnTo>
                      <a:lnTo>
                        <a:pt x="215520" y="102025"/>
                      </a:lnTo>
                      <a:lnTo>
                        <a:pt x="218538" y="97799"/>
                      </a:lnTo>
                      <a:lnTo>
                        <a:pt x="218538" y="93573"/>
                      </a:lnTo>
                      <a:lnTo>
                        <a:pt x="216124" y="89951"/>
                      </a:lnTo>
                      <a:lnTo>
                        <a:pt x="215520" y="77877"/>
                      </a:lnTo>
                      <a:lnTo>
                        <a:pt x="218538" y="74859"/>
                      </a:lnTo>
                      <a:lnTo>
                        <a:pt x="218538" y="67614"/>
                      </a:lnTo>
                      <a:lnTo>
                        <a:pt x="213709" y="56748"/>
                      </a:lnTo>
                      <a:lnTo>
                        <a:pt x="210087" y="54936"/>
                      </a:lnTo>
                      <a:lnTo>
                        <a:pt x="213105" y="48899"/>
                      </a:lnTo>
                      <a:lnTo>
                        <a:pt x="219746" y="48899"/>
                      </a:lnTo>
                      <a:lnTo>
                        <a:pt x="220953" y="45881"/>
                      </a:lnTo>
                      <a:lnTo>
                        <a:pt x="225783" y="44070"/>
                      </a:lnTo>
                      <a:lnTo>
                        <a:pt x="225783" y="39240"/>
                      </a:lnTo>
                      <a:lnTo>
                        <a:pt x="228801" y="35014"/>
                      </a:lnTo>
                      <a:lnTo>
                        <a:pt x="230009" y="28977"/>
                      </a:lnTo>
                      <a:lnTo>
                        <a:pt x="228801" y="23544"/>
                      </a:lnTo>
                      <a:lnTo>
                        <a:pt x="224575" y="21733"/>
                      </a:lnTo>
                      <a:lnTo>
                        <a:pt x="224575" y="16300"/>
                      </a:lnTo>
                      <a:lnTo>
                        <a:pt x="214916" y="13885"/>
                      </a:lnTo>
                      <a:lnTo>
                        <a:pt x="218538" y="0"/>
                      </a:lnTo>
                      <a:lnTo>
                        <a:pt x="223972" y="6641"/>
                      </a:lnTo>
                      <a:lnTo>
                        <a:pt x="233631" y="7848"/>
                      </a:lnTo>
                      <a:lnTo>
                        <a:pt x="234234" y="13281"/>
                      </a:lnTo>
                      <a:lnTo>
                        <a:pt x="236649" y="16903"/>
                      </a:lnTo>
                      <a:lnTo>
                        <a:pt x="242686" y="19922"/>
                      </a:lnTo>
                      <a:lnTo>
                        <a:pt x="252345" y="21129"/>
                      </a:lnTo>
                      <a:lnTo>
                        <a:pt x="255968" y="26563"/>
                      </a:lnTo>
                      <a:lnTo>
                        <a:pt x="263212" y="19922"/>
                      </a:lnTo>
                      <a:lnTo>
                        <a:pt x="275286" y="22337"/>
                      </a:lnTo>
                      <a:lnTo>
                        <a:pt x="278908" y="21129"/>
                      </a:lnTo>
                      <a:lnTo>
                        <a:pt x="281927" y="22940"/>
                      </a:lnTo>
                      <a:lnTo>
                        <a:pt x="298830" y="28374"/>
                      </a:lnTo>
                      <a:lnTo>
                        <a:pt x="301849" y="31996"/>
                      </a:lnTo>
                      <a:lnTo>
                        <a:pt x="306678" y="29581"/>
                      </a:lnTo>
                      <a:lnTo>
                        <a:pt x="316337" y="29581"/>
                      </a:lnTo>
                      <a:lnTo>
                        <a:pt x="321167" y="34411"/>
                      </a:lnTo>
                      <a:lnTo>
                        <a:pt x="329015" y="33807"/>
                      </a:lnTo>
                      <a:lnTo>
                        <a:pt x="330826" y="39844"/>
                      </a:lnTo>
                      <a:lnTo>
                        <a:pt x="332637" y="47692"/>
                      </a:lnTo>
                      <a:lnTo>
                        <a:pt x="331430" y="56144"/>
                      </a:lnTo>
                      <a:lnTo>
                        <a:pt x="338070" y="56748"/>
                      </a:lnTo>
                      <a:lnTo>
                        <a:pt x="343504" y="53729"/>
                      </a:lnTo>
                      <a:lnTo>
                        <a:pt x="348937" y="54333"/>
                      </a:lnTo>
                      <a:lnTo>
                        <a:pt x="354370" y="57955"/>
                      </a:lnTo>
                      <a:lnTo>
                        <a:pt x="353163" y="65199"/>
                      </a:lnTo>
                      <a:lnTo>
                        <a:pt x="356181" y="73047"/>
                      </a:lnTo>
                      <a:lnTo>
                        <a:pt x="351352" y="76670"/>
                      </a:lnTo>
                      <a:lnTo>
                        <a:pt x="356181" y="79688"/>
                      </a:lnTo>
                      <a:lnTo>
                        <a:pt x="359200" y="77273"/>
                      </a:lnTo>
                      <a:lnTo>
                        <a:pt x="364633" y="82103"/>
                      </a:lnTo>
                      <a:lnTo>
                        <a:pt x="371274" y="80896"/>
                      </a:lnTo>
                      <a:lnTo>
                        <a:pt x="373689" y="83914"/>
                      </a:lnTo>
                      <a:lnTo>
                        <a:pt x="381537" y="84518"/>
                      </a:lnTo>
                      <a:lnTo>
                        <a:pt x="382140" y="88140"/>
                      </a:lnTo>
                      <a:lnTo>
                        <a:pt x="389385" y="90555"/>
                      </a:lnTo>
                      <a:lnTo>
                        <a:pt x="395422" y="97799"/>
                      </a:lnTo>
                      <a:lnTo>
                        <a:pt x="399648" y="99610"/>
                      </a:lnTo>
                      <a:lnTo>
                        <a:pt x="405685" y="98403"/>
                      </a:lnTo>
                      <a:lnTo>
                        <a:pt x="403873" y="94177"/>
                      </a:lnTo>
                      <a:lnTo>
                        <a:pt x="405081" y="88140"/>
                      </a:lnTo>
                      <a:lnTo>
                        <a:pt x="409307" y="84518"/>
                      </a:lnTo>
                      <a:lnTo>
                        <a:pt x="409910" y="77877"/>
                      </a:lnTo>
                      <a:lnTo>
                        <a:pt x="412325" y="73651"/>
                      </a:lnTo>
                      <a:lnTo>
                        <a:pt x="409307" y="66407"/>
                      </a:lnTo>
                      <a:lnTo>
                        <a:pt x="412929" y="66407"/>
                      </a:lnTo>
                      <a:lnTo>
                        <a:pt x="423192" y="70633"/>
                      </a:lnTo>
                      <a:lnTo>
                        <a:pt x="425607" y="76066"/>
                      </a:lnTo>
                      <a:lnTo>
                        <a:pt x="431040" y="74255"/>
                      </a:lnTo>
                      <a:lnTo>
                        <a:pt x="436473" y="74859"/>
                      </a:lnTo>
                      <a:lnTo>
                        <a:pt x="437077" y="77273"/>
                      </a:lnTo>
                      <a:lnTo>
                        <a:pt x="446132" y="83310"/>
                      </a:lnTo>
                      <a:lnTo>
                        <a:pt x="451565" y="83310"/>
                      </a:lnTo>
                      <a:lnTo>
                        <a:pt x="455188" y="86329"/>
                      </a:lnTo>
                      <a:lnTo>
                        <a:pt x="457602" y="91158"/>
                      </a:lnTo>
                      <a:lnTo>
                        <a:pt x="466658" y="86933"/>
                      </a:lnTo>
                      <a:lnTo>
                        <a:pt x="466658" y="81499"/>
                      </a:lnTo>
                      <a:lnTo>
                        <a:pt x="472695" y="80292"/>
                      </a:lnTo>
                      <a:lnTo>
                        <a:pt x="473299" y="85121"/>
                      </a:lnTo>
                      <a:lnTo>
                        <a:pt x="476921" y="88140"/>
                      </a:lnTo>
                      <a:lnTo>
                        <a:pt x="482354" y="89951"/>
                      </a:lnTo>
                      <a:lnTo>
                        <a:pt x="484165" y="88744"/>
                      </a:lnTo>
                      <a:lnTo>
                        <a:pt x="485976" y="82103"/>
                      </a:lnTo>
                      <a:lnTo>
                        <a:pt x="488995" y="76670"/>
                      </a:lnTo>
                      <a:lnTo>
                        <a:pt x="492617" y="74255"/>
                      </a:lnTo>
                      <a:lnTo>
                        <a:pt x="500465" y="73651"/>
                      </a:lnTo>
                      <a:lnTo>
                        <a:pt x="507709" y="72444"/>
                      </a:lnTo>
                      <a:lnTo>
                        <a:pt x="513143" y="68218"/>
                      </a:lnTo>
                      <a:lnTo>
                        <a:pt x="520991" y="69425"/>
                      </a:lnTo>
                      <a:lnTo>
                        <a:pt x="524009" y="73047"/>
                      </a:lnTo>
                      <a:lnTo>
                        <a:pt x="528839" y="75462"/>
                      </a:lnTo>
                      <a:lnTo>
                        <a:pt x="531254" y="82707"/>
                      </a:lnTo>
                      <a:lnTo>
                        <a:pt x="541516" y="90555"/>
                      </a:lnTo>
                      <a:lnTo>
                        <a:pt x="548157" y="92366"/>
                      </a:lnTo>
                      <a:lnTo>
                        <a:pt x="555401" y="99610"/>
                      </a:lnTo>
                      <a:lnTo>
                        <a:pt x="555401" y="103836"/>
                      </a:lnTo>
                      <a:lnTo>
                        <a:pt x="561438" y="112288"/>
                      </a:lnTo>
                      <a:lnTo>
                        <a:pt x="559627" y="123154"/>
                      </a:lnTo>
                      <a:lnTo>
                        <a:pt x="557816" y="126776"/>
                      </a:lnTo>
                      <a:lnTo>
                        <a:pt x="559024" y="134624"/>
                      </a:lnTo>
                      <a:lnTo>
                        <a:pt x="555401" y="137643"/>
                      </a:lnTo>
                      <a:lnTo>
                        <a:pt x="550572" y="150321"/>
                      </a:lnTo>
                      <a:lnTo>
                        <a:pt x="550572" y="155150"/>
                      </a:lnTo>
                      <a:lnTo>
                        <a:pt x="554798" y="161187"/>
                      </a:lnTo>
                      <a:lnTo>
                        <a:pt x="547553" y="169035"/>
                      </a:lnTo>
                      <a:lnTo>
                        <a:pt x="540309" y="173261"/>
                      </a:lnTo>
                      <a:lnTo>
                        <a:pt x="537291" y="176883"/>
                      </a:lnTo>
                      <a:lnTo>
                        <a:pt x="537894" y="186543"/>
                      </a:lnTo>
                      <a:lnTo>
                        <a:pt x="537291" y="190768"/>
                      </a:lnTo>
                      <a:lnTo>
                        <a:pt x="540309" y="191976"/>
                      </a:lnTo>
                      <a:lnTo>
                        <a:pt x="544535" y="190165"/>
                      </a:lnTo>
                      <a:lnTo>
                        <a:pt x="551779" y="190768"/>
                      </a:lnTo>
                      <a:lnTo>
                        <a:pt x="552987" y="194994"/>
                      </a:lnTo>
                      <a:lnTo>
                        <a:pt x="552383" y="205257"/>
                      </a:lnTo>
                      <a:lnTo>
                        <a:pt x="554798" y="213709"/>
                      </a:lnTo>
                      <a:lnTo>
                        <a:pt x="554194" y="230612"/>
                      </a:lnTo>
                      <a:lnTo>
                        <a:pt x="551176" y="235442"/>
                      </a:lnTo>
                      <a:lnTo>
                        <a:pt x="545139" y="236649"/>
                      </a:lnTo>
                      <a:lnTo>
                        <a:pt x="549364" y="243894"/>
                      </a:lnTo>
                      <a:lnTo>
                        <a:pt x="552987" y="246912"/>
                      </a:lnTo>
                      <a:lnTo>
                        <a:pt x="569286" y="250534"/>
                      </a:lnTo>
                      <a:lnTo>
                        <a:pt x="573512" y="255364"/>
                      </a:lnTo>
                      <a:lnTo>
                        <a:pt x="576531" y="260797"/>
                      </a:lnTo>
                      <a:lnTo>
                        <a:pt x="583775" y="264419"/>
                      </a:lnTo>
                      <a:lnTo>
                        <a:pt x="588605" y="269853"/>
                      </a:lnTo>
                      <a:lnTo>
                        <a:pt x="599471" y="266230"/>
                      </a:lnTo>
                      <a:lnTo>
                        <a:pt x="601282" y="269249"/>
                      </a:lnTo>
                      <a:lnTo>
                        <a:pt x="605508" y="270456"/>
                      </a:lnTo>
                      <a:lnTo>
                        <a:pt x="608527" y="265627"/>
                      </a:lnTo>
                      <a:lnTo>
                        <a:pt x="617582" y="265023"/>
                      </a:lnTo>
                      <a:lnTo>
                        <a:pt x="621808" y="261401"/>
                      </a:lnTo>
                      <a:lnTo>
                        <a:pt x="627845" y="268042"/>
                      </a:lnTo>
                      <a:lnTo>
                        <a:pt x="632675" y="281927"/>
                      </a:lnTo>
                      <a:lnTo>
                        <a:pt x="637504" y="289775"/>
                      </a:lnTo>
                      <a:lnTo>
                        <a:pt x="642334" y="286153"/>
                      </a:lnTo>
                      <a:lnTo>
                        <a:pt x="645352" y="288567"/>
                      </a:lnTo>
                      <a:lnTo>
                        <a:pt x="649578" y="285549"/>
                      </a:lnTo>
                      <a:lnTo>
                        <a:pt x="659841" y="281323"/>
                      </a:lnTo>
                      <a:lnTo>
                        <a:pt x="667689" y="281323"/>
                      </a:lnTo>
                      <a:lnTo>
                        <a:pt x="671915" y="283738"/>
                      </a:lnTo>
                      <a:lnTo>
                        <a:pt x="676141" y="289775"/>
                      </a:lnTo>
                      <a:lnTo>
                        <a:pt x="690630" y="298830"/>
                      </a:lnTo>
                      <a:lnTo>
                        <a:pt x="693044" y="303056"/>
                      </a:lnTo>
                      <a:lnTo>
                        <a:pt x="697270" y="304867"/>
                      </a:lnTo>
                      <a:lnTo>
                        <a:pt x="697874" y="309697"/>
                      </a:lnTo>
                      <a:lnTo>
                        <a:pt x="700893" y="314526"/>
                      </a:lnTo>
                      <a:lnTo>
                        <a:pt x="706929" y="318752"/>
                      </a:lnTo>
                      <a:lnTo>
                        <a:pt x="709948" y="322978"/>
                      </a:lnTo>
                      <a:lnTo>
                        <a:pt x="709344" y="325996"/>
                      </a:lnTo>
                      <a:lnTo>
                        <a:pt x="713570" y="329015"/>
                      </a:lnTo>
                      <a:lnTo>
                        <a:pt x="715985" y="338674"/>
                      </a:lnTo>
                      <a:lnTo>
                        <a:pt x="720211" y="348333"/>
                      </a:lnTo>
                      <a:lnTo>
                        <a:pt x="720211" y="351955"/>
                      </a:lnTo>
                      <a:lnTo>
                        <a:pt x="725040" y="356785"/>
                      </a:lnTo>
                      <a:lnTo>
                        <a:pt x="728663" y="364633"/>
                      </a:lnTo>
                      <a:lnTo>
                        <a:pt x="717796" y="370066"/>
                      </a:lnTo>
                      <a:lnTo>
                        <a:pt x="718400" y="379726"/>
                      </a:lnTo>
                      <a:lnTo>
                        <a:pt x="723833" y="382140"/>
                      </a:lnTo>
                      <a:lnTo>
                        <a:pt x="731077" y="380933"/>
                      </a:lnTo>
                      <a:lnTo>
                        <a:pt x="735303" y="375500"/>
                      </a:lnTo>
                      <a:lnTo>
                        <a:pt x="735303" y="368255"/>
                      </a:lnTo>
                      <a:lnTo>
                        <a:pt x="736511" y="366444"/>
                      </a:lnTo>
                      <a:lnTo>
                        <a:pt x="743755" y="368255"/>
                      </a:lnTo>
                      <a:lnTo>
                        <a:pt x="745566" y="372481"/>
                      </a:lnTo>
                      <a:lnTo>
                        <a:pt x="741944" y="373689"/>
                      </a:lnTo>
                      <a:lnTo>
                        <a:pt x="743151" y="386366"/>
                      </a:lnTo>
                      <a:lnTo>
                        <a:pt x="744359" y="388177"/>
                      </a:lnTo>
                      <a:lnTo>
                        <a:pt x="752207" y="388177"/>
                      </a:lnTo>
                      <a:lnTo>
                        <a:pt x="761262" y="383348"/>
                      </a:lnTo>
                      <a:lnTo>
                        <a:pt x="767299" y="380933"/>
                      </a:lnTo>
                      <a:lnTo>
                        <a:pt x="767299" y="386366"/>
                      </a:lnTo>
                      <a:lnTo>
                        <a:pt x="762470" y="390592"/>
                      </a:lnTo>
                      <a:lnTo>
                        <a:pt x="762470" y="397233"/>
                      </a:lnTo>
                      <a:lnTo>
                        <a:pt x="766092" y="408099"/>
                      </a:lnTo>
                      <a:lnTo>
                        <a:pt x="764884" y="410514"/>
                      </a:lnTo>
                      <a:lnTo>
                        <a:pt x="767299" y="418966"/>
                      </a:lnTo>
                      <a:lnTo>
                        <a:pt x="769714" y="434058"/>
                      </a:lnTo>
                      <a:lnTo>
                        <a:pt x="771525" y="435869"/>
                      </a:lnTo>
                      <a:lnTo>
                        <a:pt x="773940" y="452169"/>
                      </a:lnTo>
                      <a:lnTo>
                        <a:pt x="775751" y="456999"/>
                      </a:lnTo>
                      <a:lnTo>
                        <a:pt x="779373" y="463036"/>
                      </a:lnTo>
                      <a:lnTo>
                        <a:pt x="784203" y="464243"/>
                      </a:lnTo>
                      <a:lnTo>
                        <a:pt x="787825" y="463639"/>
                      </a:lnTo>
                      <a:lnTo>
                        <a:pt x="793258" y="456999"/>
                      </a:lnTo>
                      <a:lnTo>
                        <a:pt x="805936" y="449151"/>
                      </a:lnTo>
                      <a:lnTo>
                        <a:pt x="812576" y="450358"/>
                      </a:lnTo>
                      <a:lnTo>
                        <a:pt x="825254" y="458206"/>
                      </a:lnTo>
                      <a:lnTo>
                        <a:pt x="837932" y="457602"/>
                      </a:lnTo>
                      <a:lnTo>
                        <a:pt x="852421" y="459413"/>
                      </a:lnTo>
                      <a:lnTo>
                        <a:pt x="857250" y="459413"/>
                      </a:lnTo>
                      <a:lnTo>
                        <a:pt x="860872" y="455791"/>
                      </a:lnTo>
                      <a:lnTo>
                        <a:pt x="863287" y="456999"/>
                      </a:lnTo>
                      <a:lnTo>
                        <a:pt x="869928" y="455791"/>
                      </a:lnTo>
                      <a:lnTo>
                        <a:pt x="872342" y="460017"/>
                      </a:lnTo>
                      <a:lnTo>
                        <a:pt x="886831" y="456999"/>
                      </a:lnTo>
                      <a:lnTo>
                        <a:pt x="891661" y="454584"/>
                      </a:lnTo>
                      <a:lnTo>
                        <a:pt x="898905" y="456999"/>
                      </a:lnTo>
                      <a:lnTo>
                        <a:pt x="905546" y="452169"/>
                      </a:lnTo>
                      <a:lnTo>
                        <a:pt x="906150" y="448547"/>
                      </a:lnTo>
                      <a:lnTo>
                        <a:pt x="909772" y="443717"/>
                      </a:lnTo>
                      <a:lnTo>
                        <a:pt x="914601" y="441906"/>
                      </a:lnTo>
                      <a:lnTo>
                        <a:pt x="917620" y="447339"/>
                      </a:lnTo>
                      <a:lnTo>
                        <a:pt x="929090" y="440095"/>
                      </a:lnTo>
                      <a:lnTo>
                        <a:pt x="933920" y="445528"/>
                      </a:lnTo>
                      <a:lnTo>
                        <a:pt x="936938" y="450962"/>
                      </a:lnTo>
                      <a:lnTo>
                        <a:pt x="933920" y="453376"/>
                      </a:lnTo>
                      <a:lnTo>
                        <a:pt x="930297" y="453980"/>
                      </a:lnTo>
                      <a:lnTo>
                        <a:pt x="927883" y="456395"/>
                      </a:lnTo>
                      <a:lnTo>
                        <a:pt x="923053" y="456395"/>
                      </a:lnTo>
                      <a:lnTo>
                        <a:pt x="918224" y="460621"/>
                      </a:lnTo>
                      <a:lnTo>
                        <a:pt x="917016" y="463639"/>
                      </a:lnTo>
                      <a:lnTo>
                        <a:pt x="912187" y="467865"/>
                      </a:lnTo>
                      <a:lnTo>
                        <a:pt x="901320" y="468469"/>
                      </a:lnTo>
                      <a:lnTo>
                        <a:pt x="898301" y="472695"/>
                      </a:lnTo>
                      <a:lnTo>
                        <a:pt x="892868" y="475713"/>
                      </a:lnTo>
                      <a:lnTo>
                        <a:pt x="891057" y="478128"/>
                      </a:lnTo>
                      <a:lnTo>
                        <a:pt x="890453" y="484769"/>
                      </a:lnTo>
                      <a:lnTo>
                        <a:pt x="886831" y="489598"/>
                      </a:lnTo>
                      <a:lnTo>
                        <a:pt x="883209" y="497447"/>
                      </a:lnTo>
                      <a:lnTo>
                        <a:pt x="878379" y="501672"/>
                      </a:lnTo>
                      <a:lnTo>
                        <a:pt x="876568" y="505898"/>
                      </a:lnTo>
                      <a:lnTo>
                        <a:pt x="880794" y="509521"/>
                      </a:lnTo>
                      <a:lnTo>
                        <a:pt x="876568" y="516765"/>
                      </a:lnTo>
                      <a:lnTo>
                        <a:pt x="874757" y="536687"/>
                      </a:lnTo>
                      <a:lnTo>
                        <a:pt x="863891" y="551175"/>
                      </a:lnTo>
                      <a:lnTo>
                        <a:pt x="858458" y="555401"/>
                      </a:lnTo>
                      <a:lnTo>
                        <a:pt x="852421" y="556609"/>
                      </a:lnTo>
                      <a:lnTo>
                        <a:pt x="845176" y="553590"/>
                      </a:lnTo>
                      <a:lnTo>
                        <a:pt x="843365" y="549968"/>
                      </a:lnTo>
                      <a:lnTo>
                        <a:pt x="839139" y="549364"/>
                      </a:lnTo>
                      <a:lnTo>
                        <a:pt x="832498" y="560835"/>
                      </a:lnTo>
                      <a:lnTo>
                        <a:pt x="828273" y="564457"/>
                      </a:lnTo>
                      <a:lnTo>
                        <a:pt x="818010" y="563853"/>
                      </a:lnTo>
                      <a:lnTo>
                        <a:pt x="811973" y="562646"/>
                      </a:lnTo>
                      <a:lnTo>
                        <a:pt x="808351" y="567475"/>
                      </a:lnTo>
                      <a:lnTo>
                        <a:pt x="808351" y="575927"/>
                      </a:lnTo>
                      <a:lnTo>
                        <a:pt x="810162" y="578342"/>
                      </a:lnTo>
                      <a:lnTo>
                        <a:pt x="806540" y="583171"/>
                      </a:lnTo>
                      <a:lnTo>
                        <a:pt x="802917" y="583171"/>
                      </a:lnTo>
                      <a:lnTo>
                        <a:pt x="790240" y="587397"/>
                      </a:lnTo>
                      <a:lnTo>
                        <a:pt x="786014" y="589208"/>
                      </a:lnTo>
                      <a:lnTo>
                        <a:pt x="781788" y="589208"/>
                      </a:lnTo>
                      <a:lnTo>
                        <a:pt x="778166" y="593434"/>
                      </a:lnTo>
                      <a:lnTo>
                        <a:pt x="769714" y="594642"/>
                      </a:lnTo>
                      <a:lnTo>
                        <a:pt x="763677" y="592831"/>
                      </a:lnTo>
                      <a:lnTo>
                        <a:pt x="758847" y="589208"/>
                      </a:lnTo>
                      <a:lnTo>
                        <a:pt x="753414" y="589812"/>
                      </a:lnTo>
                      <a:lnTo>
                        <a:pt x="755225" y="597057"/>
                      </a:lnTo>
                      <a:lnTo>
                        <a:pt x="755225" y="601886"/>
                      </a:lnTo>
                      <a:lnTo>
                        <a:pt x="749792" y="603094"/>
                      </a:lnTo>
                      <a:lnTo>
                        <a:pt x="746170" y="601886"/>
                      </a:lnTo>
                      <a:lnTo>
                        <a:pt x="745566" y="606716"/>
                      </a:lnTo>
                      <a:lnTo>
                        <a:pt x="743151" y="609131"/>
                      </a:lnTo>
                      <a:lnTo>
                        <a:pt x="744962" y="612753"/>
                      </a:lnTo>
                      <a:lnTo>
                        <a:pt x="743151" y="618790"/>
                      </a:lnTo>
                      <a:lnTo>
                        <a:pt x="743755" y="622412"/>
                      </a:lnTo>
                      <a:lnTo>
                        <a:pt x="738322" y="627845"/>
                      </a:lnTo>
                      <a:lnTo>
                        <a:pt x="736511" y="625430"/>
                      </a:lnTo>
                      <a:lnTo>
                        <a:pt x="720814" y="621808"/>
                      </a:lnTo>
                      <a:lnTo>
                        <a:pt x="716589" y="619393"/>
                      </a:lnTo>
                      <a:lnTo>
                        <a:pt x="707533" y="618790"/>
                      </a:lnTo>
                      <a:lnTo>
                        <a:pt x="700893" y="621808"/>
                      </a:lnTo>
                      <a:lnTo>
                        <a:pt x="698478" y="618186"/>
                      </a:lnTo>
                      <a:lnTo>
                        <a:pt x="702100" y="615168"/>
                      </a:lnTo>
                      <a:lnTo>
                        <a:pt x="696667" y="609734"/>
                      </a:lnTo>
                      <a:lnTo>
                        <a:pt x="689422" y="607319"/>
                      </a:lnTo>
                      <a:lnTo>
                        <a:pt x="682178" y="603697"/>
                      </a:lnTo>
                      <a:lnTo>
                        <a:pt x="679763" y="606716"/>
                      </a:lnTo>
                      <a:lnTo>
                        <a:pt x="668896" y="611545"/>
                      </a:lnTo>
                      <a:lnTo>
                        <a:pt x="667085" y="615771"/>
                      </a:lnTo>
                      <a:lnTo>
                        <a:pt x="666482" y="621205"/>
                      </a:lnTo>
                      <a:lnTo>
                        <a:pt x="664067" y="625430"/>
                      </a:lnTo>
                      <a:lnTo>
                        <a:pt x="659841" y="625430"/>
                      </a:lnTo>
                      <a:lnTo>
                        <a:pt x="658634" y="629656"/>
                      </a:lnTo>
                      <a:lnTo>
                        <a:pt x="653200" y="627845"/>
                      </a:lnTo>
                      <a:lnTo>
                        <a:pt x="649578" y="621808"/>
                      </a:lnTo>
                      <a:lnTo>
                        <a:pt x="648371" y="616979"/>
                      </a:lnTo>
                      <a:lnTo>
                        <a:pt x="642334" y="621205"/>
                      </a:lnTo>
                      <a:lnTo>
                        <a:pt x="647164" y="630260"/>
                      </a:lnTo>
                      <a:lnTo>
                        <a:pt x="643541" y="634486"/>
                      </a:lnTo>
                      <a:lnTo>
                        <a:pt x="641127" y="639919"/>
                      </a:lnTo>
                      <a:lnTo>
                        <a:pt x="658030" y="645352"/>
                      </a:lnTo>
                      <a:lnTo>
                        <a:pt x="665274" y="650182"/>
                      </a:lnTo>
                      <a:lnTo>
                        <a:pt x="668293" y="644749"/>
                      </a:lnTo>
                      <a:lnTo>
                        <a:pt x="674330" y="647163"/>
                      </a:lnTo>
                      <a:lnTo>
                        <a:pt x="676141" y="644145"/>
                      </a:lnTo>
                      <a:lnTo>
                        <a:pt x="683989" y="648975"/>
                      </a:lnTo>
                      <a:lnTo>
                        <a:pt x="687007" y="648975"/>
                      </a:lnTo>
                      <a:lnTo>
                        <a:pt x="687611" y="660445"/>
                      </a:lnTo>
                      <a:lnTo>
                        <a:pt x="683385" y="661652"/>
                      </a:lnTo>
                      <a:lnTo>
                        <a:pt x="682782" y="668896"/>
                      </a:lnTo>
                      <a:lnTo>
                        <a:pt x="680970" y="671311"/>
                      </a:lnTo>
                      <a:lnTo>
                        <a:pt x="687611" y="674933"/>
                      </a:lnTo>
                      <a:lnTo>
                        <a:pt x="690026" y="679763"/>
                      </a:lnTo>
                      <a:lnTo>
                        <a:pt x="682782" y="684593"/>
                      </a:lnTo>
                      <a:lnTo>
                        <a:pt x="667689" y="681574"/>
                      </a:lnTo>
                      <a:lnTo>
                        <a:pt x="661048" y="678556"/>
                      </a:lnTo>
                      <a:lnTo>
                        <a:pt x="659841" y="673122"/>
                      </a:lnTo>
                      <a:lnTo>
                        <a:pt x="653804" y="670104"/>
                      </a:lnTo>
                      <a:lnTo>
                        <a:pt x="653200" y="667085"/>
                      </a:lnTo>
                      <a:lnTo>
                        <a:pt x="643541" y="674330"/>
                      </a:lnTo>
                      <a:lnTo>
                        <a:pt x="640523" y="664670"/>
                      </a:lnTo>
                      <a:lnTo>
                        <a:pt x="635693" y="664670"/>
                      </a:lnTo>
                      <a:lnTo>
                        <a:pt x="632675" y="661048"/>
                      </a:lnTo>
                      <a:lnTo>
                        <a:pt x="631467" y="652597"/>
                      </a:lnTo>
                      <a:lnTo>
                        <a:pt x="629053" y="642938"/>
                      </a:lnTo>
                      <a:lnTo>
                        <a:pt x="620601" y="630864"/>
                      </a:lnTo>
                      <a:lnTo>
                        <a:pt x="616375" y="632675"/>
                      </a:lnTo>
                      <a:lnTo>
                        <a:pt x="611545" y="629053"/>
                      </a:lnTo>
                      <a:lnTo>
                        <a:pt x="607319" y="629656"/>
                      </a:lnTo>
                      <a:lnTo>
                        <a:pt x="606716" y="624223"/>
                      </a:lnTo>
                      <a:lnTo>
                        <a:pt x="604301" y="623619"/>
                      </a:lnTo>
                      <a:lnTo>
                        <a:pt x="601282" y="628449"/>
                      </a:lnTo>
                      <a:lnTo>
                        <a:pt x="595849" y="633279"/>
                      </a:lnTo>
                      <a:lnTo>
                        <a:pt x="594642" y="636297"/>
                      </a:lnTo>
                      <a:lnTo>
                        <a:pt x="588605" y="637504"/>
                      </a:lnTo>
                      <a:lnTo>
                        <a:pt x="584983" y="636297"/>
                      </a:lnTo>
                      <a:lnTo>
                        <a:pt x="584379" y="641127"/>
                      </a:lnTo>
                      <a:lnTo>
                        <a:pt x="575927" y="641127"/>
                      </a:lnTo>
                      <a:lnTo>
                        <a:pt x="574116" y="647163"/>
                      </a:lnTo>
                      <a:lnTo>
                        <a:pt x="568683" y="653200"/>
                      </a:lnTo>
                      <a:lnTo>
                        <a:pt x="565061" y="662859"/>
                      </a:lnTo>
                      <a:lnTo>
                        <a:pt x="569890" y="665274"/>
                      </a:lnTo>
                      <a:lnTo>
                        <a:pt x="573512" y="665274"/>
                      </a:lnTo>
                      <a:lnTo>
                        <a:pt x="575323" y="670707"/>
                      </a:lnTo>
                      <a:lnTo>
                        <a:pt x="581360" y="673726"/>
                      </a:lnTo>
                      <a:lnTo>
                        <a:pt x="577135" y="682781"/>
                      </a:lnTo>
                      <a:lnTo>
                        <a:pt x="576531" y="688215"/>
                      </a:lnTo>
                      <a:lnTo>
                        <a:pt x="570494" y="695459"/>
                      </a:lnTo>
                      <a:lnTo>
                        <a:pt x="565061" y="699685"/>
                      </a:lnTo>
                      <a:lnTo>
                        <a:pt x="561438" y="706929"/>
                      </a:lnTo>
                      <a:lnTo>
                        <a:pt x="554798" y="712363"/>
                      </a:lnTo>
                      <a:lnTo>
                        <a:pt x="551176" y="712966"/>
                      </a:lnTo>
                      <a:lnTo>
                        <a:pt x="544535" y="708741"/>
                      </a:lnTo>
                      <a:lnTo>
                        <a:pt x="540913" y="700289"/>
                      </a:lnTo>
                      <a:lnTo>
                        <a:pt x="538498" y="698478"/>
                      </a:lnTo>
                      <a:lnTo>
                        <a:pt x="527631" y="700289"/>
                      </a:lnTo>
                      <a:lnTo>
                        <a:pt x="520387" y="691837"/>
                      </a:lnTo>
                      <a:lnTo>
                        <a:pt x="515557" y="693648"/>
                      </a:lnTo>
                      <a:lnTo>
                        <a:pt x="509520" y="699685"/>
                      </a:lnTo>
                      <a:lnTo>
                        <a:pt x="501672" y="700289"/>
                      </a:lnTo>
                      <a:lnTo>
                        <a:pt x="495635" y="703307"/>
                      </a:lnTo>
                      <a:lnTo>
                        <a:pt x="494428" y="706326"/>
                      </a:lnTo>
                      <a:lnTo>
                        <a:pt x="484165" y="705722"/>
                      </a:lnTo>
                      <a:lnTo>
                        <a:pt x="478732" y="709948"/>
                      </a:lnTo>
                      <a:lnTo>
                        <a:pt x="471488" y="712966"/>
                      </a:lnTo>
                      <a:lnTo>
                        <a:pt x="463036" y="712966"/>
                      </a:lnTo>
                      <a:lnTo>
                        <a:pt x="453377" y="717796"/>
                      </a:lnTo>
                      <a:lnTo>
                        <a:pt x="448547" y="723229"/>
                      </a:lnTo>
                      <a:lnTo>
                        <a:pt x="431644" y="723833"/>
                      </a:lnTo>
                      <a:lnTo>
                        <a:pt x="426814" y="725040"/>
                      </a:lnTo>
                      <a:lnTo>
                        <a:pt x="415344" y="728059"/>
                      </a:lnTo>
                      <a:lnTo>
                        <a:pt x="414136" y="731077"/>
                      </a:lnTo>
                      <a:lnTo>
                        <a:pt x="408099" y="737114"/>
                      </a:lnTo>
                      <a:lnTo>
                        <a:pt x="406892" y="742548"/>
                      </a:lnTo>
                      <a:lnTo>
                        <a:pt x="409307" y="749792"/>
                      </a:lnTo>
                      <a:lnTo>
                        <a:pt x="405685" y="754622"/>
                      </a:lnTo>
                      <a:lnTo>
                        <a:pt x="404477" y="770317"/>
                      </a:lnTo>
                      <a:lnTo>
                        <a:pt x="407496" y="776354"/>
                      </a:lnTo>
                      <a:lnTo>
                        <a:pt x="408099" y="784203"/>
                      </a:lnTo>
                      <a:lnTo>
                        <a:pt x="406892" y="794465"/>
                      </a:lnTo>
                      <a:lnTo>
                        <a:pt x="403270" y="798691"/>
                      </a:lnTo>
                      <a:lnTo>
                        <a:pt x="397233" y="801710"/>
                      </a:lnTo>
                      <a:lnTo>
                        <a:pt x="385762" y="797484"/>
                      </a:lnTo>
                      <a:lnTo>
                        <a:pt x="374896" y="797484"/>
                      </a:lnTo>
                      <a:lnTo>
                        <a:pt x="364633" y="796277"/>
                      </a:lnTo>
                      <a:lnTo>
                        <a:pt x="359200" y="799295"/>
                      </a:lnTo>
                      <a:lnTo>
                        <a:pt x="351955" y="801710"/>
                      </a:lnTo>
                      <a:lnTo>
                        <a:pt x="341693" y="807143"/>
                      </a:lnTo>
                      <a:lnTo>
                        <a:pt x="341089" y="813180"/>
                      </a:lnTo>
                      <a:lnTo>
                        <a:pt x="344711" y="822236"/>
                      </a:lnTo>
                      <a:lnTo>
                        <a:pt x="340485" y="827669"/>
                      </a:lnTo>
                      <a:lnTo>
                        <a:pt x="334448" y="824650"/>
                      </a:lnTo>
                      <a:lnTo>
                        <a:pt x="333241" y="817406"/>
                      </a:lnTo>
                      <a:lnTo>
                        <a:pt x="330826" y="814388"/>
                      </a:lnTo>
                      <a:lnTo>
                        <a:pt x="325997" y="815595"/>
                      </a:lnTo>
                      <a:lnTo>
                        <a:pt x="326600" y="829480"/>
                      </a:lnTo>
                      <a:lnTo>
                        <a:pt x="321167" y="838536"/>
                      </a:lnTo>
                      <a:lnTo>
                        <a:pt x="313923" y="843365"/>
                      </a:lnTo>
                      <a:lnTo>
                        <a:pt x="306678" y="843969"/>
                      </a:lnTo>
                      <a:lnTo>
                        <a:pt x="301849" y="842761"/>
                      </a:lnTo>
                      <a:lnTo>
                        <a:pt x="295812" y="839743"/>
                      </a:lnTo>
                      <a:lnTo>
                        <a:pt x="285549" y="828876"/>
                      </a:lnTo>
                      <a:lnTo>
                        <a:pt x="278908" y="827669"/>
                      </a:lnTo>
                      <a:lnTo>
                        <a:pt x="269853" y="836121"/>
                      </a:lnTo>
                      <a:lnTo>
                        <a:pt x="256571" y="832499"/>
                      </a:lnTo>
                      <a:lnTo>
                        <a:pt x="247516" y="831291"/>
                      </a:lnTo>
                      <a:lnTo>
                        <a:pt x="237857" y="831291"/>
                      </a:lnTo>
                      <a:lnTo>
                        <a:pt x="230612" y="835517"/>
                      </a:lnTo>
                      <a:lnTo>
                        <a:pt x="224575" y="837328"/>
                      </a:lnTo>
                      <a:lnTo>
                        <a:pt x="219746" y="842158"/>
                      </a:lnTo>
                      <a:lnTo>
                        <a:pt x="209483" y="840950"/>
                      </a:lnTo>
                      <a:lnTo>
                        <a:pt x="206465" y="842761"/>
                      </a:lnTo>
                      <a:lnTo>
                        <a:pt x="208276" y="849402"/>
                      </a:lnTo>
                      <a:lnTo>
                        <a:pt x="205861" y="855439"/>
                      </a:lnTo>
                      <a:lnTo>
                        <a:pt x="204653" y="862080"/>
                      </a:lnTo>
                      <a:lnTo>
                        <a:pt x="201635" y="865098"/>
                      </a:lnTo>
                      <a:lnTo>
                        <a:pt x="196805" y="866305"/>
                      </a:lnTo>
                      <a:lnTo>
                        <a:pt x="191372" y="869928"/>
                      </a:lnTo>
                      <a:lnTo>
                        <a:pt x="191976" y="872342"/>
                      </a:lnTo>
                      <a:lnTo>
                        <a:pt x="188354" y="880794"/>
                      </a:lnTo>
                      <a:lnTo>
                        <a:pt x="180505" y="880794"/>
                      </a:lnTo>
                      <a:lnTo>
                        <a:pt x="180505" y="883813"/>
                      </a:lnTo>
                      <a:lnTo>
                        <a:pt x="175072" y="885624"/>
                      </a:lnTo>
                      <a:lnTo>
                        <a:pt x="167828" y="882001"/>
                      </a:lnTo>
                      <a:lnTo>
                        <a:pt x="162395" y="870531"/>
                      </a:lnTo>
                      <a:lnTo>
                        <a:pt x="158169" y="871135"/>
                      </a:lnTo>
                      <a:lnTo>
                        <a:pt x="154547" y="878379"/>
                      </a:lnTo>
                      <a:lnTo>
                        <a:pt x="149113" y="875361"/>
                      </a:lnTo>
                      <a:lnTo>
                        <a:pt x="139454" y="874757"/>
                      </a:lnTo>
                      <a:lnTo>
                        <a:pt x="131002" y="870531"/>
                      </a:lnTo>
                      <a:lnTo>
                        <a:pt x="126776" y="871739"/>
                      </a:lnTo>
                      <a:lnTo>
                        <a:pt x="124965" y="875361"/>
                      </a:lnTo>
                      <a:lnTo>
                        <a:pt x="120136" y="875361"/>
                      </a:lnTo>
                      <a:lnTo>
                        <a:pt x="112891" y="877172"/>
                      </a:lnTo>
                      <a:lnTo>
                        <a:pt x="95988" y="872946"/>
                      </a:lnTo>
                      <a:lnTo>
                        <a:pt x="89347" y="875361"/>
                      </a:lnTo>
                      <a:lnTo>
                        <a:pt x="80292" y="873550"/>
                      </a:lnTo>
                      <a:lnTo>
                        <a:pt x="73047" y="867513"/>
                      </a:lnTo>
                      <a:lnTo>
                        <a:pt x="69425" y="868117"/>
                      </a:lnTo>
                      <a:lnTo>
                        <a:pt x="53125" y="865702"/>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82" name="Andhra Pradesh" descr="{&quot;Key&quot;:&quot;andhra pradesh&quot;,&quot;Name&quot;:&quot;Andhra Pradesh&quot;,&quot;Value&quot;:1.0,&quot;Formula&quot;:&quot;&quot;,&quot;Text&quot;:&quot;&quot;,&quot;OfficeApplication&quot;:1,&quot;HasValue&quot;:true}">
                  <a:extLst>
                    <a:ext uri="{FF2B5EF4-FFF2-40B4-BE49-F238E27FC236}">
                      <a16:creationId xmlns:a16="http://schemas.microsoft.com/office/drawing/2014/main" id="{A3E0AD71-9BE0-4563-8304-A32882C2E0B2}"/>
                    </a:ext>
                  </a:extLst>
                </p:cNvPr>
                <p:cNvSpPr/>
                <p:nvPr/>
              </p:nvSpPr>
              <p:spPr>
                <a:xfrm>
                  <a:off x="4849969" y="4222258"/>
                  <a:ext cx="1648093" cy="1400577"/>
                </a:xfrm>
                <a:custGeom>
                  <a:avLst/>
                  <a:gdLst>
                    <a:gd name="connsiteX0" fmla="*/ 699685 w 1648093"/>
                    <a:gd name="connsiteY0" fmla="*/ 1191095 h 1400577"/>
                    <a:gd name="connsiteX1" fmla="*/ 703307 w 1648093"/>
                    <a:gd name="connsiteY1" fmla="*/ 1197132 h 1400577"/>
                    <a:gd name="connsiteX2" fmla="*/ 699685 w 1648093"/>
                    <a:gd name="connsiteY2" fmla="*/ 1204979 h 1400577"/>
                    <a:gd name="connsiteX3" fmla="*/ 694856 w 1648093"/>
                    <a:gd name="connsiteY3" fmla="*/ 1199546 h 1400577"/>
                    <a:gd name="connsiteX4" fmla="*/ 696063 w 1648093"/>
                    <a:gd name="connsiteY4" fmla="*/ 1194717 h 1400577"/>
                    <a:gd name="connsiteX5" fmla="*/ 699685 w 1648093"/>
                    <a:gd name="connsiteY5" fmla="*/ 1191095 h 1400577"/>
                    <a:gd name="connsiteX6" fmla="*/ 1134347 w 1648093"/>
                    <a:gd name="connsiteY6" fmla="*/ 534876 h 1400577"/>
                    <a:gd name="connsiteX7" fmla="*/ 1139780 w 1648093"/>
                    <a:gd name="connsiteY7" fmla="*/ 533065 h 1400577"/>
                    <a:gd name="connsiteX8" fmla="*/ 1147025 w 1648093"/>
                    <a:gd name="connsiteY8" fmla="*/ 531254 h 1400577"/>
                    <a:gd name="connsiteX9" fmla="*/ 1149439 w 1648093"/>
                    <a:gd name="connsiteY9" fmla="*/ 527028 h 1400577"/>
                    <a:gd name="connsiteX10" fmla="*/ 1151854 w 1648093"/>
                    <a:gd name="connsiteY10" fmla="*/ 530650 h 1400577"/>
                    <a:gd name="connsiteX11" fmla="*/ 1150043 w 1648093"/>
                    <a:gd name="connsiteY11" fmla="*/ 537291 h 1400577"/>
                    <a:gd name="connsiteX12" fmla="*/ 1147025 w 1648093"/>
                    <a:gd name="connsiteY12" fmla="*/ 542724 h 1400577"/>
                    <a:gd name="connsiteX13" fmla="*/ 1147025 w 1648093"/>
                    <a:gd name="connsiteY13" fmla="*/ 550572 h 1400577"/>
                    <a:gd name="connsiteX14" fmla="*/ 1142195 w 1648093"/>
                    <a:gd name="connsiteY14" fmla="*/ 551175 h 1400577"/>
                    <a:gd name="connsiteX15" fmla="*/ 1139177 w 1648093"/>
                    <a:gd name="connsiteY15" fmla="*/ 545139 h 1400577"/>
                    <a:gd name="connsiteX16" fmla="*/ 1133743 w 1648093"/>
                    <a:gd name="connsiteY16" fmla="*/ 542724 h 1400577"/>
                    <a:gd name="connsiteX17" fmla="*/ 1136158 w 1648093"/>
                    <a:gd name="connsiteY17" fmla="*/ 538498 h 1400577"/>
                    <a:gd name="connsiteX18" fmla="*/ 1134347 w 1648093"/>
                    <a:gd name="connsiteY18" fmla="*/ 534876 h 1400577"/>
                    <a:gd name="connsiteX19" fmla="*/ 1142799 w 1648093"/>
                    <a:gd name="connsiteY19" fmla="*/ 529442 h 1400577"/>
                    <a:gd name="connsiteX20" fmla="*/ 1139177 w 1648093"/>
                    <a:gd name="connsiteY20" fmla="*/ 527631 h 1400577"/>
                    <a:gd name="connsiteX21" fmla="*/ 1126499 w 1648093"/>
                    <a:gd name="connsiteY21" fmla="*/ 528839 h 1400577"/>
                    <a:gd name="connsiteX22" fmla="*/ 1121669 w 1648093"/>
                    <a:gd name="connsiteY22" fmla="*/ 524613 h 1400577"/>
                    <a:gd name="connsiteX23" fmla="*/ 1118047 w 1648093"/>
                    <a:gd name="connsiteY23" fmla="*/ 528839 h 1400577"/>
                    <a:gd name="connsiteX24" fmla="*/ 1121066 w 1648093"/>
                    <a:gd name="connsiteY24" fmla="*/ 530650 h 1400577"/>
                    <a:gd name="connsiteX25" fmla="*/ 1125292 w 1648093"/>
                    <a:gd name="connsiteY25" fmla="*/ 530650 h 1400577"/>
                    <a:gd name="connsiteX26" fmla="*/ 1134347 w 1648093"/>
                    <a:gd name="connsiteY26" fmla="*/ 534876 h 1400577"/>
                    <a:gd name="connsiteX27" fmla="*/ 1134951 w 1648093"/>
                    <a:gd name="connsiteY27" fmla="*/ 539705 h 1400577"/>
                    <a:gd name="connsiteX28" fmla="*/ 1133140 w 1648093"/>
                    <a:gd name="connsiteY28" fmla="*/ 542724 h 1400577"/>
                    <a:gd name="connsiteX29" fmla="*/ 1138573 w 1648093"/>
                    <a:gd name="connsiteY29" fmla="*/ 546346 h 1400577"/>
                    <a:gd name="connsiteX30" fmla="*/ 1142799 w 1648093"/>
                    <a:gd name="connsiteY30" fmla="*/ 556005 h 1400577"/>
                    <a:gd name="connsiteX31" fmla="*/ 1138573 w 1648093"/>
                    <a:gd name="connsiteY31" fmla="*/ 563853 h 1400577"/>
                    <a:gd name="connsiteX32" fmla="*/ 1126499 w 1648093"/>
                    <a:gd name="connsiteY32" fmla="*/ 568079 h 1400577"/>
                    <a:gd name="connsiteX33" fmla="*/ 1096314 w 1648093"/>
                    <a:gd name="connsiteY33" fmla="*/ 583775 h 1400577"/>
                    <a:gd name="connsiteX34" fmla="*/ 1080618 w 1648093"/>
                    <a:gd name="connsiteY34" fmla="*/ 592830 h 1400577"/>
                    <a:gd name="connsiteX35" fmla="*/ 1069751 w 1648093"/>
                    <a:gd name="connsiteY35" fmla="*/ 598264 h 1400577"/>
                    <a:gd name="connsiteX36" fmla="*/ 1058885 w 1648093"/>
                    <a:gd name="connsiteY36" fmla="*/ 600075 h 1400577"/>
                    <a:gd name="connsiteX37" fmla="*/ 1045000 w 1648093"/>
                    <a:gd name="connsiteY37" fmla="*/ 605508 h 1400577"/>
                    <a:gd name="connsiteX38" fmla="*/ 1036548 w 1648093"/>
                    <a:gd name="connsiteY38" fmla="*/ 610338 h 1400577"/>
                    <a:gd name="connsiteX39" fmla="*/ 1023267 w 1648093"/>
                    <a:gd name="connsiteY39" fmla="*/ 616375 h 1400577"/>
                    <a:gd name="connsiteX40" fmla="*/ 1016022 w 1648093"/>
                    <a:gd name="connsiteY40" fmla="*/ 611545 h 1400577"/>
                    <a:gd name="connsiteX41" fmla="*/ 1008778 w 1648093"/>
                    <a:gd name="connsiteY41" fmla="*/ 611545 h 1400577"/>
                    <a:gd name="connsiteX42" fmla="*/ 990667 w 1648093"/>
                    <a:gd name="connsiteY42" fmla="*/ 609130 h 1400577"/>
                    <a:gd name="connsiteX43" fmla="*/ 986441 w 1648093"/>
                    <a:gd name="connsiteY43" fmla="*/ 606112 h 1400577"/>
                    <a:gd name="connsiteX44" fmla="*/ 979801 w 1648093"/>
                    <a:gd name="connsiteY44" fmla="*/ 607319 h 1400577"/>
                    <a:gd name="connsiteX45" fmla="*/ 965312 w 1648093"/>
                    <a:gd name="connsiteY45" fmla="*/ 607923 h 1400577"/>
                    <a:gd name="connsiteX46" fmla="*/ 955653 w 1648093"/>
                    <a:gd name="connsiteY46" fmla="*/ 609734 h 1400577"/>
                    <a:gd name="connsiteX47" fmla="*/ 940560 w 1648093"/>
                    <a:gd name="connsiteY47" fmla="*/ 615771 h 1400577"/>
                    <a:gd name="connsiteX48" fmla="*/ 933316 w 1648093"/>
                    <a:gd name="connsiteY48" fmla="*/ 620601 h 1400577"/>
                    <a:gd name="connsiteX49" fmla="*/ 924864 w 1648093"/>
                    <a:gd name="connsiteY49" fmla="*/ 629656 h 1400577"/>
                    <a:gd name="connsiteX50" fmla="*/ 920035 w 1648093"/>
                    <a:gd name="connsiteY50" fmla="*/ 638108 h 1400577"/>
                    <a:gd name="connsiteX51" fmla="*/ 917016 w 1648093"/>
                    <a:gd name="connsiteY51" fmla="*/ 645352 h 1400577"/>
                    <a:gd name="connsiteX52" fmla="*/ 916412 w 1648093"/>
                    <a:gd name="connsiteY52" fmla="*/ 651389 h 1400577"/>
                    <a:gd name="connsiteX53" fmla="*/ 913998 w 1648093"/>
                    <a:gd name="connsiteY53" fmla="*/ 661048 h 1400577"/>
                    <a:gd name="connsiteX54" fmla="*/ 903735 w 1648093"/>
                    <a:gd name="connsiteY54" fmla="*/ 679159 h 1400577"/>
                    <a:gd name="connsiteX55" fmla="*/ 904942 w 1648093"/>
                    <a:gd name="connsiteY55" fmla="*/ 688818 h 1400577"/>
                    <a:gd name="connsiteX56" fmla="*/ 893472 w 1648093"/>
                    <a:gd name="connsiteY56" fmla="*/ 697874 h 1400577"/>
                    <a:gd name="connsiteX57" fmla="*/ 878983 w 1648093"/>
                    <a:gd name="connsiteY57" fmla="*/ 713570 h 1400577"/>
                    <a:gd name="connsiteX58" fmla="*/ 874757 w 1648093"/>
                    <a:gd name="connsiteY58" fmla="*/ 719607 h 1400577"/>
                    <a:gd name="connsiteX59" fmla="*/ 874154 w 1648093"/>
                    <a:gd name="connsiteY59" fmla="*/ 725040 h 1400577"/>
                    <a:gd name="connsiteX60" fmla="*/ 875965 w 1648093"/>
                    <a:gd name="connsiteY60" fmla="*/ 729870 h 1400577"/>
                    <a:gd name="connsiteX61" fmla="*/ 874757 w 1648093"/>
                    <a:gd name="connsiteY61" fmla="*/ 736511 h 1400577"/>
                    <a:gd name="connsiteX62" fmla="*/ 862080 w 1648093"/>
                    <a:gd name="connsiteY62" fmla="*/ 743151 h 1400577"/>
                    <a:gd name="connsiteX63" fmla="*/ 860872 w 1648093"/>
                    <a:gd name="connsiteY63" fmla="*/ 741944 h 1400577"/>
                    <a:gd name="connsiteX64" fmla="*/ 854232 w 1648093"/>
                    <a:gd name="connsiteY64" fmla="*/ 743755 h 1400577"/>
                    <a:gd name="connsiteX65" fmla="*/ 841554 w 1648093"/>
                    <a:gd name="connsiteY65" fmla="*/ 745566 h 1400577"/>
                    <a:gd name="connsiteX66" fmla="*/ 838535 w 1648093"/>
                    <a:gd name="connsiteY66" fmla="*/ 744359 h 1400577"/>
                    <a:gd name="connsiteX67" fmla="*/ 834309 w 1648093"/>
                    <a:gd name="connsiteY67" fmla="*/ 737718 h 1400577"/>
                    <a:gd name="connsiteX68" fmla="*/ 836121 w 1648093"/>
                    <a:gd name="connsiteY68" fmla="*/ 734096 h 1400577"/>
                    <a:gd name="connsiteX69" fmla="*/ 832498 w 1648093"/>
                    <a:gd name="connsiteY69" fmla="*/ 723833 h 1400577"/>
                    <a:gd name="connsiteX70" fmla="*/ 836121 w 1648093"/>
                    <a:gd name="connsiteY70" fmla="*/ 722625 h 1400577"/>
                    <a:gd name="connsiteX71" fmla="*/ 836121 w 1648093"/>
                    <a:gd name="connsiteY71" fmla="*/ 719003 h 1400577"/>
                    <a:gd name="connsiteX72" fmla="*/ 830687 w 1648093"/>
                    <a:gd name="connsiteY72" fmla="*/ 712966 h 1400577"/>
                    <a:gd name="connsiteX73" fmla="*/ 815595 w 1648093"/>
                    <a:gd name="connsiteY73" fmla="*/ 708740 h 1400577"/>
                    <a:gd name="connsiteX74" fmla="*/ 801710 w 1648093"/>
                    <a:gd name="connsiteY74" fmla="*/ 709344 h 1400577"/>
                    <a:gd name="connsiteX75" fmla="*/ 785410 w 1648093"/>
                    <a:gd name="connsiteY75" fmla="*/ 712966 h 1400577"/>
                    <a:gd name="connsiteX76" fmla="*/ 773940 w 1648093"/>
                    <a:gd name="connsiteY76" fmla="*/ 717192 h 1400577"/>
                    <a:gd name="connsiteX77" fmla="*/ 762470 w 1648093"/>
                    <a:gd name="connsiteY77" fmla="*/ 722625 h 1400577"/>
                    <a:gd name="connsiteX78" fmla="*/ 753414 w 1648093"/>
                    <a:gd name="connsiteY78" fmla="*/ 727455 h 1400577"/>
                    <a:gd name="connsiteX79" fmla="*/ 738925 w 1648093"/>
                    <a:gd name="connsiteY79" fmla="*/ 737114 h 1400577"/>
                    <a:gd name="connsiteX80" fmla="*/ 732888 w 1648093"/>
                    <a:gd name="connsiteY80" fmla="*/ 742548 h 1400577"/>
                    <a:gd name="connsiteX81" fmla="*/ 724437 w 1648093"/>
                    <a:gd name="connsiteY81" fmla="*/ 752810 h 1400577"/>
                    <a:gd name="connsiteX82" fmla="*/ 717796 w 1648093"/>
                    <a:gd name="connsiteY82" fmla="*/ 768506 h 1400577"/>
                    <a:gd name="connsiteX83" fmla="*/ 715381 w 1648093"/>
                    <a:gd name="connsiteY83" fmla="*/ 778769 h 1400577"/>
                    <a:gd name="connsiteX84" fmla="*/ 709948 w 1648093"/>
                    <a:gd name="connsiteY84" fmla="*/ 797484 h 1400577"/>
                    <a:gd name="connsiteX85" fmla="*/ 696063 w 1648093"/>
                    <a:gd name="connsiteY85" fmla="*/ 814991 h 1400577"/>
                    <a:gd name="connsiteX86" fmla="*/ 691233 w 1648093"/>
                    <a:gd name="connsiteY86" fmla="*/ 822839 h 1400577"/>
                    <a:gd name="connsiteX87" fmla="*/ 688819 w 1648093"/>
                    <a:gd name="connsiteY87" fmla="*/ 830084 h 1400577"/>
                    <a:gd name="connsiteX88" fmla="*/ 685800 w 1648093"/>
                    <a:gd name="connsiteY88" fmla="*/ 840950 h 1400577"/>
                    <a:gd name="connsiteX89" fmla="*/ 687007 w 1648093"/>
                    <a:gd name="connsiteY89" fmla="*/ 850006 h 1400577"/>
                    <a:gd name="connsiteX90" fmla="*/ 685800 w 1648093"/>
                    <a:gd name="connsiteY90" fmla="*/ 855439 h 1400577"/>
                    <a:gd name="connsiteX91" fmla="*/ 682178 w 1648093"/>
                    <a:gd name="connsiteY91" fmla="*/ 863287 h 1400577"/>
                    <a:gd name="connsiteX92" fmla="*/ 678556 w 1648093"/>
                    <a:gd name="connsiteY92" fmla="*/ 877776 h 1400577"/>
                    <a:gd name="connsiteX93" fmla="*/ 679763 w 1648093"/>
                    <a:gd name="connsiteY93" fmla="*/ 897094 h 1400577"/>
                    <a:gd name="connsiteX94" fmla="*/ 682782 w 1648093"/>
                    <a:gd name="connsiteY94" fmla="*/ 912790 h 1400577"/>
                    <a:gd name="connsiteX95" fmla="*/ 685800 w 1648093"/>
                    <a:gd name="connsiteY95" fmla="*/ 921242 h 1400577"/>
                    <a:gd name="connsiteX96" fmla="*/ 686404 w 1648093"/>
                    <a:gd name="connsiteY96" fmla="*/ 935127 h 1400577"/>
                    <a:gd name="connsiteX97" fmla="*/ 690026 w 1648093"/>
                    <a:gd name="connsiteY97" fmla="*/ 946597 h 1400577"/>
                    <a:gd name="connsiteX98" fmla="*/ 691837 w 1648093"/>
                    <a:gd name="connsiteY98" fmla="*/ 951427 h 1400577"/>
                    <a:gd name="connsiteX99" fmla="*/ 697874 w 1648093"/>
                    <a:gd name="connsiteY99" fmla="*/ 959879 h 1400577"/>
                    <a:gd name="connsiteX100" fmla="*/ 703307 w 1648093"/>
                    <a:gd name="connsiteY100" fmla="*/ 977386 h 1400577"/>
                    <a:gd name="connsiteX101" fmla="*/ 704515 w 1648093"/>
                    <a:gd name="connsiteY101" fmla="*/ 980404 h 1400577"/>
                    <a:gd name="connsiteX102" fmla="*/ 709344 w 1648093"/>
                    <a:gd name="connsiteY102" fmla="*/ 983423 h 1400577"/>
                    <a:gd name="connsiteX103" fmla="*/ 705722 w 1648093"/>
                    <a:gd name="connsiteY103" fmla="*/ 1000930 h 1400577"/>
                    <a:gd name="connsiteX104" fmla="*/ 703911 w 1648093"/>
                    <a:gd name="connsiteY104" fmla="*/ 1033529 h 1400577"/>
                    <a:gd name="connsiteX105" fmla="*/ 697874 w 1648093"/>
                    <a:gd name="connsiteY105" fmla="*/ 1049226 h 1400577"/>
                    <a:gd name="connsiteX106" fmla="*/ 695459 w 1648093"/>
                    <a:gd name="connsiteY106" fmla="*/ 1064922 h 1400577"/>
                    <a:gd name="connsiteX107" fmla="*/ 694856 w 1648093"/>
                    <a:gd name="connsiteY107" fmla="*/ 1076392 h 1400577"/>
                    <a:gd name="connsiteX108" fmla="*/ 696063 w 1648093"/>
                    <a:gd name="connsiteY108" fmla="*/ 1088466 h 1400577"/>
                    <a:gd name="connsiteX109" fmla="*/ 699081 w 1648093"/>
                    <a:gd name="connsiteY109" fmla="*/ 1104162 h 1400577"/>
                    <a:gd name="connsiteX110" fmla="*/ 703911 w 1648093"/>
                    <a:gd name="connsiteY110" fmla="*/ 1113217 h 1400577"/>
                    <a:gd name="connsiteX111" fmla="*/ 710552 w 1648093"/>
                    <a:gd name="connsiteY111" fmla="*/ 1128914 h 1400577"/>
                    <a:gd name="connsiteX112" fmla="*/ 714174 w 1648093"/>
                    <a:gd name="connsiteY112" fmla="*/ 1136158 h 1400577"/>
                    <a:gd name="connsiteX113" fmla="*/ 717192 w 1648093"/>
                    <a:gd name="connsiteY113" fmla="*/ 1145817 h 1400577"/>
                    <a:gd name="connsiteX114" fmla="*/ 719003 w 1648093"/>
                    <a:gd name="connsiteY114" fmla="*/ 1148232 h 1400577"/>
                    <a:gd name="connsiteX115" fmla="*/ 720814 w 1648093"/>
                    <a:gd name="connsiteY115" fmla="*/ 1156080 h 1400577"/>
                    <a:gd name="connsiteX116" fmla="*/ 717192 w 1648093"/>
                    <a:gd name="connsiteY116" fmla="*/ 1170569 h 1400577"/>
                    <a:gd name="connsiteX117" fmla="*/ 716588 w 1648093"/>
                    <a:gd name="connsiteY117" fmla="*/ 1180228 h 1400577"/>
                    <a:gd name="connsiteX118" fmla="*/ 719003 w 1648093"/>
                    <a:gd name="connsiteY118" fmla="*/ 1191698 h 1400577"/>
                    <a:gd name="connsiteX119" fmla="*/ 724437 w 1648093"/>
                    <a:gd name="connsiteY119" fmla="*/ 1203772 h 1400577"/>
                    <a:gd name="connsiteX120" fmla="*/ 731077 w 1648093"/>
                    <a:gd name="connsiteY120" fmla="*/ 1221883 h 1400577"/>
                    <a:gd name="connsiteX121" fmla="*/ 733492 w 1648093"/>
                    <a:gd name="connsiteY121" fmla="*/ 1227920 h 1400577"/>
                    <a:gd name="connsiteX122" fmla="*/ 729266 w 1648093"/>
                    <a:gd name="connsiteY122" fmla="*/ 1227316 h 1400577"/>
                    <a:gd name="connsiteX123" fmla="*/ 726851 w 1648093"/>
                    <a:gd name="connsiteY123" fmla="*/ 1215846 h 1400577"/>
                    <a:gd name="connsiteX124" fmla="*/ 725040 w 1648093"/>
                    <a:gd name="connsiteY124" fmla="*/ 1212827 h 1400577"/>
                    <a:gd name="connsiteX125" fmla="*/ 723229 w 1648093"/>
                    <a:gd name="connsiteY125" fmla="*/ 1203168 h 1400577"/>
                    <a:gd name="connsiteX126" fmla="*/ 715381 w 1648093"/>
                    <a:gd name="connsiteY126" fmla="*/ 1192906 h 1400577"/>
                    <a:gd name="connsiteX127" fmla="*/ 713570 w 1648093"/>
                    <a:gd name="connsiteY127" fmla="*/ 1189887 h 1400577"/>
                    <a:gd name="connsiteX128" fmla="*/ 708137 w 1648093"/>
                    <a:gd name="connsiteY128" fmla="*/ 1186265 h 1400577"/>
                    <a:gd name="connsiteX129" fmla="*/ 707533 w 1648093"/>
                    <a:gd name="connsiteY129" fmla="*/ 1180228 h 1400577"/>
                    <a:gd name="connsiteX130" fmla="*/ 700289 w 1648093"/>
                    <a:gd name="connsiteY130" fmla="*/ 1172984 h 1400577"/>
                    <a:gd name="connsiteX131" fmla="*/ 697874 w 1648093"/>
                    <a:gd name="connsiteY131" fmla="*/ 1174795 h 1400577"/>
                    <a:gd name="connsiteX132" fmla="*/ 699081 w 1648093"/>
                    <a:gd name="connsiteY132" fmla="*/ 1181435 h 1400577"/>
                    <a:gd name="connsiteX133" fmla="*/ 697270 w 1648093"/>
                    <a:gd name="connsiteY133" fmla="*/ 1192302 h 1400577"/>
                    <a:gd name="connsiteX134" fmla="*/ 694856 w 1648093"/>
                    <a:gd name="connsiteY134" fmla="*/ 1192302 h 1400577"/>
                    <a:gd name="connsiteX135" fmla="*/ 688819 w 1648093"/>
                    <a:gd name="connsiteY135" fmla="*/ 1183850 h 1400577"/>
                    <a:gd name="connsiteX136" fmla="*/ 683385 w 1648093"/>
                    <a:gd name="connsiteY136" fmla="*/ 1187472 h 1400577"/>
                    <a:gd name="connsiteX137" fmla="*/ 683385 w 1648093"/>
                    <a:gd name="connsiteY137" fmla="*/ 1192906 h 1400577"/>
                    <a:gd name="connsiteX138" fmla="*/ 679763 w 1648093"/>
                    <a:gd name="connsiteY138" fmla="*/ 1198339 h 1400577"/>
                    <a:gd name="connsiteX139" fmla="*/ 683989 w 1648093"/>
                    <a:gd name="connsiteY139" fmla="*/ 1203772 h 1400577"/>
                    <a:gd name="connsiteX140" fmla="*/ 686404 w 1648093"/>
                    <a:gd name="connsiteY140" fmla="*/ 1204979 h 1400577"/>
                    <a:gd name="connsiteX141" fmla="*/ 691233 w 1648093"/>
                    <a:gd name="connsiteY141" fmla="*/ 1212224 h 1400577"/>
                    <a:gd name="connsiteX142" fmla="*/ 697270 w 1648093"/>
                    <a:gd name="connsiteY142" fmla="*/ 1213431 h 1400577"/>
                    <a:gd name="connsiteX143" fmla="*/ 702100 w 1648093"/>
                    <a:gd name="connsiteY143" fmla="*/ 1218261 h 1400577"/>
                    <a:gd name="connsiteX144" fmla="*/ 705118 w 1648093"/>
                    <a:gd name="connsiteY144" fmla="*/ 1217053 h 1400577"/>
                    <a:gd name="connsiteX145" fmla="*/ 717796 w 1648093"/>
                    <a:gd name="connsiteY145" fmla="*/ 1219468 h 1400577"/>
                    <a:gd name="connsiteX146" fmla="*/ 722625 w 1648093"/>
                    <a:gd name="connsiteY146" fmla="*/ 1221883 h 1400577"/>
                    <a:gd name="connsiteX147" fmla="*/ 725040 w 1648093"/>
                    <a:gd name="connsiteY147" fmla="*/ 1227920 h 1400577"/>
                    <a:gd name="connsiteX148" fmla="*/ 729870 w 1648093"/>
                    <a:gd name="connsiteY148" fmla="*/ 1231542 h 1400577"/>
                    <a:gd name="connsiteX149" fmla="*/ 733492 w 1648093"/>
                    <a:gd name="connsiteY149" fmla="*/ 1231542 h 1400577"/>
                    <a:gd name="connsiteX150" fmla="*/ 734096 w 1648093"/>
                    <a:gd name="connsiteY150" fmla="*/ 1243012 h 1400577"/>
                    <a:gd name="connsiteX151" fmla="*/ 725644 w 1648093"/>
                    <a:gd name="connsiteY151" fmla="*/ 1239390 h 1400577"/>
                    <a:gd name="connsiteX152" fmla="*/ 722625 w 1648093"/>
                    <a:gd name="connsiteY152" fmla="*/ 1227316 h 1400577"/>
                    <a:gd name="connsiteX153" fmla="*/ 719607 w 1648093"/>
                    <a:gd name="connsiteY153" fmla="*/ 1223694 h 1400577"/>
                    <a:gd name="connsiteX154" fmla="*/ 713570 w 1648093"/>
                    <a:gd name="connsiteY154" fmla="*/ 1220072 h 1400577"/>
                    <a:gd name="connsiteX155" fmla="*/ 708741 w 1648093"/>
                    <a:gd name="connsiteY155" fmla="*/ 1221279 h 1400577"/>
                    <a:gd name="connsiteX156" fmla="*/ 702704 w 1648093"/>
                    <a:gd name="connsiteY156" fmla="*/ 1220675 h 1400577"/>
                    <a:gd name="connsiteX157" fmla="*/ 700893 w 1648093"/>
                    <a:gd name="connsiteY157" fmla="*/ 1220675 h 1400577"/>
                    <a:gd name="connsiteX158" fmla="*/ 700289 w 1648093"/>
                    <a:gd name="connsiteY158" fmla="*/ 1220675 h 1400577"/>
                    <a:gd name="connsiteX159" fmla="*/ 699685 w 1648093"/>
                    <a:gd name="connsiteY159" fmla="*/ 1220072 h 1400577"/>
                    <a:gd name="connsiteX160" fmla="*/ 698478 w 1648093"/>
                    <a:gd name="connsiteY160" fmla="*/ 1219468 h 1400577"/>
                    <a:gd name="connsiteX161" fmla="*/ 696667 w 1648093"/>
                    <a:gd name="connsiteY161" fmla="*/ 1217657 h 1400577"/>
                    <a:gd name="connsiteX162" fmla="*/ 696063 w 1648093"/>
                    <a:gd name="connsiteY162" fmla="*/ 1217053 h 1400577"/>
                    <a:gd name="connsiteX163" fmla="*/ 693648 w 1648093"/>
                    <a:gd name="connsiteY163" fmla="*/ 1215846 h 1400577"/>
                    <a:gd name="connsiteX164" fmla="*/ 689422 w 1648093"/>
                    <a:gd name="connsiteY164" fmla="*/ 1215242 h 1400577"/>
                    <a:gd name="connsiteX165" fmla="*/ 688215 w 1648093"/>
                    <a:gd name="connsiteY165" fmla="*/ 1214035 h 1400577"/>
                    <a:gd name="connsiteX166" fmla="*/ 687007 w 1648093"/>
                    <a:gd name="connsiteY166" fmla="*/ 1210413 h 1400577"/>
                    <a:gd name="connsiteX167" fmla="*/ 685196 w 1648093"/>
                    <a:gd name="connsiteY167" fmla="*/ 1209809 h 1400577"/>
                    <a:gd name="connsiteX168" fmla="*/ 684593 w 1648093"/>
                    <a:gd name="connsiteY168" fmla="*/ 1210413 h 1400577"/>
                    <a:gd name="connsiteX169" fmla="*/ 683385 w 1648093"/>
                    <a:gd name="connsiteY169" fmla="*/ 1207998 h 1400577"/>
                    <a:gd name="connsiteX170" fmla="*/ 677952 w 1648093"/>
                    <a:gd name="connsiteY170" fmla="*/ 1211620 h 1400577"/>
                    <a:gd name="connsiteX171" fmla="*/ 666482 w 1648093"/>
                    <a:gd name="connsiteY171" fmla="*/ 1210413 h 1400577"/>
                    <a:gd name="connsiteX172" fmla="*/ 676141 w 1648093"/>
                    <a:gd name="connsiteY172" fmla="*/ 1219468 h 1400577"/>
                    <a:gd name="connsiteX173" fmla="*/ 670104 w 1648093"/>
                    <a:gd name="connsiteY173" fmla="*/ 1218864 h 1400577"/>
                    <a:gd name="connsiteX174" fmla="*/ 667689 w 1648093"/>
                    <a:gd name="connsiteY174" fmla="*/ 1224901 h 1400577"/>
                    <a:gd name="connsiteX175" fmla="*/ 661048 w 1648093"/>
                    <a:gd name="connsiteY175" fmla="*/ 1226109 h 1400577"/>
                    <a:gd name="connsiteX176" fmla="*/ 661048 w 1648093"/>
                    <a:gd name="connsiteY176" fmla="*/ 1233353 h 1400577"/>
                    <a:gd name="connsiteX177" fmla="*/ 655011 w 1648093"/>
                    <a:gd name="connsiteY177" fmla="*/ 1236372 h 1400577"/>
                    <a:gd name="connsiteX178" fmla="*/ 655615 w 1648093"/>
                    <a:gd name="connsiteY178" fmla="*/ 1240598 h 1400577"/>
                    <a:gd name="connsiteX179" fmla="*/ 659237 w 1648093"/>
                    <a:gd name="connsiteY179" fmla="*/ 1243012 h 1400577"/>
                    <a:gd name="connsiteX180" fmla="*/ 653200 w 1648093"/>
                    <a:gd name="connsiteY180" fmla="*/ 1250860 h 1400577"/>
                    <a:gd name="connsiteX181" fmla="*/ 648975 w 1648093"/>
                    <a:gd name="connsiteY181" fmla="*/ 1251464 h 1400577"/>
                    <a:gd name="connsiteX182" fmla="*/ 638108 w 1648093"/>
                    <a:gd name="connsiteY182" fmla="*/ 1257501 h 1400577"/>
                    <a:gd name="connsiteX183" fmla="*/ 627845 w 1648093"/>
                    <a:gd name="connsiteY183" fmla="*/ 1257501 h 1400577"/>
                    <a:gd name="connsiteX184" fmla="*/ 623619 w 1648093"/>
                    <a:gd name="connsiteY184" fmla="*/ 1262331 h 1400577"/>
                    <a:gd name="connsiteX185" fmla="*/ 618186 w 1648093"/>
                    <a:gd name="connsiteY185" fmla="*/ 1258105 h 1400577"/>
                    <a:gd name="connsiteX186" fmla="*/ 616375 w 1648093"/>
                    <a:gd name="connsiteY186" fmla="*/ 1262934 h 1400577"/>
                    <a:gd name="connsiteX187" fmla="*/ 611545 w 1648093"/>
                    <a:gd name="connsiteY187" fmla="*/ 1265953 h 1400577"/>
                    <a:gd name="connsiteX188" fmla="*/ 617582 w 1648093"/>
                    <a:gd name="connsiteY188" fmla="*/ 1270179 h 1400577"/>
                    <a:gd name="connsiteX189" fmla="*/ 624223 w 1648093"/>
                    <a:gd name="connsiteY189" fmla="*/ 1273801 h 1400577"/>
                    <a:gd name="connsiteX190" fmla="*/ 616375 w 1648093"/>
                    <a:gd name="connsiteY190" fmla="*/ 1280442 h 1400577"/>
                    <a:gd name="connsiteX191" fmla="*/ 613356 w 1648093"/>
                    <a:gd name="connsiteY191" fmla="*/ 1276216 h 1400577"/>
                    <a:gd name="connsiteX192" fmla="*/ 610338 w 1648093"/>
                    <a:gd name="connsiteY192" fmla="*/ 1276820 h 1400577"/>
                    <a:gd name="connsiteX193" fmla="*/ 600679 w 1648093"/>
                    <a:gd name="connsiteY193" fmla="*/ 1271990 h 1400577"/>
                    <a:gd name="connsiteX194" fmla="*/ 603697 w 1648093"/>
                    <a:gd name="connsiteY194" fmla="*/ 1267764 h 1400577"/>
                    <a:gd name="connsiteX195" fmla="*/ 600679 w 1648093"/>
                    <a:gd name="connsiteY195" fmla="*/ 1262331 h 1400577"/>
                    <a:gd name="connsiteX196" fmla="*/ 592831 w 1648093"/>
                    <a:gd name="connsiteY196" fmla="*/ 1264142 h 1400577"/>
                    <a:gd name="connsiteX197" fmla="*/ 590416 w 1648093"/>
                    <a:gd name="connsiteY197" fmla="*/ 1267160 h 1400577"/>
                    <a:gd name="connsiteX198" fmla="*/ 586794 w 1648093"/>
                    <a:gd name="connsiteY198" fmla="*/ 1265349 h 1400577"/>
                    <a:gd name="connsiteX199" fmla="*/ 583172 w 1648093"/>
                    <a:gd name="connsiteY199" fmla="*/ 1269575 h 1400577"/>
                    <a:gd name="connsiteX200" fmla="*/ 578946 w 1648093"/>
                    <a:gd name="connsiteY200" fmla="*/ 1268971 h 1400577"/>
                    <a:gd name="connsiteX201" fmla="*/ 574116 w 1648093"/>
                    <a:gd name="connsiteY201" fmla="*/ 1262934 h 1400577"/>
                    <a:gd name="connsiteX202" fmla="*/ 572909 w 1648093"/>
                    <a:gd name="connsiteY202" fmla="*/ 1256294 h 1400577"/>
                    <a:gd name="connsiteX203" fmla="*/ 565061 w 1648093"/>
                    <a:gd name="connsiteY203" fmla="*/ 1255086 h 1400577"/>
                    <a:gd name="connsiteX204" fmla="*/ 556609 w 1648093"/>
                    <a:gd name="connsiteY204" fmla="*/ 1253275 h 1400577"/>
                    <a:gd name="connsiteX205" fmla="*/ 548761 w 1648093"/>
                    <a:gd name="connsiteY205" fmla="*/ 1253879 h 1400577"/>
                    <a:gd name="connsiteX206" fmla="*/ 539705 w 1648093"/>
                    <a:gd name="connsiteY206" fmla="*/ 1257501 h 1400577"/>
                    <a:gd name="connsiteX207" fmla="*/ 546346 w 1648093"/>
                    <a:gd name="connsiteY207" fmla="*/ 1261727 h 1400577"/>
                    <a:gd name="connsiteX208" fmla="*/ 549364 w 1648093"/>
                    <a:gd name="connsiteY208" fmla="*/ 1261123 h 1400577"/>
                    <a:gd name="connsiteX209" fmla="*/ 546346 w 1648093"/>
                    <a:gd name="connsiteY209" fmla="*/ 1271386 h 1400577"/>
                    <a:gd name="connsiteX210" fmla="*/ 547553 w 1648093"/>
                    <a:gd name="connsiteY210" fmla="*/ 1276820 h 1400577"/>
                    <a:gd name="connsiteX211" fmla="*/ 552383 w 1648093"/>
                    <a:gd name="connsiteY211" fmla="*/ 1273197 h 1400577"/>
                    <a:gd name="connsiteX212" fmla="*/ 554194 w 1648093"/>
                    <a:gd name="connsiteY212" fmla="*/ 1276216 h 1400577"/>
                    <a:gd name="connsiteX213" fmla="*/ 549364 w 1648093"/>
                    <a:gd name="connsiteY213" fmla="*/ 1278027 h 1400577"/>
                    <a:gd name="connsiteX214" fmla="*/ 549364 w 1648093"/>
                    <a:gd name="connsiteY214" fmla="*/ 1282857 h 1400577"/>
                    <a:gd name="connsiteX215" fmla="*/ 542120 w 1648093"/>
                    <a:gd name="connsiteY215" fmla="*/ 1282857 h 1400577"/>
                    <a:gd name="connsiteX216" fmla="*/ 538498 w 1648093"/>
                    <a:gd name="connsiteY216" fmla="*/ 1284668 h 1400577"/>
                    <a:gd name="connsiteX217" fmla="*/ 537291 w 1648093"/>
                    <a:gd name="connsiteY217" fmla="*/ 1288894 h 1400577"/>
                    <a:gd name="connsiteX218" fmla="*/ 534272 w 1648093"/>
                    <a:gd name="connsiteY218" fmla="*/ 1287686 h 1400577"/>
                    <a:gd name="connsiteX219" fmla="*/ 534876 w 1648093"/>
                    <a:gd name="connsiteY219" fmla="*/ 1295534 h 1400577"/>
                    <a:gd name="connsiteX220" fmla="*/ 524009 w 1648093"/>
                    <a:gd name="connsiteY220" fmla="*/ 1297949 h 1400577"/>
                    <a:gd name="connsiteX221" fmla="*/ 519180 w 1648093"/>
                    <a:gd name="connsiteY221" fmla="*/ 1296138 h 1400577"/>
                    <a:gd name="connsiteX222" fmla="*/ 518576 w 1648093"/>
                    <a:gd name="connsiteY222" fmla="*/ 1292516 h 1400577"/>
                    <a:gd name="connsiteX223" fmla="*/ 509520 w 1648093"/>
                    <a:gd name="connsiteY223" fmla="*/ 1293723 h 1400577"/>
                    <a:gd name="connsiteX224" fmla="*/ 506502 w 1648093"/>
                    <a:gd name="connsiteY224" fmla="*/ 1301571 h 1400577"/>
                    <a:gd name="connsiteX225" fmla="*/ 502276 w 1648093"/>
                    <a:gd name="connsiteY225" fmla="*/ 1302779 h 1400577"/>
                    <a:gd name="connsiteX226" fmla="*/ 497446 w 1648093"/>
                    <a:gd name="connsiteY226" fmla="*/ 1310626 h 1400577"/>
                    <a:gd name="connsiteX227" fmla="*/ 499257 w 1648093"/>
                    <a:gd name="connsiteY227" fmla="*/ 1313645 h 1400577"/>
                    <a:gd name="connsiteX228" fmla="*/ 498050 w 1648093"/>
                    <a:gd name="connsiteY228" fmla="*/ 1318474 h 1400577"/>
                    <a:gd name="connsiteX229" fmla="*/ 493824 w 1648093"/>
                    <a:gd name="connsiteY229" fmla="*/ 1320286 h 1400577"/>
                    <a:gd name="connsiteX230" fmla="*/ 484165 w 1648093"/>
                    <a:gd name="connsiteY230" fmla="*/ 1316663 h 1400577"/>
                    <a:gd name="connsiteX231" fmla="*/ 479939 w 1648093"/>
                    <a:gd name="connsiteY231" fmla="*/ 1319078 h 1400577"/>
                    <a:gd name="connsiteX232" fmla="*/ 476921 w 1648093"/>
                    <a:gd name="connsiteY232" fmla="*/ 1319078 h 1400577"/>
                    <a:gd name="connsiteX233" fmla="*/ 473299 w 1648093"/>
                    <a:gd name="connsiteY233" fmla="*/ 1313645 h 1400577"/>
                    <a:gd name="connsiteX234" fmla="*/ 462432 w 1648093"/>
                    <a:gd name="connsiteY234" fmla="*/ 1309419 h 1400577"/>
                    <a:gd name="connsiteX235" fmla="*/ 458810 w 1648093"/>
                    <a:gd name="connsiteY235" fmla="*/ 1305797 h 1400577"/>
                    <a:gd name="connsiteX236" fmla="*/ 451565 w 1648093"/>
                    <a:gd name="connsiteY236" fmla="*/ 1308815 h 1400577"/>
                    <a:gd name="connsiteX237" fmla="*/ 444925 w 1648093"/>
                    <a:gd name="connsiteY237" fmla="*/ 1307608 h 1400577"/>
                    <a:gd name="connsiteX238" fmla="*/ 438284 w 1648093"/>
                    <a:gd name="connsiteY238" fmla="*/ 1317871 h 1400577"/>
                    <a:gd name="connsiteX239" fmla="*/ 437680 w 1648093"/>
                    <a:gd name="connsiteY239" fmla="*/ 1307004 h 1400577"/>
                    <a:gd name="connsiteX240" fmla="*/ 428021 w 1648093"/>
                    <a:gd name="connsiteY240" fmla="*/ 1307004 h 1400577"/>
                    <a:gd name="connsiteX241" fmla="*/ 421381 w 1648093"/>
                    <a:gd name="connsiteY241" fmla="*/ 1305797 h 1400577"/>
                    <a:gd name="connsiteX242" fmla="*/ 416551 w 1648093"/>
                    <a:gd name="connsiteY242" fmla="*/ 1310626 h 1400577"/>
                    <a:gd name="connsiteX243" fmla="*/ 408703 w 1648093"/>
                    <a:gd name="connsiteY243" fmla="*/ 1312438 h 1400577"/>
                    <a:gd name="connsiteX244" fmla="*/ 401459 w 1648093"/>
                    <a:gd name="connsiteY244" fmla="*/ 1310023 h 1400577"/>
                    <a:gd name="connsiteX245" fmla="*/ 399647 w 1648093"/>
                    <a:gd name="connsiteY245" fmla="*/ 1320889 h 1400577"/>
                    <a:gd name="connsiteX246" fmla="*/ 390592 w 1648093"/>
                    <a:gd name="connsiteY246" fmla="*/ 1317871 h 1400577"/>
                    <a:gd name="connsiteX247" fmla="*/ 384555 w 1648093"/>
                    <a:gd name="connsiteY247" fmla="*/ 1327530 h 1400577"/>
                    <a:gd name="connsiteX248" fmla="*/ 389988 w 1648093"/>
                    <a:gd name="connsiteY248" fmla="*/ 1339000 h 1400577"/>
                    <a:gd name="connsiteX249" fmla="*/ 385159 w 1648093"/>
                    <a:gd name="connsiteY249" fmla="*/ 1340208 h 1400577"/>
                    <a:gd name="connsiteX250" fmla="*/ 381537 w 1648093"/>
                    <a:gd name="connsiteY250" fmla="*/ 1348659 h 1400577"/>
                    <a:gd name="connsiteX251" fmla="*/ 380933 w 1648093"/>
                    <a:gd name="connsiteY251" fmla="*/ 1352282 h 1400577"/>
                    <a:gd name="connsiteX252" fmla="*/ 378518 w 1648093"/>
                    <a:gd name="connsiteY252" fmla="*/ 1355904 h 1400577"/>
                    <a:gd name="connsiteX253" fmla="*/ 379726 w 1648093"/>
                    <a:gd name="connsiteY253" fmla="*/ 1361941 h 1400577"/>
                    <a:gd name="connsiteX254" fmla="*/ 377914 w 1648093"/>
                    <a:gd name="connsiteY254" fmla="*/ 1363148 h 1400577"/>
                    <a:gd name="connsiteX255" fmla="*/ 376103 w 1648093"/>
                    <a:gd name="connsiteY255" fmla="*/ 1370996 h 1400577"/>
                    <a:gd name="connsiteX256" fmla="*/ 371274 w 1648093"/>
                    <a:gd name="connsiteY256" fmla="*/ 1374618 h 1400577"/>
                    <a:gd name="connsiteX257" fmla="*/ 368859 w 1648093"/>
                    <a:gd name="connsiteY257" fmla="*/ 1379448 h 1400577"/>
                    <a:gd name="connsiteX258" fmla="*/ 370066 w 1648093"/>
                    <a:gd name="connsiteY258" fmla="*/ 1386089 h 1400577"/>
                    <a:gd name="connsiteX259" fmla="*/ 364633 w 1648093"/>
                    <a:gd name="connsiteY259" fmla="*/ 1389711 h 1400577"/>
                    <a:gd name="connsiteX260" fmla="*/ 362822 w 1648093"/>
                    <a:gd name="connsiteY260" fmla="*/ 1384881 h 1400577"/>
                    <a:gd name="connsiteX261" fmla="*/ 358596 w 1648093"/>
                    <a:gd name="connsiteY261" fmla="*/ 1378844 h 1400577"/>
                    <a:gd name="connsiteX262" fmla="*/ 357992 w 1648093"/>
                    <a:gd name="connsiteY262" fmla="*/ 1392126 h 1400577"/>
                    <a:gd name="connsiteX263" fmla="*/ 354370 w 1648093"/>
                    <a:gd name="connsiteY263" fmla="*/ 1393937 h 1400577"/>
                    <a:gd name="connsiteX264" fmla="*/ 350748 w 1648093"/>
                    <a:gd name="connsiteY264" fmla="*/ 1393333 h 1400577"/>
                    <a:gd name="connsiteX265" fmla="*/ 351352 w 1648093"/>
                    <a:gd name="connsiteY265" fmla="*/ 1402992 h 1400577"/>
                    <a:gd name="connsiteX266" fmla="*/ 332637 w 1648093"/>
                    <a:gd name="connsiteY266" fmla="*/ 1404200 h 1400577"/>
                    <a:gd name="connsiteX267" fmla="*/ 319960 w 1648093"/>
                    <a:gd name="connsiteY267" fmla="*/ 1395748 h 1400577"/>
                    <a:gd name="connsiteX268" fmla="*/ 316337 w 1648093"/>
                    <a:gd name="connsiteY268" fmla="*/ 1395144 h 1400577"/>
                    <a:gd name="connsiteX269" fmla="*/ 310904 w 1648093"/>
                    <a:gd name="connsiteY269" fmla="*/ 1387296 h 1400577"/>
                    <a:gd name="connsiteX270" fmla="*/ 303056 w 1648093"/>
                    <a:gd name="connsiteY270" fmla="*/ 1387900 h 1400577"/>
                    <a:gd name="connsiteX271" fmla="*/ 303660 w 1648093"/>
                    <a:gd name="connsiteY271" fmla="*/ 1390918 h 1400577"/>
                    <a:gd name="connsiteX272" fmla="*/ 297623 w 1648093"/>
                    <a:gd name="connsiteY272" fmla="*/ 1390315 h 1400577"/>
                    <a:gd name="connsiteX273" fmla="*/ 296415 w 1648093"/>
                    <a:gd name="connsiteY273" fmla="*/ 1386692 h 1400577"/>
                    <a:gd name="connsiteX274" fmla="*/ 301849 w 1648093"/>
                    <a:gd name="connsiteY274" fmla="*/ 1384881 h 1400577"/>
                    <a:gd name="connsiteX275" fmla="*/ 303660 w 1648093"/>
                    <a:gd name="connsiteY275" fmla="*/ 1381259 h 1400577"/>
                    <a:gd name="connsiteX276" fmla="*/ 301849 w 1648093"/>
                    <a:gd name="connsiteY276" fmla="*/ 1374015 h 1400577"/>
                    <a:gd name="connsiteX277" fmla="*/ 303660 w 1648093"/>
                    <a:gd name="connsiteY277" fmla="*/ 1372204 h 1400577"/>
                    <a:gd name="connsiteX278" fmla="*/ 306074 w 1648093"/>
                    <a:gd name="connsiteY278" fmla="*/ 1361941 h 1400577"/>
                    <a:gd name="connsiteX279" fmla="*/ 306074 w 1648093"/>
                    <a:gd name="connsiteY279" fmla="*/ 1354093 h 1400577"/>
                    <a:gd name="connsiteX280" fmla="*/ 310300 w 1648093"/>
                    <a:gd name="connsiteY280" fmla="*/ 1352282 h 1400577"/>
                    <a:gd name="connsiteX281" fmla="*/ 318752 w 1648093"/>
                    <a:gd name="connsiteY281" fmla="*/ 1354093 h 1400577"/>
                    <a:gd name="connsiteX282" fmla="*/ 319356 w 1648093"/>
                    <a:gd name="connsiteY282" fmla="*/ 1350470 h 1400577"/>
                    <a:gd name="connsiteX283" fmla="*/ 321771 w 1648093"/>
                    <a:gd name="connsiteY283" fmla="*/ 1344433 h 1400577"/>
                    <a:gd name="connsiteX284" fmla="*/ 324185 w 1648093"/>
                    <a:gd name="connsiteY284" fmla="*/ 1345641 h 1400577"/>
                    <a:gd name="connsiteX285" fmla="*/ 327808 w 1648093"/>
                    <a:gd name="connsiteY285" fmla="*/ 1337189 h 1400577"/>
                    <a:gd name="connsiteX286" fmla="*/ 334448 w 1648093"/>
                    <a:gd name="connsiteY286" fmla="*/ 1344433 h 1400577"/>
                    <a:gd name="connsiteX287" fmla="*/ 336259 w 1648093"/>
                    <a:gd name="connsiteY287" fmla="*/ 1342019 h 1400577"/>
                    <a:gd name="connsiteX288" fmla="*/ 342296 w 1648093"/>
                    <a:gd name="connsiteY288" fmla="*/ 1345641 h 1400577"/>
                    <a:gd name="connsiteX289" fmla="*/ 346522 w 1648093"/>
                    <a:gd name="connsiteY289" fmla="*/ 1343226 h 1400577"/>
                    <a:gd name="connsiteX290" fmla="*/ 343504 w 1648093"/>
                    <a:gd name="connsiteY290" fmla="*/ 1338396 h 1400577"/>
                    <a:gd name="connsiteX291" fmla="*/ 343504 w 1648093"/>
                    <a:gd name="connsiteY291" fmla="*/ 1328737 h 1400577"/>
                    <a:gd name="connsiteX292" fmla="*/ 350748 w 1648093"/>
                    <a:gd name="connsiteY292" fmla="*/ 1329945 h 1400577"/>
                    <a:gd name="connsiteX293" fmla="*/ 351352 w 1648093"/>
                    <a:gd name="connsiteY293" fmla="*/ 1326322 h 1400577"/>
                    <a:gd name="connsiteX294" fmla="*/ 349541 w 1648093"/>
                    <a:gd name="connsiteY294" fmla="*/ 1319078 h 1400577"/>
                    <a:gd name="connsiteX295" fmla="*/ 349541 w 1648093"/>
                    <a:gd name="connsiteY295" fmla="*/ 1315456 h 1400577"/>
                    <a:gd name="connsiteX296" fmla="*/ 352559 w 1648093"/>
                    <a:gd name="connsiteY296" fmla="*/ 1313041 h 1400577"/>
                    <a:gd name="connsiteX297" fmla="*/ 360407 w 1648093"/>
                    <a:gd name="connsiteY297" fmla="*/ 1310626 h 1400577"/>
                    <a:gd name="connsiteX298" fmla="*/ 359200 w 1648093"/>
                    <a:gd name="connsiteY298" fmla="*/ 1307004 h 1400577"/>
                    <a:gd name="connsiteX299" fmla="*/ 362218 w 1648093"/>
                    <a:gd name="connsiteY299" fmla="*/ 1303986 h 1400577"/>
                    <a:gd name="connsiteX300" fmla="*/ 361615 w 1648093"/>
                    <a:gd name="connsiteY300" fmla="*/ 1296742 h 1400577"/>
                    <a:gd name="connsiteX301" fmla="*/ 367048 w 1648093"/>
                    <a:gd name="connsiteY301" fmla="*/ 1294327 h 1400577"/>
                    <a:gd name="connsiteX302" fmla="*/ 367652 w 1648093"/>
                    <a:gd name="connsiteY302" fmla="*/ 1290101 h 1400577"/>
                    <a:gd name="connsiteX303" fmla="*/ 373689 w 1648093"/>
                    <a:gd name="connsiteY303" fmla="*/ 1288894 h 1400577"/>
                    <a:gd name="connsiteX304" fmla="*/ 370670 w 1648093"/>
                    <a:gd name="connsiteY304" fmla="*/ 1281649 h 1400577"/>
                    <a:gd name="connsiteX305" fmla="*/ 371878 w 1648093"/>
                    <a:gd name="connsiteY305" fmla="*/ 1272594 h 1400577"/>
                    <a:gd name="connsiteX306" fmla="*/ 375500 w 1648093"/>
                    <a:gd name="connsiteY306" fmla="*/ 1266557 h 1400577"/>
                    <a:gd name="connsiteX307" fmla="*/ 373085 w 1648093"/>
                    <a:gd name="connsiteY307" fmla="*/ 1264142 h 1400577"/>
                    <a:gd name="connsiteX308" fmla="*/ 365237 w 1648093"/>
                    <a:gd name="connsiteY308" fmla="*/ 1263538 h 1400577"/>
                    <a:gd name="connsiteX309" fmla="*/ 364029 w 1648093"/>
                    <a:gd name="connsiteY309" fmla="*/ 1267764 h 1400577"/>
                    <a:gd name="connsiteX310" fmla="*/ 359804 w 1648093"/>
                    <a:gd name="connsiteY310" fmla="*/ 1263538 h 1400577"/>
                    <a:gd name="connsiteX311" fmla="*/ 353163 w 1648093"/>
                    <a:gd name="connsiteY311" fmla="*/ 1259916 h 1400577"/>
                    <a:gd name="connsiteX312" fmla="*/ 352559 w 1648093"/>
                    <a:gd name="connsiteY312" fmla="*/ 1256294 h 1400577"/>
                    <a:gd name="connsiteX313" fmla="*/ 346522 w 1648093"/>
                    <a:gd name="connsiteY313" fmla="*/ 1258709 h 1400577"/>
                    <a:gd name="connsiteX314" fmla="*/ 344711 w 1648093"/>
                    <a:gd name="connsiteY314" fmla="*/ 1255086 h 1400577"/>
                    <a:gd name="connsiteX315" fmla="*/ 342296 w 1648093"/>
                    <a:gd name="connsiteY315" fmla="*/ 1255086 h 1400577"/>
                    <a:gd name="connsiteX316" fmla="*/ 336863 w 1648093"/>
                    <a:gd name="connsiteY316" fmla="*/ 1257501 h 1400577"/>
                    <a:gd name="connsiteX317" fmla="*/ 338674 w 1648093"/>
                    <a:gd name="connsiteY317" fmla="*/ 1251464 h 1400577"/>
                    <a:gd name="connsiteX318" fmla="*/ 329619 w 1648093"/>
                    <a:gd name="connsiteY318" fmla="*/ 1246635 h 1400577"/>
                    <a:gd name="connsiteX319" fmla="*/ 333241 w 1648093"/>
                    <a:gd name="connsiteY319" fmla="*/ 1239390 h 1400577"/>
                    <a:gd name="connsiteX320" fmla="*/ 331430 w 1648093"/>
                    <a:gd name="connsiteY320" fmla="*/ 1226109 h 1400577"/>
                    <a:gd name="connsiteX321" fmla="*/ 332033 w 1648093"/>
                    <a:gd name="connsiteY321" fmla="*/ 1217053 h 1400577"/>
                    <a:gd name="connsiteX322" fmla="*/ 335656 w 1648093"/>
                    <a:gd name="connsiteY322" fmla="*/ 1209205 h 1400577"/>
                    <a:gd name="connsiteX323" fmla="*/ 338674 w 1648093"/>
                    <a:gd name="connsiteY323" fmla="*/ 1201961 h 1400577"/>
                    <a:gd name="connsiteX324" fmla="*/ 335052 w 1648093"/>
                    <a:gd name="connsiteY324" fmla="*/ 1198943 h 1400577"/>
                    <a:gd name="connsiteX325" fmla="*/ 327204 w 1648093"/>
                    <a:gd name="connsiteY325" fmla="*/ 1199546 h 1400577"/>
                    <a:gd name="connsiteX326" fmla="*/ 321167 w 1648093"/>
                    <a:gd name="connsiteY326" fmla="*/ 1198339 h 1400577"/>
                    <a:gd name="connsiteX327" fmla="*/ 307886 w 1648093"/>
                    <a:gd name="connsiteY327" fmla="*/ 1200150 h 1400577"/>
                    <a:gd name="connsiteX328" fmla="*/ 303660 w 1648093"/>
                    <a:gd name="connsiteY328" fmla="*/ 1197735 h 1400577"/>
                    <a:gd name="connsiteX329" fmla="*/ 299434 w 1648093"/>
                    <a:gd name="connsiteY329" fmla="*/ 1198943 h 1400577"/>
                    <a:gd name="connsiteX330" fmla="*/ 295208 w 1648093"/>
                    <a:gd name="connsiteY330" fmla="*/ 1204376 h 1400577"/>
                    <a:gd name="connsiteX331" fmla="*/ 293397 w 1648093"/>
                    <a:gd name="connsiteY331" fmla="*/ 1199546 h 1400577"/>
                    <a:gd name="connsiteX332" fmla="*/ 296415 w 1648093"/>
                    <a:gd name="connsiteY332" fmla="*/ 1195924 h 1400577"/>
                    <a:gd name="connsiteX333" fmla="*/ 296415 w 1648093"/>
                    <a:gd name="connsiteY333" fmla="*/ 1191698 h 1400577"/>
                    <a:gd name="connsiteX334" fmla="*/ 289775 w 1648093"/>
                    <a:gd name="connsiteY334" fmla="*/ 1189887 h 1400577"/>
                    <a:gd name="connsiteX335" fmla="*/ 289171 w 1648093"/>
                    <a:gd name="connsiteY335" fmla="*/ 1185058 h 1400577"/>
                    <a:gd name="connsiteX336" fmla="*/ 286756 w 1648093"/>
                    <a:gd name="connsiteY336" fmla="*/ 1184454 h 1400577"/>
                    <a:gd name="connsiteX337" fmla="*/ 278304 w 1648093"/>
                    <a:gd name="connsiteY337" fmla="*/ 1185058 h 1400577"/>
                    <a:gd name="connsiteX338" fmla="*/ 272871 w 1648093"/>
                    <a:gd name="connsiteY338" fmla="*/ 1187472 h 1400577"/>
                    <a:gd name="connsiteX339" fmla="*/ 272871 w 1648093"/>
                    <a:gd name="connsiteY339" fmla="*/ 1184454 h 1400577"/>
                    <a:gd name="connsiteX340" fmla="*/ 269853 w 1648093"/>
                    <a:gd name="connsiteY340" fmla="*/ 1181435 h 1400577"/>
                    <a:gd name="connsiteX341" fmla="*/ 269853 w 1648093"/>
                    <a:gd name="connsiteY341" fmla="*/ 1176002 h 1400577"/>
                    <a:gd name="connsiteX342" fmla="*/ 274079 w 1648093"/>
                    <a:gd name="connsiteY342" fmla="*/ 1177813 h 1400577"/>
                    <a:gd name="connsiteX343" fmla="*/ 278304 w 1648093"/>
                    <a:gd name="connsiteY343" fmla="*/ 1177210 h 1400577"/>
                    <a:gd name="connsiteX344" fmla="*/ 278908 w 1648093"/>
                    <a:gd name="connsiteY344" fmla="*/ 1171173 h 1400577"/>
                    <a:gd name="connsiteX345" fmla="*/ 274079 w 1648093"/>
                    <a:gd name="connsiteY345" fmla="*/ 1166343 h 1400577"/>
                    <a:gd name="connsiteX346" fmla="*/ 279512 w 1648093"/>
                    <a:gd name="connsiteY346" fmla="*/ 1160306 h 1400577"/>
                    <a:gd name="connsiteX347" fmla="*/ 280719 w 1648093"/>
                    <a:gd name="connsiteY347" fmla="*/ 1157287 h 1400577"/>
                    <a:gd name="connsiteX348" fmla="*/ 278908 w 1648093"/>
                    <a:gd name="connsiteY348" fmla="*/ 1151854 h 1400577"/>
                    <a:gd name="connsiteX349" fmla="*/ 280719 w 1648093"/>
                    <a:gd name="connsiteY349" fmla="*/ 1147628 h 1400577"/>
                    <a:gd name="connsiteX350" fmla="*/ 278304 w 1648093"/>
                    <a:gd name="connsiteY350" fmla="*/ 1140988 h 1400577"/>
                    <a:gd name="connsiteX351" fmla="*/ 271664 w 1648093"/>
                    <a:gd name="connsiteY351" fmla="*/ 1140988 h 1400577"/>
                    <a:gd name="connsiteX352" fmla="*/ 271060 w 1648093"/>
                    <a:gd name="connsiteY352" fmla="*/ 1137365 h 1400577"/>
                    <a:gd name="connsiteX353" fmla="*/ 265023 w 1648093"/>
                    <a:gd name="connsiteY353" fmla="*/ 1133743 h 1400577"/>
                    <a:gd name="connsiteX354" fmla="*/ 264419 w 1648093"/>
                    <a:gd name="connsiteY354" fmla="*/ 1140988 h 1400577"/>
                    <a:gd name="connsiteX355" fmla="*/ 253553 w 1648093"/>
                    <a:gd name="connsiteY355" fmla="*/ 1139176 h 1400577"/>
                    <a:gd name="connsiteX356" fmla="*/ 249327 w 1648093"/>
                    <a:gd name="connsiteY356" fmla="*/ 1148232 h 1400577"/>
                    <a:gd name="connsiteX357" fmla="*/ 245705 w 1648093"/>
                    <a:gd name="connsiteY357" fmla="*/ 1147025 h 1400577"/>
                    <a:gd name="connsiteX358" fmla="*/ 244497 w 1648093"/>
                    <a:gd name="connsiteY358" fmla="*/ 1137365 h 1400577"/>
                    <a:gd name="connsiteX359" fmla="*/ 246308 w 1648093"/>
                    <a:gd name="connsiteY359" fmla="*/ 1134347 h 1400577"/>
                    <a:gd name="connsiteX360" fmla="*/ 251742 w 1648093"/>
                    <a:gd name="connsiteY360" fmla="*/ 1132536 h 1400577"/>
                    <a:gd name="connsiteX361" fmla="*/ 251138 w 1648093"/>
                    <a:gd name="connsiteY361" fmla="*/ 1125895 h 1400577"/>
                    <a:gd name="connsiteX362" fmla="*/ 251742 w 1648093"/>
                    <a:gd name="connsiteY362" fmla="*/ 1121065 h 1400577"/>
                    <a:gd name="connsiteX363" fmla="*/ 248723 w 1648093"/>
                    <a:gd name="connsiteY363" fmla="*/ 1120462 h 1400577"/>
                    <a:gd name="connsiteX364" fmla="*/ 246308 w 1648093"/>
                    <a:gd name="connsiteY364" fmla="*/ 1125291 h 1400577"/>
                    <a:gd name="connsiteX365" fmla="*/ 238460 w 1648093"/>
                    <a:gd name="connsiteY365" fmla="*/ 1131932 h 1400577"/>
                    <a:gd name="connsiteX366" fmla="*/ 233631 w 1648093"/>
                    <a:gd name="connsiteY366" fmla="*/ 1128914 h 1400577"/>
                    <a:gd name="connsiteX367" fmla="*/ 233027 w 1648093"/>
                    <a:gd name="connsiteY367" fmla="*/ 1124688 h 1400577"/>
                    <a:gd name="connsiteX368" fmla="*/ 228197 w 1648093"/>
                    <a:gd name="connsiteY368" fmla="*/ 1125291 h 1400577"/>
                    <a:gd name="connsiteX369" fmla="*/ 217935 w 1648093"/>
                    <a:gd name="connsiteY369" fmla="*/ 1124688 h 1400577"/>
                    <a:gd name="connsiteX370" fmla="*/ 216727 w 1648093"/>
                    <a:gd name="connsiteY370" fmla="*/ 1127706 h 1400577"/>
                    <a:gd name="connsiteX371" fmla="*/ 217331 w 1648093"/>
                    <a:gd name="connsiteY371" fmla="*/ 1132536 h 1400577"/>
                    <a:gd name="connsiteX372" fmla="*/ 219746 w 1648093"/>
                    <a:gd name="connsiteY372" fmla="*/ 1133743 h 1400577"/>
                    <a:gd name="connsiteX373" fmla="*/ 220953 w 1648093"/>
                    <a:gd name="connsiteY373" fmla="*/ 1139780 h 1400577"/>
                    <a:gd name="connsiteX374" fmla="*/ 215520 w 1648093"/>
                    <a:gd name="connsiteY374" fmla="*/ 1144006 h 1400577"/>
                    <a:gd name="connsiteX375" fmla="*/ 210087 w 1648093"/>
                    <a:gd name="connsiteY375" fmla="*/ 1145817 h 1400577"/>
                    <a:gd name="connsiteX376" fmla="*/ 208879 w 1648093"/>
                    <a:gd name="connsiteY376" fmla="*/ 1150647 h 1400577"/>
                    <a:gd name="connsiteX377" fmla="*/ 200427 w 1648093"/>
                    <a:gd name="connsiteY377" fmla="*/ 1151854 h 1400577"/>
                    <a:gd name="connsiteX378" fmla="*/ 197409 w 1648093"/>
                    <a:gd name="connsiteY378" fmla="*/ 1154269 h 1400577"/>
                    <a:gd name="connsiteX379" fmla="*/ 196805 w 1648093"/>
                    <a:gd name="connsiteY379" fmla="*/ 1165739 h 1400577"/>
                    <a:gd name="connsiteX380" fmla="*/ 193787 w 1648093"/>
                    <a:gd name="connsiteY380" fmla="*/ 1160306 h 1400577"/>
                    <a:gd name="connsiteX381" fmla="*/ 188353 w 1648093"/>
                    <a:gd name="connsiteY381" fmla="*/ 1162721 h 1400577"/>
                    <a:gd name="connsiteX382" fmla="*/ 188353 w 1648093"/>
                    <a:gd name="connsiteY382" fmla="*/ 1157287 h 1400577"/>
                    <a:gd name="connsiteX383" fmla="*/ 184128 w 1648093"/>
                    <a:gd name="connsiteY383" fmla="*/ 1157287 h 1400577"/>
                    <a:gd name="connsiteX384" fmla="*/ 176883 w 1648093"/>
                    <a:gd name="connsiteY384" fmla="*/ 1160910 h 1400577"/>
                    <a:gd name="connsiteX385" fmla="*/ 177487 w 1648093"/>
                    <a:gd name="connsiteY385" fmla="*/ 1167550 h 1400577"/>
                    <a:gd name="connsiteX386" fmla="*/ 173261 w 1648093"/>
                    <a:gd name="connsiteY386" fmla="*/ 1164532 h 1400577"/>
                    <a:gd name="connsiteX387" fmla="*/ 170243 w 1648093"/>
                    <a:gd name="connsiteY387" fmla="*/ 1166947 h 1400577"/>
                    <a:gd name="connsiteX388" fmla="*/ 162998 w 1648093"/>
                    <a:gd name="connsiteY388" fmla="*/ 1169361 h 1400577"/>
                    <a:gd name="connsiteX389" fmla="*/ 161791 w 1648093"/>
                    <a:gd name="connsiteY389" fmla="*/ 1164532 h 1400577"/>
                    <a:gd name="connsiteX390" fmla="*/ 157565 w 1648093"/>
                    <a:gd name="connsiteY390" fmla="*/ 1164532 h 1400577"/>
                    <a:gd name="connsiteX391" fmla="*/ 159376 w 1648093"/>
                    <a:gd name="connsiteY391" fmla="*/ 1172380 h 1400577"/>
                    <a:gd name="connsiteX392" fmla="*/ 157565 w 1648093"/>
                    <a:gd name="connsiteY392" fmla="*/ 1176002 h 1400577"/>
                    <a:gd name="connsiteX393" fmla="*/ 153943 w 1648093"/>
                    <a:gd name="connsiteY393" fmla="*/ 1172984 h 1400577"/>
                    <a:gd name="connsiteX394" fmla="*/ 149113 w 1648093"/>
                    <a:gd name="connsiteY394" fmla="*/ 1172984 h 1400577"/>
                    <a:gd name="connsiteX395" fmla="*/ 148510 w 1648093"/>
                    <a:gd name="connsiteY395" fmla="*/ 1178417 h 1400577"/>
                    <a:gd name="connsiteX396" fmla="*/ 143076 w 1648093"/>
                    <a:gd name="connsiteY396" fmla="*/ 1179021 h 1400577"/>
                    <a:gd name="connsiteX397" fmla="*/ 141869 w 1648093"/>
                    <a:gd name="connsiteY397" fmla="*/ 1174795 h 1400577"/>
                    <a:gd name="connsiteX398" fmla="*/ 144284 w 1648093"/>
                    <a:gd name="connsiteY398" fmla="*/ 1171173 h 1400577"/>
                    <a:gd name="connsiteX399" fmla="*/ 145491 w 1648093"/>
                    <a:gd name="connsiteY399" fmla="*/ 1164532 h 1400577"/>
                    <a:gd name="connsiteX400" fmla="*/ 143076 w 1648093"/>
                    <a:gd name="connsiteY400" fmla="*/ 1155476 h 1400577"/>
                    <a:gd name="connsiteX401" fmla="*/ 138850 w 1648093"/>
                    <a:gd name="connsiteY401" fmla="*/ 1154873 h 1400577"/>
                    <a:gd name="connsiteX402" fmla="*/ 134624 w 1648093"/>
                    <a:gd name="connsiteY402" fmla="*/ 1152458 h 1400577"/>
                    <a:gd name="connsiteX403" fmla="*/ 137643 w 1648093"/>
                    <a:gd name="connsiteY403" fmla="*/ 1147025 h 1400577"/>
                    <a:gd name="connsiteX404" fmla="*/ 127380 w 1648093"/>
                    <a:gd name="connsiteY404" fmla="*/ 1145817 h 1400577"/>
                    <a:gd name="connsiteX405" fmla="*/ 123154 w 1648093"/>
                    <a:gd name="connsiteY405" fmla="*/ 1142799 h 1400577"/>
                    <a:gd name="connsiteX406" fmla="*/ 116513 w 1648093"/>
                    <a:gd name="connsiteY406" fmla="*/ 1147025 h 1400577"/>
                    <a:gd name="connsiteX407" fmla="*/ 113495 w 1648093"/>
                    <a:gd name="connsiteY407" fmla="*/ 1140384 h 1400577"/>
                    <a:gd name="connsiteX408" fmla="*/ 109269 w 1648093"/>
                    <a:gd name="connsiteY408" fmla="*/ 1142799 h 1400577"/>
                    <a:gd name="connsiteX409" fmla="*/ 102025 w 1648093"/>
                    <a:gd name="connsiteY409" fmla="*/ 1144006 h 1400577"/>
                    <a:gd name="connsiteX410" fmla="*/ 99610 w 1648093"/>
                    <a:gd name="connsiteY410" fmla="*/ 1132536 h 1400577"/>
                    <a:gd name="connsiteX411" fmla="*/ 96592 w 1648093"/>
                    <a:gd name="connsiteY411" fmla="*/ 1131932 h 1400577"/>
                    <a:gd name="connsiteX412" fmla="*/ 89951 w 1648093"/>
                    <a:gd name="connsiteY412" fmla="*/ 1140384 h 1400577"/>
                    <a:gd name="connsiteX413" fmla="*/ 86329 w 1648093"/>
                    <a:gd name="connsiteY413" fmla="*/ 1139176 h 1400577"/>
                    <a:gd name="connsiteX414" fmla="*/ 88140 w 1648093"/>
                    <a:gd name="connsiteY414" fmla="*/ 1130725 h 1400577"/>
                    <a:gd name="connsiteX415" fmla="*/ 86932 w 1648093"/>
                    <a:gd name="connsiteY415" fmla="*/ 1127706 h 1400577"/>
                    <a:gd name="connsiteX416" fmla="*/ 82706 w 1648093"/>
                    <a:gd name="connsiteY416" fmla="*/ 1131328 h 1400577"/>
                    <a:gd name="connsiteX417" fmla="*/ 84518 w 1648093"/>
                    <a:gd name="connsiteY417" fmla="*/ 1138573 h 1400577"/>
                    <a:gd name="connsiteX418" fmla="*/ 79084 w 1648093"/>
                    <a:gd name="connsiteY418" fmla="*/ 1139780 h 1400577"/>
                    <a:gd name="connsiteX419" fmla="*/ 76066 w 1648093"/>
                    <a:gd name="connsiteY419" fmla="*/ 1143402 h 1400577"/>
                    <a:gd name="connsiteX420" fmla="*/ 80292 w 1648093"/>
                    <a:gd name="connsiteY420" fmla="*/ 1145213 h 1400577"/>
                    <a:gd name="connsiteX421" fmla="*/ 83914 w 1648093"/>
                    <a:gd name="connsiteY421" fmla="*/ 1148836 h 1400577"/>
                    <a:gd name="connsiteX422" fmla="*/ 82103 w 1648093"/>
                    <a:gd name="connsiteY422" fmla="*/ 1152458 h 1400577"/>
                    <a:gd name="connsiteX423" fmla="*/ 85725 w 1648093"/>
                    <a:gd name="connsiteY423" fmla="*/ 1158495 h 1400577"/>
                    <a:gd name="connsiteX424" fmla="*/ 84518 w 1648093"/>
                    <a:gd name="connsiteY424" fmla="*/ 1162117 h 1400577"/>
                    <a:gd name="connsiteX425" fmla="*/ 75462 w 1648093"/>
                    <a:gd name="connsiteY425" fmla="*/ 1162721 h 1400577"/>
                    <a:gd name="connsiteX426" fmla="*/ 70029 w 1648093"/>
                    <a:gd name="connsiteY426" fmla="*/ 1160910 h 1400577"/>
                    <a:gd name="connsiteX427" fmla="*/ 67010 w 1648093"/>
                    <a:gd name="connsiteY427" fmla="*/ 1162117 h 1400577"/>
                    <a:gd name="connsiteX428" fmla="*/ 67010 w 1648093"/>
                    <a:gd name="connsiteY428" fmla="*/ 1165739 h 1400577"/>
                    <a:gd name="connsiteX429" fmla="*/ 62784 w 1648093"/>
                    <a:gd name="connsiteY429" fmla="*/ 1165136 h 1400577"/>
                    <a:gd name="connsiteX430" fmla="*/ 57351 w 1648093"/>
                    <a:gd name="connsiteY430" fmla="*/ 1159099 h 1400577"/>
                    <a:gd name="connsiteX431" fmla="*/ 54333 w 1648093"/>
                    <a:gd name="connsiteY431" fmla="*/ 1159099 h 1400577"/>
                    <a:gd name="connsiteX432" fmla="*/ 52522 w 1648093"/>
                    <a:gd name="connsiteY432" fmla="*/ 1166947 h 1400577"/>
                    <a:gd name="connsiteX433" fmla="*/ 48900 w 1648093"/>
                    <a:gd name="connsiteY433" fmla="*/ 1164532 h 1400577"/>
                    <a:gd name="connsiteX434" fmla="*/ 46485 w 1648093"/>
                    <a:gd name="connsiteY434" fmla="*/ 1155476 h 1400577"/>
                    <a:gd name="connsiteX435" fmla="*/ 47088 w 1648093"/>
                    <a:gd name="connsiteY435" fmla="*/ 1151250 h 1400577"/>
                    <a:gd name="connsiteX436" fmla="*/ 44070 w 1648093"/>
                    <a:gd name="connsiteY436" fmla="*/ 1150043 h 1400577"/>
                    <a:gd name="connsiteX437" fmla="*/ 51314 w 1648093"/>
                    <a:gd name="connsiteY437" fmla="*/ 1141591 h 1400577"/>
                    <a:gd name="connsiteX438" fmla="*/ 53729 w 1648093"/>
                    <a:gd name="connsiteY438" fmla="*/ 1132536 h 1400577"/>
                    <a:gd name="connsiteX439" fmla="*/ 58559 w 1648093"/>
                    <a:gd name="connsiteY439" fmla="*/ 1131932 h 1400577"/>
                    <a:gd name="connsiteX440" fmla="*/ 57955 w 1648093"/>
                    <a:gd name="connsiteY440" fmla="*/ 1125895 h 1400577"/>
                    <a:gd name="connsiteX441" fmla="*/ 48296 w 1648093"/>
                    <a:gd name="connsiteY441" fmla="*/ 1119254 h 1400577"/>
                    <a:gd name="connsiteX442" fmla="*/ 48900 w 1648093"/>
                    <a:gd name="connsiteY442" fmla="*/ 1113821 h 1400577"/>
                    <a:gd name="connsiteX443" fmla="*/ 45277 w 1648093"/>
                    <a:gd name="connsiteY443" fmla="*/ 1110803 h 1400577"/>
                    <a:gd name="connsiteX444" fmla="*/ 39844 w 1648093"/>
                    <a:gd name="connsiteY444" fmla="*/ 1108388 h 1400577"/>
                    <a:gd name="connsiteX445" fmla="*/ 36222 w 1648093"/>
                    <a:gd name="connsiteY445" fmla="*/ 1105369 h 1400577"/>
                    <a:gd name="connsiteX446" fmla="*/ 37429 w 1648093"/>
                    <a:gd name="connsiteY446" fmla="*/ 1099936 h 1400577"/>
                    <a:gd name="connsiteX447" fmla="*/ 44674 w 1648093"/>
                    <a:gd name="connsiteY447" fmla="*/ 1098729 h 1400577"/>
                    <a:gd name="connsiteX448" fmla="*/ 43466 w 1648093"/>
                    <a:gd name="connsiteY448" fmla="*/ 1092692 h 1400577"/>
                    <a:gd name="connsiteX449" fmla="*/ 40448 w 1648093"/>
                    <a:gd name="connsiteY449" fmla="*/ 1091484 h 1400577"/>
                    <a:gd name="connsiteX450" fmla="*/ 38637 w 1648093"/>
                    <a:gd name="connsiteY450" fmla="*/ 1086051 h 1400577"/>
                    <a:gd name="connsiteX451" fmla="*/ 34411 w 1648093"/>
                    <a:gd name="connsiteY451" fmla="*/ 1082429 h 1400577"/>
                    <a:gd name="connsiteX452" fmla="*/ 31996 w 1648093"/>
                    <a:gd name="connsiteY452" fmla="*/ 1084240 h 1400577"/>
                    <a:gd name="connsiteX453" fmla="*/ 26563 w 1648093"/>
                    <a:gd name="connsiteY453" fmla="*/ 1081825 h 1400577"/>
                    <a:gd name="connsiteX454" fmla="*/ 27770 w 1648093"/>
                    <a:gd name="connsiteY454" fmla="*/ 1076392 h 1400577"/>
                    <a:gd name="connsiteX455" fmla="*/ 33203 w 1648093"/>
                    <a:gd name="connsiteY455" fmla="*/ 1076392 h 1400577"/>
                    <a:gd name="connsiteX456" fmla="*/ 37429 w 1648093"/>
                    <a:gd name="connsiteY456" fmla="*/ 1074581 h 1400577"/>
                    <a:gd name="connsiteX457" fmla="*/ 38033 w 1648093"/>
                    <a:gd name="connsiteY457" fmla="*/ 1069751 h 1400577"/>
                    <a:gd name="connsiteX458" fmla="*/ 41655 w 1648093"/>
                    <a:gd name="connsiteY458" fmla="*/ 1072770 h 1400577"/>
                    <a:gd name="connsiteX459" fmla="*/ 54333 w 1648093"/>
                    <a:gd name="connsiteY459" fmla="*/ 1073374 h 1400577"/>
                    <a:gd name="connsiteX460" fmla="*/ 52522 w 1648093"/>
                    <a:gd name="connsiteY460" fmla="*/ 1090277 h 1400577"/>
                    <a:gd name="connsiteX461" fmla="*/ 54936 w 1648093"/>
                    <a:gd name="connsiteY461" fmla="*/ 1092088 h 1400577"/>
                    <a:gd name="connsiteX462" fmla="*/ 54936 w 1648093"/>
                    <a:gd name="connsiteY462" fmla="*/ 1098729 h 1400577"/>
                    <a:gd name="connsiteX463" fmla="*/ 64595 w 1648093"/>
                    <a:gd name="connsiteY463" fmla="*/ 1099936 h 1400577"/>
                    <a:gd name="connsiteX464" fmla="*/ 68821 w 1648093"/>
                    <a:gd name="connsiteY464" fmla="*/ 1101747 h 1400577"/>
                    <a:gd name="connsiteX465" fmla="*/ 75462 w 1648093"/>
                    <a:gd name="connsiteY465" fmla="*/ 1101144 h 1400577"/>
                    <a:gd name="connsiteX466" fmla="*/ 77877 w 1648093"/>
                    <a:gd name="connsiteY466" fmla="*/ 1110199 h 1400577"/>
                    <a:gd name="connsiteX467" fmla="*/ 82103 w 1648093"/>
                    <a:gd name="connsiteY467" fmla="*/ 1112010 h 1400577"/>
                    <a:gd name="connsiteX468" fmla="*/ 85725 w 1648093"/>
                    <a:gd name="connsiteY468" fmla="*/ 1108388 h 1400577"/>
                    <a:gd name="connsiteX469" fmla="*/ 90555 w 1648093"/>
                    <a:gd name="connsiteY469" fmla="*/ 1109595 h 1400577"/>
                    <a:gd name="connsiteX470" fmla="*/ 100214 w 1648093"/>
                    <a:gd name="connsiteY470" fmla="*/ 1108388 h 1400577"/>
                    <a:gd name="connsiteX471" fmla="*/ 106251 w 1648093"/>
                    <a:gd name="connsiteY471" fmla="*/ 1104162 h 1400577"/>
                    <a:gd name="connsiteX472" fmla="*/ 107458 w 1648093"/>
                    <a:gd name="connsiteY472" fmla="*/ 1108388 h 1400577"/>
                    <a:gd name="connsiteX473" fmla="*/ 112891 w 1648093"/>
                    <a:gd name="connsiteY473" fmla="*/ 1104162 h 1400577"/>
                    <a:gd name="connsiteX474" fmla="*/ 114702 w 1648093"/>
                    <a:gd name="connsiteY474" fmla="*/ 1104766 h 1400577"/>
                    <a:gd name="connsiteX475" fmla="*/ 118928 w 1648093"/>
                    <a:gd name="connsiteY475" fmla="*/ 1112614 h 1400577"/>
                    <a:gd name="connsiteX476" fmla="*/ 123154 w 1648093"/>
                    <a:gd name="connsiteY476" fmla="*/ 1113821 h 1400577"/>
                    <a:gd name="connsiteX477" fmla="*/ 121343 w 1648093"/>
                    <a:gd name="connsiteY477" fmla="*/ 1120462 h 1400577"/>
                    <a:gd name="connsiteX478" fmla="*/ 124965 w 1648093"/>
                    <a:gd name="connsiteY478" fmla="*/ 1122273 h 1400577"/>
                    <a:gd name="connsiteX479" fmla="*/ 120739 w 1648093"/>
                    <a:gd name="connsiteY479" fmla="*/ 1128310 h 1400577"/>
                    <a:gd name="connsiteX480" fmla="*/ 121947 w 1648093"/>
                    <a:gd name="connsiteY480" fmla="*/ 1131932 h 1400577"/>
                    <a:gd name="connsiteX481" fmla="*/ 131002 w 1648093"/>
                    <a:gd name="connsiteY481" fmla="*/ 1131932 h 1400577"/>
                    <a:gd name="connsiteX482" fmla="*/ 132210 w 1648093"/>
                    <a:gd name="connsiteY482" fmla="*/ 1135554 h 1400577"/>
                    <a:gd name="connsiteX483" fmla="*/ 136436 w 1648093"/>
                    <a:gd name="connsiteY483" fmla="*/ 1132536 h 1400577"/>
                    <a:gd name="connsiteX484" fmla="*/ 134624 w 1648093"/>
                    <a:gd name="connsiteY484" fmla="*/ 1123480 h 1400577"/>
                    <a:gd name="connsiteX485" fmla="*/ 138850 w 1648093"/>
                    <a:gd name="connsiteY485" fmla="*/ 1121669 h 1400577"/>
                    <a:gd name="connsiteX486" fmla="*/ 138850 w 1648093"/>
                    <a:gd name="connsiteY486" fmla="*/ 1116840 h 1400577"/>
                    <a:gd name="connsiteX487" fmla="*/ 137039 w 1648093"/>
                    <a:gd name="connsiteY487" fmla="*/ 1115028 h 1400577"/>
                    <a:gd name="connsiteX488" fmla="*/ 129795 w 1648093"/>
                    <a:gd name="connsiteY488" fmla="*/ 1115632 h 1400577"/>
                    <a:gd name="connsiteX489" fmla="*/ 127380 w 1648093"/>
                    <a:gd name="connsiteY489" fmla="*/ 1113821 h 1400577"/>
                    <a:gd name="connsiteX490" fmla="*/ 129191 w 1648093"/>
                    <a:gd name="connsiteY490" fmla="*/ 1108388 h 1400577"/>
                    <a:gd name="connsiteX491" fmla="*/ 117721 w 1648093"/>
                    <a:gd name="connsiteY491" fmla="*/ 1104766 h 1400577"/>
                    <a:gd name="connsiteX492" fmla="*/ 120136 w 1648093"/>
                    <a:gd name="connsiteY492" fmla="*/ 1098729 h 1400577"/>
                    <a:gd name="connsiteX493" fmla="*/ 122550 w 1648093"/>
                    <a:gd name="connsiteY493" fmla="*/ 1098729 h 1400577"/>
                    <a:gd name="connsiteX494" fmla="*/ 126776 w 1648093"/>
                    <a:gd name="connsiteY494" fmla="*/ 1094503 h 1400577"/>
                    <a:gd name="connsiteX495" fmla="*/ 128587 w 1648093"/>
                    <a:gd name="connsiteY495" fmla="*/ 1090881 h 1400577"/>
                    <a:gd name="connsiteX496" fmla="*/ 131606 w 1648093"/>
                    <a:gd name="connsiteY496" fmla="*/ 1087862 h 1400577"/>
                    <a:gd name="connsiteX497" fmla="*/ 130399 w 1648093"/>
                    <a:gd name="connsiteY497" fmla="*/ 1084844 h 1400577"/>
                    <a:gd name="connsiteX498" fmla="*/ 123154 w 1648093"/>
                    <a:gd name="connsiteY498" fmla="*/ 1087259 h 1400577"/>
                    <a:gd name="connsiteX499" fmla="*/ 121947 w 1648093"/>
                    <a:gd name="connsiteY499" fmla="*/ 1083637 h 1400577"/>
                    <a:gd name="connsiteX500" fmla="*/ 127984 w 1648093"/>
                    <a:gd name="connsiteY500" fmla="*/ 1082429 h 1400577"/>
                    <a:gd name="connsiteX501" fmla="*/ 130399 w 1648093"/>
                    <a:gd name="connsiteY501" fmla="*/ 1074581 h 1400577"/>
                    <a:gd name="connsiteX502" fmla="*/ 146095 w 1648093"/>
                    <a:gd name="connsiteY502" fmla="*/ 1075185 h 1400577"/>
                    <a:gd name="connsiteX503" fmla="*/ 153339 w 1648093"/>
                    <a:gd name="connsiteY503" fmla="*/ 1077600 h 1400577"/>
                    <a:gd name="connsiteX504" fmla="*/ 155754 w 1648093"/>
                    <a:gd name="connsiteY504" fmla="*/ 1073374 h 1400577"/>
                    <a:gd name="connsiteX505" fmla="*/ 151528 w 1648093"/>
                    <a:gd name="connsiteY505" fmla="*/ 1061300 h 1400577"/>
                    <a:gd name="connsiteX506" fmla="*/ 153339 w 1648093"/>
                    <a:gd name="connsiteY506" fmla="*/ 1054659 h 1400577"/>
                    <a:gd name="connsiteX507" fmla="*/ 149113 w 1648093"/>
                    <a:gd name="connsiteY507" fmla="*/ 1049829 h 1400577"/>
                    <a:gd name="connsiteX508" fmla="*/ 144284 w 1648093"/>
                    <a:gd name="connsiteY508" fmla="*/ 1052244 h 1400577"/>
                    <a:gd name="connsiteX509" fmla="*/ 141869 w 1648093"/>
                    <a:gd name="connsiteY509" fmla="*/ 1051037 h 1400577"/>
                    <a:gd name="connsiteX510" fmla="*/ 141265 w 1648093"/>
                    <a:gd name="connsiteY510" fmla="*/ 1043792 h 1400577"/>
                    <a:gd name="connsiteX511" fmla="*/ 138247 w 1648093"/>
                    <a:gd name="connsiteY511" fmla="*/ 1041981 h 1400577"/>
                    <a:gd name="connsiteX512" fmla="*/ 131606 w 1648093"/>
                    <a:gd name="connsiteY512" fmla="*/ 1040170 h 1400577"/>
                    <a:gd name="connsiteX513" fmla="*/ 128587 w 1648093"/>
                    <a:gd name="connsiteY513" fmla="*/ 1042585 h 1400577"/>
                    <a:gd name="connsiteX514" fmla="*/ 127380 w 1648093"/>
                    <a:gd name="connsiteY514" fmla="*/ 1047415 h 1400577"/>
                    <a:gd name="connsiteX515" fmla="*/ 130399 w 1648093"/>
                    <a:gd name="connsiteY515" fmla="*/ 1054055 h 1400577"/>
                    <a:gd name="connsiteX516" fmla="*/ 132813 w 1648093"/>
                    <a:gd name="connsiteY516" fmla="*/ 1054659 h 1400577"/>
                    <a:gd name="connsiteX517" fmla="*/ 135832 w 1648093"/>
                    <a:gd name="connsiteY517" fmla="*/ 1066733 h 1400577"/>
                    <a:gd name="connsiteX518" fmla="*/ 129191 w 1648093"/>
                    <a:gd name="connsiteY518" fmla="*/ 1069148 h 1400577"/>
                    <a:gd name="connsiteX519" fmla="*/ 127984 w 1648093"/>
                    <a:gd name="connsiteY519" fmla="*/ 1063714 h 1400577"/>
                    <a:gd name="connsiteX520" fmla="*/ 123758 w 1648093"/>
                    <a:gd name="connsiteY520" fmla="*/ 1061300 h 1400577"/>
                    <a:gd name="connsiteX521" fmla="*/ 124362 w 1648093"/>
                    <a:gd name="connsiteY521" fmla="*/ 1052848 h 1400577"/>
                    <a:gd name="connsiteX522" fmla="*/ 108062 w 1648093"/>
                    <a:gd name="connsiteY522" fmla="*/ 1051037 h 1400577"/>
                    <a:gd name="connsiteX523" fmla="*/ 108062 w 1648093"/>
                    <a:gd name="connsiteY523" fmla="*/ 1039566 h 1400577"/>
                    <a:gd name="connsiteX524" fmla="*/ 103232 w 1648093"/>
                    <a:gd name="connsiteY524" fmla="*/ 1040774 h 1400577"/>
                    <a:gd name="connsiteX525" fmla="*/ 100817 w 1648093"/>
                    <a:gd name="connsiteY525" fmla="*/ 1043189 h 1400577"/>
                    <a:gd name="connsiteX526" fmla="*/ 90555 w 1648093"/>
                    <a:gd name="connsiteY526" fmla="*/ 1043189 h 1400577"/>
                    <a:gd name="connsiteX527" fmla="*/ 81499 w 1648093"/>
                    <a:gd name="connsiteY527" fmla="*/ 1038359 h 1400577"/>
                    <a:gd name="connsiteX528" fmla="*/ 77273 w 1648093"/>
                    <a:gd name="connsiteY528" fmla="*/ 1039566 h 1400577"/>
                    <a:gd name="connsiteX529" fmla="*/ 76066 w 1648093"/>
                    <a:gd name="connsiteY529" fmla="*/ 1045603 h 1400577"/>
                    <a:gd name="connsiteX530" fmla="*/ 73651 w 1648093"/>
                    <a:gd name="connsiteY530" fmla="*/ 1048622 h 1400577"/>
                    <a:gd name="connsiteX531" fmla="*/ 72444 w 1648093"/>
                    <a:gd name="connsiteY531" fmla="*/ 1054055 h 1400577"/>
                    <a:gd name="connsiteX532" fmla="*/ 74255 w 1648093"/>
                    <a:gd name="connsiteY532" fmla="*/ 1055263 h 1400577"/>
                    <a:gd name="connsiteX533" fmla="*/ 73047 w 1648093"/>
                    <a:gd name="connsiteY533" fmla="*/ 1063111 h 1400577"/>
                    <a:gd name="connsiteX534" fmla="*/ 70029 w 1648093"/>
                    <a:gd name="connsiteY534" fmla="*/ 1065526 h 1400577"/>
                    <a:gd name="connsiteX535" fmla="*/ 65803 w 1648093"/>
                    <a:gd name="connsiteY535" fmla="*/ 1065526 h 1400577"/>
                    <a:gd name="connsiteX536" fmla="*/ 60370 w 1648093"/>
                    <a:gd name="connsiteY536" fmla="*/ 1058885 h 1400577"/>
                    <a:gd name="connsiteX537" fmla="*/ 57351 w 1648093"/>
                    <a:gd name="connsiteY537" fmla="*/ 1058885 h 1400577"/>
                    <a:gd name="connsiteX538" fmla="*/ 51314 w 1648093"/>
                    <a:gd name="connsiteY538" fmla="*/ 1060696 h 1400577"/>
                    <a:gd name="connsiteX539" fmla="*/ 46485 w 1648093"/>
                    <a:gd name="connsiteY539" fmla="*/ 1059489 h 1400577"/>
                    <a:gd name="connsiteX540" fmla="*/ 40448 w 1648093"/>
                    <a:gd name="connsiteY540" fmla="*/ 1060092 h 1400577"/>
                    <a:gd name="connsiteX541" fmla="*/ 37429 w 1648093"/>
                    <a:gd name="connsiteY541" fmla="*/ 1058885 h 1400577"/>
                    <a:gd name="connsiteX542" fmla="*/ 35014 w 1648093"/>
                    <a:gd name="connsiteY542" fmla="*/ 1052244 h 1400577"/>
                    <a:gd name="connsiteX543" fmla="*/ 38637 w 1648093"/>
                    <a:gd name="connsiteY543" fmla="*/ 1049829 h 1400577"/>
                    <a:gd name="connsiteX544" fmla="*/ 38637 w 1648093"/>
                    <a:gd name="connsiteY544" fmla="*/ 1045000 h 1400577"/>
                    <a:gd name="connsiteX545" fmla="*/ 29581 w 1648093"/>
                    <a:gd name="connsiteY545" fmla="*/ 1041981 h 1400577"/>
                    <a:gd name="connsiteX546" fmla="*/ 25355 w 1648093"/>
                    <a:gd name="connsiteY546" fmla="*/ 1035341 h 1400577"/>
                    <a:gd name="connsiteX547" fmla="*/ 25959 w 1648093"/>
                    <a:gd name="connsiteY547" fmla="*/ 1026889 h 1400577"/>
                    <a:gd name="connsiteX548" fmla="*/ 28977 w 1648093"/>
                    <a:gd name="connsiteY548" fmla="*/ 1026285 h 1400577"/>
                    <a:gd name="connsiteX549" fmla="*/ 32600 w 1648093"/>
                    <a:gd name="connsiteY549" fmla="*/ 1022059 h 1400577"/>
                    <a:gd name="connsiteX550" fmla="*/ 38033 w 1648093"/>
                    <a:gd name="connsiteY550" fmla="*/ 1025078 h 1400577"/>
                    <a:gd name="connsiteX551" fmla="*/ 38637 w 1648093"/>
                    <a:gd name="connsiteY551" fmla="*/ 1015418 h 1400577"/>
                    <a:gd name="connsiteX552" fmla="*/ 41655 w 1648093"/>
                    <a:gd name="connsiteY552" fmla="*/ 1015418 h 1400577"/>
                    <a:gd name="connsiteX553" fmla="*/ 44674 w 1648093"/>
                    <a:gd name="connsiteY553" fmla="*/ 1008174 h 1400577"/>
                    <a:gd name="connsiteX554" fmla="*/ 30789 w 1648093"/>
                    <a:gd name="connsiteY554" fmla="*/ 1006967 h 1400577"/>
                    <a:gd name="connsiteX555" fmla="*/ 25355 w 1648093"/>
                    <a:gd name="connsiteY555" fmla="*/ 1009985 h 1400577"/>
                    <a:gd name="connsiteX556" fmla="*/ 22337 w 1648093"/>
                    <a:gd name="connsiteY556" fmla="*/ 1008778 h 1400577"/>
                    <a:gd name="connsiteX557" fmla="*/ 18111 w 1648093"/>
                    <a:gd name="connsiteY557" fmla="*/ 1001533 h 1400577"/>
                    <a:gd name="connsiteX558" fmla="*/ 9055 w 1648093"/>
                    <a:gd name="connsiteY558" fmla="*/ 997911 h 1400577"/>
                    <a:gd name="connsiteX559" fmla="*/ 4830 w 1648093"/>
                    <a:gd name="connsiteY559" fmla="*/ 986441 h 1400577"/>
                    <a:gd name="connsiteX560" fmla="*/ 1207 w 1648093"/>
                    <a:gd name="connsiteY560" fmla="*/ 982819 h 1400577"/>
                    <a:gd name="connsiteX561" fmla="*/ 3018 w 1648093"/>
                    <a:gd name="connsiteY561" fmla="*/ 966519 h 1400577"/>
                    <a:gd name="connsiteX562" fmla="*/ 8452 w 1648093"/>
                    <a:gd name="connsiteY562" fmla="*/ 953842 h 1400577"/>
                    <a:gd name="connsiteX563" fmla="*/ 4830 w 1648093"/>
                    <a:gd name="connsiteY563" fmla="*/ 944182 h 1400577"/>
                    <a:gd name="connsiteX564" fmla="*/ 16300 w 1648093"/>
                    <a:gd name="connsiteY564" fmla="*/ 942975 h 1400577"/>
                    <a:gd name="connsiteX565" fmla="*/ 17507 w 1648093"/>
                    <a:gd name="connsiteY565" fmla="*/ 933316 h 1400577"/>
                    <a:gd name="connsiteX566" fmla="*/ 19318 w 1648093"/>
                    <a:gd name="connsiteY566" fmla="*/ 931505 h 1400577"/>
                    <a:gd name="connsiteX567" fmla="*/ 19922 w 1648093"/>
                    <a:gd name="connsiteY567" fmla="*/ 926071 h 1400577"/>
                    <a:gd name="connsiteX568" fmla="*/ 18715 w 1648093"/>
                    <a:gd name="connsiteY568" fmla="*/ 920638 h 1400577"/>
                    <a:gd name="connsiteX569" fmla="*/ 21733 w 1648093"/>
                    <a:gd name="connsiteY569" fmla="*/ 920034 h 1400577"/>
                    <a:gd name="connsiteX570" fmla="*/ 22337 w 1648093"/>
                    <a:gd name="connsiteY570" fmla="*/ 910375 h 1400577"/>
                    <a:gd name="connsiteX571" fmla="*/ 22337 w 1648093"/>
                    <a:gd name="connsiteY571" fmla="*/ 904942 h 1400577"/>
                    <a:gd name="connsiteX572" fmla="*/ 17507 w 1648093"/>
                    <a:gd name="connsiteY572" fmla="*/ 905546 h 1400577"/>
                    <a:gd name="connsiteX573" fmla="*/ 15092 w 1648093"/>
                    <a:gd name="connsiteY573" fmla="*/ 907357 h 1400577"/>
                    <a:gd name="connsiteX574" fmla="*/ 12074 w 1648093"/>
                    <a:gd name="connsiteY574" fmla="*/ 904942 h 1400577"/>
                    <a:gd name="connsiteX575" fmla="*/ 1811 w 1648093"/>
                    <a:gd name="connsiteY575" fmla="*/ 903131 h 1400577"/>
                    <a:gd name="connsiteX576" fmla="*/ 0 w 1648093"/>
                    <a:gd name="connsiteY576" fmla="*/ 900716 h 1400577"/>
                    <a:gd name="connsiteX577" fmla="*/ 6037 w 1648093"/>
                    <a:gd name="connsiteY577" fmla="*/ 893472 h 1400577"/>
                    <a:gd name="connsiteX578" fmla="*/ 3018 w 1648093"/>
                    <a:gd name="connsiteY578" fmla="*/ 885624 h 1400577"/>
                    <a:gd name="connsiteX579" fmla="*/ 3622 w 1648093"/>
                    <a:gd name="connsiteY579" fmla="*/ 883209 h 1400577"/>
                    <a:gd name="connsiteX580" fmla="*/ 8452 w 1648093"/>
                    <a:gd name="connsiteY580" fmla="*/ 877776 h 1400577"/>
                    <a:gd name="connsiteX581" fmla="*/ 13281 w 1648093"/>
                    <a:gd name="connsiteY581" fmla="*/ 880794 h 1400577"/>
                    <a:gd name="connsiteX582" fmla="*/ 16903 w 1648093"/>
                    <a:gd name="connsiteY582" fmla="*/ 881398 h 1400577"/>
                    <a:gd name="connsiteX583" fmla="*/ 21733 w 1648093"/>
                    <a:gd name="connsiteY583" fmla="*/ 885020 h 1400577"/>
                    <a:gd name="connsiteX584" fmla="*/ 24752 w 1648093"/>
                    <a:gd name="connsiteY584" fmla="*/ 891057 h 1400577"/>
                    <a:gd name="connsiteX585" fmla="*/ 32600 w 1648093"/>
                    <a:gd name="connsiteY585" fmla="*/ 890453 h 1400577"/>
                    <a:gd name="connsiteX586" fmla="*/ 39844 w 1648093"/>
                    <a:gd name="connsiteY586" fmla="*/ 891660 h 1400577"/>
                    <a:gd name="connsiteX587" fmla="*/ 43466 w 1648093"/>
                    <a:gd name="connsiteY587" fmla="*/ 894075 h 1400577"/>
                    <a:gd name="connsiteX588" fmla="*/ 50711 w 1648093"/>
                    <a:gd name="connsiteY588" fmla="*/ 890453 h 1400577"/>
                    <a:gd name="connsiteX589" fmla="*/ 59766 w 1648093"/>
                    <a:gd name="connsiteY589" fmla="*/ 890453 h 1400577"/>
                    <a:gd name="connsiteX590" fmla="*/ 58559 w 1648093"/>
                    <a:gd name="connsiteY590" fmla="*/ 895886 h 1400577"/>
                    <a:gd name="connsiteX591" fmla="*/ 66407 w 1648093"/>
                    <a:gd name="connsiteY591" fmla="*/ 897094 h 1400577"/>
                    <a:gd name="connsiteX592" fmla="*/ 67010 w 1648093"/>
                    <a:gd name="connsiteY592" fmla="*/ 892264 h 1400577"/>
                    <a:gd name="connsiteX593" fmla="*/ 73047 w 1648093"/>
                    <a:gd name="connsiteY593" fmla="*/ 891057 h 1400577"/>
                    <a:gd name="connsiteX594" fmla="*/ 76066 w 1648093"/>
                    <a:gd name="connsiteY594" fmla="*/ 882605 h 1400577"/>
                    <a:gd name="connsiteX595" fmla="*/ 76669 w 1648093"/>
                    <a:gd name="connsiteY595" fmla="*/ 877172 h 1400577"/>
                    <a:gd name="connsiteX596" fmla="*/ 80895 w 1648093"/>
                    <a:gd name="connsiteY596" fmla="*/ 874153 h 1400577"/>
                    <a:gd name="connsiteX597" fmla="*/ 83914 w 1648093"/>
                    <a:gd name="connsiteY597" fmla="*/ 860872 h 1400577"/>
                    <a:gd name="connsiteX598" fmla="*/ 82706 w 1648093"/>
                    <a:gd name="connsiteY598" fmla="*/ 855439 h 1400577"/>
                    <a:gd name="connsiteX599" fmla="*/ 79688 w 1648093"/>
                    <a:gd name="connsiteY599" fmla="*/ 850609 h 1400577"/>
                    <a:gd name="connsiteX600" fmla="*/ 75462 w 1648093"/>
                    <a:gd name="connsiteY600" fmla="*/ 850006 h 1400577"/>
                    <a:gd name="connsiteX601" fmla="*/ 79084 w 1648093"/>
                    <a:gd name="connsiteY601" fmla="*/ 843365 h 1400577"/>
                    <a:gd name="connsiteX602" fmla="*/ 80895 w 1648093"/>
                    <a:gd name="connsiteY602" fmla="*/ 836121 h 1400577"/>
                    <a:gd name="connsiteX603" fmla="*/ 74255 w 1648093"/>
                    <a:gd name="connsiteY603" fmla="*/ 834913 h 1400577"/>
                    <a:gd name="connsiteX604" fmla="*/ 73047 w 1648093"/>
                    <a:gd name="connsiteY604" fmla="*/ 827065 h 1400577"/>
                    <a:gd name="connsiteX605" fmla="*/ 64595 w 1648093"/>
                    <a:gd name="connsiteY605" fmla="*/ 828876 h 1400577"/>
                    <a:gd name="connsiteX606" fmla="*/ 63388 w 1648093"/>
                    <a:gd name="connsiteY606" fmla="*/ 824650 h 1400577"/>
                    <a:gd name="connsiteX607" fmla="*/ 57955 w 1648093"/>
                    <a:gd name="connsiteY607" fmla="*/ 820424 h 1400577"/>
                    <a:gd name="connsiteX608" fmla="*/ 59162 w 1648093"/>
                    <a:gd name="connsiteY608" fmla="*/ 814991 h 1400577"/>
                    <a:gd name="connsiteX609" fmla="*/ 56144 w 1648093"/>
                    <a:gd name="connsiteY609" fmla="*/ 811369 h 1400577"/>
                    <a:gd name="connsiteX610" fmla="*/ 56144 w 1648093"/>
                    <a:gd name="connsiteY610" fmla="*/ 804124 h 1400577"/>
                    <a:gd name="connsiteX611" fmla="*/ 51314 w 1648093"/>
                    <a:gd name="connsiteY611" fmla="*/ 801106 h 1400577"/>
                    <a:gd name="connsiteX612" fmla="*/ 49503 w 1648093"/>
                    <a:gd name="connsiteY612" fmla="*/ 796880 h 1400577"/>
                    <a:gd name="connsiteX613" fmla="*/ 44070 w 1648093"/>
                    <a:gd name="connsiteY613" fmla="*/ 792050 h 1400577"/>
                    <a:gd name="connsiteX614" fmla="*/ 44674 w 1648093"/>
                    <a:gd name="connsiteY614" fmla="*/ 789032 h 1400577"/>
                    <a:gd name="connsiteX615" fmla="*/ 49503 w 1648093"/>
                    <a:gd name="connsiteY615" fmla="*/ 790239 h 1400577"/>
                    <a:gd name="connsiteX616" fmla="*/ 55540 w 1648093"/>
                    <a:gd name="connsiteY616" fmla="*/ 790239 h 1400577"/>
                    <a:gd name="connsiteX617" fmla="*/ 56144 w 1648093"/>
                    <a:gd name="connsiteY617" fmla="*/ 784806 h 1400577"/>
                    <a:gd name="connsiteX618" fmla="*/ 54936 w 1648093"/>
                    <a:gd name="connsiteY618" fmla="*/ 773940 h 1400577"/>
                    <a:gd name="connsiteX619" fmla="*/ 56144 w 1648093"/>
                    <a:gd name="connsiteY619" fmla="*/ 769110 h 1400577"/>
                    <a:gd name="connsiteX620" fmla="*/ 56144 w 1648093"/>
                    <a:gd name="connsiteY620" fmla="*/ 762469 h 1400577"/>
                    <a:gd name="connsiteX621" fmla="*/ 64595 w 1648093"/>
                    <a:gd name="connsiteY621" fmla="*/ 760055 h 1400577"/>
                    <a:gd name="connsiteX622" fmla="*/ 67010 w 1648093"/>
                    <a:gd name="connsiteY622" fmla="*/ 757640 h 1400577"/>
                    <a:gd name="connsiteX623" fmla="*/ 74255 w 1648093"/>
                    <a:gd name="connsiteY623" fmla="*/ 763073 h 1400577"/>
                    <a:gd name="connsiteX624" fmla="*/ 76066 w 1648093"/>
                    <a:gd name="connsiteY624" fmla="*/ 755829 h 1400577"/>
                    <a:gd name="connsiteX625" fmla="*/ 71236 w 1648093"/>
                    <a:gd name="connsiteY625" fmla="*/ 751603 h 1400577"/>
                    <a:gd name="connsiteX626" fmla="*/ 65803 w 1648093"/>
                    <a:gd name="connsiteY626" fmla="*/ 749188 h 1400577"/>
                    <a:gd name="connsiteX627" fmla="*/ 67614 w 1648093"/>
                    <a:gd name="connsiteY627" fmla="*/ 745566 h 1400577"/>
                    <a:gd name="connsiteX628" fmla="*/ 65803 w 1648093"/>
                    <a:gd name="connsiteY628" fmla="*/ 742548 h 1400577"/>
                    <a:gd name="connsiteX629" fmla="*/ 59766 w 1648093"/>
                    <a:gd name="connsiteY629" fmla="*/ 741944 h 1400577"/>
                    <a:gd name="connsiteX630" fmla="*/ 59766 w 1648093"/>
                    <a:gd name="connsiteY630" fmla="*/ 736511 h 1400577"/>
                    <a:gd name="connsiteX631" fmla="*/ 63388 w 1648093"/>
                    <a:gd name="connsiteY631" fmla="*/ 730474 h 1400577"/>
                    <a:gd name="connsiteX632" fmla="*/ 63388 w 1648093"/>
                    <a:gd name="connsiteY632" fmla="*/ 720814 h 1400577"/>
                    <a:gd name="connsiteX633" fmla="*/ 56144 w 1648093"/>
                    <a:gd name="connsiteY633" fmla="*/ 720211 h 1400577"/>
                    <a:gd name="connsiteX634" fmla="*/ 57351 w 1648093"/>
                    <a:gd name="connsiteY634" fmla="*/ 714777 h 1400577"/>
                    <a:gd name="connsiteX635" fmla="*/ 66407 w 1648093"/>
                    <a:gd name="connsiteY635" fmla="*/ 702100 h 1400577"/>
                    <a:gd name="connsiteX636" fmla="*/ 71840 w 1648093"/>
                    <a:gd name="connsiteY636" fmla="*/ 699081 h 1400577"/>
                    <a:gd name="connsiteX637" fmla="*/ 77273 w 1648093"/>
                    <a:gd name="connsiteY637" fmla="*/ 697874 h 1400577"/>
                    <a:gd name="connsiteX638" fmla="*/ 79688 w 1648093"/>
                    <a:gd name="connsiteY638" fmla="*/ 695459 h 1400577"/>
                    <a:gd name="connsiteX639" fmla="*/ 87536 w 1648093"/>
                    <a:gd name="connsiteY639" fmla="*/ 693648 h 1400577"/>
                    <a:gd name="connsiteX640" fmla="*/ 99006 w 1648093"/>
                    <a:gd name="connsiteY640" fmla="*/ 693044 h 1400577"/>
                    <a:gd name="connsiteX641" fmla="*/ 101421 w 1648093"/>
                    <a:gd name="connsiteY641" fmla="*/ 691837 h 1400577"/>
                    <a:gd name="connsiteX642" fmla="*/ 108665 w 1648093"/>
                    <a:gd name="connsiteY642" fmla="*/ 694252 h 1400577"/>
                    <a:gd name="connsiteX643" fmla="*/ 123154 w 1648093"/>
                    <a:gd name="connsiteY643" fmla="*/ 694855 h 1400577"/>
                    <a:gd name="connsiteX644" fmla="*/ 127984 w 1648093"/>
                    <a:gd name="connsiteY644" fmla="*/ 697270 h 1400577"/>
                    <a:gd name="connsiteX645" fmla="*/ 138247 w 1648093"/>
                    <a:gd name="connsiteY645" fmla="*/ 695459 h 1400577"/>
                    <a:gd name="connsiteX646" fmla="*/ 146698 w 1648093"/>
                    <a:gd name="connsiteY646" fmla="*/ 698477 h 1400577"/>
                    <a:gd name="connsiteX647" fmla="*/ 155150 w 1648093"/>
                    <a:gd name="connsiteY647" fmla="*/ 700289 h 1400577"/>
                    <a:gd name="connsiteX648" fmla="*/ 171450 w 1648093"/>
                    <a:gd name="connsiteY648" fmla="*/ 702703 h 1400577"/>
                    <a:gd name="connsiteX649" fmla="*/ 175072 w 1648093"/>
                    <a:gd name="connsiteY649" fmla="*/ 702100 h 1400577"/>
                    <a:gd name="connsiteX650" fmla="*/ 182316 w 1648093"/>
                    <a:gd name="connsiteY650" fmla="*/ 708137 h 1400577"/>
                    <a:gd name="connsiteX651" fmla="*/ 191372 w 1648093"/>
                    <a:gd name="connsiteY651" fmla="*/ 709948 h 1400577"/>
                    <a:gd name="connsiteX652" fmla="*/ 198013 w 1648093"/>
                    <a:gd name="connsiteY652" fmla="*/ 707533 h 1400577"/>
                    <a:gd name="connsiteX653" fmla="*/ 214916 w 1648093"/>
                    <a:gd name="connsiteY653" fmla="*/ 711759 h 1400577"/>
                    <a:gd name="connsiteX654" fmla="*/ 222161 w 1648093"/>
                    <a:gd name="connsiteY654" fmla="*/ 709948 h 1400577"/>
                    <a:gd name="connsiteX655" fmla="*/ 226990 w 1648093"/>
                    <a:gd name="connsiteY655" fmla="*/ 709948 h 1400577"/>
                    <a:gd name="connsiteX656" fmla="*/ 228801 w 1648093"/>
                    <a:gd name="connsiteY656" fmla="*/ 706326 h 1400577"/>
                    <a:gd name="connsiteX657" fmla="*/ 233027 w 1648093"/>
                    <a:gd name="connsiteY657" fmla="*/ 705118 h 1400577"/>
                    <a:gd name="connsiteX658" fmla="*/ 241479 w 1648093"/>
                    <a:gd name="connsiteY658" fmla="*/ 709344 h 1400577"/>
                    <a:gd name="connsiteX659" fmla="*/ 251138 w 1648093"/>
                    <a:gd name="connsiteY659" fmla="*/ 709948 h 1400577"/>
                    <a:gd name="connsiteX660" fmla="*/ 256571 w 1648093"/>
                    <a:gd name="connsiteY660" fmla="*/ 712966 h 1400577"/>
                    <a:gd name="connsiteX661" fmla="*/ 260194 w 1648093"/>
                    <a:gd name="connsiteY661" fmla="*/ 705722 h 1400577"/>
                    <a:gd name="connsiteX662" fmla="*/ 264419 w 1648093"/>
                    <a:gd name="connsiteY662" fmla="*/ 705118 h 1400577"/>
                    <a:gd name="connsiteX663" fmla="*/ 269853 w 1648093"/>
                    <a:gd name="connsiteY663" fmla="*/ 716588 h 1400577"/>
                    <a:gd name="connsiteX664" fmla="*/ 277097 w 1648093"/>
                    <a:gd name="connsiteY664" fmla="*/ 720211 h 1400577"/>
                    <a:gd name="connsiteX665" fmla="*/ 282530 w 1648093"/>
                    <a:gd name="connsiteY665" fmla="*/ 718400 h 1400577"/>
                    <a:gd name="connsiteX666" fmla="*/ 282530 w 1648093"/>
                    <a:gd name="connsiteY666" fmla="*/ 715381 h 1400577"/>
                    <a:gd name="connsiteX667" fmla="*/ 290378 w 1648093"/>
                    <a:gd name="connsiteY667" fmla="*/ 715381 h 1400577"/>
                    <a:gd name="connsiteX668" fmla="*/ 294000 w 1648093"/>
                    <a:gd name="connsiteY668" fmla="*/ 706929 h 1400577"/>
                    <a:gd name="connsiteX669" fmla="*/ 293397 w 1648093"/>
                    <a:gd name="connsiteY669" fmla="*/ 704514 h 1400577"/>
                    <a:gd name="connsiteX670" fmla="*/ 298830 w 1648093"/>
                    <a:gd name="connsiteY670" fmla="*/ 700892 h 1400577"/>
                    <a:gd name="connsiteX671" fmla="*/ 303660 w 1648093"/>
                    <a:gd name="connsiteY671" fmla="*/ 699685 h 1400577"/>
                    <a:gd name="connsiteX672" fmla="*/ 306678 w 1648093"/>
                    <a:gd name="connsiteY672" fmla="*/ 696666 h 1400577"/>
                    <a:gd name="connsiteX673" fmla="*/ 307886 w 1648093"/>
                    <a:gd name="connsiteY673" fmla="*/ 690026 h 1400577"/>
                    <a:gd name="connsiteX674" fmla="*/ 310300 w 1648093"/>
                    <a:gd name="connsiteY674" fmla="*/ 683989 h 1400577"/>
                    <a:gd name="connsiteX675" fmla="*/ 308489 w 1648093"/>
                    <a:gd name="connsiteY675" fmla="*/ 677348 h 1400577"/>
                    <a:gd name="connsiteX676" fmla="*/ 311508 w 1648093"/>
                    <a:gd name="connsiteY676" fmla="*/ 675537 h 1400577"/>
                    <a:gd name="connsiteX677" fmla="*/ 321771 w 1648093"/>
                    <a:gd name="connsiteY677" fmla="*/ 676744 h 1400577"/>
                    <a:gd name="connsiteX678" fmla="*/ 326600 w 1648093"/>
                    <a:gd name="connsiteY678" fmla="*/ 671915 h 1400577"/>
                    <a:gd name="connsiteX679" fmla="*/ 332637 w 1648093"/>
                    <a:gd name="connsiteY679" fmla="*/ 670104 h 1400577"/>
                    <a:gd name="connsiteX680" fmla="*/ 339881 w 1648093"/>
                    <a:gd name="connsiteY680" fmla="*/ 665878 h 1400577"/>
                    <a:gd name="connsiteX681" fmla="*/ 349541 w 1648093"/>
                    <a:gd name="connsiteY681" fmla="*/ 665878 h 1400577"/>
                    <a:gd name="connsiteX682" fmla="*/ 358596 w 1648093"/>
                    <a:gd name="connsiteY682" fmla="*/ 667085 h 1400577"/>
                    <a:gd name="connsiteX683" fmla="*/ 371878 w 1648093"/>
                    <a:gd name="connsiteY683" fmla="*/ 670707 h 1400577"/>
                    <a:gd name="connsiteX684" fmla="*/ 380933 w 1648093"/>
                    <a:gd name="connsiteY684" fmla="*/ 662256 h 1400577"/>
                    <a:gd name="connsiteX685" fmla="*/ 387574 w 1648093"/>
                    <a:gd name="connsiteY685" fmla="*/ 663463 h 1400577"/>
                    <a:gd name="connsiteX686" fmla="*/ 397836 w 1648093"/>
                    <a:gd name="connsiteY686" fmla="*/ 674329 h 1400577"/>
                    <a:gd name="connsiteX687" fmla="*/ 403873 w 1648093"/>
                    <a:gd name="connsiteY687" fmla="*/ 677348 h 1400577"/>
                    <a:gd name="connsiteX688" fmla="*/ 408703 w 1648093"/>
                    <a:gd name="connsiteY688" fmla="*/ 678555 h 1400577"/>
                    <a:gd name="connsiteX689" fmla="*/ 415947 w 1648093"/>
                    <a:gd name="connsiteY689" fmla="*/ 677952 h 1400577"/>
                    <a:gd name="connsiteX690" fmla="*/ 423192 w 1648093"/>
                    <a:gd name="connsiteY690" fmla="*/ 673122 h 1400577"/>
                    <a:gd name="connsiteX691" fmla="*/ 428625 w 1648093"/>
                    <a:gd name="connsiteY691" fmla="*/ 664067 h 1400577"/>
                    <a:gd name="connsiteX692" fmla="*/ 428021 w 1648093"/>
                    <a:gd name="connsiteY692" fmla="*/ 650182 h 1400577"/>
                    <a:gd name="connsiteX693" fmla="*/ 432851 w 1648093"/>
                    <a:gd name="connsiteY693" fmla="*/ 648975 h 1400577"/>
                    <a:gd name="connsiteX694" fmla="*/ 435266 w 1648093"/>
                    <a:gd name="connsiteY694" fmla="*/ 651993 h 1400577"/>
                    <a:gd name="connsiteX695" fmla="*/ 436473 w 1648093"/>
                    <a:gd name="connsiteY695" fmla="*/ 659237 h 1400577"/>
                    <a:gd name="connsiteX696" fmla="*/ 442510 w 1648093"/>
                    <a:gd name="connsiteY696" fmla="*/ 662256 h 1400577"/>
                    <a:gd name="connsiteX697" fmla="*/ 446736 w 1648093"/>
                    <a:gd name="connsiteY697" fmla="*/ 656822 h 1400577"/>
                    <a:gd name="connsiteX698" fmla="*/ 443114 w 1648093"/>
                    <a:gd name="connsiteY698" fmla="*/ 647767 h 1400577"/>
                    <a:gd name="connsiteX699" fmla="*/ 443717 w 1648093"/>
                    <a:gd name="connsiteY699" fmla="*/ 641730 h 1400577"/>
                    <a:gd name="connsiteX700" fmla="*/ 453980 w 1648093"/>
                    <a:gd name="connsiteY700" fmla="*/ 636297 h 1400577"/>
                    <a:gd name="connsiteX701" fmla="*/ 461225 w 1648093"/>
                    <a:gd name="connsiteY701" fmla="*/ 633882 h 1400577"/>
                    <a:gd name="connsiteX702" fmla="*/ 466658 w 1648093"/>
                    <a:gd name="connsiteY702" fmla="*/ 630864 h 1400577"/>
                    <a:gd name="connsiteX703" fmla="*/ 476921 w 1648093"/>
                    <a:gd name="connsiteY703" fmla="*/ 632071 h 1400577"/>
                    <a:gd name="connsiteX704" fmla="*/ 487787 w 1648093"/>
                    <a:gd name="connsiteY704" fmla="*/ 632071 h 1400577"/>
                    <a:gd name="connsiteX705" fmla="*/ 499257 w 1648093"/>
                    <a:gd name="connsiteY705" fmla="*/ 636297 h 1400577"/>
                    <a:gd name="connsiteX706" fmla="*/ 505294 w 1648093"/>
                    <a:gd name="connsiteY706" fmla="*/ 633278 h 1400577"/>
                    <a:gd name="connsiteX707" fmla="*/ 508917 w 1648093"/>
                    <a:gd name="connsiteY707" fmla="*/ 629052 h 1400577"/>
                    <a:gd name="connsiteX708" fmla="*/ 510124 w 1648093"/>
                    <a:gd name="connsiteY708" fmla="*/ 618790 h 1400577"/>
                    <a:gd name="connsiteX709" fmla="*/ 509520 w 1648093"/>
                    <a:gd name="connsiteY709" fmla="*/ 610941 h 1400577"/>
                    <a:gd name="connsiteX710" fmla="*/ 506502 w 1648093"/>
                    <a:gd name="connsiteY710" fmla="*/ 604904 h 1400577"/>
                    <a:gd name="connsiteX711" fmla="*/ 507709 w 1648093"/>
                    <a:gd name="connsiteY711" fmla="*/ 589208 h 1400577"/>
                    <a:gd name="connsiteX712" fmla="*/ 511331 w 1648093"/>
                    <a:gd name="connsiteY712" fmla="*/ 584379 h 1400577"/>
                    <a:gd name="connsiteX713" fmla="*/ 508917 w 1648093"/>
                    <a:gd name="connsiteY713" fmla="*/ 577134 h 1400577"/>
                    <a:gd name="connsiteX714" fmla="*/ 510124 w 1648093"/>
                    <a:gd name="connsiteY714" fmla="*/ 571701 h 1400577"/>
                    <a:gd name="connsiteX715" fmla="*/ 516161 w 1648093"/>
                    <a:gd name="connsiteY715" fmla="*/ 565664 h 1400577"/>
                    <a:gd name="connsiteX716" fmla="*/ 517368 w 1648093"/>
                    <a:gd name="connsiteY716" fmla="*/ 562646 h 1400577"/>
                    <a:gd name="connsiteX717" fmla="*/ 528839 w 1648093"/>
                    <a:gd name="connsiteY717" fmla="*/ 559627 h 1400577"/>
                    <a:gd name="connsiteX718" fmla="*/ 533668 w 1648093"/>
                    <a:gd name="connsiteY718" fmla="*/ 558420 h 1400577"/>
                    <a:gd name="connsiteX719" fmla="*/ 550572 w 1648093"/>
                    <a:gd name="connsiteY719" fmla="*/ 557816 h 1400577"/>
                    <a:gd name="connsiteX720" fmla="*/ 555401 w 1648093"/>
                    <a:gd name="connsiteY720" fmla="*/ 552383 h 1400577"/>
                    <a:gd name="connsiteX721" fmla="*/ 565061 w 1648093"/>
                    <a:gd name="connsiteY721" fmla="*/ 547553 h 1400577"/>
                    <a:gd name="connsiteX722" fmla="*/ 573512 w 1648093"/>
                    <a:gd name="connsiteY722" fmla="*/ 547553 h 1400577"/>
                    <a:gd name="connsiteX723" fmla="*/ 580757 w 1648093"/>
                    <a:gd name="connsiteY723" fmla="*/ 544535 h 1400577"/>
                    <a:gd name="connsiteX724" fmla="*/ 586190 w 1648093"/>
                    <a:gd name="connsiteY724" fmla="*/ 540309 h 1400577"/>
                    <a:gd name="connsiteX725" fmla="*/ 596453 w 1648093"/>
                    <a:gd name="connsiteY725" fmla="*/ 540913 h 1400577"/>
                    <a:gd name="connsiteX726" fmla="*/ 597660 w 1648093"/>
                    <a:gd name="connsiteY726" fmla="*/ 537894 h 1400577"/>
                    <a:gd name="connsiteX727" fmla="*/ 603697 w 1648093"/>
                    <a:gd name="connsiteY727" fmla="*/ 534876 h 1400577"/>
                    <a:gd name="connsiteX728" fmla="*/ 611545 w 1648093"/>
                    <a:gd name="connsiteY728" fmla="*/ 534272 h 1400577"/>
                    <a:gd name="connsiteX729" fmla="*/ 617582 w 1648093"/>
                    <a:gd name="connsiteY729" fmla="*/ 528235 h 1400577"/>
                    <a:gd name="connsiteX730" fmla="*/ 622412 w 1648093"/>
                    <a:gd name="connsiteY730" fmla="*/ 526424 h 1400577"/>
                    <a:gd name="connsiteX731" fmla="*/ 629656 w 1648093"/>
                    <a:gd name="connsiteY731" fmla="*/ 534876 h 1400577"/>
                    <a:gd name="connsiteX732" fmla="*/ 640523 w 1648093"/>
                    <a:gd name="connsiteY732" fmla="*/ 533065 h 1400577"/>
                    <a:gd name="connsiteX733" fmla="*/ 642938 w 1648093"/>
                    <a:gd name="connsiteY733" fmla="*/ 534876 h 1400577"/>
                    <a:gd name="connsiteX734" fmla="*/ 646560 w 1648093"/>
                    <a:gd name="connsiteY734" fmla="*/ 543327 h 1400577"/>
                    <a:gd name="connsiteX735" fmla="*/ 653200 w 1648093"/>
                    <a:gd name="connsiteY735" fmla="*/ 547553 h 1400577"/>
                    <a:gd name="connsiteX736" fmla="*/ 656823 w 1648093"/>
                    <a:gd name="connsiteY736" fmla="*/ 546950 h 1400577"/>
                    <a:gd name="connsiteX737" fmla="*/ 663463 w 1648093"/>
                    <a:gd name="connsiteY737" fmla="*/ 541516 h 1400577"/>
                    <a:gd name="connsiteX738" fmla="*/ 667085 w 1648093"/>
                    <a:gd name="connsiteY738" fmla="*/ 534272 h 1400577"/>
                    <a:gd name="connsiteX739" fmla="*/ 672519 w 1648093"/>
                    <a:gd name="connsiteY739" fmla="*/ 530046 h 1400577"/>
                    <a:gd name="connsiteX740" fmla="*/ 678556 w 1648093"/>
                    <a:gd name="connsiteY740" fmla="*/ 522802 h 1400577"/>
                    <a:gd name="connsiteX741" fmla="*/ 679159 w 1648093"/>
                    <a:gd name="connsiteY741" fmla="*/ 517368 h 1400577"/>
                    <a:gd name="connsiteX742" fmla="*/ 683385 w 1648093"/>
                    <a:gd name="connsiteY742" fmla="*/ 508313 h 1400577"/>
                    <a:gd name="connsiteX743" fmla="*/ 677348 w 1648093"/>
                    <a:gd name="connsiteY743" fmla="*/ 505294 h 1400577"/>
                    <a:gd name="connsiteX744" fmla="*/ 675537 w 1648093"/>
                    <a:gd name="connsiteY744" fmla="*/ 499861 h 1400577"/>
                    <a:gd name="connsiteX745" fmla="*/ 671915 w 1648093"/>
                    <a:gd name="connsiteY745" fmla="*/ 499861 h 1400577"/>
                    <a:gd name="connsiteX746" fmla="*/ 667085 w 1648093"/>
                    <a:gd name="connsiteY746" fmla="*/ 497446 h 1400577"/>
                    <a:gd name="connsiteX747" fmla="*/ 670708 w 1648093"/>
                    <a:gd name="connsiteY747" fmla="*/ 487787 h 1400577"/>
                    <a:gd name="connsiteX748" fmla="*/ 676141 w 1648093"/>
                    <a:gd name="connsiteY748" fmla="*/ 481750 h 1400577"/>
                    <a:gd name="connsiteX749" fmla="*/ 677952 w 1648093"/>
                    <a:gd name="connsiteY749" fmla="*/ 475713 h 1400577"/>
                    <a:gd name="connsiteX750" fmla="*/ 686404 w 1648093"/>
                    <a:gd name="connsiteY750" fmla="*/ 475713 h 1400577"/>
                    <a:gd name="connsiteX751" fmla="*/ 687007 w 1648093"/>
                    <a:gd name="connsiteY751" fmla="*/ 470884 h 1400577"/>
                    <a:gd name="connsiteX752" fmla="*/ 690630 w 1648093"/>
                    <a:gd name="connsiteY752" fmla="*/ 472091 h 1400577"/>
                    <a:gd name="connsiteX753" fmla="*/ 696667 w 1648093"/>
                    <a:gd name="connsiteY753" fmla="*/ 470884 h 1400577"/>
                    <a:gd name="connsiteX754" fmla="*/ 697874 w 1648093"/>
                    <a:gd name="connsiteY754" fmla="*/ 467865 h 1400577"/>
                    <a:gd name="connsiteX755" fmla="*/ 703307 w 1648093"/>
                    <a:gd name="connsiteY755" fmla="*/ 463035 h 1400577"/>
                    <a:gd name="connsiteX756" fmla="*/ 706326 w 1648093"/>
                    <a:gd name="connsiteY756" fmla="*/ 458206 h 1400577"/>
                    <a:gd name="connsiteX757" fmla="*/ 708741 w 1648093"/>
                    <a:gd name="connsiteY757" fmla="*/ 458810 h 1400577"/>
                    <a:gd name="connsiteX758" fmla="*/ 709344 w 1648093"/>
                    <a:gd name="connsiteY758" fmla="*/ 464243 h 1400577"/>
                    <a:gd name="connsiteX759" fmla="*/ 713570 w 1648093"/>
                    <a:gd name="connsiteY759" fmla="*/ 463639 h 1400577"/>
                    <a:gd name="connsiteX760" fmla="*/ 718400 w 1648093"/>
                    <a:gd name="connsiteY760" fmla="*/ 467261 h 1400577"/>
                    <a:gd name="connsiteX761" fmla="*/ 722625 w 1648093"/>
                    <a:gd name="connsiteY761" fmla="*/ 465450 h 1400577"/>
                    <a:gd name="connsiteX762" fmla="*/ 731077 w 1648093"/>
                    <a:gd name="connsiteY762" fmla="*/ 477524 h 1400577"/>
                    <a:gd name="connsiteX763" fmla="*/ 733492 w 1648093"/>
                    <a:gd name="connsiteY763" fmla="*/ 487183 h 1400577"/>
                    <a:gd name="connsiteX764" fmla="*/ 734699 w 1648093"/>
                    <a:gd name="connsiteY764" fmla="*/ 495635 h 1400577"/>
                    <a:gd name="connsiteX765" fmla="*/ 737718 w 1648093"/>
                    <a:gd name="connsiteY765" fmla="*/ 499257 h 1400577"/>
                    <a:gd name="connsiteX766" fmla="*/ 742548 w 1648093"/>
                    <a:gd name="connsiteY766" fmla="*/ 499257 h 1400577"/>
                    <a:gd name="connsiteX767" fmla="*/ 745566 w 1648093"/>
                    <a:gd name="connsiteY767" fmla="*/ 508917 h 1400577"/>
                    <a:gd name="connsiteX768" fmla="*/ 755225 w 1648093"/>
                    <a:gd name="connsiteY768" fmla="*/ 501672 h 1400577"/>
                    <a:gd name="connsiteX769" fmla="*/ 755829 w 1648093"/>
                    <a:gd name="connsiteY769" fmla="*/ 504691 h 1400577"/>
                    <a:gd name="connsiteX770" fmla="*/ 761866 w 1648093"/>
                    <a:gd name="connsiteY770" fmla="*/ 507709 h 1400577"/>
                    <a:gd name="connsiteX771" fmla="*/ 763073 w 1648093"/>
                    <a:gd name="connsiteY771" fmla="*/ 513143 h 1400577"/>
                    <a:gd name="connsiteX772" fmla="*/ 769714 w 1648093"/>
                    <a:gd name="connsiteY772" fmla="*/ 516161 h 1400577"/>
                    <a:gd name="connsiteX773" fmla="*/ 784806 w 1648093"/>
                    <a:gd name="connsiteY773" fmla="*/ 519180 h 1400577"/>
                    <a:gd name="connsiteX774" fmla="*/ 792051 w 1648093"/>
                    <a:gd name="connsiteY774" fmla="*/ 514350 h 1400577"/>
                    <a:gd name="connsiteX775" fmla="*/ 789636 w 1648093"/>
                    <a:gd name="connsiteY775" fmla="*/ 509520 h 1400577"/>
                    <a:gd name="connsiteX776" fmla="*/ 782995 w 1648093"/>
                    <a:gd name="connsiteY776" fmla="*/ 505898 h 1400577"/>
                    <a:gd name="connsiteX777" fmla="*/ 784806 w 1648093"/>
                    <a:gd name="connsiteY777" fmla="*/ 503483 h 1400577"/>
                    <a:gd name="connsiteX778" fmla="*/ 785410 w 1648093"/>
                    <a:gd name="connsiteY778" fmla="*/ 496239 h 1400577"/>
                    <a:gd name="connsiteX779" fmla="*/ 789636 w 1648093"/>
                    <a:gd name="connsiteY779" fmla="*/ 495032 h 1400577"/>
                    <a:gd name="connsiteX780" fmla="*/ 789032 w 1648093"/>
                    <a:gd name="connsiteY780" fmla="*/ 483561 h 1400577"/>
                    <a:gd name="connsiteX781" fmla="*/ 786014 w 1648093"/>
                    <a:gd name="connsiteY781" fmla="*/ 483561 h 1400577"/>
                    <a:gd name="connsiteX782" fmla="*/ 778166 w 1648093"/>
                    <a:gd name="connsiteY782" fmla="*/ 478732 h 1400577"/>
                    <a:gd name="connsiteX783" fmla="*/ 776355 w 1648093"/>
                    <a:gd name="connsiteY783" fmla="*/ 481750 h 1400577"/>
                    <a:gd name="connsiteX784" fmla="*/ 770318 w 1648093"/>
                    <a:gd name="connsiteY784" fmla="*/ 479335 h 1400577"/>
                    <a:gd name="connsiteX785" fmla="*/ 767299 w 1648093"/>
                    <a:gd name="connsiteY785" fmla="*/ 484769 h 1400577"/>
                    <a:gd name="connsiteX786" fmla="*/ 760055 w 1648093"/>
                    <a:gd name="connsiteY786" fmla="*/ 479939 h 1400577"/>
                    <a:gd name="connsiteX787" fmla="*/ 743151 w 1648093"/>
                    <a:gd name="connsiteY787" fmla="*/ 474506 h 1400577"/>
                    <a:gd name="connsiteX788" fmla="*/ 745566 w 1648093"/>
                    <a:gd name="connsiteY788" fmla="*/ 469072 h 1400577"/>
                    <a:gd name="connsiteX789" fmla="*/ 749188 w 1648093"/>
                    <a:gd name="connsiteY789" fmla="*/ 464847 h 1400577"/>
                    <a:gd name="connsiteX790" fmla="*/ 744359 w 1648093"/>
                    <a:gd name="connsiteY790" fmla="*/ 455791 h 1400577"/>
                    <a:gd name="connsiteX791" fmla="*/ 750396 w 1648093"/>
                    <a:gd name="connsiteY791" fmla="*/ 451565 h 1400577"/>
                    <a:gd name="connsiteX792" fmla="*/ 751603 w 1648093"/>
                    <a:gd name="connsiteY792" fmla="*/ 456395 h 1400577"/>
                    <a:gd name="connsiteX793" fmla="*/ 755225 w 1648093"/>
                    <a:gd name="connsiteY793" fmla="*/ 462432 h 1400577"/>
                    <a:gd name="connsiteX794" fmla="*/ 760659 w 1648093"/>
                    <a:gd name="connsiteY794" fmla="*/ 464243 h 1400577"/>
                    <a:gd name="connsiteX795" fmla="*/ 761866 w 1648093"/>
                    <a:gd name="connsiteY795" fmla="*/ 460017 h 1400577"/>
                    <a:gd name="connsiteX796" fmla="*/ 766092 w 1648093"/>
                    <a:gd name="connsiteY796" fmla="*/ 460017 h 1400577"/>
                    <a:gd name="connsiteX797" fmla="*/ 768506 w 1648093"/>
                    <a:gd name="connsiteY797" fmla="*/ 455791 h 1400577"/>
                    <a:gd name="connsiteX798" fmla="*/ 769110 w 1648093"/>
                    <a:gd name="connsiteY798" fmla="*/ 450358 h 1400577"/>
                    <a:gd name="connsiteX799" fmla="*/ 770921 w 1648093"/>
                    <a:gd name="connsiteY799" fmla="*/ 446132 h 1400577"/>
                    <a:gd name="connsiteX800" fmla="*/ 781788 w 1648093"/>
                    <a:gd name="connsiteY800" fmla="*/ 441303 h 1400577"/>
                    <a:gd name="connsiteX801" fmla="*/ 784203 w 1648093"/>
                    <a:gd name="connsiteY801" fmla="*/ 438284 h 1400577"/>
                    <a:gd name="connsiteX802" fmla="*/ 791447 w 1648093"/>
                    <a:gd name="connsiteY802" fmla="*/ 441906 h 1400577"/>
                    <a:gd name="connsiteX803" fmla="*/ 798691 w 1648093"/>
                    <a:gd name="connsiteY803" fmla="*/ 444321 h 1400577"/>
                    <a:gd name="connsiteX804" fmla="*/ 804125 w 1648093"/>
                    <a:gd name="connsiteY804" fmla="*/ 449754 h 1400577"/>
                    <a:gd name="connsiteX805" fmla="*/ 800503 w 1648093"/>
                    <a:gd name="connsiteY805" fmla="*/ 452773 h 1400577"/>
                    <a:gd name="connsiteX806" fmla="*/ 802917 w 1648093"/>
                    <a:gd name="connsiteY806" fmla="*/ 456395 h 1400577"/>
                    <a:gd name="connsiteX807" fmla="*/ 809558 w 1648093"/>
                    <a:gd name="connsiteY807" fmla="*/ 453376 h 1400577"/>
                    <a:gd name="connsiteX808" fmla="*/ 818613 w 1648093"/>
                    <a:gd name="connsiteY808" fmla="*/ 453980 h 1400577"/>
                    <a:gd name="connsiteX809" fmla="*/ 822839 w 1648093"/>
                    <a:gd name="connsiteY809" fmla="*/ 456395 h 1400577"/>
                    <a:gd name="connsiteX810" fmla="*/ 838535 w 1648093"/>
                    <a:gd name="connsiteY810" fmla="*/ 460017 h 1400577"/>
                    <a:gd name="connsiteX811" fmla="*/ 840346 w 1648093"/>
                    <a:gd name="connsiteY811" fmla="*/ 462432 h 1400577"/>
                    <a:gd name="connsiteX812" fmla="*/ 845780 w 1648093"/>
                    <a:gd name="connsiteY812" fmla="*/ 456998 h 1400577"/>
                    <a:gd name="connsiteX813" fmla="*/ 845176 w 1648093"/>
                    <a:gd name="connsiteY813" fmla="*/ 453376 h 1400577"/>
                    <a:gd name="connsiteX814" fmla="*/ 846987 w 1648093"/>
                    <a:gd name="connsiteY814" fmla="*/ 447339 h 1400577"/>
                    <a:gd name="connsiteX815" fmla="*/ 845176 w 1648093"/>
                    <a:gd name="connsiteY815" fmla="*/ 443717 h 1400577"/>
                    <a:gd name="connsiteX816" fmla="*/ 847591 w 1648093"/>
                    <a:gd name="connsiteY816" fmla="*/ 441303 h 1400577"/>
                    <a:gd name="connsiteX817" fmla="*/ 848195 w 1648093"/>
                    <a:gd name="connsiteY817" fmla="*/ 436473 h 1400577"/>
                    <a:gd name="connsiteX818" fmla="*/ 851817 w 1648093"/>
                    <a:gd name="connsiteY818" fmla="*/ 437680 h 1400577"/>
                    <a:gd name="connsiteX819" fmla="*/ 857250 w 1648093"/>
                    <a:gd name="connsiteY819" fmla="*/ 436473 h 1400577"/>
                    <a:gd name="connsiteX820" fmla="*/ 857250 w 1648093"/>
                    <a:gd name="connsiteY820" fmla="*/ 431644 h 1400577"/>
                    <a:gd name="connsiteX821" fmla="*/ 855439 w 1648093"/>
                    <a:gd name="connsiteY821" fmla="*/ 424399 h 1400577"/>
                    <a:gd name="connsiteX822" fmla="*/ 860872 w 1648093"/>
                    <a:gd name="connsiteY822" fmla="*/ 423795 h 1400577"/>
                    <a:gd name="connsiteX823" fmla="*/ 865702 w 1648093"/>
                    <a:gd name="connsiteY823" fmla="*/ 427418 h 1400577"/>
                    <a:gd name="connsiteX824" fmla="*/ 871739 w 1648093"/>
                    <a:gd name="connsiteY824" fmla="*/ 429229 h 1400577"/>
                    <a:gd name="connsiteX825" fmla="*/ 880190 w 1648093"/>
                    <a:gd name="connsiteY825" fmla="*/ 428021 h 1400577"/>
                    <a:gd name="connsiteX826" fmla="*/ 883813 w 1648093"/>
                    <a:gd name="connsiteY826" fmla="*/ 423795 h 1400577"/>
                    <a:gd name="connsiteX827" fmla="*/ 888039 w 1648093"/>
                    <a:gd name="connsiteY827" fmla="*/ 423795 h 1400577"/>
                    <a:gd name="connsiteX828" fmla="*/ 892264 w 1648093"/>
                    <a:gd name="connsiteY828" fmla="*/ 421984 h 1400577"/>
                    <a:gd name="connsiteX829" fmla="*/ 904942 w 1648093"/>
                    <a:gd name="connsiteY829" fmla="*/ 417758 h 1400577"/>
                    <a:gd name="connsiteX830" fmla="*/ 908564 w 1648093"/>
                    <a:gd name="connsiteY830" fmla="*/ 417758 h 1400577"/>
                    <a:gd name="connsiteX831" fmla="*/ 912187 w 1648093"/>
                    <a:gd name="connsiteY831" fmla="*/ 412929 h 1400577"/>
                    <a:gd name="connsiteX832" fmla="*/ 910375 w 1648093"/>
                    <a:gd name="connsiteY832" fmla="*/ 410514 h 1400577"/>
                    <a:gd name="connsiteX833" fmla="*/ 910375 w 1648093"/>
                    <a:gd name="connsiteY833" fmla="*/ 402062 h 1400577"/>
                    <a:gd name="connsiteX834" fmla="*/ 913998 w 1648093"/>
                    <a:gd name="connsiteY834" fmla="*/ 397233 h 1400577"/>
                    <a:gd name="connsiteX835" fmla="*/ 920035 w 1648093"/>
                    <a:gd name="connsiteY835" fmla="*/ 398440 h 1400577"/>
                    <a:gd name="connsiteX836" fmla="*/ 930297 w 1648093"/>
                    <a:gd name="connsiteY836" fmla="*/ 399044 h 1400577"/>
                    <a:gd name="connsiteX837" fmla="*/ 934523 w 1648093"/>
                    <a:gd name="connsiteY837" fmla="*/ 395422 h 1400577"/>
                    <a:gd name="connsiteX838" fmla="*/ 941164 w 1648093"/>
                    <a:gd name="connsiteY838" fmla="*/ 383951 h 1400577"/>
                    <a:gd name="connsiteX839" fmla="*/ 945390 w 1648093"/>
                    <a:gd name="connsiteY839" fmla="*/ 384555 h 1400577"/>
                    <a:gd name="connsiteX840" fmla="*/ 947201 w 1648093"/>
                    <a:gd name="connsiteY840" fmla="*/ 388177 h 1400577"/>
                    <a:gd name="connsiteX841" fmla="*/ 954445 w 1648093"/>
                    <a:gd name="connsiteY841" fmla="*/ 391196 h 1400577"/>
                    <a:gd name="connsiteX842" fmla="*/ 960482 w 1648093"/>
                    <a:gd name="connsiteY842" fmla="*/ 389988 h 1400577"/>
                    <a:gd name="connsiteX843" fmla="*/ 965916 w 1648093"/>
                    <a:gd name="connsiteY843" fmla="*/ 385762 h 1400577"/>
                    <a:gd name="connsiteX844" fmla="*/ 976782 w 1648093"/>
                    <a:gd name="connsiteY844" fmla="*/ 371274 h 1400577"/>
                    <a:gd name="connsiteX845" fmla="*/ 978593 w 1648093"/>
                    <a:gd name="connsiteY845" fmla="*/ 351351 h 1400577"/>
                    <a:gd name="connsiteX846" fmla="*/ 982819 w 1648093"/>
                    <a:gd name="connsiteY846" fmla="*/ 344107 h 1400577"/>
                    <a:gd name="connsiteX847" fmla="*/ 978593 w 1648093"/>
                    <a:gd name="connsiteY847" fmla="*/ 340485 h 1400577"/>
                    <a:gd name="connsiteX848" fmla="*/ 980404 w 1648093"/>
                    <a:gd name="connsiteY848" fmla="*/ 336259 h 1400577"/>
                    <a:gd name="connsiteX849" fmla="*/ 985234 w 1648093"/>
                    <a:gd name="connsiteY849" fmla="*/ 332033 h 1400577"/>
                    <a:gd name="connsiteX850" fmla="*/ 988856 w 1648093"/>
                    <a:gd name="connsiteY850" fmla="*/ 324185 h 1400577"/>
                    <a:gd name="connsiteX851" fmla="*/ 992478 w 1648093"/>
                    <a:gd name="connsiteY851" fmla="*/ 319356 h 1400577"/>
                    <a:gd name="connsiteX852" fmla="*/ 993082 w 1648093"/>
                    <a:gd name="connsiteY852" fmla="*/ 312715 h 1400577"/>
                    <a:gd name="connsiteX853" fmla="*/ 994893 w 1648093"/>
                    <a:gd name="connsiteY853" fmla="*/ 310300 h 1400577"/>
                    <a:gd name="connsiteX854" fmla="*/ 1000326 w 1648093"/>
                    <a:gd name="connsiteY854" fmla="*/ 307282 h 1400577"/>
                    <a:gd name="connsiteX855" fmla="*/ 1003345 w 1648093"/>
                    <a:gd name="connsiteY855" fmla="*/ 303056 h 1400577"/>
                    <a:gd name="connsiteX856" fmla="*/ 1014211 w 1648093"/>
                    <a:gd name="connsiteY856" fmla="*/ 302452 h 1400577"/>
                    <a:gd name="connsiteX857" fmla="*/ 1019041 w 1648093"/>
                    <a:gd name="connsiteY857" fmla="*/ 298226 h 1400577"/>
                    <a:gd name="connsiteX858" fmla="*/ 1020248 w 1648093"/>
                    <a:gd name="connsiteY858" fmla="*/ 295208 h 1400577"/>
                    <a:gd name="connsiteX859" fmla="*/ 1025078 w 1648093"/>
                    <a:gd name="connsiteY859" fmla="*/ 290982 h 1400577"/>
                    <a:gd name="connsiteX860" fmla="*/ 1029907 w 1648093"/>
                    <a:gd name="connsiteY860" fmla="*/ 290982 h 1400577"/>
                    <a:gd name="connsiteX861" fmla="*/ 1032322 w 1648093"/>
                    <a:gd name="connsiteY861" fmla="*/ 288567 h 1400577"/>
                    <a:gd name="connsiteX862" fmla="*/ 1035944 w 1648093"/>
                    <a:gd name="connsiteY862" fmla="*/ 287963 h 1400577"/>
                    <a:gd name="connsiteX863" fmla="*/ 1038963 w 1648093"/>
                    <a:gd name="connsiteY863" fmla="*/ 285549 h 1400577"/>
                    <a:gd name="connsiteX864" fmla="*/ 1035944 w 1648093"/>
                    <a:gd name="connsiteY864" fmla="*/ 280115 h 1400577"/>
                    <a:gd name="connsiteX865" fmla="*/ 1031115 w 1648093"/>
                    <a:gd name="connsiteY865" fmla="*/ 274682 h 1400577"/>
                    <a:gd name="connsiteX866" fmla="*/ 1037152 w 1648093"/>
                    <a:gd name="connsiteY866" fmla="*/ 270456 h 1400577"/>
                    <a:gd name="connsiteX867" fmla="*/ 1040170 w 1648093"/>
                    <a:gd name="connsiteY867" fmla="*/ 265627 h 1400577"/>
                    <a:gd name="connsiteX868" fmla="*/ 1046811 w 1648093"/>
                    <a:gd name="connsiteY868" fmla="*/ 262608 h 1400577"/>
                    <a:gd name="connsiteX869" fmla="*/ 1049829 w 1648093"/>
                    <a:gd name="connsiteY869" fmla="*/ 262608 h 1400577"/>
                    <a:gd name="connsiteX870" fmla="*/ 1060092 w 1648093"/>
                    <a:gd name="connsiteY870" fmla="*/ 258382 h 1400577"/>
                    <a:gd name="connsiteX871" fmla="*/ 1063111 w 1648093"/>
                    <a:gd name="connsiteY871" fmla="*/ 255967 h 1400577"/>
                    <a:gd name="connsiteX872" fmla="*/ 1067940 w 1648093"/>
                    <a:gd name="connsiteY872" fmla="*/ 255364 h 1400577"/>
                    <a:gd name="connsiteX873" fmla="*/ 1081222 w 1648093"/>
                    <a:gd name="connsiteY873" fmla="*/ 246912 h 1400577"/>
                    <a:gd name="connsiteX874" fmla="*/ 1081222 w 1648093"/>
                    <a:gd name="connsiteY874" fmla="*/ 242082 h 1400577"/>
                    <a:gd name="connsiteX875" fmla="*/ 1086051 w 1648093"/>
                    <a:gd name="connsiteY875" fmla="*/ 239064 h 1400577"/>
                    <a:gd name="connsiteX876" fmla="*/ 1093296 w 1648093"/>
                    <a:gd name="connsiteY876" fmla="*/ 242082 h 1400577"/>
                    <a:gd name="connsiteX877" fmla="*/ 1095710 w 1648093"/>
                    <a:gd name="connsiteY877" fmla="*/ 237856 h 1400577"/>
                    <a:gd name="connsiteX878" fmla="*/ 1099936 w 1648093"/>
                    <a:gd name="connsiteY878" fmla="*/ 240271 h 1400577"/>
                    <a:gd name="connsiteX879" fmla="*/ 1107784 w 1648093"/>
                    <a:gd name="connsiteY879" fmla="*/ 241479 h 1400577"/>
                    <a:gd name="connsiteX880" fmla="*/ 1108388 w 1648093"/>
                    <a:gd name="connsiteY880" fmla="*/ 243893 h 1400577"/>
                    <a:gd name="connsiteX881" fmla="*/ 1115029 w 1648093"/>
                    <a:gd name="connsiteY881" fmla="*/ 242686 h 1400577"/>
                    <a:gd name="connsiteX882" fmla="*/ 1117444 w 1648093"/>
                    <a:gd name="connsiteY882" fmla="*/ 249327 h 1400577"/>
                    <a:gd name="connsiteX883" fmla="*/ 1121669 w 1648093"/>
                    <a:gd name="connsiteY883" fmla="*/ 249930 h 1400577"/>
                    <a:gd name="connsiteX884" fmla="*/ 1125895 w 1648093"/>
                    <a:gd name="connsiteY884" fmla="*/ 252949 h 1400577"/>
                    <a:gd name="connsiteX885" fmla="*/ 1130121 w 1648093"/>
                    <a:gd name="connsiteY885" fmla="*/ 253553 h 1400577"/>
                    <a:gd name="connsiteX886" fmla="*/ 1130725 w 1648093"/>
                    <a:gd name="connsiteY886" fmla="*/ 255967 h 1400577"/>
                    <a:gd name="connsiteX887" fmla="*/ 1136158 w 1648093"/>
                    <a:gd name="connsiteY887" fmla="*/ 254760 h 1400577"/>
                    <a:gd name="connsiteX888" fmla="*/ 1136762 w 1648093"/>
                    <a:gd name="connsiteY888" fmla="*/ 249327 h 1400577"/>
                    <a:gd name="connsiteX889" fmla="*/ 1134347 w 1648093"/>
                    <a:gd name="connsiteY889" fmla="*/ 244497 h 1400577"/>
                    <a:gd name="connsiteX890" fmla="*/ 1140384 w 1648093"/>
                    <a:gd name="connsiteY890" fmla="*/ 238460 h 1400577"/>
                    <a:gd name="connsiteX891" fmla="*/ 1144006 w 1648093"/>
                    <a:gd name="connsiteY891" fmla="*/ 243290 h 1400577"/>
                    <a:gd name="connsiteX892" fmla="*/ 1147628 w 1648093"/>
                    <a:gd name="connsiteY892" fmla="*/ 240875 h 1400577"/>
                    <a:gd name="connsiteX893" fmla="*/ 1150647 w 1648093"/>
                    <a:gd name="connsiteY893" fmla="*/ 241479 h 1400577"/>
                    <a:gd name="connsiteX894" fmla="*/ 1151854 w 1648093"/>
                    <a:gd name="connsiteY894" fmla="*/ 233631 h 1400577"/>
                    <a:gd name="connsiteX895" fmla="*/ 1149439 w 1648093"/>
                    <a:gd name="connsiteY895" fmla="*/ 231216 h 1400577"/>
                    <a:gd name="connsiteX896" fmla="*/ 1150043 w 1648093"/>
                    <a:gd name="connsiteY896" fmla="*/ 220953 h 1400577"/>
                    <a:gd name="connsiteX897" fmla="*/ 1154873 w 1648093"/>
                    <a:gd name="connsiteY897" fmla="*/ 224575 h 1400577"/>
                    <a:gd name="connsiteX898" fmla="*/ 1156684 w 1648093"/>
                    <a:gd name="connsiteY898" fmla="*/ 221557 h 1400577"/>
                    <a:gd name="connsiteX899" fmla="*/ 1153062 w 1648093"/>
                    <a:gd name="connsiteY899" fmla="*/ 216727 h 1400577"/>
                    <a:gd name="connsiteX900" fmla="*/ 1145214 w 1648093"/>
                    <a:gd name="connsiteY900" fmla="*/ 213709 h 1400577"/>
                    <a:gd name="connsiteX901" fmla="*/ 1144006 w 1648093"/>
                    <a:gd name="connsiteY901" fmla="*/ 209483 h 1400577"/>
                    <a:gd name="connsiteX902" fmla="*/ 1149439 w 1648093"/>
                    <a:gd name="connsiteY902" fmla="*/ 205257 h 1400577"/>
                    <a:gd name="connsiteX903" fmla="*/ 1149439 w 1648093"/>
                    <a:gd name="connsiteY903" fmla="*/ 201635 h 1400577"/>
                    <a:gd name="connsiteX904" fmla="*/ 1150647 w 1648093"/>
                    <a:gd name="connsiteY904" fmla="*/ 193787 h 1400577"/>
                    <a:gd name="connsiteX905" fmla="*/ 1156684 w 1648093"/>
                    <a:gd name="connsiteY905" fmla="*/ 193183 h 1400577"/>
                    <a:gd name="connsiteX906" fmla="*/ 1159702 w 1648093"/>
                    <a:gd name="connsiteY906" fmla="*/ 190165 h 1400577"/>
                    <a:gd name="connsiteX907" fmla="*/ 1162117 w 1648093"/>
                    <a:gd name="connsiteY907" fmla="*/ 185335 h 1400577"/>
                    <a:gd name="connsiteX908" fmla="*/ 1160306 w 1648093"/>
                    <a:gd name="connsiteY908" fmla="*/ 182920 h 1400577"/>
                    <a:gd name="connsiteX909" fmla="*/ 1152458 w 1648093"/>
                    <a:gd name="connsiteY909" fmla="*/ 181713 h 1400577"/>
                    <a:gd name="connsiteX910" fmla="*/ 1155476 w 1648093"/>
                    <a:gd name="connsiteY910" fmla="*/ 177487 h 1400577"/>
                    <a:gd name="connsiteX911" fmla="*/ 1158495 w 1648093"/>
                    <a:gd name="connsiteY911" fmla="*/ 175072 h 1400577"/>
                    <a:gd name="connsiteX912" fmla="*/ 1160306 w 1648093"/>
                    <a:gd name="connsiteY912" fmla="*/ 170846 h 1400577"/>
                    <a:gd name="connsiteX913" fmla="*/ 1155476 w 1648093"/>
                    <a:gd name="connsiteY913" fmla="*/ 162998 h 1400577"/>
                    <a:gd name="connsiteX914" fmla="*/ 1159099 w 1648093"/>
                    <a:gd name="connsiteY914" fmla="*/ 159980 h 1400577"/>
                    <a:gd name="connsiteX915" fmla="*/ 1163324 w 1648093"/>
                    <a:gd name="connsiteY915" fmla="*/ 153943 h 1400577"/>
                    <a:gd name="connsiteX916" fmla="*/ 1169361 w 1648093"/>
                    <a:gd name="connsiteY916" fmla="*/ 148509 h 1400577"/>
                    <a:gd name="connsiteX917" fmla="*/ 1171173 w 1648093"/>
                    <a:gd name="connsiteY917" fmla="*/ 143680 h 1400577"/>
                    <a:gd name="connsiteX918" fmla="*/ 1179021 w 1648093"/>
                    <a:gd name="connsiteY918" fmla="*/ 135228 h 1400577"/>
                    <a:gd name="connsiteX919" fmla="*/ 1180228 w 1648093"/>
                    <a:gd name="connsiteY919" fmla="*/ 140057 h 1400577"/>
                    <a:gd name="connsiteX920" fmla="*/ 1183850 w 1648093"/>
                    <a:gd name="connsiteY920" fmla="*/ 141869 h 1400577"/>
                    <a:gd name="connsiteX921" fmla="*/ 1188680 w 1648093"/>
                    <a:gd name="connsiteY921" fmla="*/ 142472 h 1400577"/>
                    <a:gd name="connsiteX922" fmla="*/ 1189887 w 1648093"/>
                    <a:gd name="connsiteY922" fmla="*/ 150320 h 1400577"/>
                    <a:gd name="connsiteX923" fmla="*/ 1187472 w 1648093"/>
                    <a:gd name="connsiteY923" fmla="*/ 152735 h 1400577"/>
                    <a:gd name="connsiteX924" fmla="*/ 1190491 w 1648093"/>
                    <a:gd name="connsiteY924" fmla="*/ 155754 h 1400577"/>
                    <a:gd name="connsiteX925" fmla="*/ 1195321 w 1648093"/>
                    <a:gd name="connsiteY925" fmla="*/ 156961 h 1400577"/>
                    <a:gd name="connsiteX926" fmla="*/ 1191698 w 1648093"/>
                    <a:gd name="connsiteY926" fmla="*/ 162998 h 1400577"/>
                    <a:gd name="connsiteX927" fmla="*/ 1191698 w 1648093"/>
                    <a:gd name="connsiteY927" fmla="*/ 167224 h 1400577"/>
                    <a:gd name="connsiteX928" fmla="*/ 1195924 w 1648093"/>
                    <a:gd name="connsiteY928" fmla="*/ 167224 h 1400577"/>
                    <a:gd name="connsiteX929" fmla="*/ 1204980 w 1648093"/>
                    <a:gd name="connsiteY929" fmla="*/ 172657 h 1400577"/>
                    <a:gd name="connsiteX930" fmla="*/ 1202565 w 1648093"/>
                    <a:gd name="connsiteY930" fmla="*/ 182316 h 1400577"/>
                    <a:gd name="connsiteX931" fmla="*/ 1201961 w 1648093"/>
                    <a:gd name="connsiteY931" fmla="*/ 190768 h 1400577"/>
                    <a:gd name="connsiteX932" fmla="*/ 1202565 w 1648093"/>
                    <a:gd name="connsiteY932" fmla="*/ 196202 h 1400577"/>
                    <a:gd name="connsiteX933" fmla="*/ 1206791 w 1648093"/>
                    <a:gd name="connsiteY933" fmla="*/ 198013 h 1400577"/>
                    <a:gd name="connsiteX934" fmla="*/ 1211620 w 1648093"/>
                    <a:gd name="connsiteY934" fmla="*/ 202239 h 1400577"/>
                    <a:gd name="connsiteX935" fmla="*/ 1214639 w 1648093"/>
                    <a:gd name="connsiteY935" fmla="*/ 198616 h 1400577"/>
                    <a:gd name="connsiteX936" fmla="*/ 1214035 w 1648093"/>
                    <a:gd name="connsiteY936" fmla="*/ 196202 h 1400577"/>
                    <a:gd name="connsiteX937" fmla="*/ 1218261 w 1648093"/>
                    <a:gd name="connsiteY937" fmla="*/ 188957 h 1400577"/>
                    <a:gd name="connsiteX938" fmla="*/ 1224902 w 1648093"/>
                    <a:gd name="connsiteY938" fmla="*/ 187750 h 1400577"/>
                    <a:gd name="connsiteX939" fmla="*/ 1226109 w 1648093"/>
                    <a:gd name="connsiteY939" fmla="*/ 184731 h 1400577"/>
                    <a:gd name="connsiteX940" fmla="*/ 1232750 w 1648093"/>
                    <a:gd name="connsiteY940" fmla="*/ 184128 h 1400577"/>
                    <a:gd name="connsiteX941" fmla="*/ 1235768 w 1648093"/>
                    <a:gd name="connsiteY941" fmla="*/ 180505 h 1400577"/>
                    <a:gd name="connsiteX942" fmla="*/ 1239390 w 1648093"/>
                    <a:gd name="connsiteY942" fmla="*/ 179902 h 1400577"/>
                    <a:gd name="connsiteX943" fmla="*/ 1243013 w 1648093"/>
                    <a:gd name="connsiteY943" fmla="*/ 175072 h 1400577"/>
                    <a:gd name="connsiteX944" fmla="*/ 1241202 w 1648093"/>
                    <a:gd name="connsiteY944" fmla="*/ 171450 h 1400577"/>
                    <a:gd name="connsiteX945" fmla="*/ 1243616 w 1648093"/>
                    <a:gd name="connsiteY945" fmla="*/ 167224 h 1400577"/>
                    <a:gd name="connsiteX946" fmla="*/ 1241202 w 1648093"/>
                    <a:gd name="connsiteY946" fmla="*/ 160583 h 1400577"/>
                    <a:gd name="connsiteX947" fmla="*/ 1246031 w 1648093"/>
                    <a:gd name="connsiteY947" fmla="*/ 156357 h 1400577"/>
                    <a:gd name="connsiteX948" fmla="*/ 1249653 w 1648093"/>
                    <a:gd name="connsiteY948" fmla="*/ 157565 h 1400577"/>
                    <a:gd name="connsiteX949" fmla="*/ 1260520 w 1648093"/>
                    <a:gd name="connsiteY949" fmla="*/ 163602 h 1400577"/>
                    <a:gd name="connsiteX950" fmla="*/ 1263538 w 1648093"/>
                    <a:gd name="connsiteY950" fmla="*/ 162394 h 1400577"/>
                    <a:gd name="connsiteX951" fmla="*/ 1264746 w 1648093"/>
                    <a:gd name="connsiteY951" fmla="*/ 166620 h 1400577"/>
                    <a:gd name="connsiteX952" fmla="*/ 1263538 w 1648093"/>
                    <a:gd name="connsiteY952" fmla="*/ 169639 h 1400577"/>
                    <a:gd name="connsiteX953" fmla="*/ 1267160 w 1648093"/>
                    <a:gd name="connsiteY953" fmla="*/ 174468 h 1400577"/>
                    <a:gd name="connsiteX954" fmla="*/ 1272594 w 1648093"/>
                    <a:gd name="connsiteY954" fmla="*/ 173261 h 1400577"/>
                    <a:gd name="connsiteX955" fmla="*/ 1273197 w 1648093"/>
                    <a:gd name="connsiteY955" fmla="*/ 175676 h 1400577"/>
                    <a:gd name="connsiteX956" fmla="*/ 1282253 w 1648093"/>
                    <a:gd name="connsiteY956" fmla="*/ 175072 h 1400577"/>
                    <a:gd name="connsiteX957" fmla="*/ 1285875 w 1648093"/>
                    <a:gd name="connsiteY957" fmla="*/ 170242 h 1400577"/>
                    <a:gd name="connsiteX958" fmla="*/ 1289497 w 1648093"/>
                    <a:gd name="connsiteY958" fmla="*/ 169639 h 1400577"/>
                    <a:gd name="connsiteX959" fmla="*/ 1295534 w 1648093"/>
                    <a:gd name="connsiteY959" fmla="*/ 171450 h 1400577"/>
                    <a:gd name="connsiteX960" fmla="*/ 1300968 w 1648093"/>
                    <a:gd name="connsiteY960" fmla="*/ 166620 h 1400577"/>
                    <a:gd name="connsiteX961" fmla="*/ 1296138 w 1648093"/>
                    <a:gd name="connsiteY961" fmla="*/ 161187 h 1400577"/>
                    <a:gd name="connsiteX962" fmla="*/ 1294931 w 1648093"/>
                    <a:gd name="connsiteY962" fmla="*/ 157565 h 1400577"/>
                    <a:gd name="connsiteX963" fmla="*/ 1290705 w 1648093"/>
                    <a:gd name="connsiteY963" fmla="*/ 154546 h 1400577"/>
                    <a:gd name="connsiteX964" fmla="*/ 1297949 w 1648093"/>
                    <a:gd name="connsiteY964" fmla="*/ 147906 h 1400577"/>
                    <a:gd name="connsiteX965" fmla="*/ 1302175 w 1648093"/>
                    <a:gd name="connsiteY965" fmla="*/ 140057 h 1400577"/>
                    <a:gd name="connsiteX966" fmla="*/ 1305797 w 1648093"/>
                    <a:gd name="connsiteY966" fmla="*/ 136435 h 1400577"/>
                    <a:gd name="connsiteX967" fmla="*/ 1302175 w 1648093"/>
                    <a:gd name="connsiteY967" fmla="*/ 134020 h 1400577"/>
                    <a:gd name="connsiteX968" fmla="*/ 1297949 w 1648093"/>
                    <a:gd name="connsiteY968" fmla="*/ 135832 h 1400577"/>
                    <a:gd name="connsiteX969" fmla="*/ 1293723 w 1648093"/>
                    <a:gd name="connsiteY969" fmla="*/ 132813 h 1400577"/>
                    <a:gd name="connsiteX970" fmla="*/ 1292516 w 1648093"/>
                    <a:gd name="connsiteY970" fmla="*/ 129191 h 1400577"/>
                    <a:gd name="connsiteX971" fmla="*/ 1294931 w 1648093"/>
                    <a:gd name="connsiteY971" fmla="*/ 126172 h 1400577"/>
                    <a:gd name="connsiteX972" fmla="*/ 1288894 w 1648093"/>
                    <a:gd name="connsiteY972" fmla="*/ 123758 h 1400577"/>
                    <a:gd name="connsiteX973" fmla="*/ 1291308 w 1648093"/>
                    <a:gd name="connsiteY973" fmla="*/ 120136 h 1400577"/>
                    <a:gd name="connsiteX974" fmla="*/ 1289497 w 1648093"/>
                    <a:gd name="connsiteY974" fmla="*/ 112891 h 1400577"/>
                    <a:gd name="connsiteX975" fmla="*/ 1297949 w 1648093"/>
                    <a:gd name="connsiteY975" fmla="*/ 109873 h 1400577"/>
                    <a:gd name="connsiteX976" fmla="*/ 1303382 w 1648093"/>
                    <a:gd name="connsiteY976" fmla="*/ 98403 h 1400577"/>
                    <a:gd name="connsiteX977" fmla="*/ 1305193 w 1648093"/>
                    <a:gd name="connsiteY977" fmla="*/ 97195 h 1400577"/>
                    <a:gd name="connsiteX978" fmla="*/ 1314852 w 1648093"/>
                    <a:gd name="connsiteY978" fmla="*/ 83914 h 1400577"/>
                    <a:gd name="connsiteX979" fmla="*/ 1318475 w 1648093"/>
                    <a:gd name="connsiteY979" fmla="*/ 86932 h 1400577"/>
                    <a:gd name="connsiteX980" fmla="*/ 1322097 w 1648093"/>
                    <a:gd name="connsiteY980" fmla="*/ 86932 h 1400577"/>
                    <a:gd name="connsiteX981" fmla="*/ 1325719 w 1648093"/>
                    <a:gd name="connsiteY981" fmla="*/ 89951 h 1400577"/>
                    <a:gd name="connsiteX982" fmla="*/ 1332964 w 1648093"/>
                    <a:gd name="connsiteY982" fmla="*/ 89347 h 1400577"/>
                    <a:gd name="connsiteX983" fmla="*/ 1336586 w 1648093"/>
                    <a:gd name="connsiteY983" fmla="*/ 86932 h 1400577"/>
                    <a:gd name="connsiteX984" fmla="*/ 1342019 w 1648093"/>
                    <a:gd name="connsiteY984" fmla="*/ 87536 h 1400577"/>
                    <a:gd name="connsiteX985" fmla="*/ 1345038 w 1648093"/>
                    <a:gd name="connsiteY985" fmla="*/ 80292 h 1400577"/>
                    <a:gd name="connsiteX986" fmla="*/ 1349867 w 1648093"/>
                    <a:gd name="connsiteY986" fmla="*/ 78481 h 1400577"/>
                    <a:gd name="connsiteX987" fmla="*/ 1354093 w 1648093"/>
                    <a:gd name="connsiteY987" fmla="*/ 78481 h 1400577"/>
                    <a:gd name="connsiteX988" fmla="*/ 1361337 w 1648093"/>
                    <a:gd name="connsiteY988" fmla="*/ 76669 h 1400577"/>
                    <a:gd name="connsiteX989" fmla="*/ 1364356 w 1648093"/>
                    <a:gd name="connsiteY989" fmla="*/ 73651 h 1400577"/>
                    <a:gd name="connsiteX990" fmla="*/ 1369185 w 1648093"/>
                    <a:gd name="connsiteY990" fmla="*/ 70632 h 1400577"/>
                    <a:gd name="connsiteX991" fmla="*/ 1369185 w 1648093"/>
                    <a:gd name="connsiteY991" fmla="*/ 67010 h 1400577"/>
                    <a:gd name="connsiteX992" fmla="*/ 1372204 w 1648093"/>
                    <a:gd name="connsiteY992" fmla="*/ 65199 h 1400577"/>
                    <a:gd name="connsiteX993" fmla="*/ 1367374 w 1648093"/>
                    <a:gd name="connsiteY993" fmla="*/ 62784 h 1400577"/>
                    <a:gd name="connsiteX994" fmla="*/ 1358922 w 1648093"/>
                    <a:gd name="connsiteY994" fmla="*/ 51918 h 1400577"/>
                    <a:gd name="connsiteX995" fmla="*/ 1361941 w 1648093"/>
                    <a:gd name="connsiteY995" fmla="*/ 49503 h 1400577"/>
                    <a:gd name="connsiteX996" fmla="*/ 1361941 w 1648093"/>
                    <a:gd name="connsiteY996" fmla="*/ 44673 h 1400577"/>
                    <a:gd name="connsiteX997" fmla="*/ 1354697 w 1648093"/>
                    <a:gd name="connsiteY997" fmla="*/ 43466 h 1400577"/>
                    <a:gd name="connsiteX998" fmla="*/ 1351678 w 1648093"/>
                    <a:gd name="connsiteY998" fmla="*/ 41655 h 1400577"/>
                    <a:gd name="connsiteX999" fmla="*/ 1350471 w 1648093"/>
                    <a:gd name="connsiteY999" fmla="*/ 36222 h 1400577"/>
                    <a:gd name="connsiteX1000" fmla="*/ 1355300 w 1648093"/>
                    <a:gd name="connsiteY1000" fmla="*/ 36825 h 1400577"/>
                    <a:gd name="connsiteX1001" fmla="*/ 1356508 w 1648093"/>
                    <a:gd name="connsiteY1001" fmla="*/ 33203 h 1400577"/>
                    <a:gd name="connsiteX1002" fmla="*/ 1360734 w 1648093"/>
                    <a:gd name="connsiteY1002" fmla="*/ 32599 h 1400577"/>
                    <a:gd name="connsiteX1003" fmla="*/ 1361941 w 1648093"/>
                    <a:gd name="connsiteY1003" fmla="*/ 35618 h 1400577"/>
                    <a:gd name="connsiteX1004" fmla="*/ 1367374 w 1648093"/>
                    <a:gd name="connsiteY1004" fmla="*/ 34410 h 1400577"/>
                    <a:gd name="connsiteX1005" fmla="*/ 1371600 w 1648093"/>
                    <a:gd name="connsiteY1005" fmla="*/ 35014 h 1400577"/>
                    <a:gd name="connsiteX1006" fmla="*/ 1372807 w 1648093"/>
                    <a:gd name="connsiteY1006" fmla="*/ 39240 h 1400577"/>
                    <a:gd name="connsiteX1007" fmla="*/ 1378844 w 1648093"/>
                    <a:gd name="connsiteY1007" fmla="*/ 45881 h 1400577"/>
                    <a:gd name="connsiteX1008" fmla="*/ 1382466 w 1648093"/>
                    <a:gd name="connsiteY1008" fmla="*/ 43466 h 1400577"/>
                    <a:gd name="connsiteX1009" fmla="*/ 1380052 w 1648093"/>
                    <a:gd name="connsiteY1009" fmla="*/ 34410 h 1400577"/>
                    <a:gd name="connsiteX1010" fmla="*/ 1384881 w 1648093"/>
                    <a:gd name="connsiteY1010" fmla="*/ 34410 h 1400577"/>
                    <a:gd name="connsiteX1011" fmla="*/ 1385485 w 1648093"/>
                    <a:gd name="connsiteY1011" fmla="*/ 28977 h 1400577"/>
                    <a:gd name="connsiteX1012" fmla="*/ 1383070 w 1648093"/>
                    <a:gd name="connsiteY1012" fmla="*/ 26562 h 1400577"/>
                    <a:gd name="connsiteX1013" fmla="*/ 1381863 w 1648093"/>
                    <a:gd name="connsiteY1013" fmla="*/ 19318 h 1400577"/>
                    <a:gd name="connsiteX1014" fmla="*/ 1385485 w 1648093"/>
                    <a:gd name="connsiteY1014" fmla="*/ 18111 h 1400577"/>
                    <a:gd name="connsiteX1015" fmla="*/ 1389107 w 1648093"/>
                    <a:gd name="connsiteY1015" fmla="*/ 22337 h 1400577"/>
                    <a:gd name="connsiteX1016" fmla="*/ 1391522 w 1648093"/>
                    <a:gd name="connsiteY1016" fmla="*/ 20525 h 1400577"/>
                    <a:gd name="connsiteX1017" fmla="*/ 1393333 w 1648093"/>
                    <a:gd name="connsiteY1017" fmla="*/ 28977 h 1400577"/>
                    <a:gd name="connsiteX1018" fmla="*/ 1389711 w 1648093"/>
                    <a:gd name="connsiteY1018" fmla="*/ 31996 h 1400577"/>
                    <a:gd name="connsiteX1019" fmla="*/ 1396955 w 1648093"/>
                    <a:gd name="connsiteY1019" fmla="*/ 33203 h 1400577"/>
                    <a:gd name="connsiteX1020" fmla="*/ 1397559 w 1648093"/>
                    <a:gd name="connsiteY1020" fmla="*/ 28373 h 1400577"/>
                    <a:gd name="connsiteX1021" fmla="*/ 1401181 w 1648093"/>
                    <a:gd name="connsiteY1021" fmla="*/ 23544 h 1400577"/>
                    <a:gd name="connsiteX1022" fmla="*/ 1406614 w 1648093"/>
                    <a:gd name="connsiteY1022" fmla="*/ 23544 h 1400577"/>
                    <a:gd name="connsiteX1023" fmla="*/ 1407218 w 1648093"/>
                    <a:gd name="connsiteY1023" fmla="*/ 18111 h 1400577"/>
                    <a:gd name="connsiteX1024" fmla="*/ 1412048 w 1648093"/>
                    <a:gd name="connsiteY1024" fmla="*/ 13885 h 1400577"/>
                    <a:gd name="connsiteX1025" fmla="*/ 1409633 w 1648093"/>
                    <a:gd name="connsiteY1025" fmla="*/ 8452 h 1400577"/>
                    <a:gd name="connsiteX1026" fmla="*/ 1415066 w 1648093"/>
                    <a:gd name="connsiteY1026" fmla="*/ 3622 h 1400577"/>
                    <a:gd name="connsiteX1027" fmla="*/ 1420500 w 1648093"/>
                    <a:gd name="connsiteY1027" fmla="*/ 9659 h 1400577"/>
                    <a:gd name="connsiteX1028" fmla="*/ 1422914 w 1648093"/>
                    <a:gd name="connsiteY1028" fmla="*/ 15092 h 1400577"/>
                    <a:gd name="connsiteX1029" fmla="*/ 1422914 w 1648093"/>
                    <a:gd name="connsiteY1029" fmla="*/ 18111 h 1400577"/>
                    <a:gd name="connsiteX1030" fmla="*/ 1428348 w 1648093"/>
                    <a:gd name="connsiteY1030" fmla="*/ 24751 h 1400577"/>
                    <a:gd name="connsiteX1031" fmla="*/ 1431366 w 1648093"/>
                    <a:gd name="connsiteY1031" fmla="*/ 31392 h 1400577"/>
                    <a:gd name="connsiteX1032" fmla="*/ 1432574 w 1648093"/>
                    <a:gd name="connsiteY1032" fmla="*/ 37429 h 1400577"/>
                    <a:gd name="connsiteX1033" fmla="*/ 1436799 w 1648093"/>
                    <a:gd name="connsiteY1033" fmla="*/ 39844 h 1400577"/>
                    <a:gd name="connsiteX1034" fmla="*/ 1441025 w 1648093"/>
                    <a:gd name="connsiteY1034" fmla="*/ 52521 h 1400577"/>
                    <a:gd name="connsiteX1035" fmla="*/ 1446459 w 1648093"/>
                    <a:gd name="connsiteY1035" fmla="*/ 56144 h 1400577"/>
                    <a:gd name="connsiteX1036" fmla="*/ 1447666 w 1648093"/>
                    <a:gd name="connsiteY1036" fmla="*/ 51918 h 1400577"/>
                    <a:gd name="connsiteX1037" fmla="*/ 1444044 w 1648093"/>
                    <a:gd name="connsiteY1037" fmla="*/ 46484 h 1400577"/>
                    <a:gd name="connsiteX1038" fmla="*/ 1442233 w 1648093"/>
                    <a:gd name="connsiteY1038" fmla="*/ 46484 h 1400577"/>
                    <a:gd name="connsiteX1039" fmla="*/ 1439818 w 1648093"/>
                    <a:gd name="connsiteY1039" fmla="*/ 38033 h 1400577"/>
                    <a:gd name="connsiteX1040" fmla="*/ 1450081 w 1648093"/>
                    <a:gd name="connsiteY1040" fmla="*/ 32599 h 1400577"/>
                    <a:gd name="connsiteX1041" fmla="*/ 1455514 w 1648093"/>
                    <a:gd name="connsiteY1041" fmla="*/ 45881 h 1400577"/>
                    <a:gd name="connsiteX1042" fmla="*/ 1454910 w 1648093"/>
                    <a:gd name="connsiteY1042" fmla="*/ 48899 h 1400577"/>
                    <a:gd name="connsiteX1043" fmla="*/ 1459136 w 1648093"/>
                    <a:gd name="connsiteY1043" fmla="*/ 54333 h 1400577"/>
                    <a:gd name="connsiteX1044" fmla="*/ 1460947 w 1648093"/>
                    <a:gd name="connsiteY1044" fmla="*/ 58558 h 1400577"/>
                    <a:gd name="connsiteX1045" fmla="*/ 1459740 w 1648093"/>
                    <a:gd name="connsiteY1045" fmla="*/ 62181 h 1400577"/>
                    <a:gd name="connsiteX1046" fmla="*/ 1460947 w 1648093"/>
                    <a:gd name="connsiteY1046" fmla="*/ 67010 h 1400577"/>
                    <a:gd name="connsiteX1047" fmla="*/ 1465777 w 1648093"/>
                    <a:gd name="connsiteY1047" fmla="*/ 69425 h 1400577"/>
                    <a:gd name="connsiteX1048" fmla="*/ 1466984 w 1648093"/>
                    <a:gd name="connsiteY1048" fmla="*/ 74255 h 1400577"/>
                    <a:gd name="connsiteX1049" fmla="*/ 1474229 w 1648093"/>
                    <a:gd name="connsiteY1049" fmla="*/ 74255 h 1400577"/>
                    <a:gd name="connsiteX1050" fmla="*/ 1479662 w 1648093"/>
                    <a:gd name="connsiteY1050" fmla="*/ 76669 h 1400577"/>
                    <a:gd name="connsiteX1051" fmla="*/ 1489925 w 1648093"/>
                    <a:gd name="connsiteY1051" fmla="*/ 77877 h 1400577"/>
                    <a:gd name="connsiteX1052" fmla="*/ 1494754 w 1648093"/>
                    <a:gd name="connsiteY1052" fmla="*/ 77273 h 1400577"/>
                    <a:gd name="connsiteX1053" fmla="*/ 1503206 w 1648093"/>
                    <a:gd name="connsiteY1053" fmla="*/ 81499 h 1400577"/>
                    <a:gd name="connsiteX1054" fmla="*/ 1506828 w 1648093"/>
                    <a:gd name="connsiteY1054" fmla="*/ 88743 h 1400577"/>
                    <a:gd name="connsiteX1055" fmla="*/ 1512261 w 1648093"/>
                    <a:gd name="connsiteY1055" fmla="*/ 89951 h 1400577"/>
                    <a:gd name="connsiteX1056" fmla="*/ 1521317 w 1648093"/>
                    <a:gd name="connsiteY1056" fmla="*/ 85121 h 1400577"/>
                    <a:gd name="connsiteX1057" fmla="*/ 1526147 w 1648093"/>
                    <a:gd name="connsiteY1057" fmla="*/ 83310 h 1400577"/>
                    <a:gd name="connsiteX1058" fmla="*/ 1530372 w 1648093"/>
                    <a:gd name="connsiteY1058" fmla="*/ 84518 h 1400577"/>
                    <a:gd name="connsiteX1059" fmla="*/ 1538221 w 1648093"/>
                    <a:gd name="connsiteY1059" fmla="*/ 80895 h 1400577"/>
                    <a:gd name="connsiteX1060" fmla="*/ 1544258 w 1648093"/>
                    <a:gd name="connsiteY1060" fmla="*/ 83914 h 1400577"/>
                    <a:gd name="connsiteX1061" fmla="*/ 1552106 w 1648093"/>
                    <a:gd name="connsiteY1061" fmla="*/ 79688 h 1400577"/>
                    <a:gd name="connsiteX1062" fmla="*/ 1555124 w 1648093"/>
                    <a:gd name="connsiteY1062" fmla="*/ 82103 h 1400577"/>
                    <a:gd name="connsiteX1063" fmla="*/ 1561765 w 1648093"/>
                    <a:gd name="connsiteY1063" fmla="*/ 79688 h 1400577"/>
                    <a:gd name="connsiteX1064" fmla="*/ 1564180 w 1648093"/>
                    <a:gd name="connsiteY1064" fmla="*/ 75462 h 1400577"/>
                    <a:gd name="connsiteX1065" fmla="*/ 1562369 w 1648093"/>
                    <a:gd name="connsiteY1065" fmla="*/ 63992 h 1400577"/>
                    <a:gd name="connsiteX1066" fmla="*/ 1568405 w 1648093"/>
                    <a:gd name="connsiteY1066" fmla="*/ 67010 h 1400577"/>
                    <a:gd name="connsiteX1067" fmla="*/ 1573235 w 1648093"/>
                    <a:gd name="connsiteY1067" fmla="*/ 59766 h 1400577"/>
                    <a:gd name="connsiteX1068" fmla="*/ 1578065 w 1648093"/>
                    <a:gd name="connsiteY1068" fmla="*/ 57955 h 1400577"/>
                    <a:gd name="connsiteX1069" fmla="*/ 1581687 w 1648093"/>
                    <a:gd name="connsiteY1069" fmla="*/ 53125 h 1400577"/>
                    <a:gd name="connsiteX1070" fmla="*/ 1579272 w 1648093"/>
                    <a:gd name="connsiteY1070" fmla="*/ 47692 h 1400577"/>
                    <a:gd name="connsiteX1071" fmla="*/ 1584101 w 1648093"/>
                    <a:gd name="connsiteY1071" fmla="*/ 41655 h 1400577"/>
                    <a:gd name="connsiteX1072" fmla="*/ 1582894 w 1648093"/>
                    <a:gd name="connsiteY1072" fmla="*/ 39240 h 1400577"/>
                    <a:gd name="connsiteX1073" fmla="*/ 1581083 w 1648093"/>
                    <a:gd name="connsiteY1073" fmla="*/ 38033 h 1400577"/>
                    <a:gd name="connsiteX1074" fmla="*/ 1581083 w 1648093"/>
                    <a:gd name="connsiteY1074" fmla="*/ 36825 h 1400577"/>
                    <a:gd name="connsiteX1075" fmla="*/ 1581083 w 1648093"/>
                    <a:gd name="connsiteY1075" fmla="*/ 35618 h 1400577"/>
                    <a:gd name="connsiteX1076" fmla="*/ 1578668 w 1648093"/>
                    <a:gd name="connsiteY1076" fmla="*/ 31996 h 1400577"/>
                    <a:gd name="connsiteX1077" fmla="*/ 1579876 w 1648093"/>
                    <a:gd name="connsiteY1077" fmla="*/ 31392 h 1400577"/>
                    <a:gd name="connsiteX1078" fmla="*/ 1580479 w 1648093"/>
                    <a:gd name="connsiteY1078" fmla="*/ 32599 h 1400577"/>
                    <a:gd name="connsiteX1079" fmla="*/ 1583498 w 1648093"/>
                    <a:gd name="connsiteY1079" fmla="*/ 35014 h 1400577"/>
                    <a:gd name="connsiteX1080" fmla="*/ 1590742 w 1648093"/>
                    <a:gd name="connsiteY1080" fmla="*/ 38636 h 1400577"/>
                    <a:gd name="connsiteX1081" fmla="*/ 1591346 w 1648093"/>
                    <a:gd name="connsiteY1081" fmla="*/ 36222 h 1400577"/>
                    <a:gd name="connsiteX1082" fmla="*/ 1591949 w 1648093"/>
                    <a:gd name="connsiteY1082" fmla="*/ 32599 h 1400577"/>
                    <a:gd name="connsiteX1083" fmla="*/ 1594364 w 1648093"/>
                    <a:gd name="connsiteY1083" fmla="*/ 29581 h 1400577"/>
                    <a:gd name="connsiteX1084" fmla="*/ 1596175 w 1648093"/>
                    <a:gd name="connsiteY1084" fmla="*/ 28977 h 1400577"/>
                    <a:gd name="connsiteX1085" fmla="*/ 1598590 w 1648093"/>
                    <a:gd name="connsiteY1085" fmla="*/ 25959 h 1400577"/>
                    <a:gd name="connsiteX1086" fmla="*/ 1606438 w 1648093"/>
                    <a:gd name="connsiteY1086" fmla="*/ 24148 h 1400577"/>
                    <a:gd name="connsiteX1087" fmla="*/ 1608853 w 1648093"/>
                    <a:gd name="connsiteY1087" fmla="*/ 21129 h 1400577"/>
                    <a:gd name="connsiteX1088" fmla="*/ 1610664 w 1648093"/>
                    <a:gd name="connsiteY1088" fmla="*/ 20525 h 1400577"/>
                    <a:gd name="connsiteX1089" fmla="*/ 1611268 w 1648093"/>
                    <a:gd name="connsiteY1089" fmla="*/ 21129 h 1400577"/>
                    <a:gd name="connsiteX1090" fmla="*/ 1612475 w 1648093"/>
                    <a:gd name="connsiteY1090" fmla="*/ 21129 h 1400577"/>
                    <a:gd name="connsiteX1091" fmla="*/ 1611871 w 1648093"/>
                    <a:gd name="connsiteY1091" fmla="*/ 26562 h 1400577"/>
                    <a:gd name="connsiteX1092" fmla="*/ 1614890 w 1648093"/>
                    <a:gd name="connsiteY1092" fmla="*/ 31392 h 1400577"/>
                    <a:gd name="connsiteX1093" fmla="*/ 1617305 w 1648093"/>
                    <a:gd name="connsiteY1093" fmla="*/ 27166 h 1400577"/>
                    <a:gd name="connsiteX1094" fmla="*/ 1619116 w 1648093"/>
                    <a:gd name="connsiteY1094" fmla="*/ 24148 h 1400577"/>
                    <a:gd name="connsiteX1095" fmla="*/ 1619720 w 1648093"/>
                    <a:gd name="connsiteY1095" fmla="*/ 23544 h 1400577"/>
                    <a:gd name="connsiteX1096" fmla="*/ 1622134 w 1648093"/>
                    <a:gd name="connsiteY1096" fmla="*/ 22337 h 1400577"/>
                    <a:gd name="connsiteX1097" fmla="*/ 1622134 w 1648093"/>
                    <a:gd name="connsiteY1097" fmla="*/ 22940 h 1400577"/>
                    <a:gd name="connsiteX1098" fmla="*/ 1623342 w 1648093"/>
                    <a:gd name="connsiteY1098" fmla="*/ 23544 h 1400577"/>
                    <a:gd name="connsiteX1099" fmla="*/ 1623945 w 1648093"/>
                    <a:gd name="connsiteY1099" fmla="*/ 22337 h 1400577"/>
                    <a:gd name="connsiteX1100" fmla="*/ 1626964 w 1648093"/>
                    <a:gd name="connsiteY1100" fmla="*/ 22337 h 1400577"/>
                    <a:gd name="connsiteX1101" fmla="*/ 1628171 w 1648093"/>
                    <a:gd name="connsiteY1101" fmla="*/ 22940 h 1400577"/>
                    <a:gd name="connsiteX1102" fmla="*/ 1629982 w 1648093"/>
                    <a:gd name="connsiteY1102" fmla="*/ 20525 h 1400577"/>
                    <a:gd name="connsiteX1103" fmla="*/ 1626360 w 1648093"/>
                    <a:gd name="connsiteY1103" fmla="*/ 15696 h 1400577"/>
                    <a:gd name="connsiteX1104" fmla="*/ 1623945 w 1648093"/>
                    <a:gd name="connsiteY1104" fmla="*/ 18111 h 1400577"/>
                    <a:gd name="connsiteX1105" fmla="*/ 1622134 w 1648093"/>
                    <a:gd name="connsiteY1105" fmla="*/ 18111 h 1400577"/>
                    <a:gd name="connsiteX1106" fmla="*/ 1620323 w 1648093"/>
                    <a:gd name="connsiteY1106" fmla="*/ 14489 h 1400577"/>
                    <a:gd name="connsiteX1107" fmla="*/ 1618512 w 1648093"/>
                    <a:gd name="connsiteY1107" fmla="*/ 14489 h 1400577"/>
                    <a:gd name="connsiteX1108" fmla="*/ 1616097 w 1648093"/>
                    <a:gd name="connsiteY1108" fmla="*/ 9055 h 1400577"/>
                    <a:gd name="connsiteX1109" fmla="*/ 1623342 w 1648093"/>
                    <a:gd name="connsiteY1109" fmla="*/ 7848 h 1400577"/>
                    <a:gd name="connsiteX1110" fmla="*/ 1626964 w 1648093"/>
                    <a:gd name="connsiteY1110" fmla="*/ 7848 h 1400577"/>
                    <a:gd name="connsiteX1111" fmla="*/ 1629982 w 1648093"/>
                    <a:gd name="connsiteY1111" fmla="*/ 7848 h 1400577"/>
                    <a:gd name="connsiteX1112" fmla="*/ 1630586 w 1648093"/>
                    <a:gd name="connsiteY1112" fmla="*/ 4830 h 1400577"/>
                    <a:gd name="connsiteX1113" fmla="*/ 1630586 w 1648093"/>
                    <a:gd name="connsiteY1113" fmla="*/ 0 h 1400577"/>
                    <a:gd name="connsiteX1114" fmla="*/ 1634208 w 1648093"/>
                    <a:gd name="connsiteY1114" fmla="*/ 1811 h 1400577"/>
                    <a:gd name="connsiteX1115" fmla="*/ 1637227 w 1648093"/>
                    <a:gd name="connsiteY1115" fmla="*/ 1811 h 1400577"/>
                    <a:gd name="connsiteX1116" fmla="*/ 1638434 w 1648093"/>
                    <a:gd name="connsiteY1116" fmla="*/ 1207 h 1400577"/>
                    <a:gd name="connsiteX1117" fmla="*/ 1637227 w 1648093"/>
                    <a:gd name="connsiteY1117" fmla="*/ 7244 h 1400577"/>
                    <a:gd name="connsiteX1118" fmla="*/ 1636623 w 1648093"/>
                    <a:gd name="connsiteY1118" fmla="*/ 7848 h 1400577"/>
                    <a:gd name="connsiteX1119" fmla="*/ 1637227 w 1648093"/>
                    <a:gd name="connsiteY1119" fmla="*/ 10263 h 1400577"/>
                    <a:gd name="connsiteX1120" fmla="*/ 1637227 w 1648093"/>
                    <a:gd name="connsiteY1120" fmla="*/ 10866 h 1400577"/>
                    <a:gd name="connsiteX1121" fmla="*/ 1641453 w 1648093"/>
                    <a:gd name="connsiteY1121" fmla="*/ 13281 h 1400577"/>
                    <a:gd name="connsiteX1122" fmla="*/ 1643868 w 1648093"/>
                    <a:gd name="connsiteY1122" fmla="*/ 15092 h 1400577"/>
                    <a:gd name="connsiteX1123" fmla="*/ 1650508 w 1648093"/>
                    <a:gd name="connsiteY1123" fmla="*/ 18714 h 1400577"/>
                    <a:gd name="connsiteX1124" fmla="*/ 1631190 w 1648093"/>
                    <a:gd name="connsiteY1124" fmla="*/ 44673 h 1400577"/>
                    <a:gd name="connsiteX1125" fmla="*/ 1619720 w 1648093"/>
                    <a:gd name="connsiteY1125" fmla="*/ 56144 h 1400577"/>
                    <a:gd name="connsiteX1126" fmla="*/ 1613079 w 1648093"/>
                    <a:gd name="connsiteY1126" fmla="*/ 64595 h 1400577"/>
                    <a:gd name="connsiteX1127" fmla="*/ 1612475 w 1648093"/>
                    <a:gd name="connsiteY1127" fmla="*/ 70029 h 1400577"/>
                    <a:gd name="connsiteX1128" fmla="*/ 1608249 w 1648093"/>
                    <a:gd name="connsiteY1128" fmla="*/ 74255 h 1400577"/>
                    <a:gd name="connsiteX1129" fmla="*/ 1607646 w 1648093"/>
                    <a:gd name="connsiteY1129" fmla="*/ 79688 h 1400577"/>
                    <a:gd name="connsiteX1130" fmla="*/ 1596779 w 1648093"/>
                    <a:gd name="connsiteY1130" fmla="*/ 88743 h 1400577"/>
                    <a:gd name="connsiteX1131" fmla="*/ 1588931 w 1648093"/>
                    <a:gd name="connsiteY1131" fmla="*/ 98403 h 1400577"/>
                    <a:gd name="connsiteX1132" fmla="*/ 1584101 w 1648093"/>
                    <a:gd name="connsiteY1132" fmla="*/ 103836 h 1400577"/>
                    <a:gd name="connsiteX1133" fmla="*/ 1584101 w 1648093"/>
                    <a:gd name="connsiteY1133" fmla="*/ 107458 h 1400577"/>
                    <a:gd name="connsiteX1134" fmla="*/ 1571424 w 1648093"/>
                    <a:gd name="connsiteY1134" fmla="*/ 120136 h 1400577"/>
                    <a:gd name="connsiteX1135" fmla="*/ 1566594 w 1648093"/>
                    <a:gd name="connsiteY1135" fmla="*/ 126776 h 1400577"/>
                    <a:gd name="connsiteX1136" fmla="*/ 1565991 w 1648093"/>
                    <a:gd name="connsiteY1136" fmla="*/ 131002 h 1400577"/>
                    <a:gd name="connsiteX1137" fmla="*/ 1549691 w 1648093"/>
                    <a:gd name="connsiteY1137" fmla="*/ 144887 h 1400577"/>
                    <a:gd name="connsiteX1138" fmla="*/ 1532787 w 1648093"/>
                    <a:gd name="connsiteY1138" fmla="*/ 161791 h 1400577"/>
                    <a:gd name="connsiteX1139" fmla="*/ 1524335 w 1648093"/>
                    <a:gd name="connsiteY1139" fmla="*/ 170846 h 1400577"/>
                    <a:gd name="connsiteX1140" fmla="*/ 1519506 w 1648093"/>
                    <a:gd name="connsiteY1140" fmla="*/ 180505 h 1400577"/>
                    <a:gd name="connsiteX1141" fmla="*/ 1520110 w 1648093"/>
                    <a:gd name="connsiteY1141" fmla="*/ 183524 h 1400577"/>
                    <a:gd name="connsiteX1142" fmla="*/ 1509243 w 1648093"/>
                    <a:gd name="connsiteY1142" fmla="*/ 191372 h 1400577"/>
                    <a:gd name="connsiteX1143" fmla="*/ 1488717 w 1648093"/>
                    <a:gd name="connsiteY1143" fmla="*/ 201635 h 1400577"/>
                    <a:gd name="connsiteX1144" fmla="*/ 1483284 w 1648093"/>
                    <a:gd name="connsiteY1144" fmla="*/ 204653 h 1400577"/>
                    <a:gd name="connsiteX1145" fmla="*/ 1473021 w 1648093"/>
                    <a:gd name="connsiteY1145" fmla="*/ 208276 h 1400577"/>
                    <a:gd name="connsiteX1146" fmla="*/ 1466381 w 1648093"/>
                    <a:gd name="connsiteY1146" fmla="*/ 213105 h 1400577"/>
                    <a:gd name="connsiteX1147" fmla="*/ 1445251 w 1648093"/>
                    <a:gd name="connsiteY1147" fmla="*/ 221557 h 1400577"/>
                    <a:gd name="connsiteX1148" fmla="*/ 1425329 w 1648093"/>
                    <a:gd name="connsiteY1148" fmla="*/ 233631 h 1400577"/>
                    <a:gd name="connsiteX1149" fmla="*/ 1419896 w 1648093"/>
                    <a:gd name="connsiteY1149" fmla="*/ 238460 h 1400577"/>
                    <a:gd name="connsiteX1150" fmla="*/ 1404200 w 1648093"/>
                    <a:gd name="connsiteY1150" fmla="*/ 249327 h 1400577"/>
                    <a:gd name="connsiteX1151" fmla="*/ 1402389 w 1648093"/>
                    <a:gd name="connsiteY1151" fmla="*/ 255364 h 1400577"/>
                    <a:gd name="connsiteX1152" fmla="*/ 1396352 w 1648093"/>
                    <a:gd name="connsiteY1152" fmla="*/ 262608 h 1400577"/>
                    <a:gd name="connsiteX1153" fmla="*/ 1387900 w 1648093"/>
                    <a:gd name="connsiteY1153" fmla="*/ 268041 h 1400577"/>
                    <a:gd name="connsiteX1154" fmla="*/ 1380655 w 1648093"/>
                    <a:gd name="connsiteY1154" fmla="*/ 273475 h 1400577"/>
                    <a:gd name="connsiteX1155" fmla="*/ 1378844 w 1648093"/>
                    <a:gd name="connsiteY1155" fmla="*/ 279512 h 1400577"/>
                    <a:gd name="connsiteX1156" fmla="*/ 1373411 w 1648093"/>
                    <a:gd name="connsiteY1156" fmla="*/ 283134 h 1400577"/>
                    <a:gd name="connsiteX1157" fmla="*/ 1371600 w 1648093"/>
                    <a:gd name="connsiteY1157" fmla="*/ 292793 h 1400577"/>
                    <a:gd name="connsiteX1158" fmla="*/ 1367978 w 1648093"/>
                    <a:gd name="connsiteY1158" fmla="*/ 296415 h 1400577"/>
                    <a:gd name="connsiteX1159" fmla="*/ 1366770 w 1648093"/>
                    <a:gd name="connsiteY1159" fmla="*/ 300037 h 1400577"/>
                    <a:gd name="connsiteX1160" fmla="*/ 1360130 w 1648093"/>
                    <a:gd name="connsiteY1160" fmla="*/ 304263 h 1400577"/>
                    <a:gd name="connsiteX1161" fmla="*/ 1357715 w 1648093"/>
                    <a:gd name="connsiteY1161" fmla="*/ 312111 h 1400577"/>
                    <a:gd name="connsiteX1162" fmla="*/ 1352886 w 1648093"/>
                    <a:gd name="connsiteY1162" fmla="*/ 314526 h 1400577"/>
                    <a:gd name="connsiteX1163" fmla="*/ 1347452 w 1648093"/>
                    <a:gd name="connsiteY1163" fmla="*/ 319356 h 1400577"/>
                    <a:gd name="connsiteX1164" fmla="*/ 1348056 w 1648093"/>
                    <a:gd name="connsiteY1164" fmla="*/ 322374 h 1400577"/>
                    <a:gd name="connsiteX1165" fmla="*/ 1340812 w 1648093"/>
                    <a:gd name="connsiteY1165" fmla="*/ 329015 h 1400577"/>
                    <a:gd name="connsiteX1166" fmla="*/ 1336586 w 1648093"/>
                    <a:gd name="connsiteY1166" fmla="*/ 331430 h 1400577"/>
                    <a:gd name="connsiteX1167" fmla="*/ 1335982 w 1648093"/>
                    <a:gd name="connsiteY1167" fmla="*/ 336259 h 1400577"/>
                    <a:gd name="connsiteX1168" fmla="*/ 1331756 w 1648093"/>
                    <a:gd name="connsiteY1168" fmla="*/ 339881 h 1400577"/>
                    <a:gd name="connsiteX1169" fmla="*/ 1322701 w 1648093"/>
                    <a:gd name="connsiteY1169" fmla="*/ 344107 h 1400577"/>
                    <a:gd name="connsiteX1170" fmla="*/ 1320286 w 1648093"/>
                    <a:gd name="connsiteY1170" fmla="*/ 347126 h 1400577"/>
                    <a:gd name="connsiteX1171" fmla="*/ 1310627 w 1648093"/>
                    <a:gd name="connsiteY1171" fmla="*/ 349540 h 1400577"/>
                    <a:gd name="connsiteX1172" fmla="*/ 1305797 w 1648093"/>
                    <a:gd name="connsiteY1172" fmla="*/ 352559 h 1400577"/>
                    <a:gd name="connsiteX1173" fmla="*/ 1290101 w 1648093"/>
                    <a:gd name="connsiteY1173" fmla="*/ 359200 h 1400577"/>
                    <a:gd name="connsiteX1174" fmla="*/ 1285271 w 1648093"/>
                    <a:gd name="connsiteY1174" fmla="*/ 365840 h 1400577"/>
                    <a:gd name="connsiteX1175" fmla="*/ 1278027 w 1648093"/>
                    <a:gd name="connsiteY1175" fmla="*/ 368859 h 1400577"/>
                    <a:gd name="connsiteX1176" fmla="*/ 1271990 w 1648093"/>
                    <a:gd name="connsiteY1176" fmla="*/ 372481 h 1400577"/>
                    <a:gd name="connsiteX1177" fmla="*/ 1263538 w 1648093"/>
                    <a:gd name="connsiteY1177" fmla="*/ 376103 h 1400577"/>
                    <a:gd name="connsiteX1178" fmla="*/ 1260520 w 1648093"/>
                    <a:gd name="connsiteY1178" fmla="*/ 378518 h 1400577"/>
                    <a:gd name="connsiteX1179" fmla="*/ 1254483 w 1648093"/>
                    <a:gd name="connsiteY1179" fmla="*/ 380329 h 1400577"/>
                    <a:gd name="connsiteX1180" fmla="*/ 1233353 w 1648093"/>
                    <a:gd name="connsiteY1180" fmla="*/ 389988 h 1400577"/>
                    <a:gd name="connsiteX1181" fmla="*/ 1212828 w 1648093"/>
                    <a:gd name="connsiteY1181" fmla="*/ 401459 h 1400577"/>
                    <a:gd name="connsiteX1182" fmla="*/ 1195321 w 1648093"/>
                    <a:gd name="connsiteY1182" fmla="*/ 412325 h 1400577"/>
                    <a:gd name="connsiteX1183" fmla="*/ 1179624 w 1648093"/>
                    <a:gd name="connsiteY1183" fmla="*/ 423795 h 1400577"/>
                    <a:gd name="connsiteX1184" fmla="*/ 1171776 w 1648093"/>
                    <a:gd name="connsiteY1184" fmla="*/ 430436 h 1400577"/>
                    <a:gd name="connsiteX1185" fmla="*/ 1157891 w 1648093"/>
                    <a:gd name="connsiteY1185" fmla="*/ 444321 h 1400577"/>
                    <a:gd name="connsiteX1186" fmla="*/ 1153665 w 1648093"/>
                    <a:gd name="connsiteY1186" fmla="*/ 447943 h 1400577"/>
                    <a:gd name="connsiteX1187" fmla="*/ 1143403 w 1648093"/>
                    <a:gd name="connsiteY1187" fmla="*/ 459413 h 1400577"/>
                    <a:gd name="connsiteX1188" fmla="*/ 1138573 w 1648093"/>
                    <a:gd name="connsiteY1188" fmla="*/ 469676 h 1400577"/>
                    <a:gd name="connsiteX1189" fmla="*/ 1139780 w 1648093"/>
                    <a:gd name="connsiteY1189" fmla="*/ 472695 h 1400577"/>
                    <a:gd name="connsiteX1190" fmla="*/ 1136762 w 1648093"/>
                    <a:gd name="connsiteY1190" fmla="*/ 476317 h 1400577"/>
                    <a:gd name="connsiteX1191" fmla="*/ 1137366 w 1648093"/>
                    <a:gd name="connsiteY1191" fmla="*/ 480543 h 1400577"/>
                    <a:gd name="connsiteX1192" fmla="*/ 1133140 w 1648093"/>
                    <a:gd name="connsiteY1192" fmla="*/ 481750 h 1400577"/>
                    <a:gd name="connsiteX1193" fmla="*/ 1133140 w 1648093"/>
                    <a:gd name="connsiteY1193" fmla="*/ 488391 h 1400577"/>
                    <a:gd name="connsiteX1194" fmla="*/ 1136762 w 1648093"/>
                    <a:gd name="connsiteY1194" fmla="*/ 495032 h 1400577"/>
                    <a:gd name="connsiteX1195" fmla="*/ 1139177 w 1648093"/>
                    <a:gd name="connsiteY1195" fmla="*/ 494428 h 1400577"/>
                    <a:gd name="connsiteX1196" fmla="*/ 1146421 w 1648093"/>
                    <a:gd name="connsiteY1196" fmla="*/ 500465 h 1400577"/>
                    <a:gd name="connsiteX1197" fmla="*/ 1150647 w 1648093"/>
                    <a:gd name="connsiteY1197" fmla="*/ 498654 h 1400577"/>
                    <a:gd name="connsiteX1198" fmla="*/ 1154873 w 1648093"/>
                    <a:gd name="connsiteY1198" fmla="*/ 500465 h 1400577"/>
                    <a:gd name="connsiteX1199" fmla="*/ 1154269 w 1648093"/>
                    <a:gd name="connsiteY1199" fmla="*/ 508313 h 1400577"/>
                    <a:gd name="connsiteX1200" fmla="*/ 1151251 w 1648093"/>
                    <a:gd name="connsiteY1200" fmla="*/ 520991 h 1400577"/>
                    <a:gd name="connsiteX1201" fmla="*/ 1151251 w 1648093"/>
                    <a:gd name="connsiteY1201" fmla="*/ 524613 h 1400577"/>
                    <a:gd name="connsiteX1202" fmla="*/ 1145214 w 1648093"/>
                    <a:gd name="connsiteY1202" fmla="*/ 525217 h 1400577"/>
                    <a:gd name="connsiteX1203" fmla="*/ 1142799 w 1648093"/>
                    <a:gd name="connsiteY1203" fmla="*/ 529442 h 140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Lst>
                  <a:rect l="l" t="t" r="r" b="b"/>
                  <a:pathLst>
                    <a:path w="1648093" h="1400577">
                      <a:moveTo>
                        <a:pt x="699685" y="1191095"/>
                      </a:moveTo>
                      <a:lnTo>
                        <a:pt x="703307" y="1197132"/>
                      </a:lnTo>
                      <a:lnTo>
                        <a:pt x="699685" y="1204979"/>
                      </a:lnTo>
                      <a:lnTo>
                        <a:pt x="694856" y="1199546"/>
                      </a:lnTo>
                      <a:lnTo>
                        <a:pt x="696063" y="1194717"/>
                      </a:lnTo>
                      <a:lnTo>
                        <a:pt x="699685" y="1191095"/>
                      </a:lnTo>
                      <a:close/>
                      <a:moveTo>
                        <a:pt x="1134347" y="534876"/>
                      </a:moveTo>
                      <a:lnTo>
                        <a:pt x="1139780" y="533065"/>
                      </a:lnTo>
                      <a:lnTo>
                        <a:pt x="1147025" y="531254"/>
                      </a:lnTo>
                      <a:lnTo>
                        <a:pt x="1149439" y="527028"/>
                      </a:lnTo>
                      <a:lnTo>
                        <a:pt x="1151854" y="530650"/>
                      </a:lnTo>
                      <a:lnTo>
                        <a:pt x="1150043" y="537291"/>
                      </a:lnTo>
                      <a:lnTo>
                        <a:pt x="1147025" y="542724"/>
                      </a:lnTo>
                      <a:lnTo>
                        <a:pt x="1147025" y="550572"/>
                      </a:lnTo>
                      <a:lnTo>
                        <a:pt x="1142195" y="551175"/>
                      </a:lnTo>
                      <a:lnTo>
                        <a:pt x="1139177" y="545139"/>
                      </a:lnTo>
                      <a:lnTo>
                        <a:pt x="1133743" y="542724"/>
                      </a:lnTo>
                      <a:lnTo>
                        <a:pt x="1136158" y="538498"/>
                      </a:lnTo>
                      <a:lnTo>
                        <a:pt x="1134347" y="534876"/>
                      </a:lnTo>
                      <a:close/>
                      <a:moveTo>
                        <a:pt x="1142799" y="529442"/>
                      </a:moveTo>
                      <a:lnTo>
                        <a:pt x="1139177" y="527631"/>
                      </a:lnTo>
                      <a:lnTo>
                        <a:pt x="1126499" y="528839"/>
                      </a:lnTo>
                      <a:lnTo>
                        <a:pt x="1121669" y="524613"/>
                      </a:lnTo>
                      <a:lnTo>
                        <a:pt x="1118047" y="528839"/>
                      </a:lnTo>
                      <a:lnTo>
                        <a:pt x="1121066" y="530650"/>
                      </a:lnTo>
                      <a:lnTo>
                        <a:pt x="1125292" y="530650"/>
                      </a:lnTo>
                      <a:lnTo>
                        <a:pt x="1134347" y="534876"/>
                      </a:lnTo>
                      <a:lnTo>
                        <a:pt x="1134951" y="539705"/>
                      </a:lnTo>
                      <a:lnTo>
                        <a:pt x="1133140" y="542724"/>
                      </a:lnTo>
                      <a:lnTo>
                        <a:pt x="1138573" y="546346"/>
                      </a:lnTo>
                      <a:lnTo>
                        <a:pt x="1142799" y="556005"/>
                      </a:lnTo>
                      <a:lnTo>
                        <a:pt x="1138573" y="563853"/>
                      </a:lnTo>
                      <a:lnTo>
                        <a:pt x="1126499" y="568079"/>
                      </a:lnTo>
                      <a:lnTo>
                        <a:pt x="1096314" y="583775"/>
                      </a:lnTo>
                      <a:lnTo>
                        <a:pt x="1080618" y="592830"/>
                      </a:lnTo>
                      <a:lnTo>
                        <a:pt x="1069751" y="598264"/>
                      </a:lnTo>
                      <a:lnTo>
                        <a:pt x="1058885" y="600075"/>
                      </a:lnTo>
                      <a:lnTo>
                        <a:pt x="1045000" y="605508"/>
                      </a:lnTo>
                      <a:lnTo>
                        <a:pt x="1036548" y="610338"/>
                      </a:lnTo>
                      <a:lnTo>
                        <a:pt x="1023267" y="616375"/>
                      </a:lnTo>
                      <a:lnTo>
                        <a:pt x="1016022" y="611545"/>
                      </a:lnTo>
                      <a:lnTo>
                        <a:pt x="1008778" y="611545"/>
                      </a:lnTo>
                      <a:lnTo>
                        <a:pt x="990667" y="609130"/>
                      </a:lnTo>
                      <a:lnTo>
                        <a:pt x="986441" y="606112"/>
                      </a:lnTo>
                      <a:lnTo>
                        <a:pt x="979801" y="607319"/>
                      </a:lnTo>
                      <a:lnTo>
                        <a:pt x="965312" y="607923"/>
                      </a:lnTo>
                      <a:lnTo>
                        <a:pt x="955653" y="609734"/>
                      </a:lnTo>
                      <a:lnTo>
                        <a:pt x="940560" y="615771"/>
                      </a:lnTo>
                      <a:lnTo>
                        <a:pt x="933316" y="620601"/>
                      </a:lnTo>
                      <a:lnTo>
                        <a:pt x="924864" y="629656"/>
                      </a:lnTo>
                      <a:lnTo>
                        <a:pt x="920035" y="638108"/>
                      </a:lnTo>
                      <a:lnTo>
                        <a:pt x="917016" y="645352"/>
                      </a:lnTo>
                      <a:lnTo>
                        <a:pt x="916412" y="651389"/>
                      </a:lnTo>
                      <a:lnTo>
                        <a:pt x="913998" y="661048"/>
                      </a:lnTo>
                      <a:lnTo>
                        <a:pt x="903735" y="679159"/>
                      </a:lnTo>
                      <a:lnTo>
                        <a:pt x="904942" y="688818"/>
                      </a:lnTo>
                      <a:lnTo>
                        <a:pt x="893472" y="697874"/>
                      </a:lnTo>
                      <a:lnTo>
                        <a:pt x="878983" y="713570"/>
                      </a:lnTo>
                      <a:lnTo>
                        <a:pt x="874757" y="719607"/>
                      </a:lnTo>
                      <a:lnTo>
                        <a:pt x="874154" y="725040"/>
                      </a:lnTo>
                      <a:lnTo>
                        <a:pt x="875965" y="729870"/>
                      </a:lnTo>
                      <a:lnTo>
                        <a:pt x="874757" y="736511"/>
                      </a:lnTo>
                      <a:lnTo>
                        <a:pt x="862080" y="743151"/>
                      </a:lnTo>
                      <a:lnTo>
                        <a:pt x="860872" y="741944"/>
                      </a:lnTo>
                      <a:lnTo>
                        <a:pt x="854232" y="743755"/>
                      </a:lnTo>
                      <a:lnTo>
                        <a:pt x="841554" y="745566"/>
                      </a:lnTo>
                      <a:lnTo>
                        <a:pt x="838535" y="744359"/>
                      </a:lnTo>
                      <a:lnTo>
                        <a:pt x="834309" y="737718"/>
                      </a:lnTo>
                      <a:lnTo>
                        <a:pt x="836121" y="734096"/>
                      </a:lnTo>
                      <a:lnTo>
                        <a:pt x="832498" y="723833"/>
                      </a:lnTo>
                      <a:lnTo>
                        <a:pt x="836121" y="722625"/>
                      </a:lnTo>
                      <a:lnTo>
                        <a:pt x="836121" y="719003"/>
                      </a:lnTo>
                      <a:lnTo>
                        <a:pt x="830687" y="712966"/>
                      </a:lnTo>
                      <a:lnTo>
                        <a:pt x="815595" y="708740"/>
                      </a:lnTo>
                      <a:lnTo>
                        <a:pt x="801710" y="709344"/>
                      </a:lnTo>
                      <a:lnTo>
                        <a:pt x="785410" y="712966"/>
                      </a:lnTo>
                      <a:lnTo>
                        <a:pt x="773940" y="717192"/>
                      </a:lnTo>
                      <a:lnTo>
                        <a:pt x="762470" y="722625"/>
                      </a:lnTo>
                      <a:lnTo>
                        <a:pt x="753414" y="727455"/>
                      </a:lnTo>
                      <a:lnTo>
                        <a:pt x="738925" y="737114"/>
                      </a:lnTo>
                      <a:lnTo>
                        <a:pt x="732888" y="742548"/>
                      </a:lnTo>
                      <a:lnTo>
                        <a:pt x="724437" y="752810"/>
                      </a:lnTo>
                      <a:lnTo>
                        <a:pt x="717796" y="768506"/>
                      </a:lnTo>
                      <a:lnTo>
                        <a:pt x="715381" y="778769"/>
                      </a:lnTo>
                      <a:lnTo>
                        <a:pt x="709948" y="797484"/>
                      </a:lnTo>
                      <a:lnTo>
                        <a:pt x="696063" y="814991"/>
                      </a:lnTo>
                      <a:lnTo>
                        <a:pt x="691233" y="822839"/>
                      </a:lnTo>
                      <a:lnTo>
                        <a:pt x="688819" y="830084"/>
                      </a:lnTo>
                      <a:lnTo>
                        <a:pt x="685800" y="840950"/>
                      </a:lnTo>
                      <a:lnTo>
                        <a:pt x="687007" y="850006"/>
                      </a:lnTo>
                      <a:lnTo>
                        <a:pt x="685800" y="855439"/>
                      </a:lnTo>
                      <a:lnTo>
                        <a:pt x="682178" y="863287"/>
                      </a:lnTo>
                      <a:lnTo>
                        <a:pt x="678556" y="877776"/>
                      </a:lnTo>
                      <a:lnTo>
                        <a:pt x="679763" y="897094"/>
                      </a:lnTo>
                      <a:lnTo>
                        <a:pt x="682782" y="912790"/>
                      </a:lnTo>
                      <a:lnTo>
                        <a:pt x="685800" y="921242"/>
                      </a:lnTo>
                      <a:lnTo>
                        <a:pt x="686404" y="935127"/>
                      </a:lnTo>
                      <a:lnTo>
                        <a:pt x="690026" y="946597"/>
                      </a:lnTo>
                      <a:lnTo>
                        <a:pt x="691837" y="951427"/>
                      </a:lnTo>
                      <a:lnTo>
                        <a:pt x="697874" y="959879"/>
                      </a:lnTo>
                      <a:lnTo>
                        <a:pt x="703307" y="977386"/>
                      </a:lnTo>
                      <a:lnTo>
                        <a:pt x="704515" y="980404"/>
                      </a:lnTo>
                      <a:lnTo>
                        <a:pt x="709344" y="983423"/>
                      </a:lnTo>
                      <a:lnTo>
                        <a:pt x="705722" y="1000930"/>
                      </a:lnTo>
                      <a:lnTo>
                        <a:pt x="703911" y="1033529"/>
                      </a:lnTo>
                      <a:lnTo>
                        <a:pt x="697874" y="1049226"/>
                      </a:lnTo>
                      <a:lnTo>
                        <a:pt x="695459" y="1064922"/>
                      </a:lnTo>
                      <a:lnTo>
                        <a:pt x="694856" y="1076392"/>
                      </a:lnTo>
                      <a:lnTo>
                        <a:pt x="696063" y="1088466"/>
                      </a:lnTo>
                      <a:lnTo>
                        <a:pt x="699081" y="1104162"/>
                      </a:lnTo>
                      <a:lnTo>
                        <a:pt x="703911" y="1113217"/>
                      </a:lnTo>
                      <a:lnTo>
                        <a:pt x="710552" y="1128914"/>
                      </a:lnTo>
                      <a:lnTo>
                        <a:pt x="714174" y="1136158"/>
                      </a:lnTo>
                      <a:lnTo>
                        <a:pt x="717192" y="1145817"/>
                      </a:lnTo>
                      <a:lnTo>
                        <a:pt x="719003" y="1148232"/>
                      </a:lnTo>
                      <a:lnTo>
                        <a:pt x="720814" y="1156080"/>
                      </a:lnTo>
                      <a:lnTo>
                        <a:pt x="717192" y="1170569"/>
                      </a:lnTo>
                      <a:lnTo>
                        <a:pt x="716588" y="1180228"/>
                      </a:lnTo>
                      <a:lnTo>
                        <a:pt x="719003" y="1191698"/>
                      </a:lnTo>
                      <a:lnTo>
                        <a:pt x="724437" y="1203772"/>
                      </a:lnTo>
                      <a:lnTo>
                        <a:pt x="731077" y="1221883"/>
                      </a:lnTo>
                      <a:lnTo>
                        <a:pt x="733492" y="1227920"/>
                      </a:lnTo>
                      <a:lnTo>
                        <a:pt x="729266" y="1227316"/>
                      </a:lnTo>
                      <a:lnTo>
                        <a:pt x="726851" y="1215846"/>
                      </a:lnTo>
                      <a:lnTo>
                        <a:pt x="725040" y="1212827"/>
                      </a:lnTo>
                      <a:lnTo>
                        <a:pt x="723229" y="1203168"/>
                      </a:lnTo>
                      <a:lnTo>
                        <a:pt x="715381" y="1192906"/>
                      </a:lnTo>
                      <a:lnTo>
                        <a:pt x="713570" y="1189887"/>
                      </a:lnTo>
                      <a:lnTo>
                        <a:pt x="708137" y="1186265"/>
                      </a:lnTo>
                      <a:lnTo>
                        <a:pt x="707533" y="1180228"/>
                      </a:lnTo>
                      <a:lnTo>
                        <a:pt x="700289" y="1172984"/>
                      </a:lnTo>
                      <a:lnTo>
                        <a:pt x="697874" y="1174795"/>
                      </a:lnTo>
                      <a:lnTo>
                        <a:pt x="699081" y="1181435"/>
                      </a:lnTo>
                      <a:lnTo>
                        <a:pt x="697270" y="1192302"/>
                      </a:lnTo>
                      <a:lnTo>
                        <a:pt x="694856" y="1192302"/>
                      </a:lnTo>
                      <a:lnTo>
                        <a:pt x="688819" y="1183850"/>
                      </a:lnTo>
                      <a:lnTo>
                        <a:pt x="683385" y="1187472"/>
                      </a:lnTo>
                      <a:lnTo>
                        <a:pt x="683385" y="1192906"/>
                      </a:lnTo>
                      <a:lnTo>
                        <a:pt x="679763" y="1198339"/>
                      </a:lnTo>
                      <a:lnTo>
                        <a:pt x="683989" y="1203772"/>
                      </a:lnTo>
                      <a:lnTo>
                        <a:pt x="686404" y="1204979"/>
                      </a:lnTo>
                      <a:lnTo>
                        <a:pt x="691233" y="1212224"/>
                      </a:lnTo>
                      <a:lnTo>
                        <a:pt x="697270" y="1213431"/>
                      </a:lnTo>
                      <a:lnTo>
                        <a:pt x="702100" y="1218261"/>
                      </a:lnTo>
                      <a:lnTo>
                        <a:pt x="705118" y="1217053"/>
                      </a:lnTo>
                      <a:lnTo>
                        <a:pt x="717796" y="1219468"/>
                      </a:lnTo>
                      <a:lnTo>
                        <a:pt x="722625" y="1221883"/>
                      </a:lnTo>
                      <a:lnTo>
                        <a:pt x="725040" y="1227920"/>
                      </a:lnTo>
                      <a:lnTo>
                        <a:pt x="729870" y="1231542"/>
                      </a:lnTo>
                      <a:lnTo>
                        <a:pt x="733492" y="1231542"/>
                      </a:lnTo>
                      <a:lnTo>
                        <a:pt x="734096" y="1243012"/>
                      </a:lnTo>
                      <a:lnTo>
                        <a:pt x="725644" y="1239390"/>
                      </a:lnTo>
                      <a:lnTo>
                        <a:pt x="722625" y="1227316"/>
                      </a:lnTo>
                      <a:lnTo>
                        <a:pt x="719607" y="1223694"/>
                      </a:lnTo>
                      <a:lnTo>
                        <a:pt x="713570" y="1220072"/>
                      </a:lnTo>
                      <a:lnTo>
                        <a:pt x="708741" y="1221279"/>
                      </a:lnTo>
                      <a:lnTo>
                        <a:pt x="702704" y="1220675"/>
                      </a:lnTo>
                      <a:lnTo>
                        <a:pt x="700893" y="1220675"/>
                      </a:lnTo>
                      <a:lnTo>
                        <a:pt x="700289" y="1220675"/>
                      </a:lnTo>
                      <a:lnTo>
                        <a:pt x="699685" y="1220072"/>
                      </a:lnTo>
                      <a:lnTo>
                        <a:pt x="698478" y="1219468"/>
                      </a:lnTo>
                      <a:lnTo>
                        <a:pt x="696667" y="1217657"/>
                      </a:lnTo>
                      <a:lnTo>
                        <a:pt x="696063" y="1217053"/>
                      </a:lnTo>
                      <a:lnTo>
                        <a:pt x="693648" y="1215846"/>
                      </a:lnTo>
                      <a:lnTo>
                        <a:pt x="689422" y="1215242"/>
                      </a:lnTo>
                      <a:lnTo>
                        <a:pt x="688215" y="1214035"/>
                      </a:lnTo>
                      <a:lnTo>
                        <a:pt x="687007" y="1210413"/>
                      </a:lnTo>
                      <a:lnTo>
                        <a:pt x="685196" y="1209809"/>
                      </a:lnTo>
                      <a:lnTo>
                        <a:pt x="684593" y="1210413"/>
                      </a:lnTo>
                      <a:lnTo>
                        <a:pt x="683385" y="1207998"/>
                      </a:lnTo>
                      <a:lnTo>
                        <a:pt x="677952" y="1211620"/>
                      </a:lnTo>
                      <a:lnTo>
                        <a:pt x="666482" y="1210413"/>
                      </a:lnTo>
                      <a:lnTo>
                        <a:pt x="676141" y="1219468"/>
                      </a:lnTo>
                      <a:lnTo>
                        <a:pt x="670104" y="1218864"/>
                      </a:lnTo>
                      <a:lnTo>
                        <a:pt x="667689" y="1224901"/>
                      </a:lnTo>
                      <a:lnTo>
                        <a:pt x="661048" y="1226109"/>
                      </a:lnTo>
                      <a:lnTo>
                        <a:pt x="661048" y="1233353"/>
                      </a:lnTo>
                      <a:lnTo>
                        <a:pt x="655011" y="1236372"/>
                      </a:lnTo>
                      <a:lnTo>
                        <a:pt x="655615" y="1240598"/>
                      </a:lnTo>
                      <a:lnTo>
                        <a:pt x="659237" y="1243012"/>
                      </a:lnTo>
                      <a:lnTo>
                        <a:pt x="653200" y="1250860"/>
                      </a:lnTo>
                      <a:lnTo>
                        <a:pt x="648975" y="1251464"/>
                      </a:lnTo>
                      <a:lnTo>
                        <a:pt x="638108" y="1257501"/>
                      </a:lnTo>
                      <a:lnTo>
                        <a:pt x="627845" y="1257501"/>
                      </a:lnTo>
                      <a:lnTo>
                        <a:pt x="623619" y="1262331"/>
                      </a:lnTo>
                      <a:lnTo>
                        <a:pt x="618186" y="1258105"/>
                      </a:lnTo>
                      <a:lnTo>
                        <a:pt x="616375" y="1262934"/>
                      </a:lnTo>
                      <a:lnTo>
                        <a:pt x="611545" y="1265953"/>
                      </a:lnTo>
                      <a:lnTo>
                        <a:pt x="617582" y="1270179"/>
                      </a:lnTo>
                      <a:lnTo>
                        <a:pt x="624223" y="1273801"/>
                      </a:lnTo>
                      <a:lnTo>
                        <a:pt x="616375" y="1280442"/>
                      </a:lnTo>
                      <a:lnTo>
                        <a:pt x="613356" y="1276216"/>
                      </a:lnTo>
                      <a:lnTo>
                        <a:pt x="610338" y="1276820"/>
                      </a:lnTo>
                      <a:lnTo>
                        <a:pt x="600679" y="1271990"/>
                      </a:lnTo>
                      <a:lnTo>
                        <a:pt x="603697" y="1267764"/>
                      </a:lnTo>
                      <a:lnTo>
                        <a:pt x="600679" y="1262331"/>
                      </a:lnTo>
                      <a:lnTo>
                        <a:pt x="592831" y="1264142"/>
                      </a:lnTo>
                      <a:lnTo>
                        <a:pt x="590416" y="1267160"/>
                      </a:lnTo>
                      <a:lnTo>
                        <a:pt x="586794" y="1265349"/>
                      </a:lnTo>
                      <a:lnTo>
                        <a:pt x="583172" y="1269575"/>
                      </a:lnTo>
                      <a:lnTo>
                        <a:pt x="578946" y="1268971"/>
                      </a:lnTo>
                      <a:lnTo>
                        <a:pt x="574116" y="1262934"/>
                      </a:lnTo>
                      <a:lnTo>
                        <a:pt x="572909" y="1256294"/>
                      </a:lnTo>
                      <a:lnTo>
                        <a:pt x="565061" y="1255086"/>
                      </a:lnTo>
                      <a:lnTo>
                        <a:pt x="556609" y="1253275"/>
                      </a:lnTo>
                      <a:lnTo>
                        <a:pt x="548761" y="1253879"/>
                      </a:lnTo>
                      <a:lnTo>
                        <a:pt x="539705" y="1257501"/>
                      </a:lnTo>
                      <a:lnTo>
                        <a:pt x="546346" y="1261727"/>
                      </a:lnTo>
                      <a:lnTo>
                        <a:pt x="549364" y="1261123"/>
                      </a:lnTo>
                      <a:lnTo>
                        <a:pt x="546346" y="1271386"/>
                      </a:lnTo>
                      <a:lnTo>
                        <a:pt x="547553" y="1276820"/>
                      </a:lnTo>
                      <a:lnTo>
                        <a:pt x="552383" y="1273197"/>
                      </a:lnTo>
                      <a:lnTo>
                        <a:pt x="554194" y="1276216"/>
                      </a:lnTo>
                      <a:lnTo>
                        <a:pt x="549364" y="1278027"/>
                      </a:lnTo>
                      <a:lnTo>
                        <a:pt x="549364" y="1282857"/>
                      </a:lnTo>
                      <a:lnTo>
                        <a:pt x="542120" y="1282857"/>
                      </a:lnTo>
                      <a:lnTo>
                        <a:pt x="538498" y="1284668"/>
                      </a:lnTo>
                      <a:lnTo>
                        <a:pt x="537291" y="1288894"/>
                      </a:lnTo>
                      <a:lnTo>
                        <a:pt x="534272" y="1287686"/>
                      </a:lnTo>
                      <a:lnTo>
                        <a:pt x="534876" y="1295534"/>
                      </a:lnTo>
                      <a:lnTo>
                        <a:pt x="524009" y="1297949"/>
                      </a:lnTo>
                      <a:lnTo>
                        <a:pt x="519180" y="1296138"/>
                      </a:lnTo>
                      <a:lnTo>
                        <a:pt x="518576" y="1292516"/>
                      </a:lnTo>
                      <a:lnTo>
                        <a:pt x="509520" y="1293723"/>
                      </a:lnTo>
                      <a:lnTo>
                        <a:pt x="506502" y="1301571"/>
                      </a:lnTo>
                      <a:lnTo>
                        <a:pt x="502276" y="1302779"/>
                      </a:lnTo>
                      <a:lnTo>
                        <a:pt x="497446" y="1310626"/>
                      </a:lnTo>
                      <a:lnTo>
                        <a:pt x="499257" y="1313645"/>
                      </a:lnTo>
                      <a:lnTo>
                        <a:pt x="498050" y="1318474"/>
                      </a:lnTo>
                      <a:lnTo>
                        <a:pt x="493824" y="1320286"/>
                      </a:lnTo>
                      <a:lnTo>
                        <a:pt x="484165" y="1316663"/>
                      </a:lnTo>
                      <a:lnTo>
                        <a:pt x="479939" y="1319078"/>
                      </a:lnTo>
                      <a:lnTo>
                        <a:pt x="476921" y="1319078"/>
                      </a:lnTo>
                      <a:lnTo>
                        <a:pt x="473299" y="1313645"/>
                      </a:lnTo>
                      <a:lnTo>
                        <a:pt x="462432" y="1309419"/>
                      </a:lnTo>
                      <a:lnTo>
                        <a:pt x="458810" y="1305797"/>
                      </a:lnTo>
                      <a:lnTo>
                        <a:pt x="451565" y="1308815"/>
                      </a:lnTo>
                      <a:lnTo>
                        <a:pt x="444925" y="1307608"/>
                      </a:lnTo>
                      <a:lnTo>
                        <a:pt x="438284" y="1317871"/>
                      </a:lnTo>
                      <a:lnTo>
                        <a:pt x="437680" y="1307004"/>
                      </a:lnTo>
                      <a:lnTo>
                        <a:pt x="428021" y="1307004"/>
                      </a:lnTo>
                      <a:lnTo>
                        <a:pt x="421381" y="1305797"/>
                      </a:lnTo>
                      <a:lnTo>
                        <a:pt x="416551" y="1310626"/>
                      </a:lnTo>
                      <a:lnTo>
                        <a:pt x="408703" y="1312438"/>
                      </a:lnTo>
                      <a:lnTo>
                        <a:pt x="401459" y="1310023"/>
                      </a:lnTo>
                      <a:lnTo>
                        <a:pt x="399647" y="1320889"/>
                      </a:lnTo>
                      <a:lnTo>
                        <a:pt x="390592" y="1317871"/>
                      </a:lnTo>
                      <a:lnTo>
                        <a:pt x="384555" y="1327530"/>
                      </a:lnTo>
                      <a:lnTo>
                        <a:pt x="389988" y="1339000"/>
                      </a:lnTo>
                      <a:lnTo>
                        <a:pt x="385159" y="1340208"/>
                      </a:lnTo>
                      <a:lnTo>
                        <a:pt x="381537" y="1348659"/>
                      </a:lnTo>
                      <a:lnTo>
                        <a:pt x="380933" y="1352282"/>
                      </a:lnTo>
                      <a:lnTo>
                        <a:pt x="378518" y="1355904"/>
                      </a:lnTo>
                      <a:lnTo>
                        <a:pt x="379726" y="1361941"/>
                      </a:lnTo>
                      <a:lnTo>
                        <a:pt x="377914" y="1363148"/>
                      </a:lnTo>
                      <a:lnTo>
                        <a:pt x="376103" y="1370996"/>
                      </a:lnTo>
                      <a:lnTo>
                        <a:pt x="371274" y="1374618"/>
                      </a:lnTo>
                      <a:lnTo>
                        <a:pt x="368859" y="1379448"/>
                      </a:lnTo>
                      <a:lnTo>
                        <a:pt x="370066" y="1386089"/>
                      </a:lnTo>
                      <a:lnTo>
                        <a:pt x="364633" y="1389711"/>
                      </a:lnTo>
                      <a:lnTo>
                        <a:pt x="362822" y="1384881"/>
                      </a:lnTo>
                      <a:lnTo>
                        <a:pt x="358596" y="1378844"/>
                      </a:lnTo>
                      <a:lnTo>
                        <a:pt x="357992" y="1392126"/>
                      </a:lnTo>
                      <a:lnTo>
                        <a:pt x="354370" y="1393937"/>
                      </a:lnTo>
                      <a:lnTo>
                        <a:pt x="350748" y="1393333"/>
                      </a:lnTo>
                      <a:lnTo>
                        <a:pt x="351352" y="1402992"/>
                      </a:lnTo>
                      <a:lnTo>
                        <a:pt x="332637" y="1404200"/>
                      </a:lnTo>
                      <a:lnTo>
                        <a:pt x="319960" y="1395748"/>
                      </a:lnTo>
                      <a:lnTo>
                        <a:pt x="316337" y="1395144"/>
                      </a:lnTo>
                      <a:lnTo>
                        <a:pt x="310904" y="1387296"/>
                      </a:lnTo>
                      <a:lnTo>
                        <a:pt x="303056" y="1387900"/>
                      </a:lnTo>
                      <a:lnTo>
                        <a:pt x="303660" y="1390918"/>
                      </a:lnTo>
                      <a:lnTo>
                        <a:pt x="297623" y="1390315"/>
                      </a:lnTo>
                      <a:lnTo>
                        <a:pt x="296415" y="1386692"/>
                      </a:lnTo>
                      <a:lnTo>
                        <a:pt x="301849" y="1384881"/>
                      </a:lnTo>
                      <a:lnTo>
                        <a:pt x="303660" y="1381259"/>
                      </a:lnTo>
                      <a:lnTo>
                        <a:pt x="301849" y="1374015"/>
                      </a:lnTo>
                      <a:lnTo>
                        <a:pt x="303660" y="1372204"/>
                      </a:lnTo>
                      <a:lnTo>
                        <a:pt x="306074" y="1361941"/>
                      </a:lnTo>
                      <a:lnTo>
                        <a:pt x="306074" y="1354093"/>
                      </a:lnTo>
                      <a:lnTo>
                        <a:pt x="310300" y="1352282"/>
                      </a:lnTo>
                      <a:lnTo>
                        <a:pt x="318752" y="1354093"/>
                      </a:lnTo>
                      <a:lnTo>
                        <a:pt x="319356" y="1350470"/>
                      </a:lnTo>
                      <a:lnTo>
                        <a:pt x="321771" y="1344433"/>
                      </a:lnTo>
                      <a:lnTo>
                        <a:pt x="324185" y="1345641"/>
                      </a:lnTo>
                      <a:lnTo>
                        <a:pt x="327808" y="1337189"/>
                      </a:lnTo>
                      <a:lnTo>
                        <a:pt x="334448" y="1344433"/>
                      </a:lnTo>
                      <a:lnTo>
                        <a:pt x="336259" y="1342019"/>
                      </a:lnTo>
                      <a:lnTo>
                        <a:pt x="342296" y="1345641"/>
                      </a:lnTo>
                      <a:lnTo>
                        <a:pt x="346522" y="1343226"/>
                      </a:lnTo>
                      <a:lnTo>
                        <a:pt x="343504" y="1338396"/>
                      </a:lnTo>
                      <a:lnTo>
                        <a:pt x="343504" y="1328737"/>
                      </a:lnTo>
                      <a:lnTo>
                        <a:pt x="350748" y="1329945"/>
                      </a:lnTo>
                      <a:lnTo>
                        <a:pt x="351352" y="1326322"/>
                      </a:lnTo>
                      <a:lnTo>
                        <a:pt x="349541" y="1319078"/>
                      </a:lnTo>
                      <a:lnTo>
                        <a:pt x="349541" y="1315456"/>
                      </a:lnTo>
                      <a:lnTo>
                        <a:pt x="352559" y="1313041"/>
                      </a:lnTo>
                      <a:lnTo>
                        <a:pt x="360407" y="1310626"/>
                      </a:lnTo>
                      <a:lnTo>
                        <a:pt x="359200" y="1307004"/>
                      </a:lnTo>
                      <a:lnTo>
                        <a:pt x="362218" y="1303986"/>
                      </a:lnTo>
                      <a:lnTo>
                        <a:pt x="361615" y="1296742"/>
                      </a:lnTo>
                      <a:lnTo>
                        <a:pt x="367048" y="1294327"/>
                      </a:lnTo>
                      <a:lnTo>
                        <a:pt x="367652" y="1290101"/>
                      </a:lnTo>
                      <a:lnTo>
                        <a:pt x="373689" y="1288894"/>
                      </a:lnTo>
                      <a:lnTo>
                        <a:pt x="370670" y="1281649"/>
                      </a:lnTo>
                      <a:lnTo>
                        <a:pt x="371878" y="1272594"/>
                      </a:lnTo>
                      <a:lnTo>
                        <a:pt x="375500" y="1266557"/>
                      </a:lnTo>
                      <a:lnTo>
                        <a:pt x="373085" y="1264142"/>
                      </a:lnTo>
                      <a:lnTo>
                        <a:pt x="365237" y="1263538"/>
                      </a:lnTo>
                      <a:lnTo>
                        <a:pt x="364029" y="1267764"/>
                      </a:lnTo>
                      <a:lnTo>
                        <a:pt x="359804" y="1263538"/>
                      </a:lnTo>
                      <a:lnTo>
                        <a:pt x="353163" y="1259916"/>
                      </a:lnTo>
                      <a:lnTo>
                        <a:pt x="352559" y="1256294"/>
                      </a:lnTo>
                      <a:lnTo>
                        <a:pt x="346522" y="1258709"/>
                      </a:lnTo>
                      <a:lnTo>
                        <a:pt x="344711" y="1255086"/>
                      </a:lnTo>
                      <a:lnTo>
                        <a:pt x="342296" y="1255086"/>
                      </a:lnTo>
                      <a:lnTo>
                        <a:pt x="336863" y="1257501"/>
                      </a:lnTo>
                      <a:lnTo>
                        <a:pt x="338674" y="1251464"/>
                      </a:lnTo>
                      <a:lnTo>
                        <a:pt x="329619" y="1246635"/>
                      </a:lnTo>
                      <a:lnTo>
                        <a:pt x="333241" y="1239390"/>
                      </a:lnTo>
                      <a:lnTo>
                        <a:pt x="331430" y="1226109"/>
                      </a:lnTo>
                      <a:lnTo>
                        <a:pt x="332033" y="1217053"/>
                      </a:lnTo>
                      <a:lnTo>
                        <a:pt x="335656" y="1209205"/>
                      </a:lnTo>
                      <a:lnTo>
                        <a:pt x="338674" y="1201961"/>
                      </a:lnTo>
                      <a:lnTo>
                        <a:pt x="335052" y="1198943"/>
                      </a:lnTo>
                      <a:lnTo>
                        <a:pt x="327204" y="1199546"/>
                      </a:lnTo>
                      <a:lnTo>
                        <a:pt x="321167" y="1198339"/>
                      </a:lnTo>
                      <a:lnTo>
                        <a:pt x="307886" y="1200150"/>
                      </a:lnTo>
                      <a:lnTo>
                        <a:pt x="303660" y="1197735"/>
                      </a:lnTo>
                      <a:lnTo>
                        <a:pt x="299434" y="1198943"/>
                      </a:lnTo>
                      <a:lnTo>
                        <a:pt x="295208" y="1204376"/>
                      </a:lnTo>
                      <a:lnTo>
                        <a:pt x="293397" y="1199546"/>
                      </a:lnTo>
                      <a:lnTo>
                        <a:pt x="296415" y="1195924"/>
                      </a:lnTo>
                      <a:lnTo>
                        <a:pt x="296415" y="1191698"/>
                      </a:lnTo>
                      <a:lnTo>
                        <a:pt x="289775" y="1189887"/>
                      </a:lnTo>
                      <a:lnTo>
                        <a:pt x="289171" y="1185058"/>
                      </a:lnTo>
                      <a:lnTo>
                        <a:pt x="286756" y="1184454"/>
                      </a:lnTo>
                      <a:lnTo>
                        <a:pt x="278304" y="1185058"/>
                      </a:lnTo>
                      <a:lnTo>
                        <a:pt x="272871" y="1187472"/>
                      </a:lnTo>
                      <a:lnTo>
                        <a:pt x="272871" y="1184454"/>
                      </a:lnTo>
                      <a:lnTo>
                        <a:pt x="269853" y="1181435"/>
                      </a:lnTo>
                      <a:lnTo>
                        <a:pt x="269853" y="1176002"/>
                      </a:lnTo>
                      <a:lnTo>
                        <a:pt x="274079" y="1177813"/>
                      </a:lnTo>
                      <a:lnTo>
                        <a:pt x="278304" y="1177210"/>
                      </a:lnTo>
                      <a:lnTo>
                        <a:pt x="278908" y="1171173"/>
                      </a:lnTo>
                      <a:lnTo>
                        <a:pt x="274079" y="1166343"/>
                      </a:lnTo>
                      <a:lnTo>
                        <a:pt x="279512" y="1160306"/>
                      </a:lnTo>
                      <a:lnTo>
                        <a:pt x="280719" y="1157287"/>
                      </a:lnTo>
                      <a:lnTo>
                        <a:pt x="278908" y="1151854"/>
                      </a:lnTo>
                      <a:lnTo>
                        <a:pt x="280719" y="1147628"/>
                      </a:lnTo>
                      <a:lnTo>
                        <a:pt x="278304" y="1140988"/>
                      </a:lnTo>
                      <a:lnTo>
                        <a:pt x="271664" y="1140988"/>
                      </a:lnTo>
                      <a:lnTo>
                        <a:pt x="271060" y="1137365"/>
                      </a:lnTo>
                      <a:lnTo>
                        <a:pt x="265023" y="1133743"/>
                      </a:lnTo>
                      <a:lnTo>
                        <a:pt x="264419" y="1140988"/>
                      </a:lnTo>
                      <a:lnTo>
                        <a:pt x="253553" y="1139176"/>
                      </a:lnTo>
                      <a:lnTo>
                        <a:pt x="249327" y="1148232"/>
                      </a:lnTo>
                      <a:lnTo>
                        <a:pt x="245705" y="1147025"/>
                      </a:lnTo>
                      <a:lnTo>
                        <a:pt x="244497" y="1137365"/>
                      </a:lnTo>
                      <a:lnTo>
                        <a:pt x="246308" y="1134347"/>
                      </a:lnTo>
                      <a:lnTo>
                        <a:pt x="251742" y="1132536"/>
                      </a:lnTo>
                      <a:lnTo>
                        <a:pt x="251138" y="1125895"/>
                      </a:lnTo>
                      <a:lnTo>
                        <a:pt x="251742" y="1121065"/>
                      </a:lnTo>
                      <a:lnTo>
                        <a:pt x="248723" y="1120462"/>
                      </a:lnTo>
                      <a:lnTo>
                        <a:pt x="246308" y="1125291"/>
                      </a:lnTo>
                      <a:lnTo>
                        <a:pt x="238460" y="1131932"/>
                      </a:lnTo>
                      <a:lnTo>
                        <a:pt x="233631" y="1128914"/>
                      </a:lnTo>
                      <a:lnTo>
                        <a:pt x="233027" y="1124688"/>
                      </a:lnTo>
                      <a:lnTo>
                        <a:pt x="228197" y="1125291"/>
                      </a:lnTo>
                      <a:lnTo>
                        <a:pt x="217935" y="1124688"/>
                      </a:lnTo>
                      <a:lnTo>
                        <a:pt x="216727" y="1127706"/>
                      </a:lnTo>
                      <a:lnTo>
                        <a:pt x="217331" y="1132536"/>
                      </a:lnTo>
                      <a:lnTo>
                        <a:pt x="219746" y="1133743"/>
                      </a:lnTo>
                      <a:lnTo>
                        <a:pt x="220953" y="1139780"/>
                      </a:lnTo>
                      <a:lnTo>
                        <a:pt x="215520" y="1144006"/>
                      </a:lnTo>
                      <a:lnTo>
                        <a:pt x="210087" y="1145817"/>
                      </a:lnTo>
                      <a:lnTo>
                        <a:pt x="208879" y="1150647"/>
                      </a:lnTo>
                      <a:lnTo>
                        <a:pt x="200427" y="1151854"/>
                      </a:lnTo>
                      <a:lnTo>
                        <a:pt x="197409" y="1154269"/>
                      </a:lnTo>
                      <a:lnTo>
                        <a:pt x="196805" y="1165739"/>
                      </a:lnTo>
                      <a:lnTo>
                        <a:pt x="193787" y="1160306"/>
                      </a:lnTo>
                      <a:lnTo>
                        <a:pt x="188353" y="1162721"/>
                      </a:lnTo>
                      <a:lnTo>
                        <a:pt x="188353" y="1157287"/>
                      </a:lnTo>
                      <a:lnTo>
                        <a:pt x="184128" y="1157287"/>
                      </a:lnTo>
                      <a:lnTo>
                        <a:pt x="176883" y="1160910"/>
                      </a:lnTo>
                      <a:lnTo>
                        <a:pt x="177487" y="1167550"/>
                      </a:lnTo>
                      <a:lnTo>
                        <a:pt x="173261" y="1164532"/>
                      </a:lnTo>
                      <a:lnTo>
                        <a:pt x="170243" y="1166947"/>
                      </a:lnTo>
                      <a:lnTo>
                        <a:pt x="162998" y="1169361"/>
                      </a:lnTo>
                      <a:lnTo>
                        <a:pt x="161791" y="1164532"/>
                      </a:lnTo>
                      <a:lnTo>
                        <a:pt x="157565" y="1164532"/>
                      </a:lnTo>
                      <a:lnTo>
                        <a:pt x="159376" y="1172380"/>
                      </a:lnTo>
                      <a:lnTo>
                        <a:pt x="157565" y="1176002"/>
                      </a:lnTo>
                      <a:lnTo>
                        <a:pt x="153943" y="1172984"/>
                      </a:lnTo>
                      <a:lnTo>
                        <a:pt x="149113" y="1172984"/>
                      </a:lnTo>
                      <a:lnTo>
                        <a:pt x="148510" y="1178417"/>
                      </a:lnTo>
                      <a:lnTo>
                        <a:pt x="143076" y="1179021"/>
                      </a:lnTo>
                      <a:lnTo>
                        <a:pt x="141869" y="1174795"/>
                      </a:lnTo>
                      <a:lnTo>
                        <a:pt x="144284" y="1171173"/>
                      </a:lnTo>
                      <a:lnTo>
                        <a:pt x="145491" y="1164532"/>
                      </a:lnTo>
                      <a:lnTo>
                        <a:pt x="143076" y="1155476"/>
                      </a:lnTo>
                      <a:lnTo>
                        <a:pt x="138850" y="1154873"/>
                      </a:lnTo>
                      <a:lnTo>
                        <a:pt x="134624" y="1152458"/>
                      </a:lnTo>
                      <a:lnTo>
                        <a:pt x="137643" y="1147025"/>
                      </a:lnTo>
                      <a:lnTo>
                        <a:pt x="127380" y="1145817"/>
                      </a:lnTo>
                      <a:lnTo>
                        <a:pt x="123154" y="1142799"/>
                      </a:lnTo>
                      <a:lnTo>
                        <a:pt x="116513" y="1147025"/>
                      </a:lnTo>
                      <a:lnTo>
                        <a:pt x="113495" y="1140384"/>
                      </a:lnTo>
                      <a:lnTo>
                        <a:pt x="109269" y="1142799"/>
                      </a:lnTo>
                      <a:lnTo>
                        <a:pt x="102025" y="1144006"/>
                      </a:lnTo>
                      <a:lnTo>
                        <a:pt x="99610" y="1132536"/>
                      </a:lnTo>
                      <a:lnTo>
                        <a:pt x="96592" y="1131932"/>
                      </a:lnTo>
                      <a:lnTo>
                        <a:pt x="89951" y="1140384"/>
                      </a:lnTo>
                      <a:lnTo>
                        <a:pt x="86329" y="1139176"/>
                      </a:lnTo>
                      <a:lnTo>
                        <a:pt x="88140" y="1130725"/>
                      </a:lnTo>
                      <a:lnTo>
                        <a:pt x="86932" y="1127706"/>
                      </a:lnTo>
                      <a:lnTo>
                        <a:pt x="82706" y="1131328"/>
                      </a:lnTo>
                      <a:lnTo>
                        <a:pt x="84518" y="1138573"/>
                      </a:lnTo>
                      <a:lnTo>
                        <a:pt x="79084" y="1139780"/>
                      </a:lnTo>
                      <a:lnTo>
                        <a:pt x="76066" y="1143402"/>
                      </a:lnTo>
                      <a:lnTo>
                        <a:pt x="80292" y="1145213"/>
                      </a:lnTo>
                      <a:lnTo>
                        <a:pt x="83914" y="1148836"/>
                      </a:lnTo>
                      <a:lnTo>
                        <a:pt x="82103" y="1152458"/>
                      </a:lnTo>
                      <a:lnTo>
                        <a:pt x="85725" y="1158495"/>
                      </a:lnTo>
                      <a:lnTo>
                        <a:pt x="84518" y="1162117"/>
                      </a:lnTo>
                      <a:lnTo>
                        <a:pt x="75462" y="1162721"/>
                      </a:lnTo>
                      <a:lnTo>
                        <a:pt x="70029" y="1160910"/>
                      </a:lnTo>
                      <a:lnTo>
                        <a:pt x="67010" y="1162117"/>
                      </a:lnTo>
                      <a:lnTo>
                        <a:pt x="67010" y="1165739"/>
                      </a:lnTo>
                      <a:lnTo>
                        <a:pt x="62784" y="1165136"/>
                      </a:lnTo>
                      <a:lnTo>
                        <a:pt x="57351" y="1159099"/>
                      </a:lnTo>
                      <a:lnTo>
                        <a:pt x="54333" y="1159099"/>
                      </a:lnTo>
                      <a:lnTo>
                        <a:pt x="52522" y="1166947"/>
                      </a:lnTo>
                      <a:lnTo>
                        <a:pt x="48900" y="1164532"/>
                      </a:lnTo>
                      <a:lnTo>
                        <a:pt x="46485" y="1155476"/>
                      </a:lnTo>
                      <a:lnTo>
                        <a:pt x="47088" y="1151250"/>
                      </a:lnTo>
                      <a:lnTo>
                        <a:pt x="44070" y="1150043"/>
                      </a:lnTo>
                      <a:lnTo>
                        <a:pt x="51314" y="1141591"/>
                      </a:lnTo>
                      <a:lnTo>
                        <a:pt x="53729" y="1132536"/>
                      </a:lnTo>
                      <a:lnTo>
                        <a:pt x="58559" y="1131932"/>
                      </a:lnTo>
                      <a:lnTo>
                        <a:pt x="57955" y="1125895"/>
                      </a:lnTo>
                      <a:lnTo>
                        <a:pt x="48296" y="1119254"/>
                      </a:lnTo>
                      <a:lnTo>
                        <a:pt x="48900" y="1113821"/>
                      </a:lnTo>
                      <a:lnTo>
                        <a:pt x="45277" y="1110803"/>
                      </a:lnTo>
                      <a:lnTo>
                        <a:pt x="39844" y="1108388"/>
                      </a:lnTo>
                      <a:lnTo>
                        <a:pt x="36222" y="1105369"/>
                      </a:lnTo>
                      <a:lnTo>
                        <a:pt x="37429" y="1099936"/>
                      </a:lnTo>
                      <a:lnTo>
                        <a:pt x="44674" y="1098729"/>
                      </a:lnTo>
                      <a:lnTo>
                        <a:pt x="43466" y="1092692"/>
                      </a:lnTo>
                      <a:lnTo>
                        <a:pt x="40448" y="1091484"/>
                      </a:lnTo>
                      <a:lnTo>
                        <a:pt x="38637" y="1086051"/>
                      </a:lnTo>
                      <a:lnTo>
                        <a:pt x="34411" y="1082429"/>
                      </a:lnTo>
                      <a:lnTo>
                        <a:pt x="31996" y="1084240"/>
                      </a:lnTo>
                      <a:lnTo>
                        <a:pt x="26563" y="1081825"/>
                      </a:lnTo>
                      <a:lnTo>
                        <a:pt x="27770" y="1076392"/>
                      </a:lnTo>
                      <a:lnTo>
                        <a:pt x="33203" y="1076392"/>
                      </a:lnTo>
                      <a:lnTo>
                        <a:pt x="37429" y="1074581"/>
                      </a:lnTo>
                      <a:lnTo>
                        <a:pt x="38033" y="1069751"/>
                      </a:lnTo>
                      <a:lnTo>
                        <a:pt x="41655" y="1072770"/>
                      </a:lnTo>
                      <a:lnTo>
                        <a:pt x="54333" y="1073374"/>
                      </a:lnTo>
                      <a:lnTo>
                        <a:pt x="52522" y="1090277"/>
                      </a:lnTo>
                      <a:lnTo>
                        <a:pt x="54936" y="1092088"/>
                      </a:lnTo>
                      <a:lnTo>
                        <a:pt x="54936" y="1098729"/>
                      </a:lnTo>
                      <a:lnTo>
                        <a:pt x="64595" y="1099936"/>
                      </a:lnTo>
                      <a:lnTo>
                        <a:pt x="68821" y="1101747"/>
                      </a:lnTo>
                      <a:lnTo>
                        <a:pt x="75462" y="1101144"/>
                      </a:lnTo>
                      <a:lnTo>
                        <a:pt x="77877" y="1110199"/>
                      </a:lnTo>
                      <a:lnTo>
                        <a:pt x="82103" y="1112010"/>
                      </a:lnTo>
                      <a:lnTo>
                        <a:pt x="85725" y="1108388"/>
                      </a:lnTo>
                      <a:lnTo>
                        <a:pt x="90555" y="1109595"/>
                      </a:lnTo>
                      <a:lnTo>
                        <a:pt x="100214" y="1108388"/>
                      </a:lnTo>
                      <a:lnTo>
                        <a:pt x="106251" y="1104162"/>
                      </a:lnTo>
                      <a:lnTo>
                        <a:pt x="107458" y="1108388"/>
                      </a:lnTo>
                      <a:lnTo>
                        <a:pt x="112891" y="1104162"/>
                      </a:lnTo>
                      <a:lnTo>
                        <a:pt x="114702" y="1104766"/>
                      </a:lnTo>
                      <a:lnTo>
                        <a:pt x="118928" y="1112614"/>
                      </a:lnTo>
                      <a:lnTo>
                        <a:pt x="123154" y="1113821"/>
                      </a:lnTo>
                      <a:lnTo>
                        <a:pt x="121343" y="1120462"/>
                      </a:lnTo>
                      <a:lnTo>
                        <a:pt x="124965" y="1122273"/>
                      </a:lnTo>
                      <a:lnTo>
                        <a:pt x="120739" y="1128310"/>
                      </a:lnTo>
                      <a:lnTo>
                        <a:pt x="121947" y="1131932"/>
                      </a:lnTo>
                      <a:lnTo>
                        <a:pt x="131002" y="1131932"/>
                      </a:lnTo>
                      <a:lnTo>
                        <a:pt x="132210" y="1135554"/>
                      </a:lnTo>
                      <a:lnTo>
                        <a:pt x="136436" y="1132536"/>
                      </a:lnTo>
                      <a:lnTo>
                        <a:pt x="134624" y="1123480"/>
                      </a:lnTo>
                      <a:lnTo>
                        <a:pt x="138850" y="1121669"/>
                      </a:lnTo>
                      <a:lnTo>
                        <a:pt x="138850" y="1116840"/>
                      </a:lnTo>
                      <a:lnTo>
                        <a:pt x="137039" y="1115028"/>
                      </a:lnTo>
                      <a:lnTo>
                        <a:pt x="129795" y="1115632"/>
                      </a:lnTo>
                      <a:lnTo>
                        <a:pt x="127380" y="1113821"/>
                      </a:lnTo>
                      <a:lnTo>
                        <a:pt x="129191" y="1108388"/>
                      </a:lnTo>
                      <a:lnTo>
                        <a:pt x="117721" y="1104766"/>
                      </a:lnTo>
                      <a:lnTo>
                        <a:pt x="120136" y="1098729"/>
                      </a:lnTo>
                      <a:lnTo>
                        <a:pt x="122550" y="1098729"/>
                      </a:lnTo>
                      <a:lnTo>
                        <a:pt x="126776" y="1094503"/>
                      </a:lnTo>
                      <a:lnTo>
                        <a:pt x="128587" y="1090881"/>
                      </a:lnTo>
                      <a:lnTo>
                        <a:pt x="131606" y="1087862"/>
                      </a:lnTo>
                      <a:lnTo>
                        <a:pt x="130399" y="1084844"/>
                      </a:lnTo>
                      <a:lnTo>
                        <a:pt x="123154" y="1087259"/>
                      </a:lnTo>
                      <a:lnTo>
                        <a:pt x="121947" y="1083637"/>
                      </a:lnTo>
                      <a:lnTo>
                        <a:pt x="127984" y="1082429"/>
                      </a:lnTo>
                      <a:lnTo>
                        <a:pt x="130399" y="1074581"/>
                      </a:lnTo>
                      <a:lnTo>
                        <a:pt x="146095" y="1075185"/>
                      </a:lnTo>
                      <a:lnTo>
                        <a:pt x="153339" y="1077600"/>
                      </a:lnTo>
                      <a:lnTo>
                        <a:pt x="155754" y="1073374"/>
                      </a:lnTo>
                      <a:lnTo>
                        <a:pt x="151528" y="1061300"/>
                      </a:lnTo>
                      <a:lnTo>
                        <a:pt x="153339" y="1054659"/>
                      </a:lnTo>
                      <a:lnTo>
                        <a:pt x="149113" y="1049829"/>
                      </a:lnTo>
                      <a:lnTo>
                        <a:pt x="144284" y="1052244"/>
                      </a:lnTo>
                      <a:lnTo>
                        <a:pt x="141869" y="1051037"/>
                      </a:lnTo>
                      <a:lnTo>
                        <a:pt x="141265" y="1043792"/>
                      </a:lnTo>
                      <a:lnTo>
                        <a:pt x="138247" y="1041981"/>
                      </a:lnTo>
                      <a:lnTo>
                        <a:pt x="131606" y="1040170"/>
                      </a:lnTo>
                      <a:lnTo>
                        <a:pt x="128587" y="1042585"/>
                      </a:lnTo>
                      <a:lnTo>
                        <a:pt x="127380" y="1047415"/>
                      </a:lnTo>
                      <a:lnTo>
                        <a:pt x="130399" y="1054055"/>
                      </a:lnTo>
                      <a:lnTo>
                        <a:pt x="132813" y="1054659"/>
                      </a:lnTo>
                      <a:lnTo>
                        <a:pt x="135832" y="1066733"/>
                      </a:lnTo>
                      <a:lnTo>
                        <a:pt x="129191" y="1069148"/>
                      </a:lnTo>
                      <a:lnTo>
                        <a:pt x="127984" y="1063714"/>
                      </a:lnTo>
                      <a:lnTo>
                        <a:pt x="123758" y="1061300"/>
                      </a:lnTo>
                      <a:lnTo>
                        <a:pt x="124362" y="1052848"/>
                      </a:lnTo>
                      <a:lnTo>
                        <a:pt x="108062" y="1051037"/>
                      </a:lnTo>
                      <a:lnTo>
                        <a:pt x="108062" y="1039566"/>
                      </a:lnTo>
                      <a:lnTo>
                        <a:pt x="103232" y="1040774"/>
                      </a:lnTo>
                      <a:lnTo>
                        <a:pt x="100817" y="1043189"/>
                      </a:lnTo>
                      <a:lnTo>
                        <a:pt x="90555" y="1043189"/>
                      </a:lnTo>
                      <a:lnTo>
                        <a:pt x="81499" y="1038359"/>
                      </a:lnTo>
                      <a:lnTo>
                        <a:pt x="77273" y="1039566"/>
                      </a:lnTo>
                      <a:lnTo>
                        <a:pt x="76066" y="1045603"/>
                      </a:lnTo>
                      <a:lnTo>
                        <a:pt x="73651" y="1048622"/>
                      </a:lnTo>
                      <a:lnTo>
                        <a:pt x="72444" y="1054055"/>
                      </a:lnTo>
                      <a:lnTo>
                        <a:pt x="74255" y="1055263"/>
                      </a:lnTo>
                      <a:lnTo>
                        <a:pt x="73047" y="1063111"/>
                      </a:lnTo>
                      <a:lnTo>
                        <a:pt x="70029" y="1065526"/>
                      </a:lnTo>
                      <a:lnTo>
                        <a:pt x="65803" y="1065526"/>
                      </a:lnTo>
                      <a:lnTo>
                        <a:pt x="60370" y="1058885"/>
                      </a:lnTo>
                      <a:lnTo>
                        <a:pt x="57351" y="1058885"/>
                      </a:lnTo>
                      <a:lnTo>
                        <a:pt x="51314" y="1060696"/>
                      </a:lnTo>
                      <a:lnTo>
                        <a:pt x="46485" y="1059489"/>
                      </a:lnTo>
                      <a:lnTo>
                        <a:pt x="40448" y="1060092"/>
                      </a:lnTo>
                      <a:lnTo>
                        <a:pt x="37429" y="1058885"/>
                      </a:lnTo>
                      <a:lnTo>
                        <a:pt x="35014" y="1052244"/>
                      </a:lnTo>
                      <a:lnTo>
                        <a:pt x="38637" y="1049829"/>
                      </a:lnTo>
                      <a:lnTo>
                        <a:pt x="38637" y="1045000"/>
                      </a:lnTo>
                      <a:lnTo>
                        <a:pt x="29581" y="1041981"/>
                      </a:lnTo>
                      <a:lnTo>
                        <a:pt x="25355" y="1035341"/>
                      </a:lnTo>
                      <a:lnTo>
                        <a:pt x="25959" y="1026889"/>
                      </a:lnTo>
                      <a:lnTo>
                        <a:pt x="28977" y="1026285"/>
                      </a:lnTo>
                      <a:lnTo>
                        <a:pt x="32600" y="1022059"/>
                      </a:lnTo>
                      <a:lnTo>
                        <a:pt x="38033" y="1025078"/>
                      </a:lnTo>
                      <a:lnTo>
                        <a:pt x="38637" y="1015418"/>
                      </a:lnTo>
                      <a:lnTo>
                        <a:pt x="41655" y="1015418"/>
                      </a:lnTo>
                      <a:lnTo>
                        <a:pt x="44674" y="1008174"/>
                      </a:lnTo>
                      <a:lnTo>
                        <a:pt x="30789" y="1006967"/>
                      </a:lnTo>
                      <a:lnTo>
                        <a:pt x="25355" y="1009985"/>
                      </a:lnTo>
                      <a:lnTo>
                        <a:pt x="22337" y="1008778"/>
                      </a:lnTo>
                      <a:lnTo>
                        <a:pt x="18111" y="1001533"/>
                      </a:lnTo>
                      <a:lnTo>
                        <a:pt x="9055" y="997911"/>
                      </a:lnTo>
                      <a:lnTo>
                        <a:pt x="4830" y="986441"/>
                      </a:lnTo>
                      <a:lnTo>
                        <a:pt x="1207" y="982819"/>
                      </a:lnTo>
                      <a:lnTo>
                        <a:pt x="3018" y="966519"/>
                      </a:lnTo>
                      <a:lnTo>
                        <a:pt x="8452" y="953842"/>
                      </a:lnTo>
                      <a:lnTo>
                        <a:pt x="4830" y="944182"/>
                      </a:lnTo>
                      <a:lnTo>
                        <a:pt x="16300" y="942975"/>
                      </a:lnTo>
                      <a:lnTo>
                        <a:pt x="17507" y="933316"/>
                      </a:lnTo>
                      <a:lnTo>
                        <a:pt x="19318" y="931505"/>
                      </a:lnTo>
                      <a:lnTo>
                        <a:pt x="19922" y="926071"/>
                      </a:lnTo>
                      <a:lnTo>
                        <a:pt x="18715" y="920638"/>
                      </a:lnTo>
                      <a:lnTo>
                        <a:pt x="21733" y="920034"/>
                      </a:lnTo>
                      <a:lnTo>
                        <a:pt x="22337" y="910375"/>
                      </a:lnTo>
                      <a:lnTo>
                        <a:pt x="22337" y="904942"/>
                      </a:lnTo>
                      <a:lnTo>
                        <a:pt x="17507" y="905546"/>
                      </a:lnTo>
                      <a:lnTo>
                        <a:pt x="15092" y="907357"/>
                      </a:lnTo>
                      <a:lnTo>
                        <a:pt x="12074" y="904942"/>
                      </a:lnTo>
                      <a:lnTo>
                        <a:pt x="1811" y="903131"/>
                      </a:lnTo>
                      <a:lnTo>
                        <a:pt x="0" y="900716"/>
                      </a:lnTo>
                      <a:lnTo>
                        <a:pt x="6037" y="893472"/>
                      </a:lnTo>
                      <a:lnTo>
                        <a:pt x="3018" y="885624"/>
                      </a:lnTo>
                      <a:lnTo>
                        <a:pt x="3622" y="883209"/>
                      </a:lnTo>
                      <a:lnTo>
                        <a:pt x="8452" y="877776"/>
                      </a:lnTo>
                      <a:lnTo>
                        <a:pt x="13281" y="880794"/>
                      </a:lnTo>
                      <a:lnTo>
                        <a:pt x="16903" y="881398"/>
                      </a:lnTo>
                      <a:lnTo>
                        <a:pt x="21733" y="885020"/>
                      </a:lnTo>
                      <a:lnTo>
                        <a:pt x="24752" y="891057"/>
                      </a:lnTo>
                      <a:lnTo>
                        <a:pt x="32600" y="890453"/>
                      </a:lnTo>
                      <a:lnTo>
                        <a:pt x="39844" y="891660"/>
                      </a:lnTo>
                      <a:lnTo>
                        <a:pt x="43466" y="894075"/>
                      </a:lnTo>
                      <a:lnTo>
                        <a:pt x="50711" y="890453"/>
                      </a:lnTo>
                      <a:lnTo>
                        <a:pt x="59766" y="890453"/>
                      </a:lnTo>
                      <a:lnTo>
                        <a:pt x="58559" y="895886"/>
                      </a:lnTo>
                      <a:lnTo>
                        <a:pt x="66407" y="897094"/>
                      </a:lnTo>
                      <a:lnTo>
                        <a:pt x="67010" y="892264"/>
                      </a:lnTo>
                      <a:lnTo>
                        <a:pt x="73047" y="891057"/>
                      </a:lnTo>
                      <a:lnTo>
                        <a:pt x="76066" y="882605"/>
                      </a:lnTo>
                      <a:lnTo>
                        <a:pt x="76669" y="877172"/>
                      </a:lnTo>
                      <a:lnTo>
                        <a:pt x="80895" y="874153"/>
                      </a:lnTo>
                      <a:lnTo>
                        <a:pt x="83914" y="860872"/>
                      </a:lnTo>
                      <a:lnTo>
                        <a:pt x="82706" y="855439"/>
                      </a:lnTo>
                      <a:lnTo>
                        <a:pt x="79688" y="850609"/>
                      </a:lnTo>
                      <a:lnTo>
                        <a:pt x="75462" y="850006"/>
                      </a:lnTo>
                      <a:lnTo>
                        <a:pt x="79084" y="843365"/>
                      </a:lnTo>
                      <a:lnTo>
                        <a:pt x="80895" y="836121"/>
                      </a:lnTo>
                      <a:lnTo>
                        <a:pt x="74255" y="834913"/>
                      </a:lnTo>
                      <a:lnTo>
                        <a:pt x="73047" y="827065"/>
                      </a:lnTo>
                      <a:lnTo>
                        <a:pt x="64595" y="828876"/>
                      </a:lnTo>
                      <a:lnTo>
                        <a:pt x="63388" y="824650"/>
                      </a:lnTo>
                      <a:lnTo>
                        <a:pt x="57955" y="820424"/>
                      </a:lnTo>
                      <a:lnTo>
                        <a:pt x="59162" y="814991"/>
                      </a:lnTo>
                      <a:lnTo>
                        <a:pt x="56144" y="811369"/>
                      </a:lnTo>
                      <a:lnTo>
                        <a:pt x="56144" y="804124"/>
                      </a:lnTo>
                      <a:lnTo>
                        <a:pt x="51314" y="801106"/>
                      </a:lnTo>
                      <a:lnTo>
                        <a:pt x="49503" y="796880"/>
                      </a:lnTo>
                      <a:lnTo>
                        <a:pt x="44070" y="792050"/>
                      </a:lnTo>
                      <a:lnTo>
                        <a:pt x="44674" y="789032"/>
                      </a:lnTo>
                      <a:lnTo>
                        <a:pt x="49503" y="790239"/>
                      </a:lnTo>
                      <a:lnTo>
                        <a:pt x="55540" y="790239"/>
                      </a:lnTo>
                      <a:lnTo>
                        <a:pt x="56144" y="784806"/>
                      </a:lnTo>
                      <a:lnTo>
                        <a:pt x="54936" y="773940"/>
                      </a:lnTo>
                      <a:lnTo>
                        <a:pt x="56144" y="769110"/>
                      </a:lnTo>
                      <a:lnTo>
                        <a:pt x="56144" y="762469"/>
                      </a:lnTo>
                      <a:lnTo>
                        <a:pt x="64595" y="760055"/>
                      </a:lnTo>
                      <a:lnTo>
                        <a:pt x="67010" y="757640"/>
                      </a:lnTo>
                      <a:lnTo>
                        <a:pt x="74255" y="763073"/>
                      </a:lnTo>
                      <a:lnTo>
                        <a:pt x="76066" y="755829"/>
                      </a:lnTo>
                      <a:lnTo>
                        <a:pt x="71236" y="751603"/>
                      </a:lnTo>
                      <a:lnTo>
                        <a:pt x="65803" y="749188"/>
                      </a:lnTo>
                      <a:lnTo>
                        <a:pt x="67614" y="745566"/>
                      </a:lnTo>
                      <a:lnTo>
                        <a:pt x="65803" y="742548"/>
                      </a:lnTo>
                      <a:lnTo>
                        <a:pt x="59766" y="741944"/>
                      </a:lnTo>
                      <a:lnTo>
                        <a:pt x="59766" y="736511"/>
                      </a:lnTo>
                      <a:lnTo>
                        <a:pt x="63388" y="730474"/>
                      </a:lnTo>
                      <a:lnTo>
                        <a:pt x="63388" y="720814"/>
                      </a:lnTo>
                      <a:lnTo>
                        <a:pt x="56144" y="720211"/>
                      </a:lnTo>
                      <a:lnTo>
                        <a:pt x="57351" y="714777"/>
                      </a:lnTo>
                      <a:lnTo>
                        <a:pt x="66407" y="702100"/>
                      </a:lnTo>
                      <a:lnTo>
                        <a:pt x="71840" y="699081"/>
                      </a:lnTo>
                      <a:lnTo>
                        <a:pt x="77273" y="697874"/>
                      </a:lnTo>
                      <a:lnTo>
                        <a:pt x="79688" y="695459"/>
                      </a:lnTo>
                      <a:lnTo>
                        <a:pt x="87536" y="693648"/>
                      </a:lnTo>
                      <a:lnTo>
                        <a:pt x="99006" y="693044"/>
                      </a:lnTo>
                      <a:lnTo>
                        <a:pt x="101421" y="691837"/>
                      </a:lnTo>
                      <a:lnTo>
                        <a:pt x="108665" y="694252"/>
                      </a:lnTo>
                      <a:lnTo>
                        <a:pt x="123154" y="694855"/>
                      </a:lnTo>
                      <a:lnTo>
                        <a:pt x="127984" y="697270"/>
                      </a:lnTo>
                      <a:lnTo>
                        <a:pt x="138247" y="695459"/>
                      </a:lnTo>
                      <a:lnTo>
                        <a:pt x="146698" y="698477"/>
                      </a:lnTo>
                      <a:lnTo>
                        <a:pt x="155150" y="700289"/>
                      </a:lnTo>
                      <a:lnTo>
                        <a:pt x="171450" y="702703"/>
                      </a:lnTo>
                      <a:lnTo>
                        <a:pt x="175072" y="702100"/>
                      </a:lnTo>
                      <a:lnTo>
                        <a:pt x="182316" y="708137"/>
                      </a:lnTo>
                      <a:lnTo>
                        <a:pt x="191372" y="709948"/>
                      </a:lnTo>
                      <a:lnTo>
                        <a:pt x="198013" y="707533"/>
                      </a:lnTo>
                      <a:lnTo>
                        <a:pt x="214916" y="711759"/>
                      </a:lnTo>
                      <a:lnTo>
                        <a:pt x="222161" y="709948"/>
                      </a:lnTo>
                      <a:lnTo>
                        <a:pt x="226990" y="709948"/>
                      </a:lnTo>
                      <a:lnTo>
                        <a:pt x="228801" y="706326"/>
                      </a:lnTo>
                      <a:lnTo>
                        <a:pt x="233027" y="705118"/>
                      </a:lnTo>
                      <a:lnTo>
                        <a:pt x="241479" y="709344"/>
                      </a:lnTo>
                      <a:lnTo>
                        <a:pt x="251138" y="709948"/>
                      </a:lnTo>
                      <a:lnTo>
                        <a:pt x="256571" y="712966"/>
                      </a:lnTo>
                      <a:lnTo>
                        <a:pt x="260194" y="705722"/>
                      </a:lnTo>
                      <a:lnTo>
                        <a:pt x="264419" y="705118"/>
                      </a:lnTo>
                      <a:lnTo>
                        <a:pt x="269853" y="716588"/>
                      </a:lnTo>
                      <a:lnTo>
                        <a:pt x="277097" y="720211"/>
                      </a:lnTo>
                      <a:lnTo>
                        <a:pt x="282530" y="718400"/>
                      </a:lnTo>
                      <a:lnTo>
                        <a:pt x="282530" y="715381"/>
                      </a:lnTo>
                      <a:lnTo>
                        <a:pt x="290378" y="715381"/>
                      </a:lnTo>
                      <a:lnTo>
                        <a:pt x="294000" y="706929"/>
                      </a:lnTo>
                      <a:lnTo>
                        <a:pt x="293397" y="704514"/>
                      </a:lnTo>
                      <a:lnTo>
                        <a:pt x="298830" y="700892"/>
                      </a:lnTo>
                      <a:lnTo>
                        <a:pt x="303660" y="699685"/>
                      </a:lnTo>
                      <a:lnTo>
                        <a:pt x="306678" y="696666"/>
                      </a:lnTo>
                      <a:lnTo>
                        <a:pt x="307886" y="690026"/>
                      </a:lnTo>
                      <a:lnTo>
                        <a:pt x="310300" y="683989"/>
                      </a:lnTo>
                      <a:lnTo>
                        <a:pt x="308489" y="677348"/>
                      </a:lnTo>
                      <a:lnTo>
                        <a:pt x="311508" y="675537"/>
                      </a:lnTo>
                      <a:lnTo>
                        <a:pt x="321771" y="676744"/>
                      </a:lnTo>
                      <a:lnTo>
                        <a:pt x="326600" y="671915"/>
                      </a:lnTo>
                      <a:lnTo>
                        <a:pt x="332637" y="670104"/>
                      </a:lnTo>
                      <a:lnTo>
                        <a:pt x="339881" y="665878"/>
                      </a:lnTo>
                      <a:lnTo>
                        <a:pt x="349541" y="665878"/>
                      </a:lnTo>
                      <a:lnTo>
                        <a:pt x="358596" y="667085"/>
                      </a:lnTo>
                      <a:lnTo>
                        <a:pt x="371878" y="670707"/>
                      </a:lnTo>
                      <a:lnTo>
                        <a:pt x="380933" y="662256"/>
                      </a:lnTo>
                      <a:lnTo>
                        <a:pt x="387574" y="663463"/>
                      </a:lnTo>
                      <a:lnTo>
                        <a:pt x="397836" y="674329"/>
                      </a:lnTo>
                      <a:lnTo>
                        <a:pt x="403873" y="677348"/>
                      </a:lnTo>
                      <a:lnTo>
                        <a:pt x="408703" y="678555"/>
                      </a:lnTo>
                      <a:lnTo>
                        <a:pt x="415947" y="677952"/>
                      </a:lnTo>
                      <a:lnTo>
                        <a:pt x="423192" y="673122"/>
                      </a:lnTo>
                      <a:lnTo>
                        <a:pt x="428625" y="664067"/>
                      </a:lnTo>
                      <a:lnTo>
                        <a:pt x="428021" y="650182"/>
                      </a:lnTo>
                      <a:lnTo>
                        <a:pt x="432851" y="648975"/>
                      </a:lnTo>
                      <a:lnTo>
                        <a:pt x="435266" y="651993"/>
                      </a:lnTo>
                      <a:lnTo>
                        <a:pt x="436473" y="659237"/>
                      </a:lnTo>
                      <a:lnTo>
                        <a:pt x="442510" y="662256"/>
                      </a:lnTo>
                      <a:lnTo>
                        <a:pt x="446736" y="656822"/>
                      </a:lnTo>
                      <a:lnTo>
                        <a:pt x="443114" y="647767"/>
                      </a:lnTo>
                      <a:lnTo>
                        <a:pt x="443717" y="641730"/>
                      </a:lnTo>
                      <a:lnTo>
                        <a:pt x="453980" y="636297"/>
                      </a:lnTo>
                      <a:lnTo>
                        <a:pt x="461225" y="633882"/>
                      </a:lnTo>
                      <a:lnTo>
                        <a:pt x="466658" y="630864"/>
                      </a:lnTo>
                      <a:lnTo>
                        <a:pt x="476921" y="632071"/>
                      </a:lnTo>
                      <a:lnTo>
                        <a:pt x="487787" y="632071"/>
                      </a:lnTo>
                      <a:lnTo>
                        <a:pt x="499257" y="636297"/>
                      </a:lnTo>
                      <a:lnTo>
                        <a:pt x="505294" y="633278"/>
                      </a:lnTo>
                      <a:lnTo>
                        <a:pt x="508917" y="629052"/>
                      </a:lnTo>
                      <a:lnTo>
                        <a:pt x="510124" y="618790"/>
                      </a:lnTo>
                      <a:lnTo>
                        <a:pt x="509520" y="610941"/>
                      </a:lnTo>
                      <a:lnTo>
                        <a:pt x="506502" y="604904"/>
                      </a:lnTo>
                      <a:lnTo>
                        <a:pt x="507709" y="589208"/>
                      </a:lnTo>
                      <a:lnTo>
                        <a:pt x="511331" y="584379"/>
                      </a:lnTo>
                      <a:lnTo>
                        <a:pt x="508917" y="577134"/>
                      </a:lnTo>
                      <a:lnTo>
                        <a:pt x="510124" y="571701"/>
                      </a:lnTo>
                      <a:lnTo>
                        <a:pt x="516161" y="565664"/>
                      </a:lnTo>
                      <a:lnTo>
                        <a:pt x="517368" y="562646"/>
                      </a:lnTo>
                      <a:lnTo>
                        <a:pt x="528839" y="559627"/>
                      </a:lnTo>
                      <a:lnTo>
                        <a:pt x="533668" y="558420"/>
                      </a:lnTo>
                      <a:lnTo>
                        <a:pt x="550572" y="557816"/>
                      </a:lnTo>
                      <a:lnTo>
                        <a:pt x="555401" y="552383"/>
                      </a:lnTo>
                      <a:lnTo>
                        <a:pt x="565061" y="547553"/>
                      </a:lnTo>
                      <a:lnTo>
                        <a:pt x="573512" y="547553"/>
                      </a:lnTo>
                      <a:lnTo>
                        <a:pt x="580757" y="544535"/>
                      </a:lnTo>
                      <a:lnTo>
                        <a:pt x="586190" y="540309"/>
                      </a:lnTo>
                      <a:lnTo>
                        <a:pt x="596453" y="540913"/>
                      </a:lnTo>
                      <a:lnTo>
                        <a:pt x="597660" y="537894"/>
                      </a:lnTo>
                      <a:lnTo>
                        <a:pt x="603697" y="534876"/>
                      </a:lnTo>
                      <a:lnTo>
                        <a:pt x="611545" y="534272"/>
                      </a:lnTo>
                      <a:lnTo>
                        <a:pt x="617582" y="528235"/>
                      </a:lnTo>
                      <a:lnTo>
                        <a:pt x="622412" y="526424"/>
                      </a:lnTo>
                      <a:lnTo>
                        <a:pt x="629656" y="534876"/>
                      </a:lnTo>
                      <a:lnTo>
                        <a:pt x="640523" y="533065"/>
                      </a:lnTo>
                      <a:lnTo>
                        <a:pt x="642938" y="534876"/>
                      </a:lnTo>
                      <a:lnTo>
                        <a:pt x="646560" y="543327"/>
                      </a:lnTo>
                      <a:lnTo>
                        <a:pt x="653200" y="547553"/>
                      </a:lnTo>
                      <a:lnTo>
                        <a:pt x="656823" y="546950"/>
                      </a:lnTo>
                      <a:lnTo>
                        <a:pt x="663463" y="541516"/>
                      </a:lnTo>
                      <a:lnTo>
                        <a:pt x="667085" y="534272"/>
                      </a:lnTo>
                      <a:lnTo>
                        <a:pt x="672519" y="530046"/>
                      </a:lnTo>
                      <a:lnTo>
                        <a:pt x="678556" y="522802"/>
                      </a:lnTo>
                      <a:lnTo>
                        <a:pt x="679159" y="517368"/>
                      </a:lnTo>
                      <a:lnTo>
                        <a:pt x="683385" y="508313"/>
                      </a:lnTo>
                      <a:lnTo>
                        <a:pt x="677348" y="505294"/>
                      </a:lnTo>
                      <a:lnTo>
                        <a:pt x="675537" y="499861"/>
                      </a:lnTo>
                      <a:lnTo>
                        <a:pt x="671915" y="499861"/>
                      </a:lnTo>
                      <a:lnTo>
                        <a:pt x="667085" y="497446"/>
                      </a:lnTo>
                      <a:lnTo>
                        <a:pt x="670708" y="487787"/>
                      </a:lnTo>
                      <a:lnTo>
                        <a:pt x="676141" y="481750"/>
                      </a:lnTo>
                      <a:lnTo>
                        <a:pt x="677952" y="475713"/>
                      </a:lnTo>
                      <a:lnTo>
                        <a:pt x="686404" y="475713"/>
                      </a:lnTo>
                      <a:lnTo>
                        <a:pt x="687007" y="470884"/>
                      </a:lnTo>
                      <a:lnTo>
                        <a:pt x="690630" y="472091"/>
                      </a:lnTo>
                      <a:lnTo>
                        <a:pt x="696667" y="470884"/>
                      </a:lnTo>
                      <a:lnTo>
                        <a:pt x="697874" y="467865"/>
                      </a:lnTo>
                      <a:lnTo>
                        <a:pt x="703307" y="463035"/>
                      </a:lnTo>
                      <a:lnTo>
                        <a:pt x="706326" y="458206"/>
                      </a:lnTo>
                      <a:lnTo>
                        <a:pt x="708741" y="458810"/>
                      </a:lnTo>
                      <a:lnTo>
                        <a:pt x="709344" y="464243"/>
                      </a:lnTo>
                      <a:lnTo>
                        <a:pt x="713570" y="463639"/>
                      </a:lnTo>
                      <a:lnTo>
                        <a:pt x="718400" y="467261"/>
                      </a:lnTo>
                      <a:lnTo>
                        <a:pt x="722625" y="465450"/>
                      </a:lnTo>
                      <a:lnTo>
                        <a:pt x="731077" y="477524"/>
                      </a:lnTo>
                      <a:lnTo>
                        <a:pt x="733492" y="487183"/>
                      </a:lnTo>
                      <a:lnTo>
                        <a:pt x="734699" y="495635"/>
                      </a:lnTo>
                      <a:lnTo>
                        <a:pt x="737718" y="499257"/>
                      </a:lnTo>
                      <a:lnTo>
                        <a:pt x="742548" y="499257"/>
                      </a:lnTo>
                      <a:lnTo>
                        <a:pt x="745566" y="508917"/>
                      </a:lnTo>
                      <a:lnTo>
                        <a:pt x="755225" y="501672"/>
                      </a:lnTo>
                      <a:lnTo>
                        <a:pt x="755829" y="504691"/>
                      </a:lnTo>
                      <a:lnTo>
                        <a:pt x="761866" y="507709"/>
                      </a:lnTo>
                      <a:lnTo>
                        <a:pt x="763073" y="513143"/>
                      </a:lnTo>
                      <a:lnTo>
                        <a:pt x="769714" y="516161"/>
                      </a:lnTo>
                      <a:lnTo>
                        <a:pt x="784806" y="519180"/>
                      </a:lnTo>
                      <a:lnTo>
                        <a:pt x="792051" y="514350"/>
                      </a:lnTo>
                      <a:lnTo>
                        <a:pt x="789636" y="509520"/>
                      </a:lnTo>
                      <a:lnTo>
                        <a:pt x="782995" y="505898"/>
                      </a:lnTo>
                      <a:lnTo>
                        <a:pt x="784806" y="503483"/>
                      </a:lnTo>
                      <a:lnTo>
                        <a:pt x="785410" y="496239"/>
                      </a:lnTo>
                      <a:lnTo>
                        <a:pt x="789636" y="495032"/>
                      </a:lnTo>
                      <a:lnTo>
                        <a:pt x="789032" y="483561"/>
                      </a:lnTo>
                      <a:lnTo>
                        <a:pt x="786014" y="483561"/>
                      </a:lnTo>
                      <a:lnTo>
                        <a:pt x="778166" y="478732"/>
                      </a:lnTo>
                      <a:lnTo>
                        <a:pt x="776355" y="481750"/>
                      </a:lnTo>
                      <a:lnTo>
                        <a:pt x="770318" y="479335"/>
                      </a:lnTo>
                      <a:lnTo>
                        <a:pt x="767299" y="484769"/>
                      </a:lnTo>
                      <a:lnTo>
                        <a:pt x="760055" y="479939"/>
                      </a:lnTo>
                      <a:lnTo>
                        <a:pt x="743151" y="474506"/>
                      </a:lnTo>
                      <a:lnTo>
                        <a:pt x="745566" y="469072"/>
                      </a:lnTo>
                      <a:lnTo>
                        <a:pt x="749188" y="464847"/>
                      </a:lnTo>
                      <a:lnTo>
                        <a:pt x="744359" y="455791"/>
                      </a:lnTo>
                      <a:lnTo>
                        <a:pt x="750396" y="451565"/>
                      </a:lnTo>
                      <a:lnTo>
                        <a:pt x="751603" y="456395"/>
                      </a:lnTo>
                      <a:lnTo>
                        <a:pt x="755225" y="462432"/>
                      </a:lnTo>
                      <a:lnTo>
                        <a:pt x="760659" y="464243"/>
                      </a:lnTo>
                      <a:lnTo>
                        <a:pt x="761866" y="460017"/>
                      </a:lnTo>
                      <a:lnTo>
                        <a:pt x="766092" y="460017"/>
                      </a:lnTo>
                      <a:lnTo>
                        <a:pt x="768506" y="455791"/>
                      </a:lnTo>
                      <a:lnTo>
                        <a:pt x="769110" y="450358"/>
                      </a:lnTo>
                      <a:lnTo>
                        <a:pt x="770921" y="446132"/>
                      </a:lnTo>
                      <a:lnTo>
                        <a:pt x="781788" y="441303"/>
                      </a:lnTo>
                      <a:lnTo>
                        <a:pt x="784203" y="438284"/>
                      </a:lnTo>
                      <a:lnTo>
                        <a:pt x="791447" y="441906"/>
                      </a:lnTo>
                      <a:lnTo>
                        <a:pt x="798691" y="444321"/>
                      </a:lnTo>
                      <a:lnTo>
                        <a:pt x="804125" y="449754"/>
                      </a:lnTo>
                      <a:lnTo>
                        <a:pt x="800503" y="452773"/>
                      </a:lnTo>
                      <a:lnTo>
                        <a:pt x="802917" y="456395"/>
                      </a:lnTo>
                      <a:lnTo>
                        <a:pt x="809558" y="453376"/>
                      </a:lnTo>
                      <a:lnTo>
                        <a:pt x="818613" y="453980"/>
                      </a:lnTo>
                      <a:lnTo>
                        <a:pt x="822839" y="456395"/>
                      </a:lnTo>
                      <a:lnTo>
                        <a:pt x="838535" y="460017"/>
                      </a:lnTo>
                      <a:lnTo>
                        <a:pt x="840346" y="462432"/>
                      </a:lnTo>
                      <a:lnTo>
                        <a:pt x="845780" y="456998"/>
                      </a:lnTo>
                      <a:lnTo>
                        <a:pt x="845176" y="453376"/>
                      </a:lnTo>
                      <a:lnTo>
                        <a:pt x="846987" y="447339"/>
                      </a:lnTo>
                      <a:lnTo>
                        <a:pt x="845176" y="443717"/>
                      </a:lnTo>
                      <a:lnTo>
                        <a:pt x="847591" y="441303"/>
                      </a:lnTo>
                      <a:lnTo>
                        <a:pt x="848195" y="436473"/>
                      </a:lnTo>
                      <a:lnTo>
                        <a:pt x="851817" y="437680"/>
                      </a:lnTo>
                      <a:lnTo>
                        <a:pt x="857250" y="436473"/>
                      </a:lnTo>
                      <a:lnTo>
                        <a:pt x="857250" y="431644"/>
                      </a:lnTo>
                      <a:lnTo>
                        <a:pt x="855439" y="424399"/>
                      </a:lnTo>
                      <a:lnTo>
                        <a:pt x="860872" y="423795"/>
                      </a:lnTo>
                      <a:lnTo>
                        <a:pt x="865702" y="427418"/>
                      </a:lnTo>
                      <a:lnTo>
                        <a:pt x="871739" y="429229"/>
                      </a:lnTo>
                      <a:lnTo>
                        <a:pt x="880190" y="428021"/>
                      </a:lnTo>
                      <a:lnTo>
                        <a:pt x="883813" y="423795"/>
                      </a:lnTo>
                      <a:lnTo>
                        <a:pt x="888039" y="423795"/>
                      </a:lnTo>
                      <a:lnTo>
                        <a:pt x="892264" y="421984"/>
                      </a:lnTo>
                      <a:lnTo>
                        <a:pt x="904942" y="417758"/>
                      </a:lnTo>
                      <a:lnTo>
                        <a:pt x="908564" y="417758"/>
                      </a:lnTo>
                      <a:lnTo>
                        <a:pt x="912187" y="412929"/>
                      </a:lnTo>
                      <a:lnTo>
                        <a:pt x="910375" y="410514"/>
                      </a:lnTo>
                      <a:lnTo>
                        <a:pt x="910375" y="402062"/>
                      </a:lnTo>
                      <a:lnTo>
                        <a:pt x="913998" y="397233"/>
                      </a:lnTo>
                      <a:lnTo>
                        <a:pt x="920035" y="398440"/>
                      </a:lnTo>
                      <a:lnTo>
                        <a:pt x="930297" y="399044"/>
                      </a:lnTo>
                      <a:lnTo>
                        <a:pt x="934523" y="395422"/>
                      </a:lnTo>
                      <a:lnTo>
                        <a:pt x="941164" y="383951"/>
                      </a:lnTo>
                      <a:lnTo>
                        <a:pt x="945390" y="384555"/>
                      </a:lnTo>
                      <a:lnTo>
                        <a:pt x="947201" y="388177"/>
                      </a:lnTo>
                      <a:lnTo>
                        <a:pt x="954445" y="391196"/>
                      </a:lnTo>
                      <a:lnTo>
                        <a:pt x="960482" y="389988"/>
                      </a:lnTo>
                      <a:lnTo>
                        <a:pt x="965916" y="385762"/>
                      </a:lnTo>
                      <a:lnTo>
                        <a:pt x="976782" y="371274"/>
                      </a:lnTo>
                      <a:lnTo>
                        <a:pt x="978593" y="351351"/>
                      </a:lnTo>
                      <a:lnTo>
                        <a:pt x="982819" y="344107"/>
                      </a:lnTo>
                      <a:lnTo>
                        <a:pt x="978593" y="340485"/>
                      </a:lnTo>
                      <a:lnTo>
                        <a:pt x="980404" y="336259"/>
                      </a:lnTo>
                      <a:lnTo>
                        <a:pt x="985234" y="332033"/>
                      </a:lnTo>
                      <a:lnTo>
                        <a:pt x="988856" y="324185"/>
                      </a:lnTo>
                      <a:lnTo>
                        <a:pt x="992478" y="319356"/>
                      </a:lnTo>
                      <a:lnTo>
                        <a:pt x="993082" y="312715"/>
                      </a:lnTo>
                      <a:lnTo>
                        <a:pt x="994893" y="310300"/>
                      </a:lnTo>
                      <a:lnTo>
                        <a:pt x="1000326" y="307282"/>
                      </a:lnTo>
                      <a:lnTo>
                        <a:pt x="1003345" y="303056"/>
                      </a:lnTo>
                      <a:lnTo>
                        <a:pt x="1014211" y="302452"/>
                      </a:lnTo>
                      <a:lnTo>
                        <a:pt x="1019041" y="298226"/>
                      </a:lnTo>
                      <a:lnTo>
                        <a:pt x="1020248" y="295208"/>
                      </a:lnTo>
                      <a:lnTo>
                        <a:pt x="1025078" y="290982"/>
                      </a:lnTo>
                      <a:lnTo>
                        <a:pt x="1029907" y="290982"/>
                      </a:lnTo>
                      <a:lnTo>
                        <a:pt x="1032322" y="288567"/>
                      </a:lnTo>
                      <a:lnTo>
                        <a:pt x="1035944" y="287963"/>
                      </a:lnTo>
                      <a:lnTo>
                        <a:pt x="1038963" y="285549"/>
                      </a:lnTo>
                      <a:lnTo>
                        <a:pt x="1035944" y="280115"/>
                      </a:lnTo>
                      <a:lnTo>
                        <a:pt x="1031115" y="274682"/>
                      </a:lnTo>
                      <a:lnTo>
                        <a:pt x="1037152" y="270456"/>
                      </a:lnTo>
                      <a:lnTo>
                        <a:pt x="1040170" y="265627"/>
                      </a:lnTo>
                      <a:lnTo>
                        <a:pt x="1046811" y="262608"/>
                      </a:lnTo>
                      <a:lnTo>
                        <a:pt x="1049829" y="262608"/>
                      </a:lnTo>
                      <a:lnTo>
                        <a:pt x="1060092" y="258382"/>
                      </a:lnTo>
                      <a:lnTo>
                        <a:pt x="1063111" y="255967"/>
                      </a:lnTo>
                      <a:lnTo>
                        <a:pt x="1067940" y="255364"/>
                      </a:lnTo>
                      <a:lnTo>
                        <a:pt x="1081222" y="246912"/>
                      </a:lnTo>
                      <a:lnTo>
                        <a:pt x="1081222" y="242082"/>
                      </a:lnTo>
                      <a:lnTo>
                        <a:pt x="1086051" y="239064"/>
                      </a:lnTo>
                      <a:lnTo>
                        <a:pt x="1093296" y="242082"/>
                      </a:lnTo>
                      <a:lnTo>
                        <a:pt x="1095710" y="237856"/>
                      </a:lnTo>
                      <a:lnTo>
                        <a:pt x="1099936" y="240271"/>
                      </a:lnTo>
                      <a:lnTo>
                        <a:pt x="1107784" y="241479"/>
                      </a:lnTo>
                      <a:lnTo>
                        <a:pt x="1108388" y="243893"/>
                      </a:lnTo>
                      <a:lnTo>
                        <a:pt x="1115029" y="242686"/>
                      </a:lnTo>
                      <a:lnTo>
                        <a:pt x="1117444" y="249327"/>
                      </a:lnTo>
                      <a:lnTo>
                        <a:pt x="1121669" y="249930"/>
                      </a:lnTo>
                      <a:lnTo>
                        <a:pt x="1125895" y="252949"/>
                      </a:lnTo>
                      <a:lnTo>
                        <a:pt x="1130121" y="253553"/>
                      </a:lnTo>
                      <a:lnTo>
                        <a:pt x="1130725" y="255967"/>
                      </a:lnTo>
                      <a:lnTo>
                        <a:pt x="1136158" y="254760"/>
                      </a:lnTo>
                      <a:lnTo>
                        <a:pt x="1136762" y="249327"/>
                      </a:lnTo>
                      <a:lnTo>
                        <a:pt x="1134347" y="244497"/>
                      </a:lnTo>
                      <a:lnTo>
                        <a:pt x="1140384" y="238460"/>
                      </a:lnTo>
                      <a:lnTo>
                        <a:pt x="1144006" y="243290"/>
                      </a:lnTo>
                      <a:lnTo>
                        <a:pt x="1147628" y="240875"/>
                      </a:lnTo>
                      <a:lnTo>
                        <a:pt x="1150647" y="241479"/>
                      </a:lnTo>
                      <a:lnTo>
                        <a:pt x="1151854" y="233631"/>
                      </a:lnTo>
                      <a:lnTo>
                        <a:pt x="1149439" y="231216"/>
                      </a:lnTo>
                      <a:lnTo>
                        <a:pt x="1150043" y="220953"/>
                      </a:lnTo>
                      <a:lnTo>
                        <a:pt x="1154873" y="224575"/>
                      </a:lnTo>
                      <a:lnTo>
                        <a:pt x="1156684" y="221557"/>
                      </a:lnTo>
                      <a:lnTo>
                        <a:pt x="1153062" y="216727"/>
                      </a:lnTo>
                      <a:lnTo>
                        <a:pt x="1145214" y="213709"/>
                      </a:lnTo>
                      <a:lnTo>
                        <a:pt x="1144006" y="209483"/>
                      </a:lnTo>
                      <a:lnTo>
                        <a:pt x="1149439" y="205257"/>
                      </a:lnTo>
                      <a:lnTo>
                        <a:pt x="1149439" y="201635"/>
                      </a:lnTo>
                      <a:lnTo>
                        <a:pt x="1150647" y="193787"/>
                      </a:lnTo>
                      <a:lnTo>
                        <a:pt x="1156684" y="193183"/>
                      </a:lnTo>
                      <a:lnTo>
                        <a:pt x="1159702" y="190165"/>
                      </a:lnTo>
                      <a:lnTo>
                        <a:pt x="1162117" y="185335"/>
                      </a:lnTo>
                      <a:lnTo>
                        <a:pt x="1160306" y="182920"/>
                      </a:lnTo>
                      <a:lnTo>
                        <a:pt x="1152458" y="181713"/>
                      </a:lnTo>
                      <a:lnTo>
                        <a:pt x="1155476" y="177487"/>
                      </a:lnTo>
                      <a:lnTo>
                        <a:pt x="1158495" y="175072"/>
                      </a:lnTo>
                      <a:lnTo>
                        <a:pt x="1160306" y="170846"/>
                      </a:lnTo>
                      <a:lnTo>
                        <a:pt x="1155476" y="162998"/>
                      </a:lnTo>
                      <a:lnTo>
                        <a:pt x="1159099" y="159980"/>
                      </a:lnTo>
                      <a:lnTo>
                        <a:pt x="1163324" y="153943"/>
                      </a:lnTo>
                      <a:lnTo>
                        <a:pt x="1169361" y="148509"/>
                      </a:lnTo>
                      <a:lnTo>
                        <a:pt x="1171173" y="143680"/>
                      </a:lnTo>
                      <a:lnTo>
                        <a:pt x="1179021" y="135228"/>
                      </a:lnTo>
                      <a:lnTo>
                        <a:pt x="1180228" y="140057"/>
                      </a:lnTo>
                      <a:lnTo>
                        <a:pt x="1183850" y="141869"/>
                      </a:lnTo>
                      <a:lnTo>
                        <a:pt x="1188680" y="142472"/>
                      </a:lnTo>
                      <a:lnTo>
                        <a:pt x="1189887" y="150320"/>
                      </a:lnTo>
                      <a:lnTo>
                        <a:pt x="1187472" y="152735"/>
                      </a:lnTo>
                      <a:lnTo>
                        <a:pt x="1190491" y="155754"/>
                      </a:lnTo>
                      <a:lnTo>
                        <a:pt x="1195321" y="156961"/>
                      </a:lnTo>
                      <a:lnTo>
                        <a:pt x="1191698" y="162998"/>
                      </a:lnTo>
                      <a:lnTo>
                        <a:pt x="1191698" y="167224"/>
                      </a:lnTo>
                      <a:lnTo>
                        <a:pt x="1195924" y="167224"/>
                      </a:lnTo>
                      <a:lnTo>
                        <a:pt x="1204980" y="172657"/>
                      </a:lnTo>
                      <a:lnTo>
                        <a:pt x="1202565" y="182316"/>
                      </a:lnTo>
                      <a:lnTo>
                        <a:pt x="1201961" y="190768"/>
                      </a:lnTo>
                      <a:lnTo>
                        <a:pt x="1202565" y="196202"/>
                      </a:lnTo>
                      <a:lnTo>
                        <a:pt x="1206791" y="198013"/>
                      </a:lnTo>
                      <a:lnTo>
                        <a:pt x="1211620" y="202239"/>
                      </a:lnTo>
                      <a:lnTo>
                        <a:pt x="1214639" y="198616"/>
                      </a:lnTo>
                      <a:lnTo>
                        <a:pt x="1214035" y="196202"/>
                      </a:lnTo>
                      <a:lnTo>
                        <a:pt x="1218261" y="188957"/>
                      </a:lnTo>
                      <a:lnTo>
                        <a:pt x="1224902" y="187750"/>
                      </a:lnTo>
                      <a:lnTo>
                        <a:pt x="1226109" y="184731"/>
                      </a:lnTo>
                      <a:lnTo>
                        <a:pt x="1232750" y="184128"/>
                      </a:lnTo>
                      <a:lnTo>
                        <a:pt x="1235768" y="180505"/>
                      </a:lnTo>
                      <a:lnTo>
                        <a:pt x="1239390" y="179902"/>
                      </a:lnTo>
                      <a:lnTo>
                        <a:pt x="1243013" y="175072"/>
                      </a:lnTo>
                      <a:lnTo>
                        <a:pt x="1241202" y="171450"/>
                      </a:lnTo>
                      <a:lnTo>
                        <a:pt x="1243616" y="167224"/>
                      </a:lnTo>
                      <a:lnTo>
                        <a:pt x="1241202" y="160583"/>
                      </a:lnTo>
                      <a:lnTo>
                        <a:pt x="1246031" y="156357"/>
                      </a:lnTo>
                      <a:lnTo>
                        <a:pt x="1249653" y="157565"/>
                      </a:lnTo>
                      <a:lnTo>
                        <a:pt x="1260520" y="163602"/>
                      </a:lnTo>
                      <a:lnTo>
                        <a:pt x="1263538" y="162394"/>
                      </a:lnTo>
                      <a:lnTo>
                        <a:pt x="1264746" y="166620"/>
                      </a:lnTo>
                      <a:lnTo>
                        <a:pt x="1263538" y="169639"/>
                      </a:lnTo>
                      <a:lnTo>
                        <a:pt x="1267160" y="174468"/>
                      </a:lnTo>
                      <a:lnTo>
                        <a:pt x="1272594" y="173261"/>
                      </a:lnTo>
                      <a:lnTo>
                        <a:pt x="1273197" y="175676"/>
                      </a:lnTo>
                      <a:lnTo>
                        <a:pt x="1282253" y="175072"/>
                      </a:lnTo>
                      <a:lnTo>
                        <a:pt x="1285875" y="170242"/>
                      </a:lnTo>
                      <a:lnTo>
                        <a:pt x="1289497" y="169639"/>
                      </a:lnTo>
                      <a:lnTo>
                        <a:pt x="1295534" y="171450"/>
                      </a:lnTo>
                      <a:lnTo>
                        <a:pt x="1300968" y="166620"/>
                      </a:lnTo>
                      <a:lnTo>
                        <a:pt x="1296138" y="161187"/>
                      </a:lnTo>
                      <a:lnTo>
                        <a:pt x="1294931" y="157565"/>
                      </a:lnTo>
                      <a:lnTo>
                        <a:pt x="1290705" y="154546"/>
                      </a:lnTo>
                      <a:lnTo>
                        <a:pt x="1297949" y="147906"/>
                      </a:lnTo>
                      <a:lnTo>
                        <a:pt x="1302175" y="140057"/>
                      </a:lnTo>
                      <a:lnTo>
                        <a:pt x="1305797" y="136435"/>
                      </a:lnTo>
                      <a:lnTo>
                        <a:pt x="1302175" y="134020"/>
                      </a:lnTo>
                      <a:lnTo>
                        <a:pt x="1297949" y="135832"/>
                      </a:lnTo>
                      <a:lnTo>
                        <a:pt x="1293723" y="132813"/>
                      </a:lnTo>
                      <a:lnTo>
                        <a:pt x="1292516" y="129191"/>
                      </a:lnTo>
                      <a:lnTo>
                        <a:pt x="1294931" y="126172"/>
                      </a:lnTo>
                      <a:lnTo>
                        <a:pt x="1288894" y="123758"/>
                      </a:lnTo>
                      <a:lnTo>
                        <a:pt x="1291308" y="120136"/>
                      </a:lnTo>
                      <a:lnTo>
                        <a:pt x="1289497" y="112891"/>
                      </a:lnTo>
                      <a:lnTo>
                        <a:pt x="1297949" y="109873"/>
                      </a:lnTo>
                      <a:lnTo>
                        <a:pt x="1303382" y="98403"/>
                      </a:lnTo>
                      <a:lnTo>
                        <a:pt x="1305193" y="97195"/>
                      </a:lnTo>
                      <a:lnTo>
                        <a:pt x="1314852" y="83914"/>
                      </a:lnTo>
                      <a:lnTo>
                        <a:pt x="1318475" y="86932"/>
                      </a:lnTo>
                      <a:lnTo>
                        <a:pt x="1322097" y="86932"/>
                      </a:lnTo>
                      <a:lnTo>
                        <a:pt x="1325719" y="89951"/>
                      </a:lnTo>
                      <a:lnTo>
                        <a:pt x="1332964" y="89347"/>
                      </a:lnTo>
                      <a:lnTo>
                        <a:pt x="1336586" y="86932"/>
                      </a:lnTo>
                      <a:lnTo>
                        <a:pt x="1342019" y="87536"/>
                      </a:lnTo>
                      <a:lnTo>
                        <a:pt x="1345038" y="80292"/>
                      </a:lnTo>
                      <a:lnTo>
                        <a:pt x="1349867" y="78481"/>
                      </a:lnTo>
                      <a:lnTo>
                        <a:pt x="1354093" y="78481"/>
                      </a:lnTo>
                      <a:lnTo>
                        <a:pt x="1361337" y="76669"/>
                      </a:lnTo>
                      <a:lnTo>
                        <a:pt x="1364356" y="73651"/>
                      </a:lnTo>
                      <a:lnTo>
                        <a:pt x="1369185" y="70632"/>
                      </a:lnTo>
                      <a:lnTo>
                        <a:pt x="1369185" y="67010"/>
                      </a:lnTo>
                      <a:lnTo>
                        <a:pt x="1372204" y="65199"/>
                      </a:lnTo>
                      <a:lnTo>
                        <a:pt x="1367374" y="62784"/>
                      </a:lnTo>
                      <a:lnTo>
                        <a:pt x="1358922" y="51918"/>
                      </a:lnTo>
                      <a:lnTo>
                        <a:pt x="1361941" y="49503"/>
                      </a:lnTo>
                      <a:lnTo>
                        <a:pt x="1361941" y="44673"/>
                      </a:lnTo>
                      <a:lnTo>
                        <a:pt x="1354697" y="43466"/>
                      </a:lnTo>
                      <a:lnTo>
                        <a:pt x="1351678" y="41655"/>
                      </a:lnTo>
                      <a:lnTo>
                        <a:pt x="1350471" y="36222"/>
                      </a:lnTo>
                      <a:lnTo>
                        <a:pt x="1355300" y="36825"/>
                      </a:lnTo>
                      <a:lnTo>
                        <a:pt x="1356508" y="33203"/>
                      </a:lnTo>
                      <a:lnTo>
                        <a:pt x="1360734" y="32599"/>
                      </a:lnTo>
                      <a:lnTo>
                        <a:pt x="1361941" y="35618"/>
                      </a:lnTo>
                      <a:lnTo>
                        <a:pt x="1367374" y="34410"/>
                      </a:lnTo>
                      <a:lnTo>
                        <a:pt x="1371600" y="35014"/>
                      </a:lnTo>
                      <a:lnTo>
                        <a:pt x="1372807" y="39240"/>
                      </a:lnTo>
                      <a:lnTo>
                        <a:pt x="1378844" y="45881"/>
                      </a:lnTo>
                      <a:lnTo>
                        <a:pt x="1382466" y="43466"/>
                      </a:lnTo>
                      <a:lnTo>
                        <a:pt x="1380052" y="34410"/>
                      </a:lnTo>
                      <a:lnTo>
                        <a:pt x="1384881" y="34410"/>
                      </a:lnTo>
                      <a:lnTo>
                        <a:pt x="1385485" y="28977"/>
                      </a:lnTo>
                      <a:lnTo>
                        <a:pt x="1383070" y="26562"/>
                      </a:lnTo>
                      <a:lnTo>
                        <a:pt x="1381863" y="19318"/>
                      </a:lnTo>
                      <a:lnTo>
                        <a:pt x="1385485" y="18111"/>
                      </a:lnTo>
                      <a:lnTo>
                        <a:pt x="1389107" y="22337"/>
                      </a:lnTo>
                      <a:lnTo>
                        <a:pt x="1391522" y="20525"/>
                      </a:lnTo>
                      <a:lnTo>
                        <a:pt x="1393333" y="28977"/>
                      </a:lnTo>
                      <a:lnTo>
                        <a:pt x="1389711" y="31996"/>
                      </a:lnTo>
                      <a:lnTo>
                        <a:pt x="1396955" y="33203"/>
                      </a:lnTo>
                      <a:lnTo>
                        <a:pt x="1397559" y="28373"/>
                      </a:lnTo>
                      <a:lnTo>
                        <a:pt x="1401181" y="23544"/>
                      </a:lnTo>
                      <a:lnTo>
                        <a:pt x="1406614" y="23544"/>
                      </a:lnTo>
                      <a:lnTo>
                        <a:pt x="1407218" y="18111"/>
                      </a:lnTo>
                      <a:lnTo>
                        <a:pt x="1412048" y="13885"/>
                      </a:lnTo>
                      <a:lnTo>
                        <a:pt x="1409633" y="8452"/>
                      </a:lnTo>
                      <a:lnTo>
                        <a:pt x="1415066" y="3622"/>
                      </a:lnTo>
                      <a:lnTo>
                        <a:pt x="1420500" y="9659"/>
                      </a:lnTo>
                      <a:lnTo>
                        <a:pt x="1422914" y="15092"/>
                      </a:lnTo>
                      <a:lnTo>
                        <a:pt x="1422914" y="18111"/>
                      </a:lnTo>
                      <a:lnTo>
                        <a:pt x="1428348" y="24751"/>
                      </a:lnTo>
                      <a:lnTo>
                        <a:pt x="1431366" y="31392"/>
                      </a:lnTo>
                      <a:lnTo>
                        <a:pt x="1432574" y="37429"/>
                      </a:lnTo>
                      <a:lnTo>
                        <a:pt x="1436799" y="39844"/>
                      </a:lnTo>
                      <a:lnTo>
                        <a:pt x="1441025" y="52521"/>
                      </a:lnTo>
                      <a:lnTo>
                        <a:pt x="1446459" y="56144"/>
                      </a:lnTo>
                      <a:lnTo>
                        <a:pt x="1447666" y="51918"/>
                      </a:lnTo>
                      <a:lnTo>
                        <a:pt x="1444044" y="46484"/>
                      </a:lnTo>
                      <a:lnTo>
                        <a:pt x="1442233" y="46484"/>
                      </a:lnTo>
                      <a:lnTo>
                        <a:pt x="1439818" y="38033"/>
                      </a:lnTo>
                      <a:lnTo>
                        <a:pt x="1450081" y="32599"/>
                      </a:lnTo>
                      <a:lnTo>
                        <a:pt x="1455514" y="45881"/>
                      </a:lnTo>
                      <a:lnTo>
                        <a:pt x="1454910" y="48899"/>
                      </a:lnTo>
                      <a:lnTo>
                        <a:pt x="1459136" y="54333"/>
                      </a:lnTo>
                      <a:lnTo>
                        <a:pt x="1460947" y="58558"/>
                      </a:lnTo>
                      <a:lnTo>
                        <a:pt x="1459740" y="62181"/>
                      </a:lnTo>
                      <a:lnTo>
                        <a:pt x="1460947" y="67010"/>
                      </a:lnTo>
                      <a:lnTo>
                        <a:pt x="1465777" y="69425"/>
                      </a:lnTo>
                      <a:lnTo>
                        <a:pt x="1466984" y="74255"/>
                      </a:lnTo>
                      <a:lnTo>
                        <a:pt x="1474229" y="74255"/>
                      </a:lnTo>
                      <a:lnTo>
                        <a:pt x="1479662" y="76669"/>
                      </a:lnTo>
                      <a:lnTo>
                        <a:pt x="1489925" y="77877"/>
                      </a:lnTo>
                      <a:lnTo>
                        <a:pt x="1494754" y="77273"/>
                      </a:lnTo>
                      <a:lnTo>
                        <a:pt x="1503206" y="81499"/>
                      </a:lnTo>
                      <a:lnTo>
                        <a:pt x="1506828" y="88743"/>
                      </a:lnTo>
                      <a:lnTo>
                        <a:pt x="1512261" y="89951"/>
                      </a:lnTo>
                      <a:lnTo>
                        <a:pt x="1521317" y="85121"/>
                      </a:lnTo>
                      <a:lnTo>
                        <a:pt x="1526147" y="83310"/>
                      </a:lnTo>
                      <a:lnTo>
                        <a:pt x="1530372" y="84518"/>
                      </a:lnTo>
                      <a:lnTo>
                        <a:pt x="1538221" y="80895"/>
                      </a:lnTo>
                      <a:lnTo>
                        <a:pt x="1544258" y="83914"/>
                      </a:lnTo>
                      <a:lnTo>
                        <a:pt x="1552106" y="79688"/>
                      </a:lnTo>
                      <a:lnTo>
                        <a:pt x="1555124" y="82103"/>
                      </a:lnTo>
                      <a:lnTo>
                        <a:pt x="1561765" y="79688"/>
                      </a:lnTo>
                      <a:lnTo>
                        <a:pt x="1564180" y="75462"/>
                      </a:lnTo>
                      <a:lnTo>
                        <a:pt x="1562369" y="63992"/>
                      </a:lnTo>
                      <a:lnTo>
                        <a:pt x="1568405" y="67010"/>
                      </a:lnTo>
                      <a:lnTo>
                        <a:pt x="1573235" y="59766"/>
                      </a:lnTo>
                      <a:lnTo>
                        <a:pt x="1578065" y="57955"/>
                      </a:lnTo>
                      <a:lnTo>
                        <a:pt x="1581687" y="53125"/>
                      </a:lnTo>
                      <a:lnTo>
                        <a:pt x="1579272" y="47692"/>
                      </a:lnTo>
                      <a:lnTo>
                        <a:pt x="1584101" y="41655"/>
                      </a:lnTo>
                      <a:lnTo>
                        <a:pt x="1582894" y="39240"/>
                      </a:lnTo>
                      <a:lnTo>
                        <a:pt x="1581083" y="38033"/>
                      </a:lnTo>
                      <a:lnTo>
                        <a:pt x="1581083" y="36825"/>
                      </a:lnTo>
                      <a:lnTo>
                        <a:pt x="1581083" y="35618"/>
                      </a:lnTo>
                      <a:lnTo>
                        <a:pt x="1578668" y="31996"/>
                      </a:lnTo>
                      <a:lnTo>
                        <a:pt x="1579876" y="31392"/>
                      </a:lnTo>
                      <a:lnTo>
                        <a:pt x="1580479" y="32599"/>
                      </a:lnTo>
                      <a:lnTo>
                        <a:pt x="1583498" y="35014"/>
                      </a:lnTo>
                      <a:lnTo>
                        <a:pt x="1590742" y="38636"/>
                      </a:lnTo>
                      <a:lnTo>
                        <a:pt x="1591346" y="36222"/>
                      </a:lnTo>
                      <a:lnTo>
                        <a:pt x="1591949" y="32599"/>
                      </a:lnTo>
                      <a:lnTo>
                        <a:pt x="1594364" y="29581"/>
                      </a:lnTo>
                      <a:lnTo>
                        <a:pt x="1596175" y="28977"/>
                      </a:lnTo>
                      <a:lnTo>
                        <a:pt x="1598590" y="25959"/>
                      </a:lnTo>
                      <a:lnTo>
                        <a:pt x="1606438" y="24148"/>
                      </a:lnTo>
                      <a:lnTo>
                        <a:pt x="1608853" y="21129"/>
                      </a:lnTo>
                      <a:lnTo>
                        <a:pt x="1610664" y="20525"/>
                      </a:lnTo>
                      <a:lnTo>
                        <a:pt x="1611268" y="21129"/>
                      </a:lnTo>
                      <a:lnTo>
                        <a:pt x="1612475" y="21129"/>
                      </a:lnTo>
                      <a:lnTo>
                        <a:pt x="1611871" y="26562"/>
                      </a:lnTo>
                      <a:lnTo>
                        <a:pt x="1614890" y="31392"/>
                      </a:lnTo>
                      <a:lnTo>
                        <a:pt x="1617305" y="27166"/>
                      </a:lnTo>
                      <a:lnTo>
                        <a:pt x="1619116" y="24148"/>
                      </a:lnTo>
                      <a:lnTo>
                        <a:pt x="1619720" y="23544"/>
                      </a:lnTo>
                      <a:lnTo>
                        <a:pt x="1622134" y="22337"/>
                      </a:lnTo>
                      <a:lnTo>
                        <a:pt x="1622134" y="22940"/>
                      </a:lnTo>
                      <a:lnTo>
                        <a:pt x="1623342" y="23544"/>
                      </a:lnTo>
                      <a:lnTo>
                        <a:pt x="1623945" y="22337"/>
                      </a:lnTo>
                      <a:lnTo>
                        <a:pt x="1626964" y="22337"/>
                      </a:lnTo>
                      <a:lnTo>
                        <a:pt x="1628171" y="22940"/>
                      </a:lnTo>
                      <a:lnTo>
                        <a:pt x="1629982" y="20525"/>
                      </a:lnTo>
                      <a:lnTo>
                        <a:pt x="1626360" y="15696"/>
                      </a:lnTo>
                      <a:lnTo>
                        <a:pt x="1623945" y="18111"/>
                      </a:lnTo>
                      <a:lnTo>
                        <a:pt x="1622134" y="18111"/>
                      </a:lnTo>
                      <a:lnTo>
                        <a:pt x="1620323" y="14489"/>
                      </a:lnTo>
                      <a:lnTo>
                        <a:pt x="1618512" y="14489"/>
                      </a:lnTo>
                      <a:lnTo>
                        <a:pt x="1616097" y="9055"/>
                      </a:lnTo>
                      <a:lnTo>
                        <a:pt x="1623342" y="7848"/>
                      </a:lnTo>
                      <a:lnTo>
                        <a:pt x="1626964" y="7848"/>
                      </a:lnTo>
                      <a:lnTo>
                        <a:pt x="1629982" y="7848"/>
                      </a:lnTo>
                      <a:lnTo>
                        <a:pt x="1630586" y="4830"/>
                      </a:lnTo>
                      <a:lnTo>
                        <a:pt x="1630586" y="0"/>
                      </a:lnTo>
                      <a:lnTo>
                        <a:pt x="1634208" y="1811"/>
                      </a:lnTo>
                      <a:lnTo>
                        <a:pt x="1637227" y="1811"/>
                      </a:lnTo>
                      <a:lnTo>
                        <a:pt x="1638434" y="1207"/>
                      </a:lnTo>
                      <a:lnTo>
                        <a:pt x="1637227" y="7244"/>
                      </a:lnTo>
                      <a:lnTo>
                        <a:pt x="1636623" y="7848"/>
                      </a:lnTo>
                      <a:lnTo>
                        <a:pt x="1637227" y="10263"/>
                      </a:lnTo>
                      <a:lnTo>
                        <a:pt x="1637227" y="10866"/>
                      </a:lnTo>
                      <a:lnTo>
                        <a:pt x="1641453" y="13281"/>
                      </a:lnTo>
                      <a:lnTo>
                        <a:pt x="1643868" y="15092"/>
                      </a:lnTo>
                      <a:lnTo>
                        <a:pt x="1650508" y="18714"/>
                      </a:lnTo>
                      <a:lnTo>
                        <a:pt x="1631190" y="44673"/>
                      </a:lnTo>
                      <a:lnTo>
                        <a:pt x="1619720" y="56144"/>
                      </a:lnTo>
                      <a:lnTo>
                        <a:pt x="1613079" y="64595"/>
                      </a:lnTo>
                      <a:lnTo>
                        <a:pt x="1612475" y="70029"/>
                      </a:lnTo>
                      <a:lnTo>
                        <a:pt x="1608249" y="74255"/>
                      </a:lnTo>
                      <a:lnTo>
                        <a:pt x="1607646" y="79688"/>
                      </a:lnTo>
                      <a:lnTo>
                        <a:pt x="1596779" y="88743"/>
                      </a:lnTo>
                      <a:lnTo>
                        <a:pt x="1588931" y="98403"/>
                      </a:lnTo>
                      <a:lnTo>
                        <a:pt x="1584101" y="103836"/>
                      </a:lnTo>
                      <a:lnTo>
                        <a:pt x="1584101" y="107458"/>
                      </a:lnTo>
                      <a:lnTo>
                        <a:pt x="1571424" y="120136"/>
                      </a:lnTo>
                      <a:lnTo>
                        <a:pt x="1566594" y="126776"/>
                      </a:lnTo>
                      <a:lnTo>
                        <a:pt x="1565991" y="131002"/>
                      </a:lnTo>
                      <a:lnTo>
                        <a:pt x="1549691" y="144887"/>
                      </a:lnTo>
                      <a:lnTo>
                        <a:pt x="1532787" y="161791"/>
                      </a:lnTo>
                      <a:lnTo>
                        <a:pt x="1524335" y="170846"/>
                      </a:lnTo>
                      <a:lnTo>
                        <a:pt x="1519506" y="180505"/>
                      </a:lnTo>
                      <a:lnTo>
                        <a:pt x="1520110" y="183524"/>
                      </a:lnTo>
                      <a:lnTo>
                        <a:pt x="1509243" y="191372"/>
                      </a:lnTo>
                      <a:lnTo>
                        <a:pt x="1488717" y="201635"/>
                      </a:lnTo>
                      <a:lnTo>
                        <a:pt x="1483284" y="204653"/>
                      </a:lnTo>
                      <a:lnTo>
                        <a:pt x="1473021" y="208276"/>
                      </a:lnTo>
                      <a:lnTo>
                        <a:pt x="1466381" y="213105"/>
                      </a:lnTo>
                      <a:lnTo>
                        <a:pt x="1445251" y="221557"/>
                      </a:lnTo>
                      <a:lnTo>
                        <a:pt x="1425329" y="233631"/>
                      </a:lnTo>
                      <a:lnTo>
                        <a:pt x="1419896" y="238460"/>
                      </a:lnTo>
                      <a:lnTo>
                        <a:pt x="1404200" y="249327"/>
                      </a:lnTo>
                      <a:lnTo>
                        <a:pt x="1402389" y="255364"/>
                      </a:lnTo>
                      <a:lnTo>
                        <a:pt x="1396352" y="262608"/>
                      </a:lnTo>
                      <a:lnTo>
                        <a:pt x="1387900" y="268041"/>
                      </a:lnTo>
                      <a:lnTo>
                        <a:pt x="1380655" y="273475"/>
                      </a:lnTo>
                      <a:lnTo>
                        <a:pt x="1378844" y="279512"/>
                      </a:lnTo>
                      <a:lnTo>
                        <a:pt x="1373411" y="283134"/>
                      </a:lnTo>
                      <a:lnTo>
                        <a:pt x="1371600" y="292793"/>
                      </a:lnTo>
                      <a:lnTo>
                        <a:pt x="1367978" y="296415"/>
                      </a:lnTo>
                      <a:lnTo>
                        <a:pt x="1366770" y="300037"/>
                      </a:lnTo>
                      <a:lnTo>
                        <a:pt x="1360130" y="304263"/>
                      </a:lnTo>
                      <a:lnTo>
                        <a:pt x="1357715" y="312111"/>
                      </a:lnTo>
                      <a:lnTo>
                        <a:pt x="1352886" y="314526"/>
                      </a:lnTo>
                      <a:lnTo>
                        <a:pt x="1347452" y="319356"/>
                      </a:lnTo>
                      <a:lnTo>
                        <a:pt x="1348056" y="322374"/>
                      </a:lnTo>
                      <a:lnTo>
                        <a:pt x="1340812" y="329015"/>
                      </a:lnTo>
                      <a:lnTo>
                        <a:pt x="1336586" y="331430"/>
                      </a:lnTo>
                      <a:lnTo>
                        <a:pt x="1335982" y="336259"/>
                      </a:lnTo>
                      <a:lnTo>
                        <a:pt x="1331756" y="339881"/>
                      </a:lnTo>
                      <a:lnTo>
                        <a:pt x="1322701" y="344107"/>
                      </a:lnTo>
                      <a:lnTo>
                        <a:pt x="1320286" y="347126"/>
                      </a:lnTo>
                      <a:lnTo>
                        <a:pt x="1310627" y="349540"/>
                      </a:lnTo>
                      <a:lnTo>
                        <a:pt x="1305797" y="352559"/>
                      </a:lnTo>
                      <a:lnTo>
                        <a:pt x="1290101" y="359200"/>
                      </a:lnTo>
                      <a:lnTo>
                        <a:pt x="1285271" y="365840"/>
                      </a:lnTo>
                      <a:lnTo>
                        <a:pt x="1278027" y="368859"/>
                      </a:lnTo>
                      <a:lnTo>
                        <a:pt x="1271990" y="372481"/>
                      </a:lnTo>
                      <a:lnTo>
                        <a:pt x="1263538" y="376103"/>
                      </a:lnTo>
                      <a:lnTo>
                        <a:pt x="1260520" y="378518"/>
                      </a:lnTo>
                      <a:lnTo>
                        <a:pt x="1254483" y="380329"/>
                      </a:lnTo>
                      <a:lnTo>
                        <a:pt x="1233353" y="389988"/>
                      </a:lnTo>
                      <a:lnTo>
                        <a:pt x="1212828" y="401459"/>
                      </a:lnTo>
                      <a:lnTo>
                        <a:pt x="1195321" y="412325"/>
                      </a:lnTo>
                      <a:lnTo>
                        <a:pt x="1179624" y="423795"/>
                      </a:lnTo>
                      <a:lnTo>
                        <a:pt x="1171776" y="430436"/>
                      </a:lnTo>
                      <a:lnTo>
                        <a:pt x="1157891" y="444321"/>
                      </a:lnTo>
                      <a:lnTo>
                        <a:pt x="1153665" y="447943"/>
                      </a:lnTo>
                      <a:lnTo>
                        <a:pt x="1143403" y="459413"/>
                      </a:lnTo>
                      <a:lnTo>
                        <a:pt x="1138573" y="469676"/>
                      </a:lnTo>
                      <a:lnTo>
                        <a:pt x="1139780" y="472695"/>
                      </a:lnTo>
                      <a:lnTo>
                        <a:pt x="1136762" y="476317"/>
                      </a:lnTo>
                      <a:lnTo>
                        <a:pt x="1137366" y="480543"/>
                      </a:lnTo>
                      <a:lnTo>
                        <a:pt x="1133140" y="481750"/>
                      </a:lnTo>
                      <a:lnTo>
                        <a:pt x="1133140" y="488391"/>
                      </a:lnTo>
                      <a:lnTo>
                        <a:pt x="1136762" y="495032"/>
                      </a:lnTo>
                      <a:lnTo>
                        <a:pt x="1139177" y="494428"/>
                      </a:lnTo>
                      <a:lnTo>
                        <a:pt x="1146421" y="500465"/>
                      </a:lnTo>
                      <a:lnTo>
                        <a:pt x="1150647" y="498654"/>
                      </a:lnTo>
                      <a:lnTo>
                        <a:pt x="1154873" y="500465"/>
                      </a:lnTo>
                      <a:lnTo>
                        <a:pt x="1154269" y="508313"/>
                      </a:lnTo>
                      <a:lnTo>
                        <a:pt x="1151251" y="520991"/>
                      </a:lnTo>
                      <a:lnTo>
                        <a:pt x="1151251" y="524613"/>
                      </a:lnTo>
                      <a:lnTo>
                        <a:pt x="1145214" y="525217"/>
                      </a:lnTo>
                      <a:lnTo>
                        <a:pt x="1142799" y="529442"/>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83" name="Arunachal Pradesh" descr="{&quot;Key&quot;:&quot;arunachal pradesh&quot;,&quot;Name&quot;:&quot;Arunachal Pradesh&quot;,&quot;Value&quot;:1.0,&quot;Formula&quot;:&quot;&quot;,&quot;Text&quot;:&quot;&quot;,&quot;OfficeApplication&quot;:1,&quot;HasValue&quot;:true}">
                  <a:extLst>
                    <a:ext uri="{FF2B5EF4-FFF2-40B4-BE49-F238E27FC236}">
                      <a16:creationId xmlns:a16="http://schemas.microsoft.com/office/drawing/2014/main" id="{BC1EC370-C710-47BD-A615-C48966A1CB19}"/>
                    </a:ext>
                  </a:extLst>
                </p:cNvPr>
                <p:cNvSpPr/>
                <p:nvPr/>
              </p:nvSpPr>
              <p:spPr>
                <a:xfrm>
                  <a:off x="7899244" y="1886554"/>
                  <a:ext cx="1207394" cy="651993"/>
                </a:xfrm>
                <a:custGeom>
                  <a:avLst/>
                  <a:gdLst>
                    <a:gd name="connsiteX0" fmla="*/ 761262 w 1207394"/>
                    <a:gd name="connsiteY0" fmla="*/ 648975 h 651992"/>
                    <a:gd name="connsiteX1" fmla="*/ 760659 w 1207394"/>
                    <a:gd name="connsiteY1" fmla="*/ 642938 h 651992"/>
                    <a:gd name="connsiteX2" fmla="*/ 756433 w 1207394"/>
                    <a:gd name="connsiteY2" fmla="*/ 637504 h 651992"/>
                    <a:gd name="connsiteX3" fmla="*/ 757036 w 1207394"/>
                    <a:gd name="connsiteY3" fmla="*/ 632675 h 651992"/>
                    <a:gd name="connsiteX4" fmla="*/ 761866 w 1207394"/>
                    <a:gd name="connsiteY4" fmla="*/ 626034 h 651992"/>
                    <a:gd name="connsiteX5" fmla="*/ 756433 w 1207394"/>
                    <a:gd name="connsiteY5" fmla="*/ 623016 h 651992"/>
                    <a:gd name="connsiteX6" fmla="*/ 752811 w 1207394"/>
                    <a:gd name="connsiteY6" fmla="*/ 613356 h 651992"/>
                    <a:gd name="connsiteX7" fmla="*/ 749792 w 1207394"/>
                    <a:gd name="connsiteY7" fmla="*/ 607319 h 651992"/>
                    <a:gd name="connsiteX8" fmla="*/ 755829 w 1207394"/>
                    <a:gd name="connsiteY8" fmla="*/ 602490 h 651992"/>
                    <a:gd name="connsiteX9" fmla="*/ 759451 w 1207394"/>
                    <a:gd name="connsiteY9" fmla="*/ 602490 h 651992"/>
                    <a:gd name="connsiteX10" fmla="*/ 760055 w 1207394"/>
                    <a:gd name="connsiteY10" fmla="*/ 594642 h 651992"/>
                    <a:gd name="connsiteX11" fmla="*/ 757036 w 1207394"/>
                    <a:gd name="connsiteY11" fmla="*/ 591623 h 651992"/>
                    <a:gd name="connsiteX12" fmla="*/ 754622 w 1207394"/>
                    <a:gd name="connsiteY12" fmla="*/ 584983 h 651992"/>
                    <a:gd name="connsiteX13" fmla="*/ 756433 w 1207394"/>
                    <a:gd name="connsiteY13" fmla="*/ 583172 h 651992"/>
                    <a:gd name="connsiteX14" fmla="*/ 752207 w 1207394"/>
                    <a:gd name="connsiteY14" fmla="*/ 578342 h 651992"/>
                    <a:gd name="connsiteX15" fmla="*/ 753414 w 1207394"/>
                    <a:gd name="connsiteY15" fmla="*/ 574720 h 651992"/>
                    <a:gd name="connsiteX16" fmla="*/ 752207 w 1207394"/>
                    <a:gd name="connsiteY16" fmla="*/ 566268 h 651992"/>
                    <a:gd name="connsiteX17" fmla="*/ 755829 w 1207394"/>
                    <a:gd name="connsiteY17" fmla="*/ 568683 h 651992"/>
                    <a:gd name="connsiteX18" fmla="*/ 761262 w 1207394"/>
                    <a:gd name="connsiteY18" fmla="*/ 566268 h 651992"/>
                    <a:gd name="connsiteX19" fmla="*/ 763073 w 1207394"/>
                    <a:gd name="connsiteY19" fmla="*/ 569286 h 651992"/>
                    <a:gd name="connsiteX20" fmla="*/ 769110 w 1207394"/>
                    <a:gd name="connsiteY20" fmla="*/ 565061 h 651992"/>
                    <a:gd name="connsiteX21" fmla="*/ 769110 w 1207394"/>
                    <a:gd name="connsiteY21" fmla="*/ 563249 h 651992"/>
                    <a:gd name="connsiteX22" fmla="*/ 775751 w 1207394"/>
                    <a:gd name="connsiteY22" fmla="*/ 557816 h 651992"/>
                    <a:gd name="connsiteX23" fmla="*/ 787825 w 1207394"/>
                    <a:gd name="connsiteY23" fmla="*/ 549968 h 651992"/>
                    <a:gd name="connsiteX24" fmla="*/ 795673 w 1207394"/>
                    <a:gd name="connsiteY24" fmla="*/ 548761 h 651992"/>
                    <a:gd name="connsiteX25" fmla="*/ 798691 w 1207394"/>
                    <a:gd name="connsiteY25" fmla="*/ 546346 h 651992"/>
                    <a:gd name="connsiteX26" fmla="*/ 806539 w 1207394"/>
                    <a:gd name="connsiteY26" fmla="*/ 545139 h 651992"/>
                    <a:gd name="connsiteX27" fmla="*/ 808350 w 1207394"/>
                    <a:gd name="connsiteY27" fmla="*/ 540309 h 651992"/>
                    <a:gd name="connsiteX28" fmla="*/ 808350 w 1207394"/>
                    <a:gd name="connsiteY28" fmla="*/ 532461 h 651992"/>
                    <a:gd name="connsiteX29" fmla="*/ 806539 w 1207394"/>
                    <a:gd name="connsiteY29" fmla="*/ 527631 h 651992"/>
                    <a:gd name="connsiteX30" fmla="*/ 812576 w 1207394"/>
                    <a:gd name="connsiteY30" fmla="*/ 519180 h 651992"/>
                    <a:gd name="connsiteX31" fmla="*/ 822236 w 1207394"/>
                    <a:gd name="connsiteY31" fmla="*/ 513746 h 651992"/>
                    <a:gd name="connsiteX32" fmla="*/ 830687 w 1207394"/>
                    <a:gd name="connsiteY32" fmla="*/ 517972 h 651992"/>
                    <a:gd name="connsiteX33" fmla="*/ 833706 w 1207394"/>
                    <a:gd name="connsiteY33" fmla="*/ 523406 h 651992"/>
                    <a:gd name="connsiteX34" fmla="*/ 843365 w 1207394"/>
                    <a:gd name="connsiteY34" fmla="*/ 521594 h 651992"/>
                    <a:gd name="connsiteX35" fmla="*/ 853024 w 1207394"/>
                    <a:gd name="connsiteY35" fmla="*/ 516765 h 651992"/>
                    <a:gd name="connsiteX36" fmla="*/ 861476 w 1207394"/>
                    <a:gd name="connsiteY36" fmla="*/ 516161 h 651992"/>
                    <a:gd name="connsiteX37" fmla="*/ 862683 w 1207394"/>
                    <a:gd name="connsiteY37" fmla="*/ 514350 h 651992"/>
                    <a:gd name="connsiteX38" fmla="*/ 873550 w 1207394"/>
                    <a:gd name="connsiteY38" fmla="*/ 511935 h 651992"/>
                    <a:gd name="connsiteX39" fmla="*/ 878983 w 1207394"/>
                    <a:gd name="connsiteY39" fmla="*/ 511332 h 651992"/>
                    <a:gd name="connsiteX40" fmla="*/ 889246 w 1207394"/>
                    <a:gd name="connsiteY40" fmla="*/ 508313 h 651992"/>
                    <a:gd name="connsiteX41" fmla="*/ 891661 w 1207394"/>
                    <a:gd name="connsiteY41" fmla="*/ 514350 h 651992"/>
                    <a:gd name="connsiteX42" fmla="*/ 897094 w 1207394"/>
                    <a:gd name="connsiteY42" fmla="*/ 514954 h 651992"/>
                    <a:gd name="connsiteX43" fmla="*/ 898905 w 1207394"/>
                    <a:gd name="connsiteY43" fmla="*/ 508917 h 651992"/>
                    <a:gd name="connsiteX44" fmla="*/ 910375 w 1207394"/>
                    <a:gd name="connsiteY44" fmla="*/ 502880 h 651992"/>
                    <a:gd name="connsiteX45" fmla="*/ 912186 w 1207394"/>
                    <a:gd name="connsiteY45" fmla="*/ 498050 h 651992"/>
                    <a:gd name="connsiteX46" fmla="*/ 917016 w 1207394"/>
                    <a:gd name="connsiteY46" fmla="*/ 495032 h 651992"/>
                    <a:gd name="connsiteX47" fmla="*/ 917620 w 1207394"/>
                    <a:gd name="connsiteY47" fmla="*/ 492013 h 651992"/>
                    <a:gd name="connsiteX48" fmla="*/ 921242 w 1207394"/>
                    <a:gd name="connsiteY48" fmla="*/ 489598 h 651992"/>
                    <a:gd name="connsiteX49" fmla="*/ 918223 w 1207394"/>
                    <a:gd name="connsiteY49" fmla="*/ 482958 h 651992"/>
                    <a:gd name="connsiteX50" fmla="*/ 912790 w 1207394"/>
                    <a:gd name="connsiteY50" fmla="*/ 475110 h 651992"/>
                    <a:gd name="connsiteX51" fmla="*/ 904338 w 1207394"/>
                    <a:gd name="connsiteY51" fmla="*/ 472695 h 651992"/>
                    <a:gd name="connsiteX52" fmla="*/ 900112 w 1207394"/>
                    <a:gd name="connsiteY52" fmla="*/ 474506 h 651992"/>
                    <a:gd name="connsiteX53" fmla="*/ 897698 w 1207394"/>
                    <a:gd name="connsiteY53" fmla="*/ 481147 h 651992"/>
                    <a:gd name="connsiteX54" fmla="*/ 894075 w 1207394"/>
                    <a:gd name="connsiteY54" fmla="*/ 473299 h 651992"/>
                    <a:gd name="connsiteX55" fmla="*/ 890453 w 1207394"/>
                    <a:gd name="connsiteY55" fmla="*/ 476921 h 651992"/>
                    <a:gd name="connsiteX56" fmla="*/ 886831 w 1207394"/>
                    <a:gd name="connsiteY56" fmla="*/ 476317 h 651992"/>
                    <a:gd name="connsiteX57" fmla="*/ 889246 w 1207394"/>
                    <a:gd name="connsiteY57" fmla="*/ 469073 h 651992"/>
                    <a:gd name="connsiteX58" fmla="*/ 892868 w 1207394"/>
                    <a:gd name="connsiteY58" fmla="*/ 467262 h 651992"/>
                    <a:gd name="connsiteX59" fmla="*/ 893472 w 1207394"/>
                    <a:gd name="connsiteY59" fmla="*/ 460017 h 651992"/>
                    <a:gd name="connsiteX60" fmla="*/ 893472 w 1207394"/>
                    <a:gd name="connsiteY60" fmla="*/ 447943 h 651992"/>
                    <a:gd name="connsiteX61" fmla="*/ 889849 w 1207394"/>
                    <a:gd name="connsiteY61" fmla="*/ 447943 h 651992"/>
                    <a:gd name="connsiteX62" fmla="*/ 881398 w 1207394"/>
                    <a:gd name="connsiteY62" fmla="*/ 441303 h 651992"/>
                    <a:gd name="connsiteX63" fmla="*/ 882001 w 1207394"/>
                    <a:gd name="connsiteY63" fmla="*/ 436473 h 651992"/>
                    <a:gd name="connsiteX64" fmla="*/ 876568 w 1207394"/>
                    <a:gd name="connsiteY64" fmla="*/ 435266 h 651992"/>
                    <a:gd name="connsiteX65" fmla="*/ 874154 w 1207394"/>
                    <a:gd name="connsiteY65" fmla="*/ 429832 h 651992"/>
                    <a:gd name="connsiteX66" fmla="*/ 877172 w 1207394"/>
                    <a:gd name="connsiteY66" fmla="*/ 425607 h 651992"/>
                    <a:gd name="connsiteX67" fmla="*/ 872946 w 1207394"/>
                    <a:gd name="connsiteY67" fmla="*/ 423192 h 651992"/>
                    <a:gd name="connsiteX68" fmla="*/ 872946 w 1207394"/>
                    <a:gd name="connsiteY68" fmla="*/ 418966 h 651992"/>
                    <a:gd name="connsiteX69" fmla="*/ 875361 w 1207394"/>
                    <a:gd name="connsiteY69" fmla="*/ 415344 h 651992"/>
                    <a:gd name="connsiteX70" fmla="*/ 871135 w 1207394"/>
                    <a:gd name="connsiteY70" fmla="*/ 414136 h 651992"/>
                    <a:gd name="connsiteX71" fmla="*/ 871135 w 1207394"/>
                    <a:gd name="connsiteY71" fmla="*/ 409307 h 651992"/>
                    <a:gd name="connsiteX72" fmla="*/ 868117 w 1207394"/>
                    <a:gd name="connsiteY72" fmla="*/ 406892 h 651992"/>
                    <a:gd name="connsiteX73" fmla="*/ 874154 w 1207394"/>
                    <a:gd name="connsiteY73" fmla="*/ 403873 h 651992"/>
                    <a:gd name="connsiteX74" fmla="*/ 872946 w 1207394"/>
                    <a:gd name="connsiteY74" fmla="*/ 400251 h 651992"/>
                    <a:gd name="connsiteX75" fmla="*/ 877172 w 1207394"/>
                    <a:gd name="connsiteY75" fmla="*/ 396025 h 651992"/>
                    <a:gd name="connsiteX76" fmla="*/ 882001 w 1207394"/>
                    <a:gd name="connsiteY76" fmla="*/ 388177 h 651992"/>
                    <a:gd name="connsiteX77" fmla="*/ 887435 w 1207394"/>
                    <a:gd name="connsiteY77" fmla="*/ 382744 h 651992"/>
                    <a:gd name="connsiteX78" fmla="*/ 892868 w 1207394"/>
                    <a:gd name="connsiteY78" fmla="*/ 380933 h 651992"/>
                    <a:gd name="connsiteX79" fmla="*/ 901923 w 1207394"/>
                    <a:gd name="connsiteY79" fmla="*/ 370670 h 651992"/>
                    <a:gd name="connsiteX80" fmla="*/ 909168 w 1207394"/>
                    <a:gd name="connsiteY80" fmla="*/ 361011 h 651992"/>
                    <a:gd name="connsiteX81" fmla="*/ 908564 w 1207394"/>
                    <a:gd name="connsiteY81" fmla="*/ 357389 h 651992"/>
                    <a:gd name="connsiteX82" fmla="*/ 913394 w 1207394"/>
                    <a:gd name="connsiteY82" fmla="*/ 351352 h 651992"/>
                    <a:gd name="connsiteX83" fmla="*/ 882001 w 1207394"/>
                    <a:gd name="connsiteY83" fmla="*/ 348937 h 651992"/>
                    <a:gd name="connsiteX84" fmla="*/ 837328 w 1207394"/>
                    <a:gd name="connsiteY84" fmla="*/ 353767 h 651992"/>
                    <a:gd name="connsiteX85" fmla="*/ 833102 w 1207394"/>
                    <a:gd name="connsiteY85" fmla="*/ 357389 h 651992"/>
                    <a:gd name="connsiteX86" fmla="*/ 829480 w 1207394"/>
                    <a:gd name="connsiteY86" fmla="*/ 357389 h 651992"/>
                    <a:gd name="connsiteX87" fmla="*/ 828273 w 1207394"/>
                    <a:gd name="connsiteY87" fmla="*/ 362218 h 651992"/>
                    <a:gd name="connsiteX88" fmla="*/ 824047 w 1207394"/>
                    <a:gd name="connsiteY88" fmla="*/ 364029 h 651992"/>
                    <a:gd name="connsiteX89" fmla="*/ 818613 w 1207394"/>
                    <a:gd name="connsiteY89" fmla="*/ 371274 h 651992"/>
                    <a:gd name="connsiteX90" fmla="*/ 791447 w 1207394"/>
                    <a:gd name="connsiteY90" fmla="*/ 380933 h 651992"/>
                    <a:gd name="connsiteX91" fmla="*/ 777562 w 1207394"/>
                    <a:gd name="connsiteY91" fmla="*/ 373689 h 651992"/>
                    <a:gd name="connsiteX92" fmla="*/ 760659 w 1207394"/>
                    <a:gd name="connsiteY92" fmla="*/ 379122 h 651992"/>
                    <a:gd name="connsiteX93" fmla="*/ 722626 w 1207394"/>
                    <a:gd name="connsiteY93" fmla="*/ 393007 h 651992"/>
                    <a:gd name="connsiteX94" fmla="*/ 720211 w 1207394"/>
                    <a:gd name="connsiteY94" fmla="*/ 396025 h 651992"/>
                    <a:gd name="connsiteX95" fmla="*/ 709344 w 1207394"/>
                    <a:gd name="connsiteY95" fmla="*/ 397233 h 651992"/>
                    <a:gd name="connsiteX96" fmla="*/ 697874 w 1207394"/>
                    <a:gd name="connsiteY96" fmla="*/ 400855 h 651992"/>
                    <a:gd name="connsiteX97" fmla="*/ 688215 w 1207394"/>
                    <a:gd name="connsiteY97" fmla="*/ 403873 h 651992"/>
                    <a:gd name="connsiteX98" fmla="*/ 683385 w 1207394"/>
                    <a:gd name="connsiteY98" fmla="*/ 404477 h 651992"/>
                    <a:gd name="connsiteX99" fmla="*/ 680970 w 1207394"/>
                    <a:gd name="connsiteY99" fmla="*/ 411118 h 651992"/>
                    <a:gd name="connsiteX100" fmla="*/ 674933 w 1207394"/>
                    <a:gd name="connsiteY100" fmla="*/ 414740 h 651992"/>
                    <a:gd name="connsiteX101" fmla="*/ 670104 w 1207394"/>
                    <a:gd name="connsiteY101" fmla="*/ 414136 h 651992"/>
                    <a:gd name="connsiteX102" fmla="*/ 668896 w 1207394"/>
                    <a:gd name="connsiteY102" fmla="*/ 416551 h 651992"/>
                    <a:gd name="connsiteX103" fmla="*/ 664067 w 1207394"/>
                    <a:gd name="connsiteY103" fmla="*/ 418362 h 651992"/>
                    <a:gd name="connsiteX104" fmla="*/ 659237 w 1207394"/>
                    <a:gd name="connsiteY104" fmla="*/ 422588 h 651992"/>
                    <a:gd name="connsiteX105" fmla="*/ 654408 w 1207394"/>
                    <a:gd name="connsiteY105" fmla="*/ 420777 h 651992"/>
                    <a:gd name="connsiteX106" fmla="*/ 649578 w 1207394"/>
                    <a:gd name="connsiteY106" fmla="*/ 421381 h 651992"/>
                    <a:gd name="connsiteX107" fmla="*/ 639315 w 1207394"/>
                    <a:gd name="connsiteY107" fmla="*/ 427418 h 651992"/>
                    <a:gd name="connsiteX108" fmla="*/ 637504 w 1207394"/>
                    <a:gd name="connsiteY108" fmla="*/ 429832 h 651992"/>
                    <a:gd name="connsiteX109" fmla="*/ 627845 w 1207394"/>
                    <a:gd name="connsiteY109" fmla="*/ 431644 h 651992"/>
                    <a:gd name="connsiteX110" fmla="*/ 624223 w 1207394"/>
                    <a:gd name="connsiteY110" fmla="*/ 435266 h 651992"/>
                    <a:gd name="connsiteX111" fmla="*/ 614564 w 1207394"/>
                    <a:gd name="connsiteY111" fmla="*/ 438284 h 651992"/>
                    <a:gd name="connsiteX112" fmla="*/ 609130 w 1207394"/>
                    <a:gd name="connsiteY112" fmla="*/ 442510 h 651992"/>
                    <a:gd name="connsiteX113" fmla="*/ 604905 w 1207394"/>
                    <a:gd name="connsiteY113" fmla="*/ 442510 h 651992"/>
                    <a:gd name="connsiteX114" fmla="*/ 600679 w 1207394"/>
                    <a:gd name="connsiteY114" fmla="*/ 446736 h 651992"/>
                    <a:gd name="connsiteX115" fmla="*/ 599471 w 1207394"/>
                    <a:gd name="connsiteY115" fmla="*/ 443717 h 651992"/>
                    <a:gd name="connsiteX116" fmla="*/ 592831 w 1207394"/>
                    <a:gd name="connsiteY116" fmla="*/ 437077 h 651992"/>
                    <a:gd name="connsiteX117" fmla="*/ 589208 w 1207394"/>
                    <a:gd name="connsiteY117" fmla="*/ 440095 h 651992"/>
                    <a:gd name="connsiteX118" fmla="*/ 585586 w 1207394"/>
                    <a:gd name="connsiteY118" fmla="*/ 439491 h 651992"/>
                    <a:gd name="connsiteX119" fmla="*/ 581360 w 1207394"/>
                    <a:gd name="connsiteY119" fmla="*/ 442510 h 651992"/>
                    <a:gd name="connsiteX120" fmla="*/ 570494 w 1207394"/>
                    <a:gd name="connsiteY120" fmla="*/ 439491 h 651992"/>
                    <a:gd name="connsiteX121" fmla="*/ 567475 w 1207394"/>
                    <a:gd name="connsiteY121" fmla="*/ 435869 h 651992"/>
                    <a:gd name="connsiteX122" fmla="*/ 565060 w 1207394"/>
                    <a:gd name="connsiteY122" fmla="*/ 438888 h 651992"/>
                    <a:gd name="connsiteX123" fmla="*/ 558420 w 1207394"/>
                    <a:gd name="connsiteY123" fmla="*/ 434058 h 651992"/>
                    <a:gd name="connsiteX124" fmla="*/ 560231 w 1207394"/>
                    <a:gd name="connsiteY124" fmla="*/ 428625 h 651992"/>
                    <a:gd name="connsiteX125" fmla="*/ 554194 w 1207394"/>
                    <a:gd name="connsiteY125" fmla="*/ 429832 h 651992"/>
                    <a:gd name="connsiteX126" fmla="*/ 549968 w 1207394"/>
                    <a:gd name="connsiteY126" fmla="*/ 435869 h 651992"/>
                    <a:gd name="connsiteX127" fmla="*/ 551779 w 1207394"/>
                    <a:gd name="connsiteY127" fmla="*/ 437077 h 651992"/>
                    <a:gd name="connsiteX128" fmla="*/ 552383 w 1207394"/>
                    <a:gd name="connsiteY128" fmla="*/ 442510 h 651992"/>
                    <a:gd name="connsiteX129" fmla="*/ 559023 w 1207394"/>
                    <a:gd name="connsiteY129" fmla="*/ 446736 h 651992"/>
                    <a:gd name="connsiteX130" fmla="*/ 559023 w 1207394"/>
                    <a:gd name="connsiteY130" fmla="*/ 455188 h 651992"/>
                    <a:gd name="connsiteX131" fmla="*/ 546346 w 1207394"/>
                    <a:gd name="connsiteY131" fmla="*/ 461225 h 651992"/>
                    <a:gd name="connsiteX132" fmla="*/ 538498 w 1207394"/>
                    <a:gd name="connsiteY132" fmla="*/ 465451 h 651992"/>
                    <a:gd name="connsiteX133" fmla="*/ 539102 w 1207394"/>
                    <a:gd name="connsiteY133" fmla="*/ 467865 h 651992"/>
                    <a:gd name="connsiteX134" fmla="*/ 523406 w 1207394"/>
                    <a:gd name="connsiteY134" fmla="*/ 482354 h 651992"/>
                    <a:gd name="connsiteX135" fmla="*/ 518576 w 1207394"/>
                    <a:gd name="connsiteY135" fmla="*/ 492013 h 651992"/>
                    <a:gd name="connsiteX136" fmla="*/ 505898 w 1207394"/>
                    <a:gd name="connsiteY136" fmla="*/ 498654 h 651992"/>
                    <a:gd name="connsiteX137" fmla="*/ 496843 w 1207394"/>
                    <a:gd name="connsiteY137" fmla="*/ 508313 h 651992"/>
                    <a:gd name="connsiteX138" fmla="*/ 493221 w 1207394"/>
                    <a:gd name="connsiteY138" fmla="*/ 513143 h 651992"/>
                    <a:gd name="connsiteX139" fmla="*/ 485372 w 1207394"/>
                    <a:gd name="connsiteY139" fmla="*/ 520387 h 651992"/>
                    <a:gd name="connsiteX140" fmla="*/ 478732 w 1207394"/>
                    <a:gd name="connsiteY140" fmla="*/ 530046 h 651992"/>
                    <a:gd name="connsiteX141" fmla="*/ 472695 w 1207394"/>
                    <a:gd name="connsiteY141" fmla="*/ 536083 h 651992"/>
                    <a:gd name="connsiteX142" fmla="*/ 470280 w 1207394"/>
                    <a:gd name="connsiteY142" fmla="*/ 537291 h 651992"/>
                    <a:gd name="connsiteX143" fmla="*/ 466054 w 1207394"/>
                    <a:gd name="connsiteY143" fmla="*/ 541516 h 651992"/>
                    <a:gd name="connsiteX144" fmla="*/ 466054 w 1207394"/>
                    <a:gd name="connsiteY144" fmla="*/ 545139 h 651992"/>
                    <a:gd name="connsiteX145" fmla="*/ 469676 w 1207394"/>
                    <a:gd name="connsiteY145" fmla="*/ 548761 h 651992"/>
                    <a:gd name="connsiteX146" fmla="*/ 470280 w 1207394"/>
                    <a:gd name="connsiteY146" fmla="*/ 553590 h 651992"/>
                    <a:gd name="connsiteX147" fmla="*/ 472091 w 1207394"/>
                    <a:gd name="connsiteY147" fmla="*/ 558420 h 651992"/>
                    <a:gd name="connsiteX148" fmla="*/ 466658 w 1207394"/>
                    <a:gd name="connsiteY148" fmla="*/ 560835 h 651992"/>
                    <a:gd name="connsiteX149" fmla="*/ 458206 w 1207394"/>
                    <a:gd name="connsiteY149" fmla="*/ 566268 h 651992"/>
                    <a:gd name="connsiteX150" fmla="*/ 447943 w 1207394"/>
                    <a:gd name="connsiteY150" fmla="*/ 571701 h 651992"/>
                    <a:gd name="connsiteX151" fmla="*/ 438888 w 1207394"/>
                    <a:gd name="connsiteY151" fmla="*/ 583172 h 651992"/>
                    <a:gd name="connsiteX152" fmla="*/ 428625 w 1207394"/>
                    <a:gd name="connsiteY152" fmla="*/ 584379 h 651992"/>
                    <a:gd name="connsiteX153" fmla="*/ 420173 w 1207394"/>
                    <a:gd name="connsiteY153" fmla="*/ 587397 h 651992"/>
                    <a:gd name="connsiteX154" fmla="*/ 408099 w 1207394"/>
                    <a:gd name="connsiteY154" fmla="*/ 588001 h 651992"/>
                    <a:gd name="connsiteX155" fmla="*/ 400855 w 1207394"/>
                    <a:gd name="connsiteY155" fmla="*/ 590416 h 651992"/>
                    <a:gd name="connsiteX156" fmla="*/ 396025 w 1207394"/>
                    <a:gd name="connsiteY156" fmla="*/ 590416 h 651992"/>
                    <a:gd name="connsiteX157" fmla="*/ 391799 w 1207394"/>
                    <a:gd name="connsiteY157" fmla="*/ 586794 h 651992"/>
                    <a:gd name="connsiteX158" fmla="*/ 371274 w 1207394"/>
                    <a:gd name="connsiteY158" fmla="*/ 584983 h 651992"/>
                    <a:gd name="connsiteX159" fmla="*/ 354974 w 1207394"/>
                    <a:gd name="connsiteY159" fmla="*/ 586794 h 651992"/>
                    <a:gd name="connsiteX160" fmla="*/ 345315 w 1207394"/>
                    <a:gd name="connsiteY160" fmla="*/ 588001 h 651992"/>
                    <a:gd name="connsiteX161" fmla="*/ 337467 w 1207394"/>
                    <a:gd name="connsiteY161" fmla="*/ 590416 h 651992"/>
                    <a:gd name="connsiteX162" fmla="*/ 322374 w 1207394"/>
                    <a:gd name="connsiteY162" fmla="*/ 593434 h 651992"/>
                    <a:gd name="connsiteX163" fmla="*/ 318752 w 1207394"/>
                    <a:gd name="connsiteY163" fmla="*/ 595849 h 651992"/>
                    <a:gd name="connsiteX164" fmla="*/ 313923 w 1207394"/>
                    <a:gd name="connsiteY164" fmla="*/ 594038 h 651992"/>
                    <a:gd name="connsiteX165" fmla="*/ 303660 w 1207394"/>
                    <a:gd name="connsiteY165" fmla="*/ 595849 h 651992"/>
                    <a:gd name="connsiteX166" fmla="*/ 299434 w 1207394"/>
                    <a:gd name="connsiteY166" fmla="*/ 592227 h 651992"/>
                    <a:gd name="connsiteX167" fmla="*/ 282530 w 1207394"/>
                    <a:gd name="connsiteY167" fmla="*/ 584379 h 651992"/>
                    <a:gd name="connsiteX168" fmla="*/ 282530 w 1207394"/>
                    <a:gd name="connsiteY168" fmla="*/ 580153 h 651992"/>
                    <a:gd name="connsiteX169" fmla="*/ 273475 w 1207394"/>
                    <a:gd name="connsiteY169" fmla="*/ 574720 h 651992"/>
                    <a:gd name="connsiteX170" fmla="*/ 266230 w 1207394"/>
                    <a:gd name="connsiteY170" fmla="*/ 572909 h 651992"/>
                    <a:gd name="connsiteX171" fmla="*/ 252345 w 1207394"/>
                    <a:gd name="connsiteY171" fmla="*/ 568683 h 651992"/>
                    <a:gd name="connsiteX172" fmla="*/ 240875 w 1207394"/>
                    <a:gd name="connsiteY172" fmla="*/ 570494 h 651992"/>
                    <a:gd name="connsiteX173" fmla="*/ 229405 w 1207394"/>
                    <a:gd name="connsiteY173" fmla="*/ 567475 h 651992"/>
                    <a:gd name="connsiteX174" fmla="*/ 226386 w 1207394"/>
                    <a:gd name="connsiteY174" fmla="*/ 574116 h 651992"/>
                    <a:gd name="connsiteX175" fmla="*/ 226386 w 1207394"/>
                    <a:gd name="connsiteY175" fmla="*/ 578946 h 651992"/>
                    <a:gd name="connsiteX176" fmla="*/ 214313 w 1207394"/>
                    <a:gd name="connsiteY176" fmla="*/ 584983 h 651992"/>
                    <a:gd name="connsiteX177" fmla="*/ 207672 w 1207394"/>
                    <a:gd name="connsiteY177" fmla="*/ 585586 h 651992"/>
                    <a:gd name="connsiteX178" fmla="*/ 197409 w 1207394"/>
                    <a:gd name="connsiteY178" fmla="*/ 583775 h 651992"/>
                    <a:gd name="connsiteX179" fmla="*/ 185335 w 1207394"/>
                    <a:gd name="connsiteY179" fmla="*/ 585586 h 651992"/>
                    <a:gd name="connsiteX180" fmla="*/ 181109 w 1207394"/>
                    <a:gd name="connsiteY180" fmla="*/ 589209 h 651992"/>
                    <a:gd name="connsiteX181" fmla="*/ 178694 w 1207394"/>
                    <a:gd name="connsiteY181" fmla="*/ 589209 h 651992"/>
                    <a:gd name="connsiteX182" fmla="*/ 175676 w 1207394"/>
                    <a:gd name="connsiteY182" fmla="*/ 593434 h 651992"/>
                    <a:gd name="connsiteX183" fmla="*/ 166017 w 1207394"/>
                    <a:gd name="connsiteY183" fmla="*/ 591020 h 651992"/>
                    <a:gd name="connsiteX184" fmla="*/ 155754 w 1207394"/>
                    <a:gd name="connsiteY184" fmla="*/ 594038 h 651992"/>
                    <a:gd name="connsiteX185" fmla="*/ 156357 w 1207394"/>
                    <a:gd name="connsiteY185" fmla="*/ 597057 h 651992"/>
                    <a:gd name="connsiteX186" fmla="*/ 150320 w 1207394"/>
                    <a:gd name="connsiteY186" fmla="*/ 598868 h 651992"/>
                    <a:gd name="connsiteX187" fmla="*/ 146095 w 1207394"/>
                    <a:gd name="connsiteY187" fmla="*/ 596453 h 651992"/>
                    <a:gd name="connsiteX188" fmla="*/ 133417 w 1207394"/>
                    <a:gd name="connsiteY188" fmla="*/ 601282 h 651992"/>
                    <a:gd name="connsiteX189" fmla="*/ 118325 w 1207394"/>
                    <a:gd name="connsiteY189" fmla="*/ 601886 h 651992"/>
                    <a:gd name="connsiteX190" fmla="*/ 115910 w 1207394"/>
                    <a:gd name="connsiteY190" fmla="*/ 600679 h 651992"/>
                    <a:gd name="connsiteX191" fmla="*/ 117721 w 1207394"/>
                    <a:gd name="connsiteY191" fmla="*/ 592227 h 651992"/>
                    <a:gd name="connsiteX192" fmla="*/ 117117 w 1207394"/>
                    <a:gd name="connsiteY192" fmla="*/ 581964 h 651992"/>
                    <a:gd name="connsiteX193" fmla="*/ 114702 w 1207394"/>
                    <a:gd name="connsiteY193" fmla="*/ 580153 h 651992"/>
                    <a:gd name="connsiteX194" fmla="*/ 114702 w 1207394"/>
                    <a:gd name="connsiteY194" fmla="*/ 574720 h 651992"/>
                    <a:gd name="connsiteX195" fmla="*/ 109873 w 1207394"/>
                    <a:gd name="connsiteY195" fmla="*/ 571701 h 651992"/>
                    <a:gd name="connsiteX196" fmla="*/ 109269 w 1207394"/>
                    <a:gd name="connsiteY196" fmla="*/ 566872 h 651992"/>
                    <a:gd name="connsiteX197" fmla="*/ 106854 w 1207394"/>
                    <a:gd name="connsiteY197" fmla="*/ 564457 h 651992"/>
                    <a:gd name="connsiteX198" fmla="*/ 102629 w 1207394"/>
                    <a:gd name="connsiteY198" fmla="*/ 564457 h 651992"/>
                    <a:gd name="connsiteX199" fmla="*/ 99006 w 1207394"/>
                    <a:gd name="connsiteY199" fmla="*/ 558420 h 651992"/>
                    <a:gd name="connsiteX200" fmla="*/ 97799 w 1207394"/>
                    <a:gd name="connsiteY200" fmla="*/ 549968 h 651992"/>
                    <a:gd name="connsiteX201" fmla="*/ 100818 w 1207394"/>
                    <a:gd name="connsiteY201" fmla="*/ 544535 h 651992"/>
                    <a:gd name="connsiteX202" fmla="*/ 98403 w 1207394"/>
                    <a:gd name="connsiteY202" fmla="*/ 540913 h 651992"/>
                    <a:gd name="connsiteX203" fmla="*/ 99006 w 1207394"/>
                    <a:gd name="connsiteY203" fmla="*/ 536687 h 651992"/>
                    <a:gd name="connsiteX204" fmla="*/ 105043 w 1207394"/>
                    <a:gd name="connsiteY204" fmla="*/ 532461 h 651992"/>
                    <a:gd name="connsiteX205" fmla="*/ 108062 w 1207394"/>
                    <a:gd name="connsiteY205" fmla="*/ 524613 h 651992"/>
                    <a:gd name="connsiteX206" fmla="*/ 106854 w 1207394"/>
                    <a:gd name="connsiteY206" fmla="*/ 519783 h 651992"/>
                    <a:gd name="connsiteX207" fmla="*/ 102025 w 1207394"/>
                    <a:gd name="connsiteY207" fmla="*/ 515557 h 651992"/>
                    <a:gd name="connsiteX208" fmla="*/ 108062 w 1207394"/>
                    <a:gd name="connsiteY208" fmla="*/ 511935 h 651992"/>
                    <a:gd name="connsiteX209" fmla="*/ 114702 w 1207394"/>
                    <a:gd name="connsiteY209" fmla="*/ 513746 h 651992"/>
                    <a:gd name="connsiteX210" fmla="*/ 118325 w 1207394"/>
                    <a:gd name="connsiteY210" fmla="*/ 512539 h 651992"/>
                    <a:gd name="connsiteX211" fmla="*/ 117721 w 1207394"/>
                    <a:gd name="connsiteY211" fmla="*/ 508313 h 651992"/>
                    <a:gd name="connsiteX212" fmla="*/ 109873 w 1207394"/>
                    <a:gd name="connsiteY212" fmla="*/ 504691 h 651992"/>
                    <a:gd name="connsiteX213" fmla="*/ 105647 w 1207394"/>
                    <a:gd name="connsiteY213" fmla="*/ 500465 h 651992"/>
                    <a:gd name="connsiteX214" fmla="*/ 105647 w 1207394"/>
                    <a:gd name="connsiteY214" fmla="*/ 496239 h 651992"/>
                    <a:gd name="connsiteX215" fmla="*/ 103232 w 1207394"/>
                    <a:gd name="connsiteY215" fmla="*/ 493221 h 651992"/>
                    <a:gd name="connsiteX216" fmla="*/ 103232 w 1207394"/>
                    <a:gd name="connsiteY216" fmla="*/ 488391 h 651992"/>
                    <a:gd name="connsiteX217" fmla="*/ 104440 w 1207394"/>
                    <a:gd name="connsiteY217" fmla="*/ 483561 h 651992"/>
                    <a:gd name="connsiteX218" fmla="*/ 102025 w 1207394"/>
                    <a:gd name="connsiteY218" fmla="*/ 480543 h 651992"/>
                    <a:gd name="connsiteX219" fmla="*/ 101421 w 1207394"/>
                    <a:gd name="connsiteY219" fmla="*/ 475110 h 651992"/>
                    <a:gd name="connsiteX220" fmla="*/ 98403 w 1207394"/>
                    <a:gd name="connsiteY220" fmla="*/ 473902 h 651992"/>
                    <a:gd name="connsiteX221" fmla="*/ 97195 w 1207394"/>
                    <a:gd name="connsiteY221" fmla="*/ 470280 h 651992"/>
                    <a:gd name="connsiteX222" fmla="*/ 97195 w 1207394"/>
                    <a:gd name="connsiteY222" fmla="*/ 464847 h 651992"/>
                    <a:gd name="connsiteX223" fmla="*/ 80895 w 1207394"/>
                    <a:gd name="connsiteY223" fmla="*/ 469676 h 651992"/>
                    <a:gd name="connsiteX224" fmla="*/ 77877 w 1207394"/>
                    <a:gd name="connsiteY224" fmla="*/ 467262 h 651992"/>
                    <a:gd name="connsiteX225" fmla="*/ 72444 w 1207394"/>
                    <a:gd name="connsiteY225" fmla="*/ 467865 h 651992"/>
                    <a:gd name="connsiteX226" fmla="*/ 62181 w 1207394"/>
                    <a:gd name="connsiteY226" fmla="*/ 464243 h 651992"/>
                    <a:gd name="connsiteX227" fmla="*/ 57955 w 1207394"/>
                    <a:gd name="connsiteY227" fmla="*/ 467865 h 651992"/>
                    <a:gd name="connsiteX228" fmla="*/ 54333 w 1207394"/>
                    <a:gd name="connsiteY228" fmla="*/ 466658 h 651992"/>
                    <a:gd name="connsiteX229" fmla="*/ 47088 w 1207394"/>
                    <a:gd name="connsiteY229" fmla="*/ 468469 h 651992"/>
                    <a:gd name="connsiteX230" fmla="*/ 43466 w 1207394"/>
                    <a:gd name="connsiteY230" fmla="*/ 466658 h 651992"/>
                    <a:gd name="connsiteX231" fmla="*/ 34411 w 1207394"/>
                    <a:gd name="connsiteY231" fmla="*/ 466658 h 651992"/>
                    <a:gd name="connsiteX232" fmla="*/ 33807 w 1207394"/>
                    <a:gd name="connsiteY232" fmla="*/ 462432 h 651992"/>
                    <a:gd name="connsiteX233" fmla="*/ 29581 w 1207394"/>
                    <a:gd name="connsiteY233" fmla="*/ 460017 h 651992"/>
                    <a:gd name="connsiteX234" fmla="*/ 21733 w 1207394"/>
                    <a:gd name="connsiteY234" fmla="*/ 464243 h 651992"/>
                    <a:gd name="connsiteX235" fmla="*/ 19922 w 1207394"/>
                    <a:gd name="connsiteY235" fmla="*/ 460621 h 651992"/>
                    <a:gd name="connsiteX236" fmla="*/ 15092 w 1207394"/>
                    <a:gd name="connsiteY236" fmla="*/ 456999 h 651992"/>
                    <a:gd name="connsiteX237" fmla="*/ 12677 w 1207394"/>
                    <a:gd name="connsiteY237" fmla="*/ 450962 h 651992"/>
                    <a:gd name="connsiteX238" fmla="*/ 9659 w 1207394"/>
                    <a:gd name="connsiteY238" fmla="*/ 450962 h 651992"/>
                    <a:gd name="connsiteX239" fmla="*/ 7244 w 1207394"/>
                    <a:gd name="connsiteY239" fmla="*/ 446132 h 651992"/>
                    <a:gd name="connsiteX240" fmla="*/ 3018 w 1207394"/>
                    <a:gd name="connsiteY240" fmla="*/ 440699 h 651992"/>
                    <a:gd name="connsiteX241" fmla="*/ 6037 w 1207394"/>
                    <a:gd name="connsiteY241" fmla="*/ 437077 h 651992"/>
                    <a:gd name="connsiteX242" fmla="*/ 2415 w 1207394"/>
                    <a:gd name="connsiteY242" fmla="*/ 429229 h 651992"/>
                    <a:gd name="connsiteX243" fmla="*/ 4226 w 1207394"/>
                    <a:gd name="connsiteY243" fmla="*/ 425003 h 651992"/>
                    <a:gd name="connsiteX244" fmla="*/ 9055 w 1207394"/>
                    <a:gd name="connsiteY244" fmla="*/ 420173 h 651992"/>
                    <a:gd name="connsiteX245" fmla="*/ 9055 w 1207394"/>
                    <a:gd name="connsiteY245" fmla="*/ 417759 h 651992"/>
                    <a:gd name="connsiteX246" fmla="*/ 15696 w 1207394"/>
                    <a:gd name="connsiteY246" fmla="*/ 412325 h 651992"/>
                    <a:gd name="connsiteX247" fmla="*/ 16903 w 1207394"/>
                    <a:gd name="connsiteY247" fmla="*/ 402666 h 651992"/>
                    <a:gd name="connsiteX248" fmla="*/ 19318 w 1207394"/>
                    <a:gd name="connsiteY248" fmla="*/ 400251 h 651992"/>
                    <a:gd name="connsiteX249" fmla="*/ 17507 w 1207394"/>
                    <a:gd name="connsiteY249" fmla="*/ 397233 h 651992"/>
                    <a:gd name="connsiteX250" fmla="*/ 16903 w 1207394"/>
                    <a:gd name="connsiteY250" fmla="*/ 390592 h 651992"/>
                    <a:gd name="connsiteX251" fmla="*/ 10866 w 1207394"/>
                    <a:gd name="connsiteY251" fmla="*/ 385762 h 651992"/>
                    <a:gd name="connsiteX252" fmla="*/ 3622 w 1207394"/>
                    <a:gd name="connsiteY252" fmla="*/ 386970 h 651992"/>
                    <a:gd name="connsiteX253" fmla="*/ 0 w 1207394"/>
                    <a:gd name="connsiteY253" fmla="*/ 379726 h 651992"/>
                    <a:gd name="connsiteX254" fmla="*/ 4830 w 1207394"/>
                    <a:gd name="connsiteY254" fmla="*/ 376103 h 651992"/>
                    <a:gd name="connsiteX255" fmla="*/ 9659 w 1207394"/>
                    <a:gd name="connsiteY255" fmla="*/ 376103 h 651992"/>
                    <a:gd name="connsiteX256" fmla="*/ 12677 w 1207394"/>
                    <a:gd name="connsiteY256" fmla="*/ 377914 h 651992"/>
                    <a:gd name="connsiteX257" fmla="*/ 25355 w 1207394"/>
                    <a:gd name="connsiteY257" fmla="*/ 377311 h 651992"/>
                    <a:gd name="connsiteX258" fmla="*/ 30185 w 1207394"/>
                    <a:gd name="connsiteY258" fmla="*/ 385159 h 651992"/>
                    <a:gd name="connsiteX259" fmla="*/ 33807 w 1207394"/>
                    <a:gd name="connsiteY259" fmla="*/ 387574 h 651992"/>
                    <a:gd name="connsiteX260" fmla="*/ 41051 w 1207394"/>
                    <a:gd name="connsiteY260" fmla="*/ 389988 h 651992"/>
                    <a:gd name="connsiteX261" fmla="*/ 46485 w 1207394"/>
                    <a:gd name="connsiteY261" fmla="*/ 389988 h 651992"/>
                    <a:gd name="connsiteX262" fmla="*/ 53125 w 1207394"/>
                    <a:gd name="connsiteY262" fmla="*/ 388177 h 651992"/>
                    <a:gd name="connsiteX263" fmla="*/ 57955 w 1207394"/>
                    <a:gd name="connsiteY263" fmla="*/ 388781 h 651992"/>
                    <a:gd name="connsiteX264" fmla="*/ 59162 w 1207394"/>
                    <a:gd name="connsiteY264" fmla="*/ 395422 h 651992"/>
                    <a:gd name="connsiteX265" fmla="*/ 61577 w 1207394"/>
                    <a:gd name="connsiteY265" fmla="*/ 396025 h 651992"/>
                    <a:gd name="connsiteX266" fmla="*/ 64596 w 1207394"/>
                    <a:gd name="connsiteY266" fmla="*/ 405081 h 651992"/>
                    <a:gd name="connsiteX267" fmla="*/ 68218 w 1207394"/>
                    <a:gd name="connsiteY267" fmla="*/ 408703 h 651992"/>
                    <a:gd name="connsiteX268" fmla="*/ 74858 w 1207394"/>
                    <a:gd name="connsiteY268" fmla="*/ 407496 h 651992"/>
                    <a:gd name="connsiteX269" fmla="*/ 76670 w 1207394"/>
                    <a:gd name="connsiteY269" fmla="*/ 410514 h 651992"/>
                    <a:gd name="connsiteX270" fmla="*/ 82103 w 1207394"/>
                    <a:gd name="connsiteY270" fmla="*/ 406892 h 651992"/>
                    <a:gd name="connsiteX271" fmla="*/ 84518 w 1207394"/>
                    <a:gd name="connsiteY271" fmla="*/ 402062 h 651992"/>
                    <a:gd name="connsiteX272" fmla="*/ 86329 w 1207394"/>
                    <a:gd name="connsiteY272" fmla="*/ 402062 h 651992"/>
                    <a:gd name="connsiteX273" fmla="*/ 89951 w 1207394"/>
                    <a:gd name="connsiteY273" fmla="*/ 397836 h 651992"/>
                    <a:gd name="connsiteX274" fmla="*/ 101421 w 1207394"/>
                    <a:gd name="connsiteY274" fmla="*/ 400251 h 651992"/>
                    <a:gd name="connsiteX275" fmla="*/ 105043 w 1207394"/>
                    <a:gd name="connsiteY275" fmla="*/ 400251 h 651992"/>
                    <a:gd name="connsiteX276" fmla="*/ 111080 w 1207394"/>
                    <a:gd name="connsiteY276" fmla="*/ 395422 h 651992"/>
                    <a:gd name="connsiteX277" fmla="*/ 118325 w 1207394"/>
                    <a:gd name="connsiteY277" fmla="*/ 388177 h 651992"/>
                    <a:gd name="connsiteX278" fmla="*/ 125569 w 1207394"/>
                    <a:gd name="connsiteY278" fmla="*/ 382140 h 651992"/>
                    <a:gd name="connsiteX279" fmla="*/ 134624 w 1207394"/>
                    <a:gd name="connsiteY279" fmla="*/ 377311 h 651992"/>
                    <a:gd name="connsiteX280" fmla="*/ 146095 w 1207394"/>
                    <a:gd name="connsiteY280" fmla="*/ 376103 h 651992"/>
                    <a:gd name="connsiteX281" fmla="*/ 148509 w 1207394"/>
                    <a:gd name="connsiteY281" fmla="*/ 377914 h 651992"/>
                    <a:gd name="connsiteX282" fmla="*/ 152132 w 1207394"/>
                    <a:gd name="connsiteY282" fmla="*/ 388781 h 651992"/>
                    <a:gd name="connsiteX283" fmla="*/ 156961 w 1207394"/>
                    <a:gd name="connsiteY283" fmla="*/ 395422 h 651992"/>
                    <a:gd name="connsiteX284" fmla="*/ 172054 w 1207394"/>
                    <a:gd name="connsiteY284" fmla="*/ 391799 h 651992"/>
                    <a:gd name="connsiteX285" fmla="*/ 172657 w 1207394"/>
                    <a:gd name="connsiteY285" fmla="*/ 386970 h 651992"/>
                    <a:gd name="connsiteX286" fmla="*/ 178694 w 1207394"/>
                    <a:gd name="connsiteY286" fmla="*/ 385159 h 651992"/>
                    <a:gd name="connsiteX287" fmla="*/ 184731 w 1207394"/>
                    <a:gd name="connsiteY287" fmla="*/ 390592 h 651992"/>
                    <a:gd name="connsiteX288" fmla="*/ 187146 w 1207394"/>
                    <a:gd name="connsiteY288" fmla="*/ 389988 h 651992"/>
                    <a:gd name="connsiteX289" fmla="*/ 194994 w 1207394"/>
                    <a:gd name="connsiteY289" fmla="*/ 382140 h 651992"/>
                    <a:gd name="connsiteX290" fmla="*/ 199824 w 1207394"/>
                    <a:gd name="connsiteY290" fmla="*/ 380933 h 651992"/>
                    <a:gd name="connsiteX291" fmla="*/ 205861 w 1207394"/>
                    <a:gd name="connsiteY291" fmla="*/ 386366 h 651992"/>
                    <a:gd name="connsiteX292" fmla="*/ 208879 w 1207394"/>
                    <a:gd name="connsiteY292" fmla="*/ 385762 h 651992"/>
                    <a:gd name="connsiteX293" fmla="*/ 214313 w 1207394"/>
                    <a:gd name="connsiteY293" fmla="*/ 377311 h 651992"/>
                    <a:gd name="connsiteX294" fmla="*/ 218538 w 1207394"/>
                    <a:gd name="connsiteY294" fmla="*/ 372481 h 651992"/>
                    <a:gd name="connsiteX295" fmla="*/ 231216 w 1207394"/>
                    <a:gd name="connsiteY295" fmla="*/ 367048 h 651992"/>
                    <a:gd name="connsiteX296" fmla="*/ 237856 w 1207394"/>
                    <a:gd name="connsiteY296" fmla="*/ 359200 h 651992"/>
                    <a:gd name="connsiteX297" fmla="*/ 245705 w 1207394"/>
                    <a:gd name="connsiteY297" fmla="*/ 346522 h 651992"/>
                    <a:gd name="connsiteX298" fmla="*/ 236649 w 1207394"/>
                    <a:gd name="connsiteY298" fmla="*/ 332637 h 651992"/>
                    <a:gd name="connsiteX299" fmla="*/ 230008 w 1207394"/>
                    <a:gd name="connsiteY299" fmla="*/ 329015 h 651992"/>
                    <a:gd name="connsiteX300" fmla="*/ 233631 w 1207394"/>
                    <a:gd name="connsiteY300" fmla="*/ 316337 h 651992"/>
                    <a:gd name="connsiteX301" fmla="*/ 239064 w 1207394"/>
                    <a:gd name="connsiteY301" fmla="*/ 312112 h 651992"/>
                    <a:gd name="connsiteX302" fmla="*/ 245101 w 1207394"/>
                    <a:gd name="connsiteY302" fmla="*/ 308489 h 651992"/>
                    <a:gd name="connsiteX303" fmla="*/ 254760 w 1207394"/>
                    <a:gd name="connsiteY303" fmla="*/ 301245 h 651992"/>
                    <a:gd name="connsiteX304" fmla="*/ 258382 w 1207394"/>
                    <a:gd name="connsiteY304" fmla="*/ 296415 h 651992"/>
                    <a:gd name="connsiteX305" fmla="*/ 262608 w 1207394"/>
                    <a:gd name="connsiteY305" fmla="*/ 297623 h 651992"/>
                    <a:gd name="connsiteX306" fmla="*/ 262608 w 1207394"/>
                    <a:gd name="connsiteY306" fmla="*/ 303056 h 651992"/>
                    <a:gd name="connsiteX307" fmla="*/ 266834 w 1207394"/>
                    <a:gd name="connsiteY307" fmla="*/ 301849 h 651992"/>
                    <a:gd name="connsiteX308" fmla="*/ 278304 w 1207394"/>
                    <a:gd name="connsiteY308" fmla="*/ 295812 h 651992"/>
                    <a:gd name="connsiteX309" fmla="*/ 281927 w 1207394"/>
                    <a:gd name="connsiteY309" fmla="*/ 289171 h 651992"/>
                    <a:gd name="connsiteX310" fmla="*/ 292189 w 1207394"/>
                    <a:gd name="connsiteY310" fmla="*/ 282530 h 651992"/>
                    <a:gd name="connsiteX311" fmla="*/ 297019 w 1207394"/>
                    <a:gd name="connsiteY311" fmla="*/ 284945 h 651992"/>
                    <a:gd name="connsiteX312" fmla="*/ 300038 w 1207394"/>
                    <a:gd name="connsiteY312" fmla="*/ 289775 h 651992"/>
                    <a:gd name="connsiteX313" fmla="*/ 306678 w 1207394"/>
                    <a:gd name="connsiteY313" fmla="*/ 282530 h 651992"/>
                    <a:gd name="connsiteX314" fmla="*/ 304263 w 1207394"/>
                    <a:gd name="connsiteY314" fmla="*/ 273475 h 651992"/>
                    <a:gd name="connsiteX315" fmla="*/ 314526 w 1207394"/>
                    <a:gd name="connsiteY315" fmla="*/ 271664 h 651992"/>
                    <a:gd name="connsiteX316" fmla="*/ 319356 w 1207394"/>
                    <a:gd name="connsiteY316" fmla="*/ 272267 h 651992"/>
                    <a:gd name="connsiteX317" fmla="*/ 325393 w 1207394"/>
                    <a:gd name="connsiteY317" fmla="*/ 267438 h 651992"/>
                    <a:gd name="connsiteX318" fmla="*/ 331430 w 1207394"/>
                    <a:gd name="connsiteY318" fmla="*/ 269249 h 651992"/>
                    <a:gd name="connsiteX319" fmla="*/ 339881 w 1207394"/>
                    <a:gd name="connsiteY319" fmla="*/ 269249 h 651992"/>
                    <a:gd name="connsiteX320" fmla="*/ 345315 w 1207394"/>
                    <a:gd name="connsiteY320" fmla="*/ 264419 h 651992"/>
                    <a:gd name="connsiteX321" fmla="*/ 344711 w 1207394"/>
                    <a:gd name="connsiteY321" fmla="*/ 259590 h 651992"/>
                    <a:gd name="connsiteX322" fmla="*/ 347126 w 1207394"/>
                    <a:gd name="connsiteY322" fmla="*/ 249931 h 651992"/>
                    <a:gd name="connsiteX323" fmla="*/ 346522 w 1207394"/>
                    <a:gd name="connsiteY323" fmla="*/ 248120 h 651992"/>
                    <a:gd name="connsiteX324" fmla="*/ 338674 w 1207394"/>
                    <a:gd name="connsiteY324" fmla="*/ 244497 h 651992"/>
                    <a:gd name="connsiteX325" fmla="*/ 337467 w 1207394"/>
                    <a:gd name="connsiteY325" fmla="*/ 240875 h 651992"/>
                    <a:gd name="connsiteX326" fmla="*/ 342296 w 1207394"/>
                    <a:gd name="connsiteY326" fmla="*/ 237857 h 651992"/>
                    <a:gd name="connsiteX327" fmla="*/ 347126 w 1207394"/>
                    <a:gd name="connsiteY327" fmla="*/ 231820 h 651992"/>
                    <a:gd name="connsiteX328" fmla="*/ 356785 w 1207394"/>
                    <a:gd name="connsiteY328" fmla="*/ 225783 h 651992"/>
                    <a:gd name="connsiteX329" fmla="*/ 359200 w 1207394"/>
                    <a:gd name="connsiteY329" fmla="*/ 216727 h 651992"/>
                    <a:gd name="connsiteX330" fmla="*/ 362822 w 1207394"/>
                    <a:gd name="connsiteY330" fmla="*/ 211294 h 651992"/>
                    <a:gd name="connsiteX331" fmla="*/ 361614 w 1207394"/>
                    <a:gd name="connsiteY331" fmla="*/ 203446 h 651992"/>
                    <a:gd name="connsiteX332" fmla="*/ 367048 w 1207394"/>
                    <a:gd name="connsiteY332" fmla="*/ 201635 h 651992"/>
                    <a:gd name="connsiteX333" fmla="*/ 368255 w 1207394"/>
                    <a:gd name="connsiteY333" fmla="*/ 195598 h 651992"/>
                    <a:gd name="connsiteX334" fmla="*/ 384555 w 1207394"/>
                    <a:gd name="connsiteY334" fmla="*/ 190768 h 651992"/>
                    <a:gd name="connsiteX335" fmla="*/ 391799 w 1207394"/>
                    <a:gd name="connsiteY335" fmla="*/ 185335 h 651992"/>
                    <a:gd name="connsiteX336" fmla="*/ 397233 w 1207394"/>
                    <a:gd name="connsiteY336" fmla="*/ 190768 h 651992"/>
                    <a:gd name="connsiteX337" fmla="*/ 398440 w 1207394"/>
                    <a:gd name="connsiteY337" fmla="*/ 185939 h 651992"/>
                    <a:gd name="connsiteX338" fmla="*/ 402062 w 1207394"/>
                    <a:gd name="connsiteY338" fmla="*/ 183524 h 651992"/>
                    <a:gd name="connsiteX339" fmla="*/ 406288 w 1207394"/>
                    <a:gd name="connsiteY339" fmla="*/ 185939 h 651992"/>
                    <a:gd name="connsiteX340" fmla="*/ 408099 w 1207394"/>
                    <a:gd name="connsiteY340" fmla="*/ 188957 h 651992"/>
                    <a:gd name="connsiteX341" fmla="*/ 425003 w 1207394"/>
                    <a:gd name="connsiteY341" fmla="*/ 190165 h 651992"/>
                    <a:gd name="connsiteX342" fmla="*/ 431644 w 1207394"/>
                    <a:gd name="connsiteY342" fmla="*/ 188957 h 651992"/>
                    <a:gd name="connsiteX343" fmla="*/ 441303 w 1207394"/>
                    <a:gd name="connsiteY343" fmla="*/ 184731 h 651992"/>
                    <a:gd name="connsiteX344" fmla="*/ 450358 w 1207394"/>
                    <a:gd name="connsiteY344" fmla="*/ 182317 h 651992"/>
                    <a:gd name="connsiteX345" fmla="*/ 459413 w 1207394"/>
                    <a:gd name="connsiteY345" fmla="*/ 187146 h 651992"/>
                    <a:gd name="connsiteX346" fmla="*/ 473902 w 1207394"/>
                    <a:gd name="connsiteY346" fmla="*/ 178091 h 651992"/>
                    <a:gd name="connsiteX347" fmla="*/ 478128 w 1207394"/>
                    <a:gd name="connsiteY347" fmla="*/ 179298 h 651992"/>
                    <a:gd name="connsiteX348" fmla="*/ 485976 w 1207394"/>
                    <a:gd name="connsiteY348" fmla="*/ 185335 h 651992"/>
                    <a:gd name="connsiteX349" fmla="*/ 488995 w 1207394"/>
                    <a:gd name="connsiteY349" fmla="*/ 187146 h 651992"/>
                    <a:gd name="connsiteX350" fmla="*/ 492617 w 1207394"/>
                    <a:gd name="connsiteY350" fmla="*/ 185335 h 651992"/>
                    <a:gd name="connsiteX351" fmla="*/ 496843 w 1207394"/>
                    <a:gd name="connsiteY351" fmla="*/ 178694 h 651992"/>
                    <a:gd name="connsiteX352" fmla="*/ 498654 w 1207394"/>
                    <a:gd name="connsiteY352" fmla="*/ 174468 h 651992"/>
                    <a:gd name="connsiteX353" fmla="*/ 499258 w 1207394"/>
                    <a:gd name="connsiteY353" fmla="*/ 167828 h 651992"/>
                    <a:gd name="connsiteX354" fmla="*/ 505898 w 1207394"/>
                    <a:gd name="connsiteY354" fmla="*/ 162395 h 651992"/>
                    <a:gd name="connsiteX355" fmla="*/ 502880 w 1207394"/>
                    <a:gd name="connsiteY355" fmla="*/ 156961 h 651992"/>
                    <a:gd name="connsiteX356" fmla="*/ 505898 w 1207394"/>
                    <a:gd name="connsiteY356" fmla="*/ 151528 h 651992"/>
                    <a:gd name="connsiteX357" fmla="*/ 504691 w 1207394"/>
                    <a:gd name="connsiteY357" fmla="*/ 146698 h 651992"/>
                    <a:gd name="connsiteX358" fmla="*/ 511935 w 1207394"/>
                    <a:gd name="connsiteY358" fmla="*/ 143680 h 651992"/>
                    <a:gd name="connsiteX359" fmla="*/ 514954 w 1207394"/>
                    <a:gd name="connsiteY359" fmla="*/ 138850 h 651992"/>
                    <a:gd name="connsiteX360" fmla="*/ 522198 w 1207394"/>
                    <a:gd name="connsiteY360" fmla="*/ 131606 h 651992"/>
                    <a:gd name="connsiteX361" fmla="*/ 534272 w 1207394"/>
                    <a:gd name="connsiteY361" fmla="*/ 123154 h 651992"/>
                    <a:gd name="connsiteX362" fmla="*/ 537894 w 1207394"/>
                    <a:gd name="connsiteY362" fmla="*/ 120136 h 651992"/>
                    <a:gd name="connsiteX363" fmla="*/ 538498 w 1207394"/>
                    <a:gd name="connsiteY363" fmla="*/ 115306 h 651992"/>
                    <a:gd name="connsiteX364" fmla="*/ 541516 w 1207394"/>
                    <a:gd name="connsiteY364" fmla="*/ 111080 h 651992"/>
                    <a:gd name="connsiteX365" fmla="*/ 541516 w 1207394"/>
                    <a:gd name="connsiteY365" fmla="*/ 107458 h 651992"/>
                    <a:gd name="connsiteX366" fmla="*/ 543931 w 1207394"/>
                    <a:gd name="connsiteY366" fmla="*/ 100214 h 651992"/>
                    <a:gd name="connsiteX367" fmla="*/ 549968 w 1207394"/>
                    <a:gd name="connsiteY367" fmla="*/ 89347 h 651992"/>
                    <a:gd name="connsiteX368" fmla="*/ 559023 w 1207394"/>
                    <a:gd name="connsiteY368" fmla="*/ 81499 h 651992"/>
                    <a:gd name="connsiteX369" fmla="*/ 565060 w 1207394"/>
                    <a:gd name="connsiteY369" fmla="*/ 74255 h 651992"/>
                    <a:gd name="connsiteX370" fmla="*/ 577738 w 1207394"/>
                    <a:gd name="connsiteY370" fmla="*/ 73651 h 651992"/>
                    <a:gd name="connsiteX371" fmla="*/ 580757 w 1207394"/>
                    <a:gd name="connsiteY371" fmla="*/ 72444 h 651992"/>
                    <a:gd name="connsiteX372" fmla="*/ 582568 w 1207394"/>
                    <a:gd name="connsiteY372" fmla="*/ 64596 h 651992"/>
                    <a:gd name="connsiteX373" fmla="*/ 591019 w 1207394"/>
                    <a:gd name="connsiteY373" fmla="*/ 59162 h 651992"/>
                    <a:gd name="connsiteX374" fmla="*/ 594642 w 1207394"/>
                    <a:gd name="connsiteY374" fmla="*/ 55540 h 651992"/>
                    <a:gd name="connsiteX375" fmla="*/ 607923 w 1207394"/>
                    <a:gd name="connsiteY375" fmla="*/ 57955 h 651992"/>
                    <a:gd name="connsiteX376" fmla="*/ 615771 w 1207394"/>
                    <a:gd name="connsiteY376" fmla="*/ 57955 h 651992"/>
                    <a:gd name="connsiteX377" fmla="*/ 620601 w 1207394"/>
                    <a:gd name="connsiteY377" fmla="*/ 55540 h 651992"/>
                    <a:gd name="connsiteX378" fmla="*/ 623619 w 1207394"/>
                    <a:gd name="connsiteY378" fmla="*/ 50107 h 651992"/>
                    <a:gd name="connsiteX379" fmla="*/ 624223 w 1207394"/>
                    <a:gd name="connsiteY379" fmla="*/ 44070 h 651992"/>
                    <a:gd name="connsiteX380" fmla="*/ 631467 w 1207394"/>
                    <a:gd name="connsiteY380" fmla="*/ 38033 h 651992"/>
                    <a:gd name="connsiteX381" fmla="*/ 633278 w 1207394"/>
                    <a:gd name="connsiteY381" fmla="*/ 35618 h 651992"/>
                    <a:gd name="connsiteX382" fmla="*/ 635090 w 1207394"/>
                    <a:gd name="connsiteY382" fmla="*/ 27166 h 651992"/>
                    <a:gd name="connsiteX383" fmla="*/ 638108 w 1207394"/>
                    <a:gd name="connsiteY383" fmla="*/ 27166 h 651992"/>
                    <a:gd name="connsiteX384" fmla="*/ 645352 w 1207394"/>
                    <a:gd name="connsiteY384" fmla="*/ 31996 h 651992"/>
                    <a:gd name="connsiteX385" fmla="*/ 652597 w 1207394"/>
                    <a:gd name="connsiteY385" fmla="*/ 37429 h 651992"/>
                    <a:gd name="connsiteX386" fmla="*/ 664067 w 1207394"/>
                    <a:gd name="connsiteY386" fmla="*/ 49503 h 651992"/>
                    <a:gd name="connsiteX387" fmla="*/ 668896 w 1207394"/>
                    <a:gd name="connsiteY387" fmla="*/ 56144 h 651992"/>
                    <a:gd name="connsiteX388" fmla="*/ 670104 w 1207394"/>
                    <a:gd name="connsiteY388" fmla="*/ 59766 h 651992"/>
                    <a:gd name="connsiteX389" fmla="*/ 669500 w 1207394"/>
                    <a:gd name="connsiteY389" fmla="*/ 67010 h 651992"/>
                    <a:gd name="connsiteX390" fmla="*/ 670104 w 1207394"/>
                    <a:gd name="connsiteY390" fmla="*/ 70633 h 651992"/>
                    <a:gd name="connsiteX391" fmla="*/ 680367 w 1207394"/>
                    <a:gd name="connsiteY391" fmla="*/ 66407 h 651992"/>
                    <a:gd name="connsiteX392" fmla="*/ 685800 w 1207394"/>
                    <a:gd name="connsiteY392" fmla="*/ 65803 h 651992"/>
                    <a:gd name="connsiteX393" fmla="*/ 695459 w 1207394"/>
                    <a:gd name="connsiteY393" fmla="*/ 71236 h 651992"/>
                    <a:gd name="connsiteX394" fmla="*/ 705118 w 1207394"/>
                    <a:gd name="connsiteY394" fmla="*/ 71840 h 651992"/>
                    <a:gd name="connsiteX395" fmla="*/ 714174 w 1207394"/>
                    <a:gd name="connsiteY395" fmla="*/ 77877 h 651992"/>
                    <a:gd name="connsiteX396" fmla="*/ 712966 w 1207394"/>
                    <a:gd name="connsiteY396" fmla="*/ 68821 h 651992"/>
                    <a:gd name="connsiteX397" fmla="*/ 720211 w 1207394"/>
                    <a:gd name="connsiteY397" fmla="*/ 73047 h 651992"/>
                    <a:gd name="connsiteX398" fmla="*/ 732285 w 1207394"/>
                    <a:gd name="connsiteY398" fmla="*/ 75462 h 651992"/>
                    <a:gd name="connsiteX399" fmla="*/ 737114 w 1207394"/>
                    <a:gd name="connsiteY399" fmla="*/ 82103 h 651992"/>
                    <a:gd name="connsiteX400" fmla="*/ 748585 w 1207394"/>
                    <a:gd name="connsiteY400" fmla="*/ 83914 h 651992"/>
                    <a:gd name="connsiteX401" fmla="*/ 763677 w 1207394"/>
                    <a:gd name="connsiteY401" fmla="*/ 83310 h 651992"/>
                    <a:gd name="connsiteX402" fmla="*/ 763677 w 1207394"/>
                    <a:gd name="connsiteY402" fmla="*/ 92969 h 651992"/>
                    <a:gd name="connsiteX403" fmla="*/ 766695 w 1207394"/>
                    <a:gd name="connsiteY403" fmla="*/ 95988 h 651992"/>
                    <a:gd name="connsiteX404" fmla="*/ 774543 w 1207394"/>
                    <a:gd name="connsiteY404" fmla="*/ 94177 h 651992"/>
                    <a:gd name="connsiteX405" fmla="*/ 782995 w 1207394"/>
                    <a:gd name="connsiteY405" fmla="*/ 98403 h 651992"/>
                    <a:gd name="connsiteX406" fmla="*/ 796276 w 1207394"/>
                    <a:gd name="connsiteY406" fmla="*/ 101421 h 651992"/>
                    <a:gd name="connsiteX407" fmla="*/ 798691 w 1207394"/>
                    <a:gd name="connsiteY407" fmla="*/ 99610 h 651992"/>
                    <a:gd name="connsiteX408" fmla="*/ 805936 w 1207394"/>
                    <a:gd name="connsiteY408" fmla="*/ 100818 h 651992"/>
                    <a:gd name="connsiteX409" fmla="*/ 812576 w 1207394"/>
                    <a:gd name="connsiteY409" fmla="*/ 88140 h 651992"/>
                    <a:gd name="connsiteX410" fmla="*/ 813180 w 1207394"/>
                    <a:gd name="connsiteY410" fmla="*/ 80292 h 651992"/>
                    <a:gd name="connsiteX411" fmla="*/ 815595 w 1207394"/>
                    <a:gd name="connsiteY411" fmla="*/ 75462 h 651992"/>
                    <a:gd name="connsiteX412" fmla="*/ 824650 w 1207394"/>
                    <a:gd name="connsiteY412" fmla="*/ 79084 h 651992"/>
                    <a:gd name="connsiteX413" fmla="*/ 824650 w 1207394"/>
                    <a:gd name="connsiteY413" fmla="*/ 66407 h 651992"/>
                    <a:gd name="connsiteX414" fmla="*/ 822839 w 1207394"/>
                    <a:gd name="connsiteY414" fmla="*/ 60370 h 651992"/>
                    <a:gd name="connsiteX415" fmla="*/ 824650 w 1207394"/>
                    <a:gd name="connsiteY415" fmla="*/ 58559 h 651992"/>
                    <a:gd name="connsiteX416" fmla="*/ 832498 w 1207394"/>
                    <a:gd name="connsiteY416" fmla="*/ 57955 h 651992"/>
                    <a:gd name="connsiteX417" fmla="*/ 833102 w 1207394"/>
                    <a:gd name="connsiteY417" fmla="*/ 51918 h 651992"/>
                    <a:gd name="connsiteX418" fmla="*/ 835517 w 1207394"/>
                    <a:gd name="connsiteY418" fmla="*/ 47692 h 651992"/>
                    <a:gd name="connsiteX419" fmla="*/ 842158 w 1207394"/>
                    <a:gd name="connsiteY419" fmla="*/ 50711 h 651992"/>
                    <a:gd name="connsiteX420" fmla="*/ 850609 w 1207394"/>
                    <a:gd name="connsiteY420" fmla="*/ 45277 h 651992"/>
                    <a:gd name="connsiteX421" fmla="*/ 856646 w 1207394"/>
                    <a:gd name="connsiteY421" fmla="*/ 38637 h 651992"/>
                    <a:gd name="connsiteX422" fmla="*/ 862080 w 1207394"/>
                    <a:gd name="connsiteY422" fmla="*/ 38033 h 651992"/>
                    <a:gd name="connsiteX423" fmla="*/ 865098 w 1207394"/>
                    <a:gd name="connsiteY423" fmla="*/ 34411 h 651992"/>
                    <a:gd name="connsiteX424" fmla="*/ 865702 w 1207394"/>
                    <a:gd name="connsiteY424" fmla="*/ 31392 h 651992"/>
                    <a:gd name="connsiteX425" fmla="*/ 872342 w 1207394"/>
                    <a:gd name="connsiteY425" fmla="*/ 25355 h 651992"/>
                    <a:gd name="connsiteX426" fmla="*/ 875361 w 1207394"/>
                    <a:gd name="connsiteY426" fmla="*/ 29581 h 651992"/>
                    <a:gd name="connsiteX427" fmla="*/ 882605 w 1207394"/>
                    <a:gd name="connsiteY427" fmla="*/ 25355 h 651992"/>
                    <a:gd name="connsiteX428" fmla="*/ 885020 w 1207394"/>
                    <a:gd name="connsiteY428" fmla="*/ 25959 h 651992"/>
                    <a:gd name="connsiteX429" fmla="*/ 893472 w 1207394"/>
                    <a:gd name="connsiteY429" fmla="*/ 16903 h 651992"/>
                    <a:gd name="connsiteX430" fmla="*/ 909168 w 1207394"/>
                    <a:gd name="connsiteY430" fmla="*/ 18715 h 651992"/>
                    <a:gd name="connsiteX431" fmla="*/ 917016 w 1207394"/>
                    <a:gd name="connsiteY431" fmla="*/ 12074 h 651992"/>
                    <a:gd name="connsiteX432" fmla="*/ 921242 w 1207394"/>
                    <a:gd name="connsiteY432" fmla="*/ 9659 h 651992"/>
                    <a:gd name="connsiteX433" fmla="*/ 929694 w 1207394"/>
                    <a:gd name="connsiteY433" fmla="*/ 1207 h 651992"/>
                    <a:gd name="connsiteX434" fmla="*/ 934523 w 1207394"/>
                    <a:gd name="connsiteY434" fmla="*/ 0 h 651992"/>
                    <a:gd name="connsiteX435" fmla="*/ 937542 w 1207394"/>
                    <a:gd name="connsiteY435" fmla="*/ 1207 h 651992"/>
                    <a:gd name="connsiteX436" fmla="*/ 941768 w 1207394"/>
                    <a:gd name="connsiteY436" fmla="*/ 8452 h 651992"/>
                    <a:gd name="connsiteX437" fmla="*/ 949012 w 1207394"/>
                    <a:gd name="connsiteY437" fmla="*/ 15092 h 651992"/>
                    <a:gd name="connsiteX438" fmla="*/ 956256 w 1207394"/>
                    <a:gd name="connsiteY438" fmla="*/ 27770 h 651992"/>
                    <a:gd name="connsiteX439" fmla="*/ 955653 w 1207394"/>
                    <a:gd name="connsiteY439" fmla="*/ 36222 h 651992"/>
                    <a:gd name="connsiteX440" fmla="*/ 959879 w 1207394"/>
                    <a:gd name="connsiteY440" fmla="*/ 39844 h 651992"/>
                    <a:gd name="connsiteX441" fmla="*/ 961690 w 1207394"/>
                    <a:gd name="connsiteY441" fmla="*/ 44674 h 651992"/>
                    <a:gd name="connsiteX442" fmla="*/ 966519 w 1207394"/>
                    <a:gd name="connsiteY442" fmla="*/ 51918 h 651992"/>
                    <a:gd name="connsiteX443" fmla="*/ 970142 w 1207394"/>
                    <a:gd name="connsiteY443" fmla="*/ 54333 h 651992"/>
                    <a:gd name="connsiteX444" fmla="*/ 978593 w 1207394"/>
                    <a:gd name="connsiteY444" fmla="*/ 53729 h 651992"/>
                    <a:gd name="connsiteX445" fmla="*/ 982819 w 1207394"/>
                    <a:gd name="connsiteY445" fmla="*/ 48296 h 651992"/>
                    <a:gd name="connsiteX446" fmla="*/ 989460 w 1207394"/>
                    <a:gd name="connsiteY446" fmla="*/ 46485 h 651992"/>
                    <a:gd name="connsiteX447" fmla="*/ 993082 w 1207394"/>
                    <a:gd name="connsiteY447" fmla="*/ 41655 h 651992"/>
                    <a:gd name="connsiteX448" fmla="*/ 995496 w 1207394"/>
                    <a:gd name="connsiteY448" fmla="*/ 42259 h 651992"/>
                    <a:gd name="connsiteX449" fmla="*/ 999119 w 1207394"/>
                    <a:gd name="connsiteY449" fmla="*/ 48900 h 651992"/>
                    <a:gd name="connsiteX450" fmla="*/ 997911 w 1207394"/>
                    <a:gd name="connsiteY450" fmla="*/ 54333 h 651992"/>
                    <a:gd name="connsiteX451" fmla="*/ 994893 w 1207394"/>
                    <a:gd name="connsiteY451" fmla="*/ 57955 h 651992"/>
                    <a:gd name="connsiteX452" fmla="*/ 991874 w 1207394"/>
                    <a:gd name="connsiteY452" fmla="*/ 66407 h 651992"/>
                    <a:gd name="connsiteX453" fmla="*/ 989460 w 1207394"/>
                    <a:gd name="connsiteY453" fmla="*/ 68821 h 651992"/>
                    <a:gd name="connsiteX454" fmla="*/ 981612 w 1207394"/>
                    <a:gd name="connsiteY454" fmla="*/ 69425 h 651992"/>
                    <a:gd name="connsiteX455" fmla="*/ 971953 w 1207394"/>
                    <a:gd name="connsiteY455" fmla="*/ 71236 h 651992"/>
                    <a:gd name="connsiteX456" fmla="*/ 969538 w 1207394"/>
                    <a:gd name="connsiteY456" fmla="*/ 73651 h 651992"/>
                    <a:gd name="connsiteX457" fmla="*/ 962897 w 1207394"/>
                    <a:gd name="connsiteY457" fmla="*/ 76670 h 651992"/>
                    <a:gd name="connsiteX458" fmla="*/ 959275 w 1207394"/>
                    <a:gd name="connsiteY458" fmla="*/ 84518 h 651992"/>
                    <a:gd name="connsiteX459" fmla="*/ 953238 w 1207394"/>
                    <a:gd name="connsiteY459" fmla="*/ 88744 h 651992"/>
                    <a:gd name="connsiteX460" fmla="*/ 943579 w 1207394"/>
                    <a:gd name="connsiteY460" fmla="*/ 90555 h 651992"/>
                    <a:gd name="connsiteX461" fmla="*/ 949012 w 1207394"/>
                    <a:gd name="connsiteY461" fmla="*/ 96592 h 651992"/>
                    <a:gd name="connsiteX462" fmla="*/ 952031 w 1207394"/>
                    <a:gd name="connsiteY462" fmla="*/ 104440 h 651992"/>
                    <a:gd name="connsiteX463" fmla="*/ 956256 w 1207394"/>
                    <a:gd name="connsiteY463" fmla="*/ 112288 h 651992"/>
                    <a:gd name="connsiteX464" fmla="*/ 955653 w 1207394"/>
                    <a:gd name="connsiteY464" fmla="*/ 116513 h 651992"/>
                    <a:gd name="connsiteX465" fmla="*/ 950219 w 1207394"/>
                    <a:gd name="connsiteY465" fmla="*/ 119532 h 651992"/>
                    <a:gd name="connsiteX466" fmla="*/ 948408 w 1207394"/>
                    <a:gd name="connsiteY466" fmla="*/ 123758 h 651992"/>
                    <a:gd name="connsiteX467" fmla="*/ 952031 w 1207394"/>
                    <a:gd name="connsiteY467" fmla="*/ 127380 h 651992"/>
                    <a:gd name="connsiteX468" fmla="*/ 952634 w 1207394"/>
                    <a:gd name="connsiteY468" fmla="*/ 131606 h 651992"/>
                    <a:gd name="connsiteX469" fmla="*/ 965312 w 1207394"/>
                    <a:gd name="connsiteY469" fmla="*/ 126173 h 651992"/>
                    <a:gd name="connsiteX470" fmla="*/ 969538 w 1207394"/>
                    <a:gd name="connsiteY470" fmla="*/ 122550 h 651992"/>
                    <a:gd name="connsiteX471" fmla="*/ 970745 w 1207394"/>
                    <a:gd name="connsiteY471" fmla="*/ 118928 h 651992"/>
                    <a:gd name="connsiteX472" fmla="*/ 978593 w 1207394"/>
                    <a:gd name="connsiteY472" fmla="*/ 109873 h 651992"/>
                    <a:gd name="connsiteX473" fmla="*/ 984630 w 1207394"/>
                    <a:gd name="connsiteY473" fmla="*/ 106251 h 651992"/>
                    <a:gd name="connsiteX474" fmla="*/ 989460 w 1207394"/>
                    <a:gd name="connsiteY474" fmla="*/ 101421 h 651992"/>
                    <a:gd name="connsiteX475" fmla="*/ 1008174 w 1207394"/>
                    <a:gd name="connsiteY475" fmla="*/ 100214 h 651992"/>
                    <a:gd name="connsiteX476" fmla="*/ 1013004 w 1207394"/>
                    <a:gd name="connsiteY476" fmla="*/ 98403 h 651992"/>
                    <a:gd name="connsiteX477" fmla="*/ 1016626 w 1207394"/>
                    <a:gd name="connsiteY477" fmla="*/ 95384 h 651992"/>
                    <a:gd name="connsiteX478" fmla="*/ 1026285 w 1207394"/>
                    <a:gd name="connsiteY478" fmla="*/ 90555 h 651992"/>
                    <a:gd name="connsiteX479" fmla="*/ 1019041 w 1207394"/>
                    <a:gd name="connsiteY479" fmla="*/ 106854 h 651992"/>
                    <a:gd name="connsiteX480" fmla="*/ 1016626 w 1207394"/>
                    <a:gd name="connsiteY480" fmla="*/ 110477 h 651992"/>
                    <a:gd name="connsiteX481" fmla="*/ 1018437 w 1207394"/>
                    <a:gd name="connsiteY481" fmla="*/ 117721 h 651992"/>
                    <a:gd name="connsiteX482" fmla="*/ 1025681 w 1207394"/>
                    <a:gd name="connsiteY482" fmla="*/ 117721 h 651992"/>
                    <a:gd name="connsiteX483" fmla="*/ 1026285 w 1207394"/>
                    <a:gd name="connsiteY483" fmla="*/ 121343 h 651992"/>
                    <a:gd name="connsiteX484" fmla="*/ 1029304 w 1207394"/>
                    <a:gd name="connsiteY484" fmla="*/ 127984 h 651992"/>
                    <a:gd name="connsiteX485" fmla="*/ 1028700 w 1207394"/>
                    <a:gd name="connsiteY485" fmla="*/ 136436 h 651992"/>
                    <a:gd name="connsiteX486" fmla="*/ 1038359 w 1207394"/>
                    <a:gd name="connsiteY486" fmla="*/ 151528 h 651992"/>
                    <a:gd name="connsiteX487" fmla="*/ 1043792 w 1207394"/>
                    <a:gd name="connsiteY487" fmla="*/ 156961 h 651992"/>
                    <a:gd name="connsiteX488" fmla="*/ 1045000 w 1207394"/>
                    <a:gd name="connsiteY488" fmla="*/ 164809 h 651992"/>
                    <a:gd name="connsiteX489" fmla="*/ 1038963 w 1207394"/>
                    <a:gd name="connsiteY489" fmla="*/ 175072 h 651992"/>
                    <a:gd name="connsiteX490" fmla="*/ 1033530 w 1207394"/>
                    <a:gd name="connsiteY490" fmla="*/ 176883 h 651992"/>
                    <a:gd name="connsiteX491" fmla="*/ 1028096 w 1207394"/>
                    <a:gd name="connsiteY491" fmla="*/ 177487 h 651992"/>
                    <a:gd name="connsiteX492" fmla="*/ 1019041 w 1207394"/>
                    <a:gd name="connsiteY492" fmla="*/ 182317 h 651992"/>
                    <a:gd name="connsiteX493" fmla="*/ 1015419 w 1207394"/>
                    <a:gd name="connsiteY493" fmla="*/ 183524 h 651992"/>
                    <a:gd name="connsiteX494" fmla="*/ 1020248 w 1207394"/>
                    <a:gd name="connsiteY494" fmla="*/ 193183 h 651992"/>
                    <a:gd name="connsiteX495" fmla="*/ 1015419 w 1207394"/>
                    <a:gd name="connsiteY495" fmla="*/ 198013 h 651992"/>
                    <a:gd name="connsiteX496" fmla="*/ 1009985 w 1207394"/>
                    <a:gd name="connsiteY496" fmla="*/ 202239 h 651992"/>
                    <a:gd name="connsiteX497" fmla="*/ 1005156 w 1207394"/>
                    <a:gd name="connsiteY497" fmla="*/ 207068 h 651992"/>
                    <a:gd name="connsiteX498" fmla="*/ 1002137 w 1207394"/>
                    <a:gd name="connsiteY498" fmla="*/ 204653 h 651992"/>
                    <a:gd name="connsiteX499" fmla="*/ 1000930 w 1207394"/>
                    <a:gd name="connsiteY499" fmla="*/ 212501 h 651992"/>
                    <a:gd name="connsiteX500" fmla="*/ 991271 w 1207394"/>
                    <a:gd name="connsiteY500" fmla="*/ 212501 h 651992"/>
                    <a:gd name="connsiteX501" fmla="*/ 985234 w 1207394"/>
                    <a:gd name="connsiteY501" fmla="*/ 219746 h 651992"/>
                    <a:gd name="connsiteX502" fmla="*/ 992478 w 1207394"/>
                    <a:gd name="connsiteY502" fmla="*/ 224575 h 651992"/>
                    <a:gd name="connsiteX503" fmla="*/ 994893 w 1207394"/>
                    <a:gd name="connsiteY503" fmla="*/ 227594 h 651992"/>
                    <a:gd name="connsiteX504" fmla="*/ 993685 w 1207394"/>
                    <a:gd name="connsiteY504" fmla="*/ 231820 h 651992"/>
                    <a:gd name="connsiteX505" fmla="*/ 987045 w 1207394"/>
                    <a:gd name="connsiteY505" fmla="*/ 235442 h 651992"/>
                    <a:gd name="connsiteX506" fmla="*/ 973160 w 1207394"/>
                    <a:gd name="connsiteY506" fmla="*/ 246308 h 651992"/>
                    <a:gd name="connsiteX507" fmla="*/ 973160 w 1207394"/>
                    <a:gd name="connsiteY507" fmla="*/ 248120 h 651992"/>
                    <a:gd name="connsiteX508" fmla="*/ 981008 w 1207394"/>
                    <a:gd name="connsiteY508" fmla="*/ 249327 h 651992"/>
                    <a:gd name="connsiteX509" fmla="*/ 984026 w 1207394"/>
                    <a:gd name="connsiteY509" fmla="*/ 253553 h 651992"/>
                    <a:gd name="connsiteX510" fmla="*/ 994893 w 1207394"/>
                    <a:gd name="connsiteY510" fmla="*/ 251742 h 651992"/>
                    <a:gd name="connsiteX511" fmla="*/ 996704 w 1207394"/>
                    <a:gd name="connsiteY511" fmla="*/ 258986 h 651992"/>
                    <a:gd name="connsiteX512" fmla="*/ 999119 w 1207394"/>
                    <a:gd name="connsiteY512" fmla="*/ 258986 h 651992"/>
                    <a:gd name="connsiteX513" fmla="*/ 1000326 w 1207394"/>
                    <a:gd name="connsiteY513" fmla="*/ 263212 h 651992"/>
                    <a:gd name="connsiteX514" fmla="*/ 1005156 w 1207394"/>
                    <a:gd name="connsiteY514" fmla="*/ 262005 h 651992"/>
                    <a:gd name="connsiteX515" fmla="*/ 1006967 w 1207394"/>
                    <a:gd name="connsiteY515" fmla="*/ 252345 h 651992"/>
                    <a:gd name="connsiteX516" fmla="*/ 1012400 w 1207394"/>
                    <a:gd name="connsiteY516" fmla="*/ 245705 h 651992"/>
                    <a:gd name="connsiteX517" fmla="*/ 1017230 w 1207394"/>
                    <a:gd name="connsiteY517" fmla="*/ 244497 h 651992"/>
                    <a:gd name="connsiteX518" fmla="*/ 1023267 w 1207394"/>
                    <a:gd name="connsiteY518" fmla="*/ 246308 h 651992"/>
                    <a:gd name="connsiteX519" fmla="*/ 1031718 w 1207394"/>
                    <a:gd name="connsiteY519" fmla="*/ 240271 h 651992"/>
                    <a:gd name="connsiteX520" fmla="*/ 1033530 w 1207394"/>
                    <a:gd name="connsiteY520" fmla="*/ 237857 h 651992"/>
                    <a:gd name="connsiteX521" fmla="*/ 1041378 w 1207394"/>
                    <a:gd name="connsiteY521" fmla="*/ 234838 h 651992"/>
                    <a:gd name="connsiteX522" fmla="*/ 1055263 w 1207394"/>
                    <a:gd name="connsiteY522" fmla="*/ 234838 h 651992"/>
                    <a:gd name="connsiteX523" fmla="*/ 1058885 w 1207394"/>
                    <a:gd name="connsiteY523" fmla="*/ 238460 h 651992"/>
                    <a:gd name="connsiteX524" fmla="*/ 1066129 w 1207394"/>
                    <a:gd name="connsiteY524" fmla="*/ 242686 h 651992"/>
                    <a:gd name="connsiteX525" fmla="*/ 1069752 w 1207394"/>
                    <a:gd name="connsiteY525" fmla="*/ 243290 h 651992"/>
                    <a:gd name="connsiteX526" fmla="*/ 1074581 w 1207394"/>
                    <a:gd name="connsiteY526" fmla="*/ 246912 h 651992"/>
                    <a:gd name="connsiteX527" fmla="*/ 1077600 w 1207394"/>
                    <a:gd name="connsiteY527" fmla="*/ 256571 h 651992"/>
                    <a:gd name="connsiteX528" fmla="*/ 1088466 w 1207394"/>
                    <a:gd name="connsiteY528" fmla="*/ 257779 h 651992"/>
                    <a:gd name="connsiteX529" fmla="*/ 1093899 w 1207394"/>
                    <a:gd name="connsiteY529" fmla="*/ 257779 h 651992"/>
                    <a:gd name="connsiteX530" fmla="*/ 1095710 w 1207394"/>
                    <a:gd name="connsiteY530" fmla="*/ 255364 h 651992"/>
                    <a:gd name="connsiteX531" fmla="*/ 1103558 w 1207394"/>
                    <a:gd name="connsiteY531" fmla="*/ 253553 h 651992"/>
                    <a:gd name="connsiteX532" fmla="*/ 1107784 w 1207394"/>
                    <a:gd name="connsiteY532" fmla="*/ 258986 h 651992"/>
                    <a:gd name="connsiteX533" fmla="*/ 1108992 w 1207394"/>
                    <a:gd name="connsiteY533" fmla="*/ 263212 h 651992"/>
                    <a:gd name="connsiteX534" fmla="*/ 1114425 w 1207394"/>
                    <a:gd name="connsiteY534" fmla="*/ 264419 h 651992"/>
                    <a:gd name="connsiteX535" fmla="*/ 1119254 w 1207394"/>
                    <a:gd name="connsiteY535" fmla="*/ 268042 h 651992"/>
                    <a:gd name="connsiteX536" fmla="*/ 1123480 w 1207394"/>
                    <a:gd name="connsiteY536" fmla="*/ 269853 h 651992"/>
                    <a:gd name="connsiteX537" fmla="*/ 1128914 w 1207394"/>
                    <a:gd name="connsiteY537" fmla="*/ 267438 h 651992"/>
                    <a:gd name="connsiteX538" fmla="*/ 1134951 w 1207394"/>
                    <a:gd name="connsiteY538" fmla="*/ 260194 h 651992"/>
                    <a:gd name="connsiteX539" fmla="*/ 1143402 w 1207394"/>
                    <a:gd name="connsiteY539" fmla="*/ 257175 h 651992"/>
                    <a:gd name="connsiteX540" fmla="*/ 1150043 w 1207394"/>
                    <a:gd name="connsiteY540" fmla="*/ 260797 h 651992"/>
                    <a:gd name="connsiteX541" fmla="*/ 1157288 w 1207394"/>
                    <a:gd name="connsiteY541" fmla="*/ 267438 h 651992"/>
                    <a:gd name="connsiteX542" fmla="*/ 1159099 w 1207394"/>
                    <a:gd name="connsiteY542" fmla="*/ 273475 h 651992"/>
                    <a:gd name="connsiteX543" fmla="*/ 1163928 w 1207394"/>
                    <a:gd name="connsiteY543" fmla="*/ 275286 h 651992"/>
                    <a:gd name="connsiteX544" fmla="*/ 1170569 w 1207394"/>
                    <a:gd name="connsiteY544" fmla="*/ 273475 h 651992"/>
                    <a:gd name="connsiteX545" fmla="*/ 1174191 w 1207394"/>
                    <a:gd name="connsiteY545" fmla="*/ 279512 h 651992"/>
                    <a:gd name="connsiteX546" fmla="*/ 1182643 w 1207394"/>
                    <a:gd name="connsiteY546" fmla="*/ 279512 h 651992"/>
                    <a:gd name="connsiteX547" fmla="*/ 1187473 w 1207394"/>
                    <a:gd name="connsiteY547" fmla="*/ 281927 h 651992"/>
                    <a:gd name="connsiteX548" fmla="*/ 1188680 w 1207394"/>
                    <a:gd name="connsiteY548" fmla="*/ 284945 h 651992"/>
                    <a:gd name="connsiteX549" fmla="*/ 1192906 w 1207394"/>
                    <a:gd name="connsiteY549" fmla="*/ 286152 h 651992"/>
                    <a:gd name="connsiteX550" fmla="*/ 1196528 w 1207394"/>
                    <a:gd name="connsiteY550" fmla="*/ 289171 h 651992"/>
                    <a:gd name="connsiteX551" fmla="*/ 1201357 w 1207394"/>
                    <a:gd name="connsiteY551" fmla="*/ 290982 h 651992"/>
                    <a:gd name="connsiteX552" fmla="*/ 1206791 w 1207394"/>
                    <a:gd name="connsiteY552" fmla="*/ 297019 h 651992"/>
                    <a:gd name="connsiteX553" fmla="*/ 1204980 w 1207394"/>
                    <a:gd name="connsiteY553" fmla="*/ 299434 h 651992"/>
                    <a:gd name="connsiteX554" fmla="*/ 1200754 w 1207394"/>
                    <a:gd name="connsiteY554" fmla="*/ 297019 h 651992"/>
                    <a:gd name="connsiteX555" fmla="*/ 1192302 w 1207394"/>
                    <a:gd name="connsiteY555" fmla="*/ 306075 h 651992"/>
                    <a:gd name="connsiteX556" fmla="*/ 1191095 w 1207394"/>
                    <a:gd name="connsiteY556" fmla="*/ 309093 h 651992"/>
                    <a:gd name="connsiteX557" fmla="*/ 1194113 w 1207394"/>
                    <a:gd name="connsiteY557" fmla="*/ 315734 h 651992"/>
                    <a:gd name="connsiteX558" fmla="*/ 1188076 w 1207394"/>
                    <a:gd name="connsiteY558" fmla="*/ 322374 h 651992"/>
                    <a:gd name="connsiteX559" fmla="*/ 1188680 w 1207394"/>
                    <a:gd name="connsiteY559" fmla="*/ 327808 h 651992"/>
                    <a:gd name="connsiteX560" fmla="*/ 1192906 w 1207394"/>
                    <a:gd name="connsiteY560" fmla="*/ 328411 h 651992"/>
                    <a:gd name="connsiteX561" fmla="*/ 1199546 w 1207394"/>
                    <a:gd name="connsiteY561" fmla="*/ 327808 h 651992"/>
                    <a:gd name="connsiteX562" fmla="*/ 1201961 w 1207394"/>
                    <a:gd name="connsiteY562" fmla="*/ 335052 h 651992"/>
                    <a:gd name="connsiteX563" fmla="*/ 1206791 w 1207394"/>
                    <a:gd name="connsiteY563" fmla="*/ 335656 h 651992"/>
                    <a:gd name="connsiteX564" fmla="*/ 1209205 w 1207394"/>
                    <a:gd name="connsiteY564" fmla="*/ 340485 h 651992"/>
                    <a:gd name="connsiteX565" fmla="*/ 1204980 w 1207394"/>
                    <a:gd name="connsiteY565" fmla="*/ 341089 h 651992"/>
                    <a:gd name="connsiteX566" fmla="*/ 1202565 w 1207394"/>
                    <a:gd name="connsiteY566" fmla="*/ 347126 h 651992"/>
                    <a:gd name="connsiteX567" fmla="*/ 1201961 w 1207394"/>
                    <a:gd name="connsiteY567" fmla="*/ 356785 h 651992"/>
                    <a:gd name="connsiteX568" fmla="*/ 1204376 w 1207394"/>
                    <a:gd name="connsiteY568" fmla="*/ 359804 h 651992"/>
                    <a:gd name="connsiteX569" fmla="*/ 1202565 w 1207394"/>
                    <a:gd name="connsiteY569" fmla="*/ 362822 h 651992"/>
                    <a:gd name="connsiteX570" fmla="*/ 1204376 w 1207394"/>
                    <a:gd name="connsiteY570" fmla="*/ 368255 h 651992"/>
                    <a:gd name="connsiteX571" fmla="*/ 1199546 w 1207394"/>
                    <a:gd name="connsiteY571" fmla="*/ 370670 h 651992"/>
                    <a:gd name="connsiteX572" fmla="*/ 1195321 w 1207394"/>
                    <a:gd name="connsiteY572" fmla="*/ 368859 h 651992"/>
                    <a:gd name="connsiteX573" fmla="*/ 1190491 w 1207394"/>
                    <a:gd name="connsiteY573" fmla="*/ 369463 h 651992"/>
                    <a:gd name="connsiteX574" fmla="*/ 1191095 w 1207394"/>
                    <a:gd name="connsiteY574" fmla="*/ 364633 h 651992"/>
                    <a:gd name="connsiteX575" fmla="*/ 1188076 w 1207394"/>
                    <a:gd name="connsiteY575" fmla="*/ 360407 h 651992"/>
                    <a:gd name="connsiteX576" fmla="*/ 1177210 w 1207394"/>
                    <a:gd name="connsiteY576" fmla="*/ 365237 h 651992"/>
                    <a:gd name="connsiteX577" fmla="*/ 1172984 w 1207394"/>
                    <a:gd name="connsiteY577" fmla="*/ 369463 h 651992"/>
                    <a:gd name="connsiteX578" fmla="*/ 1166343 w 1207394"/>
                    <a:gd name="connsiteY578" fmla="*/ 375500 h 651992"/>
                    <a:gd name="connsiteX579" fmla="*/ 1157288 w 1207394"/>
                    <a:gd name="connsiteY579" fmla="*/ 385159 h 651992"/>
                    <a:gd name="connsiteX580" fmla="*/ 1152458 w 1207394"/>
                    <a:gd name="connsiteY580" fmla="*/ 386970 h 651992"/>
                    <a:gd name="connsiteX581" fmla="*/ 1150043 w 1207394"/>
                    <a:gd name="connsiteY581" fmla="*/ 391196 h 651992"/>
                    <a:gd name="connsiteX582" fmla="*/ 1145214 w 1207394"/>
                    <a:gd name="connsiteY582" fmla="*/ 391799 h 651992"/>
                    <a:gd name="connsiteX583" fmla="*/ 1145817 w 1207394"/>
                    <a:gd name="connsiteY583" fmla="*/ 396629 h 651992"/>
                    <a:gd name="connsiteX584" fmla="*/ 1144006 w 1207394"/>
                    <a:gd name="connsiteY584" fmla="*/ 402062 h 651992"/>
                    <a:gd name="connsiteX585" fmla="*/ 1137969 w 1207394"/>
                    <a:gd name="connsiteY585" fmla="*/ 399648 h 651992"/>
                    <a:gd name="connsiteX586" fmla="*/ 1131932 w 1207394"/>
                    <a:gd name="connsiteY586" fmla="*/ 401459 h 651992"/>
                    <a:gd name="connsiteX587" fmla="*/ 1127706 w 1207394"/>
                    <a:gd name="connsiteY587" fmla="*/ 404477 h 651992"/>
                    <a:gd name="connsiteX588" fmla="*/ 1125291 w 1207394"/>
                    <a:gd name="connsiteY588" fmla="*/ 411118 h 651992"/>
                    <a:gd name="connsiteX589" fmla="*/ 1121066 w 1207394"/>
                    <a:gd name="connsiteY589" fmla="*/ 415947 h 651992"/>
                    <a:gd name="connsiteX590" fmla="*/ 1119858 w 1207394"/>
                    <a:gd name="connsiteY590" fmla="*/ 420173 h 651992"/>
                    <a:gd name="connsiteX591" fmla="*/ 1115632 w 1207394"/>
                    <a:gd name="connsiteY591" fmla="*/ 419570 h 651992"/>
                    <a:gd name="connsiteX592" fmla="*/ 1109595 w 1207394"/>
                    <a:gd name="connsiteY592" fmla="*/ 423796 h 651992"/>
                    <a:gd name="connsiteX593" fmla="*/ 1107784 w 1207394"/>
                    <a:gd name="connsiteY593" fmla="*/ 429832 h 651992"/>
                    <a:gd name="connsiteX594" fmla="*/ 1102955 w 1207394"/>
                    <a:gd name="connsiteY594" fmla="*/ 432247 h 651992"/>
                    <a:gd name="connsiteX595" fmla="*/ 1103558 w 1207394"/>
                    <a:gd name="connsiteY595" fmla="*/ 438888 h 651992"/>
                    <a:gd name="connsiteX596" fmla="*/ 1106577 w 1207394"/>
                    <a:gd name="connsiteY596" fmla="*/ 440095 h 651992"/>
                    <a:gd name="connsiteX597" fmla="*/ 1107181 w 1207394"/>
                    <a:gd name="connsiteY597" fmla="*/ 446736 h 651992"/>
                    <a:gd name="connsiteX598" fmla="*/ 1111406 w 1207394"/>
                    <a:gd name="connsiteY598" fmla="*/ 453377 h 651992"/>
                    <a:gd name="connsiteX599" fmla="*/ 1110803 w 1207394"/>
                    <a:gd name="connsiteY599" fmla="*/ 456999 h 651992"/>
                    <a:gd name="connsiteX600" fmla="*/ 1106577 w 1207394"/>
                    <a:gd name="connsiteY600" fmla="*/ 463036 h 651992"/>
                    <a:gd name="connsiteX601" fmla="*/ 1105973 w 1207394"/>
                    <a:gd name="connsiteY601" fmla="*/ 469073 h 651992"/>
                    <a:gd name="connsiteX602" fmla="*/ 1110803 w 1207394"/>
                    <a:gd name="connsiteY602" fmla="*/ 472091 h 651992"/>
                    <a:gd name="connsiteX603" fmla="*/ 1112010 w 1207394"/>
                    <a:gd name="connsiteY603" fmla="*/ 477525 h 651992"/>
                    <a:gd name="connsiteX604" fmla="*/ 1117443 w 1207394"/>
                    <a:gd name="connsiteY604" fmla="*/ 479939 h 651992"/>
                    <a:gd name="connsiteX605" fmla="*/ 1119254 w 1207394"/>
                    <a:gd name="connsiteY605" fmla="*/ 484769 h 651992"/>
                    <a:gd name="connsiteX606" fmla="*/ 1118047 w 1207394"/>
                    <a:gd name="connsiteY606" fmla="*/ 486580 h 651992"/>
                    <a:gd name="connsiteX607" fmla="*/ 1121066 w 1207394"/>
                    <a:gd name="connsiteY607" fmla="*/ 492013 h 651992"/>
                    <a:gd name="connsiteX608" fmla="*/ 1124084 w 1207394"/>
                    <a:gd name="connsiteY608" fmla="*/ 493824 h 651992"/>
                    <a:gd name="connsiteX609" fmla="*/ 1125291 w 1207394"/>
                    <a:gd name="connsiteY609" fmla="*/ 499861 h 651992"/>
                    <a:gd name="connsiteX610" fmla="*/ 1132536 w 1207394"/>
                    <a:gd name="connsiteY610" fmla="*/ 505295 h 651992"/>
                    <a:gd name="connsiteX611" fmla="*/ 1133140 w 1207394"/>
                    <a:gd name="connsiteY611" fmla="*/ 508917 h 651992"/>
                    <a:gd name="connsiteX612" fmla="*/ 1140988 w 1207394"/>
                    <a:gd name="connsiteY612" fmla="*/ 517369 h 651992"/>
                    <a:gd name="connsiteX613" fmla="*/ 1144006 w 1207394"/>
                    <a:gd name="connsiteY613" fmla="*/ 519180 h 651992"/>
                    <a:gd name="connsiteX614" fmla="*/ 1144006 w 1207394"/>
                    <a:gd name="connsiteY614" fmla="*/ 525217 h 651992"/>
                    <a:gd name="connsiteX615" fmla="*/ 1148232 w 1207394"/>
                    <a:gd name="connsiteY615" fmla="*/ 527631 h 651992"/>
                    <a:gd name="connsiteX616" fmla="*/ 1150647 w 1207394"/>
                    <a:gd name="connsiteY616" fmla="*/ 533668 h 651992"/>
                    <a:gd name="connsiteX617" fmla="*/ 1155476 w 1207394"/>
                    <a:gd name="connsiteY617" fmla="*/ 534876 h 651992"/>
                    <a:gd name="connsiteX618" fmla="*/ 1159099 w 1207394"/>
                    <a:gd name="connsiteY618" fmla="*/ 540309 h 651992"/>
                    <a:gd name="connsiteX619" fmla="*/ 1159702 w 1207394"/>
                    <a:gd name="connsiteY619" fmla="*/ 544535 h 651992"/>
                    <a:gd name="connsiteX620" fmla="*/ 1156684 w 1207394"/>
                    <a:gd name="connsiteY620" fmla="*/ 546950 h 651992"/>
                    <a:gd name="connsiteX621" fmla="*/ 1154269 w 1207394"/>
                    <a:gd name="connsiteY621" fmla="*/ 552383 h 651992"/>
                    <a:gd name="connsiteX622" fmla="*/ 1151251 w 1207394"/>
                    <a:gd name="connsiteY622" fmla="*/ 552383 h 651992"/>
                    <a:gd name="connsiteX623" fmla="*/ 1146421 w 1207394"/>
                    <a:gd name="connsiteY623" fmla="*/ 548157 h 651992"/>
                    <a:gd name="connsiteX624" fmla="*/ 1140384 w 1207394"/>
                    <a:gd name="connsiteY624" fmla="*/ 550572 h 651992"/>
                    <a:gd name="connsiteX625" fmla="*/ 1137365 w 1207394"/>
                    <a:gd name="connsiteY625" fmla="*/ 550572 h 651992"/>
                    <a:gd name="connsiteX626" fmla="*/ 1130725 w 1207394"/>
                    <a:gd name="connsiteY626" fmla="*/ 543327 h 651992"/>
                    <a:gd name="connsiteX627" fmla="*/ 1124084 w 1207394"/>
                    <a:gd name="connsiteY627" fmla="*/ 540913 h 651992"/>
                    <a:gd name="connsiteX628" fmla="*/ 1121066 w 1207394"/>
                    <a:gd name="connsiteY628" fmla="*/ 537894 h 651992"/>
                    <a:gd name="connsiteX629" fmla="*/ 1115029 w 1207394"/>
                    <a:gd name="connsiteY629" fmla="*/ 536083 h 651992"/>
                    <a:gd name="connsiteX630" fmla="*/ 1107784 w 1207394"/>
                    <a:gd name="connsiteY630" fmla="*/ 535480 h 651992"/>
                    <a:gd name="connsiteX631" fmla="*/ 1096918 w 1207394"/>
                    <a:gd name="connsiteY631" fmla="*/ 530046 h 651992"/>
                    <a:gd name="connsiteX632" fmla="*/ 1096314 w 1207394"/>
                    <a:gd name="connsiteY632" fmla="*/ 525820 h 651992"/>
                    <a:gd name="connsiteX633" fmla="*/ 1101747 w 1207394"/>
                    <a:gd name="connsiteY633" fmla="*/ 521594 h 651992"/>
                    <a:gd name="connsiteX634" fmla="*/ 1100540 w 1207394"/>
                    <a:gd name="connsiteY634" fmla="*/ 514350 h 651992"/>
                    <a:gd name="connsiteX635" fmla="*/ 1096918 w 1207394"/>
                    <a:gd name="connsiteY635" fmla="*/ 513746 h 651992"/>
                    <a:gd name="connsiteX636" fmla="*/ 1094503 w 1207394"/>
                    <a:gd name="connsiteY636" fmla="*/ 511332 h 651992"/>
                    <a:gd name="connsiteX637" fmla="*/ 1093296 w 1207394"/>
                    <a:gd name="connsiteY637" fmla="*/ 505295 h 651992"/>
                    <a:gd name="connsiteX638" fmla="*/ 1090881 w 1207394"/>
                    <a:gd name="connsiteY638" fmla="*/ 504087 h 651992"/>
                    <a:gd name="connsiteX639" fmla="*/ 1086655 w 1207394"/>
                    <a:gd name="connsiteY639" fmla="*/ 499861 h 651992"/>
                    <a:gd name="connsiteX640" fmla="*/ 1083637 w 1207394"/>
                    <a:gd name="connsiteY640" fmla="*/ 494428 h 651992"/>
                    <a:gd name="connsiteX641" fmla="*/ 1077600 w 1207394"/>
                    <a:gd name="connsiteY641" fmla="*/ 492013 h 651992"/>
                    <a:gd name="connsiteX642" fmla="*/ 1070959 w 1207394"/>
                    <a:gd name="connsiteY642" fmla="*/ 492013 h 651992"/>
                    <a:gd name="connsiteX643" fmla="*/ 1064922 w 1207394"/>
                    <a:gd name="connsiteY643" fmla="*/ 487787 h 651992"/>
                    <a:gd name="connsiteX644" fmla="*/ 1061300 w 1207394"/>
                    <a:gd name="connsiteY644" fmla="*/ 491409 h 651992"/>
                    <a:gd name="connsiteX645" fmla="*/ 1056470 w 1207394"/>
                    <a:gd name="connsiteY645" fmla="*/ 490202 h 651992"/>
                    <a:gd name="connsiteX646" fmla="*/ 1051641 w 1207394"/>
                    <a:gd name="connsiteY646" fmla="*/ 490806 h 651992"/>
                    <a:gd name="connsiteX647" fmla="*/ 1046207 w 1207394"/>
                    <a:gd name="connsiteY647" fmla="*/ 490202 h 651992"/>
                    <a:gd name="connsiteX648" fmla="*/ 1041378 w 1207394"/>
                    <a:gd name="connsiteY648" fmla="*/ 493824 h 651992"/>
                    <a:gd name="connsiteX649" fmla="*/ 1041981 w 1207394"/>
                    <a:gd name="connsiteY649" fmla="*/ 496239 h 651992"/>
                    <a:gd name="connsiteX650" fmla="*/ 1034133 w 1207394"/>
                    <a:gd name="connsiteY650" fmla="*/ 501069 h 651992"/>
                    <a:gd name="connsiteX651" fmla="*/ 1027493 w 1207394"/>
                    <a:gd name="connsiteY651" fmla="*/ 507106 h 651992"/>
                    <a:gd name="connsiteX652" fmla="*/ 1021456 w 1207394"/>
                    <a:gd name="connsiteY652" fmla="*/ 504691 h 651992"/>
                    <a:gd name="connsiteX653" fmla="*/ 1015419 w 1207394"/>
                    <a:gd name="connsiteY653" fmla="*/ 504087 h 651992"/>
                    <a:gd name="connsiteX654" fmla="*/ 1007570 w 1207394"/>
                    <a:gd name="connsiteY654" fmla="*/ 504691 h 651992"/>
                    <a:gd name="connsiteX655" fmla="*/ 999119 w 1207394"/>
                    <a:gd name="connsiteY655" fmla="*/ 508313 h 651992"/>
                    <a:gd name="connsiteX656" fmla="*/ 993082 w 1207394"/>
                    <a:gd name="connsiteY656" fmla="*/ 506502 h 651992"/>
                    <a:gd name="connsiteX657" fmla="*/ 990063 w 1207394"/>
                    <a:gd name="connsiteY657" fmla="*/ 509520 h 651992"/>
                    <a:gd name="connsiteX658" fmla="*/ 982215 w 1207394"/>
                    <a:gd name="connsiteY658" fmla="*/ 506502 h 651992"/>
                    <a:gd name="connsiteX659" fmla="*/ 977989 w 1207394"/>
                    <a:gd name="connsiteY659" fmla="*/ 508313 h 651992"/>
                    <a:gd name="connsiteX660" fmla="*/ 975575 w 1207394"/>
                    <a:gd name="connsiteY660" fmla="*/ 511332 h 651992"/>
                    <a:gd name="connsiteX661" fmla="*/ 966519 w 1207394"/>
                    <a:gd name="connsiteY661" fmla="*/ 510124 h 651992"/>
                    <a:gd name="connsiteX662" fmla="*/ 962897 w 1207394"/>
                    <a:gd name="connsiteY662" fmla="*/ 513746 h 651992"/>
                    <a:gd name="connsiteX663" fmla="*/ 958671 w 1207394"/>
                    <a:gd name="connsiteY663" fmla="*/ 514954 h 651992"/>
                    <a:gd name="connsiteX664" fmla="*/ 955653 w 1207394"/>
                    <a:gd name="connsiteY664" fmla="*/ 517369 h 651992"/>
                    <a:gd name="connsiteX665" fmla="*/ 952031 w 1207394"/>
                    <a:gd name="connsiteY665" fmla="*/ 517369 h 651992"/>
                    <a:gd name="connsiteX666" fmla="*/ 941768 w 1207394"/>
                    <a:gd name="connsiteY666" fmla="*/ 522198 h 651992"/>
                    <a:gd name="connsiteX667" fmla="*/ 938749 w 1207394"/>
                    <a:gd name="connsiteY667" fmla="*/ 522802 h 651992"/>
                    <a:gd name="connsiteX668" fmla="*/ 935731 w 1207394"/>
                    <a:gd name="connsiteY668" fmla="*/ 525820 h 651992"/>
                    <a:gd name="connsiteX669" fmla="*/ 925468 w 1207394"/>
                    <a:gd name="connsiteY669" fmla="*/ 530650 h 651992"/>
                    <a:gd name="connsiteX670" fmla="*/ 921846 w 1207394"/>
                    <a:gd name="connsiteY670" fmla="*/ 540309 h 651992"/>
                    <a:gd name="connsiteX671" fmla="*/ 913997 w 1207394"/>
                    <a:gd name="connsiteY671" fmla="*/ 550572 h 651992"/>
                    <a:gd name="connsiteX672" fmla="*/ 909168 w 1207394"/>
                    <a:gd name="connsiteY672" fmla="*/ 560835 h 651992"/>
                    <a:gd name="connsiteX673" fmla="*/ 892868 w 1207394"/>
                    <a:gd name="connsiteY673" fmla="*/ 571701 h 651992"/>
                    <a:gd name="connsiteX674" fmla="*/ 888642 w 1207394"/>
                    <a:gd name="connsiteY674" fmla="*/ 571098 h 651992"/>
                    <a:gd name="connsiteX675" fmla="*/ 885020 w 1207394"/>
                    <a:gd name="connsiteY675" fmla="*/ 572909 h 651992"/>
                    <a:gd name="connsiteX676" fmla="*/ 880190 w 1207394"/>
                    <a:gd name="connsiteY676" fmla="*/ 571098 h 651992"/>
                    <a:gd name="connsiteX677" fmla="*/ 872946 w 1207394"/>
                    <a:gd name="connsiteY677" fmla="*/ 578342 h 651992"/>
                    <a:gd name="connsiteX678" fmla="*/ 868720 w 1207394"/>
                    <a:gd name="connsiteY678" fmla="*/ 584379 h 651992"/>
                    <a:gd name="connsiteX679" fmla="*/ 869324 w 1207394"/>
                    <a:gd name="connsiteY679" fmla="*/ 589209 h 651992"/>
                    <a:gd name="connsiteX680" fmla="*/ 866909 w 1207394"/>
                    <a:gd name="connsiteY680" fmla="*/ 592227 h 651992"/>
                    <a:gd name="connsiteX681" fmla="*/ 867513 w 1207394"/>
                    <a:gd name="connsiteY681" fmla="*/ 597660 h 651992"/>
                    <a:gd name="connsiteX682" fmla="*/ 862683 w 1207394"/>
                    <a:gd name="connsiteY682" fmla="*/ 602490 h 651992"/>
                    <a:gd name="connsiteX683" fmla="*/ 857250 w 1207394"/>
                    <a:gd name="connsiteY683" fmla="*/ 602490 h 651992"/>
                    <a:gd name="connsiteX684" fmla="*/ 850609 w 1207394"/>
                    <a:gd name="connsiteY684" fmla="*/ 597057 h 651992"/>
                    <a:gd name="connsiteX685" fmla="*/ 846384 w 1207394"/>
                    <a:gd name="connsiteY685" fmla="*/ 603093 h 651992"/>
                    <a:gd name="connsiteX686" fmla="*/ 843365 w 1207394"/>
                    <a:gd name="connsiteY686" fmla="*/ 604301 h 651992"/>
                    <a:gd name="connsiteX687" fmla="*/ 842158 w 1207394"/>
                    <a:gd name="connsiteY687" fmla="*/ 610942 h 651992"/>
                    <a:gd name="connsiteX688" fmla="*/ 837932 w 1207394"/>
                    <a:gd name="connsiteY688" fmla="*/ 617582 h 651992"/>
                    <a:gd name="connsiteX689" fmla="*/ 830687 w 1207394"/>
                    <a:gd name="connsiteY689" fmla="*/ 616375 h 651992"/>
                    <a:gd name="connsiteX690" fmla="*/ 828273 w 1207394"/>
                    <a:gd name="connsiteY690" fmla="*/ 613960 h 651992"/>
                    <a:gd name="connsiteX691" fmla="*/ 824650 w 1207394"/>
                    <a:gd name="connsiteY691" fmla="*/ 613960 h 651992"/>
                    <a:gd name="connsiteX692" fmla="*/ 818010 w 1207394"/>
                    <a:gd name="connsiteY692" fmla="*/ 619393 h 651992"/>
                    <a:gd name="connsiteX693" fmla="*/ 815595 w 1207394"/>
                    <a:gd name="connsiteY693" fmla="*/ 626638 h 651992"/>
                    <a:gd name="connsiteX694" fmla="*/ 811973 w 1207394"/>
                    <a:gd name="connsiteY694" fmla="*/ 632675 h 651992"/>
                    <a:gd name="connsiteX695" fmla="*/ 807747 w 1207394"/>
                    <a:gd name="connsiteY695" fmla="*/ 633882 h 651992"/>
                    <a:gd name="connsiteX696" fmla="*/ 799295 w 1207394"/>
                    <a:gd name="connsiteY696" fmla="*/ 646560 h 651992"/>
                    <a:gd name="connsiteX697" fmla="*/ 795673 w 1207394"/>
                    <a:gd name="connsiteY697" fmla="*/ 646560 h 651992"/>
                    <a:gd name="connsiteX698" fmla="*/ 787221 w 1207394"/>
                    <a:gd name="connsiteY698" fmla="*/ 650786 h 651992"/>
                    <a:gd name="connsiteX699" fmla="*/ 783599 w 1207394"/>
                    <a:gd name="connsiteY699" fmla="*/ 650786 h 651992"/>
                    <a:gd name="connsiteX700" fmla="*/ 774543 w 1207394"/>
                    <a:gd name="connsiteY700" fmla="*/ 655615 h 651992"/>
                    <a:gd name="connsiteX701" fmla="*/ 767903 w 1207394"/>
                    <a:gd name="connsiteY701" fmla="*/ 654408 h 651992"/>
                    <a:gd name="connsiteX702" fmla="*/ 765488 w 1207394"/>
                    <a:gd name="connsiteY702" fmla="*/ 648975 h 651992"/>
                    <a:gd name="connsiteX703" fmla="*/ 761262 w 1207394"/>
                    <a:gd name="connsiteY703" fmla="*/ 648975 h 65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Lst>
                  <a:rect l="l" t="t" r="r" b="b"/>
                  <a:pathLst>
                    <a:path w="1207394" h="651992">
                      <a:moveTo>
                        <a:pt x="761262" y="648975"/>
                      </a:moveTo>
                      <a:lnTo>
                        <a:pt x="760659" y="642938"/>
                      </a:lnTo>
                      <a:lnTo>
                        <a:pt x="756433" y="637504"/>
                      </a:lnTo>
                      <a:lnTo>
                        <a:pt x="757036" y="632675"/>
                      </a:lnTo>
                      <a:lnTo>
                        <a:pt x="761866" y="626034"/>
                      </a:lnTo>
                      <a:lnTo>
                        <a:pt x="756433" y="623016"/>
                      </a:lnTo>
                      <a:lnTo>
                        <a:pt x="752811" y="613356"/>
                      </a:lnTo>
                      <a:lnTo>
                        <a:pt x="749792" y="607319"/>
                      </a:lnTo>
                      <a:lnTo>
                        <a:pt x="755829" y="602490"/>
                      </a:lnTo>
                      <a:lnTo>
                        <a:pt x="759451" y="602490"/>
                      </a:lnTo>
                      <a:lnTo>
                        <a:pt x="760055" y="594642"/>
                      </a:lnTo>
                      <a:lnTo>
                        <a:pt x="757036" y="591623"/>
                      </a:lnTo>
                      <a:lnTo>
                        <a:pt x="754622" y="584983"/>
                      </a:lnTo>
                      <a:lnTo>
                        <a:pt x="756433" y="583172"/>
                      </a:lnTo>
                      <a:lnTo>
                        <a:pt x="752207" y="578342"/>
                      </a:lnTo>
                      <a:lnTo>
                        <a:pt x="753414" y="574720"/>
                      </a:lnTo>
                      <a:lnTo>
                        <a:pt x="752207" y="566268"/>
                      </a:lnTo>
                      <a:lnTo>
                        <a:pt x="755829" y="568683"/>
                      </a:lnTo>
                      <a:lnTo>
                        <a:pt x="761262" y="566268"/>
                      </a:lnTo>
                      <a:lnTo>
                        <a:pt x="763073" y="569286"/>
                      </a:lnTo>
                      <a:lnTo>
                        <a:pt x="769110" y="565061"/>
                      </a:lnTo>
                      <a:lnTo>
                        <a:pt x="769110" y="563249"/>
                      </a:lnTo>
                      <a:lnTo>
                        <a:pt x="775751" y="557816"/>
                      </a:lnTo>
                      <a:lnTo>
                        <a:pt x="787825" y="549968"/>
                      </a:lnTo>
                      <a:lnTo>
                        <a:pt x="795673" y="548761"/>
                      </a:lnTo>
                      <a:lnTo>
                        <a:pt x="798691" y="546346"/>
                      </a:lnTo>
                      <a:lnTo>
                        <a:pt x="806539" y="545139"/>
                      </a:lnTo>
                      <a:lnTo>
                        <a:pt x="808350" y="540309"/>
                      </a:lnTo>
                      <a:lnTo>
                        <a:pt x="808350" y="532461"/>
                      </a:lnTo>
                      <a:lnTo>
                        <a:pt x="806539" y="527631"/>
                      </a:lnTo>
                      <a:lnTo>
                        <a:pt x="812576" y="519180"/>
                      </a:lnTo>
                      <a:lnTo>
                        <a:pt x="822236" y="513746"/>
                      </a:lnTo>
                      <a:lnTo>
                        <a:pt x="830687" y="517972"/>
                      </a:lnTo>
                      <a:lnTo>
                        <a:pt x="833706" y="523406"/>
                      </a:lnTo>
                      <a:lnTo>
                        <a:pt x="843365" y="521594"/>
                      </a:lnTo>
                      <a:lnTo>
                        <a:pt x="853024" y="516765"/>
                      </a:lnTo>
                      <a:lnTo>
                        <a:pt x="861476" y="516161"/>
                      </a:lnTo>
                      <a:lnTo>
                        <a:pt x="862683" y="514350"/>
                      </a:lnTo>
                      <a:lnTo>
                        <a:pt x="873550" y="511935"/>
                      </a:lnTo>
                      <a:lnTo>
                        <a:pt x="878983" y="511332"/>
                      </a:lnTo>
                      <a:lnTo>
                        <a:pt x="889246" y="508313"/>
                      </a:lnTo>
                      <a:lnTo>
                        <a:pt x="891661" y="514350"/>
                      </a:lnTo>
                      <a:lnTo>
                        <a:pt x="897094" y="514954"/>
                      </a:lnTo>
                      <a:lnTo>
                        <a:pt x="898905" y="508917"/>
                      </a:lnTo>
                      <a:lnTo>
                        <a:pt x="910375" y="502880"/>
                      </a:lnTo>
                      <a:lnTo>
                        <a:pt x="912186" y="498050"/>
                      </a:lnTo>
                      <a:lnTo>
                        <a:pt x="917016" y="495032"/>
                      </a:lnTo>
                      <a:lnTo>
                        <a:pt x="917620" y="492013"/>
                      </a:lnTo>
                      <a:lnTo>
                        <a:pt x="921242" y="489598"/>
                      </a:lnTo>
                      <a:lnTo>
                        <a:pt x="918223" y="482958"/>
                      </a:lnTo>
                      <a:lnTo>
                        <a:pt x="912790" y="475110"/>
                      </a:lnTo>
                      <a:lnTo>
                        <a:pt x="904338" y="472695"/>
                      </a:lnTo>
                      <a:lnTo>
                        <a:pt x="900112" y="474506"/>
                      </a:lnTo>
                      <a:lnTo>
                        <a:pt x="897698" y="481147"/>
                      </a:lnTo>
                      <a:lnTo>
                        <a:pt x="894075" y="473299"/>
                      </a:lnTo>
                      <a:lnTo>
                        <a:pt x="890453" y="476921"/>
                      </a:lnTo>
                      <a:lnTo>
                        <a:pt x="886831" y="476317"/>
                      </a:lnTo>
                      <a:lnTo>
                        <a:pt x="889246" y="469073"/>
                      </a:lnTo>
                      <a:lnTo>
                        <a:pt x="892868" y="467262"/>
                      </a:lnTo>
                      <a:lnTo>
                        <a:pt x="893472" y="460017"/>
                      </a:lnTo>
                      <a:lnTo>
                        <a:pt x="893472" y="447943"/>
                      </a:lnTo>
                      <a:lnTo>
                        <a:pt x="889849" y="447943"/>
                      </a:lnTo>
                      <a:lnTo>
                        <a:pt x="881398" y="441303"/>
                      </a:lnTo>
                      <a:lnTo>
                        <a:pt x="882001" y="436473"/>
                      </a:lnTo>
                      <a:lnTo>
                        <a:pt x="876568" y="435266"/>
                      </a:lnTo>
                      <a:lnTo>
                        <a:pt x="874154" y="429832"/>
                      </a:lnTo>
                      <a:lnTo>
                        <a:pt x="877172" y="425607"/>
                      </a:lnTo>
                      <a:lnTo>
                        <a:pt x="872946" y="423192"/>
                      </a:lnTo>
                      <a:lnTo>
                        <a:pt x="872946" y="418966"/>
                      </a:lnTo>
                      <a:lnTo>
                        <a:pt x="875361" y="415344"/>
                      </a:lnTo>
                      <a:lnTo>
                        <a:pt x="871135" y="414136"/>
                      </a:lnTo>
                      <a:lnTo>
                        <a:pt x="871135" y="409307"/>
                      </a:lnTo>
                      <a:lnTo>
                        <a:pt x="868117" y="406892"/>
                      </a:lnTo>
                      <a:lnTo>
                        <a:pt x="874154" y="403873"/>
                      </a:lnTo>
                      <a:lnTo>
                        <a:pt x="872946" y="400251"/>
                      </a:lnTo>
                      <a:lnTo>
                        <a:pt x="877172" y="396025"/>
                      </a:lnTo>
                      <a:lnTo>
                        <a:pt x="882001" y="388177"/>
                      </a:lnTo>
                      <a:lnTo>
                        <a:pt x="887435" y="382744"/>
                      </a:lnTo>
                      <a:lnTo>
                        <a:pt x="892868" y="380933"/>
                      </a:lnTo>
                      <a:lnTo>
                        <a:pt x="901923" y="370670"/>
                      </a:lnTo>
                      <a:lnTo>
                        <a:pt x="909168" y="361011"/>
                      </a:lnTo>
                      <a:lnTo>
                        <a:pt x="908564" y="357389"/>
                      </a:lnTo>
                      <a:lnTo>
                        <a:pt x="913394" y="351352"/>
                      </a:lnTo>
                      <a:lnTo>
                        <a:pt x="882001" y="348937"/>
                      </a:lnTo>
                      <a:lnTo>
                        <a:pt x="837328" y="353767"/>
                      </a:lnTo>
                      <a:lnTo>
                        <a:pt x="833102" y="357389"/>
                      </a:lnTo>
                      <a:lnTo>
                        <a:pt x="829480" y="357389"/>
                      </a:lnTo>
                      <a:lnTo>
                        <a:pt x="828273" y="362218"/>
                      </a:lnTo>
                      <a:lnTo>
                        <a:pt x="824047" y="364029"/>
                      </a:lnTo>
                      <a:lnTo>
                        <a:pt x="818613" y="371274"/>
                      </a:lnTo>
                      <a:lnTo>
                        <a:pt x="791447" y="380933"/>
                      </a:lnTo>
                      <a:lnTo>
                        <a:pt x="777562" y="373689"/>
                      </a:lnTo>
                      <a:lnTo>
                        <a:pt x="760659" y="379122"/>
                      </a:lnTo>
                      <a:lnTo>
                        <a:pt x="722626" y="393007"/>
                      </a:lnTo>
                      <a:lnTo>
                        <a:pt x="720211" y="396025"/>
                      </a:lnTo>
                      <a:lnTo>
                        <a:pt x="709344" y="397233"/>
                      </a:lnTo>
                      <a:lnTo>
                        <a:pt x="697874" y="400855"/>
                      </a:lnTo>
                      <a:lnTo>
                        <a:pt x="688215" y="403873"/>
                      </a:lnTo>
                      <a:lnTo>
                        <a:pt x="683385" y="404477"/>
                      </a:lnTo>
                      <a:lnTo>
                        <a:pt x="680970" y="411118"/>
                      </a:lnTo>
                      <a:lnTo>
                        <a:pt x="674933" y="414740"/>
                      </a:lnTo>
                      <a:lnTo>
                        <a:pt x="670104" y="414136"/>
                      </a:lnTo>
                      <a:lnTo>
                        <a:pt x="668896" y="416551"/>
                      </a:lnTo>
                      <a:lnTo>
                        <a:pt x="664067" y="418362"/>
                      </a:lnTo>
                      <a:lnTo>
                        <a:pt x="659237" y="422588"/>
                      </a:lnTo>
                      <a:lnTo>
                        <a:pt x="654408" y="420777"/>
                      </a:lnTo>
                      <a:lnTo>
                        <a:pt x="649578" y="421381"/>
                      </a:lnTo>
                      <a:lnTo>
                        <a:pt x="639315" y="427418"/>
                      </a:lnTo>
                      <a:lnTo>
                        <a:pt x="637504" y="429832"/>
                      </a:lnTo>
                      <a:lnTo>
                        <a:pt x="627845" y="431644"/>
                      </a:lnTo>
                      <a:lnTo>
                        <a:pt x="624223" y="435266"/>
                      </a:lnTo>
                      <a:lnTo>
                        <a:pt x="614564" y="438284"/>
                      </a:lnTo>
                      <a:lnTo>
                        <a:pt x="609130" y="442510"/>
                      </a:lnTo>
                      <a:lnTo>
                        <a:pt x="604905" y="442510"/>
                      </a:lnTo>
                      <a:lnTo>
                        <a:pt x="600679" y="446736"/>
                      </a:lnTo>
                      <a:lnTo>
                        <a:pt x="599471" y="443717"/>
                      </a:lnTo>
                      <a:lnTo>
                        <a:pt x="592831" y="437077"/>
                      </a:lnTo>
                      <a:lnTo>
                        <a:pt x="589208" y="440095"/>
                      </a:lnTo>
                      <a:lnTo>
                        <a:pt x="585586" y="439491"/>
                      </a:lnTo>
                      <a:lnTo>
                        <a:pt x="581360" y="442510"/>
                      </a:lnTo>
                      <a:lnTo>
                        <a:pt x="570494" y="439491"/>
                      </a:lnTo>
                      <a:lnTo>
                        <a:pt x="567475" y="435869"/>
                      </a:lnTo>
                      <a:lnTo>
                        <a:pt x="565060" y="438888"/>
                      </a:lnTo>
                      <a:lnTo>
                        <a:pt x="558420" y="434058"/>
                      </a:lnTo>
                      <a:lnTo>
                        <a:pt x="560231" y="428625"/>
                      </a:lnTo>
                      <a:lnTo>
                        <a:pt x="554194" y="429832"/>
                      </a:lnTo>
                      <a:lnTo>
                        <a:pt x="549968" y="435869"/>
                      </a:lnTo>
                      <a:lnTo>
                        <a:pt x="551779" y="437077"/>
                      </a:lnTo>
                      <a:lnTo>
                        <a:pt x="552383" y="442510"/>
                      </a:lnTo>
                      <a:lnTo>
                        <a:pt x="559023" y="446736"/>
                      </a:lnTo>
                      <a:lnTo>
                        <a:pt x="559023" y="455188"/>
                      </a:lnTo>
                      <a:lnTo>
                        <a:pt x="546346" y="461225"/>
                      </a:lnTo>
                      <a:lnTo>
                        <a:pt x="538498" y="465451"/>
                      </a:lnTo>
                      <a:lnTo>
                        <a:pt x="539102" y="467865"/>
                      </a:lnTo>
                      <a:lnTo>
                        <a:pt x="523406" y="482354"/>
                      </a:lnTo>
                      <a:lnTo>
                        <a:pt x="518576" y="492013"/>
                      </a:lnTo>
                      <a:lnTo>
                        <a:pt x="505898" y="498654"/>
                      </a:lnTo>
                      <a:lnTo>
                        <a:pt x="496843" y="508313"/>
                      </a:lnTo>
                      <a:lnTo>
                        <a:pt x="493221" y="513143"/>
                      </a:lnTo>
                      <a:lnTo>
                        <a:pt x="485372" y="520387"/>
                      </a:lnTo>
                      <a:lnTo>
                        <a:pt x="478732" y="530046"/>
                      </a:lnTo>
                      <a:lnTo>
                        <a:pt x="472695" y="536083"/>
                      </a:lnTo>
                      <a:lnTo>
                        <a:pt x="470280" y="537291"/>
                      </a:lnTo>
                      <a:lnTo>
                        <a:pt x="466054" y="541516"/>
                      </a:lnTo>
                      <a:lnTo>
                        <a:pt x="466054" y="545139"/>
                      </a:lnTo>
                      <a:lnTo>
                        <a:pt x="469676" y="548761"/>
                      </a:lnTo>
                      <a:lnTo>
                        <a:pt x="470280" y="553590"/>
                      </a:lnTo>
                      <a:lnTo>
                        <a:pt x="472091" y="558420"/>
                      </a:lnTo>
                      <a:lnTo>
                        <a:pt x="466658" y="560835"/>
                      </a:lnTo>
                      <a:lnTo>
                        <a:pt x="458206" y="566268"/>
                      </a:lnTo>
                      <a:lnTo>
                        <a:pt x="447943" y="571701"/>
                      </a:lnTo>
                      <a:lnTo>
                        <a:pt x="438888" y="583172"/>
                      </a:lnTo>
                      <a:lnTo>
                        <a:pt x="428625" y="584379"/>
                      </a:lnTo>
                      <a:lnTo>
                        <a:pt x="420173" y="587397"/>
                      </a:lnTo>
                      <a:lnTo>
                        <a:pt x="408099" y="588001"/>
                      </a:lnTo>
                      <a:lnTo>
                        <a:pt x="400855" y="590416"/>
                      </a:lnTo>
                      <a:lnTo>
                        <a:pt x="396025" y="590416"/>
                      </a:lnTo>
                      <a:lnTo>
                        <a:pt x="391799" y="586794"/>
                      </a:lnTo>
                      <a:lnTo>
                        <a:pt x="371274" y="584983"/>
                      </a:lnTo>
                      <a:lnTo>
                        <a:pt x="354974" y="586794"/>
                      </a:lnTo>
                      <a:lnTo>
                        <a:pt x="345315" y="588001"/>
                      </a:lnTo>
                      <a:lnTo>
                        <a:pt x="337467" y="590416"/>
                      </a:lnTo>
                      <a:lnTo>
                        <a:pt x="322374" y="593434"/>
                      </a:lnTo>
                      <a:lnTo>
                        <a:pt x="318752" y="595849"/>
                      </a:lnTo>
                      <a:lnTo>
                        <a:pt x="313923" y="594038"/>
                      </a:lnTo>
                      <a:lnTo>
                        <a:pt x="303660" y="595849"/>
                      </a:lnTo>
                      <a:lnTo>
                        <a:pt x="299434" y="592227"/>
                      </a:lnTo>
                      <a:lnTo>
                        <a:pt x="282530" y="584379"/>
                      </a:lnTo>
                      <a:lnTo>
                        <a:pt x="282530" y="580153"/>
                      </a:lnTo>
                      <a:lnTo>
                        <a:pt x="273475" y="574720"/>
                      </a:lnTo>
                      <a:lnTo>
                        <a:pt x="266230" y="572909"/>
                      </a:lnTo>
                      <a:lnTo>
                        <a:pt x="252345" y="568683"/>
                      </a:lnTo>
                      <a:lnTo>
                        <a:pt x="240875" y="570494"/>
                      </a:lnTo>
                      <a:lnTo>
                        <a:pt x="229405" y="567475"/>
                      </a:lnTo>
                      <a:lnTo>
                        <a:pt x="226386" y="574116"/>
                      </a:lnTo>
                      <a:lnTo>
                        <a:pt x="226386" y="578946"/>
                      </a:lnTo>
                      <a:lnTo>
                        <a:pt x="214313" y="584983"/>
                      </a:lnTo>
                      <a:lnTo>
                        <a:pt x="207672" y="585586"/>
                      </a:lnTo>
                      <a:lnTo>
                        <a:pt x="197409" y="583775"/>
                      </a:lnTo>
                      <a:lnTo>
                        <a:pt x="185335" y="585586"/>
                      </a:lnTo>
                      <a:lnTo>
                        <a:pt x="181109" y="589209"/>
                      </a:lnTo>
                      <a:lnTo>
                        <a:pt x="178694" y="589209"/>
                      </a:lnTo>
                      <a:lnTo>
                        <a:pt x="175676" y="593434"/>
                      </a:lnTo>
                      <a:lnTo>
                        <a:pt x="166017" y="591020"/>
                      </a:lnTo>
                      <a:lnTo>
                        <a:pt x="155754" y="594038"/>
                      </a:lnTo>
                      <a:lnTo>
                        <a:pt x="156357" y="597057"/>
                      </a:lnTo>
                      <a:lnTo>
                        <a:pt x="150320" y="598868"/>
                      </a:lnTo>
                      <a:lnTo>
                        <a:pt x="146095" y="596453"/>
                      </a:lnTo>
                      <a:lnTo>
                        <a:pt x="133417" y="601282"/>
                      </a:lnTo>
                      <a:lnTo>
                        <a:pt x="118325" y="601886"/>
                      </a:lnTo>
                      <a:lnTo>
                        <a:pt x="115910" y="600679"/>
                      </a:lnTo>
                      <a:lnTo>
                        <a:pt x="117721" y="592227"/>
                      </a:lnTo>
                      <a:lnTo>
                        <a:pt x="117117" y="581964"/>
                      </a:lnTo>
                      <a:lnTo>
                        <a:pt x="114702" y="580153"/>
                      </a:lnTo>
                      <a:lnTo>
                        <a:pt x="114702" y="574720"/>
                      </a:lnTo>
                      <a:lnTo>
                        <a:pt x="109873" y="571701"/>
                      </a:lnTo>
                      <a:lnTo>
                        <a:pt x="109269" y="566872"/>
                      </a:lnTo>
                      <a:lnTo>
                        <a:pt x="106854" y="564457"/>
                      </a:lnTo>
                      <a:lnTo>
                        <a:pt x="102629" y="564457"/>
                      </a:lnTo>
                      <a:lnTo>
                        <a:pt x="99006" y="558420"/>
                      </a:lnTo>
                      <a:lnTo>
                        <a:pt x="97799" y="549968"/>
                      </a:lnTo>
                      <a:lnTo>
                        <a:pt x="100818" y="544535"/>
                      </a:lnTo>
                      <a:lnTo>
                        <a:pt x="98403" y="540913"/>
                      </a:lnTo>
                      <a:lnTo>
                        <a:pt x="99006" y="536687"/>
                      </a:lnTo>
                      <a:lnTo>
                        <a:pt x="105043" y="532461"/>
                      </a:lnTo>
                      <a:lnTo>
                        <a:pt x="108062" y="524613"/>
                      </a:lnTo>
                      <a:lnTo>
                        <a:pt x="106854" y="519783"/>
                      </a:lnTo>
                      <a:lnTo>
                        <a:pt x="102025" y="515557"/>
                      </a:lnTo>
                      <a:lnTo>
                        <a:pt x="108062" y="511935"/>
                      </a:lnTo>
                      <a:lnTo>
                        <a:pt x="114702" y="513746"/>
                      </a:lnTo>
                      <a:lnTo>
                        <a:pt x="118325" y="512539"/>
                      </a:lnTo>
                      <a:lnTo>
                        <a:pt x="117721" y="508313"/>
                      </a:lnTo>
                      <a:lnTo>
                        <a:pt x="109873" y="504691"/>
                      </a:lnTo>
                      <a:lnTo>
                        <a:pt x="105647" y="500465"/>
                      </a:lnTo>
                      <a:lnTo>
                        <a:pt x="105647" y="496239"/>
                      </a:lnTo>
                      <a:lnTo>
                        <a:pt x="103232" y="493221"/>
                      </a:lnTo>
                      <a:lnTo>
                        <a:pt x="103232" y="488391"/>
                      </a:lnTo>
                      <a:lnTo>
                        <a:pt x="104440" y="483561"/>
                      </a:lnTo>
                      <a:lnTo>
                        <a:pt x="102025" y="480543"/>
                      </a:lnTo>
                      <a:lnTo>
                        <a:pt x="101421" y="475110"/>
                      </a:lnTo>
                      <a:lnTo>
                        <a:pt x="98403" y="473902"/>
                      </a:lnTo>
                      <a:lnTo>
                        <a:pt x="97195" y="470280"/>
                      </a:lnTo>
                      <a:lnTo>
                        <a:pt x="97195" y="464847"/>
                      </a:lnTo>
                      <a:lnTo>
                        <a:pt x="80895" y="469676"/>
                      </a:lnTo>
                      <a:lnTo>
                        <a:pt x="77877" y="467262"/>
                      </a:lnTo>
                      <a:lnTo>
                        <a:pt x="72444" y="467865"/>
                      </a:lnTo>
                      <a:lnTo>
                        <a:pt x="62181" y="464243"/>
                      </a:lnTo>
                      <a:lnTo>
                        <a:pt x="57955" y="467865"/>
                      </a:lnTo>
                      <a:lnTo>
                        <a:pt x="54333" y="466658"/>
                      </a:lnTo>
                      <a:lnTo>
                        <a:pt x="47088" y="468469"/>
                      </a:lnTo>
                      <a:lnTo>
                        <a:pt x="43466" y="466658"/>
                      </a:lnTo>
                      <a:lnTo>
                        <a:pt x="34411" y="466658"/>
                      </a:lnTo>
                      <a:lnTo>
                        <a:pt x="33807" y="462432"/>
                      </a:lnTo>
                      <a:lnTo>
                        <a:pt x="29581" y="460017"/>
                      </a:lnTo>
                      <a:lnTo>
                        <a:pt x="21733" y="464243"/>
                      </a:lnTo>
                      <a:lnTo>
                        <a:pt x="19922" y="460621"/>
                      </a:lnTo>
                      <a:lnTo>
                        <a:pt x="15092" y="456999"/>
                      </a:lnTo>
                      <a:lnTo>
                        <a:pt x="12677" y="450962"/>
                      </a:lnTo>
                      <a:lnTo>
                        <a:pt x="9659" y="450962"/>
                      </a:lnTo>
                      <a:lnTo>
                        <a:pt x="7244" y="446132"/>
                      </a:lnTo>
                      <a:lnTo>
                        <a:pt x="3018" y="440699"/>
                      </a:lnTo>
                      <a:lnTo>
                        <a:pt x="6037" y="437077"/>
                      </a:lnTo>
                      <a:lnTo>
                        <a:pt x="2415" y="429229"/>
                      </a:lnTo>
                      <a:lnTo>
                        <a:pt x="4226" y="425003"/>
                      </a:lnTo>
                      <a:lnTo>
                        <a:pt x="9055" y="420173"/>
                      </a:lnTo>
                      <a:lnTo>
                        <a:pt x="9055" y="417759"/>
                      </a:lnTo>
                      <a:lnTo>
                        <a:pt x="15696" y="412325"/>
                      </a:lnTo>
                      <a:lnTo>
                        <a:pt x="16903" y="402666"/>
                      </a:lnTo>
                      <a:lnTo>
                        <a:pt x="19318" y="400251"/>
                      </a:lnTo>
                      <a:lnTo>
                        <a:pt x="17507" y="397233"/>
                      </a:lnTo>
                      <a:lnTo>
                        <a:pt x="16903" y="390592"/>
                      </a:lnTo>
                      <a:lnTo>
                        <a:pt x="10866" y="385762"/>
                      </a:lnTo>
                      <a:lnTo>
                        <a:pt x="3622" y="386970"/>
                      </a:lnTo>
                      <a:lnTo>
                        <a:pt x="0" y="379726"/>
                      </a:lnTo>
                      <a:lnTo>
                        <a:pt x="4830" y="376103"/>
                      </a:lnTo>
                      <a:lnTo>
                        <a:pt x="9659" y="376103"/>
                      </a:lnTo>
                      <a:lnTo>
                        <a:pt x="12677" y="377914"/>
                      </a:lnTo>
                      <a:lnTo>
                        <a:pt x="25355" y="377311"/>
                      </a:lnTo>
                      <a:lnTo>
                        <a:pt x="30185" y="385159"/>
                      </a:lnTo>
                      <a:lnTo>
                        <a:pt x="33807" y="387574"/>
                      </a:lnTo>
                      <a:lnTo>
                        <a:pt x="41051" y="389988"/>
                      </a:lnTo>
                      <a:lnTo>
                        <a:pt x="46485" y="389988"/>
                      </a:lnTo>
                      <a:lnTo>
                        <a:pt x="53125" y="388177"/>
                      </a:lnTo>
                      <a:lnTo>
                        <a:pt x="57955" y="388781"/>
                      </a:lnTo>
                      <a:lnTo>
                        <a:pt x="59162" y="395422"/>
                      </a:lnTo>
                      <a:lnTo>
                        <a:pt x="61577" y="396025"/>
                      </a:lnTo>
                      <a:lnTo>
                        <a:pt x="64596" y="405081"/>
                      </a:lnTo>
                      <a:lnTo>
                        <a:pt x="68218" y="408703"/>
                      </a:lnTo>
                      <a:lnTo>
                        <a:pt x="74858" y="407496"/>
                      </a:lnTo>
                      <a:lnTo>
                        <a:pt x="76670" y="410514"/>
                      </a:lnTo>
                      <a:lnTo>
                        <a:pt x="82103" y="406892"/>
                      </a:lnTo>
                      <a:lnTo>
                        <a:pt x="84518" y="402062"/>
                      </a:lnTo>
                      <a:lnTo>
                        <a:pt x="86329" y="402062"/>
                      </a:lnTo>
                      <a:lnTo>
                        <a:pt x="89951" y="397836"/>
                      </a:lnTo>
                      <a:lnTo>
                        <a:pt x="101421" y="400251"/>
                      </a:lnTo>
                      <a:lnTo>
                        <a:pt x="105043" y="400251"/>
                      </a:lnTo>
                      <a:lnTo>
                        <a:pt x="111080" y="395422"/>
                      </a:lnTo>
                      <a:lnTo>
                        <a:pt x="118325" y="388177"/>
                      </a:lnTo>
                      <a:lnTo>
                        <a:pt x="125569" y="382140"/>
                      </a:lnTo>
                      <a:lnTo>
                        <a:pt x="134624" y="377311"/>
                      </a:lnTo>
                      <a:lnTo>
                        <a:pt x="146095" y="376103"/>
                      </a:lnTo>
                      <a:lnTo>
                        <a:pt x="148509" y="377914"/>
                      </a:lnTo>
                      <a:lnTo>
                        <a:pt x="152132" y="388781"/>
                      </a:lnTo>
                      <a:lnTo>
                        <a:pt x="156961" y="395422"/>
                      </a:lnTo>
                      <a:lnTo>
                        <a:pt x="172054" y="391799"/>
                      </a:lnTo>
                      <a:lnTo>
                        <a:pt x="172657" y="386970"/>
                      </a:lnTo>
                      <a:lnTo>
                        <a:pt x="178694" y="385159"/>
                      </a:lnTo>
                      <a:lnTo>
                        <a:pt x="184731" y="390592"/>
                      </a:lnTo>
                      <a:lnTo>
                        <a:pt x="187146" y="389988"/>
                      </a:lnTo>
                      <a:lnTo>
                        <a:pt x="194994" y="382140"/>
                      </a:lnTo>
                      <a:lnTo>
                        <a:pt x="199824" y="380933"/>
                      </a:lnTo>
                      <a:lnTo>
                        <a:pt x="205861" y="386366"/>
                      </a:lnTo>
                      <a:lnTo>
                        <a:pt x="208879" y="385762"/>
                      </a:lnTo>
                      <a:lnTo>
                        <a:pt x="214313" y="377311"/>
                      </a:lnTo>
                      <a:lnTo>
                        <a:pt x="218538" y="372481"/>
                      </a:lnTo>
                      <a:lnTo>
                        <a:pt x="231216" y="367048"/>
                      </a:lnTo>
                      <a:lnTo>
                        <a:pt x="237856" y="359200"/>
                      </a:lnTo>
                      <a:lnTo>
                        <a:pt x="245705" y="346522"/>
                      </a:lnTo>
                      <a:lnTo>
                        <a:pt x="236649" y="332637"/>
                      </a:lnTo>
                      <a:lnTo>
                        <a:pt x="230008" y="329015"/>
                      </a:lnTo>
                      <a:lnTo>
                        <a:pt x="233631" y="316337"/>
                      </a:lnTo>
                      <a:lnTo>
                        <a:pt x="239064" y="312112"/>
                      </a:lnTo>
                      <a:lnTo>
                        <a:pt x="245101" y="308489"/>
                      </a:lnTo>
                      <a:lnTo>
                        <a:pt x="254760" y="301245"/>
                      </a:lnTo>
                      <a:lnTo>
                        <a:pt x="258382" y="296415"/>
                      </a:lnTo>
                      <a:lnTo>
                        <a:pt x="262608" y="297623"/>
                      </a:lnTo>
                      <a:lnTo>
                        <a:pt x="262608" y="303056"/>
                      </a:lnTo>
                      <a:lnTo>
                        <a:pt x="266834" y="301849"/>
                      </a:lnTo>
                      <a:lnTo>
                        <a:pt x="278304" y="295812"/>
                      </a:lnTo>
                      <a:lnTo>
                        <a:pt x="281927" y="289171"/>
                      </a:lnTo>
                      <a:lnTo>
                        <a:pt x="292189" y="282530"/>
                      </a:lnTo>
                      <a:lnTo>
                        <a:pt x="297019" y="284945"/>
                      </a:lnTo>
                      <a:lnTo>
                        <a:pt x="300038" y="289775"/>
                      </a:lnTo>
                      <a:lnTo>
                        <a:pt x="306678" y="282530"/>
                      </a:lnTo>
                      <a:lnTo>
                        <a:pt x="304263" y="273475"/>
                      </a:lnTo>
                      <a:lnTo>
                        <a:pt x="314526" y="271664"/>
                      </a:lnTo>
                      <a:lnTo>
                        <a:pt x="319356" y="272267"/>
                      </a:lnTo>
                      <a:lnTo>
                        <a:pt x="325393" y="267438"/>
                      </a:lnTo>
                      <a:lnTo>
                        <a:pt x="331430" y="269249"/>
                      </a:lnTo>
                      <a:lnTo>
                        <a:pt x="339881" y="269249"/>
                      </a:lnTo>
                      <a:lnTo>
                        <a:pt x="345315" y="264419"/>
                      </a:lnTo>
                      <a:lnTo>
                        <a:pt x="344711" y="259590"/>
                      </a:lnTo>
                      <a:lnTo>
                        <a:pt x="347126" y="249931"/>
                      </a:lnTo>
                      <a:lnTo>
                        <a:pt x="346522" y="248120"/>
                      </a:lnTo>
                      <a:lnTo>
                        <a:pt x="338674" y="244497"/>
                      </a:lnTo>
                      <a:lnTo>
                        <a:pt x="337467" y="240875"/>
                      </a:lnTo>
                      <a:lnTo>
                        <a:pt x="342296" y="237857"/>
                      </a:lnTo>
                      <a:lnTo>
                        <a:pt x="347126" y="231820"/>
                      </a:lnTo>
                      <a:lnTo>
                        <a:pt x="356785" y="225783"/>
                      </a:lnTo>
                      <a:lnTo>
                        <a:pt x="359200" y="216727"/>
                      </a:lnTo>
                      <a:lnTo>
                        <a:pt x="362822" y="211294"/>
                      </a:lnTo>
                      <a:lnTo>
                        <a:pt x="361614" y="203446"/>
                      </a:lnTo>
                      <a:lnTo>
                        <a:pt x="367048" y="201635"/>
                      </a:lnTo>
                      <a:lnTo>
                        <a:pt x="368255" y="195598"/>
                      </a:lnTo>
                      <a:lnTo>
                        <a:pt x="384555" y="190768"/>
                      </a:lnTo>
                      <a:lnTo>
                        <a:pt x="391799" y="185335"/>
                      </a:lnTo>
                      <a:lnTo>
                        <a:pt x="397233" y="190768"/>
                      </a:lnTo>
                      <a:lnTo>
                        <a:pt x="398440" y="185939"/>
                      </a:lnTo>
                      <a:lnTo>
                        <a:pt x="402062" y="183524"/>
                      </a:lnTo>
                      <a:lnTo>
                        <a:pt x="406288" y="185939"/>
                      </a:lnTo>
                      <a:lnTo>
                        <a:pt x="408099" y="188957"/>
                      </a:lnTo>
                      <a:lnTo>
                        <a:pt x="425003" y="190165"/>
                      </a:lnTo>
                      <a:lnTo>
                        <a:pt x="431644" y="188957"/>
                      </a:lnTo>
                      <a:lnTo>
                        <a:pt x="441303" y="184731"/>
                      </a:lnTo>
                      <a:lnTo>
                        <a:pt x="450358" y="182317"/>
                      </a:lnTo>
                      <a:lnTo>
                        <a:pt x="459413" y="187146"/>
                      </a:lnTo>
                      <a:lnTo>
                        <a:pt x="473902" y="178091"/>
                      </a:lnTo>
                      <a:lnTo>
                        <a:pt x="478128" y="179298"/>
                      </a:lnTo>
                      <a:lnTo>
                        <a:pt x="485976" y="185335"/>
                      </a:lnTo>
                      <a:lnTo>
                        <a:pt x="488995" y="187146"/>
                      </a:lnTo>
                      <a:lnTo>
                        <a:pt x="492617" y="185335"/>
                      </a:lnTo>
                      <a:lnTo>
                        <a:pt x="496843" y="178694"/>
                      </a:lnTo>
                      <a:lnTo>
                        <a:pt x="498654" y="174468"/>
                      </a:lnTo>
                      <a:lnTo>
                        <a:pt x="499258" y="167828"/>
                      </a:lnTo>
                      <a:lnTo>
                        <a:pt x="505898" y="162395"/>
                      </a:lnTo>
                      <a:lnTo>
                        <a:pt x="502880" y="156961"/>
                      </a:lnTo>
                      <a:lnTo>
                        <a:pt x="505898" y="151528"/>
                      </a:lnTo>
                      <a:lnTo>
                        <a:pt x="504691" y="146698"/>
                      </a:lnTo>
                      <a:lnTo>
                        <a:pt x="511935" y="143680"/>
                      </a:lnTo>
                      <a:lnTo>
                        <a:pt x="514954" y="138850"/>
                      </a:lnTo>
                      <a:lnTo>
                        <a:pt x="522198" y="131606"/>
                      </a:lnTo>
                      <a:lnTo>
                        <a:pt x="534272" y="123154"/>
                      </a:lnTo>
                      <a:lnTo>
                        <a:pt x="537894" y="120136"/>
                      </a:lnTo>
                      <a:lnTo>
                        <a:pt x="538498" y="115306"/>
                      </a:lnTo>
                      <a:lnTo>
                        <a:pt x="541516" y="111080"/>
                      </a:lnTo>
                      <a:lnTo>
                        <a:pt x="541516" y="107458"/>
                      </a:lnTo>
                      <a:lnTo>
                        <a:pt x="543931" y="100214"/>
                      </a:lnTo>
                      <a:lnTo>
                        <a:pt x="549968" y="89347"/>
                      </a:lnTo>
                      <a:lnTo>
                        <a:pt x="559023" y="81499"/>
                      </a:lnTo>
                      <a:lnTo>
                        <a:pt x="565060" y="74255"/>
                      </a:lnTo>
                      <a:lnTo>
                        <a:pt x="577738" y="73651"/>
                      </a:lnTo>
                      <a:lnTo>
                        <a:pt x="580757" y="72444"/>
                      </a:lnTo>
                      <a:lnTo>
                        <a:pt x="582568" y="64596"/>
                      </a:lnTo>
                      <a:lnTo>
                        <a:pt x="591019" y="59162"/>
                      </a:lnTo>
                      <a:lnTo>
                        <a:pt x="594642" y="55540"/>
                      </a:lnTo>
                      <a:lnTo>
                        <a:pt x="607923" y="57955"/>
                      </a:lnTo>
                      <a:lnTo>
                        <a:pt x="615771" y="57955"/>
                      </a:lnTo>
                      <a:lnTo>
                        <a:pt x="620601" y="55540"/>
                      </a:lnTo>
                      <a:lnTo>
                        <a:pt x="623619" y="50107"/>
                      </a:lnTo>
                      <a:lnTo>
                        <a:pt x="624223" y="44070"/>
                      </a:lnTo>
                      <a:lnTo>
                        <a:pt x="631467" y="38033"/>
                      </a:lnTo>
                      <a:lnTo>
                        <a:pt x="633278" y="35618"/>
                      </a:lnTo>
                      <a:lnTo>
                        <a:pt x="635090" y="27166"/>
                      </a:lnTo>
                      <a:lnTo>
                        <a:pt x="638108" y="27166"/>
                      </a:lnTo>
                      <a:lnTo>
                        <a:pt x="645352" y="31996"/>
                      </a:lnTo>
                      <a:lnTo>
                        <a:pt x="652597" y="37429"/>
                      </a:lnTo>
                      <a:lnTo>
                        <a:pt x="664067" y="49503"/>
                      </a:lnTo>
                      <a:lnTo>
                        <a:pt x="668896" y="56144"/>
                      </a:lnTo>
                      <a:lnTo>
                        <a:pt x="670104" y="59766"/>
                      </a:lnTo>
                      <a:lnTo>
                        <a:pt x="669500" y="67010"/>
                      </a:lnTo>
                      <a:lnTo>
                        <a:pt x="670104" y="70633"/>
                      </a:lnTo>
                      <a:lnTo>
                        <a:pt x="680367" y="66407"/>
                      </a:lnTo>
                      <a:lnTo>
                        <a:pt x="685800" y="65803"/>
                      </a:lnTo>
                      <a:lnTo>
                        <a:pt x="695459" y="71236"/>
                      </a:lnTo>
                      <a:lnTo>
                        <a:pt x="705118" y="71840"/>
                      </a:lnTo>
                      <a:lnTo>
                        <a:pt x="714174" y="77877"/>
                      </a:lnTo>
                      <a:lnTo>
                        <a:pt x="712966" y="68821"/>
                      </a:lnTo>
                      <a:lnTo>
                        <a:pt x="720211" y="73047"/>
                      </a:lnTo>
                      <a:lnTo>
                        <a:pt x="732285" y="75462"/>
                      </a:lnTo>
                      <a:lnTo>
                        <a:pt x="737114" y="82103"/>
                      </a:lnTo>
                      <a:lnTo>
                        <a:pt x="748585" y="83914"/>
                      </a:lnTo>
                      <a:lnTo>
                        <a:pt x="763677" y="83310"/>
                      </a:lnTo>
                      <a:lnTo>
                        <a:pt x="763677" y="92969"/>
                      </a:lnTo>
                      <a:lnTo>
                        <a:pt x="766695" y="95988"/>
                      </a:lnTo>
                      <a:lnTo>
                        <a:pt x="774543" y="94177"/>
                      </a:lnTo>
                      <a:lnTo>
                        <a:pt x="782995" y="98403"/>
                      </a:lnTo>
                      <a:lnTo>
                        <a:pt x="796276" y="101421"/>
                      </a:lnTo>
                      <a:lnTo>
                        <a:pt x="798691" y="99610"/>
                      </a:lnTo>
                      <a:lnTo>
                        <a:pt x="805936" y="100818"/>
                      </a:lnTo>
                      <a:lnTo>
                        <a:pt x="812576" y="88140"/>
                      </a:lnTo>
                      <a:lnTo>
                        <a:pt x="813180" y="80292"/>
                      </a:lnTo>
                      <a:lnTo>
                        <a:pt x="815595" y="75462"/>
                      </a:lnTo>
                      <a:lnTo>
                        <a:pt x="824650" y="79084"/>
                      </a:lnTo>
                      <a:lnTo>
                        <a:pt x="824650" y="66407"/>
                      </a:lnTo>
                      <a:lnTo>
                        <a:pt x="822839" y="60370"/>
                      </a:lnTo>
                      <a:lnTo>
                        <a:pt x="824650" y="58559"/>
                      </a:lnTo>
                      <a:lnTo>
                        <a:pt x="832498" y="57955"/>
                      </a:lnTo>
                      <a:lnTo>
                        <a:pt x="833102" y="51918"/>
                      </a:lnTo>
                      <a:lnTo>
                        <a:pt x="835517" y="47692"/>
                      </a:lnTo>
                      <a:lnTo>
                        <a:pt x="842158" y="50711"/>
                      </a:lnTo>
                      <a:lnTo>
                        <a:pt x="850609" y="45277"/>
                      </a:lnTo>
                      <a:lnTo>
                        <a:pt x="856646" y="38637"/>
                      </a:lnTo>
                      <a:lnTo>
                        <a:pt x="862080" y="38033"/>
                      </a:lnTo>
                      <a:lnTo>
                        <a:pt x="865098" y="34411"/>
                      </a:lnTo>
                      <a:lnTo>
                        <a:pt x="865702" y="31392"/>
                      </a:lnTo>
                      <a:lnTo>
                        <a:pt x="872342" y="25355"/>
                      </a:lnTo>
                      <a:lnTo>
                        <a:pt x="875361" y="29581"/>
                      </a:lnTo>
                      <a:lnTo>
                        <a:pt x="882605" y="25355"/>
                      </a:lnTo>
                      <a:lnTo>
                        <a:pt x="885020" y="25959"/>
                      </a:lnTo>
                      <a:lnTo>
                        <a:pt x="893472" y="16903"/>
                      </a:lnTo>
                      <a:lnTo>
                        <a:pt x="909168" y="18715"/>
                      </a:lnTo>
                      <a:lnTo>
                        <a:pt x="917016" y="12074"/>
                      </a:lnTo>
                      <a:lnTo>
                        <a:pt x="921242" y="9659"/>
                      </a:lnTo>
                      <a:lnTo>
                        <a:pt x="929694" y="1207"/>
                      </a:lnTo>
                      <a:lnTo>
                        <a:pt x="934523" y="0"/>
                      </a:lnTo>
                      <a:lnTo>
                        <a:pt x="937542" y="1207"/>
                      </a:lnTo>
                      <a:lnTo>
                        <a:pt x="941768" y="8452"/>
                      </a:lnTo>
                      <a:lnTo>
                        <a:pt x="949012" y="15092"/>
                      </a:lnTo>
                      <a:lnTo>
                        <a:pt x="956256" y="27770"/>
                      </a:lnTo>
                      <a:lnTo>
                        <a:pt x="955653" y="36222"/>
                      </a:lnTo>
                      <a:lnTo>
                        <a:pt x="959879" y="39844"/>
                      </a:lnTo>
                      <a:lnTo>
                        <a:pt x="961690" y="44674"/>
                      </a:lnTo>
                      <a:lnTo>
                        <a:pt x="966519" y="51918"/>
                      </a:lnTo>
                      <a:lnTo>
                        <a:pt x="970142" y="54333"/>
                      </a:lnTo>
                      <a:lnTo>
                        <a:pt x="978593" y="53729"/>
                      </a:lnTo>
                      <a:lnTo>
                        <a:pt x="982819" y="48296"/>
                      </a:lnTo>
                      <a:lnTo>
                        <a:pt x="989460" y="46485"/>
                      </a:lnTo>
                      <a:lnTo>
                        <a:pt x="993082" y="41655"/>
                      </a:lnTo>
                      <a:lnTo>
                        <a:pt x="995496" y="42259"/>
                      </a:lnTo>
                      <a:lnTo>
                        <a:pt x="999119" y="48900"/>
                      </a:lnTo>
                      <a:lnTo>
                        <a:pt x="997911" y="54333"/>
                      </a:lnTo>
                      <a:lnTo>
                        <a:pt x="994893" y="57955"/>
                      </a:lnTo>
                      <a:lnTo>
                        <a:pt x="991874" y="66407"/>
                      </a:lnTo>
                      <a:lnTo>
                        <a:pt x="989460" y="68821"/>
                      </a:lnTo>
                      <a:lnTo>
                        <a:pt x="981612" y="69425"/>
                      </a:lnTo>
                      <a:lnTo>
                        <a:pt x="971953" y="71236"/>
                      </a:lnTo>
                      <a:lnTo>
                        <a:pt x="969538" y="73651"/>
                      </a:lnTo>
                      <a:lnTo>
                        <a:pt x="962897" y="76670"/>
                      </a:lnTo>
                      <a:lnTo>
                        <a:pt x="959275" y="84518"/>
                      </a:lnTo>
                      <a:lnTo>
                        <a:pt x="953238" y="88744"/>
                      </a:lnTo>
                      <a:lnTo>
                        <a:pt x="943579" y="90555"/>
                      </a:lnTo>
                      <a:lnTo>
                        <a:pt x="949012" y="96592"/>
                      </a:lnTo>
                      <a:lnTo>
                        <a:pt x="952031" y="104440"/>
                      </a:lnTo>
                      <a:lnTo>
                        <a:pt x="956256" y="112288"/>
                      </a:lnTo>
                      <a:lnTo>
                        <a:pt x="955653" y="116513"/>
                      </a:lnTo>
                      <a:lnTo>
                        <a:pt x="950219" y="119532"/>
                      </a:lnTo>
                      <a:lnTo>
                        <a:pt x="948408" y="123758"/>
                      </a:lnTo>
                      <a:lnTo>
                        <a:pt x="952031" y="127380"/>
                      </a:lnTo>
                      <a:lnTo>
                        <a:pt x="952634" y="131606"/>
                      </a:lnTo>
                      <a:lnTo>
                        <a:pt x="965312" y="126173"/>
                      </a:lnTo>
                      <a:lnTo>
                        <a:pt x="969538" y="122550"/>
                      </a:lnTo>
                      <a:lnTo>
                        <a:pt x="970745" y="118928"/>
                      </a:lnTo>
                      <a:lnTo>
                        <a:pt x="978593" y="109873"/>
                      </a:lnTo>
                      <a:lnTo>
                        <a:pt x="984630" y="106251"/>
                      </a:lnTo>
                      <a:lnTo>
                        <a:pt x="989460" y="101421"/>
                      </a:lnTo>
                      <a:lnTo>
                        <a:pt x="1008174" y="100214"/>
                      </a:lnTo>
                      <a:lnTo>
                        <a:pt x="1013004" y="98403"/>
                      </a:lnTo>
                      <a:lnTo>
                        <a:pt x="1016626" y="95384"/>
                      </a:lnTo>
                      <a:lnTo>
                        <a:pt x="1026285" y="90555"/>
                      </a:lnTo>
                      <a:lnTo>
                        <a:pt x="1019041" y="106854"/>
                      </a:lnTo>
                      <a:lnTo>
                        <a:pt x="1016626" y="110477"/>
                      </a:lnTo>
                      <a:lnTo>
                        <a:pt x="1018437" y="117721"/>
                      </a:lnTo>
                      <a:lnTo>
                        <a:pt x="1025681" y="117721"/>
                      </a:lnTo>
                      <a:lnTo>
                        <a:pt x="1026285" y="121343"/>
                      </a:lnTo>
                      <a:lnTo>
                        <a:pt x="1029304" y="127984"/>
                      </a:lnTo>
                      <a:lnTo>
                        <a:pt x="1028700" y="136436"/>
                      </a:lnTo>
                      <a:lnTo>
                        <a:pt x="1038359" y="151528"/>
                      </a:lnTo>
                      <a:lnTo>
                        <a:pt x="1043792" y="156961"/>
                      </a:lnTo>
                      <a:lnTo>
                        <a:pt x="1045000" y="164809"/>
                      </a:lnTo>
                      <a:lnTo>
                        <a:pt x="1038963" y="175072"/>
                      </a:lnTo>
                      <a:lnTo>
                        <a:pt x="1033530" y="176883"/>
                      </a:lnTo>
                      <a:lnTo>
                        <a:pt x="1028096" y="177487"/>
                      </a:lnTo>
                      <a:lnTo>
                        <a:pt x="1019041" y="182317"/>
                      </a:lnTo>
                      <a:lnTo>
                        <a:pt x="1015419" y="183524"/>
                      </a:lnTo>
                      <a:lnTo>
                        <a:pt x="1020248" y="193183"/>
                      </a:lnTo>
                      <a:lnTo>
                        <a:pt x="1015419" y="198013"/>
                      </a:lnTo>
                      <a:lnTo>
                        <a:pt x="1009985" y="202239"/>
                      </a:lnTo>
                      <a:lnTo>
                        <a:pt x="1005156" y="207068"/>
                      </a:lnTo>
                      <a:lnTo>
                        <a:pt x="1002137" y="204653"/>
                      </a:lnTo>
                      <a:lnTo>
                        <a:pt x="1000930" y="212501"/>
                      </a:lnTo>
                      <a:lnTo>
                        <a:pt x="991271" y="212501"/>
                      </a:lnTo>
                      <a:lnTo>
                        <a:pt x="985234" y="219746"/>
                      </a:lnTo>
                      <a:lnTo>
                        <a:pt x="992478" y="224575"/>
                      </a:lnTo>
                      <a:lnTo>
                        <a:pt x="994893" y="227594"/>
                      </a:lnTo>
                      <a:lnTo>
                        <a:pt x="993685" y="231820"/>
                      </a:lnTo>
                      <a:lnTo>
                        <a:pt x="987045" y="235442"/>
                      </a:lnTo>
                      <a:lnTo>
                        <a:pt x="973160" y="246308"/>
                      </a:lnTo>
                      <a:lnTo>
                        <a:pt x="973160" y="248120"/>
                      </a:lnTo>
                      <a:lnTo>
                        <a:pt x="981008" y="249327"/>
                      </a:lnTo>
                      <a:lnTo>
                        <a:pt x="984026" y="253553"/>
                      </a:lnTo>
                      <a:lnTo>
                        <a:pt x="994893" y="251742"/>
                      </a:lnTo>
                      <a:lnTo>
                        <a:pt x="996704" y="258986"/>
                      </a:lnTo>
                      <a:lnTo>
                        <a:pt x="999119" y="258986"/>
                      </a:lnTo>
                      <a:lnTo>
                        <a:pt x="1000326" y="263212"/>
                      </a:lnTo>
                      <a:lnTo>
                        <a:pt x="1005156" y="262005"/>
                      </a:lnTo>
                      <a:lnTo>
                        <a:pt x="1006967" y="252345"/>
                      </a:lnTo>
                      <a:lnTo>
                        <a:pt x="1012400" y="245705"/>
                      </a:lnTo>
                      <a:lnTo>
                        <a:pt x="1017230" y="244497"/>
                      </a:lnTo>
                      <a:lnTo>
                        <a:pt x="1023267" y="246308"/>
                      </a:lnTo>
                      <a:lnTo>
                        <a:pt x="1031718" y="240271"/>
                      </a:lnTo>
                      <a:lnTo>
                        <a:pt x="1033530" y="237857"/>
                      </a:lnTo>
                      <a:lnTo>
                        <a:pt x="1041378" y="234838"/>
                      </a:lnTo>
                      <a:lnTo>
                        <a:pt x="1055263" y="234838"/>
                      </a:lnTo>
                      <a:lnTo>
                        <a:pt x="1058885" y="238460"/>
                      </a:lnTo>
                      <a:lnTo>
                        <a:pt x="1066129" y="242686"/>
                      </a:lnTo>
                      <a:lnTo>
                        <a:pt x="1069752" y="243290"/>
                      </a:lnTo>
                      <a:lnTo>
                        <a:pt x="1074581" y="246912"/>
                      </a:lnTo>
                      <a:lnTo>
                        <a:pt x="1077600" y="256571"/>
                      </a:lnTo>
                      <a:lnTo>
                        <a:pt x="1088466" y="257779"/>
                      </a:lnTo>
                      <a:lnTo>
                        <a:pt x="1093899" y="257779"/>
                      </a:lnTo>
                      <a:lnTo>
                        <a:pt x="1095710" y="255364"/>
                      </a:lnTo>
                      <a:lnTo>
                        <a:pt x="1103558" y="253553"/>
                      </a:lnTo>
                      <a:lnTo>
                        <a:pt x="1107784" y="258986"/>
                      </a:lnTo>
                      <a:lnTo>
                        <a:pt x="1108992" y="263212"/>
                      </a:lnTo>
                      <a:lnTo>
                        <a:pt x="1114425" y="264419"/>
                      </a:lnTo>
                      <a:lnTo>
                        <a:pt x="1119254" y="268042"/>
                      </a:lnTo>
                      <a:lnTo>
                        <a:pt x="1123480" y="269853"/>
                      </a:lnTo>
                      <a:lnTo>
                        <a:pt x="1128914" y="267438"/>
                      </a:lnTo>
                      <a:lnTo>
                        <a:pt x="1134951" y="260194"/>
                      </a:lnTo>
                      <a:lnTo>
                        <a:pt x="1143402" y="257175"/>
                      </a:lnTo>
                      <a:lnTo>
                        <a:pt x="1150043" y="260797"/>
                      </a:lnTo>
                      <a:lnTo>
                        <a:pt x="1157288" y="267438"/>
                      </a:lnTo>
                      <a:lnTo>
                        <a:pt x="1159099" y="273475"/>
                      </a:lnTo>
                      <a:lnTo>
                        <a:pt x="1163928" y="275286"/>
                      </a:lnTo>
                      <a:lnTo>
                        <a:pt x="1170569" y="273475"/>
                      </a:lnTo>
                      <a:lnTo>
                        <a:pt x="1174191" y="279512"/>
                      </a:lnTo>
                      <a:lnTo>
                        <a:pt x="1182643" y="279512"/>
                      </a:lnTo>
                      <a:lnTo>
                        <a:pt x="1187473" y="281927"/>
                      </a:lnTo>
                      <a:lnTo>
                        <a:pt x="1188680" y="284945"/>
                      </a:lnTo>
                      <a:lnTo>
                        <a:pt x="1192906" y="286152"/>
                      </a:lnTo>
                      <a:lnTo>
                        <a:pt x="1196528" y="289171"/>
                      </a:lnTo>
                      <a:lnTo>
                        <a:pt x="1201357" y="290982"/>
                      </a:lnTo>
                      <a:lnTo>
                        <a:pt x="1206791" y="297019"/>
                      </a:lnTo>
                      <a:lnTo>
                        <a:pt x="1204980" y="299434"/>
                      </a:lnTo>
                      <a:lnTo>
                        <a:pt x="1200754" y="297019"/>
                      </a:lnTo>
                      <a:lnTo>
                        <a:pt x="1192302" y="306075"/>
                      </a:lnTo>
                      <a:lnTo>
                        <a:pt x="1191095" y="309093"/>
                      </a:lnTo>
                      <a:lnTo>
                        <a:pt x="1194113" y="315734"/>
                      </a:lnTo>
                      <a:lnTo>
                        <a:pt x="1188076" y="322374"/>
                      </a:lnTo>
                      <a:lnTo>
                        <a:pt x="1188680" y="327808"/>
                      </a:lnTo>
                      <a:lnTo>
                        <a:pt x="1192906" y="328411"/>
                      </a:lnTo>
                      <a:lnTo>
                        <a:pt x="1199546" y="327808"/>
                      </a:lnTo>
                      <a:lnTo>
                        <a:pt x="1201961" y="335052"/>
                      </a:lnTo>
                      <a:lnTo>
                        <a:pt x="1206791" y="335656"/>
                      </a:lnTo>
                      <a:lnTo>
                        <a:pt x="1209205" y="340485"/>
                      </a:lnTo>
                      <a:lnTo>
                        <a:pt x="1204980" y="341089"/>
                      </a:lnTo>
                      <a:lnTo>
                        <a:pt x="1202565" y="347126"/>
                      </a:lnTo>
                      <a:lnTo>
                        <a:pt x="1201961" y="356785"/>
                      </a:lnTo>
                      <a:lnTo>
                        <a:pt x="1204376" y="359804"/>
                      </a:lnTo>
                      <a:lnTo>
                        <a:pt x="1202565" y="362822"/>
                      </a:lnTo>
                      <a:lnTo>
                        <a:pt x="1204376" y="368255"/>
                      </a:lnTo>
                      <a:lnTo>
                        <a:pt x="1199546" y="370670"/>
                      </a:lnTo>
                      <a:lnTo>
                        <a:pt x="1195321" y="368859"/>
                      </a:lnTo>
                      <a:lnTo>
                        <a:pt x="1190491" y="369463"/>
                      </a:lnTo>
                      <a:lnTo>
                        <a:pt x="1191095" y="364633"/>
                      </a:lnTo>
                      <a:lnTo>
                        <a:pt x="1188076" y="360407"/>
                      </a:lnTo>
                      <a:lnTo>
                        <a:pt x="1177210" y="365237"/>
                      </a:lnTo>
                      <a:lnTo>
                        <a:pt x="1172984" y="369463"/>
                      </a:lnTo>
                      <a:lnTo>
                        <a:pt x="1166343" y="375500"/>
                      </a:lnTo>
                      <a:lnTo>
                        <a:pt x="1157288" y="385159"/>
                      </a:lnTo>
                      <a:lnTo>
                        <a:pt x="1152458" y="386970"/>
                      </a:lnTo>
                      <a:lnTo>
                        <a:pt x="1150043" y="391196"/>
                      </a:lnTo>
                      <a:lnTo>
                        <a:pt x="1145214" y="391799"/>
                      </a:lnTo>
                      <a:lnTo>
                        <a:pt x="1145817" y="396629"/>
                      </a:lnTo>
                      <a:lnTo>
                        <a:pt x="1144006" y="402062"/>
                      </a:lnTo>
                      <a:lnTo>
                        <a:pt x="1137969" y="399648"/>
                      </a:lnTo>
                      <a:lnTo>
                        <a:pt x="1131932" y="401459"/>
                      </a:lnTo>
                      <a:lnTo>
                        <a:pt x="1127706" y="404477"/>
                      </a:lnTo>
                      <a:lnTo>
                        <a:pt x="1125291" y="411118"/>
                      </a:lnTo>
                      <a:lnTo>
                        <a:pt x="1121066" y="415947"/>
                      </a:lnTo>
                      <a:lnTo>
                        <a:pt x="1119858" y="420173"/>
                      </a:lnTo>
                      <a:lnTo>
                        <a:pt x="1115632" y="419570"/>
                      </a:lnTo>
                      <a:lnTo>
                        <a:pt x="1109595" y="423796"/>
                      </a:lnTo>
                      <a:lnTo>
                        <a:pt x="1107784" y="429832"/>
                      </a:lnTo>
                      <a:lnTo>
                        <a:pt x="1102955" y="432247"/>
                      </a:lnTo>
                      <a:lnTo>
                        <a:pt x="1103558" y="438888"/>
                      </a:lnTo>
                      <a:lnTo>
                        <a:pt x="1106577" y="440095"/>
                      </a:lnTo>
                      <a:lnTo>
                        <a:pt x="1107181" y="446736"/>
                      </a:lnTo>
                      <a:lnTo>
                        <a:pt x="1111406" y="453377"/>
                      </a:lnTo>
                      <a:lnTo>
                        <a:pt x="1110803" y="456999"/>
                      </a:lnTo>
                      <a:lnTo>
                        <a:pt x="1106577" y="463036"/>
                      </a:lnTo>
                      <a:lnTo>
                        <a:pt x="1105973" y="469073"/>
                      </a:lnTo>
                      <a:lnTo>
                        <a:pt x="1110803" y="472091"/>
                      </a:lnTo>
                      <a:lnTo>
                        <a:pt x="1112010" y="477525"/>
                      </a:lnTo>
                      <a:lnTo>
                        <a:pt x="1117443" y="479939"/>
                      </a:lnTo>
                      <a:lnTo>
                        <a:pt x="1119254" y="484769"/>
                      </a:lnTo>
                      <a:lnTo>
                        <a:pt x="1118047" y="486580"/>
                      </a:lnTo>
                      <a:lnTo>
                        <a:pt x="1121066" y="492013"/>
                      </a:lnTo>
                      <a:lnTo>
                        <a:pt x="1124084" y="493824"/>
                      </a:lnTo>
                      <a:lnTo>
                        <a:pt x="1125291" y="499861"/>
                      </a:lnTo>
                      <a:lnTo>
                        <a:pt x="1132536" y="505295"/>
                      </a:lnTo>
                      <a:lnTo>
                        <a:pt x="1133140" y="508917"/>
                      </a:lnTo>
                      <a:lnTo>
                        <a:pt x="1140988" y="517369"/>
                      </a:lnTo>
                      <a:lnTo>
                        <a:pt x="1144006" y="519180"/>
                      </a:lnTo>
                      <a:lnTo>
                        <a:pt x="1144006" y="525217"/>
                      </a:lnTo>
                      <a:lnTo>
                        <a:pt x="1148232" y="527631"/>
                      </a:lnTo>
                      <a:lnTo>
                        <a:pt x="1150647" y="533668"/>
                      </a:lnTo>
                      <a:lnTo>
                        <a:pt x="1155476" y="534876"/>
                      </a:lnTo>
                      <a:lnTo>
                        <a:pt x="1159099" y="540309"/>
                      </a:lnTo>
                      <a:lnTo>
                        <a:pt x="1159702" y="544535"/>
                      </a:lnTo>
                      <a:lnTo>
                        <a:pt x="1156684" y="546950"/>
                      </a:lnTo>
                      <a:lnTo>
                        <a:pt x="1154269" y="552383"/>
                      </a:lnTo>
                      <a:lnTo>
                        <a:pt x="1151251" y="552383"/>
                      </a:lnTo>
                      <a:lnTo>
                        <a:pt x="1146421" y="548157"/>
                      </a:lnTo>
                      <a:lnTo>
                        <a:pt x="1140384" y="550572"/>
                      </a:lnTo>
                      <a:lnTo>
                        <a:pt x="1137365" y="550572"/>
                      </a:lnTo>
                      <a:lnTo>
                        <a:pt x="1130725" y="543327"/>
                      </a:lnTo>
                      <a:lnTo>
                        <a:pt x="1124084" y="540913"/>
                      </a:lnTo>
                      <a:lnTo>
                        <a:pt x="1121066" y="537894"/>
                      </a:lnTo>
                      <a:lnTo>
                        <a:pt x="1115029" y="536083"/>
                      </a:lnTo>
                      <a:lnTo>
                        <a:pt x="1107784" y="535480"/>
                      </a:lnTo>
                      <a:lnTo>
                        <a:pt x="1096918" y="530046"/>
                      </a:lnTo>
                      <a:lnTo>
                        <a:pt x="1096314" y="525820"/>
                      </a:lnTo>
                      <a:lnTo>
                        <a:pt x="1101747" y="521594"/>
                      </a:lnTo>
                      <a:lnTo>
                        <a:pt x="1100540" y="514350"/>
                      </a:lnTo>
                      <a:lnTo>
                        <a:pt x="1096918" y="513746"/>
                      </a:lnTo>
                      <a:lnTo>
                        <a:pt x="1094503" y="511332"/>
                      </a:lnTo>
                      <a:lnTo>
                        <a:pt x="1093296" y="505295"/>
                      </a:lnTo>
                      <a:lnTo>
                        <a:pt x="1090881" y="504087"/>
                      </a:lnTo>
                      <a:lnTo>
                        <a:pt x="1086655" y="499861"/>
                      </a:lnTo>
                      <a:lnTo>
                        <a:pt x="1083637" y="494428"/>
                      </a:lnTo>
                      <a:lnTo>
                        <a:pt x="1077600" y="492013"/>
                      </a:lnTo>
                      <a:lnTo>
                        <a:pt x="1070959" y="492013"/>
                      </a:lnTo>
                      <a:lnTo>
                        <a:pt x="1064922" y="487787"/>
                      </a:lnTo>
                      <a:lnTo>
                        <a:pt x="1061300" y="491409"/>
                      </a:lnTo>
                      <a:lnTo>
                        <a:pt x="1056470" y="490202"/>
                      </a:lnTo>
                      <a:lnTo>
                        <a:pt x="1051641" y="490806"/>
                      </a:lnTo>
                      <a:lnTo>
                        <a:pt x="1046207" y="490202"/>
                      </a:lnTo>
                      <a:lnTo>
                        <a:pt x="1041378" y="493824"/>
                      </a:lnTo>
                      <a:lnTo>
                        <a:pt x="1041981" y="496239"/>
                      </a:lnTo>
                      <a:lnTo>
                        <a:pt x="1034133" y="501069"/>
                      </a:lnTo>
                      <a:lnTo>
                        <a:pt x="1027493" y="507106"/>
                      </a:lnTo>
                      <a:lnTo>
                        <a:pt x="1021456" y="504691"/>
                      </a:lnTo>
                      <a:lnTo>
                        <a:pt x="1015419" y="504087"/>
                      </a:lnTo>
                      <a:lnTo>
                        <a:pt x="1007570" y="504691"/>
                      </a:lnTo>
                      <a:lnTo>
                        <a:pt x="999119" y="508313"/>
                      </a:lnTo>
                      <a:lnTo>
                        <a:pt x="993082" y="506502"/>
                      </a:lnTo>
                      <a:lnTo>
                        <a:pt x="990063" y="509520"/>
                      </a:lnTo>
                      <a:lnTo>
                        <a:pt x="982215" y="506502"/>
                      </a:lnTo>
                      <a:lnTo>
                        <a:pt x="977989" y="508313"/>
                      </a:lnTo>
                      <a:lnTo>
                        <a:pt x="975575" y="511332"/>
                      </a:lnTo>
                      <a:lnTo>
                        <a:pt x="966519" y="510124"/>
                      </a:lnTo>
                      <a:lnTo>
                        <a:pt x="962897" y="513746"/>
                      </a:lnTo>
                      <a:lnTo>
                        <a:pt x="958671" y="514954"/>
                      </a:lnTo>
                      <a:lnTo>
                        <a:pt x="955653" y="517369"/>
                      </a:lnTo>
                      <a:lnTo>
                        <a:pt x="952031" y="517369"/>
                      </a:lnTo>
                      <a:lnTo>
                        <a:pt x="941768" y="522198"/>
                      </a:lnTo>
                      <a:lnTo>
                        <a:pt x="938749" y="522802"/>
                      </a:lnTo>
                      <a:lnTo>
                        <a:pt x="935731" y="525820"/>
                      </a:lnTo>
                      <a:lnTo>
                        <a:pt x="925468" y="530650"/>
                      </a:lnTo>
                      <a:lnTo>
                        <a:pt x="921846" y="540309"/>
                      </a:lnTo>
                      <a:lnTo>
                        <a:pt x="913997" y="550572"/>
                      </a:lnTo>
                      <a:lnTo>
                        <a:pt x="909168" y="560835"/>
                      </a:lnTo>
                      <a:lnTo>
                        <a:pt x="892868" y="571701"/>
                      </a:lnTo>
                      <a:lnTo>
                        <a:pt x="888642" y="571098"/>
                      </a:lnTo>
                      <a:lnTo>
                        <a:pt x="885020" y="572909"/>
                      </a:lnTo>
                      <a:lnTo>
                        <a:pt x="880190" y="571098"/>
                      </a:lnTo>
                      <a:lnTo>
                        <a:pt x="872946" y="578342"/>
                      </a:lnTo>
                      <a:lnTo>
                        <a:pt x="868720" y="584379"/>
                      </a:lnTo>
                      <a:lnTo>
                        <a:pt x="869324" y="589209"/>
                      </a:lnTo>
                      <a:lnTo>
                        <a:pt x="866909" y="592227"/>
                      </a:lnTo>
                      <a:lnTo>
                        <a:pt x="867513" y="597660"/>
                      </a:lnTo>
                      <a:lnTo>
                        <a:pt x="862683" y="602490"/>
                      </a:lnTo>
                      <a:lnTo>
                        <a:pt x="857250" y="602490"/>
                      </a:lnTo>
                      <a:lnTo>
                        <a:pt x="850609" y="597057"/>
                      </a:lnTo>
                      <a:lnTo>
                        <a:pt x="846384" y="603093"/>
                      </a:lnTo>
                      <a:lnTo>
                        <a:pt x="843365" y="604301"/>
                      </a:lnTo>
                      <a:lnTo>
                        <a:pt x="842158" y="610942"/>
                      </a:lnTo>
                      <a:lnTo>
                        <a:pt x="837932" y="617582"/>
                      </a:lnTo>
                      <a:lnTo>
                        <a:pt x="830687" y="616375"/>
                      </a:lnTo>
                      <a:lnTo>
                        <a:pt x="828273" y="613960"/>
                      </a:lnTo>
                      <a:lnTo>
                        <a:pt x="824650" y="613960"/>
                      </a:lnTo>
                      <a:lnTo>
                        <a:pt x="818010" y="619393"/>
                      </a:lnTo>
                      <a:lnTo>
                        <a:pt x="815595" y="626638"/>
                      </a:lnTo>
                      <a:lnTo>
                        <a:pt x="811973" y="632675"/>
                      </a:lnTo>
                      <a:lnTo>
                        <a:pt x="807747" y="633882"/>
                      </a:lnTo>
                      <a:lnTo>
                        <a:pt x="799295" y="646560"/>
                      </a:lnTo>
                      <a:lnTo>
                        <a:pt x="795673" y="646560"/>
                      </a:lnTo>
                      <a:lnTo>
                        <a:pt x="787221" y="650786"/>
                      </a:lnTo>
                      <a:lnTo>
                        <a:pt x="783599" y="650786"/>
                      </a:lnTo>
                      <a:lnTo>
                        <a:pt x="774543" y="655615"/>
                      </a:lnTo>
                      <a:lnTo>
                        <a:pt x="767903" y="654408"/>
                      </a:lnTo>
                      <a:lnTo>
                        <a:pt x="765488" y="648975"/>
                      </a:lnTo>
                      <a:lnTo>
                        <a:pt x="761262" y="648975"/>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84" name="Assam" descr="{&quot;Key&quot;:&quot;assam&quot;,&quot;Name&quot;:&quot;Assam&quot;,&quot;Value&quot;:1.0,&quot;Formula&quot;:&quot;&quot;,&quot;Text&quot;:&quot;&quot;,&quot;OfficeApplication&quot;:1,&quot;HasValue&quot;:true}">
                  <a:extLst>
                    <a:ext uri="{FF2B5EF4-FFF2-40B4-BE49-F238E27FC236}">
                      <a16:creationId xmlns:a16="http://schemas.microsoft.com/office/drawing/2014/main" id="{061397BB-706E-4ECB-A486-522A28AB67E8}"/>
                    </a:ext>
                  </a:extLst>
                </p:cNvPr>
                <p:cNvSpPr/>
                <p:nvPr/>
              </p:nvSpPr>
              <p:spPr>
                <a:xfrm>
                  <a:off x="7517707" y="2235491"/>
                  <a:ext cx="1297949" cy="881398"/>
                </a:xfrm>
                <a:custGeom>
                  <a:avLst/>
                  <a:gdLst>
                    <a:gd name="connsiteX0" fmla="*/ 36222 w 1297948"/>
                    <a:gd name="connsiteY0" fmla="*/ 563853 h 881397"/>
                    <a:gd name="connsiteX1" fmla="*/ 36825 w 1297948"/>
                    <a:gd name="connsiteY1" fmla="*/ 565664 h 881397"/>
                    <a:gd name="connsiteX2" fmla="*/ 36825 w 1297948"/>
                    <a:gd name="connsiteY2" fmla="*/ 569287 h 881397"/>
                    <a:gd name="connsiteX3" fmla="*/ 38033 w 1297948"/>
                    <a:gd name="connsiteY3" fmla="*/ 574720 h 881397"/>
                    <a:gd name="connsiteX4" fmla="*/ 35618 w 1297948"/>
                    <a:gd name="connsiteY4" fmla="*/ 577738 h 881397"/>
                    <a:gd name="connsiteX5" fmla="*/ 32600 w 1297948"/>
                    <a:gd name="connsiteY5" fmla="*/ 577738 h 881397"/>
                    <a:gd name="connsiteX6" fmla="*/ 34411 w 1297948"/>
                    <a:gd name="connsiteY6" fmla="*/ 568079 h 881397"/>
                    <a:gd name="connsiteX7" fmla="*/ 36222 w 1297948"/>
                    <a:gd name="connsiteY7" fmla="*/ 563853 h 881397"/>
                    <a:gd name="connsiteX8" fmla="*/ 1133743 w 1297948"/>
                    <a:gd name="connsiteY8" fmla="*/ 217331 h 881397"/>
                    <a:gd name="connsiteX9" fmla="*/ 1125292 w 1297948"/>
                    <a:gd name="connsiteY9" fmla="*/ 225783 h 881397"/>
                    <a:gd name="connsiteX10" fmla="*/ 1117443 w 1297948"/>
                    <a:gd name="connsiteY10" fmla="*/ 231216 h 881397"/>
                    <a:gd name="connsiteX11" fmla="*/ 1116236 w 1297948"/>
                    <a:gd name="connsiteY11" fmla="*/ 234838 h 881397"/>
                    <a:gd name="connsiteX12" fmla="*/ 1111406 w 1297948"/>
                    <a:gd name="connsiteY12" fmla="*/ 238460 h 881397"/>
                    <a:gd name="connsiteX13" fmla="*/ 1101144 w 1297948"/>
                    <a:gd name="connsiteY13" fmla="*/ 241479 h 881397"/>
                    <a:gd name="connsiteX14" fmla="*/ 1098125 w 1297948"/>
                    <a:gd name="connsiteY14" fmla="*/ 244497 h 881397"/>
                    <a:gd name="connsiteX15" fmla="*/ 1090881 w 1297948"/>
                    <a:gd name="connsiteY15" fmla="*/ 246309 h 881397"/>
                    <a:gd name="connsiteX16" fmla="*/ 1084844 w 1297948"/>
                    <a:gd name="connsiteY16" fmla="*/ 240272 h 881397"/>
                    <a:gd name="connsiteX17" fmla="*/ 1080015 w 1297948"/>
                    <a:gd name="connsiteY17" fmla="*/ 241479 h 881397"/>
                    <a:gd name="connsiteX18" fmla="*/ 1075789 w 1297948"/>
                    <a:gd name="connsiteY18" fmla="*/ 240875 h 881397"/>
                    <a:gd name="connsiteX19" fmla="*/ 1070355 w 1297948"/>
                    <a:gd name="connsiteY19" fmla="*/ 243290 h 881397"/>
                    <a:gd name="connsiteX20" fmla="*/ 1066733 w 1297948"/>
                    <a:gd name="connsiteY20" fmla="*/ 246912 h 881397"/>
                    <a:gd name="connsiteX21" fmla="*/ 1063111 w 1297948"/>
                    <a:gd name="connsiteY21" fmla="*/ 254760 h 881397"/>
                    <a:gd name="connsiteX22" fmla="*/ 1056470 w 1297948"/>
                    <a:gd name="connsiteY22" fmla="*/ 260797 h 881397"/>
                    <a:gd name="connsiteX23" fmla="*/ 1055263 w 1297948"/>
                    <a:gd name="connsiteY23" fmla="*/ 268042 h 881397"/>
                    <a:gd name="connsiteX24" fmla="*/ 1052848 w 1297948"/>
                    <a:gd name="connsiteY24" fmla="*/ 272267 h 881397"/>
                    <a:gd name="connsiteX25" fmla="*/ 1046811 w 1297948"/>
                    <a:gd name="connsiteY25" fmla="*/ 274682 h 881397"/>
                    <a:gd name="connsiteX26" fmla="*/ 1043189 w 1297948"/>
                    <a:gd name="connsiteY26" fmla="*/ 280116 h 881397"/>
                    <a:gd name="connsiteX27" fmla="*/ 1041378 w 1297948"/>
                    <a:gd name="connsiteY27" fmla="*/ 277701 h 881397"/>
                    <a:gd name="connsiteX28" fmla="*/ 1038359 w 1297948"/>
                    <a:gd name="connsiteY28" fmla="*/ 281927 h 881397"/>
                    <a:gd name="connsiteX29" fmla="*/ 1028700 w 1297948"/>
                    <a:gd name="connsiteY29" fmla="*/ 289171 h 881397"/>
                    <a:gd name="connsiteX30" fmla="*/ 1022059 w 1297948"/>
                    <a:gd name="connsiteY30" fmla="*/ 290982 h 881397"/>
                    <a:gd name="connsiteX31" fmla="*/ 1015419 w 1297948"/>
                    <a:gd name="connsiteY31" fmla="*/ 291586 h 881397"/>
                    <a:gd name="connsiteX32" fmla="*/ 1013004 w 1297948"/>
                    <a:gd name="connsiteY32" fmla="*/ 287360 h 881397"/>
                    <a:gd name="connsiteX33" fmla="*/ 1009985 w 1297948"/>
                    <a:gd name="connsiteY33" fmla="*/ 290982 h 881397"/>
                    <a:gd name="connsiteX34" fmla="*/ 1009382 w 1297948"/>
                    <a:gd name="connsiteY34" fmla="*/ 295812 h 881397"/>
                    <a:gd name="connsiteX35" fmla="*/ 999722 w 1297948"/>
                    <a:gd name="connsiteY35" fmla="*/ 294001 h 881397"/>
                    <a:gd name="connsiteX36" fmla="*/ 994893 w 1297948"/>
                    <a:gd name="connsiteY36" fmla="*/ 296415 h 881397"/>
                    <a:gd name="connsiteX37" fmla="*/ 993685 w 1297948"/>
                    <a:gd name="connsiteY37" fmla="*/ 299434 h 881397"/>
                    <a:gd name="connsiteX38" fmla="*/ 990063 w 1297948"/>
                    <a:gd name="connsiteY38" fmla="*/ 303056 h 881397"/>
                    <a:gd name="connsiteX39" fmla="*/ 984026 w 1297948"/>
                    <a:gd name="connsiteY39" fmla="*/ 303660 h 881397"/>
                    <a:gd name="connsiteX40" fmla="*/ 981008 w 1297948"/>
                    <a:gd name="connsiteY40" fmla="*/ 310904 h 881397"/>
                    <a:gd name="connsiteX41" fmla="*/ 971953 w 1297948"/>
                    <a:gd name="connsiteY41" fmla="*/ 315734 h 881397"/>
                    <a:gd name="connsiteX42" fmla="*/ 971349 w 1297948"/>
                    <a:gd name="connsiteY42" fmla="*/ 319356 h 881397"/>
                    <a:gd name="connsiteX43" fmla="*/ 973160 w 1297948"/>
                    <a:gd name="connsiteY43" fmla="*/ 323582 h 881397"/>
                    <a:gd name="connsiteX44" fmla="*/ 968934 w 1297948"/>
                    <a:gd name="connsiteY44" fmla="*/ 336259 h 881397"/>
                    <a:gd name="connsiteX45" fmla="*/ 965312 w 1297948"/>
                    <a:gd name="connsiteY45" fmla="*/ 336863 h 881397"/>
                    <a:gd name="connsiteX46" fmla="*/ 965312 w 1297948"/>
                    <a:gd name="connsiteY46" fmla="*/ 339882 h 881397"/>
                    <a:gd name="connsiteX47" fmla="*/ 959879 w 1297948"/>
                    <a:gd name="connsiteY47" fmla="*/ 341089 h 881397"/>
                    <a:gd name="connsiteX48" fmla="*/ 959879 w 1297948"/>
                    <a:gd name="connsiteY48" fmla="*/ 344107 h 881397"/>
                    <a:gd name="connsiteX49" fmla="*/ 954445 w 1297948"/>
                    <a:gd name="connsiteY49" fmla="*/ 347730 h 881397"/>
                    <a:gd name="connsiteX50" fmla="*/ 952634 w 1297948"/>
                    <a:gd name="connsiteY50" fmla="*/ 351352 h 881397"/>
                    <a:gd name="connsiteX51" fmla="*/ 947805 w 1297948"/>
                    <a:gd name="connsiteY51" fmla="*/ 347126 h 881397"/>
                    <a:gd name="connsiteX52" fmla="*/ 946597 w 1297948"/>
                    <a:gd name="connsiteY52" fmla="*/ 341089 h 881397"/>
                    <a:gd name="connsiteX53" fmla="*/ 945390 w 1297948"/>
                    <a:gd name="connsiteY53" fmla="*/ 328411 h 881397"/>
                    <a:gd name="connsiteX54" fmla="*/ 941768 w 1297948"/>
                    <a:gd name="connsiteY54" fmla="*/ 332637 h 881397"/>
                    <a:gd name="connsiteX55" fmla="*/ 936938 w 1297948"/>
                    <a:gd name="connsiteY55" fmla="*/ 340485 h 881397"/>
                    <a:gd name="connsiteX56" fmla="*/ 930901 w 1297948"/>
                    <a:gd name="connsiteY56" fmla="*/ 345315 h 881397"/>
                    <a:gd name="connsiteX57" fmla="*/ 929090 w 1297948"/>
                    <a:gd name="connsiteY57" fmla="*/ 349541 h 881397"/>
                    <a:gd name="connsiteX58" fmla="*/ 926072 w 1297948"/>
                    <a:gd name="connsiteY58" fmla="*/ 351956 h 881397"/>
                    <a:gd name="connsiteX59" fmla="*/ 923657 w 1297948"/>
                    <a:gd name="connsiteY59" fmla="*/ 358596 h 881397"/>
                    <a:gd name="connsiteX60" fmla="*/ 924260 w 1297948"/>
                    <a:gd name="connsiteY60" fmla="*/ 368255 h 881397"/>
                    <a:gd name="connsiteX61" fmla="*/ 921242 w 1297948"/>
                    <a:gd name="connsiteY61" fmla="*/ 374896 h 881397"/>
                    <a:gd name="connsiteX62" fmla="*/ 921242 w 1297948"/>
                    <a:gd name="connsiteY62" fmla="*/ 379726 h 881397"/>
                    <a:gd name="connsiteX63" fmla="*/ 915809 w 1297948"/>
                    <a:gd name="connsiteY63" fmla="*/ 379122 h 881397"/>
                    <a:gd name="connsiteX64" fmla="*/ 909772 w 1297948"/>
                    <a:gd name="connsiteY64" fmla="*/ 382744 h 881397"/>
                    <a:gd name="connsiteX65" fmla="*/ 908564 w 1297948"/>
                    <a:gd name="connsiteY65" fmla="*/ 386970 h 881397"/>
                    <a:gd name="connsiteX66" fmla="*/ 905546 w 1297948"/>
                    <a:gd name="connsiteY66" fmla="*/ 391196 h 881397"/>
                    <a:gd name="connsiteX67" fmla="*/ 901924 w 1297948"/>
                    <a:gd name="connsiteY67" fmla="*/ 397837 h 881397"/>
                    <a:gd name="connsiteX68" fmla="*/ 898301 w 1297948"/>
                    <a:gd name="connsiteY68" fmla="*/ 399044 h 881397"/>
                    <a:gd name="connsiteX69" fmla="*/ 895887 w 1297948"/>
                    <a:gd name="connsiteY69" fmla="*/ 403874 h 881397"/>
                    <a:gd name="connsiteX70" fmla="*/ 894679 w 1297948"/>
                    <a:gd name="connsiteY70" fmla="*/ 411118 h 881397"/>
                    <a:gd name="connsiteX71" fmla="*/ 889850 w 1297948"/>
                    <a:gd name="connsiteY71" fmla="*/ 414740 h 881397"/>
                    <a:gd name="connsiteX72" fmla="*/ 887435 w 1297948"/>
                    <a:gd name="connsiteY72" fmla="*/ 421381 h 881397"/>
                    <a:gd name="connsiteX73" fmla="*/ 888642 w 1297948"/>
                    <a:gd name="connsiteY73" fmla="*/ 423796 h 881397"/>
                    <a:gd name="connsiteX74" fmla="*/ 884416 w 1297948"/>
                    <a:gd name="connsiteY74" fmla="*/ 438888 h 881397"/>
                    <a:gd name="connsiteX75" fmla="*/ 885624 w 1297948"/>
                    <a:gd name="connsiteY75" fmla="*/ 441303 h 881397"/>
                    <a:gd name="connsiteX76" fmla="*/ 880190 w 1297948"/>
                    <a:gd name="connsiteY76" fmla="*/ 447943 h 881397"/>
                    <a:gd name="connsiteX77" fmla="*/ 877776 w 1297948"/>
                    <a:gd name="connsiteY77" fmla="*/ 455791 h 881397"/>
                    <a:gd name="connsiteX78" fmla="*/ 878983 w 1297948"/>
                    <a:gd name="connsiteY78" fmla="*/ 458206 h 881397"/>
                    <a:gd name="connsiteX79" fmla="*/ 878379 w 1297948"/>
                    <a:gd name="connsiteY79" fmla="*/ 463640 h 881397"/>
                    <a:gd name="connsiteX80" fmla="*/ 880794 w 1297948"/>
                    <a:gd name="connsiteY80" fmla="*/ 466658 h 881397"/>
                    <a:gd name="connsiteX81" fmla="*/ 883813 w 1297948"/>
                    <a:gd name="connsiteY81" fmla="*/ 474506 h 881397"/>
                    <a:gd name="connsiteX82" fmla="*/ 878983 w 1297948"/>
                    <a:gd name="connsiteY82" fmla="*/ 479336 h 881397"/>
                    <a:gd name="connsiteX83" fmla="*/ 869928 w 1297948"/>
                    <a:gd name="connsiteY83" fmla="*/ 483561 h 881397"/>
                    <a:gd name="connsiteX84" fmla="*/ 865702 w 1297948"/>
                    <a:gd name="connsiteY84" fmla="*/ 488995 h 881397"/>
                    <a:gd name="connsiteX85" fmla="*/ 863287 w 1297948"/>
                    <a:gd name="connsiteY85" fmla="*/ 493221 h 881397"/>
                    <a:gd name="connsiteX86" fmla="*/ 856647 w 1297948"/>
                    <a:gd name="connsiteY86" fmla="*/ 488995 h 881397"/>
                    <a:gd name="connsiteX87" fmla="*/ 851213 w 1297948"/>
                    <a:gd name="connsiteY87" fmla="*/ 492617 h 881397"/>
                    <a:gd name="connsiteX88" fmla="*/ 850006 w 1297948"/>
                    <a:gd name="connsiteY88" fmla="*/ 497447 h 881397"/>
                    <a:gd name="connsiteX89" fmla="*/ 845176 w 1297948"/>
                    <a:gd name="connsiteY89" fmla="*/ 500465 h 881397"/>
                    <a:gd name="connsiteX90" fmla="*/ 842158 w 1297948"/>
                    <a:gd name="connsiteY90" fmla="*/ 493221 h 881397"/>
                    <a:gd name="connsiteX91" fmla="*/ 845780 w 1297948"/>
                    <a:gd name="connsiteY91" fmla="*/ 478732 h 881397"/>
                    <a:gd name="connsiteX92" fmla="*/ 843365 w 1297948"/>
                    <a:gd name="connsiteY92" fmla="*/ 467262 h 881397"/>
                    <a:gd name="connsiteX93" fmla="*/ 839743 w 1297948"/>
                    <a:gd name="connsiteY93" fmla="*/ 467865 h 881397"/>
                    <a:gd name="connsiteX94" fmla="*/ 836121 w 1297948"/>
                    <a:gd name="connsiteY94" fmla="*/ 472091 h 881397"/>
                    <a:gd name="connsiteX95" fmla="*/ 822839 w 1297948"/>
                    <a:gd name="connsiteY95" fmla="*/ 478732 h 881397"/>
                    <a:gd name="connsiteX96" fmla="*/ 823443 w 1297948"/>
                    <a:gd name="connsiteY96" fmla="*/ 482958 h 881397"/>
                    <a:gd name="connsiteX97" fmla="*/ 827065 w 1297948"/>
                    <a:gd name="connsiteY97" fmla="*/ 491410 h 881397"/>
                    <a:gd name="connsiteX98" fmla="*/ 821632 w 1297948"/>
                    <a:gd name="connsiteY98" fmla="*/ 494428 h 881397"/>
                    <a:gd name="connsiteX99" fmla="*/ 821028 w 1297948"/>
                    <a:gd name="connsiteY99" fmla="*/ 496843 h 881397"/>
                    <a:gd name="connsiteX100" fmla="*/ 814991 w 1297948"/>
                    <a:gd name="connsiteY100" fmla="*/ 498050 h 881397"/>
                    <a:gd name="connsiteX101" fmla="*/ 810765 w 1297948"/>
                    <a:gd name="connsiteY101" fmla="*/ 502880 h 881397"/>
                    <a:gd name="connsiteX102" fmla="*/ 809558 w 1297948"/>
                    <a:gd name="connsiteY102" fmla="*/ 508313 h 881397"/>
                    <a:gd name="connsiteX103" fmla="*/ 801710 w 1297948"/>
                    <a:gd name="connsiteY103" fmla="*/ 513143 h 881397"/>
                    <a:gd name="connsiteX104" fmla="*/ 793258 w 1297948"/>
                    <a:gd name="connsiteY104" fmla="*/ 520387 h 881397"/>
                    <a:gd name="connsiteX105" fmla="*/ 793258 w 1297948"/>
                    <a:gd name="connsiteY105" fmla="*/ 525820 h 881397"/>
                    <a:gd name="connsiteX106" fmla="*/ 788428 w 1297948"/>
                    <a:gd name="connsiteY106" fmla="*/ 530046 h 881397"/>
                    <a:gd name="connsiteX107" fmla="*/ 780580 w 1297948"/>
                    <a:gd name="connsiteY107" fmla="*/ 539102 h 881397"/>
                    <a:gd name="connsiteX108" fmla="*/ 776958 w 1297948"/>
                    <a:gd name="connsiteY108" fmla="*/ 539102 h 881397"/>
                    <a:gd name="connsiteX109" fmla="*/ 767299 w 1297948"/>
                    <a:gd name="connsiteY109" fmla="*/ 544535 h 881397"/>
                    <a:gd name="connsiteX110" fmla="*/ 764884 w 1297948"/>
                    <a:gd name="connsiteY110" fmla="*/ 549968 h 881397"/>
                    <a:gd name="connsiteX111" fmla="*/ 761866 w 1297948"/>
                    <a:gd name="connsiteY111" fmla="*/ 550572 h 881397"/>
                    <a:gd name="connsiteX112" fmla="*/ 758244 w 1297948"/>
                    <a:gd name="connsiteY112" fmla="*/ 556609 h 881397"/>
                    <a:gd name="connsiteX113" fmla="*/ 752207 w 1297948"/>
                    <a:gd name="connsiteY113" fmla="*/ 558420 h 881397"/>
                    <a:gd name="connsiteX114" fmla="*/ 749792 w 1297948"/>
                    <a:gd name="connsiteY114" fmla="*/ 560835 h 881397"/>
                    <a:gd name="connsiteX115" fmla="*/ 755225 w 1297948"/>
                    <a:gd name="connsiteY115" fmla="*/ 565664 h 881397"/>
                    <a:gd name="connsiteX116" fmla="*/ 757640 w 1297948"/>
                    <a:gd name="connsiteY116" fmla="*/ 571701 h 881397"/>
                    <a:gd name="connsiteX117" fmla="*/ 761866 w 1297948"/>
                    <a:gd name="connsiteY117" fmla="*/ 575324 h 881397"/>
                    <a:gd name="connsiteX118" fmla="*/ 761866 w 1297948"/>
                    <a:gd name="connsiteY118" fmla="*/ 579549 h 881397"/>
                    <a:gd name="connsiteX119" fmla="*/ 767299 w 1297948"/>
                    <a:gd name="connsiteY119" fmla="*/ 583172 h 881397"/>
                    <a:gd name="connsiteX120" fmla="*/ 770921 w 1297948"/>
                    <a:gd name="connsiteY120" fmla="*/ 582568 h 881397"/>
                    <a:gd name="connsiteX121" fmla="*/ 775147 w 1297948"/>
                    <a:gd name="connsiteY121" fmla="*/ 585586 h 881397"/>
                    <a:gd name="connsiteX122" fmla="*/ 776958 w 1297948"/>
                    <a:gd name="connsiteY122" fmla="*/ 592831 h 881397"/>
                    <a:gd name="connsiteX123" fmla="*/ 779977 w 1297948"/>
                    <a:gd name="connsiteY123" fmla="*/ 599471 h 881397"/>
                    <a:gd name="connsiteX124" fmla="*/ 774543 w 1297948"/>
                    <a:gd name="connsiteY124" fmla="*/ 607923 h 881397"/>
                    <a:gd name="connsiteX125" fmla="*/ 775147 w 1297948"/>
                    <a:gd name="connsiteY125" fmla="*/ 612149 h 881397"/>
                    <a:gd name="connsiteX126" fmla="*/ 778769 w 1297948"/>
                    <a:gd name="connsiteY126" fmla="*/ 615771 h 881397"/>
                    <a:gd name="connsiteX127" fmla="*/ 775751 w 1297948"/>
                    <a:gd name="connsiteY127" fmla="*/ 618790 h 881397"/>
                    <a:gd name="connsiteX128" fmla="*/ 772732 w 1297948"/>
                    <a:gd name="connsiteY128" fmla="*/ 619393 h 881397"/>
                    <a:gd name="connsiteX129" fmla="*/ 764281 w 1297948"/>
                    <a:gd name="connsiteY129" fmla="*/ 626034 h 881397"/>
                    <a:gd name="connsiteX130" fmla="*/ 761262 w 1297948"/>
                    <a:gd name="connsiteY130" fmla="*/ 630864 h 881397"/>
                    <a:gd name="connsiteX131" fmla="*/ 761262 w 1297948"/>
                    <a:gd name="connsiteY131" fmla="*/ 633279 h 881397"/>
                    <a:gd name="connsiteX132" fmla="*/ 754018 w 1297948"/>
                    <a:gd name="connsiteY132" fmla="*/ 644749 h 881397"/>
                    <a:gd name="connsiteX133" fmla="*/ 752811 w 1297948"/>
                    <a:gd name="connsiteY133" fmla="*/ 648975 h 881397"/>
                    <a:gd name="connsiteX134" fmla="*/ 753414 w 1297948"/>
                    <a:gd name="connsiteY134" fmla="*/ 653200 h 881397"/>
                    <a:gd name="connsiteX135" fmla="*/ 750396 w 1297948"/>
                    <a:gd name="connsiteY135" fmla="*/ 664671 h 881397"/>
                    <a:gd name="connsiteX136" fmla="*/ 747981 w 1297948"/>
                    <a:gd name="connsiteY136" fmla="*/ 665274 h 881397"/>
                    <a:gd name="connsiteX137" fmla="*/ 742548 w 1297948"/>
                    <a:gd name="connsiteY137" fmla="*/ 675537 h 881397"/>
                    <a:gd name="connsiteX138" fmla="*/ 736511 w 1297948"/>
                    <a:gd name="connsiteY138" fmla="*/ 674934 h 881397"/>
                    <a:gd name="connsiteX139" fmla="*/ 732285 w 1297948"/>
                    <a:gd name="connsiteY139" fmla="*/ 682178 h 881397"/>
                    <a:gd name="connsiteX140" fmla="*/ 732285 w 1297948"/>
                    <a:gd name="connsiteY140" fmla="*/ 685196 h 881397"/>
                    <a:gd name="connsiteX141" fmla="*/ 735303 w 1297948"/>
                    <a:gd name="connsiteY141" fmla="*/ 693648 h 881397"/>
                    <a:gd name="connsiteX142" fmla="*/ 734700 w 1297948"/>
                    <a:gd name="connsiteY142" fmla="*/ 697270 h 881397"/>
                    <a:gd name="connsiteX143" fmla="*/ 731681 w 1297948"/>
                    <a:gd name="connsiteY143" fmla="*/ 699081 h 881397"/>
                    <a:gd name="connsiteX144" fmla="*/ 733492 w 1297948"/>
                    <a:gd name="connsiteY144" fmla="*/ 704515 h 881397"/>
                    <a:gd name="connsiteX145" fmla="*/ 729266 w 1297948"/>
                    <a:gd name="connsiteY145" fmla="*/ 709344 h 881397"/>
                    <a:gd name="connsiteX146" fmla="*/ 729266 w 1297948"/>
                    <a:gd name="connsiteY146" fmla="*/ 712363 h 881397"/>
                    <a:gd name="connsiteX147" fmla="*/ 721418 w 1297948"/>
                    <a:gd name="connsiteY147" fmla="*/ 720815 h 881397"/>
                    <a:gd name="connsiteX148" fmla="*/ 720815 w 1297948"/>
                    <a:gd name="connsiteY148" fmla="*/ 730474 h 881397"/>
                    <a:gd name="connsiteX149" fmla="*/ 717192 w 1297948"/>
                    <a:gd name="connsiteY149" fmla="*/ 731077 h 881397"/>
                    <a:gd name="connsiteX150" fmla="*/ 713570 w 1297948"/>
                    <a:gd name="connsiteY150" fmla="*/ 733492 h 881397"/>
                    <a:gd name="connsiteX151" fmla="*/ 708137 w 1297948"/>
                    <a:gd name="connsiteY151" fmla="*/ 730474 h 881397"/>
                    <a:gd name="connsiteX152" fmla="*/ 704515 w 1297948"/>
                    <a:gd name="connsiteY152" fmla="*/ 731077 h 881397"/>
                    <a:gd name="connsiteX153" fmla="*/ 699685 w 1297948"/>
                    <a:gd name="connsiteY153" fmla="*/ 752207 h 881397"/>
                    <a:gd name="connsiteX154" fmla="*/ 701496 w 1297948"/>
                    <a:gd name="connsiteY154" fmla="*/ 761866 h 881397"/>
                    <a:gd name="connsiteX155" fmla="*/ 698478 w 1297948"/>
                    <a:gd name="connsiteY155" fmla="*/ 766092 h 881397"/>
                    <a:gd name="connsiteX156" fmla="*/ 699081 w 1297948"/>
                    <a:gd name="connsiteY156" fmla="*/ 774544 h 881397"/>
                    <a:gd name="connsiteX157" fmla="*/ 696667 w 1297948"/>
                    <a:gd name="connsiteY157" fmla="*/ 778166 h 881397"/>
                    <a:gd name="connsiteX158" fmla="*/ 701496 w 1297948"/>
                    <a:gd name="connsiteY158" fmla="*/ 781184 h 881397"/>
                    <a:gd name="connsiteX159" fmla="*/ 691837 w 1297948"/>
                    <a:gd name="connsiteY159" fmla="*/ 789636 h 881397"/>
                    <a:gd name="connsiteX160" fmla="*/ 691837 w 1297948"/>
                    <a:gd name="connsiteY160" fmla="*/ 795069 h 881397"/>
                    <a:gd name="connsiteX161" fmla="*/ 688818 w 1297948"/>
                    <a:gd name="connsiteY161" fmla="*/ 800503 h 881397"/>
                    <a:gd name="connsiteX162" fmla="*/ 691233 w 1297948"/>
                    <a:gd name="connsiteY162" fmla="*/ 805332 h 881397"/>
                    <a:gd name="connsiteX163" fmla="*/ 688818 w 1297948"/>
                    <a:gd name="connsiteY163" fmla="*/ 808351 h 881397"/>
                    <a:gd name="connsiteX164" fmla="*/ 687611 w 1297948"/>
                    <a:gd name="connsiteY164" fmla="*/ 815595 h 881397"/>
                    <a:gd name="connsiteX165" fmla="*/ 689422 w 1297948"/>
                    <a:gd name="connsiteY165" fmla="*/ 819821 h 881397"/>
                    <a:gd name="connsiteX166" fmla="*/ 681574 w 1297948"/>
                    <a:gd name="connsiteY166" fmla="*/ 821632 h 881397"/>
                    <a:gd name="connsiteX167" fmla="*/ 677348 w 1297948"/>
                    <a:gd name="connsiteY167" fmla="*/ 820425 h 881397"/>
                    <a:gd name="connsiteX168" fmla="*/ 673122 w 1297948"/>
                    <a:gd name="connsiteY168" fmla="*/ 823443 h 881397"/>
                    <a:gd name="connsiteX169" fmla="*/ 667689 w 1297948"/>
                    <a:gd name="connsiteY169" fmla="*/ 823443 h 881397"/>
                    <a:gd name="connsiteX170" fmla="*/ 662859 w 1297948"/>
                    <a:gd name="connsiteY170" fmla="*/ 819217 h 881397"/>
                    <a:gd name="connsiteX171" fmla="*/ 661652 w 1297948"/>
                    <a:gd name="connsiteY171" fmla="*/ 823443 h 881397"/>
                    <a:gd name="connsiteX172" fmla="*/ 657426 w 1297948"/>
                    <a:gd name="connsiteY172" fmla="*/ 821632 h 881397"/>
                    <a:gd name="connsiteX173" fmla="*/ 653200 w 1297948"/>
                    <a:gd name="connsiteY173" fmla="*/ 822236 h 881397"/>
                    <a:gd name="connsiteX174" fmla="*/ 649578 w 1297948"/>
                    <a:gd name="connsiteY174" fmla="*/ 826462 h 881397"/>
                    <a:gd name="connsiteX175" fmla="*/ 640523 w 1297948"/>
                    <a:gd name="connsiteY175" fmla="*/ 817406 h 881397"/>
                    <a:gd name="connsiteX176" fmla="*/ 632675 w 1297948"/>
                    <a:gd name="connsiteY176" fmla="*/ 795069 h 881397"/>
                    <a:gd name="connsiteX177" fmla="*/ 625430 w 1297948"/>
                    <a:gd name="connsiteY177" fmla="*/ 810162 h 881397"/>
                    <a:gd name="connsiteX178" fmla="*/ 622412 w 1297948"/>
                    <a:gd name="connsiteY178" fmla="*/ 821028 h 881397"/>
                    <a:gd name="connsiteX179" fmla="*/ 617582 w 1297948"/>
                    <a:gd name="connsiteY179" fmla="*/ 832499 h 881397"/>
                    <a:gd name="connsiteX180" fmla="*/ 610942 w 1297948"/>
                    <a:gd name="connsiteY180" fmla="*/ 834913 h 881397"/>
                    <a:gd name="connsiteX181" fmla="*/ 607923 w 1297948"/>
                    <a:gd name="connsiteY181" fmla="*/ 838536 h 881397"/>
                    <a:gd name="connsiteX182" fmla="*/ 604301 w 1297948"/>
                    <a:gd name="connsiteY182" fmla="*/ 837328 h 881397"/>
                    <a:gd name="connsiteX183" fmla="*/ 602490 w 1297948"/>
                    <a:gd name="connsiteY183" fmla="*/ 842158 h 881397"/>
                    <a:gd name="connsiteX184" fmla="*/ 602490 w 1297948"/>
                    <a:gd name="connsiteY184" fmla="*/ 848195 h 881397"/>
                    <a:gd name="connsiteX185" fmla="*/ 601282 w 1297948"/>
                    <a:gd name="connsiteY185" fmla="*/ 855439 h 881397"/>
                    <a:gd name="connsiteX186" fmla="*/ 596453 w 1297948"/>
                    <a:gd name="connsiteY186" fmla="*/ 857250 h 881397"/>
                    <a:gd name="connsiteX187" fmla="*/ 591623 w 1297948"/>
                    <a:gd name="connsiteY187" fmla="*/ 856043 h 881397"/>
                    <a:gd name="connsiteX188" fmla="*/ 588605 w 1297948"/>
                    <a:gd name="connsiteY188" fmla="*/ 857250 h 881397"/>
                    <a:gd name="connsiteX189" fmla="*/ 588001 w 1297948"/>
                    <a:gd name="connsiteY189" fmla="*/ 862080 h 881397"/>
                    <a:gd name="connsiteX190" fmla="*/ 584379 w 1297948"/>
                    <a:gd name="connsiteY190" fmla="*/ 873550 h 881397"/>
                    <a:gd name="connsiteX191" fmla="*/ 580757 w 1297948"/>
                    <a:gd name="connsiteY191" fmla="*/ 873550 h 881397"/>
                    <a:gd name="connsiteX192" fmla="*/ 580153 w 1297948"/>
                    <a:gd name="connsiteY192" fmla="*/ 874757 h 881397"/>
                    <a:gd name="connsiteX193" fmla="*/ 580757 w 1297948"/>
                    <a:gd name="connsiteY193" fmla="*/ 875965 h 881397"/>
                    <a:gd name="connsiteX194" fmla="*/ 580153 w 1297948"/>
                    <a:gd name="connsiteY194" fmla="*/ 875965 h 881397"/>
                    <a:gd name="connsiteX195" fmla="*/ 578946 w 1297948"/>
                    <a:gd name="connsiteY195" fmla="*/ 874757 h 881397"/>
                    <a:gd name="connsiteX196" fmla="*/ 578342 w 1297948"/>
                    <a:gd name="connsiteY196" fmla="*/ 875965 h 881397"/>
                    <a:gd name="connsiteX197" fmla="*/ 575927 w 1297948"/>
                    <a:gd name="connsiteY197" fmla="*/ 875965 h 881397"/>
                    <a:gd name="connsiteX198" fmla="*/ 574720 w 1297948"/>
                    <a:gd name="connsiteY198" fmla="*/ 876568 h 881397"/>
                    <a:gd name="connsiteX199" fmla="*/ 574720 w 1297948"/>
                    <a:gd name="connsiteY199" fmla="*/ 877172 h 881397"/>
                    <a:gd name="connsiteX200" fmla="*/ 574720 w 1297948"/>
                    <a:gd name="connsiteY200" fmla="*/ 877776 h 881397"/>
                    <a:gd name="connsiteX201" fmla="*/ 572909 w 1297948"/>
                    <a:gd name="connsiteY201" fmla="*/ 880794 h 881397"/>
                    <a:gd name="connsiteX202" fmla="*/ 571097 w 1297948"/>
                    <a:gd name="connsiteY202" fmla="*/ 882002 h 881397"/>
                    <a:gd name="connsiteX203" fmla="*/ 570494 w 1297948"/>
                    <a:gd name="connsiteY203" fmla="*/ 882002 h 881397"/>
                    <a:gd name="connsiteX204" fmla="*/ 566268 w 1297948"/>
                    <a:gd name="connsiteY204" fmla="*/ 878379 h 881397"/>
                    <a:gd name="connsiteX205" fmla="*/ 565060 w 1297948"/>
                    <a:gd name="connsiteY205" fmla="*/ 878379 h 881397"/>
                    <a:gd name="connsiteX206" fmla="*/ 565060 w 1297948"/>
                    <a:gd name="connsiteY206" fmla="*/ 875965 h 881397"/>
                    <a:gd name="connsiteX207" fmla="*/ 564457 w 1297948"/>
                    <a:gd name="connsiteY207" fmla="*/ 873550 h 881397"/>
                    <a:gd name="connsiteX208" fmla="*/ 561438 w 1297948"/>
                    <a:gd name="connsiteY208" fmla="*/ 868720 h 881397"/>
                    <a:gd name="connsiteX209" fmla="*/ 562042 w 1297948"/>
                    <a:gd name="connsiteY209" fmla="*/ 855439 h 881397"/>
                    <a:gd name="connsiteX210" fmla="*/ 552383 w 1297948"/>
                    <a:gd name="connsiteY210" fmla="*/ 856043 h 881397"/>
                    <a:gd name="connsiteX211" fmla="*/ 539705 w 1297948"/>
                    <a:gd name="connsiteY211" fmla="*/ 855439 h 881397"/>
                    <a:gd name="connsiteX212" fmla="*/ 536083 w 1297948"/>
                    <a:gd name="connsiteY212" fmla="*/ 856043 h 881397"/>
                    <a:gd name="connsiteX213" fmla="*/ 519180 w 1297948"/>
                    <a:gd name="connsiteY213" fmla="*/ 856646 h 881397"/>
                    <a:gd name="connsiteX214" fmla="*/ 529443 w 1297948"/>
                    <a:gd name="connsiteY214" fmla="*/ 830687 h 881397"/>
                    <a:gd name="connsiteX215" fmla="*/ 531254 w 1297948"/>
                    <a:gd name="connsiteY215" fmla="*/ 825254 h 881397"/>
                    <a:gd name="connsiteX216" fmla="*/ 527632 w 1297948"/>
                    <a:gd name="connsiteY216" fmla="*/ 818010 h 881397"/>
                    <a:gd name="connsiteX217" fmla="*/ 527632 w 1297948"/>
                    <a:gd name="connsiteY217" fmla="*/ 814388 h 881397"/>
                    <a:gd name="connsiteX218" fmla="*/ 522802 w 1297948"/>
                    <a:gd name="connsiteY218" fmla="*/ 808954 h 881397"/>
                    <a:gd name="connsiteX219" fmla="*/ 522802 w 1297948"/>
                    <a:gd name="connsiteY219" fmla="*/ 798692 h 881397"/>
                    <a:gd name="connsiteX220" fmla="*/ 523406 w 1297948"/>
                    <a:gd name="connsiteY220" fmla="*/ 785410 h 881397"/>
                    <a:gd name="connsiteX221" fmla="*/ 524613 w 1297948"/>
                    <a:gd name="connsiteY221" fmla="*/ 776958 h 881397"/>
                    <a:gd name="connsiteX222" fmla="*/ 526424 w 1297948"/>
                    <a:gd name="connsiteY222" fmla="*/ 770318 h 881397"/>
                    <a:gd name="connsiteX223" fmla="*/ 526424 w 1297948"/>
                    <a:gd name="connsiteY223" fmla="*/ 764884 h 881397"/>
                    <a:gd name="connsiteX224" fmla="*/ 529443 w 1297948"/>
                    <a:gd name="connsiteY224" fmla="*/ 757036 h 881397"/>
                    <a:gd name="connsiteX225" fmla="*/ 536687 w 1297948"/>
                    <a:gd name="connsiteY225" fmla="*/ 746170 h 881397"/>
                    <a:gd name="connsiteX226" fmla="*/ 533669 w 1297948"/>
                    <a:gd name="connsiteY226" fmla="*/ 744359 h 881397"/>
                    <a:gd name="connsiteX227" fmla="*/ 535480 w 1297948"/>
                    <a:gd name="connsiteY227" fmla="*/ 740133 h 881397"/>
                    <a:gd name="connsiteX228" fmla="*/ 535480 w 1297948"/>
                    <a:gd name="connsiteY228" fmla="*/ 735303 h 881397"/>
                    <a:gd name="connsiteX229" fmla="*/ 533065 w 1297948"/>
                    <a:gd name="connsiteY229" fmla="*/ 730474 h 881397"/>
                    <a:gd name="connsiteX230" fmla="*/ 532461 w 1297948"/>
                    <a:gd name="connsiteY230" fmla="*/ 725040 h 881397"/>
                    <a:gd name="connsiteX231" fmla="*/ 527632 w 1297948"/>
                    <a:gd name="connsiteY231" fmla="*/ 723833 h 881397"/>
                    <a:gd name="connsiteX232" fmla="*/ 525217 w 1297948"/>
                    <a:gd name="connsiteY232" fmla="*/ 720211 h 881397"/>
                    <a:gd name="connsiteX233" fmla="*/ 525217 w 1297948"/>
                    <a:gd name="connsiteY233" fmla="*/ 715381 h 881397"/>
                    <a:gd name="connsiteX234" fmla="*/ 526424 w 1297948"/>
                    <a:gd name="connsiteY234" fmla="*/ 712363 h 881397"/>
                    <a:gd name="connsiteX235" fmla="*/ 525820 w 1297948"/>
                    <a:gd name="connsiteY235" fmla="*/ 706326 h 881397"/>
                    <a:gd name="connsiteX236" fmla="*/ 539705 w 1297948"/>
                    <a:gd name="connsiteY236" fmla="*/ 706929 h 881397"/>
                    <a:gd name="connsiteX237" fmla="*/ 546950 w 1297948"/>
                    <a:gd name="connsiteY237" fmla="*/ 713570 h 881397"/>
                    <a:gd name="connsiteX238" fmla="*/ 550572 w 1297948"/>
                    <a:gd name="connsiteY238" fmla="*/ 712966 h 881397"/>
                    <a:gd name="connsiteX239" fmla="*/ 556609 w 1297948"/>
                    <a:gd name="connsiteY239" fmla="*/ 719003 h 881397"/>
                    <a:gd name="connsiteX240" fmla="*/ 560835 w 1297948"/>
                    <a:gd name="connsiteY240" fmla="*/ 717192 h 881397"/>
                    <a:gd name="connsiteX241" fmla="*/ 567475 w 1297948"/>
                    <a:gd name="connsiteY241" fmla="*/ 717192 h 881397"/>
                    <a:gd name="connsiteX242" fmla="*/ 567475 w 1297948"/>
                    <a:gd name="connsiteY242" fmla="*/ 714174 h 881397"/>
                    <a:gd name="connsiteX243" fmla="*/ 572305 w 1297948"/>
                    <a:gd name="connsiteY243" fmla="*/ 715381 h 881397"/>
                    <a:gd name="connsiteX244" fmla="*/ 576531 w 1297948"/>
                    <a:gd name="connsiteY244" fmla="*/ 714778 h 881397"/>
                    <a:gd name="connsiteX245" fmla="*/ 578342 w 1297948"/>
                    <a:gd name="connsiteY245" fmla="*/ 706326 h 881397"/>
                    <a:gd name="connsiteX246" fmla="*/ 576531 w 1297948"/>
                    <a:gd name="connsiteY246" fmla="*/ 700892 h 881397"/>
                    <a:gd name="connsiteX247" fmla="*/ 569890 w 1297948"/>
                    <a:gd name="connsiteY247" fmla="*/ 698478 h 881397"/>
                    <a:gd name="connsiteX248" fmla="*/ 572305 w 1297948"/>
                    <a:gd name="connsiteY248" fmla="*/ 694252 h 881397"/>
                    <a:gd name="connsiteX249" fmla="*/ 569890 w 1297948"/>
                    <a:gd name="connsiteY249" fmla="*/ 691837 h 881397"/>
                    <a:gd name="connsiteX250" fmla="*/ 565060 w 1297948"/>
                    <a:gd name="connsiteY250" fmla="*/ 693648 h 881397"/>
                    <a:gd name="connsiteX251" fmla="*/ 562646 w 1297948"/>
                    <a:gd name="connsiteY251" fmla="*/ 687008 h 881397"/>
                    <a:gd name="connsiteX252" fmla="*/ 564457 w 1297948"/>
                    <a:gd name="connsiteY252" fmla="*/ 679763 h 881397"/>
                    <a:gd name="connsiteX253" fmla="*/ 562646 w 1297948"/>
                    <a:gd name="connsiteY253" fmla="*/ 679159 h 881397"/>
                    <a:gd name="connsiteX254" fmla="*/ 568079 w 1297948"/>
                    <a:gd name="connsiteY254" fmla="*/ 676745 h 881397"/>
                    <a:gd name="connsiteX255" fmla="*/ 571097 w 1297948"/>
                    <a:gd name="connsiteY255" fmla="*/ 673122 h 881397"/>
                    <a:gd name="connsiteX256" fmla="*/ 574116 w 1297948"/>
                    <a:gd name="connsiteY256" fmla="*/ 666482 h 881397"/>
                    <a:gd name="connsiteX257" fmla="*/ 574720 w 1297948"/>
                    <a:gd name="connsiteY257" fmla="*/ 661652 h 881397"/>
                    <a:gd name="connsiteX258" fmla="*/ 586794 w 1297948"/>
                    <a:gd name="connsiteY258" fmla="*/ 662256 h 881397"/>
                    <a:gd name="connsiteX259" fmla="*/ 583171 w 1297948"/>
                    <a:gd name="connsiteY259" fmla="*/ 657426 h 881397"/>
                    <a:gd name="connsiteX260" fmla="*/ 583171 w 1297948"/>
                    <a:gd name="connsiteY260" fmla="*/ 654408 h 881397"/>
                    <a:gd name="connsiteX261" fmla="*/ 589208 w 1297948"/>
                    <a:gd name="connsiteY261" fmla="*/ 656219 h 881397"/>
                    <a:gd name="connsiteX262" fmla="*/ 595245 w 1297948"/>
                    <a:gd name="connsiteY262" fmla="*/ 656219 h 881397"/>
                    <a:gd name="connsiteX263" fmla="*/ 603094 w 1297948"/>
                    <a:gd name="connsiteY263" fmla="*/ 659237 h 881397"/>
                    <a:gd name="connsiteX264" fmla="*/ 607923 w 1297948"/>
                    <a:gd name="connsiteY264" fmla="*/ 651993 h 881397"/>
                    <a:gd name="connsiteX265" fmla="*/ 610338 w 1297948"/>
                    <a:gd name="connsiteY265" fmla="*/ 651389 h 881397"/>
                    <a:gd name="connsiteX266" fmla="*/ 611545 w 1297948"/>
                    <a:gd name="connsiteY266" fmla="*/ 646560 h 881397"/>
                    <a:gd name="connsiteX267" fmla="*/ 614564 w 1297948"/>
                    <a:gd name="connsiteY267" fmla="*/ 644749 h 881397"/>
                    <a:gd name="connsiteX268" fmla="*/ 629053 w 1297948"/>
                    <a:gd name="connsiteY268" fmla="*/ 638712 h 881397"/>
                    <a:gd name="connsiteX269" fmla="*/ 635693 w 1297948"/>
                    <a:gd name="connsiteY269" fmla="*/ 639919 h 881397"/>
                    <a:gd name="connsiteX270" fmla="*/ 640523 w 1297948"/>
                    <a:gd name="connsiteY270" fmla="*/ 635693 h 881397"/>
                    <a:gd name="connsiteX271" fmla="*/ 634486 w 1297948"/>
                    <a:gd name="connsiteY271" fmla="*/ 633279 h 881397"/>
                    <a:gd name="connsiteX272" fmla="*/ 632675 w 1297948"/>
                    <a:gd name="connsiteY272" fmla="*/ 629656 h 881397"/>
                    <a:gd name="connsiteX273" fmla="*/ 633882 w 1297948"/>
                    <a:gd name="connsiteY273" fmla="*/ 624827 h 881397"/>
                    <a:gd name="connsiteX274" fmla="*/ 638108 w 1297948"/>
                    <a:gd name="connsiteY274" fmla="*/ 620601 h 881397"/>
                    <a:gd name="connsiteX275" fmla="*/ 636901 w 1297948"/>
                    <a:gd name="connsiteY275" fmla="*/ 615771 h 881397"/>
                    <a:gd name="connsiteX276" fmla="*/ 636901 w 1297948"/>
                    <a:gd name="connsiteY276" fmla="*/ 610338 h 881397"/>
                    <a:gd name="connsiteX277" fmla="*/ 632071 w 1297948"/>
                    <a:gd name="connsiteY277" fmla="*/ 609734 h 881397"/>
                    <a:gd name="connsiteX278" fmla="*/ 626638 w 1297948"/>
                    <a:gd name="connsiteY278" fmla="*/ 601282 h 881397"/>
                    <a:gd name="connsiteX279" fmla="*/ 623016 w 1297948"/>
                    <a:gd name="connsiteY279" fmla="*/ 600679 h 881397"/>
                    <a:gd name="connsiteX280" fmla="*/ 619393 w 1297948"/>
                    <a:gd name="connsiteY280" fmla="*/ 597660 h 881397"/>
                    <a:gd name="connsiteX281" fmla="*/ 613960 w 1297948"/>
                    <a:gd name="connsiteY281" fmla="*/ 591020 h 881397"/>
                    <a:gd name="connsiteX282" fmla="*/ 610942 w 1297948"/>
                    <a:gd name="connsiteY282" fmla="*/ 592831 h 881397"/>
                    <a:gd name="connsiteX283" fmla="*/ 609131 w 1297948"/>
                    <a:gd name="connsiteY283" fmla="*/ 588001 h 881397"/>
                    <a:gd name="connsiteX284" fmla="*/ 600075 w 1297948"/>
                    <a:gd name="connsiteY284" fmla="*/ 591020 h 881397"/>
                    <a:gd name="connsiteX285" fmla="*/ 600075 w 1297948"/>
                    <a:gd name="connsiteY285" fmla="*/ 583775 h 881397"/>
                    <a:gd name="connsiteX286" fmla="*/ 598264 w 1297948"/>
                    <a:gd name="connsiteY286" fmla="*/ 578946 h 881397"/>
                    <a:gd name="connsiteX287" fmla="*/ 592831 w 1297948"/>
                    <a:gd name="connsiteY287" fmla="*/ 580153 h 881397"/>
                    <a:gd name="connsiteX288" fmla="*/ 592227 w 1297948"/>
                    <a:gd name="connsiteY288" fmla="*/ 576531 h 881397"/>
                    <a:gd name="connsiteX289" fmla="*/ 594642 w 1297948"/>
                    <a:gd name="connsiteY289" fmla="*/ 573512 h 881397"/>
                    <a:gd name="connsiteX290" fmla="*/ 603094 w 1297948"/>
                    <a:gd name="connsiteY290" fmla="*/ 568683 h 881397"/>
                    <a:gd name="connsiteX291" fmla="*/ 607923 w 1297948"/>
                    <a:gd name="connsiteY291" fmla="*/ 563853 h 881397"/>
                    <a:gd name="connsiteX292" fmla="*/ 610942 w 1297948"/>
                    <a:gd name="connsiteY292" fmla="*/ 552987 h 881397"/>
                    <a:gd name="connsiteX293" fmla="*/ 607319 w 1297948"/>
                    <a:gd name="connsiteY293" fmla="*/ 552383 h 881397"/>
                    <a:gd name="connsiteX294" fmla="*/ 604905 w 1297948"/>
                    <a:gd name="connsiteY294" fmla="*/ 556005 h 881397"/>
                    <a:gd name="connsiteX295" fmla="*/ 600679 w 1297948"/>
                    <a:gd name="connsiteY295" fmla="*/ 557213 h 881397"/>
                    <a:gd name="connsiteX296" fmla="*/ 596453 w 1297948"/>
                    <a:gd name="connsiteY296" fmla="*/ 560231 h 881397"/>
                    <a:gd name="connsiteX297" fmla="*/ 590416 w 1297948"/>
                    <a:gd name="connsiteY297" fmla="*/ 555401 h 881397"/>
                    <a:gd name="connsiteX298" fmla="*/ 589812 w 1297948"/>
                    <a:gd name="connsiteY298" fmla="*/ 546346 h 881397"/>
                    <a:gd name="connsiteX299" fmla="*/ 577738 w 1297948"/>
                    <a:gd name="connsiteY299" fmla="*/ 543327 h 881397"/>
                    <a:gd name="connsiteX300" fmla="*/ 574116 w 1297948"/>
                    <a:gd name="connsiteY300" fmla="*/ 534876 h 881397"/>
                    <a:gd name="connsiteX301" fmla="*/ 571097 w 1297948"/>
                    <a:gd name="connsiteY301" fmla="*/ 530650 h 881397"/>
                    <a:gd name="connsiteX302" fmla="*/ 564457 w 1297948"/>
                    <a:gd name="connsiteY302" fmla="*/ 529443 h 881397"/>
                    <a:gd name="connsiteX303" fmla="*/ 563249 w 1297948"/>
                    <a:gd name="connsiteY303" fmla="*/ 524009 h 881397"/>
                    <a:gd name="connsiteX304" fmla="*/ 566268 w 1297948"/>
                    <a:gd name="connsiteY304" fmla="*/ 521595 h 881397"/>
                    <a:gd name="connsiteX305" fmla="*/ 560835 w 1297948"/>
                    <a:gd name="connsiteY305" fmla="*/ 517369 h 881397"/>
                    <a:gd name="connsiteX306" fmla="*/ 551779 w 1297948"/>
                    <a:gd name="connsiteY306" fmla="*/ 516161 h 881397"/>
                    <a:gd name="connsiteX307" fmla="*/ 545139 w 1297948"/>
                    <a:gd name="connsiteY307" fmla="*/ 520387 h 881397"/>
                    <a:gd name="connsiteX308" fmla="*/ 537894 w 1297948"/>
                    <a:gd name="connsiteY308" fmla="*/ 520991 h 881397"/>
                    <a:gd name="connsiteX309" fmla="*/ 530650 w 1297948"/>
                    <a:gd name="connsiteY309" fmla="*/ 524009 h 881397"/>
                    <a:gd name="connsiteX310" fmla="*/ 524009 w 1297948"/>
                    <a:gd name="connsiteY310" fmla="*/ 524613 h 881397"/>
                    <a:gd name="connsiteX311" fmla="*/ 521595 w 1297948"/>
                    <a:gd name="connsiteY311" fmla="*/ 523406 h 881397"/>
                    <a:gd name="connsiteX312" fmla="*/ 518576 w 1297948"/>
                    <a:gd name="connsiteY312" fmla="*/ 527632 h 881397"/>
                    <a:gd name="connsiteX313" fmla="*/ 510124 w 1297948"/>
                    <a:gd name="connsiteY313" fmla="*/ 534272 h 881397"/>
                    <a:gd name="connsiteX314" fmla="*/ 507106 w 1297948"/>
                    <a:gd name="connsiteY314" fmla="*/ 524613 h 881397"/>
                    <a:gd name="connsiteX315" fmla="*/ 508917 w 1297948"/>
                    <a:gd name="connsiteY315" fmla="*/ 516161 h 881397"/>
                    <a:gd name="connsiteX316" fmla="*/ 505898 w 1297948"/>
                    <a:gd name="connsiteY316" fmla="*/ 507106 h 881397"/>
                    <a:gd name="connsiteX317" fmla="*/ 506502 w 1297948"/>
                    <a:gd name="connsiteY317" fmla="*/ 500465 h 881397"/>
                    <a:gd name="connsiteX318" fmla="*/ 512539 w 1297948"/>
                    <a:gd name="connsiteY318" fmla="*/ 492013 h 881397"/>
                    <a:gd name="connsiteX319" fmla="*/ 512539 w 1297948"/>
                    <a:gd name="connsiteY319" fmla="*/ 487184 h 881397"/>
                    <a:gd name="connsiteX320" fmla="*/ 521595 w 1297948"/>
                    <a:gd name="connsiteY320" fmla="*/ 480543 h 881397"/>
                    <a:gd name="connsiteX321" fmla="*/ 520991 w 1297948"/>
                    <a:gd name="connsiteY321" fmla="*/ 478128 h 881397"/>
                    <a:gd name="connsiteX322" fmla="*/ 512539 w 1297948"/>
                    <a:gd name="connsiteY322" fmla="*/ 478732 h 881397"/>
                    <a:gd name="connsiteX323" fmla="*/ 508313 w 1297948"/>
                    <a:gd name="connsiteY323" fmla="*/ 476921 h 881397"/>
                    <a:gd name="connsiteX324" fmla="*/ 507106 w 1297948"/>
                    <a:gd name="connsiteY324" fmla="*/ 470280 h 881397"/>
                    <a:gd name="connsiteX325" fmla="*/ 508917 w 1297948"/>
                    <a:gd name="connsiteY325" fmla="*/ 466054 h 881397"/>
                    <a:gd name="connsiteX326" fmla="*/ 514350 w 1297948"/>
                    <a:gd name="connsiteY326" fmla="*/ 461225 h 881397"/>
                    <a:gd name="connsiteX327" fmla="*/ 516765 w 1297948"/>
                    <a:gd name="connsiteY327" fmla="*/ 461225 h 881397"/>
                    <a:gd name="connsiteX328" fmla="*/ 527632 w 1297948"/>
                    <a:gd name="connsiteY328" fmla="*/ 450962 h 881397"/>
                    <a:gd name="connsiteX329" fmla="*/ 537291 w 1297948"/>
                    <a:gd name="connsiteY329" fmla="*/ 440095 h 881397"/>
                    <a:gd name="connsiteX330" fmla="*/ 531254 w 1297948"/>
                    <a:gd name="connsiteY330" fmla="*/ 442510 h 881397"/>
                    <a:gd name="connsiteX331" fmla="*/ 524613 w 1297948"/>
                    <a:gd name="connsiteY331" fmla="*/ 443717 h 881397"/>
                    <a:gd name="connsiteX332" fmla="*/ 518576 w 1297948"/>
                    <a:gd name="connsiteY332" fmla="*/ 441303 h 881397"/>
                    <a:gd name="connsiteX333" fmla="*/ 514350 w 1297948"/>
                    <a:gd name="connsiteY333" fmla="*/ 442510 h 881397"/>
                    <a:gd name="connsiteX334" fmla="*/ 511935 w 1297948"/>
                    <a:gd name="connsiteY334" fmla="*/ 439492 h 881397"/>
                    <a:gd name="connsiteX335" fmla="*/ 505898 w 1297948"/>
                    <a:gd name="connsiteY335" fmla="*/ 443114 h 881397"/>
                    <a:gd name="connsiteX336" fmla="*/ 502276 w 1297948"/>
                    <a:gd name="connsiteY336" fmla="*/ 447340 h 881397"/>
                    <a:gd name="connsiteX337" fmla="*/ 494428 w 1297948"/>
                    <a:gd name="connsiteY337" fmla="*/ 446736 h 881397"/>
                    <a:gd name="connsiteX338" fmla="*/ 485976 w 1297948"/>
                    <a:gd name="connsiteY338" fmla="*/ 450358 h 881397"/>
                    <a:gd name="connsiteX339" fmla="*/ 482354 w 1297948"/>
                    <a:gd name="connsiteY339" fmla="*/ 448547 h 881397"/>
                    <a:gd name="connsiteX340" fmla="*/ 473299 w 1297948"/>
                    <a:gd name="connsiteY340" fmla="*/ 448547 h 881397"/>
                    <a:gd name="connsiteX341" fmla="*/ 470280 w 1297948"/>
                    <a:gd name="connsiteY341" fmla="*/ 451566 h 881397"/>
                    <a:gd name="connsiteX342" fmla="*/ 461225 w 1297948"/>
                    <a:gd name="connsiteY342" fmla="*/ 454584 h 881397"/>
                    <a:gd name="connsiteX343" fmla="*/ 460017 w 1297948"/>
                    <a:gd name="connsiteY343" fmla="*/ 457603 h 881397"/>
                    <a:gd name="connsiteX344" fmla="*/ 455791 w 1297948"/>
                    <a:gd name="connsiteY344" fmla="*/ 451566 h 881397"/>
                    <a:gd name="connsiteX345" fmla="*/ 450962 w 1297948"/>
                    <a:gd name="connsiteY345" fmla="*/ 450962 h 881397"/>
                    <a:gd name="connsiteX346" fmla="*/ 447943 w 1297948"/>
                    <a:gd name="connsiteY346" fmla="*/ 444925 h 881397"/>
                    <a:gd name="connsiteX347" fmla="*/ 449151 w 1297948"/>
                    <a:gd name="connsiteY347" fmla="*/ 435266 h 881397"/>
                    <a:gd name="connsiteX348" fmla="*/ 437680 w 1297948"/>
                    <a:gd name="connsiteY348" fmla="*/ 430436 h 881397"/>
                    <a:gd name="connsiteX349" fmla="*/ 431644 w 1297948"/>
                    <a:gd name="connsiteY349" fmla="*/ 437680 h 881397"/>
                    <a:gd name="connsiteX350" fmla="*/ 429229 w 1297948"/>
                    <a:gd name="connsiteY350" fmla="*/ 437077 h 881397"/>
                    <a:gd name="connsiteX351" fmla="*/ 425607 w 1297948"/>
                    <a:gd name="connsiteY351" fmla="*/ 441303 h 881397"/>
                    <a:gd name="connsiteX352" fmla="*/ 419570 w 1297948"/>
                    <a:gd name="connsiteY352" fmla="*/ 444321 h 881397"/>
                    <a:gd name="connsiteX353" fmla="*/ 417759 w 1297948"/>
                    <a:gd name="connsiteY353" fmla="*/ 450962 h 881397"/>
                    <a:gd name="connsiteX354" fmla="*/ 417155 w 1297948"/>
                    <a:gd name="connsiteY354" fmla="*/ 468469 h 881397"/>
                    <a:gd name="connsiteX355" fmla="*/ 406892 w 1297948"/>
                    <a:gd name="connsiteY355" fmla="*/ 479336 h 881397"/>
                    <a:gd name="connsiteX356" fmla="*/ 402666 w 1297948"/>
                    <a:gd name="connsiteY356" fmla="*/ 477525 h 881397"/>
                    <a:gd name="connsiteX357" fmla="*/ 394818 w 1297948"/>
                    <a:gd name="connsiteY357" fmla="*/ 471488 h 881397"/>
                    <a:gd name="connsiteX358" fmla="*/ 399044 w 1297948"/>
                    <a:gd name="connsiteY358" fmla="*/ 470280 h 881397"/>
                    <a:gd name="connsiteX359" fmla="*/ 400251 w 1297948"/>
                    <a:gd name="connsiteY359" fmla="*/ 466054 h 881397"/>
                    <a:gd name="connsiteX360" fmla="*/ 397837 w 1297948"/>
                    <a:gd name="connsiteY360" fmla="*/ 461225 h 881397"/>
                    <a:gd name="connsiteX361" fmla="*/ 399044 w 1297948"/>
                    <a:gd name="connsiteY361" fmla="*/ 452773 h 881397"/>
                    <a:gd name="connsiteX362" fmla="*/ 396629 w 1297948"/>
                    <a:gd name="connsiteY362" fmla="*/ 451566 h 881397"/>
                    <a:gd name="connsiteX363" fmla="*/ 391800 w 1297948"/>
                    <a:gd name="connsiteY363" fmla="*/ 452773 h 881397"/>
                    <a:gd name="connsiteX364" fmla="*/ 386366 w 1297948"/>
                    <a:gd name="connsiteY364" fmla="*/ 451566 h 881397"/>
                    <a:gd name="connsiteX365" fmla="*/ 385159 w 1297948"/>
                    <a:gd name="connsiteY365" fmla="*/ 457603 h 881397"/>
                    <a:gd name="connsiteX366" fmla="*/ 382744 w 1297948"/>
                    <a:gd name="connsiteY366" fmla="*/ 463640 h 881397"/>
                    <a:gd name="connsiteX367" fmla="*/ 379726 w 1297948"/>
                    <a:gd name="connsiteY367" fmla="*/ 466658 h 881397"/>
                    <a:gd name="connsiteX368" fmla="*/ 375500 w 1297948"/>
                    <a:gd name="connsiteY368" fmla="*/ 467262 h 881397"/>
                    <a:gd name="connsiteX369" fmla="*/ 376103 w 1297948"/>
                    <a:gd name="connsiteY369" fmla="*/ 471488 h 881397"/>
                    <a:gd name="connsiteX370" fmla="*/ 372481 w 1297948"/>
                    <a:gd name="connsiteY370" fmla="*/ 475714 h 881397"/>
                    <a:gd name="connsiteX371" fmla="*/ 372481 w 1297948"/>
                    <a:gd name="connsiteY371" fmla="*/ 481147 h 881397"/>
                    <a:gd name="connsiteX372" fmla="*/ 368255 w 1297948"/>
                    <a:gd name="connsiteY372" fmla="*/ 482958 h 881397"/>
                    <a:gd name="connsiteX373" fmla="*/ 365237 w 1297948"/>
                    <a:gd name="connsiteY373" fmla="*/ 490202 h 881397"/>
                    <a:gd name="connsiteX374" fmla="*/ 359803 w 1297948"/>
                    <a:gd name="connsiteY374" fmla="*/ 493824 h 881397"/>
                    <a:gd name="connsiteX375" fmla="*/ 353766 w 1297948"/>
                    <a:gd name="connsiteY375" fmla="*/ 491410 h 881397"/>
                    <a:gd name="connsiteX376" fmla="*/ 340485 w 1297948"/>
                    <a:gd name="connsiteY376" fmla="*/ 494428 h 881397"/>
                    <a:gd name="connsiteX377" fmla="*/ 337467 w 1297948"/>
                    <a:gd name="connsiteY377" fmla="*/ 496239 h 881397"/>
                    <a:gd name="connsiteX378" fmla="*/ 332033 w 1297948"/>
                    <a:gd name="connsiteY378" fmla="*/ 504691 h 881397"/>
                    <a:gd name="connsiteX379" fmla="*/ 325997 w 1297948"/>
                    <a:gd name="connsiteY379" fmla="*/ 515558 h 881397"/>
                    <a:gd name="connsiteX380" fmla="*/ 321771 w 1297948"/>
                    <a:gd name="connsiteY380" fmla="*/ 515558 h 881397"/>
                    <a:gd name="connsiteX381" fmla="*/ 315130 w 1297948"/>
                    <a:gd name="connsiteY381" fmla="*/ 520991 h 881397"/>
                    <a:gd name="connsiteX382" fmla="*/ 307886 w 1297948"/>
                    <a:gd name="connsiteY382" fmla="*/ 517369 h 881397"/>
                    <a:gd name="connsiteX383" fmla="*/ 307886 w 1297948"/>
                    <a:gd name="connsiteY383" fmla="*/ 511935 h 881397"/>
                    <a:gd name="connsiteX384" fmla="*/ 306075 w 1297948"/>
                    <a:gd name="connsiteY384" fmla="*/ 508917 h 881397"/>
                    <a:gd name="connsiteX385" fmla="*/ 310904 w 1297948"/>
                    <a:gd name="connsiteY385" fmla="*/ 494428 h 881397"/>
                    <a:gd name="connsiteX386" fmla="*/ 308489 w 1297948"/>
                    <a:gd name="connsiteY386" fmla="*/ 490806 h 881397"/>
                    <a:gd name="connsiteX387" fmla="*/ 306075 w 1297948"/>
                    <a:gd name="connsiteY387" fmla="*/ 493824 h 881397"/>
                    <a:gd name="connsiteX388" fmla="*/ 300641 w 1297948"/>
                    <a:gd name="connsiteY388" fmla="*/ 492013 h 881397"/>
                    <a:gd name="connsiteX389" fmla="*/ 294001 w 1297948"/>
                    <a:gd name="connsiteY389" fmla="*/ 496239 h 881397"/>
                    <a:gd name="connsiteX390" fmla="*/ 282530 w 1297948"/>
                    <a:gd name="connsiteY390" fmla="*/ 497447 h 881397"/>
                    <a:gd name="connsiteX391" fmla="*/ 282530 w 1297948"/>
                    <a:gd name="connsiteY391" fmla="*/ 493221 h 881397"/>
                    <a:gd name="connsiteX392" fmla="*/ 278908 w 1297948"/>
                    <a:gd name="connsiteY392" fmla="*/ 492617 h 881397"/>
                    <a:gd name="connsiteX393" fmla="*/ 272871 w 1297948"/>
                    <a:gd name="connsiteY393" fmla="*/ 498654 h 881397"/>
                    <a:gd name="connsiteX394" fmla="*/ 269249 w 1297948"/>
                    <a:gd name="connsiteY394" fmla="*/ 497447 h 881397"/>
                    <a:gd name="connsiteX395" fmla="*/ 271664 w 1297948"/>
                    <a:gd name="connsiteY395" fmla="*/ 490806 h 881397"/>
                    <a:gd name="connsiteX396" fmla="*/ 274079 w 1297948"/>
                    <a:gd name="connsiteY396" fmla="*/ 488391 h 881397"/>
                    <a:gd name="connsiteX397" fmla="*/ 271664 w 1297948"/>
                    <a:gd name="connsiteY397" fmla="*/ 484165 h 881397"/>
                    <a:gd name="connsiteX398" fmla="*/ 265627 w 1297948"/>
                    <a:gd name="connsiteY398" fmla="*/ 482958 h 881397"/>
                    <a:gd name="connsiteX399" fmla="*/ 262005 w 1297948"/>
                    <a:gd name="connsiteY399" fmla="*/ 483561 h 881397"/>
                    <a:gd name="connsiteX400" fmla="*/ 260193 w 1297948"/>
                    <a:gd name="connsiteY400" fmla="*/ 472695 h 881397"/>
                    <a:gd name="connsiteX401" fmla="*/ 251742 w 1297948"/>
                    <a:gd name="connsiteY401" fmla="*/ 470884 h 881397"/>
                    <a:gd name="connsiteX402" fmla="*/ 252345 w 1297948"/>
                    <a:gd name="connsiteY402" fmla="*/ 477525 h 881397"/>
                    <a:gd name="connsiteX403" fmla="*/ 244497 w 1297948"/>
                    <a:gd name="connsiteY403" fmla="*/ 469073 h 881397"/>
                    <a:gd name="connsiteX404" fmla="*/ 242082 w 1297948"/>
                    <a:gd name="connsiteY404" fmla="*/ 470884 h 881397"/>
                    <a:gd name="connsiteX405" fmla="*/ 231820 w 1297948"/>
                    <a:gd name="connsiteY405" fmla="*/ 469677 h 881397"/>
                    <a:gd name="connsiteX406" fmla="*/ 226990 w 1297948"/>
                    <a:gd name="connsiteY406" fmla="*/ 471488 h 881397"/>
                    <a:gd name="connsiteX407" fmla="*/ 223368 w 1297948"/>
                    <a:gd name="connsiteY407" fmla="*/ 478732 h 881397"/>
                    <a:gd name="connsiteX408" fmla="*/ 215520 w 1297948"/>
                    <a:gd name="connsiteY408" fmla="*/ 476921 h 881397"/>
                    <a:gd name="connsiteX409" fmla="*/ 215520 w 1297948"/>
                    <a:gd name="connsiteY409" fmla="*/ 471488 h 881397"/>
                    <a:gd name="connsiteX410" fmla="*/ 209483 w 1297948"/>
                    <a:gd name="connsiteY410" fmla="*/ 468469 h 881397"/>
                    <a:gd name="connsiteX411" fmla="*/ 204050 w 1297948"/>
                    <a:gd name="connsiteY411" fmla="*/ 469073 h 881397"/>
                    <a:gd name="connsiteX412" fmla="*/ 202239 w 1297948"/>
                    <a:gd name="connsiteY412" fmla="*/ 472091 h 881397"/>
                    <a:gd name="connsiteX413" fmla="*/ 191976 w 1297948"/>
                    <a:gd name="connsiteY413" fmla="*/ 476921 h 881397"/>
                    <a:gd name="connsiteX414" fmla="*/ 192580 w 1297948"/>
                    <a:gd name="connsiteY414" fmla="*/ 472091 h 881397"/>
                    <a:gd name="connsiteX415" fmla="*/ 186543 w 1297948"/>
                    <a:gd name="connsiteY415" fmla="*/ 469073 h 881397"/>
                    <a:gd name="connsiteX416" fmla="*/ 182317 w 1297948"/>
                    <a:gd name="connsiteY416" fmla="*/ 467262 h 881397"/>
                    <a:gd name="connsiteX417" fmla="*/ 180506 w 1297948"/>
                    <a:gd name="connsiteY417" fmla="*/ 471488 h 881397"/>
                    <a:gd name="connsiteX418" fmla="*/ 176883 w 1297948"/>
                    <a:gd name="connsiteY418" fmla="*/ 473902 h 881397"/>
                    <a:gd name="connsiteX419" fmla="*/ 170846 w 1297948"/>
                    <a:gd name="connsiteY419" fmla="*/ 480543 h 881397"/>
                    <a:gd name="connsiteX420" fmla="*/ 169639 w 1297948"/>
                    <a:gd name="connsiteY420" fmla="*/ 478732 h 881397"/>
                    <a:gd name="connsiteX421" fmla="*/ 172657 w 1297948"/>
                    <a:gd name="connsiteY421" fmla="*/ 473299 h 881397"/>
                    <a:gd name="connsiteX422" fmla="*/ 172657 w 1297948"/>
                    <a:gd name="connsiteY422" fmla="*/ 467262 h 881397"/>
                    <a:gd name="connsiteX423" fmla="*/ 167224 w 1297948"/>
                    <a:gd name="connsiteY423" fmla="*/ 458810 h 881397"/>
                    <a:gd name="connsiteX424" fmla="*/ 161187 w 1297948"/>
                    <a:gd name="connsiteY424" fmla="*/ 453980 h 881397"/>
                    <a:gd name="connsiteX425" fmla="*/ 156961 w 1297948"/>
                    <a:gd name="connsiteY425" fmla="*/ 457603 h 881397"/>
                    <a:gd name="connsiteX426" fmla="*/ 150924 w 1297948"/>
                    <a:gd name="connsiteY426" fmla="*/ 460017 h 881397"/>
                    <a:gd name="connsiteX427" fmla="*/ 144284 w 1297948"/>
                    <a:gd name="connsiteY427" fmla="*/ 454584 h 881397"/>
                    <a:gd name="connsiteX428" fmla="*/ 138247 w 1297948"/>
                    <a:gd name="connsiteY428" fmla="*/ 455188 h 881397"/>
                    <a:gd name="connsiteX429" fmla="*/ 131002 w 1297948"/>
                    <a:gd name="connsiteY429" fmla="*/ 460621 h 881397"/>
                    <a:gd name="connsiteX430" fmla="*/ 129795 w 1297948"/>
                    <a:gd name="connsiteY430" fmla="*/ 463640 h 881397"/>
                    <a:gd name="connsiteX431" fmla="*/ 121947 w 1297948"/>
                    <a:gd name="connsiteY431" fmla="*/ 466054 h 881397"/>
                    <a:gd name="connsiteX432" fmla="*/ 106854 w 1297948"/>
                    <a:gd name="connsiteY432" fmla="*/ 468469 h 881397"/>
                    <a:gd name="connsiteX433" fmla="*/ 102629 w 1297948"/>
                    <a:gd name="connsiteY433" fmla="*/ 467865 h 881397"/>
                    <a:gd name="connsiteX434" fmla="*/ 86329 w 1297948"/>
                    <a:gd name="connsiteY434" fmla="*/ 467262 h 881397"/>
                    <a:gd name="connsiteX435" fmla="*/ 83310 w 1297948"/>
                    <a:gd name="connsiteY435" fmla="*/ 470884 h 881397"/>
                    <a:gd name="connsiteX436" fmla="*/ 82707 w 1297948"/>
                    <a:gd name="connsiteY436" fmla="*/ 471488 h 881397"/>
                    <a:gd name="connsiteX437" fmla="*/ 81499 w 1297948"/>
                    <a:gd name="connsiteY437" fmla="*/ 473902 h 881397"/>
                    <a:gd name="connsiteX438" fmla="*/ 79084 w 1297948"/>
                    <a:gd name="connsiteY438" fmla="*/ 475110 h 881397"/>
                    <a:gd name="connsiteX439" fmla="*/ 79084 w 1297948"/>
                    <a:gd name="connsiteY439" fmla="*/ 476921 h 881397"/>
                    <a:gd name="connsiteX440" fmla="*/ 77877 w 1297948"/>
                    <a:gd name="connsiteY440" fmla="*/ 476317 h 881397"/>
                    <a:gd name="connsiteX441" fmla="*/ 75462 w 1297948"/>
                    <a:gd name="connsiteY441" fmla="*/ 476921 h 881397"/>
                    <a:gd name="connsiteX442" fmla="*/ 74859 w 1297948"/>
                    <a:gd name="connsiteY442" fmla="*/ 478128 h 881397"/>
                    <a:gd name="connsiteX443" fmla="*/ 73651 w 1297948"/>
                    <a:gd name="connsiteY443" fmla="*/ 481147 h 881397"/>
                    <a:gd name="connsiteX444" fmla="*/ 68218 w 1297948"/>
                    <a:gd name="connsiteY444" fmla="*/ 481750 h 881397"/>
                    <a:gd name="connsiteX445" fmla="*/ 65803 w 1297948"/>
                    <a:gd name="connsiteY445" fmla="*/ 483561 h 881397"/>
                    <a:gd name="connsiteX446" fmla="*/ 65803 w 1297948"/>
                    <a:gd name="connsiteY446" fmla="*/ 487184 h 881397"/>
                    <a:gd name="connsiteX447" fmla="*/ 66407 w 1297948"/>
                    <a:gd name="connsiteY447" fmla="*/ 487184 h 881397"/>
                    <a:gd name="connsiteX448" fmla="*/ 67010 w 1297948"/>
                    <a:gd name="connsiteY448" fmla="*/ 488391 h 881397"/>
                    <a:gd name="connsiteX449" fmla="*/ 65199 w 1297948"/>
                    <a:gd name="connsiteY449" fmla="*/ 492013 h 881397"/>
                    <a:gd name="connsiteX450" fmla="*/ 62181 w 1297948"/>
                    <a:gd name="connsiteY450" fmla="*/ 493221 h 881397"/>
                    <a:gd name="connsiteX451" fmla="*/ 62785 w 1297948"/>
                    <a:gd name="connsiteY451" fmla="*/ 493824 h 881397"/>
                    <a:gd name="connsiteX452" fmla="*/ 56144 w 1297948"/>
                    <a:gd name="connsiteY452" fmla="*/ 497447 h 881397"/>
                    <a:gd name="connsiteX453" fmla="*/ 52522 w 1297948"/>
                    <a:gd name="connsiteY453" fmla="*/ 498050 h 881397"/>
                    <a:gd name="connsiteX454" fmla="*/ 51314 w 1297948"/>
                    <a:gd name="connsiteY454" fmla="*/ 499258 h 881397"/>
                    <a:gd name="connsiteX455" fmla="*/ 51314 w 1297948"/>
                    <a:gd name="connsiteY455" fmla="*/ 499861 h 881397"/>
                    <a:gd name="connsiteX456" fmla="*/ 52522 w 1297948"/>
                    <a:gd name="connsiteY456" fmla="*/ 501069 h 881397"/>
                    <a:gd name="connsiteX457" fmla="*/ 53125 w 1297948"/>
                    <a:gd name="connsiteY457" fmla="*/ 507106 h 881397"/>
                    <a:gd name="connsiteX458" fmla="*/ 53729 w 1297948"/>
                    <a:gd name="connsiteY458" fmla="*/ 509521 h 881397"/>
                    <a:gd name="connsiteX459" fmla="*/ 45277 w 1297948"/>
                    <a:gd name="connsiteY459" fmla="*/ 517369 h 881397"/>
                    <a:gd name="connsiteX460" fmla="*/ 41655 w 1297948"/>
                    <a:gd name="connsiteY460" fmla="*/ 516161 h 881397"/>
                    <a:gd name="connsiteX461" fmla="*/ 41051 w 1297948"/>
                    <a:gd name="connsiteY461" fmla="*/ 520387 h 881397"/>
                    <a:gd name="connsiteX462" fmla="*/ 44674 w 1297948"/>
                    <a:gd name="connsiteY462" fmla="*/ 524613 h 881397"/>
                    <a:gd name="connsiteX463" fmla="*/ 45881 w 1297948"/>
                    <a:gd name="connsiteY463" fmla="*/ 525820 h 881397"/>
                    <a:gd name="connsiteX464" fmla="*/ 48899 w 1297948"/>
                    <a:gd name="connsiteY464" fmla="*/ 528839 h 881397"/>
                    <a:gd name="connsiteX465" fmla="*/ 50711 w 1297948"/>
                    <a:gd name="connsiteY465" fmla="*/ 531254 h 881397"/>
                    <a:gd name="connsiteX466" fmla="*/ 51918 w 1297948"/>
                    <a:gd name="connsiteY466" fmla="*/ 536083 h 881397"/>
                    <a:gd name="connsiteX467" fmla="*/ 58559 w 1297948"/>
                    <a:gd name="connsiteY467" fmla="*/ 540913 h 881397"/>
                    <a:gd name="connsiteX468" fmla="*/ 62785 w 1297948"/>
                    <a:gd name="connsiteY468" fmla="*/ 544535 h 881397"/>
                    <a:gd name="connsiteX469" fmla="*/ 63388 w 1297948"/>
                    <a:gd name="connsiteY469" fmla="*/ 543931 h 881397"/>
                    <a:gd name="connsiteX470" fmla="*/ 66407 w 1297948"/>
                    <a:gd name="connsiteY470" fmla="*/ 547553 h 881397"/>
                    <a:gd name="connsiteX471" fmla="*/ 63992 w 1297948"/>
                    <a:gd name="connsiteY471" fmla="*/ 551779 h 881397"/>
                    <a:gd name="connsiteX472" fmla="*/ 61577 w 1297948"/>
                    <a:gd name="connsiteY472" fmla="*/ 552383 h 881397"/>
                    <a:gd name="connsiteX473" fmla="*/ 58559 w 1297948"/>
                    <a:gd name="connsiteY473" fmla="*/ 551779 h 881397"/>
                    <a:gd name="connsiteX474" fmla="*/ 57351 w 1297948"/>
                    <a:gd name="connsiteY474" fmla="*/ 555401 h 881397"/>
                    <a:gd name="connsiteX475" fmla="*/ 45881 w 1297948"/>
                    <a:gd name="connsiteY475" fmla="*/ 557816 h 881397"/>
                    <a:gd name="connsiteX476" fmla="*/ 39240 w 1297948"/>
                    <a:gd name="connsiteY476" fmla="*/ 559024 h 881397"/>
                    <a:gd name="connsiteX477" fmla="*/ 37429 w 1297948"/>
                    <a:gd name="connsiteY477" fmla="*/ 560835 h 881397"/>
                    <a:gd name="connsiteX478" fmla="*/ 36222 w 1297948"/>
                    <a:gd name="connsiteY478" fmla="*/ 562042 h 881397"/>
                    <a:gd name="connsiteX479" fmla="*/ 39240 w 1297948"/>
                    <a:gd name="connsiteY479" fmla="*/ 547553 h 881397"/>
                    <a:gd name="connsiteX480" fmla="*/ 39240 w 1297948"/>
                    <a:gd name="connsiteY480" fmla="*/ 542724 h 881397"/>
                    <a:gd name="connsiteX481" fmla="*/ 36825 w 1297948"/>
                    <a:gd name="connsiteY481" fmla="*/ 536083 h 881397"/>
                    <a:gd name="connsiteX482" fmla="*/ 32600 w 1297948"/>
                    <a:gd name="connsiteY482" fmla="*/ 530046 h 881397"/>
                    <a:gd name="connsiteX483" fmla="*/ 32600 w 1297948"/>
                    <a:gd name="connsiteY483" fmla="*/ 524613 h 881397"/>
                    <a:gd name="connsiteX484" fmla="*/ 28977 w 1297948"/>
                    <a:gd name="connsiteY484" fmla="*/ 524009 h 881397"/>
                    <a:gd name="connsiteX485" fmla="*/ 27770 w 1297948"/>
                    <a:gd name="connsiteY485" fmla="*/ 518576 h 881397"/>
                    <a:gd name="connsiteX486" fmla="*/ 30788 w 1297948"/>
                    <a:gd name="connsiteY486" fmla="*/ 513143 h 881397"/>
                    <a:gd name="connsiteX487" fmla="*/ 27166 w 1297948"/>
                    <a:gd name="connsiteY487" fmla="*/ 501672 h 881397"/>
                    <a:gd name="connsiteX488" fmla="*/ 24751 w 1297948"/>
                    <a:gd name="connsiteY488" fmla="*/ 499861 h 881397"/>
                    <a:gd name="connsiteX489" fmla="*/ 27770 w 1297948"/>
                    <a:gd name="connsiteY489" fmla="*/ 495032 h 881397"/>
                    <a:gd name="connsiteX490" fmla="*/ 27770 w 1297948"/>
                    <a:gd name="connsiteY490" fmla="*/ 491410 h 881397"/>
                    <a:gd name="connsiteX491" fmla="*/ 31996 w 1297948"/>
                    <a:gd name="connsiteY491" fmla="*/ 482958 h 881397"/>
                    <a:gd name="connsiteX492" fmla="*/ 38033 w 1297948"/>
                    <a:gd name="connsiteY492" fmla="*/ 476317 h 881397"/>
                    <a:gd name="connsiteX493" fmla="*/ 39240 w 1297948"/>
                    <a:gd name="connsiteY493" fmla="*/ 470884 h 881397"/>
                    <a:gd name="connsiteX494" fmla="*/ 27770 w 1297948"/>
                    <a:gd name="connsiteY494" fmla="*/ 471488 h 881397"/>
                    <a:gd name="connsiteX495" fmla="*/ 30185 w 1297948"/>
                    <a:gd name="connsiteY495" fmla="*/ 466054 h 881397"/>
                    <a:gd name="connsiteX496" fmla="*/ 36825 w 1297948"/>
                    <a:gd name="connsiteY496" fmla="*/ 464243 h 881397"/>
                    <a:gd name="connsiteX497" fmla="*/ 32600 w 1297948"/>
                    <a:gd name="connsiteY497" fmla="*/ 460621 h 881397"/>
                    <a:gd name="connsiteX498" fmla="*/ 31392 w 1297948"/>
                    <a:gd name="connsiteY498" fmla="*/ 456395 h 881397"/>
                    <a:gd name="connsiteX499" fmla="*/ 26563 w 1297948"/>
                    <a:gd name="connsiteY499" fmla="*/ 455791 h 881397"/>
                    <a:gd name="connsiteX500" fmla="*/ 24751 w 1297948"/>
                    <a:gd name="connsiteY500" fmla="*/ 448547 h 881397"/>
                    <a:gd name="connsiteX501" fmla="*/ 19922 w 1297948"/>
                    <a:gd name="connsiteY501" fmla="*/ 449754 h 881397"/>
                    <a:gd name="connsiteX502" fmla="*/ 19922 w 1297948"/>
                    <a:gd name="connsiteY502" fmla="*/ 444925 h 881397"/>
                    <a:gd name="connsiteX503" fmla="*/ 22337 w 1297948"/>
                    <a:gd name="connsiteY503" fmla="*/ 444321 h 881397"/>
                    <a:gd name="connsiteX504" fmla="*/ 18714 w 1297948"/>
                    <a:gd name="connsiteY504" fmla="*/ 437680 h 881397"/>
                    <a:gd name="connsiteX505" fmla="*/ 19318 w 1297948"/>
                    <a:gd name="connsiteY505" fmla="*/ 434662 h 881397"/>
                    <a:gd name="connsiteX506" fmla="*/ 13281 w 1297948"/>
                    <a:gd name="connsiteY506" fmla="*/ 432247 h 881397"/>
                    <a:gd name="connsiteX507" fmla="*/ 15696 w 1297948"/>
                    <a:gd name="connsiteY507" fmla="*/ 429229 h 881397"/>
                    <a:gd name="connsiteX508" fmla="*/ 10866 w 1297948"/>
                    <a:gd name="connsiteY508" fmla="*/ 421381 h 881397"/>
                    <a:gd name="connsiteX509" fmla="*/ 5433 w 1297948"/>
                    <a:gd name="connsiteY509" fmla="*/ 421984 h 881397"/>
                    <a:gd name="connsiteX510" fmla="*/ 4830 w 1297948"/>
                    <a:gd name="connsiteY510" fmla="*/ 419570 h 881397"/>
                    <a:gd name="connsiteX511" fmla="*/ 7848 w 1297948"/>
                    <a:gd name="connsiteY511" fmla="*/ 418362 h 881397"/>
                    <a:gd name="connsiteX512" fmla="*/ 7848 w 1297948"/>
                    <a:gd name="connsiteY512" fmla="*/ 417759 h 881397"/>
                    <a:gd name="connsiteX513" fmla="*/ 4226 w 1297948"/>
                    <a:gd name="connsiteY513" fmla="*/ 417155 h 881397"/>
                    <a:gd name="connsiteX514" fmla="*/ 2415 w 1297948"/>
                    <a:gd name="connsiteY514" fmla="*/ 417759 h 881397"/>
                    <a:gd name="connsiteX515" fmla="*/ 1207 w 1297948"/>
                    <a:gd name="connsiteY515" fmla="*/ 417155 h 881397"/>
                    <a:gd name="connsiteX516" fmla="*/ 0 w 1297948"/>
                    <a:gd name="connsiteY516" fmla="*/ 414136 h 881397"/>
                    <a:gd name="connsiteX517" fmla="*/ 3018 w 1297948"/>
                    <a:gd name="connsiteY517" fmla="*/ 414740 h 881397"/>
                    <a:gd name="connsiteX518" fmla="*/ 4226 w 1297948"/>
                    <a:gd name="connsiteY518" fmla="*/ 414136 h 881397"/>
                    <a:gd name="connsiteX519" fmla="*/ 3622 w 1297948"/>
                    <a:gd name="connsiteY519" fmla="*/ 410514 h 881397"/>
                    <a:gd name="connsiteX520" fmla="*/ 6037 w 1297948"/>
                    <a:gd name="connsiteY520" fmla="*/ 410514 h 881397"/>
                    <a:gd name="connsiteX521" fmla="*/ 6037 w 1297948"/>
                    <a:gd name="connsiteY521" fmla="*/ 408099 h 881397"/>
                    <a:gd name="connsiteX522" fmla="*/ 4226 w 1297948"/>
                    <a:gd name="connsiteY522" fmla="*/ 408703 h 881397"/>
                    <a:gd name="connsiteX523" fmla="*/ 604 w 1297948"/>
                    <a:gd name="connsiteY523" fmla="*/ 408099 h 881397"/>
                    <a:gd name="connsiteX524" fmla="*/ 604 w 1297948"/>
                    <a:gd name="connsiteY524" fmla="*/ 407496 h 881397"/>
                    <a:gd name="connsiteX525" fmla="*/ 1811 w 1297948"/>
                    <a:gd name="connsiteY525" fmla="*/ 408099 h 881397"/>
                    <a:gd name="connsiteX526" fmla="*/ 3018 w 1297948"/>
                    <a:gd name="connsiteY526" fmla="*/ 405685 h 881397"/>
                    <a:gd name="connsiteX527" fmla="*/ 4830 w 1297948"/>
                    <a:gd name="connsiteY527" fmla="*/ 404477 h 881397"/>
                    <a:gd name="connsiteX528" fmla="*/ 6641 w 1297948"/>
                    <a:gd name="connsiteY528" fmla="*/ 403270 h 881397"/>
                    <a:gd name="connsiteX529" fmla="*/ 4226 w 1297948"/>
                    <a:gd name="connsiteY529" fmla="*/ 401459 h 881397"/>
                    <a:gd name="connsiteX530" fmla="*/ 4226 w 1297948"/>
                    <a:gd name="connsiteY530" fmla="*/ 399044 h 881397"/>
                    <a:gd name="connsiteX531" fmla="*/ 3018 w 1297948"/>
                    <a:gd name="connsiteY531" fmla="*/ 398440 h 881397"/>
                    <a:gd name="connsiteX532" fmla="*/ 1207 w 1297948"/>
                    <a:gd name="connsiteY532" fmla="*/ 397837 h 881397"/>
                    <a:gd name="connsiteX533" fmla="*/ 3018 w 1297948"/>
                    <a:gd name="connsiteY533" fmla="*/ 397233 h 881397"/>
                    <a:gd name="connsiteX534" fmla="*/ 4226 w 1297948"/>
                    <a:gd name="connsiteY534" fmla="*/ 398440 h 881397"/>
                    <a:gd name="connsiteX535" fmla="*/ 7244 w 1297948"/>
                    <a:gd name="connsiteY535" fmla="*/ 397837 h 881397"/>
                    <a:gd name="connsiteX536" fmla="*/ 7848 w 1297948"/>
                    <a:gd name="connsiteY536" fmla="*/ 396629 h 881397"/>
                    <a:gd name="connsiteX537" fmla="*/ 5433 w 1297948"/>
                    <a:gd name="connsiteY537" fmla="*/ 391800 h 881397"/>
                    <a:gd name="connsiteX538" fmla="*/ 4226 w 1297948"/>
                    <a:gd name="connsiteY538" fmla="*/ 388177 h 881397"/>
                    <a:gd name="connsiteX539" fmla="*/ 5433 w 1297948"/>
                    <a:gd name="connsiteY539" fmla="*/ 386970 h 881397"/>
                    <a:gd name="connsiteX540" fmla="*/ 5433 w 1297948"/>
                    <a:gd name="connsiteY540" fmla="*/ 389988 h 881397"/>
                    <a:gd name="connsiteX541" fmla="*/ 10263 w 1297948"/>
                    <a:gd name="connsiteY541" fmla="*/ 391196 h 881397"/>
                    <a:gd name="connsiteX542" fmla="*/ 12677 w 1297948"/>
                    <a:gd name="connsiteY542" fmla="*/ 391800 h 881397"/>
                    <a:gd name="connsiteX543" fmla="*/ 13281 w 1297948"/>
                    <a:gd name="connsiteY543" fmla="*/ 390592 h 881397"/>
                    <a:gd name="connsiteX544" fmla="*/ 11470 w 1297948"/>
                    <a:gd name="connsiteY544" fmla="*/ 383951 h 881397"/>
                    <a:gd name="connsiteX545" fmla="*/ 13885 w 1297948"/>
                    <a:gd name="connsiteY545" fmla="*/ 385159 h 881397"/>
                    <a:gd name="connsiteX546" fmla="*/ 17507 w 1297948"/>
                    <a:gd name="connsiteY546" fmla="*/ 381537 h 881397"/>
                    <a:gd name="connsiteX547" fmla="*/ 17507 w 1297948"/>
                    <a:gd name="connsiteY547" fmla="*/ 376707 h 881397"/>
                    <a:gd name="connsiteX548" fmla="*/ 27166 w 1297948"/>
                    <a:gd name="connsiteY548" fmla="*/ 373689 h 881397"/>
                    <a:gd name="connsiteX549" fmla="*/ 33203 w 1297948"/>
                    <a:gd name="connsiteY549" fmla="*/ 369463 h 881397"/>
                    <a:gd name="connsiteX550" fmla="*/ 30788 w 1297948"/>
                    <a:gd name="connsiteY550" fmla="*/ 363426 h 881397"/>
                    <a:gd name="connsiteX551" fmla="*/ 32600 w 1297948"/>
                    <a:gd name="connsiteY551" fmla="*/ 357993 h 881397"/>
                    <a:gd name="connsiteX552" fmla="*/ 35618 w 1297948"/>
                    <a:gd name="connsiteY552" fmla="*/ 354974 h 881397"/>
                    <a:gd name="connsiteX553" fmla="*/ 36222 w 1297948"/>
                    <a:gd name="connsiteY553" fmla="*/ 351352 h 881397"/>
                    <a:gd name="connsiteX554" fmla="*/ 32600 w 1297948"/>
                    <a:gd name="connsiteY554" fmla="*/ 345919 h 881397"/>
                    <a:gd name="connsiteX555" fmla="*/ 32600 w 1297948"/>
                    <a:gd name="connsiteY555" fmla="*/ 338070 h 881397"/>
                    <a:gd name="connsiteX556" fmla="*/ 34411 w 1297948"/>
                    <a:gd name="connsiteY556" fmla="*/ 335656 h 881397"/>
                    <a:gd name="connsiteX557" fmla="*/ 35014 w 1297948"/>
                    <a:gd name="connsiteY557" fmla="*/ 326600 h 881397"/>
                    <a:gd name="connsiteX558" fmla="*/ 37429 w 1297948"/>
                    <a:gd name="connsiteY558" fmla="*/ 323582 h 881397"/>
                    <a:gd name="connsiteX559" fmla="*/ 37429 w 1297948"/>
                    <a:gd name="connsiteY559" fmla="*/ 316941 h 881397"/>
                    <a:gd name="connsiteX560" fmla="*/ 34411 w 1297948"/>
                    <a:gd name="connsiteY560" fmla="*/ 316337 h 881397"/>
                    <a:gd name="connsiteX561" fmla="*/ 33203 w 1297948"/>
                    <a:gd name="connsiteY561" fmla="*/ 312112 h 881397"/>
                    <a:gd name="connsiteX562" fmla="*/ 36825 w 1297948"/>
                    <a:gd name="connsiteY562" fmla="*/ 309697 h 881397"/>
                    <a:gd name="connsiteX563" fmla="*/ 35618 w 1297948"/>
                    <a:gd name="connsiteY563" fmla="*/ 306678 h 881397"/>
                    <a:gd name="connsiteX564" fmla="*/ 36222 w 1297948"/>
                    <a:gd name="connsiteY564" fmla="*/ 300641 h 881397"/>
                    <a:gd name="connsiteX565" fmla="*/ 33203 w 1297948"/>
                    <a:gd name="connsiteY565" fmla="*/ 295812 h 881397"/>
                    <a:gd name="connsiteX566" fmla="*/ 34411 w 1297948"/>
                    <a:gd name="connsiteY566" fmla="*/ 287964 h 881397"/>
                    <a:gd name="connsiteX567" fmla="*/ 39844 w 1297948"/>
                    <a:gd name="connsiteY567" fmla="*/ 290982 h 881397"/>
                    <a:gd name="connsiteX568" fmla="*/ 53729 w 1297948"/>
                    <a:gd name="connsiteY568" fmla="*/ 291586 h 881397"/>
                    <a:gd name="connsiteX569" fmla="*/ 63388 w 1297948"/>
                    <a:gd name="connsiteY569" fmla="*/ 288567 h 881397"/>
                    <a:gd name="connsiteX570" fmla="*/ 74255 w 1297948"/>
                    <a:gd name="connsiteY570" fmla="*/ 289775 h 881397"/>
                    <a:gd name="connsiteX571" fmla="*/ 89347 w 1297948"/>
                    <a:gd name="connsiteY571" fmla="*/ 285549 h 881397"/>
                    <a:gd name="connsiteX572" fmla="*/ 101421 w 1297948"/>
                    <a:gd name="connsiteY572" fmla="*/ 280719 h 881397"/>
                    <a:gd name="connsiteX573" fmla="*/ 100214 w 1297948"/>
                    <a:gd name="connsiteY573" fmla="*/ 272871 h 881397"/>
                    <a:gd name="connsiteX574" fmla="*/ 102629 w 1297948"/>
                    <a:gd name="connsiteY574" fmla="*/ 266231 h 881397"/>
                    <a:gd name="connsiteX575" fmla="*/ 109269 w 1297948"/>
                    <a:gd name="connsiteY575" fmla="*/ 260194 h 881397"/>
                    <a:gd name="connsiteX576" fmla="*/ 116513 w 1297948"/>
                    <a:gd name="connsiteY576" fmla="*/ 260797 h 881397"/>
                    <a:gd name="connsiteX577" fmla="*/ 122550 w 1297948"/>
                    <a:gd name="connsiteY577" fmla="*/ 262608 h 881397"/>
                    <a:gd name="connsiteX578" fmla="*/ 126776 w 1297948"/>
                    <a:gd name="connsiteY578" fmla="*/ 262005 h 881397"/>
                    <a:gd name="connsiteX579" fmla="*/ 134021 w 1297948"/>
                    <a:gd name="connsiteY579" fmla="*/ 255968 h 881397"/>
                    <a:gd name="connsiteX580" fmla="*/ 135832 w 1297948"/>
                    <a:gd name="connsiteY580" fmla="*/ 251138 h 881397"/>
                    <a:gd name="connsiteX581" fmla="*/ 147302 w 1297948"/>
                    <a:gd name="connsiteY581" fmla="*/ 249931 h 881397"/>
                    <a:gd name="connsiteX582" fmla="*/ 149717 w 1297948"/>
                    <a:gd name="connsiteY582" fmla="*/ 251138 h 881397"/>
                    <a:gd name="connsiteX583" fmla="*/ 156358 w 1297948"/>
                    <a:gd name="connsiteY583" fmla="*/ 257175 h 881397"/>
                    <a:gd name="connsiteX584" fmla="*/ 178694 w 1297948"/>
                    <a:gd name="connsiteY584" fmla="*/ 273475 h 881397"/>
                    <a:gd name="connsiteX585" fmla="*/ 186543 w 1297948"/>
                    <a:gd name="connsiteY585" fmla="*/ 274079 h 881397"/>
                    <a:gd name="connsiteX586" fmla="*/ 192580 w 1297948"/>
                    <a:gd name="connsiteY586" fmla="*/ 275286 h 881397"/>
                    <a:gd name="connsiteX587" fmla="*/ 196805 w 1297948"/>
                    <a:gd name="connsiteY587" fmla="*/ 279512 h 881397"/>
                    <a:gd name="connsiteX588" fmla="*/ 202842 w 1297948"/>
                    <a:gd name="connsiteY588" fmla="*/ 278304 h 881397"/>
                    <a:gd name="connsiteX589" fmla="*/ 207068 w 1297948"/>
                    <a:gd name="connsiteY589" fmla="*/ 280719 h 881397"/>
                    <a:gd name="connsiteX590" fmla="*/ 214313 w 1297948"/>
                    <a:gd name="connsiteY590" fmla="*/ 280719 h 881397"/>
                    <a:gd name="connsiteX591" fmla="*/ 215520 w 1297948"/>
                    <a:gd name="connsiteY591" fmla="*/ 279512 h 881397"/>
                    <a:gd name="connsiteX592" fmla="*/ 228197 w 1297948"/>
                    <a:gd name="connsiteY592" fmla="*/ 279512 h 881397"/>
                    <a:gd name="connsiteX593" fmla="*/ 242082 w 1297948"/>
                    <a:gd name="connsiteY593" fmla="*/ 278304 h 881397"/>
                    <a:gd name="connsiteX594" fmla="*/ 247516 w 1297948"/>
                    <a:gd name="connsiteY594" fmla="*/ 278304 h 881397"/>
                    <a:gd name="connsiteX595" fmla="*/ 268042 w 1297948"/>
                    <a:gd name="connsiteY595" fmla="*/ 276493 h 881397"/>
                    <a:gd name="connsiteX596" fmla="*/ 280116 w 1297948"/>
                    <a:gd name="connsiteY596" fmla="*/ 278304 h 881397"/>
                    <a:gd name="connsiteX597" fmla="*/ 287360 w 1297948"/>
                    <a:gd name="connsiteY597" fmla="*/ 269249 h 881397"/>
                    <a:gd name="connsiteX598" fmla="*/ 295812 w 1297948"/>
                    <a:gd name="connsiteY598" fmla="*/ 271664 h 881397"/>
                    <a:gd name="connsiteX599" fmla="*/ 306075 w 1297948"/>
                    <a:gd name="connsiteY599" fmla="*/ 271060 h 881397"/>
                    <a:gd name="connsiteX600" fmla="*/ 317545 w 1297948"/>
                    <a:gd name="connsiteY600" fmla="*/ 271664 h 881397"/>
                    <a:gd name="connsiteX601" fmla="*/ 322978 w 1297948"/>
                    <a:gd name="connsiteY601" fmla="*/ 272267 h 881397"/>
                    <a:gd name="connsiteX602" fmla="*/ 329619 w 1297948"/>
                    <a:gd name="connsiteY602" fmla="*/ 277097 h 881397"/>
                    <a:gd name="connsiteX603" fmla="*/ 338070 w 1297948"/>
                    <a:gd name="connsiteY603" fmla="*/ 278304 h 881397"/>
                    <a:gd name="connsiteX604" fmla="*/ 347126 w 1297948"/>
                    <a:gd name="connsiteY604" fmla="*/ 273475 h 881397"/>
                    <a:gd name="connsiteX605" fmla="*/ 351955 w 1297948"/>
                    <a:gd name="connsiteY605" fmla="*/ 265627 h 881397"/>
                    <a:gd name="connsiteX606" fmla="*/ 353163 w 1297948"/>
                    <a:gd name="connsiteY606" fmla="*/ 265627 h 881397"/>
                    <a:gd name="connsiteX607" fmla="*/ 367652 w 1297948"/>
                    <a:gd name="connsiteY607" fmla="*/ 275286 h 881397"/>
                    <a:gd name="connsiteX608" fmla="*/ 370670 w 1297948"/>
                    <a:gd name="connsiteY608" fmla="*/ 275890 h 881397"/>
                    <a:gd name="connsiteX609" fmla="*/ 390592 w 1297948"/>
                    <a:gd name="connsiteY609" fmla="*/ 272267 h 881397"/>
                    <a:gd name="connsiteX610" fmla="*/ 397233 w 1297948"/>
                    <a:gd name="connsiteY610" fmla="*/ 268645 h 881397"/>
                    <a:gd name="connsiteX611" fmla="*/ 408703 w 1297948"/>
                    <a:gd name="connsiteY611" fmla="*/ 272267 h 881397"/>
                    <a:gd name="connsiteX612" fmla="*/ 412929 w 1297948"/>
                    <a:gd name="connsiteY612" fmla="*/ 271060 h 881397"/>
                    <a:gd name="connsiteX613" fmla="*/ 418966 w 1297948"/>
                    <a:gd name="connsiteY613" fmla="*/ 270456 h 881397"/>
                    <a:gd name="connsiteX614" fmla="*/ 434058 w 1297948"/>
                    <a:gd name="connsiteY614" fmla="*/ 261401 h 881397"/>
                    <a:gd name="connsiteX615" fmla="*/ 440095 w 1297948"/>
                    <a:gd name="connsiteY615" fmla="*/ 255968 h 881397"/>
                    <a:gd name="connsiteX616" fmla="*/ 444925 w 1297948"/>
                    <a:gd name="connsiteY616" fmla="*/ 247516 h 881397"/>
                    <a:gd name="connsiteX617" fmla="*/ 453980 w 1297948"/>
                    <a:gd name="connsiteY617" fmla="*/ 246912 h 881397"/>
                    <a:gd name="connsiteX618" fmla="*/ 465450 w 1297948"/>
                    <a:gd name="connsiteY618" fmla="*/ 253553 h 881397"/>
                    <a:gd name="connsiteX619" fmla="*/ 472091 w 1297948"/>
                    <a:gd name="connsiteY619" fmla="*/ 260194 h 881397"/>
                    <a:gd name="connsiteX620" fmla="*/ 478732 w 1297948"/>
                    <a:gd name="connsiteY620" fmla="*/ 262005 h 881397"/>
                    <a:gd name="connsiteX621" fmla="*/ 486580 w 1297948"/>
                    <a:gd name="connsiteY621" fmla="*/ 262608 h 881397"/>
                    <a:gd name="connsiteX622" fmla="*/ 495032 w 1297948"/>
                    <a:gd name="connsiteY622" fmla="*/ 257779 h 881397"/>
                    <a:gd name="connsiteX623" fmla="*/ 497447 w 1297948"/>
                    <a:gd name="connsiteY623" fmla="*/ 251742 h 881397"/>
                    <a:gd name="connsiteX624" fmla="*/ 499861 w 1297948"/>
                    <a:gd name="connsiteY624" fmla="*/ 252949 h 881397"/>
                    <a:gd name="connsiteX625" fmla="*/ 514954 w 1297948"/>
                    <a:gd name="connsiteY625" fmla="*/ 252346 h 881397"/>
                    <a:gd name="connsiteX626" fmla="*/ 527632 w 1297948"/>
                    <a:gd name="connsiteY626" fmla="*/ 247516 h 881397"/>
                    <a:gd name="connsiteX627" fmla="*/ 531857 w 1297948"/>
                    <a:gd name="connsiteY627" fmla="*/ 249931 h 881397"/>
                    <a:gd name="connsiteX628" fmla="*/ 537894 w 1297948"/>
                    <a:gd name="connsiteY628" fmla="*/ 248120 h 881397"/>
                    <a:gd name="connsiteX629" fmla="*/ 537291 w 1297948"/>
                    <a:gd name="connsiteY629" fmla="*/ 245101 h 881397"/>
                    <a:gd name="connsiteX630" fmla="*/ 547553 w 1297948"/>
                    <a:gd name="connsiteY630" fmla="*/ 242083 h 881397"/>
                    <a:gd name="connsiteX631" fmla="*/ 557212 w 1297948"/>
                    <a:gd name="connsiteY631" fmla="*/ 244497 h 881397"/>
                    <a:gd name="connsiteX632" fmla="*/ 560231 w 1297948"/>
                    <a:gd name="connsiteY632" fmla="*/ 240272 h 881397"/>
                    <a:gd name="connsiteX633" fmla="*/ 562646 w 1297948"/>
                    <a:gd name="connsiteY633" fmla="*/ 240272 h 881397"/>
                    <a:gd name="connsiteX634" fmla="*/ 566872 w 1297948"/>
                    <a:gd name="connsiteY634" fmla="*/ 236649 h 881397"/>
                    <a:gd name="connsiteX635" fmla="*/ 578946 w 1297948"/>
                    <a:gd name="connsiteY635" fmla="*/ 234838 h 881397"/>
                    <a:gd name="connsiteX636" fmla="*/ 589208 w 1297948"/>
                    <a:gd name="connsiteY636" fmla="*/ 236649 h 881397"/>
                    <a:gd name="connsiteX637" fmla="*/ 595849 w 1297948"/>
                    <a:gd name="connsiteY637" fmla="*/ 236046 h 881397"/>
                    <a:gd name="connsiteX638" fmla="*/ 607923 w 1297948"/>
                    <a:gd name="connsiteY638" fmla="*/ 230009 h 881397"/>
                    <a:gd name="connsiteX639" fmla="*/ 607923 w 1297948"/>
                    <a:gd name="connsiteY639" fmla="*/ 225179 h 881397"/>
                    <a:gd name="connsiteX640" fmla="*/ 610942 w 1297948"/>
                    <a:gd name="connsiteY640" fmla="*/ 218538 h 881397"/>
                    <a:gd name="connsiteX641" fmla="*/ 622412 w 1297948"/>
                    <a:gd name="connsiteY641" fmla="*/ 221557 h 881397"/>
                    <a:gd name="connsiteX642" fmla="*/ 633882 w 1297948"/>
                    <a:gd name="connsiteY642" fmla="*/ 219746 h 881397"/>
                    <a:gd name="connsiteX643" fmla="*/ 647767 w 1297948"/>
                    <a:gd name="connsiteY643" fmla="*/ 223972 h 881397"/>
                    <a:gd name="connsiteX644" fmla="*/ 655011 w 1297948"/>
                    <a:gd name="connsiteY644" fmla="*/ 225783 h 881397"/>
                    <a:gd name="connsiteX645" fmla="*/ 664067 w 1297948"/>
                    <a:gd name="connsiteY645" fmla="*/ 231216 h 881397"/>
                    <a:gd name="connsiteX646" fmla="*/ 664067 w 1297948"/>
                    <a:gd name="connsiteY646" fmla="*/ 235442 h 881397"/>
                    <a:gd name="connsiteX647" fmla="*/ 680970 w 1297948"/>
                    <a:gd name="connsiteY647" fmla="*/ 243290 h 881397"/>
                    <a:gd name="connsiteX648" fmla="*/ 685196 w 1297948"/>
                    <a:gd name="connsiteY648" fmla="*/ 246912 h 881397"/>
                    <a:gd name="connsiteX649" fmla="*/ 695459 w 1297948"/>
                    <a:gd name="connsiteY649" fmla="*/ 245101 h 881397"/>
                    <a:gd name="connsiteX650" fmla="*/ 700289 w 1297948"/>
                    <a:gd name="connsiteY650" fmla="*/ 246912 h 881397"/>
                    <a:gd name="connsiteX651" fmla="*/ 703911 w 1297948"/>
                    <a:gd name="connsiteY651" fmla="*/ 244497 h 881397"/>
                    <a:gd name="connsiteX652" fmla="*/ 719003 w 1297948"/>
                    <a:gd name="connsiteY652" fmla="*/ 241479 h 881397"/>
                    <a:gd name="connsiteX653" fmla="*/ 726852 w 1297948"/>
                    <a:gd name="connsiteY653" fmla="*/ 239064 h 881397"/>
                    <a:gd name="connsiteX654" fmla="*/ 736511 w 1297948"/>
                    <a:gd name="connsiteY654" fmla="*/ 237857 h 881397"/>
                    <a:gd name="connsiteX655" fmla="*/ 752811 w 1297948"/>
                    <a:gd name="connsiteY655" fmla="*/ 236046 h 881397"/>
                    <a:gd name="connsiteX656" fmla="*/ 773336 w 1297948"/>
                    <a:gd name="connsiteY656" fmla="*/ 237857 h 881397"/>
                    <a:gd name="connsiteX657" fmla="*/ 777562 w 1297948"/>
                    <a:gd name="connsiteY657" fmla="*/ 241479 h 881397"/>
                    <a:gd name="connsiteX658" fmla="*/ 782391 w 1297948"/>
                    <a:gd name="connsiteY658" fmla="*/ 241479 h 881397"/>
                    <a:gd name="connsiteX659" fmla="*/ 789636 w 1297948"/>
                    <a:gd name="connsiteY659" fmla="*/ 239064 h 881397"/>
                    <a:gd name="connsiteX660" fmla="*/ 801710 w 1297948"/>
                    <a:gd name="connsiteY660" fmla="*/ 238460 h 881397"/>
                    <a:gd name="connsiteX661" fmla="*/ 810162 w 1297948"/>
                    <a:gd name="connsiteY661" fmla="*/ 235442 h 881397"/>
                    <a:gd name="connsiteX662" fmla="*/ 820425 w 1297948"/>
                    <a:gd name="connsiteY662" fmla="*/ 234235 h 881397"/>
                    <a:gd name="connsiteX663" fmla="*/ 829480 w 1297948"/>
                    <a:gd name="connsiteY663" fmla="*/ 222764 h 881397"/>
                    <a:gd name="connsiteX664" fmla="*/ 839743 w 1297948"/>
                    <a:gd name="connsiteY664" fmla="*/ 217331 h 881397"/>
                    <a:gd name="connsiteX665" fmla="*/ 848195 w 1297948"/>
                    <a:gd name="connsiteY665" fmla="*/ 211898 h 881397"/>
                    <a:gd name="connsiteX666" fmla="*/ 853628 w 1297948"/>
                    <a:gd name="connsiteY666" fmla="*/ 209483 h 881397"/>
                    <a:gd name="connsiteX667" fmla="*/ 851817 w 1297948"/>
                    <a:gd name="connsiteY667" fmla="*/ 204654 h 881397"/>
                    <a:gd name="connsiteX668" fmla="*/ 851213 w 1297948"/>
                    <a:gd name="connsiteY668" fmla="*/ 199824 h 881397"/>
                    <a:gd name="connsiteX669" fmla="*/ 847591 w 1297948"/>
                    <a:gd name="connsiteY669" fmla="*/ 196202 h 881397"/>
                    <a:gd name="connsiteX670" fmla="*/ 847591 w 1297948"/>
                    <a:gd name="connsiteY670" fmla="*/ 192580 h 881397"/>
                    <a:gd name="connsiteX671" fmla="*/ 851817 w 1297948"/>
                    <a:gd name="connsiteY671" fmla="*/ 188354 h 881397"/>
                    <a:gd name="connsiteX672" fmla="*/ 854232 w 1297948"/>
                    <a:gd name="connsiteY672" fmla="*/ 187146 h 881397"/>
                    <a:gd name="connsiteX673" fmla="*/ 860269 w 1297948"/>
                    <a:gd name="connsiteY673" fmla="*/ 181109 h 881397"/>
                    <a:gd name="connsiteX674" fmla="*/ 866909 w 1297948"/>
                    <a:gd name="connsiteY674" fmla="*/ 171450 h 881397"/>
                    <a:gd name="connsiteX675" fmla="*/ 874757 w 1297948"/>
                    <a:gd name="connsiteY675" fmla="*/ 164206 h 881397"/>
                    <a:gd name="connsiteX676" fmla="*/ 878379 w 1297948"/>
                    <a:gd name="connsiteY676" fmla="*/ 159376 h 881397"/>
                    <a:gd name="connsiteX677" fmla="*/ 887435 w 1297948"/>
                    <a:gd name="connsiteY677" fmla="*/ 149717 h 881397"/>
                    <a:gd name="connsiteX678" fmla="*/ 900112 w 1297948"/>
                    <a:gd name="connsiteY678" fmla="*/ 143076 h 881397"/>
                    <a:gd name="connsiteX679" fmla="*/ 904942 w 1297948"/>
                    <a:gd name="connsiteY679" fmla="*/ 133417 h 881397"/>
                    <a:gd name="connsiteX680" fmla="*/ 920638 w 1297948"/>
                    <a:gd name="connsiteY680" fmla="*/ 118928 h 881397"/>
                    <a:gd name="connsiteX681" fmla="*/ 920035 w 1297948"/>
                    <a:gd name="connsiteY681" fmla="*/ 116514 h 881397"/>
                    <a:gd name="connsiteX682" fmla="*/ 927883 w 1297948"/>
                    <a:gd name="connsiteY682" fmla="*/ 112288 h 881397"/>
                    <a:gd name="connsiteX683" fmla="*/ 940560 w 1297948"/>
                    <a:gd name="connsiteY683" fmla="*/ 106251 h 881397"/>
                    <a:gd name="connsiteX684" fmla="*/ 940560 w 1297948"/>
                    <a:gd name="connsiteY684" fmla="*/ 97799 h 881397"/>
                    <a:gd name="connsiteX685" fmla="*/ 933920 w 1297948"/>
                    <a:gd name="connsiteY685" fmla="*/ 93573 h 881397"/>
                    <a:gd name="connsiteX686" fmla="*/ 933316 w 1297948"/>
                    <a:gd name="connsiteY686" fmla="*/ 88140 h 881397"/>
                    <a:gd name="connsiteX687" fmla="*/ 931505 w 1297948"/>
                    <a:gd name="connsiteY687" fmla="*/ 86933 h 881397"/>
                    <a:gd name="connsiteX688" fmla="*/ 935731 w 1297948"/>
                    <a:gd name="connsiteY688" fmla="*/ 80896 h 881397"/>
                    <a:gd name="connsiteX689" fmla="*/ 941768 w 1297948"/>
                    <a:gd name="connsiteY689" fmla="*/ 79688 h 881397"/>
                    <a:gd name="connsiteX690" fmla="*/ 939957 w 1297948"/>
                    <a:gd name="connsiteY690" fmla="*/ 85121 h 881397"/>
                    <a:gd name="connsiteX691" fmla="*/ 946597 w 1297948"/>
                    <a:gd name="connsiteY691" fmla="*/ 89951 h 881397"/>
                    <a:gd name="connsiteX692" fmla="*/ 949012 w 1297948"/>
                    <a:gd name="connsiteY692" fmla="*/ 86933 h 881397"/>
                    <a:gd name="connsiteX693" fmla="*/ 952031 w 1297948"/>
                    <a:gd name="connsiteY693" fmla="*/ 90555 h 881397"/>
                    <a:gd name="connsiteX694" fmla="*/ 962897 w 1297948"/>
                    <a:gd name="connsiteY694" fmla="*/ 93573 h 881397"/>
                    <a:gd name="connsiteX695" fmla="*/ 967123 w 1297948"/>
                    <a:gd name="connsiteY695" fmla="*/ 90555 h 881397"/>
                    <a:gd name="connsiteX696" fmla="*/ 970745 w 1297948"/>
                    <a:gd name="connsiteY696" fmla="*/ 91158 h 881397"/>
                    <a:gd name="connsiteX697" fmla="*/ 974367 w 1297948"/>
                    <a:gd name="connsiteY697" fmla="*/ 88140 h 881397"/>
                    <a:gd name="connsiteX698" fmla="*/ 981008 w 1297948"/>
                    <a:gd name="connsiteY698" fmla="*/ 94781 h 881397"/>
                    <a:gd name="connsiteX699" fmla="*/ 982215 w 1297948"/>
                    <a:gd name="connsiteY699" fmla="*/ 97799 h 881397"/>
                    <a:gd name="connsiteX700" fmla="*/ 986441 w 1297948"/>
                    <a:gd name="connsiteY700" fmla="*/ 93573 h 881397"/>
                    <a:gd name="connsiteX701" fmla="*/ 990667 w 1297948"/>
                    <a:gd name="connsiteY701" fmla="*/ 93573 h 881397"/>
                    <a:gd name="connsiteX702" fmla="*/ 996100 w 1297948"/>
                    <a:gd name="connsiteY702" fmla="*/ 89347 h 881397"/>
                    <a:gd name="connsiteX703" fmla="*/ 1005759 w 1297948"/>
                    <a:gd name="connsiteY703" fmla="*/ 86329 h 881397"/>
                    <a:gd name="connsiteX704" fmla="*/ 1009382 w 1297948"/>
                    <a:gd name="connsiteY704" fmla="*/ 82707 h 881397"/>
                    <a:gd name="connsiteX705" fmla="*/ 1019041 w 1297948"/>
                    <a:gd name="connsiteY705" fmla="*/ 80896 h 881397"/>
                    <a:gd name="connsiteX706" fmla="*/ 1020852 w 1297948"/>
                    <a:gd name="connsiteY706" fmla="*/ 78481 h 881397"/>
                    <a:gd name="connsiteX707" fmla="*/ 1031115 w 1297948"/>
                    <a:gd name="connsiteY707" fmla="*/ 72444 h 881397"/>
                    <a:gd name="connsiteX708" fmla="*/ 1035944 w 1297948"/>
                    <a:gd name="connsiteY708" fmla="*/ 71840 h 881397"/>
                    <a:gd name="connsiteX709" fmla="*/ 1040774 w 1297948"/>
                    <a:gd name="connsiteY709" fmla="*/ 73651 h 881397"/>
                    <a:gd name="connsiteX710" fmla="*/ 1045604 w 1297948"/>
                    <a:gd name="connsiteY710" fmla="*/ 69425 h 881397"/>
                    <a:gd name="connsiteX711" fmla="*/ 1050433 w 1297948"/>
                    <a:gd name="connsiteY711" fmla="*/ 67614 h 881397"/>
                    <a:gd name="connsiteX712" fmla="*/ 1051641 w 1297948"/>
                    <a:gd name="connsiteY712" fmla="*/ 65199 h 881397"/>
                    <a:gd name="connsiteX713" fmla="*/ 1056470 w 1297948"/>
                    <a:gd name="connsiteY713" fmla="*/ 65803 h 881397"/>
                    <a:gd name="connsiteX714" fmla="*/ 1062507 w 1297948"/>
                    <a:gd name="connsiteY714" fmla="*/ 62181 h 881397"/>
                    <a:gd name="connsiteX715" fmla="*/ 1064922 w 1297948"/>
                    <a:gd name="connsiteY715" fmla="*/ 55540 h 881397"/>
                    <a:gd name="connsiteX716" fmla="*/ 1069752 w 1297948"/>
                    <a:gd name="connsiteY716" fmla="*/ 54936 h 881397"/>
                    <a:gd name="connsiteX717" fmla="*/ 1079411 w 1297948"/>
                    <a:gd name="connsiteY717" fmla="*/ 51918 h 881397"/>
                    <a:gd name="connsiteX718" fmla="*/ 1090881 w 1297948"/>
                    <a:gd name="connsiteY718" fmla="*/ 48296 h 881397"/>
                    <a:gd name="connsiteX719" fmla="*/ 1101747 w 1297948"/>
                    <a:gd name="connsiteY719" fmla="*/ 47088 h 881397"/>
                    <a:gd name="connsiteX720" fmla="*/ 1104162 w 1297948"/>
                    <a:gd name="connsiteY720" fmla="*/ 44070 h 881397"/>
                    <a:gd name="connsiteX721" fmla="*/ 1142195 w 1297948"/>
                    <a:gd name="connsiteY721" fmla="*/ 30185 h 881397"/>
                    <a:gd name="connsiteX722" fmla="*/ 1159099 w 1297948"/>
                    <a:gd name="connsiteY722" fmla="*/ 24752 h 881397"/>
                    <a:gd name="connsiteX723" fmla="*/ 1172984 w 1297948"/>
                    <a:gd name="connsiteY723" fmla="*/ 31996 h 881397"/>
                    <a:gd name="connsiteX724" fmla="*/ 1200150 w 1297948"/>
                    <a:gd name="connsiteY724" fmla="*/ 22337 h 881397"/>
                    <a:gd name="connsiteX725" fmla="*/ 1205583 w 1297948"/>
                    <a:gd name="connsiteY725" fmla="*/ 15092 h 881397"/>
                    <a:gd name="connsiteX726" fmla="*/ 1209809 w 1297948"/>
                    <a:gd name="connsiteY726" fmla="*/ 13281 h 881397"/>
                    <a:gd name="connsiteX727" fmla="*/ 1211016 w 1297948"/>
                    <a:gd name="connsiteY727" fmla="*/ 8452 h 881397"/>
                    <a:gd name="connsiteX728" fmla="*/ 1214639 w 1297948"/>
                    <a:gd name="connsiteY728" fmla="*/ 8452 h 881397"/>
                    <a:gd name="connsiteX729" fmla="*/ 1218865 w 1297948"/>
                    <a:gd name="connsiteY729" fmla="*/ 4830 h 881397"/>
                    <a:gd name="connsiteX730" fmla="*/ 1263538 w 1297948"/>
                    <a:gd name="connsiteY730" fmla="*/ 0 h 881397"/>
                    <a:gd name="connsiteX731" fmla="*/ 1294931 w 1297948"/>
                    <a:gd name="connsiteY731" fmla="*/ 2415 h 881397"/>
                    <a:gd name="connsiteX732" fmla="*/ 1290101 w 1297948"/>
                    <a:gd name="connsiteY732" fmla="*/ 8452 h 881397"/>
                    <a:gd name="connsiteX733" fmla="*/ 1290705 w 1297948"/>
                    <a:gd name="connsiteY733" fmla="*/ 12074 h 881397"/>
                    <a:gd name="connsiteX734" fmla="*/ 1283460 w 1297948"/>
                    <a:gd name="connsiteY734" fmla="*/ 21733 h 881397"/>
                    <a:gd name="connsiteX735" fmla="*/ 1274405 w 1297948"/>
                    <a:gd name="connsiteY735" fmla="*/ 31996 h 881397"/>
                    <a:gd name="connsiteX736" fmla="*/ 1268972 w 1297948"/>
                    <a:gd name="connsiteY736" fmla="*/ 33807 h 881397"/>
                    <a:gd name="connsiteX737" fmla="*/ 1263538 w 1297948"/>
                    <a:gd name="connsiteY737" fmla="*/ 39240 h 881397"/>
                    <a:gd name="connsiteX738" fmla="*/ 1258709 w 1297948"/>
                    <a:gd name="connsiteY738" fmla="*/ 47088 h 881397"/>
                    <a:gd name="connsiteX739" fmla="*/ 1254483 w 1297948"/>
                    <a:gd name="connsiteY739" fmla="*/ 51314 h 881397"/>
                    <a:gd name="connsiteX740" fmla="*/ 1255690 w 1297948"/>
                    <a:gd name="connsiteY740" fmla="*/ 54936 h 881397"/>
                    <a:gd name="connsiteX741" fmla="*/ 1249653 w 1297948"/>
                    <a:gd name="connsiteY741" fmla="*/ 57955 h 881397"/>
                    <a:gd name="connsiteX742" fmla="*/ 1252672 w 1297948"/>
                    <a:gd name="connsiteY742" fmla="*/ 60370 h 881397"/>
                    <a:gd name="connsiteX743" fmla="*/ 1252672 w 1297948"/>
                    <a:gd name="connsiteY743" fmla="*/ 65199 h 881397"/>
                    <a:gd name="connsiteX744" fmla="*/ 1256898 w 1297948"/>
                    <a:gd name="connsiteY744" fmla="*/ 66407 h 881397"/>
                    <a:gd name="connsiteX745" fmla="*/ 1254483 w 1297948"/>
                    <a:gd name="connsiteY745" fmla="*/ 70029 h 881397"/>
                    <a:gd name="connsiteX746" fmla="*/ 1254483 w 1297948"/>
                    <a:gd name="connsiteY746" fmla="*/ 74255 h 881397"/>
                    <a:gd name="connsiteX747" fmla="*/ 1258709 w 1297948"/>
                    <a:gd name="connsiteY747" fmla="*/ 76670 h 881397"/>
                    <a:gd name="connsiteX748" fmla="*/ 1255690 w 1297948"/>
                    <a:gd name="connsiteY748" fmla="*/ 80896 h 881397"/>
                    <a:gd name="connsiteX749" fmla="*/ 1258105 w 1297948"/>
                    <a:gd name="connsiteY749" fmla="*/ 86329 h 881397"/>
                    <a:gd name="connsiteX750" fmla="*/ 1263538 w 1297948"/>
                    <a:gd name="connsiteY750" fmla="*/ 87536 h 881397"/>
                    <a:gd name="connsiteX751" fmla="*/ 1262935 w 1297948"/>
                    <a:gd name="connsiteY751" fmla="*/ 92366 h 881397"/>
                    <a:gd name="connsiteX752" fmla="*/ 1271386 w 1297948"/>
                    <a:gd name="connsiteY752" fmla="*/ 99006 h 881397"/>
                    <a:gd name="connsiteX753" fmla="*/ 1275009 w 1297948"/>
                    <a:gd name="connsiteY753" fmla="*/ 99006 h 881397"/>
                    <a:gd name="connsiteX754" fmla="*/ 1275009 w 1297948"/>
                    <a:gd name="connsiteY754" fmla="*/ 111080 h 881397"/>
                    <a:gd name="connsiteX755" fmla="*/ 1274405 w 1297948"/>
                    <a:gd name="connsiteY755" fmla="*/ 118325 h 881397"/>
                    <a:gd name="connsiteX756" fmla="*/ 1270783 w 1297948"/>
                    <a:gd name="connsiteY756" fmla="*/ 120136 h 881397"/>
                    <a:gd name="connsiteX757" fmla="*/ 1268368 w 1297948"/>
                    <a:gd name="connsiteY757" fmla="*/ 127380 h 881397"/>
                    <a:gd name="connsiteX758" fmla="*/ 1271990 w 1297948"/>
                    <a:gd name="connsiteY758" fmla="*/ 127984 h 881397"/>
                    <a:gd name="connsiteX759" fmla="*/ 1275612 w 1297948"/>
                    <a:gd name="connsiteY759" fmla="*/ 124362 h 881397"/>
                    <a:gd name="connsiteX760" fmla="*/ 1279235 w 1297948"/>
                    <a:gd name="connsiteY760" fmla="*/ 132210 h 881397"/>
                    <a:gd name="connsiteX761" fmla="*/ 1281649 w 1297948"/>
                    <a:gd name="connsiteY761" fmla="*/ 125569 h 881397"/>
                    <a:gd name="connsiteX762" fmla="*/ 1285875 w 1297948"/>
                    <a:gd name="connsiteY762" fmla="*/ 123758 h 881397"/>
                    <a:gd name="connsiteX763" fmla="*/ 1294327 w 1297948"/>
                    <a:gd name="connsiteY763" fmla="*/ 126173 h 881397"/>
                    <a:gd name="connsiteX764" fmla="*/ 1299760 w 1297948"/>
                    <a:gd name="connsiteY764" fmla="*/ 134021 h 881397"/>
                    <a:gd name="connsiteX765" fmla="*/ 1302779 w 1297948"/>
                    <a:gd name="connsiteY765" fmla="*/ 140662 h 881397"/>
                    <a:gd name="connsiteX766" fmla="*/ 1299157 w 1297948"/>
                    <a:gd name="connsiteY766" fmla="*/ 143076 h 881397"/>
                    <a:gd name="connsiteX767" fmla="*/ 1298553 w 1297948"/>
                    <a:gd name="connsiteY767" fmla="*/ 146095 h 881397"/>
                    <a:gd name="connsiteX768" fmla="*/ 1293723 w 1297948"/>
                    <a:gd name="connsiteY768" fmla="*/ 149113 h 881397"/>
                    <a:gd name="connsiteX769" fmla="*/ 1291912 w 1297948"/>
                    <a:gd name="connsiteY769" fmla="*/ 153943 h 881397"/>
                    <a:gd name="connsiteX770" fmla="*/ 1280442 w 1297948"/>
                    <a:gd name="connsiteY770" fmla="*/ 159980 h 881397"/>
                    <a:gd name="connsiteX771" fmla="*/ 1278631 w 1297948"/>
                    <a:gd name="connsiteY771" fmla="*/ 166017 h 881397"/>
                    <a:gd name="connsiteX772" fmla="*/ 1273198 w 1297948"/>
                    <a:gd name="connsiteY772" fmla="*/ 165413 h 881397"/>
                    <a:gd name="connsiteX773" fmla="*/ 1270783 w 1297948"/>
                    <a:gd name="connsiteY773" fmla="*/ 159376 h 881397"/>
                    <a:gd name="connsiteX774" fmla="*/ 1260520 w 1297948"/>
                    <a:gd name="connsiteY774" fmla="*/ 162395 h 881397"/>
                    <a:gd name="connsiteX775" fmla="*/ 1255087 w 1297948"/>
                    <a:gd name="connsiteY775" fmla="*/ 162998 h 881397"/>
                    <a:gd name="connsiteX776" fmla="*/ 1244220 w 1297948"/>
                    <a:gd name="connsiteY776" fmla="*/ 165413 h 881397"/>
                    <a:gd name="connsiteX777" fmla="*/ 1243013 w 1297948"/>
                    <a:gd name="connsiteY777" fmla="*/ 167224 h 881397"/>
                    <a:gd name="connsiteX778" fmla="*/ 1234561 w 1297948"/>
                    <a:gd name="connsiteY778" fmla="*/ 167828 h 881397"/>
                    <a:gd name="connsiteX779" fmla="*/ 1224902 w 1297948"/>
                    <a:gd name="connsiteY779" fmla="*/ 172657 h 881397"/>
                    <a:gd name="connsiteX780" fmla="*/ 1215242 w 1297948"/>
                    <a:gd name="connsiteY780" fmla="*/ 174469 h 881397"/>
                    <a:gd name="connsiteX781" fmla="*/ 1212224 w 1297948"/>
                    <a:gd name="connsiteY781" fmla="*/ 169035 h 881397"/>
                    <a:gd name="connsiteX782" fmla="*/ 1203772 w 1297948"/>
                    <a:gd name="connsiteY782" fmla="*/ 164809 h 881397"/>
                    <a:gd name="connsiteX783" fmla="*/ 1194113 w 1297948"/>
                    <a:gd name="connsiteY783" fmla="*/ 170243 h 881397"/>
                    <a:gd name="connsiteX784" fmla="*/ 1188076 w 1297948"/>
                    <a:gd name="connsiteY784" fmla="*/ 178694 h 881397"/>
                    <a:gd name="connsiteX785" fmla="*/ 1189887 w 1297948"/>
                    <a:gd name="connsiteY785" fmla="*/ 183524 h 881397"/>
                    <a:gd name="connsiteX786" fmla="*/ 1189887 w 1297948"/>
                    <a:gd name="connsiteY786" fmla="*/ 191372 h 881397"/>
                    <a:gd name="connsiteX787" fmla="*/ 1188076 w 1297948"/>
                    <a:gd name="connsiteY787" fmla="*/ 196202 h 881397"/>
                    <a:gd name="connsiteX788" fmla="*/ 1180228 w 1297948"/>
                    <a:gd name="connsiteY788" fmla="*/ 197409 h 881397"/>
                    <a:gd name="connsiteX789" fmla="*/ 1177210 w 1297948"/>
                    <a:gd name="connsiteY789" fmla="*/ 199824 h 881397"/>
                    <a:gd name="connsiteX790" fmla="*/ 1169362 w 1297948"/>
                    <a:gd name="connsiteY790" fmla="*/ 201031 h 881397"/>
                    <a:gd name="connsiteX791" fmla="*/ 1157288 w 1297948"/>
                    <a:gd name="connsiteY791" fmla="*/ 208879 h 881397"/>
                    <a:gd name="connsiteX792" fmla="*/ 1150647 w 1297948"/>
                    <a:gd name="connsiteY792" fmla="*/ 214313 h 881397"/>
                    <a:gd name="connsiteX793" fmla="*/ 1150647 w 1297948"/>
                    <a:gd name="connsiteY793" fmla="*/ 216124 h 881397"/>
                    <a:gd name="connsiteX794" fmla="*/ 1144610 w 1297948"/>
                    <a:gd name="connsiteY794" fmla="*/ 220349 h 881397"/>
                    <a:gd name="connsiteX795" fmla="*/ 1142799 w 1297948"/>
                    <a:gd name="connsiteY795" fmla="*/ 217331 h 881397"/>
                    <a:gd name="connsiteX796" fmla="*/ 1137366 w 1297948"/>
                    <a:gd name="connsiteY796" fmla="*/ 219746 h 881397"/>
                    <a:gd name="connsiteX797" fmla="*/ 1133743 w 1297948"/>
                    <a:gd name="connsiteY797" fmla="*/ 217331 h 88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Lst>
                  <a:rect l="l" t="t" r="r" b="b"/>
                  <a:pathLst>
                    <a:path w="1297948" h="881397">
                      <a:moveTo>
                        <a:pt x="36222" y="563853"/>
                      </a:moveTo>
                      <a:lnTo>
                        <a:pt x="36825" y="565664"/>
                      </a:lnTo>
                      <a:lnTo>
                        <a:pt x="36825" y="569287"/>
                      </a:lnTo>
                      <a:lnTo>
                        <a:pt x="38033" y="574720"/>
                      </a:lnTo>
                      <a:lnTo>
                        <a:pt x="35618" y="577738"/>
                      </a:lnTo>
                      <a:lnTo>
                        <a:pt x="32600" y="577738"/>
                      </a:lnTo>
                      <a:lnTo>
                        <a:pt x="34411" y="568079"/>
                      </a:lnTo>
                      <a:lnTo>
                        <a:pt x="36222" y="563853"/>
                      </a:lnTo>
                      <a:close/>
                      <a:moveTo>
                        <a:pt x="1133743" y="217331"/>
                      </a:moveTo>
                      <a:lnTo>
                        <a:pt x="1125292" y="225783"/>
                      </a:lnTo>
                      <a:lnTo>
                        <a:pt x="1117443" y="231216"/>
                      </a:lnTo>
                      <a:lnTo>
                        <a:pt x="1116236" y="234838"/>
                      </a:lnTo>
                      <a:lnTo>
                        <a:pt x="1111406" y="238460"/>
                      </a:lnTo>
                      <a:lnTo>
                        <a:pt x="1101144" y="241479"/>
                      </a:lnTo>
                      <a:lnTo>
                        <a:pt x="1098125" y="244497"/>
                      </a:lnTo>
                      <a:lnTo>
                        <a:pt x="1090881" y="246309"/>
                      </a:lnTo>
                      <a:lnTo>
                        <a:pt x="1084844" y="240272"/>
                      </a:lnTo>
                      <a:lnTo>
                        <a:pt x="1080015" y="241479"/>
                      </a:lnTo>
                      <a:lnTo>
                        <a:pt x="1075789" y="240875"/>
                      </a:lnTo>
                      <a:lnTo>
                        <a:pt x="1070355" y="243290"/>
                      </a:lnTo>
                      <a:lnTo>
                        <a:pt x="1066733" y="246912"/>
                      </a:lnTo>
                      <a:lnTo>
                        <a:pt x="1063111" y="254760"/>
                      </a:lnTo>
                      <a:lnTo>
                        <a:pt x="1056470" y="260797"/>
                      </a:lnTo>
                      <a:lnTo>
                        <a:pt x="1055263" y="268042"/>
                      </a:lnTo>
                      <a:lnTo>
                        <a:pt x="1052848" y="272267"/>
                      </a:lnTo>
                      <a:lnTo>
                        <a:pt x="1046811" y="274682"/>
                      </a:lnTo>
                      <a:lnTo>
                        <a:pt x="1043189" y="280116"/>
                      </a:lnTo>
                      <a:lnTo>
                        <a:pt x="1041378" y="277701"/>
                      </a:lnTo>
                      <a:lnTo>
                        <a:pt x="1038359" y="281927"/>
                      </a:lnTo>
                      <a:lnTo>
                        <a:pt x="1028700" y="289171"/>
                      </a:lnTo>
                      <a:lnTo>
                        <a:pt x="1022059" y="290982"/>
                      </a:lnTo>
                      <a:lnTo>
                        <a:pt x="1015419" y="291586"/>
                      </a:lnTo>
                      <a:lnTo>
                        <a:pt x="1013004" y="287360"/>
                      </a:lnTo>
                      <a:lnTo>
                        <a:pt x="1009985" y="290982"/>
                      </a:lnTo>
                      <a:lnTo>
                        <a:pt x="1009382" y="295812"/>
                      </a:lnTo>
                      <a:lnTo>
                        <a:pt x="999722" y="294001"/>
                      </a:lnTo>
                      <a:lnTo>
                        <a:pt x="994893" y="296415"/>
                      </a:lnTo>
                      <a:lnTo>
                        <a:pt x="993685" y="299434"/>
                      </a:lnTo>
                      <a:lnTo>
                        <a:pt x="990063" y="303056"/>
                      </a:lnTo>
                      <a:lnTo>
                        <a:pt x="984026" y="303660"/>
                      </a:lnTo>
                      <a:lnTo>
                        <a:pt x="981008" y="310904"/>
                      </a:lnTo>
                      <a:lnTo>
                        <a:pt x="971953" y="315734"/>
                      </a:lnTo>
                      <a:lnTo>
                        <a:pt x="971349" y="319356"/>
                      </a:lnTo>
                      <a:lnTo>
                        <a:pt x="973160" y="323582"/>
                      </a:lnTo>
                      <a:lnTo>
                        <a:pt x="968934" y="336259"/>
                      </a:lnTo>
                      <a:lnTo>
                        <a:pt x="965312" y="336863"/>
                      </a:lnTo>
                      <a:lnTo>
                        <a:pt x="965312" y="339882"/>
                      </a:lnTo>
                      <a:lnTo>
                        <a:pt x="959879" y="341089"/>
                      </a:lnTo>
                      <a:lnTo>
                        <a:pt x="959879" y="344107"/>
                      </a:lnTo>
                      <a:lnTo>
                        <a:pt x="954445" y="347730"/>
                      </a:lnTo>
                      <a:lnTo>
                        <a:pt x="952634" y="351352"/>
                      </a:lnTo>
                      <a:lnTo>
                        <a:pt x="947805" y="347126"/>
                      </a:lnTo>
                      <a:lnTo>
                        <a:pt x="946597" y="341089"/>
                      </a:lnTo>
                      <a:lnTo>
                        <a:pt x="945390" y="328411"/>
                      </a:lnTo>
                      <a:lnTo>
                        <a:pt x="941768" y="332637"/>
                      </a:lnTo>
                      <a:lnTo>
                        <a:pt x="936938" y="340485"/>
                      </a:lnTo>
                      <a:lnTo>
                        <a:pt x="930901" y="345315"/>
                      </a:lnTo>
                      <a:lnTo>
                        <a:pt x="929090" y="349541"/>
                      </a:lnTo>
                      <a:lnTo>
                        <a:pt x="926072" y="351956"/>
                      </a:lnTo>
                      <a:lnTo>
                        <a:pt x="923657" y="358596"/>
                      </a:lnTo>
                      <a:lnTo>
                        <a:pt x="924260" y="368255"/>
                      </a:lnTo>
                      <a:lnTo>
                        <a:pt x="921242" y="374896"/>
                      </a:lnTo>
                      <a:lnTo>
                        <a:pt x="921242" y="379726"/>
                      </a:lnTo>
                      <a:lnTo>
                        <a:pt x="915809" y="379122"/>
                      </a:lnTo>
                      <a:lnTo>
                        <a:pt x="909772" y="382744"/>
                      </a:lnTo>
                      <a:lnTo>
                        <a:pt x="908564" y="386970"/>
                      </a:lnTo>
                      <a:lnTo>
                        <a:pt x="905546" y="391196"/>
                      </a:lnTo>
                      <a:lnTo>
                        <a:pt x="901924" y="397837"/>
                      </a:lnTo>
                      <a:lnTo>
                        <a:pt x="898301" y="399044"/>
                      </a:lnTo>
                      <a:lnTo>
                        <a:pt x="895887" y="403874"/>
                      </a:lnTo>
                      <a:lnTo>
                        <a:pt x="894679" y="411118"/>
                      </a:lnTo>
                      <a:lnTo>
                        <a:pt x="889850" y="414740"/>
                      </a:lnTo>
                      <a:lnTo>
                        <a:pt x="887435" y="421381"/>
                      </a:lnTo>
                      <a:lnTo>
                        <a:pt x="888642" y="423796"/>
                      </a:lnTo>
                      <a:lnTo>
                        <a:pt x="884416" y="438888"/>
                      </a:lnTo>
                      <a:lnTo>
                        <a:pt x="885624" y="441303"/>
                      </a:lnTo>
                      <a:lnTo>
                        <a:pt x="880190" y="447943"/>
                      </a:lnTo>
                      <a:lnTo>
                        <a:pt x="877776" y="455791"/>
                      </a:lnTo>
                      <a:lnTo>
                        <a:pt x="878983" y="458206"/>
                      </a:lnTo>
                      <a:lnTo>
                        <a:pt x="878379" y="463640"/>
                      </a:lnTo>
                      <a:lnTo>
                        <a:pt x="880794" y="466658"/>
                      </a:lnTo>
                      <a:lnTo>
                        <a:pt x="883813" y="474506"/>
                      </a:lnTo>
                      <a:lnTo>
                        <a:pt x="878983" y="479336"/>
                      </a:lnTo>
                      <a:lnTo>
                        <a:pt x="869928" y="483561"/>
                      </a:lnTo>
                      <a:lnTo>
                        <a:pt x="865702" y="488995"/>
                      </a:lnTo>
                      <a:lnTo>
                        <a:pt x="863287" y="493221"/>
                      </a:lnTo>
                      <a:lnTo>
                        <a:pt x="856647" y="488995"/>
                      </a:lnTo>
                      <a:lnTo>
                        <a:pt x="851213" y="492617"/>
                      </a:lnTo>
                      <a:lnTo>
                        <a:pt x="850006" y="497447"/>
                      </a:lnTo>
                      <a:lnTo>
                        <a:pt x="845176" y="500465"/>
                      </a:lnTo>
                      <a:lnTo>
                        <a:pt x="842158" y="493221"/>
                      </a:lnTo>
                      <a:lnTo>
                        <a:pt x="845780" y="478732"/>
                      </a:lnTo>
                      <a:lnTo>
                        <a:pt x="843365" y="467262"/>
                      </a:lnTo>
                      <a:lnTo>
                        <a:pt x="839743" y="467865"/>
                      </a:lnTo>
                      <a:lnTo>
                        <a:pt x="836121" y="472091"/>
                      </a:lnTo>
                      <a:lnTo>
                        <a:pt x="822839" y="478732"/>
                      </a:lnTo>
                      <a:lnTo>
                        <a:pt x="823443" y="482958"/>
                      </a:lnTo>
                      <a:lnTo>
                        <a:pt x="827065" y="491410"/>
                      </a:lnTo>
                      <a:lnTo>
                        <a:pt x="821632" y="494428"/>
                      </a:lnTo>
                      <a:lnTo>
                        <a:pt x="821028" y="496843"/>
                      </a:lnTo>
                      <a:lnTo>
                        <a:pt x="814991" y="498050"/>
                      </a:lnTo>
                      <a:lnTo>
                        <a:pt x="810765" y="502880"/>
                      </a:lnTo>
                      <a:lnTo>
                        <a:pt x="809558" y="508313"/>
                      </a:lnTo>
                      <a:lnTo>
                        <a:pt x="801710" y="513143"/>
                      </a:lnTo>
                      <a:lnTo>
                        <a:pt x="793258" y="520387"/>
                      </a:lnTo>
                      <a:lnTo>
                        <a:pt x="793258" y="525820"/>
                      </a:lnTo>
                      <a:lnTo>
                        <a:pt x="788428" y="530046"/>
                      </a:lnTo>
                      <a:lnTo>
                        <a:pt x="780580" y="539102"/>
                      </a:lnTo>
                      <a:lnTo>
                        <a:pt x="776958" y="539102"/>
                      </a:lnTo>
                      <a:lnTo>
                        <a:pt x="767299" y="544535"/>
                      </a:lnTo>
                      <a:lnTo>
                        <a:pt x="764884" y="549968"/>
                      </a:lnTo>
                      <a:lnTo>
                        <a:pt x="761866" y="550572"/>
                      </a:lnTo>
                      <a:lnTo>
                        <a:pt x="758244" y="556609"/>
                      </a:lnTo>
                      <a:lnTo>
                        <a:pt x="752207" y="558420"/>
                      </a:lnTo>
                      <a:lnTo>
                        <a:pt x="749792" y="560835"/>
                      </a:lnTo>
                      <a:lnTo>
                        <a:pt x="755225" y="565664"/>
                      </a:lnTo>
                      <a:lnTo>
                        <a:pt x="757640" y="571701"/>
                      </a:lnTo>
                      <a:lnTo>
                        <a:pt x="761866" y="575324"/>
                      </a:lnTo>
                      <a:lnTo>
                        <a:pt x="761866" y="579549"/>
                      </a:lnTo>
                      <a:lnTo>
                        <a:pt x="767299" y="583172"/>
                      </a:lnTo>
                      <a:lnTo>
                        <a:pt x="770921" y="582568"/>
                      </a:lnTo>
                      <a:lnTo>
                        <a:pt x="775147" y="585586"/>
                      </a:lnTo>
                      <a:lnTo>
                        <a:pt x="776958" y="592831"/>
                      </a:lnTo>
                      <a:lnTo>
                        <a:pt x="779977" y="599471"/>
                      </a:lnTo>
                      <a:lnTo>
                        <a:pt x="774543" y="607923"/>
                      </a:lnTo>
                      <a:lnTo>
                        <a:pt x="775147" y="612149"/>
                      </a:lnTo>
                      <a:lnTo>
                        <a:pt x="778769" y="615771"/>
                      </a:lnTo>
                      <a:lnTo>
                        <a:pt x="775751" y="618790"/>
                      </a:lnTo>
                      <a:lnTo>
                        <a:pt x="772732" y="619393"/>
                      </a:lnTo>
                      <a:lnTo>
                        <a:pt x="764281" y="626034"/>
                      </a:lnTo>
                      <a:lnTo>
                        <a:pt x="761262" y="630864"/>
                      </a:lnTo>
                      <a:lnTo>
                        <a:pt x="761262" y="633279"/>
                      </a:lnTo>
                      <a:lnTo>
                        <a:pt x="754018" y="644749"/>
                      </a:lnTo>
                      <a:lnTo>
                        <a:pt x="752811" y="648975"/>
                      </a:lnTo>
                      <a:lnTo>
                        <a:pt x="753414" y="653200"/>
                      </a:lnTo>
                      <a:lnTo>
                        <a:pt x="750396" y="664671"/>
                      </a:lnTo>
                      <a:lnTo>
                        <a:pt x="747981" y="665274"/>
                      </a:lnTo>
                      <a:lnTo>
                        <a:pt x="742548" y="675537"/>
                      </a:lnTo>
                      <a:lnTo>
                        <a:pt x="736511" y="674934"/>
                      </a:lnTo>
                      <a:lnTo>
                        <a:pt x="732285" y="682178"/>
                      </a:lnTo>
                      <a:lnTo>
                        <a:pt x="732285" y="685196"/>
                      </a:lnTo>
                      <a:lnTo>
                        <a:pt x="735303" y="693648"/>
                      </a:lnTo>
                      <a:lnTo>
                        <a:pt x="734700" y="697270"/>
                      </a:lnTo>
                      <a:lnTo>
                        <a:pt x="731681" y="699081"/>
                      </a:lnTo>
                      <a:lnTo>
                        <a:pt x="733492" y="704515"/>
                      </a:lnTo>
                      <a:lnTo>
                        <a:pt x="729266" y="709344"/>
                      </a:lnTo>
                      <a:lnTo>
                        <a:pt x="729266" y="712363"/>
                      </a:lnTo>
                      <a:lnTo>
                        <a:pt x="721418" y="720815"/>
                      </a:lnTo>
                      <a:lnTo>
                        <a:pt x="720815" y="730474"/>
                      </a:lnTo>
                      <a:lnTo>
                        <a:pt x="717192" y="731077"/>
                      </a:lnTo>
                      <a:lnTo>
                        <a:pt x="713570" y="733492"/>
                      </a:lnTo>
                      <a:lnTo>
                        <a:pt x="708137" y="730474"/>
                      </a:lnTo>
                      <a:lnTo>
                        <a:pt x="704515" y="731077"/>
                      </a:lnTo>
                      <a:lnTo>
                        <a:pt x="699685" y="752207"/>
                      </a:lnTo>
                      <a:lnTo>
                        <a:pt x="701496" y="761866"/>
                      </a:lnTo>
                      <a:lnTo>
                        <a:pt x="698478" y="766092"/>
                      </a:lnTo>
                      <a:lnTo>
                        <a:pt x="699081" y="774544"/>
                      </a:lnTo>
                      <a:lnTo>
                        <a:pt x="696667" y="778166"/>
                      </a:lnTo>
                      <a:lnTo>
                        <a:pt x="701496" y="781184"/>
                      </a:lnTo>
                      <a:lnTo>
                        <a:pt x="691837" y="789636"/>
                      </a:lnTo>
                      <a:lnTo>
                        <a:pt x="691837" y="795069"/>
                      </a:lnTo>
                      <a:lnTo>
                        <a:pt x="688818" y="800503"/>
                      </a:lnTo>
                      <a:lnTo>
                        <a:pt x="691233" y="805332"/>
                      </a:lnTo>
                      <a:lnTo>
                        <a:pt x="688818" y="808351"/>
                      </a:lnTo>
                      <a:lnTo>
                        <a:pt x="687611" y="815595"/>
                      </a:lnTo>
                      <a:lnTo>
                        <a:pt x="689422" y="819821"/>
                      </a:lnTo>
                      <a:lnTo>
                        <a:pt x="681574" y="821632"/>
                      </a:lnTo>
                      <a:lnTo>
                        <a:pt x="677348" y="820425"/>
                      </a:lnTo>
                      <a:lnTo>
                        <a:pt x="673122" y="823443"/>
                      </a:lnTo>
                      <a:lnTo>
                        <a:pt x="667689" y="823443"/>
                      </a:lnTo>
                      <a:lnTo>
                        <a:pt x="662859" y="819217"/>
                      </a:lnTo>
                      <a:lnTo>
                        <a:pt x="661652" y="823443"/>
                      </a:lnTo>
                      <a:lnTo>
                        <a:pt x="657426" y="821632"/>
                      </a:lnTo>
                      <a:lnTo>
                        <a:pt x="653200" y="822236"/>
                      </a:lnTo>
                      <a:lnTo>
                        <a:pt x="649578" y="826462"/>
                      </a:lnTo>
                      <a:lnTo>
                        <a:pt x="640523" y="817406"/>
                      </a:lnTo>
                      <a:lnTo>
                        <a:pt x="632675" y="795069"/>
                      </a:lnTo>
                      <a:lnTo>
                        <a:pt x="625430" y="810162"/>
                      </a:lnTo>
                      <a:lnTo>
                        <a:pt x="622412" y="821028"/>
                      </a:lnTo>
                      <a:lnTo>
                        <a:pt x="617582" y="832499"/>
                      </a:lnTo>
                      <a:lnTo>
                        <a:pt x="610942" y="834913"/>
                      </a:lnTo>
                      <a:lnTo>
                        <a:pt x="607923" y="838536"/>
                      </a:lnTo>
                      <a:lnTo>
                        <a:pt x="604301" y="837328"/>
                      </a:lnTo>
                      <a:lnTo>
                        <a:pt x="602490" y="842158"/>
                      </a:lnTo>
                      <a:lnTo>
                        <a:pt x="602490" y="848195"/>
                      </a:lnTo>
                      <a:lnTo>
                        <a:pt x="601282" y="855439"/>
                      </a:lnTo>
                      <a:lnTo>
                        <a:pt x="596453" y="857250"/>
                      </a:lnTo>
                      <a:lnTo>
                        <a:pt x="591623" y="856043"/>
                      </a:lnTo>
                      <a:lnTo>
                        <a:pt x="588605" y="857250"/>
                      </a:lnTo>
                      <a:lnTo>
                        <a:pt x="588001" y="862080"/>
                      </a:lnTo>
                      <a:lnTo>
                        <a:pt x="584379" y="873550"/>
                      </a:lnTo>
                      <a:lnTo>
                        <a:pt x="580757" y="873550"/>
                      </a:lnTo>
                      <a:lnTo>
                        <a:pt x="580153" y="874757"/>
                      </a:lnTo>
                      <a:lnTo>
                        <a:pt x="580757" y="875965"/>
                      </a:lnTo>
                      <a:lnTo>
                        <a:pt x="580153" y="875965"/>
                      </a:lnTo>
                      <a:lnTo>
                        <a:pt x="578946" y="874757"/>
                      </a:lnTo>
                      <a:lnTo>
                        <a:pt x="578342" y="875965"/>
                      </a:lnTo>
                      <a:lnTo>
                        <a:pt x="575927" y="875965"/>
                      </a:lnTo>
                      <a:lnTo>
                        <a:pt x="574720" y="876568"/>
                      </a:lnTo>
                      <a:lnTo>
                        <a:pt x="574720" y="877172"/>
                      </a:lnTo>
                      <a:lnTo>
                        <a:pt x="574720" y="877776"/>
                      </a:lnTo>
                      <a:lnTo>
                        <a:pt x="572909" y="880794"/>
                      </a:lnTo>
                      <a:lnTo>
                        <a:pt x="571097" y="882002"/>
                      </a:lnTo>
                      <a:lnTo>
                        <a:pt x="570494" y="882002"/>
                      </a:lnTo>
                      <a:lnTo>
                        <a:pt x="566268" y="878379"/>
                      </a:lnTo>
                      <a:lnTo>
                        <a:pt x="565060" y="878379"/>
                      </a:lnTo>
                      <a:lnTo>
                        <a:pt x="565060" y="875965"/>
                      </a:lnTo>
                      <a:lnTo>
                        <a:pt x="564457" y="873550"/>
                      </a:lnTo>
                      <a:lnTo>
                        <a:pt x="561438" y="868720"/>
                      </a:lnTo>
                      <a:lnTo>
                        <a:pt x="562042" y="855439"/>
                      </a:lnTo>
                      <a:lnTo>
                        <a:pt x="552383" y="856043"/>
                      </a:lnTo>
                      <a:lnTo>
                        <a:pt x="539705" y="855439"/>
                      </a:lnTo>
                      <a:lnTo>
                        <a:pt x="536083" y="856043"/>
                      </a:lnTo>
                      <a:lnTo>
                        <a:pt x="519180" y="856646"/>
                      </a:lnTo>
                      <a:lnTo>
                        <a:pt x="529443" y="830687"/>
                      </a:lnTo>
                      <a:lnTo>
                        <a:pt x="531254" y="825254"/>
                      </a:lnTo>
                      <a:lnTo>
                        <a:pt x="527632" y="818010"/>
                      </a:lnTo>
                      <a:lnTo>
                        <a:pt x="527632" y="814388"/>
                      </a:lnTo>
                      <a:lnTo>
                        <a:pt x="522802" y="808954"/>
                      </a:lnTo>
                      <a:lnTo>
                        <a:pt x="522802" y="798692"/>
                      </a:lnTo>
                      <a:lnTo>
                        <a:pt x="523406" y="785410"/>
                      </a:lnTo>
                      <a:lnTo>
                        <a:pt x="524613" y="776958"/>
                      </a:lnTo>
                      <a:lnTo>
                        <a:pt x="526424" y="770318"/>
                      </a:lnTo>
                      <a:lnTo>
                        <a:pt x="526424" y="764884"/>
                      </a:lnTo>
                      <a:lnTo>
                        <a:pt x="529443" y="757036"/>
                      </a:lnTo>
                      <a:lnTo>
                        <a:pt x="536687" y="746170"/>
                      </a:lnTo>
                      <a:lnTo>
                        <a:pt x="533669" y="744359"/>
                      </a:lnTo>
                      <a:lnTo>
                        <a:pt x="535480" y="740133"/>
                      </a:lnTo>
                      <a:lnTo>
                        <a:pt x="535480" y="735303"/>
                      </a:lnTo>
                      <a:lnTo>
                        <a:pt x="533065" y="730474"/>
                      </a:lnTo>
                      <a:lnTo>
                        <a:pt x="532461" y="725040"/>
                      </a:lnTo>
                      <a:lnTo>
                        <a:pt x="527632" y="723833"/>
                      </a:lnTo>
                      <a:lnTo>
                        <a:pt x="525217" y="720211"/>
                      </a:lnTo>
                      <a:lnTo>
                        <a:pt x="525217" y="715381"/>
                      </a:lnTo>
                      <a:lnTo>
                        <a:pt x="526424" y="712363"/>
                      </a:lnTo>
                      <a:lnTo>
                        <a:pt x="525820" y="706326"/>
                      </a:lnTo>
                      <a:lnTo>
                        <a:pt x="539705" y="706929"/>
                      </a:lnTo>
                      <a:lnTo>
                        <a:pt x="546950" y="713570"/>
                      </a:lnTo>
                      <a:lnTo>
                        <a:pt x="550572" y="712966"/>
                      </a:lnTo>
                      <a:lnTo>
                        <a:pt x="556609" y="719003"/>
                      </a:lnTo>
                      <a:lnTo>
                        <a:pt x="560835" y="717192"/>
                      </a:lnTo>
                      <a:lnTo>
                        <a:pt x="567475" y="717192"/>
                      </a:lnTo>
                      <a:lnTo>
                        <a:pt x="567475" y="714174"/>
                      </a:lnTo>
                      <a:lnTo>
                        <a:pt x="572305" y="715381"/>
                      </a:lnTo>
                      <a:lnTo>
                        <a:pt x="576531" y="714778"/>
                      </a:lnTo>
                      <a:lnTo>
                        <a:pt x="578342" y="706326"/>
                      </a:lnTo>
                      <a:lnTo>
                        <a:pt x="576531" y="700892"/>
                      </a:lnTo>
                      <a:lnTo>
                        <a:pt x="569890" y="698478"/>
                      </a:lnTo>
                      <a:lnTo>
                        <a:pt x="572305" y="694252"/>
                      </a:lnTo>
                      <a:lnTo>
                        <a:pt x="569890" y="691837"/>
                      </a:lnTo>
                      <a:lnTo>
                        <a:pt x="565060" y="693648"/>
                      </a:lnTo>
                      <a:lnTo>
                        <a:pt x="562646" y="687008"/>
                      </a:lnTo>
                      <a:lnTo>
                        <a:pt x="564457" y="679763"/>
                      </a:lnTo>
                      <a:lnTo>
                        <a:pt x="562646" y="679159"/>
                      </a:lnTo>
                      <a:lnTo>
                        <a:pt x="568079" y="676745"/>
                      </a:lnTo>
                      <a:lnTo>
                        <a:pt x="571097" y="673122"/>
                      </a:lnTo>
                      <a:lnTo>
                        <a:pt x="574116" y="666482"/>
                      </a:lnTo>
                      <a:lnTo>
                        <a:pt x="574720" y="661652"/>
                      </a:lnTo>
                      <a:lnTo>
                        <a:pt x="586794" y="662256"/>
                      </a:lnTo>
                      <a:lnTo>
                        <a:pt x="583171" y="657426"/>
                      </a:lnTo>
                      <a:lnTo>
                        <a:pt x="583171" y="654408"/>
                      </a:lnTo>
                      <a:lnTo>
                        <a:pt x="589208" y="656219"/>
                      </a:lnTo>
                      <a:lnTo>
                        <a:pt x="595245" y="656219"/>
                      </a:lnTo>
                      <a:lnTo>
                        <a:pt x="603094" y="659237"/>
                      </a:lnTo>
                      <a:lnTo>
                        <a:pt x="607923" y="651993"/>
                      </a:lnTo>
                      <a:lnTo>
                        <a:pt x="610338" y="651389"/>
                      </a:lnTo>
                      <a:lnTo>
                        <a:pt x="611545" y="646560"/>
                      </a:lnTo>
                      <a:lnTo>
                        <a:pt x="614564" y="644749"/>
                      </a:lnTo>
                      <a:lnTo>
                        <a:pt x="629053" y="638712"/>
                      </a:lnTo>
                      <a:lnTo>
                        <a:pt x="635693" y="639919"/>
                      </a:lnTo>
                      <a:lnTo>
                        <a:pt x="640523" y="635693"/>
                      </a:lnTo>
                      <a:lnTo>
                        <a:pt x="634486" y="633279"/>
                      </a:lnTo>
                      <a:lnTo>
                        <a:pt x="632675" y="629656"/>
                      </a:lnTo>
                      <a:lnTo>
                        <a:pt x="633882" y="624827"/>
                      </a:lnTo>
                      <a:lnTo>
                        <a:pt x="638108" y="620601"/>
                      </a:lnTo>
                      <a:lnTo>
                        <a:pt x="636901" y="615771"/>
                      </a:lnTo>
                      <a:lnTo>
                        <a:pt x="636901" y="610338"/>
                      </a:lnTo>
                      <a:lnTo>
                        <a:pt x="632071" y="609734"/>
                      </a:lnTo>
                      <a:lnTo>
                        <a:pt x="626638" y="601282"/>
                      </a:lnTo>
                      <a:lnTo>
                        <a:pt x="623016" y="600679"/>
                      </a:lnTo>
                      <a:lnTo>
                        <a:pt x="619393" y="597660"/>
                      </a:lnTo>
                      <a:lnTo>
                        <a:pt x="613960" y="591020"/>
                      </a:lnTo>
                      <a:lnTo>
                        <a:pt x="610942" y="592831"/>
                      </a:lnTo>
                      <a:lnTo>
                        <a:pt x="609131" y="588001"/>
                      </a:lnTo>
                      <a:lnTo>
                        <a:pt x="600075" y="591020"/>
                      </a:lnTo>
                      <a:lnTo>
                        <a:pt x="600075" y="583775"/>
                      </a:lnTo>
                      <a:lnTo>
                        <a:pt x="598264" y="578946"/>
                      </a:lnTo>
                      <a:lnTo>
                        <a:pt x="592831" y="580153"/>
                      </a:lnTo>
                      <a:lnTo>
                        <a:pt x="592227" y="576531"/>
                      </a:lnTo>
                      <a:lnTo>
                        <a:pt x="594642" y="573512"/>
                      </a:lnTo>
                      <a:lnTo>
                        <a:pt x="603094" y="568683"/>
                      </a:lnTo>
                      <a:lnTo>
                        <a:pt x="607923" y="563853"/>
                      </a:lnTo>
                      <a:lnTo>
                        <a:pt x="610942" y="552987"/>
                      </a:lnTo>
                      <a:lnTo>
                        <a:pt x="607319" y="552383"/>
                      </a:lnTo>
                      <a:lnTo>
                        <a:pt x="604905" y="556005"/>
                      </a:lnTo>
                      <a:lnTo>
                        <a:pt x="600679" y="557213"/>
                      </a:lnTo>
                      <a:lnTo>
                        <a:pt x="596453" y="560231"/>
                      </a:lnTo>
                      <a:lnTo>
                        <a:pt x="590416" y="555401"/>
                      </a:lnTo>
                      <a:lnTo>
                        <a:pt x="589812" y="546346"/>
                      </a:lnTo>
                      <a:lnTo>
                        <a:pt x="577738" y="543327"/>
                      </a:lnTo>
                      <a:lnTo>
                        <a:pt x="574116" y="534876"/>
                      </a:lnTo>
                      <a:lnTo>
                        <a:pt x="571097" y="530650"/>
                      </a:lnTo>
                      <a:lnTo>
                        <a:pt x="564457" y="529443"/>
                      </a:lnTo>
                      <a:lnTo>
                        <a:pt x="563249" y="524009"/>
                      </a:lnTo>
                      <a:lnTo>
                        <a:pt x="566268" y="521595"/>
                      </a:lnTo>
                      <a:lnTo>
                        <a:pt x="560835" y="517369"/>
                      </a:lnTo>
                      <a:lnTo>
                        <a:pt x="551779" y="516161"/>
                      </a:lnTo>
                      <a:lnTo>
                        <a:pt x="545139" y="520387"/>
                      </a:lnTo>
                      <a:lnTo>
                        <a:pt x="537894" y="520991"/>
                      </a:lnTo>
                      <a:lnTo>
                        <a:pt x="530650" y="524009"/>
                      </a:lnTo>
                      <a:lnTo>
                        <a:pt x="524009" y="524613"/>
                      </a:lnTo>
                      <a:lnTo>
                        <a:pt x="521595" y="523406"/>
                      </a:lnTo>
                      <a:lnTo>
                        <a:pt x="518576" y="527632"/>
                      </a:lnTo>
                      <a:lnTo>
                        <a:pt x="510124" y="534272"/>
                      </a:lnTo>
                      <a:lnTo>
                        <a:pt x="507106" y="524613"/>
                      </a:lnTo>
                      <a:lnTo>
                        <a:pt x="508917" y="516161"/>
                      </a:lnTo>
                      <a:lnTo>
                        <a:pt x="505898" y="507106"/>
                      </a:lnTo>
                      <a:lnTo>
                        <a:pt x="506502" y="500465"/>
                      </a:lnTo>
                      <a:lnTo>
                        <a:pt x="512539" y="492013"/>
                      </a:lnTo>
                      <a:lnTo>
                        <a:pt x="512539" y="487184"/>
                      </a:lnTo>
                      <a:lnTo>
                        <a:pt x="521595" y="480543"/>
                      </a:lnTo>
                      <a:lnTo>
                        <a:pt x="520991" y="478128"/>
                      </a:lnTo>
                      <a:lnTo>
                        <a:pt x="512539" y="478732"/>
                      </a:lnTo>
                      <a:lnTo>
                        <a:pt x="508313" y="476921"/>
                      </a:lnTo>
                      <a:lnTo>
                        <a:pt x="507106" y="470280"/>
                      </a:lnTo>
                      <a:lnTo>
                        <a:pt x="508917" y="466054"/>
                      </a:lnTo>
                      <a:lnTo>
                        <a:pt x="514350" y="461225"/>
                      </a:lnTo>
                      <a:lnTo>
                        <a:pt x="516765" y="461225"/>
                      </a:lnTo>
                      <a:lnTo>
                        <a:pt x="527632" y="450962"/>
                      </a:lnTo>
                      <a:lnTo>
                        <a:pt x="537291" y="440095"/>
                      </a:lnTo>
                      <a:lnTo>
                        <a:pt x="531254" y="442510"/>
                      </a:lnTo>
                      <a:lnTo>
                        <a:pt x="524613" y="443717"/>
                      </a:lnTo>
                      <a:lnTo>
                        <a:pt x="518576" y="441303"/>
                      </a:lnTo>
                      <a:lnTo>
                        <a:pt x="514350" y="442510"/>
                      </a:lnTo>
                      <a:lnTo>
                        <a:pt x="511935" y="439492"/>
                      </a:lnTo>
                      <a:lnTo>
                        <a:pt x="505898" y="443114"/>
                      </a:lnTo>
                      <a:lnTo>
                        <a:pt x="502276" y="447340"/>
                      </a:lnTo>
                      <a:lnTo>
                        <a:pt x="494428" y="446736"/>
                      </a:lnTo>
                      <a:lnTo>
                        <a:pt x="485976" y="450358"/>
                      </a:lnTo>
                      <a:lnTo>
                        <a:pt x="482354" y="448547"/>
                      </a:lnTo>
                      <a:lnTo>
                        <a:pt x="473299" y="448547"/>
                      </a:lnTo>
                      <a:lnTo>
                        <a:pt x="470280" y="451566"/>
                      </a:lnTo>
                      <a:lnTo>
                        <a:pt x="461225" y="454584"/>
                      </a:lnTo>
                      <a:lnTo>
                        <a:pt x="460017" y="457603"/>
                      </a:lnTo>
                      <a:lnTo>
                        <a:pt x="455791" y="451566"/>
                      </a:lnTo>
                      <a:lnTo>
                        <a:pt x="450962" y="450962"/>
                      </a:lnTo>
                      <a:lnTo>
                        <a:pt x="447943" y="444925"/>
                      </a:lnTo>
                      <a:lnTo>
                        <a:pt x="449151" y="435266"/>
                      </a:lnTo>
                      <a:lnTo>
                        <a:pt x="437680" y="430436"/>
                      </a:lnTo>
                      <a:lnTo>
                        <a:pt x="431644" y="437680"/>
                      </a:lnTo>
                      <a:lnTo>
                        <a:pt x="429229" y="437077"/>
                      </a:lnTo>
                      <a:lnTo>
                        <a:pt x="425607" y="441303"/>
                      </a:lnTo>
                      <a:lnTo>
                        <a:pt x="419570" y="444321"/>
                      </a:lnTo>
                      <a:lnTo>
                        <a:pt x="417759" y="450962"/>
                      </a:lnTo>
                      <a:lnTo>
                        <a:pt x="417155" y="468469"/>
                      </a:lnTo>
                      <a:lnTo>
                        <a:pt x="406892" y="479336"/>
                      </a:lnTo>
                      <a:lnTo>
                        <a:pt x="402666" y="477525"/>
                      </a:lnTo>
                      <a:lnTo>
                        <a:pt x="394818" y="471488"/>
                      </a:lnTo>
                      <a:lnTo>
                        <a:pt x="399044" y="470280"/>
                      </a:lnTo>
                      <a:lnTo>
                        <a:pt x="400251" y="466054"/>
                      </a:lnTo>
                      <a:lnTo>
                        <a:pt x="397837" y="461225"/>
                      </a:lnTo>
                      <a:lnTo>
                        <a:pt x="399044" y="452773"/>
                      </a:lnTo>
                      <a:lnTo>
                        <a:pt x="396629" y="451566"/>
                      </a:lnTo>
                      <a:lnTo>
                        <a:pt x="391800" y="452773"/>
                      </a:lnTo>
                      <a:lnTo>
                        <a:pt x="386366" y="451566"/>
                      </a:lnTo>
                      <a:lnTo>
                        <a:pt x="385159" y="457603"/>
                      </a:lnTo>
                      <a:lnTo>
                        <a:pt x="382744" y="463640"/>
                      </a:lnTo>
                      <a:lnTo>
                        <a:pt x="379726" y="466658"/>
                      </a:lnTo>
                      <a:lnTo>
                        <a:pt x="375500" y="467262"/>
                      </a:lnTo>
                      <a:lnTo>
                        <a:pt x="376103" y="471488"/>
                      </a:lnTo>
                      <a:lnTo>
                        <a:pt x="372481" y="475714"/>
                      </a:lnTo>
                      <a:lnTo>
                        <a:pt x="372481" y="481147"/>
                      </a:lnTo>
                      <a:lnTo>
                        <a:pt x="368255" y="482958"/>
                      </a:lnTo>
                      <a:lnTo>
                        <a:pt x="365237" y="490202"/>
                      </a:lnTo>
                      <a:lnTo>
                        <a:pt x="359803" y="493824"/>
                      </a:lnTo>
                      <a:lnTo>
                        <a:pt x="353766" y="491410"/>
                      </a:lnTo>
                      <a:lnTo>
                        <a:pt x="340485" y="494428"/>
                      </a:lnTo>
                      <a:lnTo>
                        <a:pt x="337467" y="496239"/>
                      </a:lnTo>
                      <a:lnTo>
                        <a:pt x="332033" y="504691"/>
                      </a:lnTo>
                      <a:lnTo>
                        <a:pt x="325997" y="515558"/>
                      </a:lnTo>
                      <a:lnTo>
                        <a:pt x="321771" y="515558"/>
                      </a:lnTo>
                      <a:lnTo>
                        <a:pt x="315130" y="520991"/>
                      </a:lnTo>
                      <a:lnTo>
                        <a:pt x="307886" y="517369"/>
                      </a:lnTo>
                      <a:lnTo>
                        <a:pt x="307886" y="511935"/>
                      </a:lnTo>
                      <a:lnTo>
                        <a:pt x="306075" y="508917"/>
                      </a:lnTo>
                      <a:lnTo>
                        <a:pt x="310904" y="494428"/>
                      </a:lnTo>
                      <a:lnTo>
                        <a:pt x="308489" y="490806"/>
                      </a:lnTo>
                      <a:lnTo>
                        <a:pt x="306075" y="493824"/>
                      </a:lnTo>
                      <a:lnTo>
                        <a:pt x="300641" y="492013"/>
                      </a:lnTo>
                      <a:lnTo>
                        <a:pt x="294001" y="496239"/>
                      </a:lnTo>
                      <a:lnTo>
                        <a:pt x="282530" y="497447"/>
                      </a:lnTo>
                      <a:lnTo>
                        <a:pt x="282530" y="493221"/>
                      </a:lnTo>
                      <a:lnTo>
                        <a:pt x="278908" y="492617"/>
                      </a:lnTo>
                      <a:lnTo>
                        <a:pt x="272871" y="498654"/>
                      </a:lnTo>
                      <a:lnTo>
                        <a:pt x="269249" y="497447"/>
                      </a:lnTo>
                      <a:lnTo>
                        <a:pt x="271664" y="490806"/>
                      </a:lnTo>
                      <a:lnTo>
                        <a:pt x="274079" y="488391"/>
                      </a:lnTo>
                      <a:lnTo>
                        <a:pt x="271664" y="484165"/>
                      </a:lnTo>
                      <a:lnTo>
                        <a:pt x="265627" y="482958"/>
                      </a:lnTo>
                      <a:lnTo>
                        <a:pt x="262005" y="483561"/>
                      </a:lnTo>
                      <a:lnTo>
                        <a:pt x="260193" y="472695"/>
                      </a:lnTo>
                      <a:lnTo>
                        <a:pt x="251742" y="470884"/>
                      </a:lnTo>
                      <a:lnTo>
                        <a:pt x="252345" y="477525"/>
                      </a:lnTo>
                      <a:lnTo>
                        <a:pt x="244497" y="469073"/>
                      </a:lnTo>
                      <a:lnTo>
                        <a:pt x="242082" y="470884"/>
                      </a:lnTo>
                      <a:lnTo>
                        <a:pt x="231820" y="469677"/>
                      </a:lnTo>
                      <a:lnTo>
                        <a:pt x="226990" y="471488"/>
                      </a:lnTo>
                      <a:lnTo>
                        <a:pt x="223368" y="478732"/>
                      </a:lnTo>
                      <a:lnTo>
                        <a:pt x="215520" y="476921"/>
                      </a:lnTo>
                      <a:lnTo>
                        <a:pt x="215520" y="471488"/>
                      </a:lnTo>
                      <a:lnTo>
                        <a:pt x="209483" y="468469"/>
                      </a:lnTo>
                      <a:lnTo>
                        <a:pt x="204050" y="469073"/>
                      </a:lnTo>
                      <a:lnTo>
                        <a:pt x="202239" y="472091"/>
                      </a:lnTo>
                      <a:lnTo>
                        <a:pt x="191976" y="476921"/>
                      </a:lnTo>
                      <a:lnTo>
                        <a:pt x="192580" y="472091"/>
                      </a:lnTo>
                      <a:lnTo>
                        <a:pt x="186543" y="469073"/>
                      </a:lnTo>
                      <a:lnTo>
                        <a:pt x="182317" y="467262"/>
                      </a:lnTo>
                      <a:lnTo>
                        <a:pt x="180506" y="471488"/>
                      </a:lnTo>
                      <a:lnTo>
                        <a:pt x="176883" y="473902"/>
                      </a:lnTo>
                      <a:lnTo>
                        <a:pt x="170846" y="480543"/>
                      </a:lnTo>
                      <a:lnTo>
                        <a:pt x="169639" y="478732"/>
                      </a:lnTo>
                      <a:lnTo>
                        <a:pt x="172657" y="473299"/>
                      </a:lnTo>
                      <a:lnTo>
                        <a:pt x="172657" y="467262"/>
                      </a:lnTo>
                      <a:lnTo>
                        <a:pt x="167224" y="458810"/>
                      </a:lnTo>
                      <a:lnTo>
                        <a:pt x="161187" y="453980"/>
                      </a:lnTo>
                      <a:lnTo>
                        <a:pt x="156961" y="457603"/>
                      </a:lnTo>
                      <a:lnTo>
                        <a:pt x="150924" y="460017"/>
                      </a:lnTo>
                      <a:lnTo>
                        <a:pt x="144284" y="454584"/>
                      </a:lnTo>
                      <a:lnTo>
                        <a:pt x="138247" y="455188"/>
                      </a:lnTo>
                      <a:lnTo>
                        <a:pt x="131002" y="460621"/>
                      </a:lnTo>
                      <a:lnTo>
                        <a:pt x="129795" y="463640"/>
                      </a:lnTo>
                      <a:lnTo>
                        <a:pt x="121947" y="466054"/>
                      </a:lnTo>
                      <a:lnTo>
                        <a:pt x="106854" y="468469"/>
                      </a:lnTo>
                      <a:lnTo>
                        <a:pt x="102629" y="467865"/>
                      </a:lnTo>
                      <a:lnTo>
                        <a:pt x="86329" y="467262"/>
                      </a:lnTo>
                      <a:lnTo>
                        <a:pt x="83310" y="470884"/>
                      </a:lnTo>
                      <a:lnTo>
                        <a:pt x="82707" y="471488"/>
                      </a:lnTo>
                      <a:lnTo>
                        <a:pt x="81499" y="473902"/>
                      </a:lnTo>
                      <a:lnTo>
                        <a:pt x="79084" y="475110"/>
                      </a:lnTo>
                      <a:lnTo>
                        <a:pt x="79084" y="476921"/>
                      </a:lnTo>
                      <a:lnTo>
                        <a:pt x="77877" y="476317"/>
                      </a:lnTo>
                      <a:lnTo>
                        <a:pt x="75462" y="476921"/>
                      </a:lnTo>
                      <a:lnTo>
                        <a:pt x="74859" y="478128"/>
                      </a:lnTo>
                      <a:lnTo>
                        <a:pt x="73651" y="481147"/>
                      </a:lnTo>
                      <a:lnTo>
                        <a:pt x="68218" y="481750"/>
                      </a:lnTo>
                      <a:lnTo>
                        <a:pt x="65803" y="483561"/>
                      </a:lnTo>
                      <a:lnTo>
                        <a:pt x="65803" y="487184"/>
                      </a:lnTo>
                      <a:lnTo>
                        <a:pt x="66407" y="487184"/>
                      </a:lnTo>
                      <a:lnTo>
                        <a:pt x="67010" y="488391"/>
                      </a:lnTo>
                      <a:lnTo>
                        <a:pt x="65199" y="492013"/>
                      </a:lnTo>
                      <a:lnTo>
                        <a:pt x="62181" y="493221"/>
                      </a:lnTo>
                      <a:lnTo>
                        <a:pt x="62785" y="493824"/>
                      </a:lnTo>
                      <a:lnTo>
                        <a:pt x="56144" y="497447"/>
                      </a:lnTo>
                      <a:lnTo>
                        <a:pt x="52522" y="498050"/>
                      </a:lnTo>
                      <a:lnTo>
                        <a:pt x="51314" y="499258"/>
                      </a:lnTo>
                      <a:lnTo>
                        <a:pt x="51314" y="499861"/>
                      </a:lnTo>
                      <a:lnTo>
                        <a:pt x="52522" y="501069"/>
                      </a:lnTo>
                      <a:lnTo>
                        <a:pt x="53125" y="507106"/>
                      </a:lnTo>
                      <a:lnTo>
                        <a:pt x="53729" y="509521"/>
                      </a:lnTo>
                      <a:lnTo>
                        <a:pt x="45277" y="517369"/>
                      </a:lnTo>
                      <a:lnTo>
                        <a:pt x="41655" y="516161"/>
                      </a:lnTo>
                      <a:lnTo>
                        <a:pt x="41051" y="520387"/>
                      </a:lnTo>
                      <a:lnTo>
                        <a:pt x="44674" y="524613"/>
                      </a:lnTo>
                      <a:lnTo>
                        <a:pt x="45881" y="525820"/>
                      </a:lnTo>
                      <a:lnTo>
                        <a:pt x="48899" y="528839"/>
                      </a:lnTo>
                      <a:lnTo>
                        <a:pt x="50711" y="531254"/>
                      </a:lnTo>
                      <a:lnTo>
                        <a:pt x="51918" y="536083"/>
                      </a:lnTo>
                      <a:lnTo>
                        <a:pt x="58559" y="540913"/>
                      </a:lnTo>
                      <a:lnTo>
                        <a:pt x="62785" y="544535"/>
                      </a:lnTo>
                      <a:lnTo>
                        <a:pt x="63388" y="543931"/>
                      </a:lnTo>
                      <a:lnTo>
                        <a:pt x="66407" y="547553"/>
                      </a:lnTo>
                      <a:lnTo>
                        <a:pt x="63992" y="551779"/>
                      </a:lnTo>
                      <a:lnTo>
                        <a:pt x="61577" y="552383"/>
                      </a:lnTo>
                      <a:lnTo>
                        <a:pt x="58559" y="551779"/>
                      </a:lnTo>
                      <a:lnTo>
                        <a:pt x="57351" y="555401"/>
                      </a:lnTo>
                      <a:lnTo>
                        <a:pt x="45881" y="557816"/>
                      </a:lnTo>
                      <a:lnTo>
                        <a:pt x="39240" y="559024"/>
                      </a:lnTo>
                      <a:lnTo>
                        <a:pt x="37429" y="560835"/>
                      </a:lnTo>
                      <a:lnTo>
                        <a:pt x="36222" y="562042"/>
                      </a:lnTo>
                      <a:lnTo>
                        <a:pt x="39240" y="547553"/>
                      </a:lnTo>
                      <a:lnTo>
                        <a:pt x="39240" y="542724"/>
                      </a:lnTo>
                      <a:lnTo>
                        <a:pt x="36825" y="536083"/>
                      </a:lnTo>
                      <a:lnTo>
                        <a:pt x="32600" y="530046"/>
                      </a:lnTo>
                      <a:lnTo>
                        <a:pt x="32600" y="524613"/>
                      </a:lnTo>
                      <a:lnTo>
                        <a:pt x="28977" y="524009"/>
                      </a:lnTo>
                      <a:lnTo>
                        <a:pt x="27770" y="518576"/>
                      </a:lnTo>
                      <a:lnTo>
                        <a:pt x="30788" y="513143"/>
                      </a:lnTo>
                      <a:lnTo>
                        <a:pt x="27166" y="501672"/>
                      </a:lnTo>
                      <a:lnTo>
                        <a:pt x="24751" y="499861"/>
                      </a:lnTo>
                      <a:lnTo>
                        <a:pt x="27770" y="495032"/>
                      </a:lnTo>
                      <a:lnTo>
                        <a:pt x="27770" y="491410"/>
                      </a:lnTo>
                      <a:lnTo>
                        <a:pt x="31996" y="482958"/>
                      </a:lnTo>
                      <a:lnTo>
                        <a:pt x="38033" y="476317"/>
                      </a:lnTo>
                      <a:lnTo>
                        <a:pt x="39240" y="470884"/>
                      </a:lnTo>
                      <a:lnTo>
                        <a:pt x="27770" y="471488"/>
                      </a:lnTo>
                      <a:lnTo>
                        <a:pt x="30185" y="466054"/>
                      </a:lnTo>
                      <a:lnTo>
                        <a:pt x="36825" y="464243"/>
                      </a:lnTo>
                      <a:lnTo>
                        <a:pt x="32600" y="460621"/>
                      </a:lnTo>
                      <a:lnTo>
                        <a:pt x="31392" y="456395"/>
                      </a:lnTo>
                      <a:lnTo>
                        <a:pt x="26563" y="455791"/>
                      </a:lnTo>
                      <a:lnTo>
                        <a:pt x="24751" y="448547"/>
                      </a:lnTo>
                      <a:lnTo>
                        <a:pt x="19922" y="449754"/>
                      </a:lnTo>
                      <a:lnTo>
                        <a:pt x="19922" y="444925"/>
                      </a:lnTo>
                      <a:lnTo>
                        <a:pt x="22337" y="444321"/>
                      </a:lnTo>
                      <a:lnTo>
                        <a:pt x="18714" y="437680"/>
                      </a:lnTo>
                      <a:lnTo>
                        <a:pt x="19318" y="434662"/>
                      </a:lnTo>
                      <a:lnTo>
                        <a:pt x="13281" y="432247"/>
                      </a:lnTo>
                      <a:lnTo>
                        <a:pt x="15696" y="429229"/>
                      </a:lnTo>
                      <a:lnTo>
                        <a:pt x="10866" y="421381"/>
                      </a:lnTo>
                      <a:lnTo>
                        <a:pt x="5433" y="421984"/>
                      </a:lnTo>
                      <a:lnTo>
                        <a:pt x="4830" y="419570"/>
                      </a:lnTo>
                      <a:lnTo>
                        <a:pt x="7848" y="418362"/>
                      </a:lnTo>
                      <a:lnTo>
                        <a:pt x="7848" y="417759"/>
                      </a:lnTo>
                      <a:lnTo>
                        <a:pt x="4226" y="417155"/>
                      </a:lnTo>
                      <a:lnTo>
                        <a:pt x="2415" y="417759"/>
                      </a:lnTo>
                      <a:lnTo>
                        <a:pt x="1207" y="417155"/>
                      </a:lnTo>
                      <a:lnTo>
                        <a:pt x="0" y="414136"/>
                      </a:lnTo>
                      <a:lnTo>
                        <a:pt x="3018" y="414740"/>
                      </a:lnTo>
                      <a:lnTo>
                        <a:pt x="4226" y="414136"/>
                      </a:lnTo>
                      <a:lnTo>
                        <a:pt x="3622" y="410514"/>
                      </a:lnTo>
                      <a:lnTo>
                        <a:pt x="6037" y="410514"/>
                      </a:lnTo>
                      <a:lnTo>
                        <a:pt x="6037" y="408099"/>
                      </a:lnTo>
                      <a:lnTo>
                        <a:pt x="4226" y="408703"/>
                      </a:lnTo>
                      <a:lnTo>
                        <a:pt x="604" y="408099"/>
                      </a:lnTo>
                      <a:lnTo>
                        <a:pt x="604" y="407496"/>
                      </a:lnTo>
                      <a:lnTo>
                        <a:pt x="1811" y="408099"/>
                      </a:lnTo>
                      <a:lnTo>
                        <a:pt x="3018" y="405685"/>
                      </a:lnTo>
                      <a:lnTo>
                        <a:pt x="4830" y="404477"/>
                      </a:lnTo>
                      <a:lnTo>
                        <a:pt x="6641" y="403270"/>
                      </a:lnTo>
                      <a:lnTo>
                        <a:pt x="4226" y="401459"/>
                      </a:lnTo>
                      <a:lnTo>
                        <a:pt x="4226" y="399044"/>
                      </a:lnTo>
                      <a:lnTo>
                        <a:pt x="3018" y="398440"/>
                      </a:lnTo>
                      <a:lnTo>
                        <a:pt x="1207" y="397837"/>
                      </a:lnTo>
                      <a:lnTo>
                        <a:pt x="3018" y="397233"/>
                      </a:lnTo>
                      <a:lnTo>
                        <a:pt x="4226" y="398440"/>
                      </a:lnTo>
                      <a:lnTo>
                        <a:pt x="7244" y="397837"/>
                      </a:lnTo>
                      <a:lnTo>
                        <a:pt x="7848" y="396629"/>
                      </a:lnTo>
                      <a:lnTo>
                        <a:pt x="5433" y="391800"/>
                      </a:lnTo>
                      <a:lnTo>
                        <a:pt x="4226" y="388177"/>
                      </a:lnTo>
                      <a:lnTo>
                        <a:pt x="5433" y="386970"/>
                      </a:lnTo>
                      <a:lnTo>
                        <a:pt x="5433" y="389988"/>
                      </a:lnTo>
                      <a:lnTo>
                        <a:pt x="10263" y="391196"/>
                      </a:lnTo>
                      <a:lnTo>
                        <a:pt x="12677" y="391800"/>
                      </a:lnTo>
                      <a:lnTo>
                        <a:pt x="13281" y="390592"/>
                      </a:lnTo>
                      <a:lnTo>
                        <a:pt x="11470" y="383951"/>
                      </a:lnTo>
                      <a:lnTo>
                        <a:pt x="13885" y="385159"/>
                      </a:lnTo>
                      <a:lnTo>
                        <a:pt x="17507" y="381537"/>
                      </a:lnTo>
                      <a:lnTo>
                        <a:pt x="17507" y="376707"/>
                      </a:lnTo>
                      <a:lnTo>
                        <a:pt x="27166" y="373689"/>
                      </a:lnTo>
                      <a:lnTo>
                        <a:pt x="33203" y="369463"/>
                      </a:lnTo>
                      <a:lnTo>
                        <a:pt x="30788" y="363426"/>
                      </a:lnTo>
                      <a:lnTo>
                        <a:pt x="32600" y="357993"/>
                      </a:lnTo>
                      <a:lnTo>
                        <a:pt x="35618" y="354974"/>
                      </a:lnTo>
                      <a:lnTo>
                        <a:pt x="36222" y="351352"/>
                      </a:lnTo>
                      <a:lnTo>
                        <a:pt x="32600" y="345919"/>
                      </a:lnTo>
                      <a:lnTo>
                        <a:pt x="32600" y="338070"/>
                      </a:lnTo>
                      <a:lnTo>
                        <a:pt x="34411" y="335656"/>
                      </a:lnTo>
                      <a:lnTo>
                        <a:pt x="35014" y="326600"/>
                      </a:lnTo>
                      <a:lnTo>
                        <a:pt x="37429" y="323582"/>
                      </a:lnTo>
                      <a:lnTo>
                        <a:pt x="37429" y="316941"/>
                      </a:lnTo>
                      <a:lnTo>
                        <a:pt x="34411" y="316337"/>
                      </a:lnTo>
                      <a:lnTo>
                        <a:pt x="33203" y="312112"/>
                      </a:lnTo>
                      <a:lnTo>
                        <a:pt x="36825" y="309697"/>
                      </a:lnTo>
                      <a:lnTo>
                        <a:pt x="35618" y="306678"/>
                      </a:lnTo>
                      <a:lnTo>
                        <a:pt x="36222" y="300641"/>
                      </a:lnTo>
                      <a:lnTo>
                        <a:pt x="33203" y="295812"/>
                      </a:lnTo>
                      <a:lnTo>
                        <a:pt x="34411" y="287964"/>
                      </a:lnTo>
                      <a:lnTo>
                        <a:pt x="39844" y="290982"/>
                      </a:lnTo>
                      <a:lnTo>
                        <a:pt x="53729" y="291586"/>
                      </a:lnTo>
                      <a:lnTo>
                        <a:pt x="63388" y="288567"/>
                      </a:lnTo>
                      <a:lnTo>
                        <a:pt x="74255" y="289775"/>
                      </a:lnTo>
                      <a:lnTo>
                        <a:pt x="89347" y="285549"/>
                      </a:lnTo>
                      <a:lnTo>
                        <a:pt x="101421" y="280719"/>
                      </a:lnTo>
                      <a:lnTo>
                        <a:pt x="100214" y="272871"/>
                      </a:lnTo>
                      <a:lnTo>
                        <a:pt x="102629" y="266231"/>
                      </a:lnTo>
                      <a:lnTo>
                        <a:pt x="109269" y="260194"/>
                      </a:lnTo>
                      <a:lnTo>
                        <a:pt x="116513" y="260797"/>
                      </a:lnTo>
                      <a:lnTo>
                        <a:pt x="122550" y="262608"/>
                      </a:lnTo>
                      <a:lnTo>
                        <a:pt x="126776" y="262005"/>
                      </a:lnTo>
                      <a:lnTo>
                        <a:pt x="134021" y="255968"/>
                      </a:lnTo>
                      <a:lnTo>
                        <a:pt x="135832" y="251138"/>
                      </a:lnTo>
                      <a:lnTo>
                        <a:pt x="147302" y="249931"/>
                      </a:lnTo>
                      <a:lnTo>
                        <a:pt x="149717" y="251138"/>
                      </a:lnTo>
                      <a:lnTo>
                        <a:pt x="156358" y="257175"/>
                      </a:lnTo>
                      <a:lnTo>
                        <a:pt x="178694" y="273475"/>
                      </a:lnTo>
                      <a:lnTo>
                        <a:pt x="186543" y="274079"/>
                      </a:lnTo>
                      <a:lnTo>
                        <a:pt x="192580" y="275286"/>
                      </a:lnTo>
                      <a:lnTo>
                        <a:pt x="196805" y="279512"/>
                      </a:lnTo>
                      <a:lnTo>
                        <a:pt x="202842" y="278304"/>
                      </a:lnTo>
                      <a:lnTo>
                        <a:pt x="207068" y="280719"/>
                      </a:lnTo>
                      <a:lnTo>
                        <a:pt x="214313" y="280719"/>
                      </a:lnTo>
                      <a:lnTo>
                        <a:pt x="215520" y="279512"/>
                      </a:lnTo>
                      <a:lnTo>
                        <a:pt x="228197" y="279512"/>
                      </a:lnTo>
                      <a:lnTo>
                        <a:pt x="242082" y="278304"/>
                      </a:lnTo>
                      <a:lnTo>
                        <a:pt x="247516" y="278304"/>
                      </a:lnTo>
                      <a:lnTo>
                        <a:pt x="268042" y="276493"/>
                      </a:lnTo>
                      <a:lnTo>
                        <a:pt x="280116" y="278304"/>
                      </a:lnTo>
                      <a:lnTo>
                        <a:pt x="287360" y="269249"/>
                      </a:lnTo>
                      <a:lnTo>
                        <a:pt x="295812" y="271664"/>
                      </a:lnTo>
                      <a:lnTo>
                        <a:pt x="306075" y="271060"/>
                      </a:lnTo>
                      <a:lnTo>
                        <a:pt x="317545" y="271664"/>
                      </a:lnTo>
                      <a:lnTo>
                        <a:pt x="322978" y="272267"/>
                      </a:lnTo>
                      <a:lnTo>
                        <a:pt x="329619" y="277097"/>
                      </a:lnTo>
                      <a:lnTo>
                        <a:pt x="338070" y="278304"/>
                      </a:lnTo>
                      <a:lnTo>
                        <a:pt x="347126" y="273475"/>
                      </a:lnTo>
                      <a:lnTo>
                        <a:pt x="351955" y="265627"/>
                      </a:lnTo>
                      <a:lnTo>
                        <a:pt x="353163" y="265627"/>
                      </a:lnTo>
                      <a:lnTo>
                        <a:pt x="367652" y="275286"/>
                      </a:lnTo>
                      <a:lnTo>
                        <a:pt x="370670" y="275890"/>
                      </a:lnTo>
                      <a:lnTo>
                        <a:pt x="390592" y="272267"/>
                      </a:lnTo>
                      <a:lnTo>
                        <a:pt x="397233" y="268645"/>
                      </a:lnTo>
                      <a:lnTo>
                        <a:pt x="408703" y="272267"/>
                      </a:lnTo>
                      <a:lnTo>
                        <a:pt x="412929" y="271060"/>
                      </a:lnTo>
                      <a:lnTo>
                        <a:pt x="418966" y="270456"/>
                      </a:lnTo>
                      <a:lnTo>
                        <a:pt x="434058" y="261401"/>
                      </a:lnTo>
                      <a:lnTo>
                        <a:pt x="440095" y="255968"/>
                      </a:lnTo>
                      <a:lnTo>
                        <a:pt x="444925" y="247516"/>
                      </a:lnTo>
                      <a:lnTo>
                        <a:pt x="453980" y="246912"/>
                      </a:lnTo>
                      <a:lnTo>
                        <a:pt x="465450" y="253553"/>
                      </a:lnTo>
                      <a:lnTo>
                        <a:pt x="472091" y="260194"/>
                      </a:lnTo>
                      <a:lnTo>
                        <a:pt x="478732" y="262005"/>
                      </a:lnTo>
                      <a:lnTo>
                        <a:pt x="486580" y="262608"/>
                      </a:lnTo>
                      <a:lnTo>
                        <a:pt x="495032" y="257779"/>
                      </a:lnTo>
                      <a:lnTo>
                        <a:pt x="497447" y="251742"/>
                      </a:lnTo>
                      <a:lnTo>
                        <a:pt x="499861" y="252949"/>
                      </a:lnTo>
                      <a:lnTo>
                        <a:pt x="514954" y="252346"/>
                      </a:lnTo>
                      <a:lnTo>
                        <a:pt x="527632" y="247516"/>
                      </a:lnTo>
                      <a:lnTo>
                        <a:pt x="531857" y="249931"/>
                      </a:lnTo>
                      <a:lnTo>
                        <a:pt x="537894" y="248120"/>
                      </a:lnTo>
                      <a:lnTo>
                        <a:pt x="537291" y="245101"/>
                      </a:lnTo>
                      <a:lnTo>
                        <a:pt x="547553" y="242083"/>
                      </a:lnTo>
                      <a:lnTo>
                        <a:pt x="557212" y="244497"/>
                      </a:lnTo>
                      <a:lnTo>
                        <a:pt x="560231" y="240272"/>
                      </a:lnTo>
                      <a:lnTo>
                        <a:pt x="562646" y="240272"/>
                      </a:lnTo>
                      <a:lnTo>
                        <a:pt x="566872" y="236649"/>
                      </a:lnTo>
                      <a:lnTo>
                        <a:pt x="578946" y="234838"/>
                      </a:lnTo>
                      <a:lnTo>
                        <a:pt x="589208" y="236649"/>
                      </a:lnTo>
                      <a:lnTo>
                        <a:pt x="595849" y="236046"/>
                      </a:lnTo>
                      <a:lnTo>
                        <a:pt x="607923" y="230009"/>
                      </a:lnTo>
                      <a:lnTo>
                        <a:pt x="607923" y="225179"/>
                      </a:lnTo>
                      <a:lnTo>
                        <a:pt x="610942" y="218538"/>
                      </a:lnTo>
                      <a:lnTo>
                        <a:pt x="622412" y="221557"/>
                      </a:lnTo>
                      <a:lnTo>
                        <a:pt x="633882" y="219746"/>
                      </a:lnTo>
                      <a:lnTo>
                        <a:pt x="647767" y="223972"/>
                      </a:lnTo>
                      <a:lnTo>
                        <a:pt x="655011" y="225783"/>
                      </a:lnTo>
                      <a:lnTo>
                        <a:pt x="664067" y="231216"/>
                      </a:lnTo>
                      <a:lnTo>
                        <a:pt x="664067" y="235442"/>
                      </a:lnTo>
                      <a:lnTo>
                        <a:pt x="680970" y="243290"/>
                      </a:lnTo>
                      <a:lnTo>
                        <a:pt x="685196" y="246912"/>
                      </a:lnTo>
                      <a:lnTo>
                        <a:pt x="695459" y="245101"/>
                      </a:lnTo>
                      <a:lnTo>
                        <a:pt x="700289" y="246912"/>
                      </a:lnTo>
                      <a:lnTo>
                        <a:pt x="703911" y="244497"/>
                      </a:lnTo>
                      <a:lnTo>
                        <a:pt x="719003" y="241479"/>
                      </a:lnTo>
                      <a:lnTo>
                        <a:pt x="726852" y="239064"/>
                      </a:lnTo>
                      <a:lnTo>
                        <a:pt x="736511" y="237857"/>
                      </a:lnTo>
                      <a:lnTo>
                        <a:pt x="752811" y="236046"/>
                      </a:lnTo>
                      <a:lnTo>
                        <a:pt x="773336" y="237857"/>
                      </a:lnTo>
                      <a:lnTo>
                        <a:pt x="777562" y="241479"/>
                      </a:lnTo>
                      <a:lnTo>
                        <a:pt x="782391" y="241479"/>
                      </a:lnTo>
                      <a:lnTo>
                        <a:pt x="789636" y="239064"/>
                      </a:lnTo>
                      <a:lnTo>
                        <a:pt x="801710" y="238460"/>
                      </a:lnTo>
                      <a:lnTo>
                        <a:pt x="810162" y="235442"/>
                      </a:lnTo>
                      <a:lnTo>
                        <a:pt x="820425" y="234235"/>
                      </a:lnTo>
                      <a:lnTo>
                        <a:pt x="829480" y="222764"/>
                      </a:lnTo>
                      <a:lnTo>
                        <a:pt x="839743" y="217331"/>
                      </a:lnTo>
                      <a:lnTo>
                        <a:pt x="848195" y="211898"/>
                      </a:lnTo>
                      <a:lnTo>
                        <a:pt x="853628" y="209483"/>
                      </a:lnTo>
                      <a:lnTo>
                        <a:pt x="851817" y="204654"/>
                      </a:lnTo>
                      <a:lnTo>
                        <a:pt x="851213" y="199824"/>
                      </a:lnTo>
                      <a:lnTo>
                        <a:pt x="847591" y="196202"/>
                      </a:lnTo>
                      <a:lnTo>
                        <a:pt x="847591" y="192580"/>
                      </a:lnTo>
                      <a:lnTo>
                        <a:pt x="851817" y="188354"/>
                      </a:lnTo>
                      <a:lnTo>
                        <a:pt x="854232" y="187146"/>
                      </a:lnTo>
                      <a:lnTo>
                        <a:pt x="860269" y="181109"/>
                      </a:lnTo>
                      <a:lnTo>
                        <a:pt x="866909" y="171450"/>
                      </a:lnTo>
                      <a:lnTo>
                        <a:pt x="874757" y="164206"/>
                      </a:lnTo>
                      <a:lnTo>
                        <a:pt x="878379" y="159376"/>
                      </a:lnTo>
                      <a:lnTo>
                        <a:pt x="887435" y="149717"/>
                      </a:lnTo>
                      <a:lnTo>
                        <a:pt x="900112" y="143076"/>
                      </a:lnTo>
                      <a:lnTo>
                        <a:pt x="904942" y="133417"/>
                      </a:lnTo>
                      <a:lnTo>
                        <a:pt x="920638" y="118928"/>
                      </a:lnTo>
                      <a:lnTo>
                        <a:pt x="920035" y="116514"/>
                      </a:lnTo>
                      <a:lnTo>
                        <a:pt x="927883" y="112288"/>
                      </a:lnTo>
                      <a:lnTo>
                        <a:pt x="940560" y="106251"/>
                      </a:lnTo>
                      <a:lnTo>
                        <a:pt x="940560" y="97799"/>
                      </a:lnTo>
                      <a:lnTo>
                        <a:pt x="933920" y="93573"/>
                      </a:lnTo>
                      <a:lnTo>
                        <a:pt x="933316" y="88140"/>
                      </a:lnTo>
                      <a:lnTo>
                        <a:pt x="931505" y="86933"/>
                      </a:lnTo>
                      <a:lnTo>
                        <a:pt x="935731" y="80896"/>
                      </a:lnTo>
                      <a:lnTo>
                        <a:pt x="941768" y="79688"/>
                      </a:lnTo>
                      <a:lnTo>
                        <a:pt x="939957" y="85121"/>
                      </a:lnTo>
                      <a:lnTo>
                        <a:pt x="946597" y="89951"/>
                      </a:lnTo>
                      <a:lnTo>
                        <a:pt x="949012" y="86933"/>
                      </a:lnTo>
                      <a:lnTo>
                        <a:pt x="952031" y="90555"/>
                      </a:lnTo>
                      <a:lnTo>
                        <a:pt x="962897" y="93573"/>
                      </a:lnTo>
                      <a:lnTo>
                        <a:pt x="967123" y="90555"/>
                      </a:lnTo>
                      <a:lnTo>
                        <a:pt x="970745" y="91158"/>
                      </a:lnTo>
                      <a:lnTo>
                        <a:pt x="974367" y="88140"/>
                      </a:lnTo>
                      <a:lnTo>
                        <a:pt x="981008" y="94781"/>
                      </a:lnTo>
                      <a:lnTo>
                        <a:pt x="982215" y="97799"/>
                      </a:lnTo>
                      <a:lnTo>
                        <a:pt x="986441" y="93573"/>
                      </a:lnTo>
                      <a:lnTo>
                        <a:pt x="990667" y="93573"/>
                      </a:lnTo>
                      <a:lnTo>
                        <a:pt x="996100" y="89347"/>
                      </a:lnTo>
                      <a:lnTo>
                        <a:pt x="1005759" y="86329"/>
                      </a:lnTo>
                      <a:lnTo>
                        <a:pt x="1009382" y="82707"/>
                      </a:lnTo>
                      <a:lnTo>
                        <a:pt x="1019041" y="80896"/>
                      </a:lnTo>
                      <a:lnTo>
                        <a:pt x="1020852" y="78481"/>
                      </a:lnTo>
                      <a:lnTo>
                        <a:pt x="1031115" y="72444"/>
                      </a:lnTo>
                      <a:lnTo>
                        <a:pt x="1035944" y="71840"/>
                      </a:lnTo>
                      <a:lnTo>
                        <a:pt x="1040774" y="73651"/>
                      </a:lnTo>
                      <a:lnTo>
                        <a:pt x="1045604" y="69425"/>
                      </a:lnTo>
                      <a:lnTo>
                        <a:pt x="1050433" y="67614"/>
                      </a:lnTo>
                      <a:lnTo>
                        <a:pt x="1051641" y="65199"/>
                      </a:lnTo>
                      <a:lnTo>
                        <a:pt x="1056470" y="65803"/>
                      </a:lnTo>
                      <a:lnTo>
                        <a:pt x="1062507" y="62181"/>
                      </a:lnTo>
                      <a:lnTo>
                        <a:pt x="1064922" y="55540"/>
                      </a:lnTo>
                      <a:lnTo>
                        <a:pt x="1069752" y="54936"/>
                      </a:lnTo>
                      <a:lnTo>
                        <a:pt x="1079411" y="51918"/>
                      </a:lnTo>
                      <a:lnTo>
                        <a:pt x="1090881" y="48296"/>
                      </a:lnTo>
                      <a:lnTo>
                        <a:pt x="1101747" y="47088"/>
                      </a:lnTo>
                      <a:lnTo>
                        <a:pt x="1104162" y="44070"/>
                      </a:lnTo>
                      <a:lnTo>
                        <a:pt x="1142195" y="30185"/>
                      </a:lnTo>
                      <a:lnTo>
                        <a:pt x="1159099" y="24752"/>
                      </a:lnTo>
                      <a:lnTo>
                        <a:pt x="1172984" y="31996"/>
                      </a:lnTo>
                      <a:lnTo>
                        <a:pt x="1200150" y="22337"/>
                      </a:lnTo>
                      <a:lnTo>
                        <a:pt x="1205583" y="15092"/>
                      </a:lnTo>
                      <a:lnTo>
                        <a:pt x="1209809" y="13281"/>
                      </a:lnTo>
                      <a:lnTo>
                        <a:pt x="1211016" y="8452"/>
                      </a:lnTo>
                      <a:lnTo>
                        <a:pt x="1214639" y="8452"/>
                      </a:lnTo>
                      <a:lnTo>
                        <a:pt x="1218865" y="4830"/>
                      </a:lnTo>
                      <a:lnTo>
                        <a:pt x="1263538" y="0"/>
                      </a:lnTo>
                      <a:lnTo>
                        <a:pt x="1294931" y="2415"/>
                      </a:lnTo>
                      <a:lnTo>
                        <a:pt x="1290101" y="8452"/>
                      </a:lnTo>
                      <a:lnTo>
                        <a:pt x="1290705" y="12074"/>
                      </a:lnTo>
                      <a:lnTo>
                        <a:pt x="1283460" y="21733"/>
                      </a:lnTo>
                      <a:lnTo>
                        <a:pt x="1274405" y="31996"/>
                      </a:lnTo>
                      <a:lnTo>
                        <a:pt x="1268972" y="33807"/>
                      </a:lnTo>
                      <a:lnTo>
                        <a:pt x="1263538" y="39240"/>
                      </a:lnTo>
                      <a:lnTo>
                        <a:pt x="1258709" y="47088"/>
                      </a:lnTo>
                      <a:lnTo>
                        <a:pt x="1254483" y="51314"/>
                      </a:lnTo>
                      <a:lnTo>
                        <a:pt x="1255690" y="54936"/>
                      </a:lnTo>
                      <a:lnTo>
                        <a:pt x="1249653" y="57955"/>
                      </a:lnTo>
                      <a:lnTo>
                        <a:pt x="1252672" y="60370"/>
                      </a:lnTo>
                      <a:lnTo>
                        <a:pt x="1252672" y="65199"/>
                      </a:lnTo>
                      <a:lnTo>
                        <a:pt x="1256898" y="66407"/>
                      </a:lnTo>
                      <a:lnTo>
                        <a:pt x="1254483" y="70029"/>
                      </a:lnTo>
                      <a:lnTo>
                        <a:pt x="1254483" y="74255"/>
                      </a:lnTo>
                      <a:lnTo>
                        <a:pt x="1258709" y="76670"/>
                      </a:lnTo>
                      <a:lnTo>
                        <a:pt x="1255690" y="80896"/>
                      </a:lnTo>
                      <a:lnTo>
                        <a:pt x="1258105" y="86329"/>
                      </a:lnTo>
                      <a:lnTo>
                        <a:pt x="1263538" y="87536"/>
                      </a:lnTo>
                      <a:lnTo>
                        <a:pt x="1262935" y="92366"/>
                      </a:lnTo>
                      <a:lnTo>
                        <a:pt x="1271386" y="99006"/>
                      </a:lnTo>
                      <a:lnTo>
                        <a:pt x="1275009" y="99006"/>
                      </a:lnTo>
                      <a:lnTo>
                        <a:pt x="1275009" y="111080"/>
                      </a:lnTo>
                      <a:lnTo>
                        <a:pt x="1274405" y="118325"/>
                      </a:lnTo>
                      <a:lnTo>
                        <a:pt x="1270783" y="120136"/>
                      </a:lnTo>
                      <a:lnTo>
                        <a:pt x="1268368" y="127380"/>
                      </a:lnTo>
                      <a:lnTo>
                        <a:pt x="1271990" y="127984"/>
                      </a:lnTo>
                      <a:lnTo>
                        <a:pt x="1275612" y="124362"/>
                      </a:lnTo>
                      <a:lnTo>
                        <a:pt x="1279235" y="132210"/>
                      </a:lnTo>
                      <a:lnTo>
                        <a:pt x="1281649" y="125569"/>
                      </a:lnTo>
                      <a:lnTo>
                        <a:pt x="1285875" y="123758"/>
                      </a:lnTo>
                      <a:lnTo>
                        <a:pt x="1294327" y="126173"/>
                      </a:lnTo>
                      <a:lnTo>
                        <a:pt x="1299760" y="134021"/>
                      </a:lnTo>
                      <a:lnTo>
                        <a:pt x="1302779" y="140662"/>
                      </a:lnTo>
                      <a:lnTo>
                        <a:pt x="1299157" y="143076"/>
                      </a:lnTo>
                      <a:lnTo>
                        <a:pt x="1298553" y="146095"/>
                      </a:lnTo>
                      <a:lnTo>
                        <a:pt x="1293723" y="149113"/>
                      </a:lnTo>
                      <a:lnTo>
                        <a:pt x="1291912" y="153943"/>
                      </a:lnTo>
                      <a:lnTo>
                        <a:pt x="1280442" y="159980"/>
                      </a:lnTo>
                      <a:lnTo>
                        <a:pt x="1278631" y="166017"/>
                      </a:lnTo>
                      <a:lnTo>
                        <a:pt x="1273198" y="165413"/>
                      </a:lnTo>
                      <a:lnTo>
                        <a:pt x="1270783" y="159376"/>
                      </a:lnTo>
                      <a:lnTo>
                        <a:pt x="1260520" y="162395"/>
                      </a:lnTo>
                      <a:lnTo>
                        <a:pt x="1255087" y="162998"/>
                      </a:lnTo>
                      <a:lnTo>
                        <a:pt x="1244220" y="165413"/>
                      </a:lnTo>
                      <a:lnTo>
                        <a:pt x="1243013" y="167224"/>
                      </a:lnTo>
                      <a:lnTo>
                        <a:pt x="1234561" y="167828"/>
                      </a:lnTo>
                      <a:lnTo>
                        <a:pt x="1224902" y="172657"/>
                      </a:lnTo>
                      <a:lnTo>
                        <a:pt x="1215242" y="174469"/>
                      </a:lnTo>
                      <a:lnTo>
                        <a:pt x="1212224" y="169035"/>
                      </a:lnTo>
                      <a:lnTo>
                        <a:pt x="1203772" y="164809"/>
                      </a:lnTo>
                      <a:lnTo>
                        <a:pt x="1194113" y="170243"/>
                      </a:lnTo>
                      <a:lnTo>
                        <a:pt x="1188076" y="178694"/>
                      </a:lnTo>
                      <a:lnTo>
                        <a:pt x="1189887" y="183524"/>
                      </a:lnTo>
                      <a:lnTo>
                        <a:pt x="1189887" y="191372"/>
                      </a:lnTo>
                      <a:lnTo>
                        <a:pt x="1188076" y="196202"/>
                      </a:lnTo>
                      <a:lnTo>
                        <a:pt x="1180228" y="197409"/>
                      </a:lnTo>
                      <a:lnTo>
                        <a:pt x="1177210" y="199824"/>
                      </a:lnTo>
                      <a:lnTo>
                        <a:pt x="1169362" y="201031"/>
                      </a:lnTo>
                      <a:lnTo>
                        <a:pt x="1157288" y="208879"/>
                      </a:lnTo>
                      <a:lnTo>
                        <a:pt x="1150647" y="214313"/>
                      </a:lnTo>
                      <a:lnTo>
                        <a:pt x="1150647" y="216124"/>
                      </a:lnTo>
                      <a:lnTo>
                        <a:pt x="1144610" y="220349"/>
                      </a:lnTo>
                      <a:lnTo>
                        <a:pt x="1142799" y="217331"/>
                      </a:lnTo>
                      <a:lnTo>
                        <a:pt x="1137366" y="219746"/>
                      </a:lnTo>
                      <a:lnTo>
                        <a:pt x="1133743" y="217331"/>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85" name="Bihar" descr="{&quot;Key&quot;:&quot;bihar&quot;,&quot;Name&quot;:&quot;Bihar&quot;,&quot;Value&quot;:1.0,&quot;Formula&quot;:&quot;&quot;,&quot;Text&quot;:&quot;&quot;,&quot;OfficeApplication&quot;:1,&quot;HasValue&quot;:true}">
                  <a:extLst>
                    <a:ext uri="{FF2B5EF4-FFF2-40B4-BE49-F238E27FC236}">
                      <a16:creationId xmlns:a16="http://schemas.microsoft.com/office/drawing/2014/main" id="{03FB360E-F4B8-468C-884A-AC3A7B8A15E7}"/>
                    </a:ext>
                  </a:extLst>
                </p:cNvPr>
                <p:cNvSpPr/>
                <p:nvPr/>
              </p:nvSpPr>
              <p:spPr>
                <a:xfrm>
                  <a:off x="6202251" y="2341741"/>
                  <a:ext cx="1020248" cy="736511"/>
                </a:xfrm>
                <a:custGeom>
                  <a:avLst/>
                  <a:gdLst>
                    <a:gd name="connsiteX0" fmla="*/ 987649 w 1020248"/>
                    <a:gd name="connsiteY0" fmla="*/ 228198 h 736510"/>
                    <a:gd name="connsiteX1" fmla="*/ 993082 w 1020248"/>
                    <a:gd name="connsiteY1" fmla="*/ 233631 h 736510"/>
                    <a:gd name="connsiteX2" fmla="*/ 996100 w 1020248"/>
                    <a:gd name="connsiteY2" fmla="*/ 234235 h 736510"/>
                    <a:gd name="connsiteX3" fmla="*/ 999723 w 1020248"/>
                    <a:gd name="connsiteY3" fmla="*/ 231820 h 736510"/>
                    <a:gd name="connsiteX4" fmla="*/ 1000326 w 1020248"/>
                    <a:gd name="connsiteY4" fmla="*/ 228198 h 736510"/>
                    <a:gd name="connsiteX5" fmla="*/ 1003949 w 1020248"/>
                    <a:gd name="connsiteY5" fmla="*/ 226386 h 736510"/>
                    <a:gd name="connsiteX6" fmla="*/ 1008778 w 1020248"/>
                    <a:gd name="connsiteY6" fmla="*/ 228198 h 736510"/>
                    <a:gd name="connsiteX7" fmla="*/ 1013608 w 1020248"/>
                    <a:gd name="connsiteY7" fmla="*/ 224575 h 736510"/>
                    <a:gd name="connsiteX8" fmla="*/ 1014211 w 1020248"/>
                    <a:gd name="connsiteY8" fmla="*/ 229405 h 736510"/>
                    <a:gd name="connsiteX9" fmla="*/ 1005760 w 1020248"/>
                    <a:gd name="connsiteY9" fmla="*/ 234838 h 736510"/>
                    <a:gd name="connsiteX10" fmla="*/ 1002741 w 1020248"/>
                    <a:gd name="connsiteY10" fmla="*/ 237857 h 736510"/>
                    <a:gd name="connsiteX11" fmla="*/ 1005760 w 1020248"/>
                    <a:gd name="connsiteY11" fmla="*/ 243290 h 736510"/>
                    <a:gd name="connsiteX12" fmla="*/ 1011193 w 1020248"/>
                    <a:gd name="connsiteY12" fmla="*/ 244497 h 736510"/>
                    <a:gd name="connsiteX13" fmla="*/ 1013004 w 1020248"/>
                    <a:gd name="connsiteY13" fmla="*/ 248723 h 736510"/>
                    <a:gd name="connsiteX14" fmla="*/ 1016023 w 1020248"/>
                    <a:gd name="connsiteY14" fmla="*/ 248120 h 736510"/>
                    <a:gd name="connsiteX15" fmla="*/ 1017834 w 1020248"/>
                    <a:gd name="connsiteY15" fmla="*/ 251742 h 736510"/>
                    <a:gd name="connsiteX16" fmla="*/ 1018437 w 1020248"/>
                    <a:gd name="connsiteY16" fmla="*/ 255968 h 736510"/>
                    <a:gd name="connsiteX17" fmla="*/ 1013608 w 1020248"/>
                    <a:gd name="connsiteY17" fmla="*/ 260797 h 736510"/>
                    <a:gd name="connsiteX18" fmla="*/ 1013608 w 1020248"/>
                    <a:gd name="connsiteY18" fmla="*/ 263212 h 736510"/>
                    <a:gd name="connsiteX19" fmla="*/ 1016626 w 1020248"/>
                    <a:gd name="connsiteY19" fmla="*/ 265023 h 736510"/>
                    <a:gd name="connsiteX20" fmla="*/ 1018437 w 1020248"/>
                    <a:gd name="connsiteY20" fmla="*/ 265627 h 736510"/>
                    <a:gd name="connsiteX21" fmla="*/ 1021456 w 1020248"/>
                    <a:gd name="connsiteY21" fmla="*/ 264419 h 736510"/>
                    <a:gd name="connsiteX22" fmla="*/ 1023871 w 1020248"/>
                    <a:gd name="connsiteY22" fmla="*/ 268645 h 736510"/>
                    <a:gd name="connsiteX23" fmla="*/ 1025682 w 1020248"/>
                    <a:gd name="connsiteY23" fmla="*/ 269249 h 736510"/>
                    <a:gd name="connsiteX24" fmla="*/ 1025682 w 1020248"/>
                    <a:gd name="connsiteY24" fmla="*/ 271060 h 736510"/>
                    <a:gd name="connsiteX25" fmla="*/ 1023267 w 1020248"/>
                    <a:gd name="connsiteY25" fmla="*/ 271664 h 736510"/>
                    <a:gd name="connsiteX26" fmla="*/ 1022060 w 1020248"/>
                    <a:gd name="connsiteY26" fmla="*/ 275890 h 736510"/>
                    <a:gd name="connsiteX27" fmla="*/ 1021456 w 1020248"/>
                    <a:gd name="connsiteY27" fmla="*/ 275286 h 736510"/>
                    <a:gd name="connsiteX28" fmla="*/ 1020248 w 1020248"/>
                    <a:gd name="connsiteY28" fmla="*/ 274078 h 736510"/>
                    <a:gd name="connsiteX29" fmla="*/ 1013608 w 1020248"/>
                    <a:gd name="connsiteY29" fmla="*/ 280115 h 736510"/>
                    <a:gd name="connsiteX30" fmla="*/ 1012400 w 1020248"/>
                    <a:gd name="connsiteY30" fmla="*/ 283134 h 736510"/>
                    <a:gd name="connsiteX31" fmla="*/ 1011193 w 1020248"/>
                    <a:gd name="connsiteY31" fmla="*/ 285549 h 736510"/>
                    <a:gd name="connsiteX32" fmla="*/ 1009986 w 1020248"/>
                    <a:gd name="connsiteY32" fmla="*/ 286756 h 736510"/>
                    <a:gd name="connsiteX33" fmla="*/ 1008174 w 1020248"/>
                    <a:gd name="connsiteY33" fmla="*/ 287360 h 736510"/>
                    <a:gd name="connsiteX34" fmla="*/ 1003345 w 1020248"/>
                    <a:gd name="connsiteY34" fmla="*/ 288567 h 736510"/>
                    <a:gd name="connsiteX35" fmla="*/ 1002137 w 1020248"/>
                    <a:gd name="connsiteY35" fmla="*/ 291586 h 736510"/>
                    <a:gd name="connsiteX36" fmla="*/ 999723 w 1020248"/>
                    <a:gd name="connsiteY36" fmla="*/ 292189 h 736510"/>
                    <a:gd name="connsiteX37" fmla="*/ 998515 w 1020248"/>
                    <a:gd name="connsiteY37" fmla="*/ 292793 h 736510"/>
                    <a:gd name="connsiteX38" fmla="*/ 994289 w 1020248"/>
                    <a:gd name="connsiteY38" fmla="*/ 295812 h 736510"/>
                    <a:gd name="connsiteX39" fmla="*/ 991875 w 1020248"/>
                    <a:gd name="connsiteY39" fmla="*/ 299434 h 736510"/>
                    <a:gd name="connsiteX40" fmla="*/ 990667 w 1020248"/>
                    <a:gd name="connsiteY40" fmla="*/ 299434 h 736510"/>
                    <a:gd name="connsiteX41" fmla="*/ 989460 w 1020248"/>
                    <a:gd name="connsiteY41" fmla="*/ 300038 h 736510"/>
                    <a:gd name="connsiteX42" fmla="*/ 987649 w 1020248"/>
                    <a:gd name="connsiteY42" fmla="*/ 301849 h 736510"/>
                    <a:gd name="connsiteX43" fmla="*/ 987045 w 1020248"/>
                    <a:gd name="connsiteY43" fmla="*/ 303056 h 736510"/>
                    <a:gd name="connsiteX44" fmla="*/ 985234 w 1020248"/>
                    <a:gd name="connsiteY44" fmla="*/ 304263 h 736510"/>
                    <a:gd name="connsiteX45" fmla="*/ 984026 w 1020248"/>
                    <a:gd name="connsiteY45" fmla="*/ 304867 h 736510"/>
                    <a:gd name="connsiteX46" fmla="*/ 984026 w 1020248"/>
                    <a:gd name="connsiteY46" fmla="*/ 306678 h 736510"/>
                    <a:gd name="connsiteX47" fmla="*/ 981008 w 1020248"/>
                    <a:gd name="connsiteY47" fmla="*/ 309093 h 736510"/>
                    <a:gd name="connsiteX48" fmla="*/ 980404 w 1020248"/>
                    <a:gd name="connsiteY48" fmla="*/ 310904 h 736510"/>
                    <a:gd name="connsiteX49" fmla="*/ 977989 w 1020248"/>
                    <a:gd name="connsiteY49" fmla="*/ 311508 h 736510"/>
                    <a:gd name="connsiteX50" fmla="*/ 973764 w 1020248"/>
                    <a:gd name="connsiteY50" fmla="*/ 310904 h 736510"/>
                    <a:gd name="connsiteX51" fmla="*/ 972556 w 1020248"/>
                    <a:gd name="connsiteY51" fmla="*/ 312715 h 736510"/>
                    <a:gd name="connsiteX52" fmla="*/ 968330 w 1020248"/>
                    <a:gd name="connsiteY52" fmla="*/ 315734 h 736510"/>
                    <a:gd name="connsiteX53" fmla="*/ 968934 w 1020248"/>
                    <a:gd name="connsiteY53" fmla="*/ 318752 h 736510"/>
                    <a:gd name="connsiteX54" fmla="*/ 967123 w 1020248"/>
                    <a:gd name="connsiteY54" fmla="*/ 318752 h 736510"/>
                    <a:gd name="connsiteX55" fmla="*/ 965312 w 1020248"/>
                    <a:gd name="connsiteY55" fmla="*/ 318752 h 736510"/>
                    <a:gd name="connsiteX56" fmla="*/ 962294 w 1020248"/>
                    <a:gd name="connsiteY56" fmla="*/ 315130 h 736510"/>
                    <a:gd name="connsiteX57" fmla="*/ 958068 w 1020248"/>
                    <a:gd name="connsiteY57" fmla="*/ 317545 h 736510"/>
                    <a:gd name="connsiteX58" fmla="*/ 959275 w 1020248"/>
                    <a:gd name="connsiteY58" fmla="*/ 319356 h 736510"/>
                    <a:gd name="connsiteX59" fmla="*/ 959275 w 1020248"/>
                    <a:gd name="connsiteY59" fmla="*/ 321167 h 736510"/>
                    <a:gd name="connsiteX60" fmla="*/ 959275 w 1020248"/>
                    <a:gd name="connsiteY60" fmla="*/ 322978 h 736510"/>
                    <a:gd name="connsiteX61" fmla="*/ 959275 w 1020248"/>
                    <a:gd name="connsiteY61" fmla="*/ 326600 h 736510"/>
                    <a:gd name="connsiteX62" fmla="*/ 956257 w 1020248"/>
                    <a:gd name="connsiteY62" fmla="*/ 327808 h 736510"/>
                    <a:gd name="connsiteX63" fmla="*/ 959275 w 1020248"/>
                    <a:gd name="connsiteY63" fmla="*/ 330222 h 736510"/>
                    <a:gd name="connsiteX64" fmla="*/ 959879 w 1020248"/>
                    <a:gd name="connsiteY64" fmla="*/ 332033 h 736510"/>
                    <a:gd name="connsiteX65" fmla="*/ 959275 w 1020248"/>
                    <a:gd name="connsiteY65" fmla="*/ 332637 h 736510"/>
                    <a:gd name="connsiteX66" fmla="*/ 957464 w 1020248"/>
                    <a:gd name="connsiteY66" fmla="*/ 332033 h 736510"/>
                    <a:gd name="connsiteX67" fmla="*/ 953238 w 1020248"/>
                    <a:gd name="connsiteY67" fmla="*/ 332033 h 736510"/>
                    <a:gd name="connsiteX68" fmla="*/ 951427 w 1020248"/>
                    <a:gd name="connsiteY68" fmla="*/ 335656 h 736510"/>
                    <a:gd name="connsiteX69" fmla="*/ 949616 w 1020248"/>
                    <a:gd name="connsiteY69" fmla="*/ 333845 h 736510"/>
                    <a:gd name="connsiteX70" fmla="*/ 949012 w 1020248"/>
                    <a:gd name="connsiteY70" fmla="*/ 331430 h 736510"/>
                    <a:gd name="connsiteX71" fmla="*/ 944183 w 1020248"/>
                    <a:gd name="connsiteY71" fmla="*/ 333241 h 736510"/>
                    <a:gd name="connsiteX72" fmla="*/ 943579 w 1020248"/>
                    <a:gd name="connsiteY72" fmla="*/ 333241 h 736510"/>
                    <a:gd name="connsiteX73" fmla="*/ 942975 w 1020248"/>
                    <a:gd name="connsiteY73" fmla="*/ 335052 h 736510"/>
                    <a:gd name="connsiteX74" fmla="*/ 940561 w 1020248"/>
                    <a:gd name="connsiteY74" fmla="*/ 336259 h 736510"/>
                    <a:gd name="connsiteX75" fmla="*/ 934524 w 1020248"/>
                    <a:gd name="connsiteY75" fmla="*/ 341089 h 736510"/>
                    <a:gd name="connsiteX76" fmla="*/ 933316 w 1020248"/>
                    <a:gd name="connsiteY76" fmla="*/ 344107 h 736510"/>
                    <a:gd name="connsiteX77" fmla="*/ 931505 w 1020248"/>
                    <a:gd name="connsiteY77" fmla="*/ 351352 h 736510"/>
                    <a:gd name="connsiteX78" fmla="*/ 930298 w 1020248"/>
                    <a:gd name="connsiteY78" fmla="*/ 353163 h 736510"/>
                    <a:gd name="connsiteX79" fmla="*/ 930298 w 1020248"/>
                    <a:gd name="connsiteY79" fmla="*/ 354974 h 736510"/>
                    <a:gd name="connsiteX80" fmla="*/ 930901 w 1020248"/>
                    <a:gd name="connsiteY80" fmla="*/ 360407 h 736510"/>
                    <a:gd name="connsiteX81" fmla="*/ 930298 w 1020248"/>
                    <a:gd name="connsiteY81" fmla="*/ 362218 h 736510"/>
                    <a:gd name="connsiteX82" fmla="*/ 929694 w 1020248"/>
                    <a:gd name="connsiteY82" fmla="*/ 364030 h 736510"/>
                    <a:gd name="connsiteX83" fmla="*/ 930298 w 1020248"/>
                    <a:gd name="connsiteY83" fmla="*/ 365237 h 736510"/>
                    <a:gd name="connsiteX84" fmla="*/ 930298 w 1020248"/>
                    <a:gd name="connsiteY84" fmla="*/ 367048 h 736510"/>
                    <a:gd name="connsiteX85" fmla="*/ 926072 w 1020248"/>
                    <a:gd name="connsiteY85" fmla="*/ 367652 h 736510"/>
                    <a:gd name="connsiteX86" fmla="*/ 927883 w 1020248"/>
                    <a:gd name="connsiteY86" fmla="*/ 371274 h 736510"/>
                    <a:gd name="connsiteX87" fmla="*/ 927883 w 1020248"/>
                    <a:gd name="connsiteY87" fmla="*/ 377914 h 736510"/>
                    <a:gd name="connsiteX88" fmla="*/ 929090 w 1020248"/>
                    <a:gd name="connsiteY88" fmla="*/ 380933 h 736510"/>
                    <a:gd name="connsiteX89" fmla="*/ 939353 w 1020248"/>
                    <a:gd name="connsiteY89" fmla="*/ 383951 h 736510"/>
                    <a:gd name="connsiteX90" fmla="*/ 942372 w 1020248"/>
                    <a:gd name="connsiteY90" fmla="*/ 382744 h 736510"/>
                    <a:gd name="connsiteX91" fmla="*/ 947201 w 1020248"/>
                    <a:gd name="connsiteY91" fmla="*/ 385762 h 736510"/>
                    <a:gd name="connsiteX92" fmla="*/ 942372 w 1020248"/>
                    <a:gd name="connsiteY92" fmla="*/ 389988 h 736510"/>
                    <a:gd name="connsiteX93" fmla="*/ 947201 w 1020248"/>
                    <a:gd name="connsiteY93" fmla="*/ 394214 h 736510"/>
                    <a:gd name="connsiteX94" fmla="*/ 944786 w 1020248"/>
                    <a:gd name="connsiteY94" fmla="*/ 397233 h 736510"/>
                    <a:gd name="connsiteX95" fmla="*/ 945390 w 1020248"/>
                    <a:gd name="connsiteY95" fmla="*/ 402062 h 736510"/>
                    <a:gd name="connsiteX96" fmla="*/ 953238 w 1020248"/>
                    <a:gd name="connsiteY96" fmla="*/ 406892 h 736510"/>
                    <a:gd name="connsiteX97" fmla="*/ 954446 w 1020248"/>
                    <a:gd name="connsiteY97" fmla="*/ 410514 h 736510"/>
                    <a:gd name="connsiteX98" fmla="*/ 961690 w 1020248"/>
                    <a:gd name="connsiteY98" fmla="*/ 415947 h 736510"/>
                    <a:gd name="connsiteX99" fmla="*/ 975575 w 1020248"/>
                    <a:gd name="connsiteY99" fmla="*/ 422588 h 736510"/>
                    <a:gd name="connsiteX100" fmla="*/ 976178 w 1020248"/>
                    <a:gd name="connsiteY100" fmla="*/ 424399 h 736510"/>
                    <a:gd name="connsiteX101" fmla="*/ 974971 w 1020248"/>
                    <a:gd name="connsiteY101" fmla="*/ 431040 h 736510"/>
                    <a:gd name="connsiteX102" fmla="*/ 975575 w 1020248"/>
                    <a:gd name="connsiteY102" fmla="*/ 432851 h 736510"/>
                    <a:gd name="connsiteX103" fmla="*/ 975575 w 1020248"/>
                    <a:gd name="connsiteY103" fmla="*/ 433455 h 736510"/>
                    <a:gd name="connsiteX104" fmla="*/ 974971 w 1020248"/>
                    <a:gd name="connsiteY104" fmla="*/ 433455 h 736510"/>
                    <a:gd name="connsiteX105" fmla="*/ 973160 w 1020248"/>
                    <a:gd name="connsiteY105" fmla="*/ 434662 h 736510"/>
                    <a:gd name="connsiteX106" fmla="*/ 974971 w 1020248"/>
                    <a:gd name="connsiteY106" fmla="*/ 435869 h 736510"/>
                    <a:gd name="connsiteX107" fmla="*/ 973764 w 1020248"/>
                    <a:gd name="connsiteY107" fmla="*/ 439492 h 736510"/>
                    <a:gd name="connsiteX108" fmla="*/ 973764 w 1020248"/>
                    <a:gd name="connsiteY108" fmla="*/ 441303 h 736510"/>
                    <a:gd name="connsiteX109" fmla="*/ 974367 w 1020248"/>
                    <a:gd name="connsiteY109" fmla="*/ 441906 h 736510"/>
                    <a:gd name="connsiteX110" fmla="*/ 971953 w 1020248"/>
                    <a:gd name="connsiteY110" fmla="*/ 443114 h 736510"/>
                    <a:gd name="connsiteX111" fmla="*/ 973160 w 1020248"/>
                    <a:gd name="connsiteY111" fmla="*/ 443717 h 736510"/>
                    <a:gd name="connsiteX112" fmla="*/ 973764 w 1020248"/>
                    <a:gd name="connsiteY112" fmla="*/ 444321 h 736510"/>
                    <a:gd name="connsiteX113" fmla="*/ 972556 w 1020248"/>
                    <a:gd name="connsiteY113" fmla="*/ 446132 h 736510"/>
                    <a:gd name="connsiteX114" fmla="*/ 970745 w 1020248"/>
                    <a:gd name="connsiteY114" fmla="*/ 450358 h 736510"/>
                    <a:gd name="connsiteX115" fmla="*/ 973160 w 1020248"/>
                    <a:gd name="connsiteY115" fmla="*/ 452169 h 736510"/>
                    <a:gd name="connsiteX116" fmla="*/ 971953 w 1020248"/>
                    <a:gd name="connsiteY116" fmla="*/ 452169 h 736510"/>
                    <a:gd name="connsiteX117" fmla="*/ 971349 w 1020248"/>
                    <a:gd name="connsiteY117" fmla="*/ 453980 h 736510"/>
                    <a:gd name="connsiteX118" fmla="*/ 973764 w 1020248"/>
                    <a:gd name="connsiteY118" fmla="*/ 458206 h 736510"/>
                    <a:gd name="connsiteX119" fmla="*/ 975575 w 1020248"/>
                    <a:gd name="connsiteY119" fmla="*/ 458206 h 736510"/>
                    <a:gd name="connsiteX120" fmla="*/ 977386 w 1020248"/>
                    <a:gd name="connsiteY120" fmla="*/ 459414 h 736510"/>
                    <a:gd name="connsiteX121" fmla="*/ 979197 w 1020248"/>
                    <a:gd name="connsiteY121" fmla="*/ 464847 h 736510"/>
                    <a:gd name="connsiteX122" fmla="*/ 979801 w 1020248"/>
                    <a:gd name="connsiteY122" fmla="*/ 464847 h 736510"/>
                    <a:gd name="connsiteX123" fmla="*/ 980404 w 1020248"/>
                    <a:gd name="connsiteY123" fmla="*/ 465451 h 736510"/>
                    <a:gd name="connsiteX124" fmla="*/ 979801 w 1020248"/>
                    <a:gd name="connsiteY124" fmla="*/ 468469 h 736510"/>
                    <a:gd name="connsiteX125" fmla="*/ 979197 w 1020248"/>
                    <a:gd name="connsiteY125" fmla="*/ 470280 h 736510"/>
                    <a:gd name="connsiteX126" fmla="*/ 972556 w 1020248"/>
                    <a:gd name="connsiteY126" fmla="*/ 469073 h 736510"/>
                    <a:gd name="connsiteX127" fmla="*/ 968934 w 1020248"/>
                    <a:gd name="connsiteY127" fmla="*/ 466054 h 736510"/>
                    <a:gd name="connsiteX128" fmla="*/ 966519 w 1020248"/>
                    <a:gd name="connsiteY128" fmla="*/ 467262 h 736510"/>
                    <a:gd name="connsiteX129" fmla="*/ 962897 w 1020248"/>
                    <a:gd name="connsiteY129" fmla="*/ 465451 h 736510"/>
                    <a:gd name="connsiteX130" fmla="*/ 961690 w 1020248"/>
                    <a:gd name="connsiteY130" fmla="*/ 462432 h 736510"/>
                    <a:gd name="connsiteX131" fmla="*/ 956860 w 1020248"/>
                    <a:gd name="connsiteY131" fmla="*/ 456999 h 736510"/>
                    <a:gd name="connsiteX132" fmla="*/ 950220 w 1020248"/>
                    <a:gd name="connsiteY132" fmla="*/ 457603 h 736510"/>
                    <a:gd name="connsiteX133" fmla="*/ 945994 w 1020248"/>
                    <a:gd name="connsiteY133" fmla="*/ 461828 h 736510"/>
                    <a:gd name="connsiteX134" fmla="*/ 945390 w 1020248"/>
                    <a:gd name="connsiteY134" fmla="*/ 464243 h 736510"/>
                    <a:gd name="connsiteX135" fmla="*/ 938749 w 1020248"/>
                    <a:gd name="connsiteY135" fmla="*/ 465451 h 736510"/>
                    <a:gd name="connsiteX136" fmla="*/ 936938 w 1020248"/>
                    <a:gd name="connsiteY136" fmla="*/ 470884 h 736510"/>
                    <a:gd name="connsiteX137" fmla="*/ 937542 w 1020248"/>
                    <a:gd name="connsiteY137" fmla="*/ 473902 h 736510"/>
                    <a:gd name="connsiteX138" fmla="*/ 931505 w 1020248"/>
                    <a:gd name="connsiteY138" fmla="*/ 473902 h 736510"/>
                    <a:gd name="connsiteX139" fmla="*/ 929694 w 1020248"/>
                    <a:gd name="connsiteY139" fmla="*/ 478732 h 736510"/>
                    <a:gd name="connsiteX140" fmla="*/ 926675 w 1020248"/>
                    <a:gd name="connsiteY140" fmla="*/ 481147 h 736510"/>
                    <a:gd name="connsiteX141" fmla="*/ 921846 w 1020248"/>
                    <a:gd name="connsiteY141" fmla="*/ 477525 h 736510"/>
                    <a:gd name="connsiteX142" fmla="*/ 917016 w 1020248"/>
                    <a:gd name="connsiteY142" fmla="*/ 489598 h 736510"/>
                    <a:gd name="connsiteX143" fmla="*/ 917620 w 1020248"/>
                    <a:gd name="connsiteY143" fmla="*/ 493824 h 736510"/>
                    <a:gd name="connsiteX144" fmla="*/ 922450 w 1020248"/>
                    <a:gd name="connsiteY144" fmla="*/ 495032 h 736510"/>
                    <a:gd name="connsiteX145" fmla="*/ 920638 w 1020248"/>
                    <a:gd name="connsiteY145" fmla="*/ 502880 h 736510"/>
                    <a:gd name="connsiteX146" fmla="*/ 930298 w 1020248"/>
                    <a:gd name="connsiteY146" fmla="*/ 510728 h 736510"/>
                    <a:gd name="connsiteX147" fmla="*/ 935127 w 1020248"/>
                    <a:gd name="connsiteY147" fmla="*/ 511935 h 736510"/>
                    <a:gd name="connsiteX148" fmla="*/ 936335 w 1020248"/>
                    <a:gd name="connsiteY148" fmla="*/ 516765 h 736510"/>
                    <a:gd name="connsiteX149" fmla="*/ 934524 w 1020248"/>
                    <a:gd name="connsiteY149" fmla="*/ 522198 h 736510"/>
                    <a:gd name="connsiteX150" fmla="*/ 929090 w 1020248"/>
                    <a:gd name="connsiteY150" fmla="*/ 526424 h 736510"/>
                    <a:gd name="connsiteX151" fmla="*/ 931505 w 1020248"/>
                    <a:gd name="connsiteY151" fmla="*/ 531254 h 736510"/>
                    <a:gd name="connsiteX152" fmla="*/ 930901 w 1020248"/>
                    <a:gd name="connsiteY152" fmla="*/ 533668 h 736510"/>
                    <a:gd name="connsiteX153" fmla="*/ 921846 w 1020248"/>
                    <a:gd name="connsiteY153" fmla="*/ 529443 h 736510"/>
                    <a:gd name="connsiteX154" fmla="*/ 921242 w 1020248"/>
                    <a:gd name="connsiteY154" fmla="*/ 524009 h 736510"/>
                    <a:gd name="connsiteX155" fmla="*/ 905546 w 1020248"/>
                    <a:gd name="connsiteY155" fmla="*/ 521594 h 736510"/>
                    <a:gd name="connsiteX156" fmla="*/ 905546 w 1020248"/>
                    <a:gd name="connsiteY156" fmla="*/ 517972 h 736510"/>
                    <a:gd name="connsiteX157" fmla="*/ 901924 w 1020248"/>
                    <a:gd name="connsiteY157" fmla="*/ 515557 h 736510"/>
                    <a:gd name="connsiteX158" fmla="*/ 902527 w 1020248"/>
                    <a:gd name="connsiteY158" fmla="*/ 510728 h 736510"/>
                    <a:gd name="connsiteX159" fmla="*/ 900716 w 1020248"/>
                    <a:gd name="connsiteY159" fmla="*/ 509520 h 736510"/>
                    <a:gd name="connsiteX160" fmla="*/ 894076 w 1020248"/>
                    <a:gd name="connsiteY160" fmla="*/ 510124 h 736510"/>
                    <a:gd name="connsiteX161" fmla="*/ 888642 w 1020248"/>
                    <a:gd name="connsiteY161" fmla="*/ 508313 h 736510"/>
                    <a:gd name="connsiteX162" fmla="*/ 885020 w 1020248"/>
                    <a:gd name="connsiteY162" fmla="*/ 508917 h 736510"/>
                    <a:gd name="connsiteX163" fmla="*/ 876568 w 1020248"/>
                    <a:gd name="connsiteY163" fmla="*/ 504087 h 736510"/>
                    <a:gd name="connsiteX164" fmla="*/ 872342 w 1020248"/>
                    <a:gd name="connsiteY164" fmla="*/ 504691 h 736510"/>
                    <a:gd name="connsiteX165" fmla="*/ 870531 w 1020248"/>
                    <a:gd name="connsiteY165" fmla="*/ 512539 h 736510"/>
                    <a:gd name="connsiteX166" fmla="*/ 868117 w 1020248"/>
                    <a:gd name="connsiteY166" fmla="*/ 516161 h 736510"/>
                    <a:gd name="connsiteX167" fmla="*/ 865702 w 1020248"/>
                    <a:gd name="connsiteY167" fmla="*/ 513143 h 736510"/>
                    <a:gd name="connsiteX168" fmla="*/ 859061 w 1020248"/>
                    <a:gd name="connsiteY168" fmla="*/ 512539 h 736510"/>
                    <a:gd name="connsiteX169" fmla="*/ 862080 w 1020248"/>
                    <a:gd name="connsiteY169" fmla="*/ 519783 h 736510"/>
                    <a:gd name="connsiteX170" fmla="*/ 857250 w 1020248"/>
                    <a:gd name="connsiteY170" fmla="*/ 525217 h 736510"/>
                    <a:gd name="connsiteX171" fmla="*/ 857250 w 1020248"/>
                    <a:gd name="connsiteY171" fmla="*/ 535480 h 736510"/>
                    <a:gd name="connsiteX172" fmla="*/ 853628 w 1020248"/>
                    <a:gd name="connsiteY172" fmla="*/ 534876 h 736510"/>
                    <a:gd name="connsiteX173" fmla="*/ 840347 w 1020248"/>
                    <a:gd name="connsiteY173" fmla="*/ 528235 h 736510"/>
                    <a:gd name="connsiteX174" fmla="*/ 837328 w 1020248"/>
                    <a:gd name="connsiteY174" fmla="*/ 529443 h 736510"/>
                    <a:gd name="connsiteX175" fmla="*/ 835517 w 1020248"/>
                    <a:gd name="connsiteY175" fmla="*/ 533065 h 736510"/>
                    <a:gd name="connsiteX176" fmla="*/ 826462 w 1020248"/>
                    <a:gd name="connsiteY176" fmla="*/ 529443 h 736510"/>
                    <a:gd name="connsiteX177" fmla="*/ 823443 w 1020248"/>
                    <a:gd name="connsiteY177" fmla="*/ 545742 h 736510"/>
                    <a:gd name="connsiteX178" fmla="*/ 821028 w 1020248"/>
                    <a:gd name="connsiteY178" fmla="*/ 549364 h 736510"/>
                    <a:gd name="connsiteX179" fmla="*/ 819821 w 1020248"/>
                    <a:gd name="connsiteY179" fmla="*/ 559627 h 736510"/>
                    <a:gd name="connsiteX180" fmla="*/ 815595 w 1020248"/>
                    <a:gd name="connsiteY180" fmla="*/ 558420 h 736510"/>
                    <a:gd name="connsiteX181" fmla="*/ 813180 w 1020248"/>
                    <a:gd name="connsiteY181" fmla="*/ 556005 h 736510"/>
                    <a:gd name="connsiteX182" fmla="*/ 808954 w 1020248"/>
                    <a:gd name="connsiteY182" fmla="*/ 557213 h 736510"/>
                    <a:gd name="connsiteX183" fmla="*/ 807747 w 1020248"/>
                    <a:gd name="connsiteY183" fmla="*/ 560231 h 736510"/>
                    <a:gd name="connsiteX184" fmla="*/ 803521 w 1020248"/>
                    <a:gd name="connsiteY184" fmla="*/ 559627 h 736510"/>
                    <a:gd name="connsiteX185" fmla="*/ 798088 w 1020248"/>
                    <a:gd name="connsiteY185" fmla="*/ 564457 h 736510"/>
                    <a:gd name="connsiteX186" fmla="*/ 796277 w 1020248"/>
                    <a:gd name="connsiteY186" fmla="*/ 565664 h 736510"/>
                    <a:gd name="connsiteX187" fmla="*/ 789032 w 1020248"/>
                    <a:gd name="connsiteY187" fmla="*/ 577738 h 736510"/>
                    <a:gd name="connsiteX188" fmla="*/ 791447 w 1020248"/>
                    <a:gd name="connsiteY188" fmla="*/ 581964 h 736510"/>
                    <a:gd name="connsiteX189" fmla="*/ 790240 w 1020248"/>
                    <a:gd name="connsiteY189" fmla="*/ 598868 h 736510"/>
                    <a:gd name="connsiteX190" fmla="*/ 792051 w 1020248"/>
                    <a:gd name="connsiteY190" fmla="*/ 606112 h 736510"/>
                    <a:gd name="connsiteX191" fmla="*/ 790240 w 1020248"/>
                    <a:gd name="connsiteY191" fmla="*/ 610942 h 736510"/>
                    <a:gd name="connsiteX192" fmla="*/ 781788 w 1020248"/>
                    <a:gd name="connsiteY192" fmla="*/ 614564 h 736510"/>
                    <a:gd name="connsiteX193" fmla="*/ 775751 w 1020248"/>
                    <a:gd name="connsiteY193" fmla="*/ 623619 h 736510"/>
                    <a:gd name="connsiteX194" fmla="*/ 779373 w 1020248"/>
                    <a:gd name="connsiteY194" fmla="*/ 626034 h 736510"/>
                    <a:gd name="connsiteX195" fmla="*/ 776958 w 1020248"/>
                    <a:gd name="connsiteY195" fmla="*/ 630260 h 736510"/>
                    <a:gd name="connsiteX196" fmla="*/ 777562 w 1020248"/>
                    <a:gd name="connsiteY196" fmla="*/ 635090 h 736510"/>
                    <a:gd name="connsiteX197" fmla="*/ 775147 w 1020248"/>
                    <a:gd name="connsiteY197" fmla="*/ 638108 h 736510"/>
                    <a:gd name="connsiteX198" fmla="*/ 776355 w 1020248"/>
                    <a:gd name="connsiteY198" fmla="*/ 642334 h 736510"/>
                    <a:gd name="connsiteX199" fmla="*/ 773940 w 1020248"/>
                    <a:gd name="connsiteY199" fmla="*/ 649578 h 736510"/>
                    <a:gd name="connsiteX200" fmla="*/ 770921 w 1020248"/>
                    <a:gd name="connsiteY200" fmla="*/ 655011 h 736510"/>
                    <a:gd name="connsiteX201" fmla="*/ 769110 w 1020248"/>
                    <a:gd name="connsiteY201" fmla="*/ 665274 h 736510"/>
                    <a:gd name="connsiteX202" fmla="*/ 770318 w 1020248"/>
                    <a:gd name="connsiteY202" fmla="*/ 669500 h 736510"/>
                    <a:gd name="connsiteX203" fmla="*/ 761866 w 1020248"/>
                    <a:gd name="connsiteY203" fmla="*/ 669500 h 736510"/>
                    <a:gd name="connsiteX204" fmla="*/ 752811 w 1020248"/>
                    <a:gd name="connsiteY204" fmla="*/ 663463 h 736510"/>
                    <a:gd name="connsiteX205" fmla="*/ 746774 w 1020248"/>
                    <a:gd name="connsiteY205" fmla="*/ 664067 h 736510"/>
                    <a:gd name="connsiteX206" fmla="*/ 738926 w 1020248"/>
                    <a:gd name="connsiteY206" fmla="*/ 673726 h 736510"/>
                    <a:gd name="connsiteX207" fmla="*/ 740737 w 1020248"/>
                    <a:gd name="connsiteY207" fmla="*/ 683385 h 736510"/>
                    <a:gd name="connsiteX208" fmla="*/ 734096 w 1020248"/>
                    <a:gd name="connsiteY208" fmla="*/ 677952 h 736510"/>
                    <a:gd name="connsiteX209" fmla="*/ 729870 w 1020248"/>
                    <a:gd name="connsiteY209" fmla="*/ 682178 h 736510"/>
                    <a:gd name="connsiteX210" fmla="*/ 726248 w 1020248"/>
                    <a:gd name="connsiteY210" fmla="*/ 680971 h 736510"/>
                    <a:gd name="connsiteX211" fmla="*/ 726248 w 1020248"/>
                    <a:gd name="connsiteY211" fmla="*/ 677952 h 736510"/>
                    <a:gd name="connsiteX212" fmla="*/ 720211 w 1020248"/>
                    <a:gd name="connsiteY212" fmla="*/ 679159 h 736510"/>
                    <a:gd name="connsiteX213" fmla="*/ 719607 w 1020248"/>
                    <a:gd name="connsiteY213" fmla="*/ 671915 h 736510"/>
                    <a:gd name="connsiteX214" fmla="*/ 716589 w 1020248"/>
                    <a:gd name="connsiteY214" fmla="*/ 667085 h 736510"/>
                    <a:gd name="connsiteX215" fmla="*/ 708741 w 1020248"/>
                    <a:gd name="connsiteY215" fmla="*/ 667689 h 736510"/>
                    <a:gd name="connsiteX216" fmla="*/ 706930 w 1020248"/>
                    <a:gd name="connsiteY216" fmla="*/ 673122 h 736510"/>
                    <a:gd name="connsiteX217" fmla="*/ 704515 w 1020248"/>
                    <a:gd name="connsiteY217" fmla="*/ 676141 h 736510"/>
                    <a:gd name="connsiteX218" fmla="*/ 701496 w 1020248"/>
                    <a:gd name="connsiteY218" fmla="*/ 675537 h 736510"/>
                    <a:gd name="connsiteX219" fmla="*/ 691233 w 1020248"/>
                    <a:gd name="connsiteY219" fmla="*/ 679763 h 736510"/>
                    <a:gd name="connsiteX220" fmla="*/ 686404 w 1020248"/>
                    <a:gd name="connsiteY220" fmla="*/ 677952 h 736510"/>
                    <a:gd name="connsiteX221" fmla="*/ 677348 w 1020248"/>
                    <a:gd name="connsiteY221" fmla="*/ 670708 h 736510"/>
                    <a:gd name="connsiteX222" fmla="*/ 673726 w 1020248"/>
                    <a:gd name="connsiteY222" fmla="*/ 674330 h 736510"/>
                    <a:gd name="connsiteX223" fmla="*/ 673726 w 1020248"/>
                    <a:gd name="connsiteY223" fmla="*/ 676745 h 736510"/>
                    <a:gd name="connsiteX224" fmla="*/ 667689 w 1020248"/>
                    <a:gd name="connsiteY224" fmla="*/ 679763 h 736510"/>
                    <a:gd name="connsiteX225" fmla="*/ 666482 w 1020248"/>
                    <a:gd name="connsiteY225" fmla="*/ 685800 h 736510"/>
                    <a:gd name="connsiteX226" fmla="*/ 661652 w 1020248"/>
                    <a:gd name="connsiteY226" fmla="*/ 685196 h 736510"/>
                    <a:gd name="connsiteX227" fmla="*/ 658030 w 1020248"/>
                    <a:gd name="connsiteY227" fmla="*/ 689422 h 736510"/>
                    <a:gd name="connsiteX228" fmla="*/ 654408 w 1020248"/>
                    <a:gd name="connsiteY228" fmla="*/ 697270 h 736510"/>
                    <a:gd name="connsiteX229" fmla="*/ 655011 w 1020248"/>
                    <a:gd name="connsiteY229" fmla="*/ 706929 h 736510"/>
                    <a:gd name="connsiteX230" fmla="*/ 654408 w 1020248"/>
                    <a:gd name="connsiteY230" fmla="*/ 710552 h 736510"/>
                    <a:gd name="connsiteX231" fmla="*/ 649578 w 1020248"/>
                    <a:gd name="connsiteY231" fmla="*/ 711155 h 736510"/>
                    <a:gd name="connsiteX232" fmla="*/ 649578 w 1020248"/>
                    <a:gd name="connsiteY232" fmla="*/ 717192 h 736510"/>
                    <a:gd name="connsiteX233" fmla="*/ 648975 w 1020248"/>
                    <a:gd name="connsiteY233" fmla="*/ 721418 h 736510"/>
                    <a:gd name="connsiteX234" fmla="*/ 645352 w 1020248"/>
                    <a:gd name="connsiteY234" fmla="*/ 723229 h 736510"/>
                    <a:gd name="connsiteX235" fmla="*/ 639316 w 1020248"/>
                    <a:gd name="connsiteY235" fmla="*/ 720814 h 736510"/>
                    <a:gd name="connsiteX236" fmla="*/ 635693 w 1020248"/>
                    <a:gd name="connsiteY236" fmla="*/ 715985 h 736510"/>
                    <a:gd name="connsiteX237" fmla="*/ 630260 w 1020248"/>
                    <a:gd name="connsiteY237" fmla="*/ 712363 h 736510"/>
                    <a:gd name="connsiteX238" fmla="*/ 626638 w 1020248"/>
                    <a:gd name="connsiteY238" fmla="*/ 706326 h 736510"/>
                    <a:gd name="connsiteX239" fmla="*/ 619394 w 1020248"/>
                    <a:gd name="connsiteY239" fmla="*/ 706929 h 736510"/>
                    <a:gd name="connsiteX240" fmla="*/ 615771 w 1020248"/>
                    <a:gd name="connsiteY240" fmla="*/ 703307 h 736510"/>
                    <a:gd name="connsiteX241" fmla="*/ 613960 w 1020248"/>
                    <a:gd name="connsiteY241" fmla="*/ 699081 h 736510"/>
                    <a:gd name="connsiteX242" fmla="*/ 618186 w 1020248"/>
                    <a:gd name="connsiteY242" fmla="*/ 691837 h 736510"/>
                    <a:gd name="connsiteX243" fmla="*/ 615771 w 1020248"/>
                    <a:gd name="connsiteY243" fmla="*/ 686404 h 736510"/>
                    <a:gd name="connsiteX244" fmla="*/ 616375 w 1020248"/>
                    <a:gd name="connsiteY244" fmla="*/ 680367 h 736510"/>
                    <a:gd name="connsiteX245" fmla="*/ 619394 w 1020248"/>
                    <a:gd name="connsiteY245" fmla="*/ 676745 h 736510"/>
                    <a:gd name="connsiteX246" fmla="*/ 613960 w 1020248"/>
                    <a:gd name="connsiteY246" fmla="*/ 673726 h 736510"/>
                    <a:gd name="connsiteX247" fmla="*/ 604905 w 1020248"/>
                    <a:gd name="connsiteY247" fmla="*/ 674330 h 736510"/>
                    <a:gd name="connsiteX248" fmla="*/ 598264 w 1020248"/>
                    <a:gd name="connsiteY248" fmla="*/ 668293 h 736510"/>
                    <a:gd name="connsiteX249" fmla="*/ 598264 w 1020248"/>
                    <a:gd name="connsiteY249" fmla="*/ 672519 h 736510"/>
                    <a:gd name="connsiteX250" fmla="*/ 587398 w 1020248"/>
                    <a:gd name="connsiteY250" fmla="*/ 674330 h 736510"/>
                    <a:gd name="connsiteX251" fmla="*/ 584983 w 1020248"/>
                    <a:gd name="connsiteY251" fmla="*/ 670708 h 736510"/>
                    <a:gd name="connsiteX252" fmla="*/ 579549 w 1020248"/>
                    <a:gd name="connsiteY252" fmla="*/ 668293 h 736510"/>
                    <a:gd name="connsiteX253" fmla="*/ 577738 w 1020248"/>
                    <a:gd name="connsiteY253" fmla="*/ 661048 h 736510"/>
                    <a:gd name="connsiteX254" fmla="*/ 580757 w 1020248"/>
                    <a:gd name="connsiteY254" fmla="*/ 653804 h 736510"/>
                    <a:gd name="connsiteX255" fmla="*/ 578946 w 1020248"/>
                    <a:gd name="connsiteY255" fmla="*/ 647163 h 736510"/>
                    <a:gd name="connsiteX256" fmla="*/ 575324 w 1020248"/>
                    <a:gd name="connsiteY256" fmla="*/ 639919 h 736510"/>
                    <a:gd name="connsiteX257" fmla="*/ 566268 w 1020248"/>
                    <a:gd name="connsiteY257" fmla="*/ 636297 h 736510"/>
                    <a:gd name="connsiteX258" fmla="*/ 563250 w 1020248"/>
                    <a:gd name="connsiteY258" fmla="*/ 630260 h 736510"/>
                    <a:gd name="connsiteX259" fmla="*/ 554798 w 1020248"/>
                    <a:gd name="connsiteY259" fmla="*/ 633278 h 736510"/>
                    <a:gd name="connsiteX260" fmla="*/ 553590 w 1020248"/>
                    <a:gd name="connsiteY260" fmla="*/ 636297 h 736510"/>
                    <a:gd name="connsiteX261" fmla="*/ 548761 w 1020248"/>
                    <a:gd name="connsiteY261" fmla="*/ 637504 h 736510"/>
                    <a:gd name="connsiteX262" fmla="*/ 547553 w 1020248"/>
                    <a:gd name="connsiteY262" fmla="*/ 640523 h 736510"/>
                    <a:gd name="connsiteX263" fmla="*/ 543328 w 1020248"/>
                    <a:gd name="connsiteY263" fmla="*/ 640523 h 736510"/>
                    <a:gd name="connsiteX264" fmla="*/ 534876 w 1020248"/>
                    <a:gd name="connsiteY264" fmla="*/ 635693 h 736510"/>
                    <a:gd name="connsiteX265" fmla="*/ 528235 w 1020248"/>
                    <a:gd name="connsiteY265" fmla="*/ 625430 h 736510"/>
                    <a:gd name="connsiteX266" fmla="*/ 517973 w 1020248"/>
                    <a:gd name="connsiteY266" fmla="*/ 623016 h 736510"/>
                    <a:gd name="connsiteX267" fmla="*/ 514350 w 1020248"/>
                    <a:gd name="connsiteY267" fmla="*/ 626638 h 736510"/>
                    <a:gd name="connsiteX268" fmla="*/ 507710 w 1020248"/>
                    <a:gd name="connsiteY268" fmla="*/ 625430 h 736510"/>
                    <a:gd name="connsiteX269" fmla="*/ 505295 w 1020248"/>
                    <a:gd name="connsiteY269" fmla="*/ 622412 h 736510"/>
                    <a:gd name="connsiteX270" fmla="*/ 499258 w 1020248"/>
                    <a:gd name="connsiteY270" fmla="*/ 619997 h 736510"/>
                    <a:gd name="connsiteX271" fmla="*/ 496239 w 1020248"/>
                    <a:gd name="connsiteY271" fmla="*/ 628449 h 736510"/>
                    <a:gd name="connsiteX272" fmla="*/ 493825 w 1020248"/>
                    <a:gd name="connsiteY272" fmla="*/ 629656 h 736510"/>
                    <a:gd name="connsiteX273" fmla="*/ 492617 w 1020248"/>
                    <a:gd name="connsiteY273" fmla="*/ 635090 h 736510"/>
                    <a:gd name="connsiteX274" fmla="*/ 492617 w 1020248"/>
                    <a:gd name="connsiteY274" fmla="*/ 641730 h 736510"/>
                    <a:gd name="connsiteX275" fmla="*/ 487184 w 1020248"/>
                    <a:gd name="connsiteY275" fmla="*/ 649578 h 736510"/>
                    <a:gd name="connsiteX276" fmla="*/ 481147 w 1020248"/>
                    <a:gd name="connsiteY276" fmla="*/ 650786 h 736510"/>
                    <a:gd name="connsiteX277" fmla="*/ 483562 w 1020248"/>
                    <a:gd name="connsiteY277" fmla="*/ 653804 h 736510"/>
                    <a:gd name="connsiteX278" fmla="*/ 483562 w 1020248"/>
                    <a:gd name="connsiteY278" fmla="*/ 659237 h 736510"/>
                    <a:gd name="connsiteX279" fmla="*/ 485976 w 1020248"/>
                    <a:gd name="connsiteY279" fmla="*/ 666482 h 736510"/>
                    <a:gd name="connsiteX280" fmla="*/ 484165 w 1020248"/>
                    <a:gd name="connsiteY280" fmla="*/ 674934 h 736510"/>
                    <a:gd name="connsiteX281" fmla="*/ 479939 w 1020248"/>
                    <a:gd name="connsiteY281" fmla="*/ 675537 h 736510"/>
                    <a:gd name="connsiteX282" fmla="*/ 472695 w 1020248"/>
                    <a:gd name="connsiteY282" fmla="*/ 674330 h 736510"/>
                    <a:gd name="connsiteX283" fmla="*/ 470884 w 1020248"/>
                    <a:gd name="connsiteY283" fmla="*/ 671311 h 736510"/>
                    <a:gd name="connsiteX284" fmla="*/ 466054 w 1020248"/>
                    <a:gd name="connsiteY284" fmla="*/ 670104 h 736510"/>
                    <a:gd name="connsiteX285" fmla="*/ 463036 w 1020248"/>
                    <a:gd name="connsiteY285" fmla="*/ 674330 h 736510"/>
                    <a:gd name="connsiteX286" fmla="*/ 464243 w 1020248"/>
                    <a:gd name="connsiteY286" fmla="*/ 678556 h 736510"/>
                    <a:gd name="connsiteX287" fmla="*/ 458810 w 1020248"/>
                    <a:gd name="connsiteY287" fmla="*/ 682178 h 736510"/>
                    <a:gd name="connsiteX288" fmla="*/ 457603 w 1020248"/>
                    <a:gd name="connsiteY288" fmla="*/ 686404 h 736510"/>
                    <a:gd name="connsiteX289" fmla="*/ 453980 w 1020248"/>
                    <a:gd name="connsiteY289" fmla="*/ 687611 h 736510"/>
                    <a:gd name="connsiteX290" fmla="*/ 451566 w 1020248"/>
                    <a:gd name="connsiteY290" fmla="*/ 687008 h 736510"/>
                    <a:gd name="connsiteX291" fmla="*/ 449151 w 1020248"/>
                    <a:gd name="connsiteY291" fmla="*/ 682178 h 736510"/>
                    <a:gd name="connsiteX292" fmla="*/ 436473 w 1020248"/>
                    <a:gd name="connsiteY292" fmla="*/ 685196 h 736510"/>
                    <a:gd name="connsiteX293" fmla="*/ 430436 w 1020248"/>
                    <a:gd name="connsiteY293" fmla="*/ 683385 h 736510"/>
                    <a:gd name="connsiteX294" fmla="*/ 426210 w 1020248"/>
                    <a:gd name="connsiteY294" fmla="*/ 685800 h 736510"/>
                    <a:gd name="connsiteX295" fmla="*/ 412929 w 1020248"/>
                    <a:gd name="connsiteY295" fmla="*/ 687611 h 736510"/>
                    <a:gd name="connsiteX296" fmla="*/ 408703 w 1020248"/>
                    <a:gd name="connsiteY296" fmla="*/ 687008 h 736510"/>
                    <a:gd name="connsiteX297" fmla="*/ 405081 w 1020248"/>
                    <a:gd name="connsiteY297" fmla="*/ 689422 h 736510"/>
                    <a:gd name="connsiteX298" fmla="*/ 405685 w 1020248"/>
                    <a:gd name="connsiteY298" fmla="*/ 694252 h 736510"/>
                    <a:gd name="connsiteX299" fmla="*/ 399648 w 1020248"/>
                    <a:gd name="connsiteY299" fmla="*/ 693648 h 736510"/>
                    <a:gd name="connsiteX300" fmla="*/ 393611 w 1020248"/>
                    <a:gd name="connsiteY300" fmla="*/ 699685 h 736510"/>
                    <a:gd name="connsiteX301" fmla="*/ 389385 w 1020248"/>
                    <a:gd name="connsiteY301" fmla="*/ 699685 h 736510"/>
                    <a:gd name="connsiteX302" fmla="*/ 379122 w 1020248"/>
                    <a:gd name="connsiteY302" fmla="*/ 701496 h 736510"/>
                    <a:gd name="connsiteX303" fmla="*/ 382141 w 1020248"/>
                    <a:gd name="connsiteY303" fmla="*/ 709344 h 736510"/>
                    <a:gd name="connsiteX304" fmla="*/ 377915 w 1020248"/>
                    <a:gd name="connsiteY304" fmla="*/ 711759 h 736510"/>
                    <a:gd name="connsiteX305" fmla="*/ 371274 w 1020248"/>
                    <a:gd name="connsiteY305" fmla="*/ 714174 h 736510"/>
                    <a:gd name="connsiteX306" fmla="*/ 366444 w 1020248"/>
                    <a:gd name="connsiteY306" fmla="*/ 720211 h 736510"/>
                    <a:gd name="connsiteX307" fmla="*/ 361011 w 1020248"/>
                    <a:gd name="connsiteY307" fmla="*/ 719003 h 736510"/>
                    <a:gd name="connsiteX308" fmla="*/ 362822 w 1020248"/>
                    <a:gd name="connsiteY308" fmla="*/ 714174 h 736510"/>
                    <a:gd name="connsiteX309" fmla="*/ 361615 w 1020248"/>
                    <a:gd name="connsiteY309" fmla="*/ 708137 h 736510"/>
                    <a:gd name="connsiteX310" fmla="*/ 358596 w 1020248"/>
                    <a:gd name="connsiteY310" fmla="*/ 712966 h 736510"/>
                    <a:gd name="connsiteX311" fmla="*/ 353767 w 1020248"/>
                    <a:gd name="connsiteY311" fmla="*/ 710552 h 736510"/>
                    <a:gd name="connsiteX312" fmla="*/ 345315 w 1020248"/>
                    <a:gd name="connsiteY312" fmla="*/ 713570 h 736510"/>
                    <a:gd name="connsiteX313" fmla="*/ 341089 w 1020248"/>
                    <a:gd name="connsiteY313" fmla="*/ 721418 h 736510"/>
                    <a:gd name="connsiteX314" fmla="*/ 336863 w 1020248"/>
                    <a:gd name="connsiteY314" fmla="*/ 722626 h 736510"/>
                    <a:gd name="connsiteX315" fmla="*/ 332033 w 1020248"/>
                    <a:gd name="connsiteY315" fmla="*/ 720814 h 736510"/>
                    <a:gd name="connsiteX316" fmla="*/ 327204 w 1020248"/>
                    <a:gd name="connsiteY316" fmla="*/ 722626 h 736510"/>
                    <a:gd name="connsiteX317" fmla="*/ 326600 w 1020248"/>
                    <a:gd name="connsiteY317" fmla="*/ 717796 h 736510"/>
                    <a:gd name="connsiteX318" fmla="*/ 322374 w 1020248"/>
                    <a:gd name="connsiteY318" fmla="*/ 711155 h 736510"/>
                    <a:gd name="connsiteX319" fmla="*/ 322374 w 1020248"/>
                    <a:gd name="connsiteY319" fmla="*/ 702100 h 736510"/>
                    <a:gd name="connsiteX320" fmla="*/ 319356 w 1020248"/>
                    <a:gd name="connsiteY320" fmla="*/ 703307 h 736510"/>
                    <a:gd name="connsiteX321" fmla="*/ 311508 w 1020248"/>
                    <a:gd name="connsiteY321" fmla="*/ 700289 h 736510"/>
                    <a:gd name="connsiteX322" fmla="*/ 312715 w 1020248"/>
                    <a:gd name="connsiteY322" fmla="*/ 690630 h 736510"/>
                    <a:gd name="connsiteX323" fmla="*/ 310301 w 1020248"/>
                    <a:gd name="connsiteY323" fmla="*/ 687611 h 736510"/>
                    <a:gd name="connsiteX324" fmla="*/ 302453 w 1020248"/>
                    <a:gd name="connsiteY324" fmla="*/ 689422 h 736510"/>
                    <a:gd name="connsiteX325" fmla="*/ 301849 w 1020248"/>
                    <a:gd name="connsiteY325" fmla="*/ 692441 h 736510"/>
                    <a:gd name="connsiteX326" fmla="*/ 294001 w 1020248"/>
                    <a:gd name="connsiteY326" fmla="*/ 694252 h 736510"/>
                    <a:gd name="connsiteX327" fmla="*/ 290379 w 1020248"/>
                    <a:gd name="connsiteY327" fmla="*/ 699685 h 736510"/>
                    <a:gd name="connsiteX328" fmla="*/ 286756 w 1020248"/>
                    <a:gd name="connsiteY328" fmla="*/ 699685 h 736510"/>
                    <a:gd name="connsiteX329" fmla="*/ 281323 w 1020248"/>
                    <a:gd name="connsiteY329" fmla="*/ 703307 h 736510"/>
                    <a:gd name="connsiteX330" fmla="*/ 278305 w 1020248"/>
                    <a:gd name="connsiteY330" fmla="*/ 709344 h 736510"/>
                    <a:gd name="connsiteX331" fmla="*/ 278908 w 1020248"/>
                    <a:gd name="connsiteY331" fmla="*/ 712966 h 736510"/>
                    <a:gd name="connsiteX332" fmla="*/ 277097 w 1020248"/>
                    <a:gd name="connsiteY332" fmla="*/ 717796 h 736510"/>
                    <a:gd name="connsiteX333" fmla="*/ 268645 w 1020248"/>
                    <a:gd name="connsiteY333" fmla="*/ 715381 h 736510"/>
                    <a:gd name="connsiteX334" fmla="*/ 265023 w 1020248"/>
                    <a:gd name="connsiteY334" fmla="*/ 715985 h 736510"/>
                    <a:gd name="connsiteX335" fmla="*/ 258986 w 1020248"/>
                    <a:gd name="connsiteY335" fmla="*/ 713570 h 736510"/>
                    <a:gd name="connsiteX336" fmla="*/ 256571 w 1020248"/>
                    <a:gd name="connsiteY336" fmla="*/ 716589 h 736510"/>
                    <a:gd name="connsiteX337" fmla="*/ 257779 w 1020248"/>
                    <a:gd name="connsiteY337" fmla="*/ 719607 h 736510"/>
                    <a:gd name="connsiteX338" fmla="*/ 253553 w 1020248"/>
                    <a:gd name="connsiteY338" fmla="*/ 722022 h 736510"/>
                    <a:gd name="connsiteX339" fmla="*/ 248723 w 1020248"/>
                    <a:gd name="connsiteY339" fmla="*/ 721418 h 736510"/>
                    <a:gd name="connsiteX340" fmla="*/ 248120 w 1020248"/>
                    <a:gd name="connsiteY340" fmla="*/ 731077 h 736510"/>
                    <a:gd name="connsiteX341" fmla="*/ 242686 w 1020248"/>
                    <a:gd name="connsiteY341" fmla="*/ 741944 h 736510"/>
                    <a:gd name="connsiteX342" fmla="*/ 237253 w 1020248"/>
                    <a:gd name="connsiteY342" fmla="*/ 737114 h 736510"/>
                    <a:gd name="connsiteX343" fmla="*/ 234838 w 1020248"/>
                    <a:gd name="connsiteY343" fmla="*/ 729870 h 736510"/>
                    <a:gd name="connsiteX344" fmla="*/ 226990 w 1020248"/>
                    <a:gd name="connsiteY344" fmla="*/ 731681 h 736510"/>
                    <a:gd name="connsiteX345" fmla="*/ 228198 w 1020248"/>
                    <a:gd name="connsiteY345" fmla="*/ 725644 h 736510"/>
                    <a:gd name="connsiteX346" fmla="*/ 222764 w 1020248"/>
                    <a:gd name="connsiteY346" fmla="*/ 723229 h 736510"/>
                    <a:gd name="connsiteX347" fmla="*/ 219746 w 1020248"/>
                    <a:gd name="connsiteY347" fmla="*/ 718400 h 736510"/>
                    <a:gd name="connsiteX348" fmla="*/ 215520 w 1020248"/>
                    <a:gd name="connsiteY348" fmla="*/ 719003 h 736510"/>
                    <a:gd name="connsiteX349" fmla="*/ 210690 w 1020248"/>
                    <a:gd name="connsiteY349" fmla="*/ 717192 h 736510"/>
                    <a:gd name="connsiteX350" fmla="*/ 208276 w 1020248"/>
                    <a:gd name="connsiteY350" fmla="*/ 713570 h 736510"/>
                    <a:gd name="connsiteX351" fmla="*/ 209483 w 1020248"/>
                    <a:gd name="connsiteY351" fmla="*/ 709344 h 736510"/>
                    <a:gd name="connsiteX352" fmla="*/ 205861 w 1020248"/>
                    <a:gd name="connsiteY352" fmla="*/ 705118 h 736510"/>
                    <a:gd name="connsiteX353" fmla="*/ 201635 w 1020248"/>
                    <a:gd name="connsiteY353" fmla="*/ 704515 h 736510"/>
                    <a:gd name="connsiteX354" fmla="*/ 199824 w 1020248"/>
                    <a:gd name="connsiteY354" fmla="*/ 700892 h 736510"/>
                    <a:gd name="connsiteX355" fmla="*/ 201635 w 1020248"/>
                    <a:gd name="connsiteY355" fmla="*/ 697874 h 736510"/>
                    <a:gd name="connsiteX356" fmla="*/ 207672 w 1020248"/>
                    <a:gd name="connsiteY356" fmla="*/ 696063 h 736510"/>
                    <a:gd name="connsiteX357" fmla="*/ 208276 w 1020248"/>
                    <a:gd name="connsiteY357" fmla="*/ 693045 h 736510"/>
                    <a:gd name="connsiteX358" fmla="*/ 207068 w 1020248"/>
                    <a:gd name="connsiteY358" fmla="*/ 688215 h 736510"/>
                    <a:gd name="connsiteX359" fmla="*/ 201635 w 1020248"/>
                    <a:gd name="connsiteY359" fmla="*/ 678556 h 736510"/>
                    <a:gd name="connsiteX360" fmla="*/ 196806 w 1020248"/>
                    <a:gd name="connsiteY360" fmla="*/ 679159 h 736510"/>
                    <a:gd name="connsiteX361" fmla="*/ 196806 w 1020248"/>
                    <a:gd name="connsiteY361" fmla="*/ 683989 h 736510"/>
                    <a:gd name="connsiteX362" fmla="*/ 194391 w 1020248"/>
                    <a:gd name="connsiteY362" fmla="*/ 685196 h 736510"/>
                    <a:gd name="connsiteX363" fmla="*/ 186543 w 1020248"/>
                    <a:gd name="connsiteY363" fmla="*/ 682178 h 736510"/>
                    <a:gd name="connsiteX364" fmla="*/ 176884 w 1020248"/>
                    <a:gd name="connsiteY364" fmla="*/ 683989 h 736510"/>
                    <a:gd name="connsiteX365" fmla="*/ 178695 w 1020248"/>
                    <a:gd name="connsiteY365" fmla="*/ 688215 h 736510"/>
                    <a:gd name="connsiteX366" fmla="*/ 178091 w 1020248"/>
                    <a:gd name="connsiteY366" fmla="*/ 691233 h 736510"/>
                    <a:gd name="connsiteX367" fmla="*/ 172658 w 1020248"/>
                    <a:gd name="connsiteY367" fmla="*/ 689422 h 736510"/>
                    <a:gd name="connsiteX368" fmla="*/ 175072 w 1020248"/>
                    <a:gd name="connsiteY368" fmla="*/ 685800 h 736510"/>
                    <a:gd name="connsiteX369" fmla="*/ 171450 w 1020248"/>
                    <a:gd name="connsiteY369" fmla="*/ 684593 h 736510"/>
                    <a:gd name="connsiteX370" fmla="*/ 169035 w 1020248"/>
                    <a:gd name="connsiteY370" fmla="*/ 687008 h 736510"/>
                    <a:gd name="connsiteX371" fmla="*/ 170243 w 1020248"/>
                    <a:gd name="connsiteY371" fmla="*/ 692441 h 736510"/>
                    <a:gd name="connsiteX372" fmla="*/ 163602 w 1020248"/>
                    <a:gd name="connsiteY372" fmla="*/ 697874 h 736510"/>
                    <a:gd name="connsiteX373" fmla="*/ 159376 w 1020248"/>
                    <a:gd name="connsiteY373" fmla="*/ 692441 h 736510"/>
                    <a:gd name="connsiteX374" fmla="*/ 159376 w 1020248"/>
                    <a:gd name="connsiteY374" fmla="*/ 685800 h 736510"/>
                    <a:gd name="connsiteX375" fmla="*/ 157565 w 1020248"/>
                    <a:gd name="connsiteY375" fmla="*/ 683385 h 736510"/>
                    <a:gd name="connsiteX376" fmla="*/ 156358 w 1020248"/>
                    <a:gd name="connsiteY376" fmla="*/ 677952 h 736510"/>
                    <a:gd name="connsiteX377" fmla="*/ 153339 w 1020248"/>
                    <a:gd name="connsiteY377" fmla="*/ 676141 h 736510"/>
                    <a:gd name="connsiteX378" fmla="*/ 150924 w 1020248"/>
                    <a:gd name="connsiteY378" fmla="*/ 668293 h 736510"/>
                    <a:gd name="connsiteX379" fmla="*/ 146095 w 1020248"/>
                    <a:gd name="connsiteY379" fmla="*/ 664067 h 736510"/>
                    <a:gd name="connsiteX380" fmla="*/ 139454 w 1020248"/>
                    <a:gd name="connsiteY380" fmla="*/ 662256 h 736510"/>
                    <a:gd name="connsiteX381" fmla="*/ 135228 w 1020248"/>
                    <a:gd name="connsiteY381" fmla="*/ 671311 h 736510"/>
                    <a:gd name="connsiteX382" fmla="*/ 132210 w 1020248"/>
                    <a:gd name="connsiteY382" fmla="*/ 676141 h 736510"/>
                    <a:gd name="connsiteX383" fmla="*/ 126173 w 1020248"/>
                    <a:gd name="connsiteY383" fmla="*/ 682782 h 736510"/>
                    <a:gd name="connsiteX384" fmla="*/ 114099 w 1020248"/>
                    <a:gd name="connsiteY384" fmla="*/ 685800 h 736510"/>
                    <a:gd name="connsiteX385" fmla="*/ 111684 w 1020248"/>
                    <a:gd name="connsiteY385" fmla="*/ 685196 h 736510"/>
                    <a:gd name="connsiteX386" fmla="*/ 99610 w 1020248"/>
                    <a:gd name="connsiteY386" fmla="*/ 686404 h 736510"/>
                    <a:gd name="connsiteX387" fmla="*/ 89347 w 1020248"/>
                    <a:gd name="connsiteY387" fmla="*/ 691233 h 736510"/>
                    <a:gd name="connsiteX388" fmla="*/ 82707 w 1020248"/>
                    <a:gd name="connsiteY388" fmla="*/ 692441 h 736510"/>
                    <a:gd name="connsiteX389" fmla="*/ 75462 w 1020248"/>
                    <a:gd name="connsiteY389" fmla="*/ 690026 h 736510"/>
                    <a:gd name="connsiteX390" fmla="*/ 58559 w 1020248"/>
                    <a:gd name="connsiteY390" fmla="*/ 690630 h 736510"/>
                    <a:gd name="connsiteX391" fmla="*/ 47089 w 1020248"/>
                    <a:gd name="connsiteY391" fmla="*/ 687611 h 736510"/>
                    <a:gd name="connsiteX392" fmla="*/ 37429 w 1020248"/>
                    <a:gd name="connsiteY392" fmla="*/ 687611 h 736510"/>
                    <a:gd name="connsiteX393" fmla="*/ 36826 w 1020248"/>
                    <a:gd name="connsiteY393" fmla="*/ 683989 h 736510"/>
                    <a:gd name="connsiteX394" fmla="*/ 41655 w 1020248"/>
                    <a:gd name="connsiteY394" fmla="*/ 682178 h 736510"/>
                    <a:gd name="connsiteX395" fmla="*/ 43466 w 1020248"/>
                    <a:gd name="connsiteY395" fmla="*/ 674330 h 736510"/>
                    <a:gd name="connsiteX396" fmla="*/ 41655 w 1020248"/>
                    <a:gd name="connsiteY396" fmla="*/ 670104 h 736510"/>
                    <a:gd name="connsiteX397" fmla="*/ 45277 w 1020248"/>
                    <a:gd name="connsiteY397" fmla="*/ 667085 h 736510"/>
                    <a:gd name="connsiteX398" fmla="*/ 41655 w 1020248"/>
                    <a:gd name="connsiteY398" fmla="*/ 661048 h 736510"/>
                    <a:gd name="connsiteX399" fmla="*/ 37429 w 1020248"/>
                    <a:gd name="connsiteY399" fmla="*/ 659237 h 736510"/>
                    <a:gd name="connsiteX400" fmla="*/ 38033 w 1020248"/>
                    <a:gd name="connsiteY400" fmla="*/ 655011 h 736510"/>
                    <a:gd name="connsiteX401" fmla="*/ 41052 w 1020248"/>
                    <a:gd name="connsiteY401" fmla="*/ 652597 h 736510"/>
                    <a:gd name="connsiteX402" fmla="*/ 36222 w 1020248"/>
                    <a:gd name="connsiteY402" fmla="*/ 646560 h 736510"/>
                    <a:gd name="connsiteX403" fmla="*/ 33807 w 1020248"/>
                    <a:gd name="connsiteY403" fmla="*/ 646560 h 736510"/>
                    <a:gd name="connsiteX404" fmla="*/ 33807 w 1020248"/>
                    <a:gd name="connsiteY404" fmla="*/ 639315 h 736510"/>
                    <a:gd name="connsiteX405" fmla="*/ 28374 w 1020248"/>
                    <a:gd name="connsiteY405" fmla="*/ 640523 h 736510"/>
                    <a:gd name="connsiteX406" fmla="*/ 24752 w 1020248"/>
                    <a:gd name="connsiteY406" fmla="*/ 635090 h 736510"/>
                    <a:gd name="connsiteX407" fmla="*/ 19922 w 1020248"/>
                    <a:gd name="connsiteY407" fmla="*/ 630864 h 736510"/>
                    <a:gd name="connsiteX408" fmla="*/ 14489 w 1020248"/>
                    <a:gd name="connsiteY408" fmla="*/ 629053 h 736510"/>
                    <a:gd name="connsiteX409" fmla="*/ 16300 w 1020248"/>
                    <a:gd name="connsiteY409" fmla="*/ 623016 h 736510"/>
                    <a:gd name="connsiteX410" fmla="*/ 15696 w 1020248"/>
                    <a:gd name="connsiteY410" fmla="*/ 618186 h 736510"/>
                    <a:gd name="connsiteX411" fmla="*/ 10867 w 1020248"/>
                    <a:gd name="connsiteY411" fmla="*/ 610942 h 736510"/>
                    <a:gd name="connsiteX412" fmla="*/ 7244 w 1020248"/>
                    <a:gd name="connsiteY412" fmla="*/ 601886 h 736510"/>
                    <a:gd name="connsiteX413" fmla="*/ 9055 w 1020248"/>
                    <a:gd name="connsiteY413" fmla="*/ 599471 h 736510"/>
                    <a:gd name="connsiteX414" fmla="*/ 8452 w 1020248"/>
                    <a:gd name="connsiteY414" fmla="*/ 589812 h 736510"/>
                    <a:gd name="connsiteX415" fmla="*/ 6037 w 1020248"/>
                    <a:gd name="connsiteY415" fmla="*/ 588001 h 736510"/>
                    <a:gd name="connsiteX416" fmla="*/ 6037 w 1020248"/>
                    <a:gd name="connsiteY416" fmla="*/ 577738 h 736510"/>
                    <a:gd name="connsiteX417" fmla="*/ 604 w 1020248"/>
                    <a:gd name="connsiteY417" fmla="*/ 576531 h 736510"/>
                    <a:gd name="connsiteX418" fmla="*/ 0 w 1020248"/>
                    <a:gd name="connsiteY418" fmla="*/ 571098 h 736510"/>
                    <a:gd name="connsiteX419" fmla="*/ 1811 w 1020248"/>
                    <a:gd name="connsiteY419" fmla="*/ 569287 h 736510"/>
                    <a:gd name="connsiteX420" fmla="*/ 4830 w 1020248"/>
                    <a:gd name="connsiteY420" fmla="*/ 554194 h 736510"/>
                    <a:gd name="connsiteX421" fmla="*/ 7848 w 1020248"/>
                    <a:gd name="connsiteY421" fmla="*/ 554798 h 736510"/>
                    <a:gd name="connsiteX422" fmla="*/ 7848 w 1020248"/>
                    <a:gd name="connsiteY422" fmla="*/ 545742 h 736510"/>
                    <a:gd name="connsiteX423" fmla="*/ 6037 w 1020248"/>
                    <a:gd name="connsiteY423" fmla="*/ 543931 h 736510"/>
                    <a:gd name="connsiteX424" fmla="*/ 7244 w 1020248"/>
                    <a:gd name="connsiteY424" fmla="*/ 534876 h 736510"/>
                    <a:gd name="connsiteX425" fmla="*/ 9055 w 1020248"/>
                    <a:gd name="connsiteY425" fmla="*/ 535480 h 736510"/>
                    <a:gd name="connsiteX426" fmla="*/ 15092 w 1020248"/>
                    <a:gd name="connsiteY426" fmla="*/ 533065 h 736510"/>
                    <a:gd name="connsiteX427" fmla="*/ 19318 w 1020248"/>
                    <a:gd name="connsiteY427" fmla="*/ 523406 h 736510"/>
                    <a:gd name="connsiteX428" fmla="*/ 26563 w 1020248"/>
                    <a:gd name="connsiteY428" fmla="*/ 520991 h 736510"/>
                    <a:gd name="connsiteX429" fmla="*/ 30185 w 1020248"/>
                    <a:gd name="connsiteY429" fmla="*/ 522802 h 736510"/>
                    <a:gd name="connsiteX430" fmla="*/ 33807 w 1020248"/>
                    <a:gd name="connsiteY430" fmla="*/ 515557 h 736510"/>
                    <a:gd name="connsiteX431" fmla="*/ 39844 w 1020248"/>
                    <a:gd name="connsiteY431" fmla="*/ 514954 h 736510"/>
                    <a:gd name="connsiteX432" fmla="*/ 47089 w 1020248"/>
                    <a:gd name="connsiteY432" fmla="*/ 508917 h 736510"/>
                    <a:gd name="connsiteX433" fmla="*/ 53126 w 1020248"/>
                    <a:gd name="connsiteY433" fmla="*/ 507709 h 736510"/>
                    <a:gd name="connsiteX434" fmla="*/ 60974 w 1020248"/>
                    <a:gd name="connsiteY434" fmla="*/ 504087 h 736510"/>
                    <a:gd name="connsiteX435" fmla="*/ 62785 w 1020248"/>
                    <a:gd name="connsiteY435" fmla="*/ 505295 h 736510"/>
                    <a:gd name="connsiteX436" fmla="*/ 70029 w 1020248"/>
                    <a:gd name="connsiteY436" fmla="*/ 496843 h 736510"/>
                    <a:gd name="connsiteX437" fmla="*/ 76670 w 1020248"/>
                    <a:gd name="connsiteY437" fmla="*/ 495635 h 736510"/>
                    <a:gd name="connsiteX438" fmla="*/ 81499 w 1020248"/>
                    <a:gd name="connsiteY438" fmla="*/ 489598 h 736510"/>
                    <a:gd name="connsiteX439" fmla="*/ 89347 w 1020248"/>
                    <a:gd name="connsiteY439" fmla="*/ 487787 h 736510"/>
                    <a:gd name="connsiteX440" fmla="*/ 95988 w 1020248"/>
                    <a:gd name="connsiteY440" fmla="*/ 488995 h 736510"/>
                    <a:gd name="connsiteX441" fmla="*/ 99006 w 1020248"/>
                    <a:gd name="connsiteY441" fmla="*/ 487184 h 736510"/>
                    <a:gd name="connsiteX442" fmla="*/ 100818 w 1020248"/>
                    <a:gd name="connsiteY442" fmla="*/ 481147 h 736510"/>
                    <a:gd name="connsiteX443" fmla="*/ 108062 w 1020248"/>
                    <a:gd name="connsiteY443" fmla="*/ 480543 h 736510"/>
                    <a:gd name="connsiteX444" fmla="*/ 106854 w 1020248"/>
                    <a:gd name="connsiteY444" fmla="*/ 474506 h 736510"/>
                    <a:gd name="connsiteX445" fmla="*/ 110477 w 1020248"/>
                    <a:gd name="connsiteY445" fmla="*/ 472091 h 736510"/>
                    <a:gd name="connsiteX446" fmla="*/ 114702 w 1020248"/>
                    <a:gd name="connsiteY446" fmla="*/ 465451 h 736510"/>
                    <a:gd name="connsiteX447" fmla="*/ 114702 w 1020248"/>
                    <a:gd name="connsiteY447" fmla="*/ 461225 h 736510"/>
                    <a:gd name="connsiteX448" fmla="*/ 118928 w 1020248"/>
                    <a:gd name="connsiteY448" fmla="*/ 460017 h 736510"/>
                    <a:gd name="connsiteX449" fmla="*/ 124965 w 1020248"/>
                    <a:gd name="connsiteY449" fmla="*/ 451566 h 736510"/>
                    <a:gd name="connsiteX450" fmla="*/ 129795 w 1020248"/>
                    <a:gd name="connsiteY450" fmla="*/ 450358 h 736510"/>
                    <a:gd name="connsiteX451" fmla="*/ 144284 w 1020248"/>
                    <a:gd name="connsiteY451" fmla="*/ 439492 h 736510"/>
                    <a:gd name="connsiteX452" fmla="*/ 156961 w 1020248"/>
                    <a:gd name="connsiteY452" fmla="*/ 434662 h 736510"/>
                    <a:gd name="connsiteX453" fmla="*/ 157565 w 1020248"/>
                    <a:gd name="connsiteY453" fmla="*/ 431040 h 736510"/>
                    <a:gd name="connsiteX454" fmla="*/ 155754 w 1020248"/>
                    <a:gd name="connsiteY454" fmla="*/ 421381 h 736510"/>
                    <a:gd name="connsiteX455" fmla="*/ 158169 w 1020248"/>
                    <a:gd name="connsiteY455" fmla="*/ 417155 h 736510"/>
                    <a:gd name="connsiteX456" fmla="*/ 163602 w 1020248"/>
                    <a:gd name="connsiteY456" fmla="*/ 414740 h 736510"/>
                    <a:gd name="connsiteX457" fmla="*/ 171450 w 1020248"/>
                    <a:gd name="connsiteY457" fmla="*/ 414136 h 736510"/>
                    <a:gd name="connsiteX458" fmla="*/ 175676 w 1020248"/>
                    <a:gd name="connsiteY458" fmla="*/ 415344 h 736510"/>
                    <a:gd name="connsiteX459" fmla="*/ 181109 w 1020248"/>
                    <a:gd name="connsiteY459" fmla="*/ 419570 h 736510"/>
                    <a:gd name="connsiteX460" fmla="*/ 182317 w 1020248"/>
                    <a:gd name="connsiteY460" fmla="*/ 426814 h 736510"/>
                    <a:gd name="connsiteX461" fmla="*/ 185939 w 1020248"/>
                    <a:gd name="connsiteY461" fmla="*/ 428625 h 736510"/>
                    <a:gd name="connsiteX462" fmla="*/ 201031 w 1020248"/>
                    <a:gd name="connsiteY462" fmla="*/ 428625 h 736510"/>
                    <a:gd name="connsiteX463" fmla="*/ 207068 w 1020248"/>
                    <a:gd name="connsiteY463" fmla="*/ 426814 h 736510"/>
                    <a:gd name="connsiteX464" fmla="*/ 208276 w 1020248"/>
                    <a:gd name="connsiteY464" fmla="*/ 411722 h 736510"/>
                    <a:gd name="connsiteX465" fmla="*/ 214313 w 1020248"/>
                    <a:gd name="connsiteY465" fmla="*/ 410514 h 736510"/>
                    <a:gd name="connsiteX466" fmla="*/ 222161 w 1020248"/>
                    <a:gd name="connsiteY466" fmla="*/ 413533 h 736510"/>
                    <a:gd name="connsiteX467" fmla="*/ 223972 w 1020248"/>
                    <a:gd name="connsiteY467" fmla="*/ 420173 h 736510"/>
                    <a:gd name="connsiteX468" fmla="*/ 228801 w 1020248"/>
                    <a:gd name="connsiteY468" fmla="*/ 421381 h 736510"/>
                    <a:gd name="connsiteX469" fmla="*/ 228801 w 1020248"/>
                    <a:gd name="connsiteY469" fmla="*/ 417759 h 736510"/>
                    <a:gd name="connsiteX470" fmla="*/ 233631 w 1020248"/>
                    <a:gd name="connsiteY470" fmla="*/ 417155 h 736510"/>
                    <a:gd name="connsiteX471" fmla="*/ 237253 w 1020248"/>
                    <a:gd name="connsiteY471" fmla="*/ 423796 h 736510"/>
                    <a:gd name="connsiteX472" fmla="*/ 242083 w 1020248"/>
                    <a:gd name="connsiteY472" fmla="*/ 421984 h 736510"/>
                    <a:gd name="connsiteX473" fmla="*/ 247516 w 1020248"/>
                    <a:gd name="connsiteY473" fmla="*/ 425607 h 736510"/>
                    <a:gd name="connsiteX474" fmla="*/ 250534 w 1020248"/>
                    <a:gd name="connsiteY474" fmla="*/ 421984 h 736510"/>
                    <a:gd name="connsiteX475" fmla="*/ 254760 w 1020248"/>
                    <a:gd name="connsiteY475" fmla="*/ 423796 h 736510"/>
                    <a:gd name="connsiteX476" fmla="*/ 256571 w 1020248"/>
                    <a:gd name="connsiteY476" fmla="*/ 420173 h 736510"/>
                    <a:gd name="connsiteX477" fmla="*/ 255968 w 1020248"/>
                    <a:gd name="connsiteY477" fmla="*/ 411722 h 736510"/>
                    <a:gd name="connsiteX478" fmla="*/ 263816 w 1020248"/>
                    <a:gd name="connsiteY478" fmla="*/ 411118 h 736510"/>
                    <a:gd name="connsiteX479" fmla="*/ 267438 w 1020248"/>
                    <a:gd name="connsiteY479" fmla="*/ 412929 h 736510"/>
                    <a:gd name="connsiteX480" fmla="*/ 270457 w 1020248"/>
                    <a:gd name="connsiteY480" fmla="*/ 410514 h 736510"/>
                    <a:gd name="connsiteX481" fmla="*/ 265023 w 1020248"/>
                    <a:gd name="connsiteY481" fmla="*/ 406288 h 736510"/>
                    <a:gd name="connsiteX482" fmla="*/ 269249 w 1020248"/>
                    <a:gd name="connsiteY482" fmla="*/ 399044 h 736510"/>
                    <a:gd name="connsiteX483" fmla="*/ 262005 w 1020248"/>
                    <a:gd name="connsiteY483" fmla="*/ 393007 h 736510"/>
                    <a:gd name="connsiteX484" fmla="*/ 254157 w 1020248"/>
                    <a:gd name="connsiteY484" fmla="*/ 388177 h 736510"/>
                    <a:gd name="connsiteX485" fmla="*/ 249931 w 1020248"/>
                    <a:gd name="connsiteY485" fmla="*/ 389385 h 736510"/>
                    <a:gd name="connsiteX486" fmla="*/ 249931 w 1020248"/>
                    <a:gd name="connsiteY486" fmla="*/ 379726 h 736510"/>
                    <a:gd name="connsiteX487" fmla="*/ 245705 w 1020248"/>
                    <a:gd name="connsiteY487" fmla="*/ 380933 h 736510"/>
                    <a:gd name="connsiteX488" fmla="*/ 241479 w 1020248"/>
                    <a:gd name="connsiteY488" fmla="*/ 376707 h 736510"/>
                    <a:gd name="connsiteX489" fmla="*/ 230009 w 1020248"/>
                    <a:gd name="connsiteY489" fmla="*/ 376103 h 736510"/>
                    <a:gd name="connsiteX490" fmla="*/ 225179 w 1020248"/>
                    <a:gd name="connsiteY490" fmla="*/ 367048 h 736510"/>
                    <a:gd name="connsiteX491" fmla="*/ 220953 w 1020248"/>
                    <a:gd name="connsiteY491" fmla="*/ 365841 h 736510"/>
                    <a:gd name="connsiteX492" fmla="*/ 213709 w 1020248"/>
                    <a:gd name="connsiteY492" fmla="*/ 361011 h 736510"/>
                    <a:gd name="connsiteX493" fmla="*/ 205861 w 1020248"/>
                    <a:gd name="connsiteY493" fmla="*/ 363426 h 736510"/>
                    <a:gd name="connsiteX494" fmla="*/ 201031 w 1020248"/>
                    <a:gd name="connsiteY494" fmla="*/ 363426 h 736510"/>
                    <a:gd name="connsiteX495" fmla="*/ 190769 w 1020248"/>
                    <a:gd name="connsiteY495" fmla="*/ 355578 h 736510"/>
                    <a:gd name="connsiteX496" fmla="*/ 182921 w 1020248"/>
                    <a:gd name="connsiteY496" fmla="*/ 351352 h 736510"/>
                    <a:gd name="connsiteX497" fmla="*/ 181109 w 1020248"/>
                    <a:gd name="connsiteY497" fmla="*/ 353767 h 736510"/>
                    <a:gd name="connsiteX498" fmla="*/ 176884 w 1020248"/>
                    <a:gd name="connsiteY498" fmla="*/ 351956 h 736510"/>
                    <a:gd name="connsiteX499" fmla="*/ 175676 w 1020248"/>
                    <a:gd name="connsiteY499" fmla="*/ 345919 h 736510"/>
                    <a:gd name="connsiteX500" fmla="*/ 169639 w 1020248"/>
                    <a:gd name="connsiteY500" fmla="*/ 340485 h 736510"/>
                    <a:gd name="connsiteX501" fmla="*/ 164810 w 1020248"/>
                    <a:gd name="connsiteY501" fmla="*/ 334448 h 736510"/>
                    <a:gd name="connsiteX502" fmla="*/ 159980 w 1020248"/>
                    <a:gd name="connsiteY502" fmla="*/ 329619 h 736510"/>
                    <a:gd name="connsiteX503" fmla="*/ 151528 w 1020248"/>
                    <a:gd name="connsiteY503" fmla="*/ 328411 h 736510"/>
                    <a:gd name="connsiteX504" fmla="*/ 149717 w 1020248"/>
                    <a:gd name="connsiteY504" fmla="*/ 321167 h 736510"/>
                    <a:gd name="connsiteX505" fmla="*/ 144887 w 1020248"/>
                    <a:gd name="connsiteY505" fmla="*/ 318149 h 736510"/>
                    <a:gd name="connsiteX506" fmla="*/ 146699 w 1020248"/>
                    <a:gd name="connsiteY506" fmla="*/ 313923 h 736510"/>
                    <a:gd name="connsiteX507" fmla="*/ 141869 w 1020248"/>
                    <a:gd name="connsiteY507" fmla="*/ 310904 h 736510"/>
                    <a:gd name="connsiteX508" fmla="*/ 141869 w 1020248"/>
                    <a:gd name="connsiteY508" fmla="*/ 307886 h 736510"/>
                    <a:gd name="connsiteX509" fmla="*/ 147906 w 1020248"/>
                    <a:gd name="connsiteY509" fmla="*/ 298226 h 736510"/>
                    <a:gd name="connsiteX510" fmla="*/ 156358 w 1020248"/>
                    <a:gd name="connsiteY510" fmla="*/ 300038 h 736510"/>
                    <a:gd name="connsiteX511" fmla="*/ 159980 w 1020248"/>
                    <a:gd name="connsiteY511" fmla="*/ 296415 h 736510"/>
                    <a:gd name="connsiteX512" fmla="*/ 164206 w 1020248"/>
                    <a:gd name="connsiteY512" fmla="*/ 295812 h 736510"/>
                    <a:gd name="connsiteX513" fmla="*/ 164206 w 1020248"/>
                    <a:gd name="connsiteY513" fmla="*/ 291586 h 736510"/>
                    <a:gd name="connsiteX514" fmla="*/ 173865 w 1020248"/>
                    <a:gd name="connsiteY514" fmla="*/ 291586 h 736510"/>
                    <a:gd name="connsiteX515" fmla="*/ 175676 w 1020248"/>
                    <a:gd name="connsiteY515" fmla="*/ 288567 h 736510"/>
                    <a:gd name="connsiteX516" fmla="*/ 176280 w 1020248"/>
                    <a:gd name="connsiteY516" fmla="*/ 281927 h 736510"/>
                    <a:gd name="connsiteX517" fmla="*/ 178695 w 1020248"/>
                    <a:gd name="connsiteY517" fmla="*/ 278908 h 736510"/>
                    <a:gd name="connsiteX518" fmla="*/ 175676 w 1020248"/>
                    <a:gd name="connsiteY518" fmla="*/ 274078 h 736510"/>
                    <a:gd name="connsiteX519" fmla="*/ 176280 w 1020248"/>
                    <a:gd name="connsiteY519" fmla="*/ 265627 h 736510"/>
                    <a:gd name="connsiteX520" fmla="*/ 165413 w 1020248"/>
                    <a:gd name="connsiteY520" fmla="*/ 263212 h 736510"/>
                    <a:gd name="connsiteX521" fmla="*/ 153943 w 1020248"/>
                    <a:gd name="connsiteY521" fmla="*/ 262005 h 736510"/>
                    <a:gd name="connsiteX522" fmla="*/ 152736 w 1020248"/>
                    <a:gd name="connsiteY522" fmla="*/ 258986 h 736510"/>
                    <a:gd name="connsiteX523" fmla="*/ 148510 w 1020248"/>
                    <a:gd name="connsiteY523" fmla="*/ 257779 h 736510"/>
                    <a:gd name="connsiteX524" fmla="*/ 144284 w 1020248"/>
                    <a:gd name="connsiteY524" fmla="*/ 252346 h 736510"/>
                    <a:gd name="connsiteX525" fmla="*/ 144284 w 1020248"/>
                    <a:gd name="connsiteY525" fmla="*/ 249931 h 736510"/>
                    <a:gd name="connsiteX526" fmla="*/ 139454 w 1020248"/>
                    <a:gd name="connsiteY526" fmla="*/ 248723 h 736510"/>
                    <a:gd name="connsiteX527" fmla="*/ 137643 w 1020248"/>
                    <a:gd name="connsiteY527" fmla="*/ 251742 h 736510"/>
                    <a:gd name="connsiteX528" fmla="*/ 129795 w 1020248"/>
                    <a:gd name="connsiteY528" fmla="*/ 250534 h 736510"/>
                    <a:gd name="connsiteX529" fmla="*/ 120739 w 1020248"/>
                    <a:gd name="connsiteY529" fmla="*/ 248120 h 736510"/>
                    <a:gd name="connsiteX530" fmla="*/ 121947 w 1020248"/>
                    <a:gd name="connsiteY530" fmla="*/ 234838 h 736510"/>
                    <a:gd name="connsiteX531" fmla="*/ 120739 w 1020248"/>
                    <a:gd name="connsiteY531" fmla="*/ 232423 h 736510"/>
                    <a:gd name="connsiteX532" fmla="*/ 126776 w 1020248"/>
                    <a:gd name="connsiteY532" fmla="*/ 230612 h 736510"/>
                    <a:gd name="connsiteX533" fmla="*/ 134021 w 1020248"/>
                    <a:gd name="connsiteY533" fmla="*/ 233631 h 736510"/>
                    <a:gd name="connsiteX534" fmla="*/ 135832 w 1020248"/>
                    <a:gd name="connsiteY534" fmla="*/ 229405 h 736510"/>
                    <a:gd name="connsiteX535" fmla="*/ 141265 w 1020248"/>
                    <a:gd name="connsiteY535" fmla="*/ 230612 h 736510"/>
                    <a:gd name="connsiteX536" fmla="*/ 150924 w 1020248"/>
                    <a:gd name="connsiteY536" fmla="*/ 226386 h 736510"/>
                    <a:gd name="connsiteX537" fmla="*/ 151528 w 1020248"/>
                    <a:gd name="connsiteY537" fmla="*/ 222161 h 736510"/>
                    <a:gd name="connsiteX538" fmla="*/ 158773 w 1020248"/>
                    <a:gd name="connsiteY538" fmla="*/ 211294 h 736510"/>
                    <a:gd name="connsiteX539" fmla="*/ 157565 w 1020248"/>
                    <a:gd name="connsiteY539" fmla="*/ 204050 h 736510"/>
                    <a:gd name="connsiteX540" fmla="*/ 162998 w 1020248"/>
                    <a:gd name="connsiteY540" fmla="*/ 204653 h 736510"/>
                    <a:gd name="connsiteX541" fmla="*/ 172658 w 1020248"/>
                    <a:gd name="connsiteY541" fmla="*/ 204653 h 736510"/>
                    <a:gd name="connsiteX542" fmla="*/ 175676 w 1020248"/>
                    <a:gd name="connsiteY542" fmla="*/ 207672 h 736510"/>
                    <a:gd name="connsiteX543" fmla="*/ 182921 w 1020248"/>
                    <a:gd name="connsiteY543" fmla="*/ 207672 h 736510"/>
                    <a:gd name="connsiteX544" fmla="*/ 188354 w 1020248"/>
                    <a:gd name="connsiteY544" fmla="*/ 210690 h 736510"/>
                    <a:gd name="connsiteX545" fmla="*/ 194391 w 1020248"/>
                    <a:gd name="connsiteY545" fmla="*/ 211898 h 736510"/>
                    <a:gd name="connsiteX546" fmla="*/ 197409 w 1020248"/>
                    <a:gd name="connsiteY546" fmla="*/ 213709 h 736510"/>
                    <a:gd name="connsiteX547" fmla="*/ 202239 w 1020248"/>
                    <a:gd name="connsiteY547" fmla="*/ 210087 h 736510"/>
                    <a:gd name="connsiteX548" fmla="*/ 208276 w 1020248"/>
                    <a:gd name="connsiteY548" fmla="*/ 210087 h 736510"/>
                    <a:gd name="connsiteX549" fmla="*/ 226386 w 1020248"/>
                    <a:gd name="connsiteY549" fmla="*/ 207068 h 736510"/>
                    <a:gd name="connsiteX550" fmla="*/ 224575 w 1020248"/>
                    <a:gd name="connsiteY550" fmla="*/ 203446 h 736510"/>
                    <a:gd name="connsiteX551" fmla="*/ 223972 w 1020248"/>
                    <a:gd name="connsiteY551" fmla="*/ 196805 h 736510"/>
                    <a:gd name="connsiteX552" fmla="*/ 216727 w 1020248"/>
                    <a:gd name="connsiteY552" fmla="*/ 195598 h 736510"/>
                    <a:gd name="connsiteX553" fmla="*/ 213105 w 1020248"/>
                    <a:gd name="connsiteY553" fmla="*/ 194994 h 736510"/>
                    <a:gd name="connsiteX554" fmla="*/ 210690 w 1020248"/>
                    <a:gd name="connsiteY554" fmla="*/ 194994 h 736510"/>
                    <a:gd name="connsiteX555" fmla="*/ 207672 w 1020248"/>
                    <a:gd name="connsiteY555" fmla="*/ 193183 h 736510"/>
                    <a:gd name="connsiteX556" fmla="*/ 207068 w 1020248"/>
                    <a:gd name="connsiteY556" fmla="*/ 186542 h 736510"/>
                    <a:gd name="connsiteX557" fmla="*/ 204050 w 1020248"/>
                    <a:gd name="connsiteY557" fmla="*/ 181713 h 736510"/>
                    <a:gd name="connsiteX558" fmla="*/ 202842 w 1020248"/>
                    <a:gd name="connsiteY558" fmla="*/ 178091 h 736510"/>
                    <a:gd name="connsiteX559" fmla="*/ 198617 w 1020248"/>
                    <a:gd name="connsiteY559" fmla="*/ 178694 h 736510"/>
                    <a:gd name="connsiteX560" fmla="*/ 196202 w 1020248"/>
                    <a:gd name="connsiteY560" fmla="*/ 180505 h 736510"/>
                    <a:gd name="connsiteX561" fmla="*/ 193787 w 1020248"/>
                    <a:gd name="connsiteY561" fmla="*/ 182317 h 736510"/>
                    <a:gd name="connsiteX562" fmla="*/ 191372 w 1020248"/>
                    <a:gd name="connsiteY562" fmla="*/ 183524 h 736510"/>
                    <a:gd name="connsiteX563" fmla="*/ 187750 w 1020248"/>
                    <a:gd name="connsiteY563" fmla="*/ 177487 h 736510"/>
                    <a:gd name="connsiteX564" fmla="*/ 190769 w 1020248"/>
                    <a:gd name="connsiteY564" fmla="*/ 173261 h 736510"/>
                    <a:gd name="connsiteX565" fmla="*/ 192580 w 1020248"/>
                    <a:gd name="connsiteY565" fmla="*/ 169035 h 736510"/>
                    <a:gd name="connsiteX566" fmla="*/ 193183 w 1020248"/>
                    <a:gd name="connsiteY566" fmla="*/ 165413 h 736510"/>
                    <a:gd name="connsiteX567" fmla="*/ 192580 w 1020248"/>
                    <a:gd name="connsiteY567" fmla="*/ 162395 h 736510"/>
                    <a:gd name="connsiteX568" fmla="*/ 191372 w 1020248"/>
                    <a:gd name="connsiteY568" fmla="*/ 162395 h 736510"/>
                    <a:gd name="connsiteX569" fmla="*/ 192580 w 1020248"/>
                    <a:gd name="connsiteY569" fmla="*/ 158772 h 736510"/>
                    <a:gd name="connsiteX570" fmla="*/ 191976 w 1020248"/>
                    <a:gd name="connsiteY570" fmla="*/ 153943 h 736510"/>
                    <a:gd name="connsiteX571" fmla="*/ 189561 w 1020248"/>
                    <a:gd name="connsiteY571" fmla="*/ 152736 h 736510"/>
                    <a:gd name="connsiteX572" fmla="*/ 187146 w 1020248"/>
                    <a:gd name="connsiteY572" fmla="*/ 150924 h 736510"/>
                    <a:gd name="connsiteX573" fmla="*/ 184128 w 1020248"/>
                    <a:gd name="connsiteY573" fmla="*/ 150924 h 736510"/>
                    <a:gd name="connsiteX574" fmla="*/ 177487 w 1020248"/>
                    <a:gd name="connsiteY574" fmla="*/ 155150 h 736510"/>
                    <a:gd name="connsiteX575" fmla="*/ 177487 w 1020248"/>
                    <a:gd name="connsiteY575" fmla="*/ 156961 h 736510"/>
                    <a:gd name="connsiteX576" fmla="*/ 176280 w 1020248"/>
                    <a:gd name="connsiteY576" fmla="*/ 159376 h 736510"/>
                    <a:gd name="connsiteX577" fmla="*/ 172054 w 1020248"/>
                    <a:gd name="connsiteY577" fmla="*/ 158169 h 736510"/>
                    <a:gd name="connsiteX578" fmla="*/ 168432 w 1020248"/>
                    <a:gd name="connsiteY578" fmla="*/ 154547 h 736510"/>
                    <a:gd name="connsiteX579" fmla="*/ 169639 w 1020248"/>
                    <a:gd name="connsiteY579" fmla="*/ 150321 h 736510"/>
                    <a:gd name="connsiteX580" fmla="*/ 170243 w 1020248"/>
                    <a:gd name="connsiteY580" fmla="*/ 147906 h 736510"/>
                    <a:gd name="connsiteX581" fmla="*/ 167828 w 1020248"/>
                    <a:gd name="connsiteY581" fmla="*/ 147906 h 736510"/>
                    <a:gd name="connsiteX582" fmla="*/ 166621 w 1020248"/>
                    <a:gd name="connsiteY582" fmla="*/ 146095 h 736510"/>
                    <a:gd name="connsiteX583" fmla="*/ 161791 w 1020248"/>
                    <a:gd name="connsiteY583" fmla="*/ 147302 h 736510"/>
                    <a:gd name="connsiteX584" fmla="*/ 159980 w 1020248"/>
                    <a:gd name="connsiteY584" fmla="*/ 149113 h 736510"/>
                    <a:gd name="connsiteX585" fmla="*/ 159376 w 1020248"/>
                    <a:gd name="connsiteY585" fmla="*/ 148510 h 736510"/>
                    <a:gd name="connsiteX586" fmla="*/ 156961 w 1020248"/>
                    <a:gd name="connsiteY586" fmla="*/ 149113 h 736510"/>
                    <a:gd name="connsiteX587" fmla="*/ 153339 w 1020248"/>
                    <a:gd name="connsiteY587" fmla="*/ 146699 h 736510"/>
                    <a:gd name="connsiteX588" fmla="*/ 151528 w 1020248"/>
                    <a:gd name="connsiteY588" fmla="*/ 144284 h 736510"/>
                    <a:gd name="connsiteX589" fmla="*/ 151528 w 1020248"/>
                    <a:gd name="connsiteY589" fmla="*/ 143680 h 736510"/>
                    <a:gd name="connsiteX590" fmla="*/ 150321 w 1020248"/>
                    <a:gd name="connsiteY590" fmla="*/ 143076 h 736510"/>
                    <a:gd name="connsiteX591" fmla="*/ 149717 w 1020248"/>
                    <a:gd name="connsiteY591" fmla="*/ 141869 h 736510"/>
                    <a:gd name="connsiteX592" fmla="*/ 151528 w 1020248"/>
                    <a:gd name="connsiteY592" fmla="*/ 140662 h 736510"/>
                    <a:gd name="connsiteX593" fmla="*/ 150321 w 1020248"/>
                    <a:gd name="connsiteY593" fmla="*/ 137039 h 736510"/>
                    <a:gd name="connsiteX594" fmla="*/ 147302 w 1020248"/>
                    <a:gd name="connsiteY594" fmla="*/ 135228 h 736510"/>
                    <a:gd name="connsiteX595" fmla="*/ 146095 w 1020248"/>
                    <a:gd name="connsiteY595" fmla="*/ 134625 h 736510"/>
                    <a:gd name="connsiteX596" fmla="*/ 147906 w 1020248"/>
                    <a:gd name="connsiteY596" fmla="*/ 132813 h 736510"/>
                    <a:gd name="connsiteX597" fmla="*/ 148510 w 1020248"/>
                    <a:gd name="connsiteY597" fmla="*/ 132813 h 736510"/>
                    <a:gd name="connsiteX598" fmla="*/ 149113 w 1020248"/>
                    <a:gd name="connsiteY598" fmla="*/ 131002 h 736510"/>
                    <a:gd name="connsiteX599" fmla="*/ 150924 w 1020248"/>
                    <a:gd name="connsiteY599" fmla="*/ 129795 h 736510"/>
                    <a:gd name="connsiteX600" fmla="*/ 149717 w 1020248"/>
                    <a:gd name="connsiteY600" fmla="*/ 128588 h 736510"/>
                    <a:gd name="connsiteX601" fmla="*/ 150321 w 1020248"/>
                    <a:gd name="connsiteY601" fmla="*/ 125569 h 736510"/>
                    <a:gd name="connsiteX602" fmla="*/ 148510 w 1020248"/>
                    <a:gd name="connsiteY602" fmla="*/ 124965 h 736510"/>
                    <a:gd name="connsiteX603" fmla="*/ 151528 w 1020248"/>
                    <a:gd name="connsiteY603" fmla="*/ 123154 h 736510"/>
                    <a:gd name="connsiteX604" fmla="*/ 149717 w 1020248"/>
                    <a:gd name="connsiteY604" fmla="*/ 120136 h 736510"/>
                    <a:gd name="connsiteX605" fmla="*/ 148510 w 1020248"/>
                    <a:gd name="connsiteY605" fmla="*/ 116514 h 736510"/>
                    <a:gd name="connsiteX606" fmla="*/ 148510 w 1020248"/>
                    <a:gd name="connsiteY606" fmla="*/ 110477 h 736510"/>
                    <a:gd name="connsiteX607" fmla="*/ 146095 w 1020248"/>
                    <a:gd name="connsiteY607" fmla="*/ 111080 h 736510"/>
                    <a:gd name="connsiteX608" fmla="*/ 139454 w 1020248"/>
                    <a:gd name="connsiteY608" fmla="*/ 105043 h 736510"/>
                    <a:gd name="connsiteX609" fmla="*/ 144887 w 1020248"/>
                    <a:gd name="connsiteY609" fmla="*/ 102025 h 736510"/>
                    <a:gd name="connsiteX610" fmla="*/ 144887 w 1020248"/>
                    <a:gd name="connsiteY610" fmla="*/ 99610 h 736510"/>
                    <a:gd name="connsiteX611" fmla="*/ 144284 w 1020248"/>
                    <a:gd name="connsiteY611" fmla="*/ 97799 h 736510"/>
                    <a:gd name="connsiteX612" fmla="*/ 142473 w 1020248"/>
                    <a:gd name="connsiteY612" fmla="*/ 97195 h 736510"/>
                    <a:gd name="connsiteX613" fmla="*/ 136436 w 1020248"/>
                    <a:gd name="connsiteY613" fmla="*/ 99610 h 736510"/>
                    <a:gd name="connsiteX614" fmla="*/ 130399 w 1020248"/>
                    <a:gd name="connsiteY614" fmla="*/ 101421 h 736510"/>
                    <a:gd name="connsiteX615" fmla="*/ 129191 w 1020248"/>
                    <a:gd name="connsiteY615" fmla="*/ 100214 h 736510"/>
                    <a:gd name="connsiteX616" fmla="*/ 128588 w 1020248"/>
                    <a:gd name="connsiteY616" fmla="*/ 97195 h 736510"/>
                    <a:gd name="connsiteX617" fmla="*/ 129191 w 1020248"/>
                    <a:gd name="connsiteY617" fmla="*/ 93573 h 736510"/>
                    <a:gd name="connsiteX618" fmla="*/ 131002 w 1020248"/>
                    <a:gd name="connsiteY618" fmla="*/ 91762 h 736510"/>
                    <a:gd name="connsiteX619" fmla="*/ 131606 w 1020248"/>
                    <a:gd name="connsiteY619" fmla="*/ 90555 h 736510"/>
                    <a:gd name="connsiteX620" fmla="*/ 131002 w 1020248"/>
                    <a:gd name="connsiteY620" fmla="*/ 88744 h 736510"/>
                    <a:gd name="connsiteX621" fmla="*/ 134625 w 1020248"/>
                    <a:gd name="connsiteY621" fmla="*/ 82707 h 736510"/>
                    <a:gd name="connsiteX622" fmla="*/ 137643 w 1020248"/>
                    <a:gd name="connsiteY622" fmla="*/ 79688 h 736510"/>
                    <a:gd name="connsiteX623" fmla="*/ 138247 w 1020248"/>
                    <a:gd name="connsiteY623" fmla="*/ 79084 h 736510"/>
                    <a:gd name="connsiteX624" fmla="*/ 136436 w 1020248"/>
                    <a:gd name="connsiteY624" fmla="*/ 74255 h 736510"/>
                    <a:gd name="connsiteX625" fmla="*/ 133417 w 1020248"/>
                    <a:gd name="connsiteY625" fmla="*/ 70029 h 736510"/>
                    <a:gd name="connsiteX626" fmla="*/ 133417 w 1020248"/>
                    <a:gd name="connsiteY626" fmla="*/ 68218 h 736510"/>
                    <a:gd name="connsiteX627" fmla="*/ 130399 w 1020248"/>
                    <a:gd name="connsiteY627" fmla="*/ 65803 h 736510"/>
                    <a:gd name="connsiteX628" fmla="*/ 121947 w 1020248"/>
                    <a:gd name="connsiteY628" fmla="*/ 63388 h 736510"/>
                    <a:gd name="connsiteX629" fmla="*/ 120739 w 1020248"/>
                    <a:gd name="connsiteY629" fmla="*/ 62784 h 736510"/>
                    <a:gd name="connsiteX630" fmla="*/ 119532 w 1020248"/>
                    <a:gd name="connsiteY630" fmla="*/ 56748 h 736510"/>
                    <a:gd name="connsiteX631" fmla="*/ 124362 w 1020248"/>
                    <a:gd name="connsiteY631" fmla="*/ 53125 h 736510"/>
                    <a:gd name="connsiteX632" fmla="*/ 125569 w 1020248"/>
                    <a:gd name="connsiteY632" fmla="*/ 47692 h 736510"/>
                    <a:gd name="connsiteX633" fmla="*/ 121947 w 1020248"/>
                    <a:gd name="connsiteY633" fmla="*/ 44674 h 736510"/>
                    <a:gd name="connsiteX634" fmla="*/ 118325 w 1020248"/>
                    <a:gd name="connsiteY634" fmla="*/ 45277 h 736510"/>
                    <a:gd name="connsiteX635" fmla="*/ 111080 w 1020248"/>
                    <a:gd name="connsiteY635" fmla="*/ 48900 h 736510"/>
                    <a:gd name="connsiteX636" fmla="*/ 106251 w 1020248"/>
                    <a:gd name="connsiteY636" fmla="*/ 45277 h 736510"/>
                    <a:gd name="connsiteX637" fmla="*/ 109873 w 1020248"/>
                    <a:gd name="connsiteY637" fmla="*/ 43466 h 736510"/>
                    <a:gd name="connsiteX638" fmla="*/ 112288 w 1020248"/>
                    <a:gd name="connsiteY638" fmla="*/ 39844 h 736510"/>
                    <a:gd name="connsiteX639" fmla="*/ 118325 w 1020248"/>
                    <a:gd name="connsiteY639" fmla="*/ 38033 h 736510"/>
                    <a:gd name="connsiteX640" fmla="*/ 121947 w 1020248"/>
                    <a:gd name="connsiteY640" fmla="*/ 33807 h 736510"/>
                    <a:gd name="connsiteX641" fmla="*/ 121947 w 1020248"/>
                    <a:gd name="connsiteY641" fmla="*/ 30789 h 736510"/>
                    <a:gd name="connsiteX642" fmla="*/ 115306 w 1020248"/>
                    <a:gd name="connsiteY642" fmla="*/ 30185 h 736510"/>
                    <a:gd name="connsiteX643" fmla="*/ 114702 w 1020248"/>
                    <a:gd name="connsiteY643" fmla="*/ 21733 h 736510"/>
                    <a:gd name="connsiteX644" fmla="*/ 127380 w 1020248"/>
                    <a:gd name="connsiteY644" fmla="*/ 16904 h 736510"/>
                    <a:gd name="connsiteX645" fmla="*/ 130399 w 1020248"/>
                    <a:gd name="connsiteY645" fmla="*/ 18715 h 736510"/>
                    <a:gd name="connsiteX646" fmla="*/ 140058 w 1020248"/>
                    <a:gd name="connsiteY646" fmla="*/ 18111 h 736510"/>
                    <a:gd name="connsiteX647" fmla="*/ 146699 w 1020248"/>
                    <a:gd name="connsiteY647" fmla="*/ 19318 h 736510"/>
                    <a:gd name="connsiteX648" fmla="*/ 152132 w 1020248"/>
                    <a:gd name="connsiteY648" fmla="*/ 18715 h 736510"/>
                    <a:gd name="connsiteX649" fmla="*/ 155754 w 1020248"/>
                    <a:gd name="connsiteY649" fmla="*/ 10263 h 736510"/>
                    <a:gd name="connsiteX650" fmla="*/ 161187 w 1020248"/>
                    <a:gd name="connsiteY650" fmla="*/ 7848 h 736510"/>
                    <a:gd name="connsiteX651" fmla="*/ 164206 w 1020248"/>
                    <a:gd name="connsiteY651" fmla="*/ 0 h 736510"/>
                    <a:gd name="connsiteX652" fmla="*/ 168432 w 1020248"/>
                    <a:gd name="connsiteY652" fmla="*/ 2415 h 736510"/>
                    <a:gd name="connsiteX653" fmla="*/ 172658 w 1020248"/>
                    <a:gd name="connsiteY653" fmla="*/ 1207 h 736510"/>
                    <a:gd name="connsiteX654" fmla="*/ 172054 w 1020248"/>
                    <a:gd name="connsiteY654" fmla="*/ 8452 h 736510"/>
                    <a:gd name="connsiteX655" fmla="*/ 176884 w 1020248"/>
                    <a:gd name="connsiteY655" fmla="*/ 10867 h 736510"/>
                    <a:gd name="connsiteX656" fmla="*/ 184128 w 1020248"/>
                    <a:gd name="connsiteY656" fmla="*/ 12074 h 736510"/>
                    <a:gd name="connsiteX657" fmla="*/ 184732 w 1020248"/>
                    <a:gd name="connsiteY657" fmla="*/ 18715 h 736510"/>
                    <a:gd name="connsiteX658" fmla="*/ 189561 w 1020248"/>
                    <a:gd name="connsiteY658" fmla="*/ 15092 h 736510"/>
                    <a:gd name="connsiteX659" fmla="*/ 193787 w 1020248"/>
                    <a:gd name="connsiteY659" fmla="*/ 16300 h 736510"/>
                    <a:gd name="connsiteX660" fmla="*/ 198013 w 1020248"/>
                    <a:gd name="connsiteY660" fmla="*/ 21733 h 736510"/>
                    <a:gd name="connsiteX661" fmla="*/ 198617 w 1020248"/>
                    <a:gd name="connsiteY661" fmla="*/ 28374 h 736510"/>
                    <a:gd name="connsiteX662" fmla="*/ 201635 w 1020248"/>
                    <a:gd name="connsiteY662" fmla="*/ 31996 h 736510"/>
                    <a:gd name="connsiteX663" fmla="*/ 222161 w 1020248"/>
                    <a:gd name="connsiteY663" fmla="*/ 35618 h 736510"/>
                    <a:gd name="connsiteX664" fmla="*/ 232423 w 1020248"/>
                    <a:gd name="connsiteY664" fmla="*/ 35618 h 736510"/>
                    <a:gd name="connsiteX665" fmla="*/ 238460 w 1020248"/>
                    <a:gd name="connsiteY665" fmla="*/ 38637 h 736510"/>
                    <a:gd name="connsiteX666" fmla="*/ 242083 w 1020248"/>
                    <a:gd name="connsiteY666" fmla="*/ 38033 h 736510"/>
                    <a:gd name="connsiteX667" fmla="*/ 258383 w 1020248"/>
                    <a:gd name="connsiteY667" fmla="*/ 40448 h 736510"/>
                    <a:gd name="connsiteX668" fmla="*/ 266834 w 1020248"/>
                    <a:gd name="connsiteY668" fmla="*/ 43466 h 736510"/>
                    <a:gd name="connsiteX669" fmla="*/ 269853 w 1020248"/>
                    <a:gd name="connsiteY669" fmla="*/ 43466 h 736510"/>
                    <a:gd name="connsiteX670" fmla="*/ 274079 w 1020248"/>
                    <a:gd name="connsiteY670" fmla="*/ 50107 h 736510"/>
                    <a:gd name="connsiteX671" fmla="*/ 283738 w 1020248"/>
                    <a:gd name="connsiteY671" fmla="*/ 69425 h 736510"/>
                    <a:gd name="connsiteX672" fmla="*/ 281927 w 1020248"/>
                    <a:gd name="connsiteY672" fmla="*/ 74858 h 736510"/>
                    <a:gd name="connsiteX673" fmla="*/ 280719 w 1020248"/>
                    <a:gd name="connsiteY673" fmla="*/ 81499 h 736510"/>
                    <a:gd name="connsiteX674" fmla="*/ 282531 w 1020248"/>
                    <a:gd name="connsiteY674" fmla="*/ 88140 h 736510"/>
                    <a:gd name="connsiteX675" fmla="*/ 280719 w 1020248"/>
                    <a:gd name="connsiteY675" fmla="*/ 92969 h 736510"/>
                    <a:gd name="connsiteX676" fmla="*/ 280719 w 1020248"/>
                    <a:gd name="connsiteY676" fmla="*/ 97195 h 736510"/>
                    <a:gd name="connsiteX677" fmla="*/ 278908 w 1020248"/>
                    <a:gd name="connsiteY677" fmla="*/ 100818 h 736510"/>
                    <a:gd name="connsiteX678" fmla="*/ 274682 w 1020248"/>
                    <a:gd name="connsiteY678" fmla="*/ 103836 h 736510"/>
                    <a:gd name="connsiteX679" fmla="*/ 274079 w 1020248"/>
                    <a:gd name="connsiteY679" fmla="*/ 110477 h 736510"/>
                    <a:gd name="connsiteX680" fmla="*/ 286153 w 1020248"/>
                    <a:gd name="connsiteY680" fmla="*/ 114702 h 736510"/>
                    <a:gd name="connsiteX681" fmla="*/ 297623 w 1020248"/>
                    <a:gd name="connsiteY681" fmla="*/ 120739 h 736510"/>
                    <a:gd name="connsiteX682" fmla="*/ 300642 w 1020248"/>
                    <a:gd name="connsiteY682" fmla="*/ 117117 h 736510"/>
                    <a:gd name="connsiteX683" fmla="*/ 305471 w 1020248"/>
                    <a:gd name="connsiteY683" fmla="*/ 121947 h 736510"/>
                    <a:gd name="connsiteX684" fmla="*/ 310301 w 1020248"/>
                    <a:gd name="connsiteY684" fmla="*/ 116514 h 736510"/>
                    <a:gd name="connsiteX685" fmla="*/ 317545 w 1020248"/>
                    <a:gd name="connsiteY685" fmla="*/ 119532 h 736510"/>
                    <a:gd name="connsiteX686" fmla="*/ 318752 w 1020248"/>
                    <a:gd name="connsiteY686" fmla="*/ 123758 h 736510"/>
                    <a:gd name="connsiteX687" fmla="*/ 329619 w 1020248"/>
                    <a:gd name="connsiteY687" fmla="*/ 128588 h 736510"/>
                    <a:gd name="connsiteX688" fmla="*/ 333241 w 1020248"/>
                    <a:gd name="connsiteY688" fmla="*/ 128588 h 736510"/>
                    <a:gd name="connsiteX689" fmla="*/ 339882 w 1020248"/>
                    <a:gd name="connsiteY689" fmla="*/ 130399 h 736510"/>
                    <a:gd name="connsiteX690" fmla="*/ 343504 w 1020248"/>
                    <a:gd name="connsiteY690" fmla="*/ 135228 h 736510"/>
                    <a:gd name="connsiteX691" fmla="*/ 341693 w 1020248"/>
                    <a:gd name="connsiteY691" fmla="*/ 140662 h 736510"/>
                    <a:gd name="connsiteX692" fmla="*/ 347730 w 1020248"/>
                    <a:gd name="connsiteY692" fmla="*/ 141265 h 736510"/>
                    <a:gd name="connsiteX693" fmla="*/ 348333 w 1020248"/>
                    <a:gd name="connsiteY693" fmla="*/ 145491 h 736510"/>
                    <a:gd name="connsiteX694" fmla="*/ 356785 w 1020248"/>
                    <a:gd name="connsiteY694" fmla="*/ 146095 h 736510"/>
                    <a:gd name="connsiteX695" fmla="*/ 353767 w 1020248"/>
                    <a:gd name="connsiteY695" fmla="*/ 153943 h 736510"/>
                    <a:gd name="connsiteX696" fmla="*/ 356785 w 1020248"/>
                    <a:gd name="connsiteY696" fmla="*/ 155754 h 736510"/>
                    <a:gd name="connsiteX697" fmla="*/ 366444 w 1020248"/>
                    <a:gd name="connsiteY697" fmla="*/ 153339 h 736510"/>
                    <a:gd name="connsiteX698" fmla="*/ 370670 w 1020248"/>
                    <a:gd name="connsiteY698" fmla="*/ 150924 h 736510"/>
                    <a:gd name="connsiteX699" fmla="*/ 375500 w 1020248"/>
                    <a:gd name="connsiteY699" fmla="*/ 151528 h 736510"/>
                    <a:gd name="connsiteX700" fmla="*/ 386970 w 1020248"/>
                    <a:gd name="connsiteY700" fmla="*/ 151528 h 736510"/>
                    <a:gd name="connsiteX701" fmla="*/ 387574 w 1020248"/>
                    <a:gd name="connsiteY701" fmla="*/ 157565 h 736510"/>
                    <a:gd name="connsiteX702" fmla="*/ 384555 w 1020248"/>
                    <a:gd name="connsiteY702" fmla="*/ 164206 h 736510"/>
                    <a:gd name="connsiteX703" fmla="*/ 388178 w 1020248"/>
                    <a:gd name="connsiteY703" fmla="*/ 170846 h 736510"/>
                    <a:gd name="connsiteX704" fmla="*/ 388781 w 1020248"/>
                    <a:gd name="connsiteY704" fmla="*/ 174468 h 736510"/>
                    <a:gd name="connsiteX705" fmla="*/ 391800 w 1020248"/>
                    <a:gd name="connsiteY705" fmla="*/ 176883 h 736510"/>
                    <a:gd name="connsiteX706" fmla="*/ 395422 w 1020248"/>
                    <a:gd name="connsiteY706" fmla="*/ 175676 h 736510"/>
                    <a:gd name="connsiteX707" fmla="*/ 401459 w 1020248"/>
                    <a:gd name="connsiteY707" fmla="*/ 177487 h 736510"/>
                    <a:gd name="connsiteX708" fmla="*/ 413533 w 1020248"/>
                    <a:gd name="connsiteY708" fmla="*/ 179298 h 736510"/>
                    <a:gd name="connsiteX709" fmla="*/ 416551 w 1020248"/>
                    <a:gd name="connsiteY709" fmla="*/ 181109 h 736510"/>
                    <a:gd name="connsiteX710" fmla="*/ 420777 w 1020248"/>
                    <a:gd name="connsiteY710" fmla="*/ 176280 h 736510"/>
                    <a:gd name="connsiteX711" fmla="*/ 425003 w 1020248"/>
                    <a:gd name="connsiteY711" fmla="*/ 176280 h 736510"/>
                    <a:gd name="connsiteX712" fmla="*/ 426814 w 1020248"/>
                    <a:gd name="connsiteY712" fmla="*/ 173261 h 736510"/>
                    <a:gd name="connsiteX713" fmla="*/ 431644 w 1020248"/>
                    <a:gd name="connsiteY713" fmla="*/ 169639 h 736510"/>
                    <a:gd name="connsiteX714" fmla="*/ 437077 w 1020248"/>
                    <a:gd name="connsiteY714" fmla="*/ 169639 h 736510"/>
                    <a:gd name="connsiteX715" fmla="*/ 441303 w 1020248"/>
                    <a:gd name="connsiteY715" fmla="*/ 171450 h 736510"/>
                    <a:gd name="connsiteX716" fmla="*/ 450358 w 1020248"/>
                    <a:gd name="connsiteY716" fmla="*/ 167828 h 736510"/>
                    <a:gd name="connsiteX717" fmla="*/ 450358 w 1020248"/>
                    <a:gd name="connsiteY717" fmla="*/ 164809 h 736510"/>
                    <a:gd name="connsiteX718" fmla="*/ 455188 w 1020248"/>
                    <a:gd name="connsiteY718" fmla="*/ 164206 h 736510"/>
                    <a:gd name="connsiteX719" fmla="*/ 459414 w 1020248"/>
                    <a:gd name="connsiteY719" fmla="*/ 158772 h 736510"/>
                    <a:gd name="connsiteX720" fmla="*/ 464243 w 1020248"/>
                    <a:gd name="connsiteY720" fmla="*/ 158169 h 736510"/>
                    <a:gd name="connsiteX721" fmla="*/ 472695 w 1020248"/>
                    <a:gd name="connsiteY721" fmla="*/ 153943 h 736510"/>
                    <a:gd name="connsiteX722" fmla="*/ 476317 w 1020248"/>
                    <a:gd name="connsiteY722" fmla="*/ 150321 h 736510"/>
                    <a:gd name="connsiteX723" fmla="*/ 479939 w 1020248"/>
                    <a:gd name="connsiteY723" fmla="*/ 155150 h 736510"/>
                    <a:gd name="connsiteX724" fmla="*/ 487788 w 1020248"/>
                    <a:gd name="connsiteY724" fmla="*/ 157565 h 736510"/>
                    <a:gd name="connsiteX725" fmla="*/ 496239 w 1020248"/>
                    <a:gd name="connsiteY725" fmla="*/ 162998 h 736510"/>
                    <a:gd name="connsiteX726" fmla="*/ 499258 w 1020248"/>
                    <a:gd name="connsiteY726" fmla="*/ 168431 h 736510"/>
                    <a:gd name="connsiteX727" fmla="*/ 496843 w 1020248"/>
                    <a:gd name="connsiteY727" fmla="*/ 190768 h 736510"/>
                    <a:gd name="connsiteX728" fmla="*/ 496843 w 1020248"/>
                    <a:gd name="connsiteY728" fmla="*/ 196202 h 736510"/>
                    <a:gd name="connsiteX729" fmla="*/ 501673 w 1020248"/>
                    <a:gd name="connsiteY729" fmla="*/ 204653 h 736510"/>
                    <a:gd name="connsiteX730" fmla="*/ 506502 w 1020248"/>
                    <a:gd name="connsiteY730" fmla="*/ 206465 h 736510"/>
                    <a:gd name="connsiteX731" fmla="*/ 512539 w 1020248"/>
                    <a:gd name="connsiteY731" fmla="*/ 207672 h 736510"/>
                    <a:gd name="connsiteX732" fmla="*/ 516161 w 1020248"/>
                    <a:gd name="connsiteY732" fmla="*/ 213105 h 736510"/>
                    <a:gd name="connsiteX733" fmla="*/ 519180 w 1020248"/>
                    <a:gd name="connsiteY733" fmla="*/ 211294 h 736510"/>
                    <a:gd name="connsiteX734" fmla="*/ 523406 w 1020248"/>
                    <a:gd name="connsiteY734" fmla="*/ 211294 h 736510"/>
                    <a:gd name="connsiteX735" fmla="*/ 524613 w 1020248"/>
                    <a:gd name="connsiteY735" fmla="*/ 220953 h 736510"/>
                    <a:gd name="connsiteX736" fmla="*/ 531254 w 1020248"/>
                    <a:gd name="connsiteY736" fmla="*/ 214916 h 736510"/>
                    <a:gd name="connsiteX737" fmla="*/ 539102 w 1020248"/>
                    <a:gd name="connsiteY737" fmla="*/ 211294 h 736510"/>
                    <a:gd name="connsiteX738" fmla="*/ 544535 w 1020248"/>
                    <a:gd name="connsiteY738" fmla="*/ 206465 h 736510"/>
                    <a:gd name="connsiteX739" fmla="*/ 545139 w 1020248"/>
                    <a:gd name="connsiteY739" fmla="*/ 202239 h 736510"/>
                    <a:gd name="connsiteX740" fmla="*/ 548761 w 1020248"/>
                    <a:gd name="connsiteY740" fmla="*/ 200428 h 736510"/>
                    <a:gd name="connsiteX741" fmla="*/ 554194 w 1020248"/>
                    <a:gd name="connsiteY741" fmla="*/ 201031 h 736510"/>
                    <a:gd name="connsiteX742" fmla="*/ 559627 w 1020248"/>
                    <a:gd name="connsiteY742" fmla="*/ 198013 h 736510"/>
                    <a:gd name="connsiteX743" fmla="*/ 568079 w 1020248"/>
                    <a:gd name="connsiteY743" fmla="*/ 200428 h 736510"/>
                    <a:gd name="connsiteX744" fmla="*/ 569287 w 1020248"/>
                    <a:gd name="connsiteY744" fmla="*/ 202239 h 736510"/>
                    <a:gd name="connsiteX745" fmla="*/ 578342 w 1020248"/>
                    <a:gd name="connsiteY745" fmla="*/ 206465 h 736510"/>
                    <a:gd name="connsiteX746" fmla="*/ 582568 w 1020248"/>
                    <a:gd name="connsiteY746" fmla="*/ 207068 h 736510"/>
                    <a:gd name="connsiteX747" fmla="*/ 586190 w 1020248"/>
                    <a:gd name="connsiteY747" fmla="*/ 211294 h 736510"/>
                    <a:gd name="connsiteX748" fmla="*/ 589209 w 1020248"/>
                    <a:gd name="connsiteY748" fmla="*/ 209483 h 736510"/>
                    <a:gd name="connsiteX749" fmla="*/ 593435 w 1020248"/>
                    <a:gd name="connsiteY749" fmla="*/ 210087 h 736510"/>
                    <a:gd name="connsiteX750" fmla="*/ 594642 w 1020248"/>
                    <a:gd name="connsiteY750" fmla="*/ 214916 h 736510"/>
                    <a:gd name="connsiteX751" fmla="*/ 601886 w 1020248"/>
                    <a:gd name="connsiteY751" fmla="*/ 215520 h 736510"/>
                    <a:gd name="connsiteX752" fmla="*/ 606112 w 1020248"/>
                    <a:gd name="connsiteY752" fmla="*/ 210087 h 736510"/>
                    <a:gd name="connsiteX753" fmla="*/ 614564 w 1020248"/>
                    <a:gd name="connsiteY753" fmla="*/ 210690 h 736510"/>
                    <a:gd name="connsiteX754" fmla="*/ 617583 w 1020248"/>
                    <a:gd name="connsiteY754" fmla="*/ 208879 h 736510"/>
                    <a:gd name="connsiteX755" fmla="*/ 624827 w 1020248"/>
                    <a:gd name="connsiteY755" fmla="*/ 210087 h 736510"/>
                    <a:gd name="connsiteX756" fmla="*/ 624223 w 1020248"/>
                    <a:gd name="connsiteY756" fmla="*/ 212501 h 736510"/>
                    <a:gd name="connsiteX757" fmla="*/ 635090 w 1020248"/>
                    <a:gd name="connsiteY757" fmla="*/ 214916 h 736510"/>
                    <a:gd name="connsiteX758" fmla="*/ 635693 w 1020248"/>
                    <a:gd name="connsiteY758" fmla="*/ 216727 h 736510"/>
                    <a:gd name="connsiteX759" fmla="*/ 647767 w 1020248"/>
                    <a:gd name="connsiteY759" fmla="*/ 220953 h 736510"/>
                    <a:gd name="connsiteX760" fmla="*/ 656823 w 1020248"/>
                    <a:gd name="connsiteY760" fmla="*/ 226990 h 736510"/>
                    <a:gd name="connsiteX761" fmla="*/ 665878 w 1020248"/>
                    <a:gd name="connsiteY761" fmla="*/ 227594 h 736510"/>
                    <a:gd name="connsiteX762" fmla="*/ 670104 w 1020248"/>
                    <a:gd name="connsiteY762" fmla="*/ 236649 h 736510"/>
                    <a:gd name="connsiteX763" fmla="*/ 682782 w 1020248"/>
                    <a:gd name="connsiteY763" fmla="*/ 240875 h 736510"/>
                    <a:gd name="connsiteX764" fmla="*/ 683989 w 1020248"/>
                    <a:gd name="connsiteY764" fmla="*/ 244497 h 736510"/>
                    <a:gd name="connsiteX765" fmla="*/ 697270 w 1020248"/>
                    <a:gd name="connsiteY765" fmla="*/ 248723 h 736510"/>
                    <a:gd name="connsiteX766" fmla="*/ 698478 w 1020248"/>
                    <a:gd name="connsiteY766" fmla="*/ 251138 h 736510"/>
                    <a:gd name="connsiteX767" fmla="*/ 703911 w 1020248"/>
                    <a:gd name="connsiteY767" fmla="*/ 253553 h 736510"/>
                    <a:gd name="connsiteX768" fmla="*/ 708137 w 1020248"/>
                    <a:gd name="connsiteY768" fmla="*/ 252949 h 736510"/>
                    <a:gd name="connsiteX769" fmla="*/ 709344 w 1020248"/>
                    <a:gd name="connsiteY769" fmla="*/ 248723 h 736510"/>
                    <a:gd name="connsiteX770" fmla="*/ 712363 w 1020248"/>
                    <a:gd name="connsiteY770" fmla="*/ 245705 h 736510"/>
                    <a:gd name="connsiteX771" fmla="*/ 725644 w 1020248"/>
                    <a:gd name="connsiteY771" fmla="*/ 250534 h 736510"/>
                    <a:gd name="connsiteX772" fmla="*/ 731681 w 1020248"/>
                    <a:gd name="connsiteY772" fmla="*/ 246309 h 736510"/>
                    <a:gd name="connsiteX773" fmla="*/ 734096 w 1020248"/>
                    <a:gd name="connsiteY773" fmla="*/ 247516 h 736510"/>
                    <a:gd name="connsiteX774" fmla="*/ 738322 w 1020248"/>
                    <a:gd name="connsiteY774" fmla="*/ 243894 h 736510"/>
                    <a:gd name="connsiteX775" fmla="*/ 738322 w 1020248"/>
                    <a:gd name="connsiteY775" fmla="*/ 239668 h 736510"/>
                    <a:gd name="connsiteX776" fmla="*/ 745566 w 1020248"/>
                    <a:gd name="connsiteY776" fmla="*/ 239064 h 736510"/>
                    <a:gd name="connsiteX777" fmla="*/ 746170 w 1020248"/>
                    <a:gd name="connsiteY777" fmla="*/ 233027 h 736510"/>
                    <a:gd name="connsiteX778" fmla="*/ 752207 w 1020248"/>
                    <a:gd name="connsiteY778" fmla="*/ 231216 h 736510"/>
                    <a:gd name="connsiteX779" fmla="*/ 755225 w 1020248"/>
                    <a:gd name="connsiteY779" fmla="*/ 231820 h 736510"/>
                    <a:gd name="connsiteX780" fmla="*/ 763073 w 1020248"/>
                    <a:gd name="connsiteY780" fmla="*/ 229405 h 736510"/>
                    <a:gd name="connsiteX781" fmla="*/ 769110 w 1020248"/>
                    <a:gd name="connsiteY781" fmla="*/ 220953 h 736510"/>
                    <a:gd name="connsiteX782" fmla="*/ 769714 w 1020248"/>
                    <a:gd name="connsiteY782" fmla="*/ 216727 h 736510"/>
                    <a:gd name="connsiteX783" fmla="*/ 775147 w 1020248"/>
                    <a:gd name="connsiteY783" fmla="*/ 216727 h 736510"/>
                    <a:gd name="connsiteX784" fmla="*/ 775147 w 1020248"/>
                    <a:gd name="connsiteY784" fmla="*/ 226990 h 736510"/>
                    <a:gd name="connsiteX785" fmla="*/ 776355 w 1020248"/>
                    <a:gd name="connsiteY785" fmla="*/ 231216 h 736510"/>
                    <a:gd name="connsiteX786" fmla="*/ 778769 w 1020248"/>
                    <a:gd name="connsiteY786" fmla="*/ 248120 h 736510"/>
                    <a:gd name="connsiteX787" fmla="*/ 789032 w 1020248"/>
                    <a:gd name="connsiteY787" fmla="*/ 255968 h 736510"/>
                    <a:gd name="connsiteX788" fmla="*/ 793862 w 1020248"/>
                    <a:gd name="connsiteY788" fmla="*/ 258986 h 736510"/>
                    <a:gd name="connsiteX789" fmla="*/ 798692 w 1020248"/>
                    <a:gd name="connsiteY789" fmla="*/ 256571 h 736510"/>
                    <a:gd name="connsiteX790" fmla="*/ 810766 w 1020248"/>
                    <a:gd name="connsiteY790" fmla="*/ 256571 h 736510"/>
                    <a:gd name="connsiteX791" fmla="*/ 814991 w 1020248"/>
                    <a:gd name="connsiteY791" fmla="*/ 258383 h 736510"/>
                    <a:gd name="connsiteX792" fmla="*/ 814991 w 1020248"/>
                    <a:gd name="connsiteY792" fmla="*/ 265627 h 736510"/>
                    <a:gd name="connsiteX793" fmla="*/ 824651 w 1020248"/>
                    <a:gd name="connsiteY793" fmla="*/ 267438 h 736510"/>
                    <a:gd name="connsiteX794" fmla="*/ 830688 w 1020248"/>
                    <a:gd name="connsiteY794" fmla="*/ 271664 h 736510"/>
                    <a:gd name="connsiteX795" fmla="*/ 834310 w 1020248"/>
                    <a:gd name="connsiteY795" fmla="*/ 268645 h 736510"/>
                    <a:gd name="connsiteX796" fmla="*/ 833706 w 1020248"/>
                    <a:gd name="connsiteY796" fmla="*/ 262608 h 736510"/>
                    <a:gd name="connsiteX797" fmla="*/ 836121 w 1020248"/>
                    <a:gd name="connsiteY797" fmla="*/ 257779 h 736510"/>
                    <a:gd name="connsiteX798" fmla="*/ 840347 w 1020248"/>
                    <a:gd name="connsiteY798" fmla="*/ 255364 h 736510"/>
                    <a:gd name="connsiteX799" fmla="*/ 848195 w 1020248"/>
                    <a:gd name="connsiteY799" fmla="*/ 254760 h 736510"/>
                    <a:gd name="connsiteX800" fmla="*/ 856647 w 1020248"/>
                    <a:gd name="connsiteY800" fmla="*/ 250534 h 736510"/>
                    <a:gd name="connsiteX801" fmla="*/ 866909 w 1020248"/>
                    <a:gd name="connsiteY801" fmla="*/ 252346 h 736510"/>
                    <a:gd name="connsiteX802" fmla="*/ 872946 w 1020248"/>
                    <a:gd name="connsiteY802" fmla="*/ 255364 h 736510"/>
                    <a:gd name="connsiteX803" fmla="*/ 874154 w 1020248"/>
                    <a:gd name="connsiteY803" fmla="*/ 258383 h 736510"/>
                    <a:gd name="connsiteX804" fmla="*/ 881398 w 1020248"/>
                    <a:gd name="connsiteY804" fmla="*/ 261401 h 736510"/>
                    <a:gd name="connsiteX805" fmla="*/ 886228 w 1020248"/>
                    <a:gd name="connsiteY805" fmla="*/ 262005 h 736510"/>
                    <a:gd name="connsiteX806" fmla="*/ 894679 w 1020248"/>
                    <a:gd name="connsiteY806" fmla="*/ 261401 h 736510"/>
                    <a:gd name="connsiteX807" fmla="*/ 894076 w 1020248"/>
                    <a:gd name="connsiteY807" fmla="*/ 258383 h 736510"/>
                    <a:gd name="connsiteX808" fmla="*/ 900113 w 1020248"/>
                    <a:gd name="connsiteY808" fmla="*/ 255968 h 736510"/>
                    <a:gd name="connsiteX809" fmla="*/ 900113 w 1020248"/>
                    <a:gd name="connsiteY809" fmla="*/ 251742 h 736510"/>
                    <a:gd name="connsiteX810" fmla="*/ 906753 w 1020248"/>
                    <a:gd name="connsiteY810" fmla="*/ 253553 h 736510"/>
                    <a:gd name="connsiteX811" fmla="*/ 911583 w 1020248"/>
                    <a:gd name="connsiteY811" fmla="*/ 257779 h 736510"/>
                    <a:gd name="connsiteX812" fmla="*/ 915809 w 1020248"/>
                    <a:gd name="connsiteY812" fmla="*/ 257779 h 736510"/>
                    <a:gd name="connsiteX813" fmla="*/ 919431 w 1020248"/>
                    <a:gd name="connsiteY813" fmla="*/ 255364 h 736510"/>
                    <a:gd name="connsiteX814" fmla="*/ 920035 w 1020248"/>
                    <a:gd name="connsiteY814" fmla="*/ 248723 h 736510"/>
                    <a:gd name="connsiteX815" fmla="*/ 923657 w 1020248"/>
                    <a:gd name="connsiteY815" fmla="*/ 243894 h 736510"/>
                    <a:gd name="connsiteX816" fmla="*/ 935127 w 1020248"/>
                    <a:gd name="connsiteY816" fmla="*/ 251138 h 736510"/>
                    <a:gd name="connsiteX817" fmla="*/ 937542 w 1020248"/>
                    <a:gd name="connsiteY817" fmla="*/ 248120 h 736510"/>
                    <a:gd name="connsiteX818" fmla="*/ 936938 w 1020248"/>
                    <a:gd name="connsiteY818" fmla="*/ 245101 h 736510"/>
                    <a:gd name="connsiteX819" fmla="*/ 945994 w 1020248"/>
                    <a:gd name="connsiteY819" fmla="*/ 242083 h 736510"/>
                    <a:gd name="connsiteX820" fmla="*/ 947805 w 1020248"/>
                    <a:gd name="connsiteY820" fmla="*/ 246309 h 736510"/>
                    <a:gd name="connsiteX821" fmla="*/ 950823 w 1020248"/>
                    <a:gd name="connsiteY821" fmla="*/ 248723 h 736510"/>
                    <a:gd name="connsiteX822" fmla="*/ 952635 w 1020248"/>
                    <a:gd name="connsiteY822" fmla="*/ 255364 h 736510"/>
                    <a:gd name="connsiteX823" fmla="*/ 959275 w 1020248"/>
                    <a:gd name="connsiteY823" fmla="*/ 260194 h 736510"/>
                    <a:gd name="connsiteX824" fmla="*/ 964708 w 1020248"/>
                    <a:gd name="connsiteY824" fmla="*/ 261401 h 736510"/>
                    <a:gd name="connsiteX825" fmla="*/ 964708 w 1020248"/>
                    <a:gd name="connsiteY825" fmla="*/ 266834 h 736510"/>
                    <a:gd name="connsiteX826" fmla="*/ 967727 w 1020248"/>
                    <a:gd name="connsiteY826" fmla="*/ 268645 h 736510"/>
                    <a:gd name="connsiteX827" fmla="*/ 972556 w 1020248"/>
                    <a:gd name="connsiteY827" fmla="*/ 268042 h 736510"/>
                    <a:gd name="connsiteX828" fmla="*/ 971953 w 1020248"/>
                    <a:gd name="connsiteY828" fmla="*/ 263816 h 736510"/>
                    <a:gd name="connsiteX829" fmla="*/ 974367 w 1020248"/>
                    <a:gd name="connsiteY829" fmla="*/ 261401 h 736510"/>
                    <a:gd name="connsiteX830" fmla="*/ 982819 w 1020248"/>
                    <a:gd name="connsiteY830" fmla="*/ 254760 h 736510"/>
                    <a:gd name="connsiteX831" fmla="*/ 985838 w 1020248"/>
                    <a:gd name="connsiteY831" fmla="*/ 251138 h 736510"/>
                    <a:gd name="connsiteX832" fmla="*/ 987649 w 1020248"/>
                    <a:gd name="connsiteY832" fmla="*/ 244497 h 736510"/>
                    <a:gd name="connsiteX833" fmla="*/ 985838 w 1020248"/>
                    <a:gd name="connsiteY833" fmla="*/ 233027 h 736510"/>
                    <a:gd name="connsiteX834" fmla="*/ 987649 w 1020248"/>
                    <a:gd name="connsiteY834" fmla="*/ 228198 h 73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Lst>
                  <a:rect l="l" t="t" r="r" b="b"/>
                  <a:pathLst>
                    <a:path w="1020248" h="736510">
                      <a:moveTo>
                        <a:pt x="987649" y="228198"/>
                      </a:moveTo>
                      <a:lnTo>
                        <a:pt x="993082" y="233631"/>
                      </a:lnTo>
                      <a:lnTo>
                        <a:pt x="996100" y="234235"/>
                      </a:lnTo>
                      <a:lnTo>
                        <a:pt x="999723" y="231820"/>
                      </a:lnTo>
                      <a:lnTo>
                        <a:pt x="1000326" y="228198"/>
                      </a:lnTo>
                      <a:lnTo>
                        <a:pt x="1003949" y="226386"/>
                      </a:lnTo>
                      <a:lnTo>
                        <a:pt x="1008778" y="228198"/>
                      </a:lnTo>
                      <a:lnTo>
                        <a:pt x="1013608" y="224575"/>
                      </a:lnTo>
                      <a:lnTo>
                        <a:pt x="1014211" y="229405"/>
                      </a:lnTo>
                      <a:lnTo>
                        <a:pt x="1005760" y="234838"/>
                      </a:lnTo>
                      <a:lnTo>
                        <a:pt x="1002741" y="237857"/>
                      </a:lnTo>
                      <a:lnTo>
                        <a:pt x="1005760" y="243290"/>
                      </a:lnTo>
                      <a:lnTo>
                        <a:pt x="1011193" y="244497"/>
                      </a:lnTo>
                      <a:lnTo>
                        <a:pt x="1013004" y="248723"/>
                      </a:lnTo>
                      <a:lnTo>
                        <a:pt x="1016023" y="248120"/>
                      </a:lnTo>
                      <a:lnTo>
                        <a:pt x="1017834" y="251742"/>
                      </a:lnTo>
                      <a:lnTo>
                        <a:pt x="1018437" y="255968"/>
                      </a:lnTo>
                      <a:lnTo>
                        <a:pt x="1013608" y="260797"/>
                      </a:lnTo>
                      <a:lnTo>
                        <a:pt x="1013608" y="263212"/>
                      </a:lnTo>
                      <a:lnTo>
                        <a:pt x="1016626" y="265023"/>
                      </a:lnTo>
                      <a:lnTo>
                        <a:pt x="1018437" y="265627"/>
                      </a:lnTo>
                      <a:lnTo>
                        <a:pt x="1021456" y="264419"/>
                      </a:lnTo>
                      <a:lnTo>
                        <a:pt x="1023871" y="268645"/>
                      </a:lnTo>
                      <a:lnTo>
                        <a:pt x="1025682" y="269249"/>
                      </a:lnTo>
                      <a:lnTo>
                        <a:pt x="1025682" y="271060"/>
                      </a:lnTo>
                      <a:lnTo>
                        <a:pt x="1023267" y="271664"/>
                      </a:lnTo>
                      <a:lnTo>
                        <a:pt x="1022060" y="275890"/>
                      </a:lnTo>
                      <a:lnTo>
                        <a:pt x="1021456" y="275286"/>
                      </a:lnTo>
                      <a:lnTo>
                        <a:pt x="1020248" y="274078"/>
                      </a:lnTo>
                      <a:lnTo>
                        <a:pt x="1013608" y="280115"/>
                      </a:lnTo>
                      <a:lnTo>
                        <a:pt x="1012400" y="283134"/>
                      </a:lnTo>
                      <a:lnTo>
                        <a:pt x="1011193" y="285549"/>
                      </a:lnTo>
                      <a:lnTo>
                        <a:pt x="1009986" y="286756"/>
                      </a:lnTo>
                      <a:lnTo>
                        <a:pt x="1008174" y="287360"/>
                      </a:lnTo>
                      <a:lnTo>
                        <a:pt x="1003345" y="288567"/>
                      </a:lnTo>
                      <a:lnTo>
                        <a:pt x="1002137" y="291586"/>
                      </a:lnTo>
                      <a:lnTo>
                        <a:pt x="999723" y="292189"/>
                      </a:lnTo>
                      <a:lnTo>
                        <a:pt x="998515" y="292793"/>
                      </a:lnTo>
                      <a:lnTo>
                        <a:pt x="994289" y="295812"/>
                      </a:lnTo>
                      <a:lnTo>
                        <a:pt x="991875" y="299434"/>
                      </a:lnTo>
                      <a:lnTo>
                        <a:pt x="990667" y="299434"/>
                      </a:lnTo>
                      <a:lnTo>
                        <a:pt x="989460" y="300038"/>
                      </a:lnTo>
                      <a:lnTo>
                        <a:pt x="987649" y="301849"/>
                      </a:lnTo>
                      <a:lnTo>
                        <a:pt x="987045" y="303056"/>
                      </a:lnTo>
                      <a:lnTo>
                        <a:pt x="985234" y="304263"/>
                      </a:lnTo>
                      <a:lnTo>
                        <a:pt x="984026" y="304867"/>
                      </a:lnTo>
                      <a:lnTo>
                        <a:pt x="984026" y="306678"/>
                      </a:lnTo>
                      <a:lnTo>
                        <a:pt x="981008" y="309093"/>
                      </a:lnTo>
                      <a:lnTo>
                        <a:pt x="980404" y="310904"/>
                      </a:lnTo>
                      <a:lnTo>
                        <a:pt x="977989" y="311508"/>
                      </a:lnTo>
                      <a:lnTo>
                        <a:pt x="973764" y="310904"/>
                      </a:lnTo>
                      <a:lnTo>
                        <a:pt x="972556" y="312715"/>
                      </a:lnTo>
                      <a:lnTo>
                        <a:pt x="968330" y="315734"/>
                      </a:lnTo>
                      <a:lnTo>
                        <a:pt x="968934" y="318752"/>
                      </a:lnTo>
                      <a:lnTo>
                        <a:pt x="967123" y="318752"/>
                      </a:lnTo>
                      <a:lnTo>
                        <a:pt x="965312" y="318752"/>
                      </a:lnTo>
                      <a:lnTo>
                        <a:pt x="962294" y="315130"/>
                      </a:lnTo>
                      <a:lnTo>
                        <a:pt x="958068" y="317545"/>
                      </a:lnTo>
                      <a:lnTo>
                        <a:pt x="959275" y="319356"/>
                      </a:lnTo>
                      <a:lnTo>
                        <a:pt x="959275" y="321167"/>
                      </a:lnTo>
                      <a:lnTo>
                        <a:pt x="959275" y="322978"/>
                      </a:lnTo>
                      <a:lnTo>
                        <a:pt x="959275" y="326600"/>
                      </a:lnTo>
                      <a:lnTo>
                        <a:pt x="956257" y="327808"/>
                      </a:lnTo>
                      <a:lnTo>
                        <a:pt x="959275" y="330222"/>
                      </a:lnTo>
                      <a:lnTo>
                        <a:pt x="959879" y="332033"/>
                      </a:lnTo>
                      <a:lnTo>
                        <a:pt x="959275" y="332637"/>
                      </a:lnTo>
                      <a:lnTo>
                        <a:pt x="957464" y="332033"/>
                      </a:lnTo>
                      <a:lnTo>
                        <a:pt x="953238" y="332033"/>
                      </a:lnTo>
                      <a:lnTo>
                        <a:pt x="951427" y="335656"/>
                      </a:lnTo>
                      <a:lnTo>
                        <a:pt x="949616" y="333845"/>
                      </a:lnTo>
                      <a:lnTo>
                        <a:pt x="949012" y="331430"/>
                      </a:lnTo>
                      <a:lnTo>
                        <a:pt x="944183" y="333241"/>
                      </a:lnTo>
                      <a:lnTo>
                        <a:pt x="943579" y="333241"/>
                      </a:lnTo>
                      <a:lnTo>
                        <a:pt x="942975" y="335052"/>
                      </a:lnTo>
                      <a:lnTo>
                        <a:pt x="940561" y="336259"/>
                      </a:lnTo>
                      <a:lnTo>
                        <a:pt x="934524" y="341089"/>
                      </a:lnTo>
                      <a:lnTo>
                        <a:pt x="933316" y="344107"/>
                      </a:lnTo>
                      <a:lnTo>
                        <a:pt x="931505" y="351352"/>
                      </a:lnTo>
                      <a:lnTo>
                        <a:pt x="930298" y="353163"/>
                      </a:lnTo>
                      <a:lnTo>
                        <a:pt x="930298" y="354974"/>
                      </a:lnTo>
                      <a:lnTo>
                        <a:pt x="930901" y="360407"/>
                      </a:lnTo>
                      <a:lnTo>
                        <a:pt x="930298" y="362218"/>
                      </a:lnTo>
                      <a:lnTo>
                        <a:pt x="929694" y="364030"/>
                      </a:lnTo>
                      <a:lnTo>
                        <a:pt x="930298" y="365237"/>
                      </a:lnTo>
                      <a:lnTo>
                        <a:pt x="930298" y="367048"/>
                      </a:lnTo>
                      <a:lnTo>
                        <a:pt x="926072" y="367652"/>
                      </a:lnTo>
                      <a:lnTo>
                        <a:pt x="927883" y="371274"/>
                      </a:lnTo>
                      <a:lnTo>
                        <a:pt x="927883" y="377914"/>
                      </a:lnTo>
                      <a:lnTo>
                        <a:pt x="929090" y="380933"/>
                      </a:lnTo>
                      <a:lnTo>
                        <a:pt x="939353" y="383951"/>
                      </a:lnTo>
                      <a:lnTo>
                        <a:pt x="942372" y="382744"/>
                      </a:lnTo>
                      <a:lnTo>
                        <a:pt x="947201" y="385762"/>
                      </a:lnTo>
                      <a:lnTo>
                        <a:pt x="942372" y="389988"/>
                      </a:lnTo>
                      <a:lnTo>
                        <a:pt x="947201" y="394214"/>
                      </a:lnTo>
                      <a:lnTo>
                        <a:pt x="944786" y="397233"/>
                      </a:lnTo>
                      <a:lnTo>
                        <a:pt x="945390" y="402062"/>
                      </a:lnTo>
                      <a:lnTo>
                        <a:pt x="953238" y="406892"/>
                      </a:lnTo>
                      <a:lnTo>
                        <a:pt x="954446" y="410514"/>
                      </a:lnTo>
                      <a:lnTo>
                        <a:pt x="961690" y="415947"/>
                      </a:lnTo>
                      <a:lnTo>
                        <a:pt x="975575" y="422588"/>
                      </a:lnTo>
                      <a:lnTo>
                        <a:pt x="976178" y="424399"/>
                      </a:lnTo>
                      <a:lnTo>
                        <a:pt x="974971" y="431040"/>
                      </a:lnTo>
                      <a:lnTo>
                        <a:pt x="975575" y="432851"/>
                      </a:lnTo>
                      <a:lnTo>
                        <a:pt x="975575" y="433455"/>
                      </a:lnTo>
                      <a:lnTo>
                        <a:pt x="974971" y="433455"/>
                      </a:lnTo>
                      <a:lnTo>
                        <a:pt x="973160" y="434662"/>
                      </a:lnTo>
                      <a:lnTo>
                        <a:pt x="974971" y="435869"/>
                      </a:lnTo>
                      <a:lnTo>
                        <a:pt x="973764" y="439492"/>
                      </a:lnTo>
                      <a:lnTo>
                        <a:pt x="973764" y="441303"/>
                      </a:lnTo>
                      <a:lnTo>
                        <a:pt x="974367" y="441906"/>
                      </a:lnTo>
                      <a:lnTo>
                        <a:pt x="971953" y="443114"/>
                      </a:lnTo>
                      <a:lnTo>
                        <a:pt x="973160" y="443717"/>
                      </a:lnTo>
                      <a:lnTo>
                        <a:pt x="973764" y="444321"/>
                      </a:lnTo>
                      <a:lnTo>
                        <a:pt x="972556" y="446132"/>
                      </a:lnTo>
                      <a:lnTo>
                        <a:pt x="970745" y="450358"/>
                      </a:lnTo>
                      <a:lnTo>
                        <a:pt x="973160" y="452169"/>
                      </a:lnTo>
                      <a:lnTo>
                        <a:pt x="971953" y="452169"/>
                      </a:lnTo>
                      <a:lnTo>
                        <a:pt x="971349" y="453980"/>
                      </a:lnTo>
                      <a:lnTo>
                        <a:pt x="973764" y="458206"/>
                      </a:lnTo>
                      <a:lnTo>
                        <a:pt x="975575" y="458206"/>
                      </a:lnTo>
                      <a:lnTo>
                        <a:pt x="977386" y="459414"/>
                      </a:lnTo>
                      <a:lnTo>
                        <a:pt x="979197" y="464847"/>
                      </a:lnTo>
                      <a:lnTo>
                        <a:pt x="979801" y="464847"/>
                      </a:lnTo>
                      <a:lnTo>
                        <a:pt x="980404" y="465451"/>
                      </a:lnTo>
                      <a:lnTo>
                        <a:pt x="979801" y="468469"/>
                      </a:lnTo>
                      <a:lnTo>
                        <a:pt x="979197" y="470280"/>
                      </a:lnTo>
                      <a:lnTo>
                        <a:pt x="972556" y="469073"/>
                      </a:lnTo>
                      <a:lnTo>
                        <a:pt x="968934" y="466054"/>
                      </a:lnTo>
                      <a:lnTo>
                        <a:pt x="966519" y="467262"/>
                      </a:lnTo>
                      <a:lnTo>
                        <a:pt x="962897" y="465451"/>
                      </a:lnTo>
                      <a:lnTo>
                        <a:pt x="961690" y="462432"/>
                      </a:lnTo>
                      <a:lnTo>
                        <a:pt x="956860" y="456999"/>
                      </a:lnTo>
                      <a:lnTo>
                        <a:pt x="950220" y="457603"/>
                      </a:lnTo>
                      <a:lnTo>
                        <a:pt x="945994" y="461828"/>
                      </a:lnTo>
                      <a:lnTo>
                        <a:pt x="945390" y="464243"/>
                      </a:lnTo>
                      <a:lnTo>
                        <a:pt x="938749" y="465451"/>
                      </a:lnTo>
                      <a:lnTo>
                        <a:pt x="936938" y="470884"/>
                      </a:lnTo>
                      <a:lnTo>
                        <a:pt x="937542" y="473902"/>
                      </a:lnTo>
                      <a:lnTo>
                        <a:pt x="931505" y="473902"/>
                      </a:lnTo>
                      <a:lnTo>
                        <a:pt x="929694" y="478732"/>
                      </a:lnTo>
                      <a:lnTo>
                        <a:pt x="926675" y="481147"/>
                      </a:lnTo>
                      <a:lnTo>
                        <a:pt x="921846" y="477525"/>
                      </a:lnTo>
                      <a:lnTo>
                        <a:pt x="917016" y="489598"/>
                      </a:lnTo>
                      <a:lnTo>
                        <a:pt x="917620" y="493824"/>
                      </a:lnTo>
                      <a:lnTo>
                        <a:pt x="922450" y="495032"/>
                      </a:lnTo>
                      <a:lnTo>
                        <a:pt x="920638" y="502880"/>
                      </a:lnTo>
                      <a:lnTo>
                        <a:pt x="930298" y="510728"/>
                      </a:lnTo>
                      <a:lnTo>
                        <a:pt x="935127" y="511935"/>
                      </a:lnTo>
                      <a:lnTo>
                        <a:pt x="936335" y="516765"/>
                      </a:lnTo>
                      <a:lnTo>
                        <a:pt x="934524" y="522198"/>
                      </a:lnTo>
                      <a:lnTo>
                        <a:pt x="929090" y="526424"/>
                      </a:lnTo>
                      <a:lnTo>
                        <a:pt x="931505" y="531254"/>
                      </a:lnTo>
                      <a:lnTo>
                        <a:pt x="930901" y="533668"/>
                      </a:lnTo>
                      <a:lnTo>
                        <a:pt x="921846" y="529443"/>
                      </a:lnTo>
                      <a:lnTo>
                        <a:pt x="921242" y="524009"/>
                      </a:lnTo>
                      <a:lnTo>
                        <a:pt x="905546" y="521594"/>
                      </a:lnTo>
                      <a:lnTo>
                        <a:pt x="905546" y="517972"/>
                      </a:lnTo>
                      <a:lnTo>
                        <a:pt x="901924" y="515557"/>
                      </a:lnTo>
                      <a:lnTo>
                        <a:pt x="902527" y="510728"/>
                      </a:lnTo>
                      <a:lnTo>
                        <a:pt x="900716" y="509520"/>
                      </a:lnTo>
                      <a:lnTo>
                        <a:pt x="894076" y="510124"/>
                      </a:lnTo>
                      <a:lnTo>
                        <a:pt x="888642" y="508313"/>
                      </a:lnTo>
                      <a:lnTo>
                        <a:pt x="885020" y="508917"/>
                      </a:lnTo>
                      <a:lnTo>
                        <a:pt x="876568" y="504087"/>
                      </a:lnTo>
                      <a:lnTo>
                        <a:pt x="872342" y="504691"/>
                      </a:lnTo>
                      <a:lnTo>
                        <a:pt x="870531" y="512539"/>
                      </a:lnTo>
                      <a:lnTo>
                        <a:pt x="868117" y="516161"/>
                      </a:lnTo>
                      <a:lnTo>
                        <a:pt x="865702" y="513143"/>
                      </a:lnTo>
                      <a:lnTo>
                        <a:pt x="859061" y="512539"/>
                      </a:lnTo>
                      <a:lnTo>
                        <a:pt x="862080" y="519783"/>
                      </a:lnTo>
                      <a:lnTo>
                        <a:pt x="857250" y="525217"/>
                      </a:lnTo>
                      <a:lnTo>
                        <a:pt x="857250" y="535480"/>
                      </a:lnTo>
                      <a:lnTo>
                        <a:pt x="853628" y="534876"/>
                      </a:lnTo>
                      <a:lnTo>
                        <a:pt x="840347" y="528235"/>
                      </a:lnTo>
                      <a:lnTo>
                        <a:pt x="837328" y="529443"/>
                      </a:lnTo>
                      <a:lnTo>
                        <a:pt x="835517" y="533065"/>
                      </a:lnTo>
                      <a:lnTo>
                        <a:pt x="826462" y="529443"/>
                      </a:lnTo>
                      <a:lnTo>
                        <a:pt x="823443" y="545742"/>
                      </a:lnTo>
                      <a:lnTo>
                        <a:pt x="821028" y="549364"/>
                      </a:lnTo>
                      <a:lnTo>
                        <a:pt x="819821" y="559627"/>
                      </a:lnTo>
                      <a:lnTo>
                        <a:pt x="815595" y="558420"/>
                      </a:lnTo>
                      <a:lnTo>
                        <a:pt x="813180" y="556005"/>
                      </a:lnTo>
                      <a:lnTo>
                        <a:pt x="808954" y="557213"/>
                      </a:lnTo>
                      <a:lnTo>
                        <a:pt x="807747" y="560231"/>
                      </a:lnTo>
                      <a:lnTo>
                        <a:pt x="803521" y="559627"/>
                      </a:lnTo>
                      <a:lnTo>
                        <a:pt x="798088" y="564457"/>
                      </a:lnTo>
                      <a:lnTo>
                        <a:pt x="796277" y="565664"/>
                      </a:lnTo>
                      <a:lnTo>
                        <a:pt x="789032" y="577738"/>
                      </a:lnTo>
                      <a:lnTo>
                        <a:pt x="791447" y="581964"/>
                      </a:lnTo>
                      <a:lnTo>
                        <a:pt x="790240" y="598868"/>
                      </a:lnTo>
                      <a:lnTo>
                        <a:pt x="792051" y="606112"/>
                      </a:lnTo>
                      <a:lnTo>
                        <a:pt x="790240" y="610942"/>
                      </a:lnTo>
                      <a:lnTo>
                        <a:pt x="781788" y="614564"/>
                      </a:lnTo>
                      <a:lnTo>
                        <a:pt x="775751" y="623619"/>
                      </a:lnTo>
                      <a:lnTo>
                        <a:pt x="779373" y="626034"/>
                      </a:lnTo>
                      <a:lnTo>
                        <a:pt x="776958" y="630260"/>
                      </a:lnTo>
                      <a:lnTo>
                        <a:pt x="777562" y="635090"/>
                      </a:lnTo>
                      <a:lnTo>
                        <a:pt x="775147" y="638108"/>
                      </a:lnTo>
                      <a:lnTo>
                        <a:pt x="776355" y="642334"/>
                      </a:lnTo>
                      <a:lnTo>
                        <a:pt x="773940" y="649578"/>
                      </a:lnTo>
                      <a:lnTo>
                        <a:pt x="770921" y="655011"/>
                      </a:lnTo>
                      <a:lnTo>
                        <a:pt x="769110" y="665274"/>
                      </a:lnTo>
                      <a:lnTo>
                        <a:pt x="770318" y="669500"/>
                      </a:lnTo>
                      <a:lnTo>
                        <a:pt x="761866" y="669500"/>
                      </a:lnTo>
                      <a:lnTo>
                        <a:pt x="752811" y="663463"/>
                      </a:lnTo>
                      <a:lnTo>
                        <a:pt x="746774" y="664067"/>
                      </a:lnTo>
                      <a:lnTo>
                        <a:pt x="738926" y="673726"/>
                      </a:lnTo>
                      <a:lnTo>
                        <a:pt x="740737" y="683385"/>
                      </a:lnTo>
                      <a:lnTo>
                        <a:pt x="734096" y="677952"/>
                      </a:lnTo>
                      <a:lnTo>
                        <a:pt x="729870" y="682178"/>
                      </a:lnTo>
                      <a:lnTo>
                        <a:pt x="726248" y="680971"/>
                      </a:lnTo>
                      <a:lnTo>
                        <a:pt x="726248" y="677952"/>
                      </a:lnTo>
                      <a:lnTo>
                        <a:pt x="720211" y="679159"/>
                      </a:lnTo>
                      <a:lnTo>
                        <a:pt x="719607" y="671915"/>
                      </a:lnTo>
                      <a:lnTo>
                        <a:pt x="716589" y="667085"/>
                      </a:lnTo>
                      <a:lnTo>
                        <a:pt x="708741" y="667689"/>
                      </a:lnTo>
                      <a:lnTo>
                        <a:pt x="706930" y="673122"/>
                      </a:lnTo>
                      <a:lnTo>
                        <a:pt x="704515" y="676141"/>
                      </a:lnTo>
                      <a:lnTo>
                        <a:pt x="701496" y="675537"/>
                      </a:lnTo>
                      <a:lnTo>
                        <a:pt x="691233" y="679763"/>
                      </a:lnTo>
                      <a:lnTo>
                        <a:pt x="686404" y="677952"/>
                      </a:lnTo>
                      <a:lnTo>
                        <a:pt x="677348" y="670708"/>
                      </a:lnTo>
                      <a:lnTo>
                        <a:pt x="673726" y="674330"/>
                      </a:lnTo>
                      <a:lnTo>
                        <a:pt x="673726" y="676745"/>
                      </a:lnTo>
                      <a:lnTo>
                        <a:pt x="667689" y="679763"/>
                      </a:lnTo>
                      <a:lnTo>
                        <a:pt x="666482" y="685800"/>
                      </a:lnTo>
                      <a:lnTo>
                        <a:pt x="661652" y="685196"/>
                      </a:lnTo>
                      <a:lnTo>
                        <a:pt x="658030" y="689422"/>
                      </a:lnTo>
                      <a:lnTo>
                        <a:pt x="654408" y="697270"/>
                      </a:lnTo>
                      <a:lnTo>
                        <a:pt x="655011" y="706929"/>
                      </a:lnTo>
                      <a:lnTo>
                        <a:pt x="654408" y="710552"/>
                      </a:lnTo>
                      <a:lnTo>
                        <a:pt x="649578" y="711155"/>
                      </a:lnTo>
                      <a:lnTo>
                        <a:pt x="649578" y="717192"/>
                      </a:lnTo>
                      <a:lnTo>
                        <a:pt x="648975" y="721418"/>
                      </a:lnTo>
                      <a:lnTo>
                        <a:pt x="645352" y="723229"/>
                      </a:lnTo>
                      <a:lnTo>
                        <a:pt x="639316" y="720814"/>
                      </a:lnTo>
                      <a:lnTo>
                        <a:pt x="635693" y="715985"/>
                      </a:lnTo>
                      <a:lnTo>
                        <a:pt x="630260" y="712363"/>
                      </a:lnTo>
                      <a:lnTo>
                        <a:pt x="626638" y="706326"/>
                      </a:lnTo>
                      <a:lnTo>
                        <a:pt x="619394" y="706929"/>
                      </a:lnTo>
                      <a:lnTo>
                        <a:pt x="615771" y="703307"/>
                      </a:lnTo>
                      <a:lnTo>
                        <a:pt x="613960" y="699081"/>
                      </a:lnTo>
                      <a:lnTo>
                        <a:pt x="618186" y="691837"/>
                      </a:lnTo>
                      <a:lnTo>
                        <a:pt x="615771" y="686404"/>
                      </a:lnTo>
                      <a:lnTo>
                        <a:pt x="616375" y="680367"/>
                      </a:lnTo>
                      <a:lnTo>
                        <a:pt x="619394" y="676745"/>
                      </a:lnTo>
                      <a:lnTo>
                        <a:pt x="613960" y="673726"/>
                      </a:lnTo>
                      <a:lnTo>
                        <a:pt x="604905" y="674330"/>
                      </a:lnTo>
                      <a:lnTo>
                        <a:pt x="598264" y="668293"/>
                      </a:lnTo>
                      <a:lnTo>
                        <a:pt x="598264" y="672519"/>
                      </a:lnTo>
                      <a:lnTo>
                        <a:pt x="587398" y="674330"/>
                      </a:lnTo>
                      <a:lnTo>
                        <a:pt x="584983" y="670708"/>
                      </a:lnTo>
                      <a:lnTo>
                        <a:pt x="579549" y="668293"/>
                      </a:lnTo>
                      <a:lnTo>
                        <a:pt x="577738" y="661048"/>
                      </a:lnTo>
                      <a:lnTo>
                        <a:pt x="580757" y="653804"/>
                      </a:lnTo>
                      <a:lnTo>
                        <a:pt x="578946" y="647163"/>
                      </a:lnTo>
                      <a:lnTo>
                        <a:pt x="575324" y="639919"/>
                      </a:lnTo>
                      <a:lnTo>
                        <a:pt x="566268" y="636297"/>
                      </a:lnTo>
                      <a:lnTo>
                        <a:pt x="563250" y="630260"/>
                      </a:lnTo>
                      <a:lnTo>
                        <a:pt x="554798" y="633278"/>
                      </a:lnTo>
                      <a:lnTo>
                        <a:pt x="553590" y="636297"/>
                      </a:lnTo>
                      <a:lnTo>
                        <a:pt x="548761" y="637504"/>
                      </a:lnTo>
                      <a:lnTo>
                        <a:pt x="547553" y="640523"/>
                      </a:lnTo>
                      <a:lnTo>
                        <a:pt x="543328" y="640523"/>
                      </a:lnTo>
                      <a:lnTo>
                        <a:pt x="534876" y="635693"/>
                      </a:lnTo>
                      <a:lnTo>
                        <a:pt x="528235" y="625430"/>
                      </a:lnTo>
                      <a:lnTo>
                        <a:pt x="517973" y="623016"/>
                      </a:lnTo>
                      <a:lnTo>
                        <a:pt x="514350" y="626638"/>
                      </a:lnTo>
                      <a:lnTo>
                        <a:pt x="507710" y="625430"/>
                      </a:lnTo>
                      <a:lnTo>
                        <a:pt x="505295" y="622412"/>
                      </a:lnTo>
                      <a:lnTo>
                        <a:pt x="499258" y="619997"/>
                      </a:lnTo>
                      <a:lnTo>
                        <a:pt x="496239" y="628449"/>
                      </a:lnTo>
                      <a:lnTo>
                        <a:pt x="493825" y="629656"/>
                      </a:lnTo>
                      <a:lnTo>
                        <a:pt x="492617" y="635090"/>
                      </a:lnTo>
                      <a:lnTo>
                        <a:pt x="492617" y="641730"/>
                      </a:lnTo>
                      <a:lnTo>
                        <a:pt x="487184" y="649578"/>
                      </a:lnTo>
                      <a:lnTo>
                        <a:pt x="481147" y="650786"/>
                      </a:lnTo>
                      <a:lnTo>
                        <a:pt x="483562" y="653804"/>
                      </a:lnTo>
                      <a:lnTo>
                        <a:pt x="483562" y="659237"/>
                      </a:lnTo>
                      <a:lnTo>
                        <a:pt x="485976" y="666482"/>
                      </a:lnTo>
                      <a:lnTo>
                        <a:pt x="484165" y="674934"/>
                      </a:lnTo>
                      <a:lnTo>
                        <a:pt x="479939" y="675537"/>
                      </a:lnTo>
                      <a:lnTo>
                        <a:pt x="472695" y="674330"/>
                      </a:lnTo>
                      <a:lnTo>
                        <a:pt x="470884" y="671311"/>
                      </a:lnTo>
                      <a:lnTo>
                        <a:pt x="466054" y="670104"/>
                      </a:lnTo>
                      <a:lnTo>
                        <a:pt x="463036" y="674330"/>
                      </a:lnTo>
                      <a:lnTo>
                        <a:pt x="464243" y="678556"/>
                      </a:lnTo>
                      <a:lnTo>
                        <a:pt x="458810" y="682178"/>
                      </a:lnTo>
                      <a:lnTo>
                        <a:pt x="457603" y="686404"/>
                      </a:lnTo>
                      <a:lnTo>
                        <a:pt x="453980" y="687611"/>
                      </a:lnTo>
                      <a:lnTo>
                        <a:pt x="451566" y="687008"/>
                      </a:lnTo>
                      <a:lnTo>
                        <a:pt x="449151" y="682178"/>
                      </a:lnTo>
                      <a:lnTo>
                        <a:pt x="436473" y="685196"/>
                      </a:lnTo>
                      <a:lnTo>
                        <a:pt x="430436" y="683385"/>
                      </a:lnTo>
                      <a:lnTo>
                        <a:pt x="426210" y="685800"/>
                      </a:lnTo>
                      <a:lnTo>
                        <a:pt x="412929" y="687611"/>
                      </a:lnTo>
                      <a:lnTo>
                        <a:pt x="408703" y="687008"/>
                      </a:lnTo>
                      <a:lnTo>
                        <a:pt x="405081" y="689422"/>
                      </a:lnTo>
                      <a:lnTo>
                        <a:pt x="405685" y="694252"/>
                      </a:lnTo>
                      <a:lnTo>
                        <a:pt x="399648" y="693648"/>
                      </a:lnTo>
                      <a:lnTo>
                        <a:pt x="393611" y="699685"/>
                      </a:lnTo>
                      <a:lnTo>
                        <a:pt x="389385" y="699685"/>
                      </a:lnTo>
                      <a:lnTo>
                        <a:pt x="379122" y="701496"/>
                      </a:lnTo>
                      <a:lnTo>
                        <a:pt x="382141" y="709344"/>
                      </a:lnTo>
                      <a:lnTo>
                        <a:pt x="377915" y="711759"/>
                      </a:lnTo>
                      <a:lnTo>
                        <a:pt x="371274" y="714174"/>
                      </a:lnTo>
                      <a:lnTo>
                        <a:pt x="366444" y="720211"/>
                      </a:lnTo>
                      <a:lnTo>
                        <a:pt x="361011" y="719003"/>
                      </a:lnTo>
                      <a:lnTo>
                        <a:pt x="362822" y="714174"/>
                      </a:lnTo>
                      <a:lnTo>
                        <a:pt x="361615" y="708137"/>
                      </a:lnTo>
                      <a:lnTo>
                        <a:pt x="358596" y="712966"/>
                      </a:lnTo>
                      <a:lnTo>
                        <a:pt x="353767" y="710552"/>
                      </a:lnTo>
                      <a:lnTo>
                        <a:pt x="345315" y="713570"/>
                      </a:lnTo>
                      <a:lnTo>
                        <a:pt x="341089" y="721418"/>
                      </a:lnTo>
                      <a:lnTo>
                        <a:pt x="336863" y="722626"/>
                      </a:lnTo>
                      <a:lnTo>
                        <a:pt x="332033" y="720814"/>
                      </a:lnTo>
                      <a:lnTo>
                        <a:pt x="327204" y="722626"/>
                      </a:lnTo>
                      <a:lnTo>
                        <a:pt x="326600" y="717796"/>
                      </a:lnTo>
                      <a:lnTo>
                        <a:pt x="322374" y="711155"/>
                      </a:lnTo>
                      <a:lnTo>
                        <a:pt x="322374" y="702100"/>
                      </a:lnTo>
                      <a:lnTo>
                        <a:pt x="319356" y="703307"/>
                      </a:lnTo>
                      <a:lnTo>
                        <a:pt x="311508" y="700289"/>
                      </a:lnTo>
                      <a:lnTo>
                        <a:pt x="312715" y="690630"/>
                      </a:lnTo>
                      <a:lnTo>
                        <a:pt x="310301" y="687611"/>
                      </a:lnTo>
                      <a:lnTo>
                        <a:pt x="302453" y="689422"/>
                      </a:lnTo>
                      <a:lnTo>
                        <a:pt x="301849" y="692441"/>
                      </a:lnTo>
                      <a:lnTo>
                        <a:pt x="294001" y="694252"/>
                      </a:lnTo>
                      <a:lnTo>
                        <a:pt x="290379" y="699685"/>
                      </a:lnTo>
                      <a:lnTo>
                        <a:pt x="286756" y="699685"/>
                      </a:lnTo>
                      <a:lnTo>
                        <a:pt x="281323" y="703307"/>
                      </a:lnTo>
                      <a:lnTo>
                        <a:pt x="278305" y="709344"/>
                      </a:lnTo>
                      <a:lnTo>
                        <a:pt x="278908" y="712966"/>
                      </a:lnTo>
                      <a:lnTo>
                        <a:pt x="277097" y="717796"/>
                      </a:lnTo>
                      <a:lnTo>
                        <a:pt x="268645" y="715381"/>
                      </a:lnTo>
                      <a:lnTo>
                        <a:pt x="265023" y="715985"/>
                      </a:lnTo>
                      <a:lnTo>
                        <a:pt x="258986" y="713570"/>
                      </a:lnTo>
                      <a:lnTo>
                        <a:pt x="256571" y="716589"/>
                      </a:lnTo>
                      <a:lnTo>
                        <a:pt x="257779" y="719607"/>
                      </a:lnTo>
                      <a:lnTo>
                        <a:pt x="253553" y="722022"/>
                      </a:lnTo>
                      <a:lnTo>
                        <a:pt x="248723" y="721418"/>
                      </a:lnTo>
                      <a:lnTo>
                        <a:pt x="248120" y="731077"/>
                      </a:lnTo>
                      <a:lnTo>
                        <a:pt x="242686" y="741944"/>
                      </a:lnTo>
                      <a:lnTo>
                        <a:pt x="237253" y="737114"/>
                      </a:lnTo>
                      <a:lnTo>
                        <a:pt x="234838" y="729870"/>
                      </a:lnTo>
                      <a:lnTo>
                        <a:pt x="226990" y="731681"/>
                      </a:lnTo>
                      <a:lnTo>
                        <a:pt x="228198" y="725644"/>
                      </a:lnTo>
                      <a:lnTo>
                        <a:pt x="222764" y="723229"/>
                      </a:lnTo>
                      <a:lnTo>
                        <a:pt x="219746" y="718400"/>
                      </a:lnTo>
                      <a:lnTo>
                        <a:pt x="215520" y="719003"/>
                      </a:lnTo>
                      <a:lnTo>
                        <a:pt x="210690" y="717192"/>
                      </a:lnTo>
                      <a:lnTo>
                        <a:pt x="208276" y="713570"/>
                      </a:lnTo>
                      <a:lnTo>
                        <a:pt x="209483" y="709344"/>
                      </a:lnTo>
                      <a:lnTo>
                        <a:pt x="205861" y="705118"/>
                      </a:lnTo>
                      <a:lnTo>
                        <a:pt x="201635" y="704515"/>
                      </a:lnTo>
                      <a:lnTo>
                        <a:pt x="199824" y="700892"/>
                      </a:lnTo>
                      <a:lnTo>
                        <a:pt x="201635" y="697874"/>
                      </a:lnTo>
                      <a:lnTo>
                        <a:pt x="207672" y="696063"/>
                      </a:lnTo>
                      <a:lnTo>
                        <a:pt x="208276" y="693045"/>
                      </a:lnTo>
                      <a:lnTo>
                        <a:pt x="207068" y="688215"/>
                      </a:lnTo>
                      <a:lnTo>
                        <a:pt x="201635" y="678556"/>
                      </a:lnTo>
                      <a:lnTo>
                        <a:pt x="196806" y="679159"/>
                      </a:lnTo>
                      <a:lnTo>
                        <a:pt x="196806" y="683989"/>
                      </a:lnTo>
                      <a:lnTo>
                        <a:pt x="194391" y="685196"/>
                      </a:lnTo>
                      <a:lnTo>
                        <a:pt x="186543" y="682178"/>
                      </a:lnTo>
                      <a:lnTo>
                        <a:pt x="176884" y="683989"/>
                      </a:lnTo>
                      <a:lnTo>
                        <a:pt x="178695" y="688215"/>
                      </a:lnTo>
                      <a:lnTo>
                        <a:pt x="178091" y="691233"/>
                      </a:lnTo>
                      <a:lnTo>
                        <a:pt x="172658" y="689422"/>
                      </a:lnTo>
                      <a:lnTo>
                        <a:pt x="175072" y="685800"/>
                      </a:lnTo>
                      <a:lnTo>
                        <a:pt x="171450" y="684593"/>
                      </a:lnTo>
                      <a:lnTo>
                        <a:pt x="169035" y="687008"/>
                      </a:lnTo>
                      <a:lnTo>
                        <a:pt x="170243" y="692441"/>
                      </a:lnTo>
                      <a:lnTo>
                        <a:pt x="163602" y="697874"/>
                      </a:lnTo>
                      <a:lnTo>
                        <a:pt x="159376" y="692441"/>
                      </a:lnTo>
                      <a:lnTo>
                        <a:pt x="159376" y="685800"/>
                      </a:lnTo>
                      <a:lnTo>
                        <a:pt x="157565" y="683385"/>
                      </a:lnTo>
                      <a:lnTo>
                        <a:pt x="156358" y="677952"/>
                      </a:lnTo>
                      <a:lnTo>
                        <a:pt x="153339" y="676141"/>
                      </a:lnTo>
                      <a:lnTo>
                        <a:pt x="150924" y="668293"/>
                      </a:lnTo>
                      <a:lnTo>
                        <a:pt x="146095" y="664067"/>
                      </a:lnTo>
                      <a:lnTo>
                        <a:pt x="139454" y="662256"/>
                      </a:lnTo>
                      <a:lnTo>
                        <a:pt x="135228" y="671311"/>
                      </a:lnTo>
                      <a:lnTo>
                        <a:pt x="132210" y="676141"/>
                      </a:lnTo>
                      <a:lnTo>
                        <a:pt x="126173" y="682782"/>
                      </a:lnTo>
                      <a:lnTo>
                        <a:pt x="114099" y="685800"/>
                      </a:lnTo>
                      <a:lnTo>
                        <a:pt x="111684" y="685196"/>
                      </a:lnTo>
                      <a:lnTo>
                        <a:pt x="99610" y="686404"/>
                      </a:lnTo>
                      <a:lnTo>
                        <a:pt x="89347" y="691233"/>
                      </a:lnTo>
                      <a:lnTo>
                        <a:pt x="82707" y="692441"/>
                      </a:lnTo>
                      <a:lnTo>
                        <a:pt x="75462" y="690026"/>
                      </a:lnTo>
                      <a:lnTo>
                        <a:pt x="58559" y="690630"/>
                      </a:lnTo>
                      <a:lnTo>
                        <a:pt x="47089" y="687611"/>
                      </a:lnTo>
                      <a:lnTo>
                        <a:pt x="37429" y="687611"/>
                      </a:lnTo>
                      <a:lnTo>
                        <a:pt x="36826" y="683989"/>
                      </a:lnTo>
                      <a:lnTo>
                        <a:pt x="41655" y="682178"/>
                      </a:lnTo>
                      <a:lnTo>
                        <a:pt x="43466" y="674330"/>
                      </a:lnTo>
                      <a:lnTo>
                        <a:pt x="41655" y="670104"/>
                      </a:lnTo>
                      <a:lnTo>
                        <a:pt x="45277" y="667085"/>
                      </a:lnTo>
                      <a:lnTo>
                        <a:pt x="41655" y="661048"/>
                      </a:lnTo>
                      <a:lnTo>
                        <a:pt x="37429" y="659237"/>
                      </a:lnTo>
                      <a:lnTo>
                        <a:pt x="38033" y="655011"/>
                      </a:lnTo>
                      <a:lnTo>
                        <a:pt x="41052" y="652597"/>
                      </a:lnTo>
                      <a:lnTo>
                        <a:pt x="36222" y="646560"/>
                      </a:lnTo>
                      <a:lnTo>
                        <a:pt x="33807" y="646560"/>
                      </a:lnTo>
                      <a:lnTo>
                        <a:pt x="33807" y="639315"/>
                      </a:lnTo>
                      <a:lnTo>
                        <a:pt x="28374" y="640523"/>
                      </a:lnTo>
                      <a:lnTo>
                        <a:pt x="24752" y="635090"/>
                      </a:lnTo>
                      <a:lnTo>
                        <a:pt x="19922" y="630864"/>
                      </a:lnTo>
                      <a:lnTo>
                        <a:pt x="14489" y="629053"/>
                      </a:lnTo>
                      <a:lnTo>
                        <a:pt x="16300" y="623016"/>
                      </a:lnTo>
                      <a:lnTo>
                        <a:pt x="15696" y="618186"/>
                      </a:lnTo>
                      <a:lnTo>
                        <a:pt x="10867" y="610942"/>
                      </a:lnTo>
                      <a:lnTo>
                        <a:pt x="7244" y="601886"/>
                      </a:lnTo>
                      <a:lnTo>
                        <a:pt x="9055" y="599471"/>
                      </a:lnTo>
                      <a:lnTo>
                        <a:pt x="8452" y="589812"/>
                      </a:lnTo>
                      <a:lnTo>
                        <a:pt x="6037" y="588001"/>
                      </a:lnTo>
                      <a:lnTo>
                        <a:pt x="6037" y="577738"/>
                      </a:lnTo>
                      <a:lnTo>
                        <a:pt x="604" y="576531"/>
                      </a:lnTo>
                      <a:lnTo>
                        <a:pt x="0" y="571098"/>
                      </a:lnTo>
                      <a:lnTo>
                        <a:pt x="1811" y="569287"/>
                      </a:lnTo>
                      <a:lnTo>
                        <a:pt x="4830" y="554194"/>
                      </a:lnTo>
                      <a:lnTo>
                        <a:pt x="7848" y="554798"/>
                      </a:lnTo>
                      <a:lnTo>
                        <a:pt x="7848" y="545742"/>
                      </a:lnTo>
                      <a:lnTo>
                        <a:pt x="6037" y="543931"/>
                      </a:lnTo>
                      <a:lnTo>
                        <a:pt x="7244" y="534876"/>
                      </a:lnTo>
                      <a:lnTo>
                        <a:pt x="9055" y="535480"/>
                      </a:lnTo>
                      <a:lnTo>
                        <a:pt x="15092" y="533065"/>
                      </a:lnTo>
                      <a:lnTo>
                        <a:pt x="19318" y="523406"/>
                      </a:lnTo>
                      <a:lnTo>
                        <a:pt x="26563" y="520991"/>
                      </a:lnTo>
                      <a:lnTo>
                        <a:pt x="30185" y="522802"/>
                      </a:lnTo>
                      <a:lnTo>
                        <a:pt x="33807" y="515557"/>
                      </a:lnTo>
                      <a:lnTo>
                        <a:pt x="39844" y="514954"/>
                      </a:lnTo>
                      <a:lnTo>
                        <a:pt x="47089" y="508917"/>
                      </a:lnTo>
                      <a:lnTo>
                        <a:pt x="53126" y="507709"/>
                      </a:lnTo>
                      <a:lnTo>
                        <a:pt x="60974" y="504087"/>
                      </a:lnTo>
                      <a:lnTo>
                        <a:pt x="62785" y="505295"/>
                      </a:lnTo>
                      <a:lnTo>
                        <a:pt x="70029" y="496843"/>
                      </a:lnTo>
                      <a:lnTo>
                        <a:pt x="76670" y="495635"/>
                      </a:lnTo>
                      <a:lnTo>
                        <a:pt x="81499" y="489598"/>
                      </a:lnTo>
                      <a:lnTo>
                        <a:pt x="89347" y="487787"/>
                      </a:lnTo>
                      <a:lnTo>
                        <a:pt x="95988" y="488995"/>
                      </a:lnTo>
                      <a:lnTo>
                        <a:pt x="99006" y="487184"/>
                      </a:lnTo>
                      <a:lnTo>
                        <a:pt x="100818" y="481147"/>
                      </a:lnTo>
                      <a:lnTo>
                        <a:pt x="108062" y="480543"/>
                      </a:lnTo>
                      <a:lnTo>
                        <a:pt x="106854" y="474506"/>
                      </a:lnTo>
                      <a:lnTo>
                        <a:pt x="110477" y="472091"/>
                      </a:lnTo>
                      <a:lnTo>
                        <a:pt x="114702" y="465451"/>
                      </a:lnTo>
                      <a:lnTo>
                        <a:pt x="114702" y="461225"/>
                      </a:lnTo>
                      <a:lnTo>
                        <a:pt x="118928" y="460017"/>
                      </a:lnTo>
                      <a:lnTo>
                        <a:pt x="124965" y="451566"/>
                      </a:lnTo>
                      <a:lnTo>
                        <a:pt x="129795" y="450358"/>
                      </a:lnTo>
                      <a:lnTo>
                        <a:pt x="144284" y="439492"/>
                      </a:lnTo>
                      <a:lnTo>
                        <a:pt x="156961" y="434662"/>
                      </a:lnTo>
                      <a:lnTo>
                        <a:pt x="157565" y="431040"/>
                      </a:lnTo>
                      <a:lnTo>
                        <a:pt x="155754" y="421381"/>
                      </a:lnTo>
                      <a:lnTo>
                        <a:pt x="158169" y="417155"/>
                      </a:lnTo>
                      <a:lnTo>
                        <a:pt x="163602" y="414740"/>
                      </a:lnTo>
                      <a:lnTo>
                        <a:pt x="171450" y="414136"/>
                      </a:lnTo>
                      <a:lnTo>
                        <a:pt x="175676" y="415344"/>
                      </a:lnTo>
                      <a:lnTo>
                        <a:pt x="181109" y="419570"/>
                      </a:lnTo>
                      <a:lnTo>
                        <a:pt x="182317" y="426814"/>
                      </a:lnTo>
                      <a:lnTo>
                        <a:pt x="185939" y="428625"/>
                      </a:lnTo>
                      <a:lnTo>
                        <a:pt x="201031" y="428625"/>
                      </a:lnTo>
                      <a:lnTo>
                        <a:pt x="207068" y="426814"/>
                      </a:lnTo>
                      <a:lnTo>
                        <a:pt x="208276" y="411722"/>
                      </a:lnTo>
                      <a:lnTo>
                        <a:pt x="214313" y="410514"/>
                      </a:lnTo>
                      <a:lnTo>
                        <a:pt x="222161" y="413533"/>
                      </a:lnTo>
                      <a:lnTo>
                        <a:pt x="223972" y="420173"/>
                      </a:lnTo>
                      <a:lnTo>
                        <a:pt x="228801" y="421381"/>
                      </a:lnTo>
                      <a:lnTo>
                        <a:pt x="228801" y="417759"/>
                      </a:lnTo>
                      <a:lnTo>
                        <a:pt x="233631" y="417155"/>
                      </a:lnTo>
                      <a:lnTo>
                        <a:pt x="237253" y="423796"/>
                      </a:lnTo>
                      <a:lnTo>
                        <a:pt x="242083" y="421984"/>
                      </a:lnTo>
                      <a:lnTo>
                        <a:pt x="247516" y="425607"/>
                      </a:lnTo>
                      <a:lnTo>
                        <a:pt x="250534" y="421984"/>
                      </a:lnTo>
                      <a:lnTo>
                        <a:pt x="254760" y="423796"/>
                      </a:lnTo>
                      <a:lnTo>
                        <a:pt x="256571" y="420173"/>
                      </a:lnTo>
                      <a:lnTo>
                        <a:pt x="255968" y="411722"/>
                      </a:lnTo>
                      <a:lnTo>
                        <a:pt x="263816" y="411118"/>
                      </a:lnTo>
                      <a:lnTo>
                        <a:pt x="267438" y="412929"/>
                      </a:lnTo>
                      <a:lnTo>
                        <a:pt x="270457" y="410514"/>
                      </a:lnTo>
                      <a:lnTo>
                        <a:pt x="265023" y="406288"/>
                      </a:lnTo>
                      <a:lnTo>
                        <a:pt x="269249" y="399044"/>
                      </a:lnTo>
                      <a:lnTo>
                        <a:pt x="262005" y="393007"/>
                      </a:lnTo>
                      <a:lnTo>
                        <a:pt x="254157" y="388177"/>
                      </a:lnTo>
                      <a:lnTo>
                        <a:pt x="249931" y="389385"/>
                      </a:lnTo>
                      <a:lnTo>
                        <a:pt x="249931" y="379726"/>
                      </a:lnTo>
                      <a:lnTo>
                        <a:pt x="245705" y="380933"/>
                      </a:lnTo>
                      <a:lnTo>
                        <a:pt x="241479" y="376707"/>
                      </a:lnTo>
                      <a:lnTo>
                        <a:pt x="230009" y="376103"/>
                      </a:lnTo>
                      <a:lnTo>
                        <a:pt x="225179" y="367048"/>
                      </a:lnTo>
                      <a:lnTo>
                        <a:pt x="220953" y="365841"/>
                      </a:lnTo>
                      <a:lnTo>
                        <a:pt x="213709" y="361011"/>
                      </a:lnTo>
                      <a:lnTo>
                        <a:pt x="205861" y="363426"/>
                      </a:lnTo>
                      <a:lnTo>
                        <a:pt x="201031" y="363426"/>
                      </a:lnTo>
                      <a:lnTo>
                        <a:pt x="190769" y="355578"/>
                      </a:lnTo>
                      <a:lnTo>
                        <a:pt x="182921" y="351352"/>
                      </a:lnTo>
                      <a:lnTo>
                        <a:pt x="181109" y="353767"/>
                      </a:lnTo>
                      <a:lnTo>
                        <a:pt x="176884" y="351956"/>
                      </a:lnTo>
                      <a:lnTo>
                        <a:pt x="175676" y="345919"/>
                      </a:lnTo>
                      <a:lnTo>
                        <a:pt x="169639" y="340485"/>
                      </a:lnTo>
                      <a:lnTo>
                        <a:pt x="164810" y="334448"/>
                      </a:lnTo>
                      <a:lnTo>
                        <a:pt x="159980" y="329619"/>
                      </a:lnTo>
                      <a:lnTo>
                        <a:pt x="151528" y="328411"/>
                      </a:lnTo>
                      <a:lnTo>
                        <a:pt x="149717" y="321167"/>
                      </a:lnTo>
                      <a:lnTo>
                        <a:pt x="144887" y="318149"/>
                      </a:lnTo>
                      <a:lnTo>
                        <a:pt x="146699" y="313923"/>
                      </a:lnTo>
                      <a:lnTo>
                        <a:pt x="141869" y="310904"/>
                      </a:lnTo>
                      <a:lnTo>
                        <a:pt x="141869" y="307886"/>
                      </a:lnTo>
                      <a:lnTo>
                        <a:pt x="147906" y="298226"/>
                      </a:lnTo>
                      <a:lnTo>
                        <a:pt x="156358" y="300038"/>
                      </a:lnTo>
                      <a:lnTo>
                        <a:pt x="159980" y="296415"/>
                      </a:lnTo>
                      <a:lnTo>
                        <a:pt x="164206" y="295812"/>
                      </a:lnTo>
                      <a:lnTo>
                        <a:pt x="164206" y="291586"/>
                      </a:lnTo>
                      <a:lnTo>
                        <a:pt x="173865" y="291586"/>
                      </a:lnTo>
                      <a:lnTo>
                        <a:pt x="175676" y="288567"/>
                      </a:lnTo>
                      <a:lnTo>
                        <a:pt x="176280" y="281927"/>
                      </a:lnTo>
                      <a:lnTo>
                        <a:pt x="178695" y="278908"/>
                      </a:lnTo>
                      <a:lnTo>
                        <a:pt x="175676" y="274078"/>
                      </a:lnTo>
                      <a:lnTo>
                        <a:pt x="176280" y="265627"/>
                      </a:lnTo>
                      <a:lnTo>
                        <a:pt x="165413" y="263212"/>
                      </a:lnTo>
                      <a:lnTo>
                        <a:pt x="153943" y="262005"/>
                      </a:lnTo>
                      <a:lnTo>
                        <a:pt x="152736" y="258986"/>
                      </a:lnTo>
                      <a:lnTo>
                        <a:pt x="148510" y="257779"/>
                      </a:lnTo>
                      <a:lnTo>
                        <a:pt x="144284" y="252346"/>
                      </a:lnTo>
                      <a:lnTo>
                        <a:pt x="144284" y="249931"/>
                      </a:lnTo>
                      <a:lnTo>
                        <a:pt x="139454" y="248723"/>
                      </a:lnTo>
                      <a:lnTo>
                        <a:pt x="137643" y="251742"/>
                      </a:lnTo>
                      <a:lnTo>
                        <a:pt x="129795" y="250534"/>
                      </a:lnTo>
                      <a:lnTo>
                        <a:pt x="120739" y="248120"/>
                      </a:lnTo>
                      <a:lnTo>
                        <a:pt x="121947" y="234838"/>
                      </a:lnTo>
                      <a:lnTo>
                        <a:pt x="120739" y="232423"/>
                      </a:lnTo>
                      <a:lnTo>
                        <a:pt x="126776" y="230612"/>
                      </a:lnTo>
                      <a:lnTo>
                        <a:pt x="134021" y="233631"/>
                      </a:lnTo>
                      <a:lnTo>
                        <a:pt x="135832" y="229405"/>
                      </a:lnTo>
                      <a:lnTo>
                        <a:pt x="141265" y="230612"/>
                      </a:lnTo>
                      <a:lnTo>
                        <a:pt x="150924" y="226386"/>
                      </a:lnTo>
                      <a:lnTo>
                        <a:pt x="151528" y="222161"/>
                      </a:lnTo>
                      <a:lnTo>
                        <a:pt x="158773" y="211294"/>
                      </a:lnTo>
                      <a:lnTo>
                        <a:pt x="157565" y="204050"/>
                      </a:lnTo>
                      <a:lnTo>
                        <a:pt x="162998" y="204653"/>
                      </a:lnTo>
                      <a:lnTo>
                        <a:pt x="172658" y="204653"/>
                      </a:lnTo>
                      <a:lnTo>
                        <a:pt x="175676" y="207672"/>
                      </a:lnTo>
                      <a:lnTo>
                        <a:pt x="182921" y="207672"/>
                      </a:lnTo>
                      <a:lnTo>
                        <a:pt x="188354" y="210690"/>
                      </a:lnTo>
                      <a:lnTo>
                        <a:pt x="194391" y="211898"/>
                      </a:lnTo>
                      <a:lnTo>
                        <a:pt x="197409" y="213709"/>
                      </a:lnTo>
                      <a:lnTo>
                        <a:pt x="202239" y="210087"/>
                      </a:lnTo>
                      <a:lnTo>
                        <a:pt x="208276" y="210087"/>
                      </a:lnTo>
                      <a:lnTo>
                        <a:pt x="226386" y="207068"/>
                      </a:lnTo>
                      <a:lnTo>
                        <a:pt x="224575" y="203446"/>
                      </a:lnTo>
                      <a:lnTo>
                        <a:pt x="223972" y="196805"/>
                      </a:lnTo>
                      <a:lnTo>
                        <a:pt x="216727" y="195598"/>
                      </a:lnTo>
                      <a:lnTo>
                        <a:pt x="213105" y="194994"/>
                      </a:lnTo>
                      <a:lnTo>
                        <a:pt x="210690" y="194994"/>
                      </a:lnTo>
                      <a:lnTo>
                        <a:pt x="207672" y="193183"/>
                      </a:lnTo>
                      <a:lnTo>
                        <a:pt x="207068" y="186542"/>
                      </a:lnTo>
                      <a:lnTo>
                        <a:pt x="204050" y="181713"/>
                      </a:lnTo>
                      <a:lnTo>
                        <a:pt x="202842" y="178091"/>
                      </a:lnTo>
                      <a:lnTo>
                        <a:pt x="198617" y="178694"/>
                      </a:lnTo>
                      <a:lnTo>
                        <a:pt x="196202" y="180505"/>
                      </a:lnTo>
                      <a:lnTo>
                        <a:pt x="193787" y="182317"/>
                      </a:lnTo>
                      <a:lnTo>
                        <a:pt x="191372" y="183524"/>
                      </a:lnTo>
                      <a:lnTo>
                        <a:pt x="187750" y="177487"/>
                      </a:lnTo>
                      <a:lnTo>
                        <a:pt x="190769" y="173261"/>
                      </a:lnTo>
                      <a:lnTo>
                        <a:pt x="192580" y="169035"/>
                      </a:lnTo>
                      <a:lnTo>
                        <a:pt x="193183" y="165413"/>
                      </a:lnTo>
                      <a:lnTo>
                        <a:pt x="192580" y="162395"/>
                      </a:lnTo>
                      <a:lnTo>
                        <a:pt x="191372" y="162395"/>
                      </a:lnTo>
                      <a:lnTo>
                        <a:pt x="192580" y="158772"/>
                      </a:lnTo>
                      <a:lnTo>
                        <a:pt x="191976" y="153943"/>
                      </a:lnTo>
                      <a:lnTo>
                        <a:pt x="189561" y="152736"/>
                      </a:lnTo>
                      <a:lnTo>
                        <a:pt x="187146" y="150924"/>
                      </a:lnTo>
                      <a:lnTo>
                        <a:pt x="184128" y="150924"/>
                      </a:lnTo>
                      <a:lnTo>
                        <a:pt x="177487" y="155150"/>
                      </a:lnTo>
                      <a:lnTo>
                        <a:pt x="177487" y="156961"/>
                      </a:lnTo>
                      <a:lnTo>
                        <a:pt x="176280" y="159376"/>
                      </a:lnTo>
                      <a:lnTo>
                        <a:pt x="172054" y="158169"/>
                      </a:lnTo>
                      <a:lnTo>
                        <a:pt x="168432" y="154547"/>
                      </a:lnTo>
                      <a:lnTo>
                        <a:pt x="169639" y="150321"/>
                      </a:lnTo>
                      <a:lnTo>
                        <a:pt x="170243" y="147906"/>
                      </a:lnTo>
                      <a:lnTo>
                        <a:pt x="167828" y="147906"/>
                      </a:lnTo>
                      <a:lnTo>
                        <a:pt x="166621" y="146095"/>
                      </a:lnTo>
                      <a:lnTo>
                        <a:pt x="161791" y="147302"/>
                      </a:lnTo>
                      <a:lnTo>
                        <a:pt x="159980" y="149113"/>
                      </a:lnTo>
                      <a:lnTo>
                        <a:pt x="159376" y="148510"/>
                      </a:lnTo>
                      <a:lnTo>
                        <a:pt x="156961" y="149113"/>
                      </a:lnTo>
                      <a:lnTo>
                        <a:pt x="153339" y="146699"/>
                      </a:lnTo>
                      <a:lnTo>
                        <a:pt x="151528" y="144284"/>
                      </a:lnTo>
                      <a:lnTo>
                        <a:pt x="151528" y="143680"/>
                      </a:lnTo>
                      <a:lnTo>
                        <a:pt x="150321" y="143076"/>
                      </a:lnTo>
                      <a:lnTo>
                        <a:pt x="149717" y="141869"/>
                      </a:lnTo>
                      <a:lnTo>
                        <a:pt x="151528" y="140662"/>
                      </a:lnTo>
                      <a:lnTo>
                        <a:pt x="150321" y="137039"/>
                      </a:lnTo>
                      <a:lnTo>
                        <a:pt x="147302" y="135228"/>
                      </a:lnTo>
                      <a:lnTo>
                        <a:pt x="146095" y="134625"/>
                      </a:lnTo>
                      <a:lnTo>
                        <a:pt x="147906" y="132813"/>
                      </a:lnTo>
                      <a:lnTo>
                        <a:pt x="148510" y="132813"/>
                      </a:lnTo>
                      <a:lnTo>
                        <a:pt x="149113" y="131002"/>
                      </a:lnTo>
                      <a:lnTo>
                        <a:pt x="150924" y="129795"/>
                      </a:lnTo>
                      <a:lnTo>
                        <a:pt x="149717" y="128588"/>
                      </a:lnTo>
                      <a:lnTo>
                        <a:pt x="150321" y="125569"/>
                      </a:lnTo>
                      <a:lnTo>
                        <a:pt x="148510" y="124965"/>
                      </a:lnTo>
                      <a:lnTo>
                        <a:pt x="151528" y="123154"/>
                      </a:lnTo>
                      <a:lnTo>
                        <a:pt x="149717" y="120136"/>
                      </a:lnTo>
                      <a:lnTo>
                        <a:pt x="148510" y="116514"/>
                      </a:lnTo>
                      <a:lnTo>
                        <a:pt x="148510" y="110477"/>
                      </a:lnTo>
                      <a:lnTo>
                        <a:pt x="146095" y="111080"/>
                      </a:lnTo>
                      <a:lnTo>
                        <a:pt x="139454" y="105043"/>
                      </a:lnTo>
                      <a:lnTo>
                        <a:pt x="144887" y="102025"/>
                      </a:lnTo>
                      <a:lnTo>
                        <a:pt x="144887" y="99610"/>
                      </a:lnTo>
                      <a:lnTo>
                        <a:pt x="144284" y="97799"/>
                      </a:lnTo>
                      <a:lnTo>
                        <a:pt x="142473" y="97195"/>
                      </a:lnTo>
                      <a:lnTo>
                        <a:pt x="136436" y="99610"/>
                      </a:lnTo>
                      <a:lnTo>
                        <a:pt x="130399" y="101421"/>
                      </a:lnTo>
                      <a:lnTo>
                        <a:pt x="129191" y="100214"/>
                      </a:lnTo>
                      <a:lnTo>
                        <a:pt x="128588" y="97195"/>
                      </a:lnTo>
                      <a:lnTo>
                        <a:pt x="129191" y="93573"/>
                      </a:lnTo>
                      <a:lnTo>
                        <a:pt x="131002" y="91762"/>
                      </a:lnTo>
                      <a:lnTo>
                        <a:pt x="131606" y="90555"/>
                      </a:lnTo>
                      <a:lnTo>
                        <a:pt x="131002" y="88744"/>
                      </a:lnTo>
                      <a:lnTo>
                        <a:pt x="134625" y="82707"/>
                      </a:lnTo>
                      <a:lnTo>
                        <a:pt x="137643" y="79688"/>
                      </a:lnTo>
                      <a:lnTo>
                        <a:pt x="138247" y="79084"/>
                      </a:lnTo>
                      <a:lnTo>
                        <a:pt x="136436" y="74255"/>
                      </a:lnTo>
                      <a:lnTo>
                        <a:pt x="133417" y="70029"/>
                      </a:lnTo>
                      <a:lnTo>
                        <a:pt x="133417" y="68218"/>
                      </a:lnTo>
                      <a:lnTo>
                        <a:pt x="130399" y="65803"/>
                      </a:lnTo>
                      <a:lnTo>
                        <a:pt x="121947" y="63388"/>
                      </a:lnTo>
                      <a:lnTo>
                        <a:pt x="120739" y="62784"/>
                      </a:lnTo>
                      <a:lnTo>
                        <a:pt x="119532" y="56748"/>
                      </a:lnTo>
                      <a:lnTo>
                        <a:pt x="124362" y="53125"/>
                      </a:lnTo>
                      <a:lnTo>
                        <a:pt x="125569" y="47692"/>
                      </a:lnTo>
                      <a:lnTo>
                        <a:pt x="121947" y="44674"/>
                      </a:lnTo>
                      <a:lnTo>
                        <a:pt x="118325" y="45277"/>
                      </a:lnTo>
                      <a:lnTo>
                        <a:pt x="111080" y="48900"/>
                      </a:lnTo>
                      <a:lnTo>
                        <a:pt x="106251" y="45277"/>
                      </a:lnTo>
                      <a:lnTo>
                        <a:pt x="109873" y="43466"/>
                      </a:lnTo>
                      <a:lnTo>
                        <a:pt x="112288" y="39844"/>
                      </a:lnTo>
                      <a:lnTo>
                        <a:pt x="118325" y="38033"/>
                      </a:lnTo>
                      <a:lnTo>
                        <a:pt x="121947" y="33807"/>
                      </a:lnTo>
                      <a:lnTo>
                        <a:pt x="121947" y="30789"/>
                      </a:lnTo>
                      <a:lnTo>
                        <a:pt x="115306" y="30185"/>
                      </a:lnTo>
                      <a:lnTo>
                        <a:pt x="114702" y="21733"/>
                      </a:lnTo>
                      <a:lnTo>
                        <a:pt x="127380" y="16904"/>
                      </a:lnTo>
                      <a:lnTo>
                        <a:pt x="130399" y="18715"/>
                      </a:lnTo>
                      <a:lnTo>
                        <a:pt x="140058" y="18111"/>
                      </a:lnTo>
                      <a:lnTo>
                        <a:pt x="146699" y="19318"/>
                      </a:lnTo>
                      <a:lnTo>
                        <a:pt x="152132" y="18715"/>
                      </a:lnTo>
                      <a:lnTo>
                        <a:pt x="155754" y="10263"/>
                      </a:lnTo>
                      <a:lnTo>
                        <a:pt x="161187" y="7848"/>
                      </a:lnTo>
                      <a:lnTo>
                        <a:pt x="164206" y="0"/>
                      </a:lnTo>
                      <a:lnTo>
                        <a:pt x="168432" y="2415"/>
                      </a:lnTo>
                      <a:lnTo>
                        <a:pt x="172658" y="1207"/>
                      </a:lnTo>
                      <a:lnTo>
                        <a:pt x="172054" y="8452"/>
                      </a:lnTo>
                      <a:lnTo>
                        <a:pt x="176884" y="10867"/>
                      </a:lnTo>
                      <a:lnTo>
                        <a:pt x="184128" y="12074"/>
                      </a:lnTo>
                      <a:lnTo>
                        <a:pt x="184732" y="18715"/>
                      </a:lnTo>
                      <a:lnTo>
                        <a:pt x="189561" y="15092"/>
                      </a:lnTo>
                      <a:lnTo>
                        <a:pt x="193787" y="16300"/>
                      </a:lnTo>
                      <a:lnTo>
                        <a:pt x="198013" y="21733"/>
                      </a:lnTo>
                      <a:lnTo>
                        <a:pt x="198617" y="28374"/>
                      </a:lnTo>
                      <a:lnTo>
                        <a:pt x="201635" y="31996"/>
                      </a:lnTo>
                      <a:lnTo>
                        <a:pt x="222161" y="35618"/>
                      </a:lnTo>
                      <a:lnTo>
                        <a:pt x="232423" y="35618"/>
                      </a:lnTo>
                      <a:lnTo>
                        <a:pt x="238460" y="38637"/>
                      </a:lnTo>
                      <a:lnTo>
                        <a:pt x="242083" y="38033"/>
                      </a:lnTo>
                      <a:lnTo>
                        <a:pt x="258383" y="40448"/>
                      </a:lnTo>
                      <a:lnTo>
                        <a:pt x="266834" y="43466"/>
                      </a:lnTo>
                      <a:lnTo>
                        <a:pt x="269853" y="43466"/>
                      </a:lnTo>
                      <a:lnTo>
                        <a:pt x="274079" y="50107"/>
                      </a:lnTo>
                      <a:lnTo>
                        <a:pt x="283738" y="69425"/>
                      </a:lnTo>
                      <a:lnTo>
                        <a:pt x="281927" y="74858"/>
                      </a:lnTo>
                      <a:lnTo>
                        <a:pt x="280719" y="81499"/>
                      </a:lnTo>
                      <a:lnTo>
                        <a:pt x="282531" y="88140"/>
                      </a:lnTo>
                      <a:lnTo>
                        <a:pt x="280719" y="92969"/>
                      </a:lnTo>
                      <a:lnTo>
                        <a:pt x="280719" y="97195"/>
                      </a:lnTo>
                      <a:lnTo>
                        <a:pt x="278908" y="100818"/>
                      </a:lnTo>
                      <a:lnTo>
                        <a:pt x="274682" y="103836"/>
                      </a:lnTo>
                      <a:lnTo>
                        <a:pt x="274079" y="110477"/>
                      </a:lnTo>
                      <a:lnTo>
                        <a:pt x="286153" y="114702"/>
                      </a:lnTo>
                      <a:lnTo>
                        <a:pt x="297623" y="120739"/>
                      </a:lnTo>
                      <a:lnTo>
                        <a:pt x="300642" y="117117"/>
                      </a:lnTo>
                      <a:lnTo>
                        <a:pt x="305471" y="121947"/>
                      </a:lnTo>
                      <a:lnTo>
                        <a:pt x="310301" y="116514"/>
                      </a:lnTo>
                      <a:lnTo>
                        <a:pt x="317545" y="119532"/>
                      </a:lnTo>
                      <a:lnTo>
                        <a:pt x="318752" y="123758"/>
                      </a:lnTo>
                      <a:lnTo>
                        <a:pt x="329619" y="128588"/>
                      </a:lnTo>
                      <a:lnTo>
                        <a:pt x="333241" y="128588"/>
                      </a:lnTo>
                      <a:lnTo>
                        <a:pt x="339882" y="130399"/>
                      </a:lnTo>
                      <a:lnTo>
                        <a:pt x="343504" y="135228"/>
                      </a:lnTo>
                      <a:lnTo>
                        <a:pt x="341693" y="140662"/>
                      </a:lnTo>
                      <a:lnTo>
                        <a:pt x="347730" y="141265"/>
                      </a:lnTo>
                      <a:lnTo>
                        <a:pt x="348333" y="145491"/>
                      </a:lnTo>
                      <a:lnTo>
                        <a:pt x="356785" y="146095"/>
                      </a:lnTo>
                      <a:lnTo>
                        <a:pt x="353767" y="153943"/>
                      </a:lnTo>
                      <a:lnTo>
                        <a:pt x="356785" y="155754"/>
                      </a:lnTo>
                      <a:lnTo>
                        <a:pt x="366444" y="153339"/>
                      </a:lnTo>
                      <a:lnTo>
                        <a:pt x="370670" y="150924"/>
                      </a:lnTo>
                      <a:lnTo>
                        <a:pt x="375500" y="151528"/>
                      </a:lnTo>
                      <a:lnTo>
                        <a:pt x="386970" y="151528"/>
                      </a:lnTo>
                      <a:lnTo>
                        <a:pt x="387574" y="157565"/>
                      </a:lnTo>
                      <a:lnTo>
                        <a:pt x="384555" y="164206"/>
                      </a:lnTo>
                      <a:lnTo>
                        <a:pt x="388178" y="170846"/>
                      </a:lnTo>
                      <a:lnTo>
                        <a:pt x="388781" y="174468"/>
                      </a:lnTo>
                      <a:lnTo>
                        <a:pt x="391800" y="176883"/>
                      </a:lnTo>
                      <a:lnTo>
                        <a:pt x="395422" y="175676"/>
                      </a:lnTo>
                      <a:lnTo>
                        <a:pt x="401459" y="177487"/>
                      </a:lnTo>
                      <a:lnTo>
                        <a:pt x="413533" y="179298"/>
                      </a:lnTo>
                      <a:lnTo>
                        <a:pt x="416551" y="181109"/>
                      </a:lnTo>
                      <a:lnTo>
                        <a:pt x="420777" y="176280"/>
                      </a:lnTo>
                      <a:lnTo>
                        <a:pt x="425003" y="176280"/>
                      </a:lnTo>
                      <a:lnTo>
                        <a:pt x="426814" y="173261"/>
                      </a:lnTo>
                      <a:lnTo>
                        <a:pt x="431644" y="169639"/>
                      </a:lnTo>
                      <a:lnTo>
                        <a:pt x="437077" y="169639"/>
                      </a:lnTo>
                      <a:lnTo>
                        <a:pt x="441303" y="171450"/>
                      </a:lnTo>
                      <a:lnTo>
                        <a:pt x="450358" y="167828"/>
                      </a:lnTo>
                      <a:lnTo>
                        <a:pt x="450358" y="164809"/>
                      </a:lnTo>
                      <a:lnTo>
                        <a:pt x="455188" y="164206"/>
                      </a:lnTo>
                      <a:lnTo>
                        <a:pt x="459414" y="158772"/>
                      </a:lnTo>
                      <a:lnTo>
                        <a:pt x="464243" y="158169"/>
                      </a:lnTo>
                      <a:lnTo>
                        <a:pt x="472695" y="153943"/>
                      </a:lnTo>
                      <a:lnTo>
                        <a:pt x="476317" y="150321"/>
                      </a:lnTo>
                      <a:lnTo>
                        <a:pt x="479939" y="155150"/>
                      </a:lnTo>
                      <a:lnTo>
                        <a:pt x="487788" y="157565"/>
                      </a:lnTo>
                      <a:lnTo>
                        <a:pt x="496239" y="162998"/>
                      </a:lnTo>
                      <a:lnTo>
                        <a:pt x="499258" y="168431"/>
                      </a:lnTo>
                      <a:lnTo>
                        <a:pt x="496843" y="190768"/>
                      </a:lnTo>
                      <a:lnTo>
                        <a:pt x="496843" y="196202"/>
                      </a:lnTo>
                      <a:lnTo>
                        <a:pt x="501673" y="204653"/>
                      </a:lnTo>
                      <a:lnTo>
                        <a:pt x="506502" y="206465"/>
                      </a:lnTo>
                      <a:lnTo>
                        <a:pt x="512539" y="207672"/>
                      </a:lnTo>
                      <a:lnTo>
                        <a:pt x="516161" y="213105"/>
                      </a:lnTo>
                      <a:lnTo>
                        <a:pt x="519180" y="211294"/>
                      </a:lnTo>
                      <a:lnTo>
                        <a:pt x="523406" y="211294"/>
                      </a:lnTo>
                      <a:lnTo>
                        <a:pt x="524613" y="220953"/>
                      </a:lnTo>
                      <a:lnTo>
                        <a:pt x="531254" y="214916"/>
                      </a:lnTo>
                      <a:lnTo>
                        <a:pt x="539102" y="211294"/>
                      </a:lnTo>
                      <a:lnTo>
                        <a:pt x="544535" y="206465"/>
                      </a:lnTo>
                      <a:lnTo>
                        <a:pt x="545139" y="202239"/>
                      </a:lnTo>
                      <a:lnTo>
                        <a:pt x="548761" y="200428"/>
                      </a:lnTo>
                      <a:lnTo>
                        <a:pt x="554194" y="201031"/>
                      </a:lnTo>
                      <a:lnTo>
                        <a:pt x="559627" y="198013"/>
                      </a:lnTo>
                      <a:lnTo>
                        <a:pt x="568079" y="200428"/>
                      </a:lnTo>
                      <a:lnTo>
                        <a:pt x="569287" y="202239"/>
                      </a:lnTo>
                      <a:lnTo>
                        <a:pt x="578342" y="206465"/>
                      </a:lnTo>
                      <a:lnTo>
                        <a:pt x="582568" y="207068"/>
                      </a:lnTo>
                      <a:lnTo>
                        <a:pt x="586190" y="211294"/>
                      </a:lnTo>
                      <a:lnTo>
                        <a:pt x="589209" y="209483"/>
                      </a:lnTo>
                      <a:lnTo>
                        <a:pt x="593435" y="210087"/>
                      </a:lnTo>
                      <a:lnTo>
                        <a:pt x="594642" y="214916"/>
                      </a:lnTo>
                      <a:lnTo>
                        <a:pt x="601886" y="215520"/>
                      </a:lnTo>
                      <a:lnTo>
                        <a:pt x="606112" y="210087"/>
                      </a:lnTo>
                      <a:lnTo>
                        <a:pt x="614564" y="210690"/>
                      </a:lnTo>
                      <a:lnTo>
                        <a:pt x="617583" y="208879"/>
                      </a:lnTo>
                      <a:lnTo>
                        <a:pt x="624827" y="210087"/>
                      </a:lnTo>
                      <a:lnTo>
                        <a:pt x="624223" y="212501"/>
                      </a:lnTo>
                      <a:lnTo>
                        <a:pt x="635090" y="214916"/>
                      </a:lnTo>
                      <a:lnTo>
                        <a:pt x="635693" y="216727"/>
                      </a:lnTo>
                      <a:lnTo>
                        <a:pt x="647767" y="220953"/>
                      </a:lnTo>
                      <a:lnTo>
                        <a:pt x="656823" y="226990"/>
                      </a:lnTo>
                      <a:lnTo>
                        <a:pt x="665878" y="227594"/>
                      </a:lnTo>
                      <a:lnTo>
                        <a:pt x="670104" y="236649"/>
                      </a:lnTo>
                      <a:lnTo>
                        <a:pt x="682782" y="240875"/>
                      </a:lnTo>
                      <a:lnTo>
                        <a:pt x="683989" y="244497"/>
                      </a:lnTo>
                      <a:lnTo>
                        <a:pt x="697270" y="248723"/>
                      </a:lnTo>
                      <a:lnTo>
                        <a:pt x="698478" y="251138"/>
                      </a:lnTo>
                      <a:lnTo>
                        <a:pt x="703911" y="253553"/>
                      </a:lnTo>
                      <a:lnTo>
                        <a:pt x="708137" y="252949"/>
                      </a:lnTo>
                      <a:lnTo>
                        <a:pt x="709344" y="248723"/>
                      </a:lnTo>
                      <a:lnTo>
                        <a:pt x="712363" y="245705"/>
                      </a:lnTo>
                      <a:lnTo>
                        <a:pt x="725644" y="250534"/>
                      </a:lnTo>
                      <a:lnTo>
                        <a:pt x="731681" y="246309"/>
                      </a:lnTo>
                      <a:lnTo>
                        <a:pt x="734096" y="247516"/>
                      </a:lnTo>
                      <a:lnTo>
                        <a:pt x="738322" y="243894"/>
                      </a:lnTo>
                      <a:lnTo>
                        <a:pt x="738322" y="239668"/>
                      </a:lnTo>
                      <a:lnTo>
                        <a:pt x="745566" y="239064"/>
                      </a:lnTo>
                      <a:lnTo>
                        <a:pt x="746170" y="233027"/>
                      </a:lnTo>
                      <a:lnTo>
                        <a:pt x="752207" y="231216"/>
                      </a:lnTo>
                      <a:lnTo>
                        <a:pt x="755225" y="231820"/>
                      </a:lnTo>
                      <a:lnTo>
                        <a:pt x="763073" y="229405"/>
                      </a:lnTo>
                      <a:lnTo>
                        <a:pt x="769110" y="220953"/>
                      </a:lnTo>
                      <a:lnTo>
                        <a:pt x="769714" y="216727"/>
                      </a:lnTo>
                      <a:lnTo>
                        <a:pt x="775147" y="216727"/>
                      </a:lnTo>
                      <a:lnTo>
                        <a:pt x="775147" y="226990"/>
                      </a:lnTo>
                      <a:lnTo>
                        <a:pt x="776355" y="231216"/>
                      </a:lnTo>
                      <a:lnTo>
                        <a:pt x="778769" y="248120"/>
                      </a:lnTo>
                      <a:lnTo>
                        <a:pt x="789032" y="255968"/>
                      </a:lnTo>
                      <a:lnTo>
                        <a:pt x="793862" y="258986"/>
                      </a:lnTo>
                      <a:lnTo>
                        <a:pt x="798692" y="256571"/>
                      </a:lnTo>
                      <a:lnTo>
                        <a:pt x="810766" y="256571"/>
                      </a:lnTo>
                      <a:lnTo>
                        <a:pt x="814991" y="258383"/>
                      </a:lnTo>
                      <a:lnTo>
                        <a:pt x="814991" y="265627"/>
                      </a:lnTo>
                      <a:lnTo>
                        <a:pt x="824651" y="267438"/>
                      </a:lnTo>
                      <a:lnTo>
                        <a:pt x="830688" y="271664"/>
                      </a:lnTo>
                      <a:lnTo>
                        <a:pt x="834310" y="268645"/>
                      </a:lnTo>
                      <a:lnTo>
                        <a:pt x="833706" y="262608"/>
                      </a:lnTo>
                      <a:lnTo>
                        <a:pt x="836121" y="257779"/>
                      </a:lnTo>
                      <a:lnTo>
                        <a:pt x="840347" y="255364"/>
                      </a:lnTo>
                      <a:lnTo>
                        <a:pt x="848195" y="254760"/>
                      </a:lnTo>
                      <a:lnTo>
                        <a:pt x="856647" y="250534"/>
                      </a:lnTo>
                      <a:lnTo>
                        <a:pt x="866909" y="252346"/>
                      </a:lnTo>
                      <a:lnTo>
                        <a:pt x="872946" y="255364"/>
                      </a:lnTo>
                      <a:lnTo>
                        <a:pt x="874154" y="258383"/>
                      </a:lnTo>
                      <a:lnTo>
                        <a:pt x="881398" y="261401"/>
                      </a:lnTo>
                      <a:lnTo>
                        <a:pt x="886228" y="262005"/>
                      </a:lnTo>
                      <a:lnTo>
                        <a:pt x="894679" y="261401"/>
                      </a:lnTo>
                      <a:lnTo>
                        <a:pt x="894076" y="258383"/>
                      </a:lnTo>
                      <a:lnTo>
                        <a:pt x="900113" y="255968"/>
                      </a:lnTo>
                      <a:lnTo>
                        <a:pt x="900113" y="251742"/>
                      </a:lnTo>
                      <a:lnTo>
                        <a:pt x="906753" y="253553"/>
                      </a:lnTo>
                      <a:lnTo>
                        <a:pt x="911583" y="257779"/>
                      </a:lnTo>
                      <a:lnTo>
                        <a:pt x="915809" y="257779"/>
                      </a:lnTo>
                      <a:lnTo>
                        <a:pt x="919431" y="255364"/>
                      </a:lnTo>
                      <a:lnTo>
                        <a:pt x="920035" y="248723"/>
                      </a:lnTo>
                      <a:lnTo>
                        <a:pt x="923657" y="243894"/>
                      </a:lnTo>
                      <a:lnTo>
                        <a:pt x="935127" y="251138"/>
                      </a:lnTo>
                      <a:lnTo>
                        <a:pt x="937542" y="248120"/>
                      </a:lnTo>
                      <a:lnTo>
                        <a:pt x="936938" y="245101"/>
                      </a:lnTo>
                      <a:lnTo>
                        <a:pt x="945994" y="242083"/>
                      </a:lnTo>
                      <a:lnTo>
                        <a:pt x="947805" y="246309"/>
                      </a:lnTo>
                      <a:lnTo>
                        <a:pt x="950823" y="248723"/>
                      </a:lnTo>
                      <a:lnTo>
                        <a:pt x="952635" y="255364"/>
                      </a:lnTo>
                      <a:lnTo>
                        <a:pt x="959275" y="260194"/>
                      </a:lnTo>
                      <a:lnTo>
                        <a:pt x="964708" y="261401"/>
                      </a:lnTo>
                      <a:lnTo>
                        <a:pt x="964708" y="266834"/>
                      </a:lnTo>
                      <a:lnTo>
                        <a:pt x="967727" y="268645"/>
                      </a:lnTo>
                      <a:lnTo>
                        <a:pt x="972556" y="268042"/>
                      </a:lnTo>
                      <a:lnTo>
                        <a:pt x="971953" y="263816"/>
                      </a:lnTo>
                      <a:lnTo>
                        <a:pt x="974367" y="261401"/>
                      </a:lnTo>
                      <a:lnTo>
                        <a:pt x="982819" y="254760"/>
                      </a:lnTo>
                      <a:lnTo>
                        <a:pt x="985838" y="251138"/>
                      </a:lnTo>
                      <a:lnTo>
                        <a:pt x="987649" y="244497"/>
                      </a:lnTo>
                      <a:lnTo>
                        <a:pt x="985838" y="233027"/>
                      </a:lnTo>
                      <a:lnTo>
                        <a:pt x="987649" y="228198"/>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86" name="Chandigarh" descr="{&quot;Key&quot;:&quot;chandigarh&quot;,&quot;Name&quot;:&quot;Chandigarh&quot;,&quot;Value&quot;:1.0,&quot;Formula&quot;:&quot;&quot;,&quot;Text&quot;:&quot;&quot;,&quot;OfficeApplication&quot;:1,&quot;HasValue&quot;:true}">
                  <a:extLst>
                    <a:ext uri="{FF2B5EF4-FFF2-40B4-BE49-F238E27FC236}">
                      <a16:creationId xmlns:a16="http://schemas.microsoft.com/office/drawing/2014/main" id="{26C3493B-1576-4F02-88D2-882D9BDE48F4}"/>
                    </a:ext>
                  </a:extLst>
                </p:cNvPr>
                <p:cNvSpPr/>
                <p:nvPr/>
              </p:nvSpPr>
              <p:spPr>
                <a:xfrm>
                  <a:off x="4836688" y="1568405"/>
                  <a:ext cx="24148" cy="30185"/>
                </a:xfrm>
                <a:custGeom>
                  <a:avLst/>
                  <a:gdLst>
                    <a:gd name="connsiteX0" fmla="*/ 24752 w 24147"/>
                    <a:gd name="connsiteY0" fmla="*/ 27166 h 30184"/>
                    <a:gd name="connsiteX1" fmla="*/ 23544 w 24147"/>
                    <a:gd name="connsiteY1" fmla="*/ 27770 h 30184"/>
                    <a:gd name="connsiteX2" fmla="*/ 21129 w 24147"/>
                    <a:gd name="connsiteY2" fmla="*/ 30789 h 30184"/>
                    <a:gd name="connsiteX3" fmla="*/ 16300 w 24147"/>
                    <a:gd name="connsiteY3" fmla="*/ 28374 h 30184"/>
                    <a:gd name="connsiteX4" fmla="*/ 10867 w 24147"/>
                    <a:gd name="connsiteY4" fmla="*/ 25355 h 30184"/>
                    <a:gd name="connsiteX5" fmla="*/ 9659 w 24147"/>
                    <a:gd name="connsiteY5" fmla="*/ 25959 h 30184"/>
                    <a:gd name="connsiteX6" fmla="*/ 8452 w 24147"/>
                    <a:gd name="connsiteY6" fmla="*/ 24148 h 30184"/>
                    <a:gd name="connsiteX7" fmla="*/ 6641 w 24147"/>
                    <a:gd name="connsiteY7" fmla="*/ 22337 h 30184"/>
                    <a:gd name="connsiteX8" fmla="*/ 7244 w 24147"/>
                    <a:gd name="connsiteY8" fmla="*/ 21733 h 30184"/>
                    <a:gd name="connsiteX9" fmla="*/ 4830 w 24147"/>
                    <a:gd name="connsiteY9" fmla="*/ 19922 h 30184"/>
                    <a:gd name="connsiteX10" fmla="*/ 3622 w 24147"/>
                    <a:gd name="connsiteY10" fmla="*/ 15092 h 30184"/>
                    <a:gd name="connsiteX11" fmla="*/ 0 w 24147"/>
                    <a:gd name="connsiteY11" fmla="*/ 9659 h 30184"/>
                    <a:gd name="connsiteX12" fmla="*/ 0 w 24147"/>
                    <a:gd name="connsiteY12" fmla="*/ 9055 h 30184"/>
                    <a:gd name="connsiteX13" fmla="*/ 5433 w 24147"/>
                    <a:gd name="connsiteY13" fmla="*/ 6641 h 30184"/>
                    <a:gd name="connsiteX14" fmla="*/ 7848 w 24147"/>
                    <a:gd name="connsiteY14" fmla="*/ 4830 h 30184"/>
                    <a:gd name="connsiteX15" fmla="*/ 9055 w 24147"/>
                    <a:gd name="connsiteY15" fmla="*/ 3622 h 30184"/>
                    <a:gd name="connsiteX16" fmla="*/ 9659 w 24147"/>
                    <a:gd name="connsiteY16" fmla="*/ 1811 h 30184"/>
                    <a:gd name="connsiteX17" fmla="*/ 9659 w 24147"/>
                    <a:gd name="connsiteY17" fmla="*/ 1207 h 30184"/>
                    <a:gd name="connsiteX18" fmla="*/ 10867 w 24147"/>
                    <a:gd name="connsiteY18" fmla="*/ 604 h 30184"/>
                    <a:gd name="connsiteX19" fmla="*/ 12074 w 24147"/>
                    <a:gd name="connsiteY19" fmla="*/ 0 h 30184"/>
                    <a:gd name="connsiteX20" fmla="*/ 15696 w 24147"/>
                    <a:gd name="connsiteY20" fmla="*/ 604 h 30184"/>
                    <a:gd name="connsiteX21" fmla="*/ 17507 w 24147"/>
                    <a:gd name="connsiteY21" fmla="*/ 3018 h 30184"/>
                    <a:gd name="connsiteX22" fmla="*/ 16904 w 24147"/>
                    <a:gd name="connsiteY22" fmla="*/ 3622 h 30184"/>
                    <a:gd name="connsiteX23" fmla="*/ 18111 w 24147"/>
                    <a:gd name="connsiteY23" fmla="*/ 5433 h 30184"/>
                    <a:gd name="connsiteX24" fmla="*/ 21733 w 24147"/>
                    <a:gd name="connsiteY24" fmla="*/ 3018 h 30184"/>
                    <a:gd name="connsiteX25" fmla="*/ 22941 w 24147"/>
                    <a:gd name="connsiteY25" fmla="*/ 3622 h 30184"/>
                    <a:gd name="connsiteX26" fmla="*/ 22941 w 24147"/>
                    <a:gd name="connsiteY26" fmla="*/ 4830 h 30184"/>
                    <a:gd name="connsiteX27" fmla="*/ 21129 w 24147"/>
                    <a:gd name="connsiteY27" fmla="*/ 7244 h 30184"/>
                    <a:gd name="connsiteX28" fmla="*/ 28374 w 24147"/>
                    <a:gd name="connsiteY28" fmla="*/ 7848 h 30184"/>
                    <a:gd name="connsiteX29" fmla="*/ 27166 w 24147"/>
                    <a:gd name="connsiteY29" fmla="*/ 15696 h 30184"/>
                    <a:gd name="connsiteX30" fmla="*/ 29581 w 24147"/>
                    <a:gd name="connsiteY30" fmla="*/ 19922 h 30184"/>
                    <a:gd name="connsiteX31" fmla="*/ 26563 w 24147"/>
                    <a:gd name="connsiteY31" fmla="*/ 24148 h 30184"/>
                    <a:gd name="connsiteX32" fmla="*/ 24752 w 24147"/>
                    <a:gd name="connsiteY32" fmla="*/ 27166 h 3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147" h="30184">
                      <a:moveTo>
                        <a:pt x="24752" y="27166"/>
                      </a:moveTo>
                      <a:lnTo>
                        <a:pt x="23544" y="27770"/>
                      </a:lnTo>
                      <a:lnTo>
                        <a:pt x="21129" y="30789"/>
                      </a:lnTo>
                      <a:lnTo>
                        <a:pt x="16300" y="28374"/>
                      </a:lnTo>
                      <a:lnTo>
                        <a:pt x="10867" y="25355"/>
                      </a:lnTo>
                      <a:lnTo>
                        <a:pt x="9659" y="25959"/>
                      </a:lnTo>
                      <a:lnTo>
                        <a:pt x="8452" y="24148"/>
                      </a:lnTo>
                      <a:lnTo>
                        <a:pt x="6641" y="22337"/>
                      </a:lnTo>
                      <a:lnTo>
                        <a:pt x="7244" y="21733"/>
                      </a:lnTo>
                      <a:lnTo>
                        <a:pt x="4830" y="19922"/>
                      </a:lnTo>
                      <a:lnTo>
                        <a:pt x="3622" y="15092"/>
                      </a:lnTo>
                      <a:lnTo>
                        <a:pt x="0" y="9659"/>
                      </a:lnTo>
                      <a:lnTo>
                        <a:pt x="0" y="9055"/>
                      </a:lnTo>
                      <a:lnTo>
                        <a:pt x="5433" y="6641"/>
                      </a:lnTo>
                      <a:lnTo>
                        <a:pt x="7848" y="4830"/>
                      </a:lnTo>
                      <a:lnTo>
                        <a:pt x="9055" y="3622"/>
                      </a:lnTo>
                      <a:lnTo>
                        <a:pt x="9659" y="1811"/>
                      </a:lnTo>
                      <a:lnTo>
                        <a:pt x="9659" y="1207"/>
                      </a:lnTo>
                      <a:lnTo>
                        <a:pt x="10867" y="604"/>
                      </a:lnTo>
                      <a:lnTo>
                        <a:pt x="12074" y="0"/>
                      </a:lnTo>
                      <a:lnTo>
                        <a:pt x="15696" y="604"/>
                      </a:lnTo>
                      <a:lnTo>
                        <a:pt x="17507" y="3018"/>
                      </a:lnTo>
                      <a:lnTo>
                        <a:pt x="16904" y="3622"/>
                      </a:lnTo>
                      <a:lnTo>
                        <a:pt x="18111" y="5433"/>
                      </a:lnTo>
                      <a:lnTo>
                        <a:pt x="21733" y="3018"/>
                      </a:lnTo>
                      <a:lnTo>
                        <a:pt x="22941" y="3622"/>
                      </a:lnTo>
                      <a:lnTo>
                        <a:pt x="22941" y="4830"/>
                      </a:lnTo>
                      <a:lnTo>
                        <a:pt x="21129" y="7244"/>
                      </a:lnTo>
                      <a:lnTo>
                        <a:pt x="28374" y="7848"/>
                      </a:lnTo>
                      <a:lnTo>
                        <a:pt x="27166" y="15696"/>
                      </a:lnTo>
                      <a:lnTo>
                        <a:pt x="29581" y="19922"/>
                      </a:lnTo>
                      <a:lnTo>
                        <a:pt x="26563" y="24148"/>
                      </a:lnTo>
                      <a:lnTo>
                        <a:pt x="24752" y="27166"/>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87" name="Chhattisgarh" descr="{&quot;Key&quot;:&quot;chhattisgarh&quot;,&quot;Name&quot;:&quot;Chhattisgarh&quot;,&quot;Value&quot;:1.0,&quot;Formula&quot;:&quot;&quot;,&quot;Text&quot;:&quot;&quot;,&quot;OfficeApplication&quot;:1,&quot;HasValue&quot;:true}">
                  <a:extLst>
                    <a:ext uri="{FF2B5EF4-FFF2-40B4-BE49-F238E27FC236}">
                      <a16:creationId xmlns:a16="http://schemas.microsoft.com/office/drawing/2014/main" id="{A5AEC0EC-35A5-4B77-A5BE-52A25758A3D9}"/>
                    </a:ext>
                  </a:extLst>
                </p:cNvPr>
                <p:cNvSpPr/>
                <p:nvPr/>
              </p:nvSpPr>
              <p:spPr>
                <a:xfrm>
                  <a:off x="5568369" y="3125340"/>
                  <a:ext cx="851213" cy="1394540"/>
                </a:xfrm>
                <a:custGeom>
                  <a:avLst/>
                  <a:gdLst>
                    <a:gd name="connsiteX0" fmla="*/ 775751 w 851213"/>
                    <a:gd name="connsiteY0" fmla="*/ 354974 h 1394540"/>
                    <a:gd name="connsiteX1" fmla="*/ 770318 w 851213"/>
                    <a:gd name="connsiteY1" fmla="*/ 355577 h 1394540"/>
                    <a:gd name="connsiteX2" fmla="*/ 770318 w 851213"/>
                    <a:gd name="connsiteY2" fmla="*/ 359200 h 1394540"/>
                    <a:gd name="connsiteX3" fmla="*/ 777562 w 851213"/>
                    <a:gd name="connsiteY3" fmla="*/ 362822 h 1394540"/>
                    <a:gd name="connsiteX4" fmla="*/ 779373 w 851213"/>
                    <a:gd name="connsiteY4" fmla="*/ 365840 h 1394540"/>
                    <a:gd name="connsiteX5" fmla="*/ 783599 w 851213"/>
                    <a:gd name="connsiteY5" fmla="*/ 367651 h 1394540"/>
                    <a:gd name="connsiteX6" fmla="*/ 783599 w 851213"/>
                    <a:gd name="connsiteY6" fmla="*/ 374292 h 1394540"/>
                    <a:gd name="connsiteX7" fmla="*/ 778166 w 851213"/>
                    <a:gd name="connsiteY7" fmla="*/ 380933 h 1394540"/>
                    <a:gd name="connsiteX8" fmla="*/ 775147 w 851213"/>
                    <a:gd name="connsiteY8" fmla="*/ 388781 h 1394540"/>
                    <a:gd name="connsiteX9" fmla="*/ 768507 w 851213"/>
                    <a:gd name="connsiteY9" fmla="*/ 391196 h 1394540"/>
                    <a:gd name="connsiteX10" fmla="*/ 757640 w 851213"/>
                    <a:gd name="connsiteY10" fmla="*/ 390592 h 1394540"/>
                    <a:gd name="connsiteX11" fmla="*/ 754018 w 851213"/>
                    <a:gd name="connsiteY11" fmla="*/ 395422 h 1394540"/>
                    <a:gd name="connsiteX12" fmla="*/ 746170 w 851213"/>
                    <a:gd name="connsiteY12" fmla="*/ 394214 h 1394540"/>
                    <a:gd name="connsiteX13" fmla="*/ 742547 w 851213"/>
                    <a:gd name="connsiteY13" fmla="*/ 398440 h 1394540"/>
                    <a:gd name="connsiteX14" fmla="*/ 738322 w 851213"/>
                    <a:gd name="connsiteY14" fmla="*/ 400855 h 1394540"/>
                    <a:gd name="connsiteX15" fmla="*/ 738322 w 851213"/>
                    <a:gd name="connsiteY15" fmla="*/ 405081 h 1394540"/>
                    <a:gd name="connsiteX16" fmla="*/ 733492 w 851213"/>
                    <a:gd name="connsiteY16" fmla="*/ 406288 h 1394540"/>
                    <a:gd name="connsiteX17" fmla="*/ 729266 w 851213"/>
                    <a:gd name="connsiteY17" fmla="*/ 409910 h 1394540"/>
                    <a:gd name="connsiteX18" fmla="*/ 728059 w 851213"/>
                    <a:gd name="connsiteY18" fmla="*/ 413533 h 1394540"/>
                    <a:gd name="connsiteX19" fmla="*/ 722625 w 851213"/>
                    <a:gd name="connsiteY19" fmla="*/ 417155 h 1394540"/>
                    <a:gd name="connsiteX20" fmla="*/ 711759 w 851213"/>
                    <a:gd name="connsiteY20" fmla="*/ 416551 h 1394540"/>
                    <a:gd name="connsiteX21" fmla="*/ 704515 w 851213"/>
                    <a:gd name="connsiteY21" fmla="*/ 420777 h 1394540"/>
                    <a:gd name="connsiteX22" fmla="*/ 702100 w 851213"/>
                    <a:gd name="connsiteY22" fmla="*/ 420777 h 1394540"/>
                    <a:gd name="connsiteX23" fmla="*/ 696667 w 851213"/>
                    <a:gd name="connsiteY23" fmla="*/ 427418 h 1394540"/>
                    <a:gd name="connsiteX24" fmla="*/ 693648 w 851213"/>
                    <a:gd name="connsiteY24" fmla="*/ 435869 h 1394540"/>
                    <a:gd name="connsiteX25" fmla="*/ 683989 w 851213"/>
                    <a:gd name="connsiteY25" fmla="*/ 448547 h 1394540"/>
                    <a:gd name="connsiteX26" fmla="*/ 692441 w 851213"/>
                    <a:gd name="connsiteY26" fmla="*/ 456395 h 1394540"/>
                    <a:gd name="connsiteX27" fmla="*/ 689422 w 851213"/>
                    <a:gd name="connsiteY27" fmla="*/ 458810 h 1394540"/>
                    <a:gd name="connsiteX28" fmla="*/ 679763 w 851213"/>
                    <a:gd name="connsiteY28" fmla="*/ 458810 h 1394540"/>
                    <a:gd name="connsiteX29" fmla="*/ 679159 w 851213"/>
                    <a:gd name="connsiteY29" fmla="*/ 466054 h 1394540"/>
                    <a:gd name="connsiteX30" fmla="*/ 682178 w 851213"/>
                    <a:gd name="connsiteY30" fmla="*/ 469676 h 1394540"/>
                    <a:gd name="connsiteX31" fmla="*/ 679159 w 851213"/>
                    <a:gd name="connsiteY31" fmla="*/ 476317 h 1394540"/>
                    <a:gd name="connsiteX32" fmla="*/ 679159 w 851213"/>
                    <a:gd name="connsiteY32" fmla="*/ 478732 h 1394540"/>
                    <a:gd name="connsiteX33" fmla="*/ 683989 w 851213"/>
                    <a:gd name="connsiteY33" fmla="*/ 483561 h 1394540"/>
                    <a:gd name="connsiteX34" fmla="*/ 682782 w 851213"/>
                    <a:gd name="connsiteY34" fmla="*/ 485976 h 1394540"/>
                    <a:gd name="connsiteX35" fmla="*/ 690026 w 851213"/>
                    <a:gd name="connsiteY35" fmla="*/ 487184 h 1394540"/>
                    <a:gd name="connsiteX36" fmla="*/ 692441 w 851213"/>
                    <a:gd name="connsiteY36" fmla="*/ 490806 h 1394540"/>
                    <a:gd name="connsiteX37" fmla="*/ 687008 w 851213"/>
                    <a:gd name="connsiteY37" fmla="*/ 499258 h 1394540"/>
                    <a:gd name="connsiteX38" fmla="*/ 689422 w 851213"/>
                    <a:gd name="connsiteY38" fmla="*/ 503483 h 1394540"/>
                    <a:gd name="connsiteX39" fmla="*/ 687008 w 851213"/>
                    <a:gd name="connsiteY39" fmla="*/ 508917 h 1394540"/>
                    <a:gd name="connsiteX40" fmla="*/ 678556 w 851213"/>
                    <a:gd name="connsiteY40" fmla="*/ 508313 h 1394540"/>
                    <a:gd name="connsiteX41" fmla="*/ 679763 w 851213"/>
                    <a:gd name="connsiteY41" fmla="*/ 516765 h 1394540"/>
                    <a:gd name="connsiteX42" fmla="*/ 676745 w 851213"/>
                    <a:gd name="connsiteY42" fmla="*/ 516765 h 1394540"/>
                    <a:gd name="connsiteX43" fmla="*/ 670104 w 851213"/>
                    <a:gd name="connsiteY43" fmla="*/ 513143 h 1394540"/>
                    <a:gd name="connsiteX44" fmla="*/ 667085 w 851213"/>
                    <a:gd name="connsiteY44" fmla="*/ 520991 h 1394540"/>
                    <a:gd name="connsiteX45" fmla="*/ 668897 w 851213"/>
                    <a:gd name="connsiteY45" fmla="*/ 528235 h 1394540"/>
                    <a:gd name="connsiteX46" fmla="*/ 662860 w 851213"/>
                    <a:gd name="connsiteY46" fmla="*/ 538498 h 1394540"/>
                    <a:gd name="connsiteX47" fmla="*/ 658030 w 851213"/>
                    <a:gd name="connsiteY47" fmla="*/ 539102 h 1394540"/>
                    <a:gd name="connsiteX48" fmla="*/ 655615 w 851213"/>
                    <a:gd name="connsiteY48" fmla="*/ 543327 h 1394540"/>
                    <a:gd name="connsiteX49" fmla="*/ 659841 w 851213"/>
                    <a:gd name="connsiteY49" fmla="*/ 547553 h 1394540"/>
                    <a:gd name="connsiteX50" fmla="*/ 668293 w 851213"/>
                    <a:gd name="connsiteY50" fmla="*/ 551175 h 1394540"/>
                    <a:gd name="connsiteX51" fmla="*/ 665878 w 851213"/>
                    <a:gd name="connsiteY51" fmla="*/ 553590 h 1394540"/>
                    <a:gd name="connsiteX52" fmla="*/ 664067 w 851213"/>
                    <a:gd name="connsiteY52" fmla="*/ 558420 h 1394540"/>
                    <a:gd name="connsiteX53" fmla="*/ 659841 w 851213"/>
                    <a:gd name="connsiteY53" fmla="*/ 556005 h 1394540"/>
                    <a:gd name="connsiteX54" fmla="*/ 659841 w 851213"/>
                    <a:gd name="connsiteY54" fmla="*/ 548761 h 1394540"/>
                    <a:gd name="connsiteX55" fmla="*/ 654408 w 851213"/>
                    <a:gd name="connsiteY55" fmla="*/ 551779 h 1394540"/>
                    <a:gd name="connsiteX56" fmla="*/ 647163 w 851213"/>
                    <a:gd name="connsiteY56" fmla="*/ 556609 h 1394540"/>
                    <a:gd name="connsiteX57" fmla="*/ 644749 w 851213"/>
                    <a:gd name="connsiteY57" fmla="*/ 560231 h 1394540"/>
                    <a:gd name="connsiteX58" fmla="*/ 643541 w 851213"/>
                    <a:gd name="connsiteY58" fmla="*/ 565664 h 1394540"/>
                    <a:gd name="connsiteX59" fmla="*/ 644145 w 851213"/>
                    <a:gd name="connsiteY59" fmla="*/ 571097 h 1394540"/>
                    <a:gd name="connsiteX60" fmla="*/ 641730 w 851213"/>
                    <a:gd name="connsiteY60" fmla="*/ 574116 h 1394540"/>
                    <a:gd name="connsiteX61" fmla="*/ 639315 w 851213"/>
                    <a:gd name="connsiteY61" fmla="*/ 584982 h 1394540"/>
                    <a:gd name="connsiteX62" fmla="*/ 641126 w 851213"/>
                    <a:gd name="connsiteY62" fmla="*/ 594038 h 1394540"/>
                    <a:gd name="connsiteX63" fmla="*/ 645352 w 851213"/>
                    <a:gd name="connsiteY63" fmla="*/ 595849 h 1394540"/>
                    <a:gd name="connsiteX64" fmla="*/ 647767 w 851213"/>
                    <a:gd name="connsiteY64" fmla="*/ 601886 h 1394540"/>
                    <a:gd name="connsiteX65" fmla="*/ 650182 w 851213"/>
                    <a:gd name="connsiteY65" fmla="*/ 604301 h 1394540"/>
                    <a:gd name="connsiteX66" fmla="*/ 650182 w 851213"/>
                    <a:gd name="connsiteY66" fmla="*/ 612753 h 1394540"/>
                    <a:gd name="connsiteX67" fmla="*/ 651993 w 851213"/>
                    <a:gd name="connsiteY67" fmla="*/ 615167 h 1394540"/>
                    <a:gd name="connsiteX68" fmla="*/ 645956 w 851213"/>
                    <a:gd name="connsiteY68" fmla="*/ 617582 h 1394540"/>
                    <a:gd name="connsiteX69" fmla="*/ 632675 w 851213"/>
                    <a:gd name="connsiteY69" fmla="*/ 612149 h 1394540"/>
                    <a:gd name="connsiteX70" fmla="*/ 624826 w 851213"/>
                    <a:gd name="connsiteY70" fmla="*/ 609734 h 1394540"/>
                    <a:gd name="connsiteX71" fmla="*/ 623619 w 851213"/>
                    <a:gd name="connsiteY71" fmla="*/ 616375 h 1394540"/>
                    <a:gd name="connsiteX72" fmla="*/ 621204 w 851213"/>
                    <a:gd name="connsiteY72" fmla="*/ 619393 h 1394540"/>
                    <a:gd name="connsiteX73" fmla="*/ 622412 w 851213"/>
                    <a:gd name="connsiteY73" fmla="*/ 625430 h 1394540"/>
                    <a:gd name="connsiteX74" fmla="*/ 624826 w 851213"/>
                    <a:gd name="connsiteY74" fmla="*/ 627241 h 1394540"/>
                    <a:gd name="connsiteX75" fmla="*/ 624223 w 851213"/>
                    <a:gd name="connsiteY75" fmla="*/ 633278 h 1394540"/>
                    <a:gd name="connsiteX76" fmla="*/ 618789 w 851213"/>
                    <a:gd name="connsiteY76" fmla="*/ 631467 h 1394540"/>
                    <a:gd name="connsiteX77" fmla="*/ 615167 w 851213"/>
                    <a:gd name="connsiteY77" fmla="*/ 633278 h 1394540"/>
                    <a:gd name="connsiteX78" fmla="*/ 612753 w 851213"/>
                    <a:gd name="connsiteY78" fmla="*/ 636901 h 1394540"/>
                    <a:gd name="connsiteX79" fmla="*/ 613960 w 851213"/>
                    <a:gd name="connsiteY79" fmla="*/ 642938 h 1394540"/>
                    <a:gd name="connsiteX80" fmla="*/ 611545 w 851213"/>
                    <a:gd name="connsiteY80" fmla="*/ 647767 h 1394540"/>
                    <a:gd name="connsiteX81" fmla="*/ 608527 w 851213"/>
                    <a:gd name="connsiteY81" fmla="*/ 661652 h 1394540"/>
                    <a:gd name="connsiteX82" fmla="*/ 601886 w 851213"/>
                    <a:gd name="connsiteY82" fmla="*/ 663463 h 1394540"/>
                    <a:gd name="connsiteX83" fmla="*/ 596453 w 851213"/>
                    <a:gd name="connsiteY83" fmla="*/ 669500 h 1394540"/>
                    <a:gd name="connsiteX84" fmla="*/ 593434 w 851213"/>
                    <a:gd name="connsiteY84" fmla="*/ 670104 h 1394540"/>
                    <a:gd name="connsiteX85" fmla="*/ 583775 w 851213"/>
                    <a:gd name="connsiteY85" fmla="*/ 668896 h 1394540"/>
                    <a:gd name="connsiteX86" fmla="*/ 577135 w 851213"/>
                    <a:gd name="connsiteY86" fmla="*/ 666482 h 1394540"/>
                    <a:gd name="connsiteX87" fmla="*/ 571098 w 851213"/>
                    <a:gd name="connsiteY87" fmla="*/ 660445 h 1394540"/>
                    <a:gd name="connsiteX88" fmla="*/ 564457 w 851213"/>
                    <a:gd name="connsiteY88" fmla="*/ 657426 h 1394540"/>
                    <a:gd name="connsiteX89" fmla="*/ 561438 w 851213"/>
                    <a:gd name="connsiteY89" fmla="*/ 658030 h 1394540"/>
                    <a:gd name="connsiteX90" fmla="*/ 559627 w 851213"/>
                    <a:gd name="connsiteY90" fmla="*/ 653804 h 1394540"/>
                    <a:gd name="connsiteX91" fmla="*/ 557212 w 851213"/>
                    <a:gd name="connsiteY91" fmla="*/ 656219 h 1394540"/>
                    <a:gd name="connsiteX92" fmla="*/ 552987 w 851213"/>
                    <a:gd name="connsiteY92" fmla="*/ 657426 h 1394540"/>
                    <a:gd name="connsiteX93" fmla="*/ 548761 w 851213"/>
                    <a:gd name="connsiteY93" fmla="*/ 656219 h 1394540"/>
                    <a:gd name="connsiteX94" fmla="*/ 543931 w 851213"/>
                    <a:gd name="connsiteY94" fmla="*/ 659841 h 1394540"/>
                    <a:gd name="connsiteX95" fmla="*/ 536083 w 851213"/>
                    <a:gd name="connsiteY95" fmla="*/ 656219 h 1394540"/>
                    <a:gd name="connsiteX96" fmla="*/ 530046 w 851213"/>
                    <a:gd name="connsiteY96" fmla="*/ 657426 h 1394540"/>
                    <a:gd name="connsiteX97" fmla="*/ 524009 w 851213"/>
                    <a:gd name="connsiteY97" fmla="*/ 661048 h 1394540"/>
                    <a:gd name="connsiteX98" fmla="*/ 519180 w 851213"/>
                    <a:gd name="connsiteY98" fmla="*/ 657426 h 1394540"/>
                    <a:gd name="connsiteX99" fmla="*/ 511331 w 851213"/>
                    <a:gd name="connsiteY99" fmla="*/ 657426 h 1394540"/>
                    <a:gd name="connsiteX100" fmla="*/ 507106 w 851213"/>
                    <a:gd name="connsiteY100" fmla="*/ 658634 h 1394540"/>
                    <a:gd name="connsiteX101" fmla="*/ 504087 w 851213"/>
                    <a:gd name="connsiteY101" fmla="*/ 657426 h 1394540"/>
                    <a:gd name="connsiteX102" fmla="*/ 493824 w 851213"/>
                    <a:gd name="connsiteY102" fmla="*/ 659237 h 1394540"/>
                    <a:gd name="connsiteX103" fmla="*/ 493221 w 851213"/>
                    <a:gd name="connsiteY103" fmla="*/ 662256 h 1394540"/>
                    <a:gd name="connsiteX104" fmla="*/ 495635 w 851213"/>
                    <a:gd name="connsiteY104" fmla="*/ 670104 h 1394540"/>
                    <a:gd name="connsiteX105" fmla="*/ 492013 w 851213"/>
                    <a:gd name="connsiteY105" fmla="*/ 675537 h 1394540"/>
                    <a:gd name="connsiteX106" fmla="*/ 488391 w 851213"/>
                    <a:gd name="connsiteY106" fmla="*/ 678555 h 1394540"/>
                    <a:gd name="connsiteX107" fmla="*/ 490806 w 851213"/>
                    <a:gd name="connsiteY107" fmla="*/ 684592 h 1394540"/>
                    <a:gd name="connsiteX108" fmla="*/ 487184 w 851213"/>
                    <a:gd name="connsiteY108" fmla="*/ 691233 h 1394540"/>
                    <a:gd name="connsiteX109" fmla="*/ 482958 w 851213"/>
                    <a:gd name="connsiteY109" fmla="*/ 695459 h 1394540"/>
                    <a:gd name="connsiteX110" fmla="*/ 476921 w 851213"/>
                    <a:gd name="connsiteY110" fmla="*/ 705118 h 1394540"/>
                    <a:gd name="connsiteX111" fmla="*/ 462432 w 851213"/>
                    <a:gd name="connsiteY111" fmla="*/ 714777 h 1394540"/>
                    <a:gd name="connsiteX112" fmla="*/ 462432 w 851213"/>
                    <a:gd name="connsiteY112" fmla="*/ 720814 h 1394540"/>
                    <a:gd name="connsiteX113" fmla="*/ 461225 w 851213"/>
                    <a:gd name="connsiteY113" fmla="*/ 726248 h 1394540"/>
                    <a:gd name="connsiteX114" fmla="*/ 457602 w 851213"/>
                    <a:gd name="connsiteY114" fmla="*/ 728663 h 1394540"/>
                    <a:gd name="connsiteX115" fmla="*/ 456395 w 851213"/>
                    <a:gd name="connsiteY115" fmla="*/ 731681 h 1394540"/>
                    <a:gd name="connsiteX116" fmla="*/ 452773 w 851213"/>
                    <a:gd name="connsiteY116" fmla="*/ 729870 h 1394540"/>
                    <a:gd name="connsiteX117" fmla="*/ 448547 w 851213"/>
                    <a:gd name="connsiteY117" fmla="*/ 731077 h 1394540"/>
                    <a:gd name="connsiteX118" fmla="*/ 446132 w 851213"/>
                    <a:gd name="connsiteY118" fmla="*/ 728663 h 1394540"/>
                    <a:gd name="connsiteX119" fmla="*/ 445528 w 851213"/>
                    <a:gd name="connsiteY119" fmla="*/ 722626 h 1394540"/>
                    <a:gd name="connsiteX120" fmla="*/ 441906 w 851213"/>
                    <a:gd name="connsiteY120" fmla="*/ 721418 h 1394540"/>
                    <a:gd name="connsiteX121" fmla="*/ 438888 w 851213"/>
                    <a:gd name="connsiteY121" fmla="*/ 722626 h 1394540"/>
                    <a:gd name="connsiteX122" fmla="*/ 434058 w 851213"/>
                    <a:gd name="connsiteY122" fmla="*/ 718400 h 1394540"/>
                    <a:gd name="connsiteX123" fmla="*/ 431644 w 851213"/>
                    <a:gd name="connsiteY123" fmla="*/ 727455 h 1394540"/>
                    <a:gd name="connsiteX124" fmla="*/ 432851 w 851213"/>
                    <a:gd name="connsiteY124" fmla="*/ 738925 h 1394540"/>
                    <a:gd name="connsiteX125" fmla="*/ 431644 w 851213"/>
                    <a:gd name="connsiteY125" fmla="*/ 745566 h 1394540"/>
                    <a:gd name="connsiteX126" fmla="*/ 434058 w 851213"/>
                    <a:gd name="connsiteY126" fmla="*/ 752207 h 1394540"/>
                    <a:gd name="connsiteX127" fmla="*/ 433455 w 851213"/>
                    <a:gd name="connsiteY127" fmla="*/ 758847 h 1394540"/>
                    <a:gd name="connsiteX128" fmla="*/ 438284 w 851213"/>
                    <a:gd name="connsiteY128" fmla="*/ 767299 h 1394540"/>
                    <a:gd name="connsiteX129" fmla="*/ 438284 w 851213"/>
                    <a:gd name="connsiteY129" fmla="*/ 773940 h 1394540"/>
                    <a:gd name="connsiteX130" fmla="*/ 435869 w 851213"/>
                    <a:gd name="connsiteY130" fmla="*/ 779977 h 1394540"/>
                    <a:gd name="connsiteX131" fmla="*/ 432247 w 851213"/>
                    <a:gd name="connsiteY131" fmla="*/ 781788 h 1394540"/>
                    <a:gd name="connsiteX132" fmla="*/ 433455 w 851213"/>
                    <a:gd name="connsiteY132" fmla="*/ 786014 h 1394540"/>
                    <a:gd name="connsiteX133" fmla="*/ 429229 w 851213"/>
                    <a:gd name="connsiteY133" fmla="*/ 790843 h 1394540"/>
                    <a:gd name="connsiteX134" fmla="*/ 434662 w 851213"/>
                    <a:gd name="connsiteY134" fmla="*/ 797484 h 1394540"/>
                    <a:gd name="connsiteX135" fmla="*/ 441303 w 851213"/>
                    <a:gd name="connsiteY135" fmla="*/ 800502 h 1394540"/>
                    <a:gd name="connsiteX136" fmla="*/ 442510 w 851213"/>
                    <a:gd name="connsiteY136" fmla="*/ 813180 h 1394540"/>
                    <a:gd name="connsiteX137" fmla="*/ 449151 w 851213"/>
                    <a:gd name="connsiteY137" fmla="*/ 811973 h 1394540"/>
                    <a:gd name="connsiteX138" fmla="*/ 448547 w 851213"/>
                    <a:gd name="connsiteY138" fmla="*/ 816199 h 1394540"/>
                    <a:gd name="connsiteX139" fmla="*/ 450962 w 851213"/>
                    <a:gd name="connsiteY139" fmla="*/ 819217 h 1394540"/>
                    <a:gd name="connsiteX140" fmla="*/ 450358 w 851213"/>
                    <a:gd name="connsiteY140" fmla="*/ 822236 h 1394540"/>
                    <a:gd name="connsiteX141" fmla="*/ 447340 w 851213"/>
                    <a:gd name="connsiteY141" fmla="*/ 824047 h 1394540"/>
                    <a:gd name="connsiteX142" fmla="*/ 447340 w 851213"/>
                    <a:gd name="connsiteY142" fmla="*/ 829480 h 1394540"/>
                    <a:gd name="connsiteX143" fmla="*/ 443717 w 851213"/>
                    <a:gd name="connsiteY143" fmla="*/ 839139 h 1394540"/>
                    <a:gd name="connsiteX144" fmla="*/ 449754 w 851213"/>
                    <a:gd name="connsiteY144" fmla="*/ 844572 h 1394540"/>
                    <a:gd name="connsiteX145" fmla="*/ 450962 w 851213"/>
                    <a:gd name="connsiteY145" fmla="*/ 851213 h 1394540"/>
                    <a:gd name="connsiteX146" fmla="*/ 446132 w 851213"/>
                    <a:gd name="connsiteY146" fmla="*/ 854835 h 1394540"/>
                    <a:gd name="connsiteX147" fmla="*/ 446132 w 851213"/>
                    <a:gd name="connsiteY147" fmla="*/ 860269 h 1394540"/>
                    <a:gd name="connsiteX148" fmla="*/ 447943 w 851213"/>
                    <a:gd name="connsiteY148" fmla="*/ 868117 h 1394540"/>
                    <a:gd name="connsiteX149" fmla="*/ 446132 w 851213"/>
                    <a:gd name="connsiteY149" fmla="*/ 873550 h 1394540"/>
                    <a:gd name="connsiteX150" fmla="*/ 441906 w 851213"/>
                    <a:gd name="connsiteY150" fmla="*/ 877172 h 1394540"/>
                    <a:gd name="connsiteX151" fmla="*/ 440699 w 851213"/>
                    <a:gd name="connsiteY151" fmla="*/ 880794 h 1394540"/>
                    <a:gd name="connsiteX152" fmla="*/ 443114 w 851213"/>
                    <a:gd name="connsiteY152" fmla="*/ 886227 h 1394540"/>
                    <a:gd name="connsiteX153" fmla="*/ 444321 w 851213"/>
                    <a:gd name="connsiteY153" fmla="*/ 892868 h 1394540"/>
                    <a:gd name="connsiteX154" fmla="*/ 443114 w 851213"/>
                    <a:gd name="connsiteY154" fmla="*/ 899509 h 1394540"/>
                    <a:gd name="connsiteX155" fmla="*/ 444321 w 851213"/>
                    <a:gd name="connsiteY155" fmla="*/ 901923 h 1394540"/>
                    <a:gd name="connsiteX156" fmla="*/ 453980 w 851213"/>
                    <a:gd name="connsiteY156" fmla="*/ 904942 h 1394540"/>
                    <a:gd name="connsiteX157" fmla="*/ 460621 w 851213"/>
                    <a:gd name="connsiteY157" fmla="*/ 906149 h 1394540"/>
                    <a:gd name="connsiteX158" fmla="*/ 466054 w 851213"/>
                    <a:gd name="connsiteY158" fmla="*/ 909772 h 1394540"/>
                    <a:gd name="connsiteX159" fmla="*/ 474506 w 851213"/>
                    <a:gd name="connsiteY159" fmla="*/ 909772 h 1394540"/>
                    <a:gd name="connsiteX160" fmla="*/ 481750 w 851213"/>
                    <a:gd name="connsiteY160" fmla="*/ 912790 h 1394540"/>
                    <a:gd name="connsiteX161" fmla="*/ 482958 w 851213"/>
                    <a:gd name="connsiteY161" fmla="*/ 914601 h 1394540"/>
                    <a:gd name="connsiteX162" fmla="*/ 489598 w 851213"/>
                    <a:gd name="connsiteY162" fmla="*/ 915205 h 1394540"/>
                    <a:gd name="connsiteX163" fmla="*/ 491409 w 851213"/>
                    <a:gd name="connsiteY163" fmla="*/ 913394 h 1394540"/>
                    <a:gd name="connsiteX164" fmla="*/ 496843 w 851213"/>
                    <a:gd name="connsiteY164" fmla="*/ 912790 h 1394540"/>
                    <a:gd name="connsiteX165" fmla="*/ 507106 w 851213"/>
                    <a:gd name="connsiteY165" fmla="*/ 913997 h 1394540"/>
                    <a:gd name="connsiteX166" fmla="*/ 509520 w 851213"/>
                    <a:gd name="connsiteY166" fmla="*/ 916412 h 1394540"/>
                    <a:gd name="connsiteX167" fmla="*/ 508917 w 851213"/>
                    <a:gd name="connsiteY167" fmla="*/ 924260 h 1394540"/>
                    <a:gd name="connsiteX168" fmla="*/ 507106 w 851213"/>
                    <a:gd name="connsiteY168" fmla="*/ 933316 h 1394540"/>
                    <a:gd name="connsiteX169" fmla="*/ 509520 w 851213"/>
                    <a:gd name="connsiteY169" fmla="*/ 945994 h 1394540"/>
                    <a:gd name="connsiteX170" fmla="*/ 506502 w 851213"/>
                    <a:gd name="connsiteY170" fmla="*/ 950823 h 1394540"/>
                    <a:gd name="connsiteX171" fmla="*/ 495635 w 851213"/>
                    <a:gd name="connsiteY171" fmla="*/ 950823 h 1394540"/>
                    <a:gd name="connsiteX172" fmla="*/ 490202 w 851213"/>
                    <a:gd name="connsiteY172" fmla="*/ 959275 h 1394540"/>
                    <a:gd name="connsiteX173" fmla="*/ 481750 w 851213"/>
                    <a:gd name="connsiteY173" fmla="*/ 961690 h 1394540"/>
                    <a:gd name="connsiteX174" fmla="*/ 480543 w 851213"/>
                    <a:gd name="connsiteY174" fmla="*/ 956256 h 1394540"/>
                    <a:gd name="connsiteX175" fmla="*/ 480543 w 851213"/>
                    <a:gd name="connsiteY175" fmla="*/ 950219 h 1394540"/>
                    <a:gd name="connsiteX176" fmla="*/ 485976 w 851213"/>
                    <a:gd name="connsiteY176" fmla="*/ 942975 h 1394540"/>
                    <a:gd name="connsiteX177" fmla="*/ 479336 w 851213"/>
                    <a:gd name="connsiteY177" fmla="*/ 940560 h 1394540"/>
                    <a:gd name="connsiteX178" fmla="*/ 475110 w 851213"/>
                    <a:gd name="connsiteY178" fmla="*/ 941164 h 1394540"/>
                    <a:gd name="connsiteX179" fmla="*/ 472091 w 851213"/>
                    <a:gd name="connsiteY179" fmla="*/ 938749 h 1394540"/>
                    <a:gd name="connsiteX180" fmla="*/ 465451 w 851213"/>
                    <a:gd name="connsiteY180" fmla="*/ 937542 h 1394540"/>
                    <a:gd name="connsiteX181" fmla="*/ 460621 w 851213"/>
                    <a:gd name="connsiteY181" fmla="*/ 934523 h 1394540"/>
                    <a:gd name="connsiteX182" fmla="*/ 456999 w 851213"/>
                    <a:gd name="connsiteY182" fmla="*/ 935731 h 1394540"/>
                    <a:gd name="connsiteX183" fmla="*/ 453980 w 851213"/>
                    <a:gd name="connsiteY183" fmla="*/ 933920 h 1394540"/>
                    <a:gd name="connsiteX184" fmla="*/ 447943 w 851213"/>
                    <a:gd name="connsiteY184" fmla="*/ 935127 h 1394540"/>
                    <a:gd name="connsiteX185" fmla="*/ 443114 w 851213"/>
                    <a:gd name="connsiteY185" fmla="*/ 938749 h 1394540"/>
                    <a:gd name="connsiteX186" fmla="*/ 438888 w 851213"/>
                    <a:gd name="connsiteY186" fmla="*/ 944786 h 1394540"/>
                    <a:gd name="connsiteX187" fmla="*/ 432851 w 851213"/>
                    <a:gd name="connsiteY187" fmla="*/ 949616 h 1394540"/>
                    <a:gd name="connsiteX188" fmla="*/ 429832 w 851213"/>
                    <a:gd name="connsiteY188" fmla="*/ 947805 h 1394540"/>
                    <a:gd name="connsiteX189" fmla="*/ 428021 w 851213"/>
                    <a:gd name="connsiteY189" fmla="*/ 943579 h 1394540"/>
                    <a:gd name="connsiteX190" fmla="*/ 424399 w 851213"/>
                    <a:gd name="connsiteY190" fmla="*/ 938145 h 1394540"/>
                    <a:gd name="connsiteX191" fmla="*/ 423795 w 851213"/>
                    <a:gd name="connsiteY191" fmla="*/ 934523 h 1394540"/>
                    <a:gd name="connsiteX192" fmla="*/ 418362 w 851213"/>
                    <a:gd name="connsiteY192" fmla="*/ 924864 h 1394540"/>
                    <a:gd name="connsiteX193" fmla="*/ 416551 w 851213"/>
                    <a:gd name="connsiteY193" fmla="*/ 918827 h 1394540"/>
                    <a:gd name="connsiteX194" fmla="*/ 410514 w 851213"/>
                    <a:gd name="connsiteY194" fmla="*/ 912790 h 1394540"/>
                    <a:gd name="connsiteX195" fmla="*/ 405081 w 851213"/>
                    <a:gd name="connsiteY195" fmla="*/ 917016 h 1394540"/>
                    <a:gd name="connsiteX196" fmla="*/ 400855 w 851213"/>
                    <a:gd name="connsiteY196" fmla="*/ 917016 h 1394540"/>
                    <a:gd name="connsiteX197" fmla="*/ 397233 w 851213"/>
                    <a:gd name="connsiteY197" fmla="*/ 913394 h 1394540"/>
                    <a:gd name="connsiteX198" fmla="*/ 389988 w 851213"/>
                    <a:gd name="connsiteY198" fmla="*/ 909772 h 1394540"/>
                    <a:gd name="connsiteX199" fmla="*/ 386366 w 851213"/>
                    <a:gd name="connsiteY199" fmla="*/ 910375 h 1394540"/>
                    <a:gd name="connsiteX200" fmla="*/ 374896 w 851213"/>
                    <a:gd name="connsiteY200" fmla="*/ 901923 h 1394540"/>
                    <a:gd name="connsiteX201" fmla="*/ 373085 w 851213"/>
                    <a:gd name="connsiteY201" fmla="*/ 904942 h 1394540"/>
                    <a:gd name="connsiteX202" fmla="*/ 365841 w 851213"/>
                    <a:gd name="connsiteY202" fmla="*/ 908564 h 1394540"/>
                    <a:gd name="connsiteX203" fmla="*/ 365237 w 851213"/>
                    <a:gd name="connsiteY203" fmla="*/ 903735 h 1394540"/>
                    <a:gd name="connsiteX204" fmla="*/ 361011 w 851213"/>
                    <a:gd name="connsiteY204" fmla="*/ 901923 h 1394540"/>
                    <a:gd name="connsiteX205" fmla="*/ 357389 w 851213"/>
                    <a:gd name="connsiteY205" fmla="*/ 895886 h 1394540"/>
                    <a:gd name="connsiteX206" fmla="*/ 351352 w 851213"/>
                    <a:gd name="connsiteY206" fmla="*/ 890453 h 1394540"/>
                    <a:gd name="connsiteX207" fmla="*/ 348937 w 851213"/>
                    <a:gd name="connsiteY207" fmla="*/ 891057 h 1394540"/>
                    <a:gd name="connsiteX208" fmla="*/ 339881 w 851213"/>
                    <a:gd name="connsiteY208" fmla="*/ 903131 h 1394540"/>
                    <a:gd name="connsiteX209" fmla="*/ 336863 w 851213"/>
                    <a:gd name="connsiteY209" fmla="*/ 902527 h 1394540"/>
                    <a:gd name="connsiteX210" fmla="*/ 333844 w 851213"/>
                    <a:gd name="connsiteY210" fmla="*/ 907357 h 1394540"/>
                    <a:gd name="connsiteX211" fmla="*/ 331430 w 851213"/>
                    <a:gd name="connsiteY211" fmla="*/ 918827 h 1394540"/>
                    <a:gd name="connsiteX212" fmla="*/ 329015 w 851213"/>
                    <a:gd name="connsiteY212" fmla="*/ 923657 h 1394540"/>
                    <a:gd name="connsiteX213" fmla="*/ 331430 w 851213"/>
                    <a:gd name="connsiteY213" fmla="*/ 926071 h 1394540"/>
                    <a:gd name="connsiteX214" fmla="*/ 330826 w 851213"/>
                    <a:gd name="connsiteY214" fmla="*/ 931505 h 1394540"/>
                    <a:gd name="connsiteX215" fmla="*/ 333241 w 851213"/>
                    <a:gd name="connsiteY215" fmla="*/ 934523 h 1394540"/>
                    <a:gd name="connsiteX216" fmla="*/ 341693 w 851213"/>
                    <a:gd name="connsiteY216" fmla="*/ 939353 h 1394540"/>
                    <a:gd name="connsiteX217" fmla="*/ 354370 w 851213"/>
                    <a:gd name="connsiteY217" fmla="*/ 944182 h 1394540"/>
                    <a:gd name="connsiteX218" fmla="*/ 353767 w 851213"/>
                    <a:gd name="connsiteY218" fmla="*/ 948408 h 1394540"/>
                    <a:gd name="connsiteX219" fmla="*/ 358596 w 851213"/>
                    <a:gd name="connsiteY219" fmla="*/ 957464 h 1394540"/>
                    <a:gd name="connsiteX220" fmla="*/ 362822 w 851213"/>
                    <a:gd name="connsiteY220" fmla="*/ 956860 h 1394540"/>
                    <a:gd name="connsiteX221" fmla="*/ 373689 w 851213"/>
                    <a:gd name="connsiteY221" fmla="*/ 958068 h 1394540"/>
                    <a:gd name="connsiteX222" fmla="*/ 374896 w 851213"/>
                    <a:gd name="connsiteY222" fmla="*/ 959879 h 1394540"/>
                    <a:gd name="connsiteX223" fmla="*/ 374292 w 851213"/>
                    <a:gd name="connsiteY223" fmla="*/ 966519 h 1394540"/>
                    <a:gd name="connsiteX224" fmla="*/ 371878 w 851213"/>
                    <a:gd name="connsiteY224" fmla="*/ 970141 h 1394540"/>
                    <a:gd name="connsiteX225" fmla="*/ 370670 w 851213"/>
                    <a:gd name="connsiteY225" fmla="*/ 977386 h 1394540"/>
                    <a:gd name="connsiteX226" fmla="*/ 372481 w 851213"/>
                    <a:gd name="connsiteY226" fmla="*/ 985234 h 1394540"/>
                    <a:gd name="connsiteX227" fmla="*/ 373085 w 851213"/>
                    <a:gd name="connsiteY227" fmla="*/ 994893 h 1394540"/>
                    <a:gd name="connsiteX228" fmla="*/ 370066 w 851213"/>
                    <a:gd name="connsiteY228" fmla="*/ 1003948 h 1394540"/>
                    <a:gd name="connsiteX229" fmla="*/ 371878 w 851213"/>
                    <a:gd name="connsiteY229" fmla="*/ 1008174 h 1394540"/>
                    <a:gd name="connsiteX230" fmla="*/ 372481 w 851213"/>
                    <a:gd name="connsiteY230" fmla="*/ 1013607 h 1394540"/>
                    <a:gd name="connsiteX231" fmla="*/ 367048 w 851213"/>
                    <a:gd name="connsiteY231" fmla="*/ 1021456 h 1394540"/>
                    <a:gd name="connsiteX232" fmla="*/ 374896 w 851213"/>
                    <a:gd name="connsiteY232" fmla="*/ 1021456 h 1394540"/>
                    <a:gd name="connsiteX233" fmla="*/ 377311 w 851213"/>
                    <a:gd name="connsiteY233" fmla="*/ 1018437 h 1394540"/>
                    <a:gd name="connsiteX234" fmla="*/ 381537 w 851213"/>
                    <a:gd name="connsiteY234" fmla="*/ 1020248 h 1394540"/>
                    <a:gd name="connsiteX235" fmla="*/ 381537 w 851213"/>
                    <a:gd name="connsiteY235" fmla="*/ 1023267 h 1394540"/>
                    <a:gd name="connsiteX236" fmla="*/ 383951 w 851213"/>
                    <a:gd name="connsiteY236" fmla="*/ 1028096 h 1394540"/>
                    <a:gd name="connsiteX237" fmla="*/ 382744 w 851213"/>
                    <a:gd name="connsiteY237" fmla="*/ 1030511 h 1394540"/>
                    <a:gd name="connsiteX238" fmla="*/ 387574 w 851213"/>
                    <a:gd name="connsiteY238" fmla="*/ 1038963 h 1394540"/>
                    <a:gd name="connsiteX239" fmla="*/ 397836 w 851213"/>
                    <a:gd name="connsiteY239" fmla="*/ 1037755 h 1394540"/>
                    <a:gd name="connsiteX240" fmla="*/ 400251 w 851213"/>
                    <a:gd name="connsiteY240" fmla="*/ 1041378 h 1394540"/>
                    <a:gd name="connsiteX241" fmla="*/ 397233 w 851213"/>
                    <a:gd name="connsiteY241" fmla="*/ 1051641 h 1394540"/>
                    <a:gd name="connsiteX242" fmla="*/ 391799 w 851213"/>
                    <a:gd name="connsiteY242" fmla="*/ 1051641 h 1394540"/>
                    <a:gd name="connsiteX243" fmla="*/ 391799 w 851213"/>
                    <a:gd name="connsiteY243" fmla="*/ 1055263 h 1394540"/>
                    <a:gd name="connsiteX244" fmla="*/ 399647 w 851213"/>
                    <a:gd name="connsiteY244" fmla="*/ 1058885 h 1394540"/>
                    <a:gd name="connsiteX245" fmla="*/ 397233 w 851213"/>
                    <a:gd name="connsiteY245" fmla="*/ 1067940 h 1394540"/>
                    <a:gd name="connsiteX246" fmla="*/ 394214 w 851213"/>
                    <a:gd name="connsiteY246" fmla="*/ 1073374 h 1394540"/>
                    <a:gd name="connsiteX247" fmla="*/ 394214 w 851213"/>
                    <a:gd name="connsiteY247" fmla="*/ 1082429 h 1394540"/>
                    <a:gd name="connsiteX248" fmla="*/ 394818 w 851213"/>
                    <a:gd name="connsiteY248" fmla="*/ 1088466 h 1394540"/>
                    <a:gd name="connsiteX249" fmla="*/ 398440 w 851213"/>
                    <a:gd name="connsiteY249" fmla="*/ 1090881 h 1394540"/>
                    <a:gd name="connsiteX250" fmla="*/ 399647 w 851213"/>
                    <a:gd name="connsiteY250" fmla="*/ 1096918 h 1394540"/>
                    <a:gd name="connsiteX251" fmla="*/ 397233 w 851213"/>
                    <a:gd name="connsiteY251" fmla="*/ 1102351 h 1394540"/>
                    <a:gd name="connsiteX252" fmla="*/ 402062 w 851213"/>
                    <a:gd name="connsiteY252" fmla="*/ 1105973 h 1394540"/>
                    <a:gd name="connsiteX253" fmla="*/ 405684 w 851213"/>
                    <a:gd name="connsiteY253" fmla="*/ 1114425 h 1394540"/>
                    <a:gd name="connsiteX254" fmla="*/ 402666 w 851213"/>
                    <a:gd name="connsiteY254" fmla="*/ 1118047 h 1394540"/>
                    <a:gd name="connsiteX255" fmla="*/ 408703 w 851213"/>
                    <a:gd name="connsiteY255" fmla="*/ 1126499 h 1394540"/>
                    <a:gd name="connsiteX256" fmla="*/ 412325 w 851213"/>
                    <a:gd name="connsiteY256" fmla="*/ 1150647 h 1394540"/>
                    <a:gd name="connsiteX257" fmla="*/ 406892 w 851213"/>
                    <a:gd name="connsiteY257" fmla="*/ 1150647 h 1394540"/>
                    <a:gd name="connsiteX258" fmla="*/ 397836 w 851213"/>
                    <a:gd name="connsiteY258" fmla="*/ 1154873 h 1394540"/>
                    <a:gd name="connsiteX259" fmla="*/ 395422 w 851213"/>
                    <a:gd name="connsiteY259" fmla="*/ 1163325 h 1394540"/>
                    <a:gd name="connsiteX260" fmla="*/ 396629 w 851213"/>
                    <a:gd name="connsiteY260" fmla="*/ 1168154 h 1394540"/>
                    <a:gd name="connsiteX261" fmla="*/ 394818 w 851213"/>
                    <a:gd name="connsiteY261" fmla="*/ 1174795 h 1394540"/>
                    <a:gd name="connsiteX262" fmla="*/ 396025 w 851213"/>
                    <a:gd name="connsiteY262" fmla="*/ 1176606 h 1394540"/>
                    <a:gd name="connsiteX263" fmla="*/ 393007 w 851213"/>
                    <a:gd name="connsiteY263" fmla="*/ 1180832 h 1394540"/>
                    <a:gd name="connsiteX264" fmla="*/ 381537 w 851213"/>
                    <a:gd name="connsiteY264" fmla="*/ 1184454 h 1394540"/>
                    <a:gd name="connsiteX265" fmla="*/ 379122 w 851213"/>
                    <a:gd name="connsiteY265" fmla="*/ 1194113 h 1394540"/>
                    <a:gd name="connsiteX266" fmla="*/ 369463 w 851213"/>
                    <a:gd name="connsiteY266" fmla="*/ 1192302 h 1394540"/>
                    <a:gd name="connsiteX267" fmla="*/ 361011 w 851213"/>
                    <a:gd name="connsiteY267" fmla="*/ 1197132 h 1394540"/>
                    <a:gd name="connsiteX268" fmla="*/ 357992 w 851213"/>
                    <a:gd name="connsiteY268" fmla="*/ 1197735 h 1394540"/>
                    <a:gd name="connsiteX269" fmla="*/ 353163 w 851213"/>
                    <a:gd name="connsiteY269" fmla="*/ 1200754 h 1394540"/>
                    <a:gd name="connsiteX270" fmla="*/ 354370 w 851213"/>
                    <a:gd name="connsiteY270" fmla="*/ 1203772 h 1394540"/>
                    <a:gd name="connsiteX271" fmla="*/ 351955 w 851213"/>
                    <a:gd name="connsiteY271" fmla="*/ 1206187 h 1394540"/>
                    <a:gd name="connsiteX272" fmla="*/ 351955 w 851213"/>
                    <a:gd name="connsiteY272" fmla="*/ 1212224 h 1394540"/>
                    <a:gd name="connsiteX273" fmla="*/ 345315 w 851213"/>
                    <a:gd name="connsiteY273" fmla="*/ 1210413 h 1394540"/>
                    <a:gd name="connsiteX274" fmla="*/ 340485 w 851213"/>
                    <a:gd name="connsiteY274" fmla="*/ 1206791 h 1394540"/>
                    <a:gd name="connsiteX275" fmla="*/ 339881 w 851213"/>
                    <a:gd name="connsiteY275" fmla="*/ 1214035 h 1394540"/>
                    <a:gd name="connsiteX276" fmla="*/ 342296 w 851213"/>
                    <a:gd name="connsiteY276" fmla="*/ 1214035 h 1394540"/>
                    <a:gd name="connsiteX277" fmla="*/ 348333 w 851213"/>
                    <a:gd name="connsiteY277" fmla="*/ 1219468 h 1394540"/>
                    <a:gd name="connsiteX278" fmla="*/ 353163 w 851213"/>
                    <a:gd name="connsiteY278" fmla="*/ 1221279 h 1394540"/>
                    <a:gd name="connsiteX279" fmla="*/ 351955 w 851213"/>
                    <a:gd name="connsiteY279" fmla="*/ 1227316 h 1394540"/>
                    <a:gd name="connsiteX280" fmla="*/ 342296 w 851213"/>
                    <a:gd name="connsiteY280" fmla="*/ 1227920 h 1394540"/>
                    <a:gd name="connsiteX281" fmla="*/ 341693 w 851213"/>
                    <a:gd name="connsiteY281" fmla="*/ 1233957 h 1394540"/>
                    <a:gd name="connsiteX282" fmla="*/ 338674 w 851213"/>
                    <a:gd name="connsiteY282" fmla="*/ 1233957 h 1394540"/>
                    <a:gd name="connsiteX283" fmla="*/ 334448 w 851213"/>
                    <a:gd name="connsiteY283" fmla="*/ 1236372 h 1394540"/>
                    <a:gd name="connsiteX284" fmla="*/ 331430 w 851213"/>
                    <a:gd name="connsiteY284" fmla="*/ 1242409 h 1394540"/>
                    <a:gd name="connsiteX285" fmla="*/ 321167 w 851213"/>
                    <a:gd name="connsiteY285" fmla="*/ 1253275 h 1394540"/>
                    <a:gd name="connsiteX286" fmla="*/ 313923 w 851213"/>
                    <a:gd name="connsiteY286" fmla="*/ 1259312 h 1394540"/>
                    <a:gd name="connsiteX287" fmla="*/ 310300 w 851213"/>
                    <a:gd name="connsiteY287" fmla="*/ 1273801 h 1394540"/>
                    <a:gd name="connsiteX288" fmla="*/ 292189 w 851213"/>
                    <a:gd name="connsiteY288" fmla="*/ 1275009 h 1394540"/>
                    <a:gd name="connsiteX289" fmla="*/ 292793 w 851213"/>
                    <a:gd name="connsiteY289" fmla="*/ 1280442 h 1394540"/>
                    <a:gd name="connsiteX290" fmla="*/ 283738 w 851213"/>
                    <a:gd name="connsiteY290" fmla="*/ 1283460 h 1394540"/>
                    <a:gd name="connsiteX291" fmla="*/ 278908 w 851213"/>
                    <a:gd name="connsiteY291" fmla="*/ 1283460 h 1394540"/>
                    <a:gd name="connsiteX292" fmla="*/ 273475 w 851213"/>
                    <a:gd name="connsiteY292" fmla="*/ 1289497 h 1394540"/>
                    <a:gd name="connsiteX293" fmla="*/ 265627 w 851213"/>
                    <a:gd name="connsiteY293" fmla="*/ 1292516 h 1394540"/>
                    <a:gd name="connsiteX294" fmla="*/ 265023 w 851213"/>
                    <a:gd name="connsiteY294" fmla="*/ 1297345 h 1394540"/>
                    <a:gd name="connsiteX295" fmla="*/ 260797 w 851213"/>
                    <a:gd name="connsiteY295" fmla="*/ 1308815 h 1394540"/>
                    <a:gd name="connsiteX296" fmla="*/ 264419 w 851213"/>
                    <a:gd name="connsiteY296" fmla="*/ 1314852 h 1394540"/>
                    <a:gd name="connsiteX297" fmla="*/ 262005 w 851213"/>
                    <a:gd name="connsiteY297" fmla="*/ 1320889 h 1394540"/>
                    <a:gd name="connsiteX298" fmla="*/ 261401 w 851213"/>
                    <a:gd name="connsiteY298" fmla="*/ 1328737 h 1394540"/>
                    <a:gd name="connsiteX299" fmla="*/ 255968 w 851213"/>
                    <a:gd name="connsiteY299" fmla="*/ 1337793 h 1394540"/>
                    <a:gd name="connsiteX300" fmla="*/ 254157 w 851213"/>
                    <a:gd name="connsiteY300" fmla="*/ 1342622 h 1394540"/>
                    <a:gd name="connsiteX301" fmla="*/ 255364 w 851213"/>
                    <a:gd name="connsiteY301" fmla="*/ 1348056 h 1394540"/>
                    <a:gd name="connsiteX302" fmla="*/ 254760 w 851213"/>
                    <a:gd name="connsiteY302" fmla="*/ 1354093 h 1394540"/>
                    <a:gd name="connsiteX303" fmla="*/ 250534 w 851213"/>
                    <a:gd name="connsiteY303" fmla="*/ 1360130 h 1394540"/>
                    <a:gd name="connsiteX304" fmla="*/ 248120 w 851213"/>
                    <a:gd name="connsiteY304" fmla="*/ 1365563 h 1394540"/>
                    <a:gd name="connsiteX305" fmla="*/ 248723 w 851213"/>
                    <a:gd name="connsiteY305" fmla="*/ 1369789 h 1394540"/>
                    <a:gd name="connsiteX306" fmla="*/ 246912 w 851213"/>
                    <a:gd name="connsiteY306" fmla="*/ 1375826 h 1394540"/>
                    <a:gd name="connsiteX307" fmla="*/ 238460 w 851213"/>
                    <a:gd name="connsiteY307" fmla="*/ 1372807 h 1394540"/>
                    <a:gd name="connsiteX308" fmla="*/ 236649 w 851213"/>
                    <a:gd name="connsiteY308" fmla="*/ 1379448 h 1394540"/>
                    <a:gd name="connsiteX309" fmla="*/ 238460 w 851213"/>
                    <a:gd name="connsiteY309" fmla="*/ 1381863 h 1394540"/>
                    <a:gd name="connsiteX310" fmla="*/ 236046 w 851213"/>
                    <a:gd name="connsiteY310" fmla="*/ 1386693 h 1394540"/>
                    <a:gd name="connsiteX311" fmla="*/ 236046 w 851213"/>
                    <a:gd name="connsiteY311" fmla="*/ 1390918 h 1394540"/>
                    <a:gd name="connsiteX312" fmla="*/ 221557 w 851213"/>
                    <a:gd name="connsiteY312" fmla="*/ 1389107 h 1394540"/>
                    <a:gd name="connsiteX313" fmla="*/ 208879 w 851213"/>
                    <a:gd name="connsiteY313" fmla="*/ 1389711 h 1394540"/>
                    <a:gd name="connsiteX314" fmla="*/ 196202 w 851213"/>
                    <a:gd name="connsiteY314" fmla="*/ 1381863 h 1394540"/>
                    <a:gd name="connsiteX315" fmla="*/ 189561 w 851213"/>
                    <a:gd name="connsiteY315" fmla="*/ 1380656 h 1394540"/>
                    <a:gd name="connsiteX316" fmla="*/ 176883 w 851213"/>
                    <a:gd name="connsiteY316" fmla="*/ 1388504 h 1394540"/>
                    <a:gd name="connsiteX317" fmla="*/ 171450 w 851213"/>
                    <a:gd name="connsiteY317" fmla="*/ 1395144 h 1394540"/>
                    <a:gd name="connsiteX318" fmla="*/ 167828 w 851213"/>
                    <a:gd name="connsiteY318" fmla="*/ 1395748 h 1394540"/>
                    <a:gd name="connsiteX319" fmla="*/ 162998 w 851213"/>
                    <a:gd name="connsiteY319" fmla="*/ 1394541 h 1394540"/>
                    <a:gd name="connsiteX320" fmla="*/ 159376 w 851213"/>
                    <a:gd name="connsiteY320" fmla="*/ 1388504 h 1394540"/>
                    <a:gd name="connsiteX321" fmla="*/ 157565 w 851213"/>
                    <a:gd name="connsiteY321" fmla="*/ 1383674 h 1394540"/>
                    <a:gd name="connsiteX322" fmla="*/ 155150 w 851213"/>
                    <a:gd name="connsiteY322" fmla="*/ 1367374 h 1394540"/>
                    <a:gd name="connsiteX323" fmla="*/ 153339 w 851213"/>
                    <a:gd name="connsiteY323" fmla="*/ 1365563 h 1394540"/>
                    <a:gd name="connsiteX324" fmla="*/ 150924 w 851213"/>
                    <a:gd name="connsiteY324" fmla="*/ 1350471 h 1394540"/>
                    <a:gd name="connsiteX325" fmla="*/ 148510 w 851213"/>
                    <a:gd name="connsiteY325" fmla="*/ 1342019 h 1394540"/>
                    <a:gd name="connsiteX326" fmla="*/ 149717 w 851213"/>
                    <a:gd name="connsiteY326" fmla="*/ 1339604 h 1394540"/>
                    <a:gd name="connsiteX327" fmla="*/ 146095 w 851213"/>
                    <a:gd name="connsiteY327" fmla="*/ 1328737 h 1394540"/>
                    <a:gd name="connsiteX328" fmla="*/ 146095 w 851213"/>
                    <a:gd name="connsiteY328" fmla="*/ 1322097 h 1394540"/>
                    <a:gd name="connsiteX329" fmla="*/ 150924 w 851213"/>
                    <a:gd name="connsiteY329" fmla="*/ 1317871 h 1394540"/>
                    <a:gd name="connsiteX330" fmla="*/ 150924 w 851213"/>
                    <a:gd name="connsiteY330" fmla="*/ 1312438 h 1394540"/>
                    <a:gd name="connsiteX331" fmla="*/ 144887 w 851213"/>
                    <a:gd name="connsiteY331" fmla="*/ 1314852 h 1394540"/>
                    <a:gd name="connsiteX332" fmla="*/ 135832 w 851213"/>
                    <a:gd name="connsiteY332" fmla="*/ 1319682 h 1394540"/>
                    <a:gd name="connsiteX333" fmla="*/ 127984 w 851213"/>
                    <a:gd name="connsiteY333" fmla="*/ 1319682 h 1394540"/>
                    <a:gd name="connsiteX334" fmla="*/ 126776 w 851213"/>
                    <a:gd name="connsiteY334" fmla="*/ 1317871 h 1394540"/>
                    <a:gd name="connsiteX335" fmla="*/ 125569 w 851213"/>
                    <a:gd name="connsiteY335" fmla="*/ 1305193 h 1394540"/>
                    <a:gd name="connsiteX336" fmla="*/ 129191 w 851213"/>
                    <a:gd name="connsiteY336" fmla="*/ 1303986 h 1394540"/>
                    <a:gd name="connsiteX337" fmla="*/ 127380 w 851213"/>
                    <a:gd name="connsiteY337" fmla="*/ 1299760 h 1394540"/>
                    <a:gd name="connsiteX338" fmla="*/ 120136 w 851213"/>
                    <a:gd name="connsiteY338" fmla="*/ 1297949 h 1394540"/>
                    <a:gd name="connsiteX339" fmla="*/ 118928 w 851213"/>
                    <a:gd name="connsiteY339" fmla="*/ 1299760 h 1394540"/>
                    <a:gd name="connsiteX340" fmla="*/ 118928 w 851213"/>
                    <a:gd name="connsiteY340" fmla="*/ 1307004 h 1394540"/>
                    <a:gd name="connsiteX341" fmla="*/ 114702 w 851213"/>
                    <a:gd name="connsiteY341" fmla="*/ 1312438 h 1394540"/>
                    <a:gd name="connsiteX342" fmla="*/ 107458 w 851213"/>
                    <a:gd name="connsiteY342" fmla="*/ 1313645 h 1394540"/>
                    <a:gd name="connsiteX343" fmla="*/ 102025 w 851213"/>
                    <a:gd name="connsiteY343" fmla="*/ 1311230 h 1394540"/>
                    <a:gd name="connsiteX344" fmla="*/ 101421 w 851213"/>
                    <a:gd name="connsiteY344" fmla="*/ 1301571 h 1394540"/>
                    <a:gd name="connsiteX345" fmla="*/ 112288 w 851213"/>
                    <a:gd name="connsiteY345" fmla="*/ 1296138 h 1394540"/>
                    <a:gd name="connsiteX346" fmla="*/ 108665 w 851213"/>
                    <a:gd name="connsiteY346" fmla="*/ 1288290 h 1394540"/>
                    <a:gd name="connsiteX347" fmla="*/ 103836 w 851213"/>
                    <a:gd name="connsiteY347" fmla="*/ 1283460 h 1394540"/>
                    <a:gd name="connsiteX348" fmla="*/ 103836 w 851213"/>
                    <a:gd name="connsiteY348" fmla="*/ 1279838 h 1394540"/>
                    <a:gd name="connsiteX349" fmla="*/ 99610 w 851213"/>
                    <a:gd name="connsiteY349" fmla="*/ 1270179 h 1394540"/>
                    <a:gd name="connsiteX350" fmla="*/ 97195 w 851213"/>
                    <a:gd name="connsiteY350" fmla="*/ 1260520 h 1394540"/>
                    <a:gd name="connsiteX351" fmla="*/ 92969 w 851213"/>
                    <a:gd name="connsiteY351" fmla="*/ 1257501 h 1394540"/>
                    <a:gd name="connsiteX352" fmla="*/ 93573 w 851213"/>
                    <a:gd name="connsiteY352" fmla="*/ 1254483 h 1394540"/>
                    <a:gd name="connsiteX353" fmla="*/ 90555 w 851213"/>
                    <a:gd name="connsiteY353" fmla="*/ 1250257 h 1394540"/>
                    <a:gd name="connsiteX354" fmla="*/ 84518 w 851213"/>
                    <a:gd name="connsiteY354" fmla="*/ 1246031 h 1394540"/>
                    <a:gd name="connsiteX355" fmla="*/ 81499 w 851213"/>
                    <a:gd name="connsiteY355" fmla="*/ 1241201 h 1394540"/>
                    <a:gd name="connsiteX356" fmla="*/ 80895 w 851213"/>
                    <a:gd name="connsiteY356" fmla="*/ 1236372 h 1394540"/>
                    <a:gd name="connsiteX357" fmla="*/ 76669 w 851213"/>
                    <a:gd name="connsiteY357" fmla="*/ 1234561 h 1394540"/>
                    <a:gd name="connsiteX358" fmla="*/ 74255 w 851213"/>
                    <a:gd name="connsiteY358" fmla="*/ 1230335 h 1394540"/>
                    <a:gd name="connsiteX359" fmla="*/ 59766 w 851213"/>
                    <a:gd name="connsiteY359" fmla="*/ 1221279 h 1394540"/>
                    <a:gd name="connsiteX360" fmla="*/ 55540 w 851213"/>
                    <a:gd name="connsiteY360" fmla="*/ 1215242 h 1394540"/>
                    <a:gd name="connsiteX361" fmla="*/ 51314 w 851213"/>
                    <a:gd name="connsiteY361" fmla="*/ 1212827 h 1394540"/>
                    <a:gd name="connsiteX362" fmla="*/ 43466 w 851213"/>
                    <a:gd name="connsiteY362" fmla="*/ 1212827 h 1394540"/>
                    <a:gd name="connsiteX363" fmla="*/ 33203 w 851213"/>
                    <a:gd name="connsiteY363" fmla="*/ 1217053 h 1394540"/>
                    <a:gd name="connsiteX364" fmla="*/ 28977 w 851213"/>
                    <a:gd name="connsiteY364" fmla="*/ 1220072 h 1394540"/>
                    <a:gd name="connsiteX365" fmla="*/ 25959 w 851213"/>
                    <a:gd name="connsiteY365" fmla="*/ 1217657 h 1394540"/>
                    <a:gd name="connsiteX366" fmla="*/ 21129 w 851213"/>
                    <a:gd name="connsiteY366" fmla="*/ 1221279 h 1394540"/>
                    <a:gd name="connsiteX367" fmla="*/ 16300 w 851213"/>
                    <a:gd name="connsiteY367" fmla="*/ 1213431 h 1394540"/>
                    <a:gd name="connsiteX368" fmla="*/ 11470 w 851213"/>
                    <a:gd name="connsiteY368" fmla="*/ 1199546 h 1394540"/>
                    <a:gd name="connsiteX369" fmla="*/ 5433 w 851213"/>
                    <a:gd name="connsiteY369" fmla="*/ 1192906 h 1394540"/>
                    <a:gd name="connsiteX370" fmla="*/ 0 w 851213"/>
                    <a:gd name="connsiteY370" fmla="*/ 1186265 h 1394540"/>
                    <a:gd name="connsiteX371" fmla="*/ 3018 w 851213"/>
                    <a:gd name="connsiteY371" fmla="*/ 1182039 h 1394540"/>
                    <a:gd name="connsiteX372" fmla="*/ 6641 w 851213"/>
                    <a:gd name="connsiteY372" fmla="*/ 1183247 h 1394540"/>
                    <a:gd name="connsiteX373" fmla="*/ 12074 w 851213"/>
                    <a:gd name="connsiteY373" fmla="*/ 1176606 h 1394540"/>
                    <a:gd name="connsiteX374" fmla="*/ 16300 w 851213"/>
                    <a:gd name="connsiteY374" fmla="*/ 1176002 h 1394540"/>
                    <a:gd name="connsiteX375" fmla="*/ 21733 w 851213"/>
                    <a:gd name="connsiteY375" fmla="*/ 1172380 h 1394540"/>
                    <a:gd name="connsiteX376" fmla="*/ 22337 w 851213"/>
                    <a:gd name="connsiteY376" fmla="*/ 1169965 h 1394540"/>
                    <a:gd name="connsiteX377" fmla="*/ 19318 w 851213"/>
                    <a:gd name="connsiteY377" fmla="*/ 1162721 h 1394540"/>
                    <a:gd name="connsiteX378" fmla="*/ 10263 w 851213"/>
                    <a:gd name="connsiteY378" fmla="*/ 1151251 h 1394540"/>
                    <a:gd name="connsiteX379" fmla="*/ 6037 w 851213"/>
                    <a:gd name="connsiteY379" fmla="*/ 1147628 h 1394540"/>
                    <a:gd name="connsiteX380" fmla="*/ 4830 w 851213"/>
                    <a:gd name="connsiteY380" fmla="*/ 1144006 h 1394540"/>
                    <a:gd name="connsiteX381" fmla="*/ 5433 w 851213"/>
                    <a:gd name="connsiteY381" fmla="*/ 1134347 h 1394540"/>
                    <a:gd name="connsiteX382" fmla="*/ 11470 w 851213"/>
                    <a:gd name="connsiteY382" fmla="*/ 1125291 h 1394540"/>
                    <a:gd name="connsiteX383" fmla="*/ 9659 w 851213"/>
                    <a:gd name="connsiteY383" fmla="*/ 1121066 h 1394540"/>
                    <a:gd name="connsiteX384" fmla="*/ 15696 w 851213"/>
                    <a:gd name="connsiteY384" fmla="*/ 1117443 h 1394540"/>
                    <a:gd name="connsiteX385" fmla="*/ 16300 w 851213"/>
                    <a:gd name="connsiteY385" fmla="*/ 1112010 h 1394540"/>
                    <a:gd name="connsiteX386" fmla="*/ 18715 w 851213"/>
                    <a:gd name="connsiteY386" fmla="*/ 1108992 h 1394540"/>
                    <a:gd name="connsiteX387" fmla="*/ 16300 w 851213"/>
                    <a:gd name="connsiteY387" fmla="*/ 1104162 h 1394540"/>
                    <a:gd name="connsiteX388" fmla="*/ 17507 w 851213"/>
                    <a:gd name="connsiteY388" fmla="*/ 1100540 h 1394540"/>
                    <a:gd name="connsiteX389" fmla="*/ 21733 w 851213"/>
                    <a:gd name="connsiteY389" fmla="*/ 1095710 h 1394540"/>
                    <a:gd name="connsiteX390" fmla="*/ 28977 w 851213"/>
                    <a:gd name="connsiteY390" fmla="*/ 1092088 h 1394540"/>
                    <a:gd name="connsiteX391" fmla="*/ 30185 w 851213"/>
                    <a:gd name="connsiteY391" fmla="*/ 1088466 h 1394540"/>
                    <a:gd name="connsiteX392" fmla="*/ 28374 w 851213"/>
                    <a:gd name="connsiteY392" fmla="*/ 1083637 h 1394540"/>
                    <a:gd name="connsiteX393" fmla="*/ 30185 w 851213"/>
                    <a:gd name="connsiteY393" fmla="*/ 1078203 h 1394540"/>
                    <a:gd name="connsiteX394" fmla="*/ 36826 w 851213"/>
                    <a:gd name="connsiteY394" fmla="*/ 1076996 h 1394540"/>
                    <a:gd name="connsiteX395" fmla="*/ 42259 w 851213"/>
                    <a:gd name="connsiteY395" fmla="*/ 1072166 h 1394540"/>
                    <a:gd name="connsiteX396" fmla="*/ 47088 w 851213"/>
                    <a:gd name="connsiteY396" fmla="*/ 1059489 h 1394540"/>
                    <a:gd name="connsiteX397" fmla="*/ 49503 w 851213"/>
                    <a:gd name="connsiteY397" fmla="*/ 1057678 h 1394540"/>
                    <a:gd name="connsiteX398" fmla="*/ 56144 w 851213"/>
                    <a:gd name="connsiteY398" fmla="*/ 1055263 h 1394540"/>
                    <a:gd name="connsiteX399" fmla="*/ 59766 w 851213"/>
                    <a:gd name="connsiteY399" fmla="*/ 1049829 h 1394540"/>
                    <a:gd name="connsiteX400" fmla="*/ 65803 w 851213"/>
                    <a:gd name="connsiteY400" fmla="*/ 1044396 h 1394540"/>
                    <a:gd name="connsiteX401" fmla="*/ 68218 w 851213"/>
                    <a:gd name="connsiteY401" fmla="*/ 1044396 h 1394540"/>
                    <a:gd name="connsiteX402" fmla="*/ 70632 w 851213"/>
                    <a:gd name="connsiteY402" fmla="*/ 1049226 h 1394540"/>
                    <a:gd name="connsiteX403" fmla="*/ 71236 w 851213"/>
                    <a:gd name="connsiteY403" fmla="*/ 1054055 h 1394540"/>
                    <a:gd name="connsiteX404" fmla="*/ 74858 w 851213"/>
                    <a:gd name="connsiteY404" fmla="*/ 1063111 h 1394540"/>
                    <a:gd name="connsiteX405" fmla="*/ 77877 w 851213"/>
                    <a:gd name="connsiteY405" fmla="*/ 1064922 h 1394540"/>
                    <a:gd name="connsiteX406" fmla="*/ 87536 w 851213"/>
                    <a:gd name="connsiteY406" fmla="*/ 1060092 h 1394540"/>
                    <a:gd name="connsiteX407" fmla="*/ 91762 w 851213"/>
                    <a:gd name="connsiteY407" fmla="*/ 1063111 h 1394540"/>
                    <a:gd name="connsiteX408" fmla="*/ 91158 w 851213"/>
                    <a:gd name="connsiteY408" fmla="*/ 1068544 h 1394540"/>
                    <a:gd name="connsiteX409" fmla="*/ 94780 w 851213"/>
                    <a:gd name="connsiteY409" fmla="*/ 1069752 h 1394540"/>
                    <a:gd name="connsiteX410" fmla="*/ 105043 w 851213"/>
                    <a:gd name="connsiteY410" fmla="*/ 1068544 h 1394540"/>
                    <a:gd name="connsiteX411" fmla="*/ 108062 w 851213"/>
                    <a:gd name="connsiteY411" fmla="*/ 1064318 h 1394540"/>
                    <a:gd name="connsiteX412" fmla="*/ 123154 w 851213"/>
                    <a:gd name="connsiteY412" fmla="*/ 1054055 h 1394540"/>
                    <a:gd name="connsiteX413" fmla="*/ 124362 w 851213"/>
                    <a:gd name="connsiteY413" fmla="*/ 1051641 h 1394540"/>
                    <a:gd name="connsiteX414" fmla="*/ 117721 w 851213"/>
                    <a:gd name="connsiteY414" fmla="*/ 1048018 h 1394540"/>
                    <a:gd name="connsiteX415" fmla="*/ 117117 w 851213"/>
                    <a:gd name="connsiteY415" fmla="*/ 1044396 h 1394540"/>
                    <a:gd name="connsiteX416" fmla="*/ 112891 w 851213"/>
                    <a:gd name="connsiteY416" fmla="*/ 1038359 h 1394540"/>
                    <a:gd name="connsiteX417" fmla="*/ 122550 w 851213"/>
                    <a:gd name="connsiteY417" fmla="*/ 1034737 h 1394540"/>
                    <a:gd name="connsiteX418" fmla="*/ 129191 w 851213"/>
                    <a:gd name="connsiteY418" fmla="*/ 1034737 h 1394540"/>
                    <a:gd name="connsiteX419" fmla="*/ 134021 w 851213"/>
                    <a:gd name="connsiteY419" fmla="*/ 1029907 h 1394540"/>
                    <a:gd name="connsiteX420" fmla="*/ 134021 w 851213"/>
                    <a:gd name="connsiteY420" fmla="*/ 1022059 h 1394540"/>
                    <a:gd name="connsiteX421" fmla="*/ 131606 w 851213"/>
                    <a:gd name="connsiteY421" fmla="*/ 1017833 h 1394540"/>
                    <a:gd name="connsiteX422" fmla="*/ 126173 w 851213"/>
                    <a:gd name="connsiteY422" fmla="*/ 1016626 h 1394540"/>
                    <a:gd name="connsiteX423" fmla="*/ 123758 w 851213"/>
                    <a:gd name="connsiteY423" fmla="*/ 1014815 h 1394540"/>
                    <a:gd name="connsiteX424" fmla="*/ 121947 w 851213"/>
                    <a:gd name="connsiteY424" fmla="*/ 1009985 h 1394540"/>
                    <a:gd name="connsiteX425" fmla="*/ 119532 w 851213"/>
                    <a:gd name="connsiteY425" fmla="*/ 1007570 h 1394540"/>
                    <a:gd name="connsiteX426" fmla="*/ 112288 w 851213"/>
                    <a:gd name="connsiteY426" fmla="*/ 1008778 h 1394540"/>
                    <a:gd name="connsiteX427" fmla="*/ 108665 w 851213"/>
                    <a:gd name="connsiteY427" fmla="*/ 1006967 h 1394540"/>
                    <a:gd name="connsiteX428" fmla="*/ 108062 w 851213"/>
                    <a:gd name="connsiteY428" fmla="*/ 1003345 h 1394540"/>
                    <a:gd name="connsiteX429" fmla="*/ 99006 w 851213"/>
                    <a:gd name="connsiteY429" fmla="*/ 998515 h 1394540"/>
                    <a:gd name="connsiteX430" fmla="*/ 86932 w 851213"/>
                    <a:gd name="connsiteY430" fmla="*/ 998515 h 1394540"/>
                    <a:gd name="connsiteX431" fmla="*/ 85725 w 851213"/>
                    <a:gd name="connsiteY431" fmla="*/ 994893 h 1394540"/>
                    <a:gd name="connsiteX432" fmla="*/ 87536 w 851213"/>
                    <a:gd name="connsiteY432" fmla="*/ 979800 h 1394540"/>
                    <a:gd name="connsiteX433" fmla="*/ 80895 w 851213"/>
                    <a:gd name="connsiteY433" fmla="*/ 974367 h 1394540"/>
                    <a:gd name="connsiteX434" fmla="*/ 70632 w 851213"/>
                    <a:gd name="connsiteY434" fmla="*/ 970141 h 1394540"/>
                    <a:gd name="connsiteX435" fmla="*/ 68218 w 851213"/>
                    <a:gd name="connsiteY435" fmla="*/ 966519 h 1394540"/>
                    <a:gd name="connsiteX436" fmla="*/ 61577 w 851213"/>
                    <a:gd name="connsiteY436" fmla="*/ 962293 h 1394540"/>
                    <a:gd name="connsiteX437" fmla="*/ 62784 w 851213"/>
                    <a:gd name="connsiteY437" fmla="*/ 953842 h 1394540"/>
                    <a:gd name="connsiteX438" fmla="*/ 57351 w 851213"/>
                    <a:gd name="connsiteY438" fmla="*/ 950219 h 1394540"/>
                    <a:gd name="connsiteX439" fmla="*/ 48296 w 851213"/>
                    <a:gd name="connsiteY439" fmla="*/ 950219 h 1394540"/>
                    <a:gd name="connsiteX440" fmla="*/ 45277 w 851213"/>
                    <a:gd name="connsiteY440" fmla="*/ 953842 h 1394540"/>
                    <a:gd name="connsiteX441" fmla="*/ 48296 w 851213"/>
                    <a:gd name="connsiteY441" fmla="*/ 955653 h 1394540"/>
                    <a:gd name="connsiteX442" fmla="*/ 50107 w 851213"/>
                    <a:gd name="connsiteY442" fmla="*/ 960482 h 1394540"/>
                    <a:gd name="connsiteX443" fmla="*/ 43466 w 851213"/>
                    <a:gd name="connsiteY443" fmla="*/ 958068 h 1394540"/>
                    <a:gd name="connsiteX444" fmla="*/ 36222 w 851213"/>
                    <a:gd name="connsiteY444" fmla="*/ 956860 h 1394540"/>
                    <a:gd name="connsiteX445" fmla="*/ 32600 w 851213"/>
                    <a:gd name="connsiteY445" fmla="*/ 958068 h 1394540"/>
                    <a:gd name="connsiteX446" fmla="*/ 32600 w 851213"/>
                    <a:gd name="connsiteY446" fmla="*/ 952634 h 1394540"/>
                    <a:gd name="connsiteX447" fmla="*/ 39240 w 851213"/>
                    <a:gd name="connsiteY447" fmla="*/ 954445 h 1394540"/>
                    <a:gd name="connsiteX448" fmla="*/ 45277 w 851213"/>
                    <a:gd name="connsiteY448" fmla="*/ 950219 h 1394540"/>
                    <a:gd name="connsiteX449" fmla="*/ 48296 w 851213"/>
                    <a:gd name="connsiteY449" fmla="*/ 944182 h 1394540"/>
                    <a:gd name="connsiteX450" fmla="*/ 53125 w 851213"/>
                    <a:gd name="connsiteY450" fmla="*/ 941164 h 1394540"/>
                    <a:gd name="connsiteX451" fmla="*/ 51314 w 851213"/>
                    <a:gd name="connsiteY451" fmla="*/ 935731 h 1394540"/>
                    <a:gd name="connsiteX452" fmla="*/ 45277 w 851213"/>
                    <a:gd name="connsiteY452" fmla="*/ 933920 h 1394540"/>
                    <a:gd name="connsiteX453" fmla="*/ 42259 w 851213"/>
                    <a:gd name="connsiteY453" fmla="*/ 935731 h 1394540"/>
                    <a:gd name="connsiteX454" fmla="*/ 33203 w 851213"/>
                    <a:gd name="connsiteY454" fmla="*/ 932712 h 1394540"/>
                    <a:gd name="connsiteX455" fmla="*/ 34411 w 851213"/>
                    <a:gd name="connsiteY455" fmla="*/ 927279 h 1394540"/>
                    <a:gd name="connsiteX456" fmla="*/ 38033 w 851213"/>
                    <a:gd name="connsiteY456" fmla="*/ 926071 h 1394540"/>
                    <a:gd name="connsiteX457" fmla="*/ 41655 w 851213"/>
                    <a:gd name="connsiteY457" fmla="*/ 923053 h 1394540"/>
                    <a:gd name="connsiteX458" fmla="*/ 45881 w 851213"/>
                    <a:gd name="connsiteY458" fmla="*/ 924260 h 1394540"/>
                    <a:gd name="connsiteX459" fmla="*/ 47088 w 851213"/>
                    <a:gd name="connsiteY459" fmla="*/ 927279 h 1394540"/>
                    <a:gd name="connsiteX460" fmla="*/ 53729 w 851213"/>
                    <a:gd name="connsiteY460" fmla="*/ 929090 h 1394540"/>
                    <a:gd name="connsiteX461" fmla="*/ 57955 w 851213"/>
                    <a:gd name="connsiteY461" fmla="*/ 927883 h 1394540"/>
                    <a:gd name="connsiteX462" fmla="*/ 60370 w 851213"/>
                    <a:gd name="connsiteY462" fmla="*/ 920034 h 1394540"/>
                    <a:gd name="connsiteX463" fmla="*/ 62784 w 851213"/>
                    <a:gd name="connsiteY463" fmla="*/ 916412 h 1394540"/>
                    <a:gd name="connsiteX464" fmla="*/ 60370 w 851213"/>
                    <a:gd name="connsiteY464" fmla="*/ 911583 h 1394540"/>
                    <a:gd name="connsiteX465" fmla="*/ 62784 w 851213"/>
                    <a:gd name="connsiteY465" fmla="*/ 898301 h 1394540"/>
                    <a:gd name="connsiteX466" fmla="*/ 60973 w 851213"/>
                    <a:gd name="connsiteY466" fmla="*/ 894075 h 1394540"/>
                    <a:gd name="connsiteX467" fmla="*/ 61577 w 851213"/>
                    <a:gd name="connsiteY467" fmla="*/ 888642 h 1394540"/>
                    <a:gd name="connsiteX468" fmla="*/ 58559 w 851213"/>
                    <a:gd name="connsiteY468" fmla="*/ 885020 h 1394540"/>
                    <a:gd name="connsiteX469" fmla="*/ 43466 w 851213"/>
                    <a:gd name="connsiteY469" fmla="*/ 880794 h 1394540"/>
                    <a:gd name="connsiteX470" fmla="*/ 41655 w 851213"/>
                    <a:gd name="connsiteY470" fmla="*/ 883812 h 1394540"/>
                    <a:gd name="connsiteX471" fmla="*/ 38637 w 851213"/>
                    <a:gd name="connsiteY471" fmla="*/ 883812 h 1394540"/>
                    <a:gd name="connsiteX472" fmla="*/ 31392 w 851213"/>
                    <a:gd name="connsiteY472" fmla="*/ 880794 h 1394540"/>
                    <a:gd name="connsiteX473" fmla="*/ 29581 w 851213"/>
                    <a:gd name="connsiteY473" fmla="*/ 877776 h 1394540"/>
                    <a:gd name="connsiteX474" fmla="*/ 31996 w 851213"/>
                    <a:gd name="connsiteY474" fmla="*/ 872946 h 1394540"/>
                    <a:gd name="connsiteX475" fmla="*/ 35618 w 851213"/>
                    <a:gd name="connsiteY475" fmla="*/ 871135 h 1394540"/>
                    <a:gd name="connsiteX476" fmla="*/ 35618 w 851213"/>
                    <a:gd name="connsiteY476" fmla="*/ 868117 h 1394540"/>
                    <a:gd name="connsiteX477" fmla="*/ 32600 w 851213"/>
                    <a:gd name="connsiteY477" fmla="*/ 865702 h 1394540"/>
                    <a:gd name="connsiteX478" fmla="*/ 29581 w 851213"/>
                    <a:gd name="connsiteY478" fmla="*/ 859665 h 1394540"/>
                    <a:gd name="connsiteX479" fmla="*/ 36826 w 851213"/>
                    <a:gd name="connsiteY479" fmla="*/ 857250 h 1394540"/>
                    <a:gd name="connsiteX480" fmla="*/ 44674 w 851213"/>
                    <a:gd name="connsiteY480" fmla="*/ 853628 h 1394540"/>
                    <a:gd name="connsiteX481" fmla="*/ 52522 w 851213"/>
                    <a:gd name="connsiteY481" fmla="*/ 852421 h 1394540"/>
                    <a:gd name="connsiteX482" fmla="*/ 55540 w 851213"/>
                    <a:gd name="connsiteY482" fmla="*/ 853628 h 1394540"/>
                    <a:gd name="connsiteX483" fmla="*/ 62181 w 851213"/>
                    <a:gd name="connsiteY483" fmla="*/ 845176 h 1394540"/>
                    <a:gd name="connsiteX484" fmla="*/ 77273 w 851213"/>
                    <a:gd name="connsiteY484" fmla="*/ 840950 h 1394540"/>
                    <a:gd name="connsiteX485" fmla="*/ 74255 w 851213"/>
                    <a:gd name="connsiteY485" fmla="*/ 830084 h 1394540"/>
                    <a:gd name="connsiteX486" fmla="*/ 71236 w 851213"/>
                    <a:gd name="connsiteY486" fmla="*/ 826461 h 1394540"/>
                    <a:gd name="connsiteX487" fmla="*/ 71840 w 851213"/>
                    <a:gd name="connsiteY487" fmla="*/ 821632 h 1394540"/>
                    <a:gd name="connsiteX488" fmla="*/ 74858 w 851213"/>
                    <a:gd name="connsiteY488" fmla="*/ 817406 h 1394540"/>
                    <a:gd name="connsiteX489" fmla="*/ 73047 w 851213"/>
                    <a:gd name="connsiteY489" fmla="*/ 814387 h 1394540"/>
                    <a:gd name="connsiteX490" fmla="*/ 74858 w 851213"/>
                    <a:gd name="connsiteY490" fmla="*/ 810765 h 1394540"/>
                    <a:gd name="connsiteX491" fmla="*/ 76066 w 851213"/>
                    <a:gd name="connsiteY491" fmla="*/ 795673 h 1394540"/>
                    <a:gd name="connsiteX492" fmla="*/ 76066 w 851213"/>
                    <a:gd name="connsiteY492" fmla="*/ 790239 h 1394540"/>
                    <a:gd name="connsiteX493" fmla="*/ 77877 w 851213"/>
                    <a:gd name="connsiteY493" fmla="*/ 787825 h 1394540"/>
                    <a:gd name="connsiteX494" fmla="*/ 76669 w 851213"/>
                    <a:gd name="connsiteY494" fmla="*/ 782995 h 1394540"/>
                    <a:gd name="connsiteX495" fmla="*/ 78481 w 851213"/>
                    <a:gd name="connsiteY495" fmla="*/ 779977 h 1394540"/>
                    <a:gd name="connsiteX496" fmla="*/ 69425 w 851213"/>
                    <a:gd name="connsiteY496" fmla="*/ 777562 h 1394540"/>
                    <a:gd name="connsiteX497" fmla="*/ 57351 w 851213"/>
                    <a:gd name="connsiteY497" fmla="*/ 784202 h 1394540"/>
                    <a:gd name="connsiteX498" fmla="*/ 53729 w 851213"/>
                    <a:gd name="connsiteY498" fmla="*/ 783599 h 1394540"/>
                    <a:gd name="connsiteX499" fmla="*/ 49503 w 851213"/>
                    <a:gd name="connsiteY499" fmla="*/ 776958 h 1394540"/>
                    <a:gd name="connsiteX500" fmla="*/ 51314 w 851213"/>
                    <a:gd name="connsiteY500" fmla="*/ 772129 h 1394540"/>
                    <a:gd name="connsiteX501" fmla="*/ 57351 w 851213"/>
                    <a:gd name="connsiteY501" fmla="*/ 767299 h 1394540"/>
                    <a:gd name="connsiteX502" fmla="*/ 69425 w 851213"/>
                    <a:gd name="connsiteY502" fmla="*/ 763073 h 1394540"/>
                    <a:gd name="connsiteX503" fmla="*/ 68821 w 851213"/>
                    <a:gd name="connsiteY503" fmla="*/ 758847 h 1394540"/>
                    <a:gd name="connsiteX504" fmla="*/ 65803 w 851213"/>
                    <a:gd name="connsiteY504" fmla="*/ 755829 h 1394540"/>
                    <a:gd name="connsiteX505" fmla="*/ 64595 w 851213"/>
                    <a:gd name="connsiteY505" fmla="*/ 748585 h 1394540"/>
                    <a:gd name="connsiteX506" fmla="*/ 62784 w 851213"/>
                    <a:gd name="connsiteY506" fmla="*/ 744359 h 1394540"/>
                    <a:gd name="connsiteX507" fmla="*/ 62181 w 851213"/>
                    <a:gd name="connsiteY507" fmla="*/ 738322 h 1394540"/>
                    <a:gd name="connsiteX508" fmla="*/ 65199 w 851213"/>
                    <a:gd name="connsiteY508" fmla="*/ 732285 h 1394540"/>
                    <a:gd name="connsiteX509" fmla="*/ 63992 w 851213"/>
                    <a:gd name="connsiteY509" fmla="*/ 726851 h 1394540"/>
                    <a:gd name="connsiteX510" fmla="*/ 63992 w 851213"/>
                    <a:gd name="connsiteY510" fmla="*/ 717192 h 1394540"/>
                    <a:gd name="connsiteX511" fmla="*/ 60973 w 851213"/>
                    <a:gd name="connsiteY511" fmla="*/ 707533 h 1394540"/>
                    <a:gd name="connsiteX512" fmla="*/ 45277 w 851213"/>
                    <a:gd name="connsiteY512" fmla="*/ 708137 h 1394540"/>
                    <a:gd name="connsiteX513" fmla="*/ 41051 w 851213"/>
                    <a:gd name="connsiteY513" fmla="*/ 698478 h 1394540"/>
                    <a:gd name="connsiteX514" fmla="*/ 40448 w 851213"/>
                    <a:gd name="connsiteY514" fmla="*/ 694252 h 1394540"/>
                    <a:gd name="connsiteX515" fmla="*/ 38033 w 851213"/>
                    <a:gd name="connsiteY515" fmla="*/ 690629 h 1394540"/>
                    <a:gd name="connsiteX516" fmla="*/ 42259 w 851213"/>
                    <a:gd name="connsiteY516" fmla="*/ 685800 h 1394540"/>
                    <a:gd name="connsiteX517" fmla="*/ 42863 w 851213"/>
                    <a:gd name="connsiteY517" fmla="*/ 681574 h 1394540"/>
                    <a:gd name="connsiteX518" fmla="*/ 39844 w 851213"/>
                    <a:gd name="connsiteY518" fmla="*/ 670707 h 1394540"/>
                    <a:gd name="connsiteX519" fmla="*/ 44674 w 851213"/>
                    <a:gd name="connsiteY519" fmla="*/ 654408 h 1394540"/>
                    <a:gd name="connsiteX520" fmla="*/ 48296 w 851213"/>
                    <a:gd name="connsiteY520" fmla="*/ 654408 h 1394540"/>
                    <a:gd name="connsiteX521" fmla="*/ 55540 w 851213"/>
                    <a:gd name="connsiteY521" fmla="*/ 651993 h 1394540"/>
                    <a:gd name="connsiteX522" fmla="*/ 57955 w 851213"/>
                    <a:gd name="connsiteY522" fmla="*/ 647767 h 1394540"/>
                    <a:gd name="connsiteX523" fmla="*/ 60973 w 851213"/>
                    <a:gd name="connsiteY523" fmla="*/ 648371 h 1394540"/>
                    <a:gd name="connsiteX524" fmla="*/ 65803 w 851213"/>
                    <a:gd name="connsiteY524" fmla="*/ 647163 h 1394540"/>
                    <a:gd name="connsiteX525" fmla="*/ 68218 w 851213"/>
                    <a:gd name="connsiteY525" fmla="*/ 644749 h 1394540"/>
                    <a:gd name="connsiteX526" fmla="*/ 74858 w 851213"/>
                    <a:gd name="connsiteY526" fmla="*/ 642334 h 1394540"/>
                    <a:gd name="connsiteX527" fmla="*/ 82103 w 851213"/>
                    <a:gd name="connsiteY527" fmla="*/ 636297 h 1394540"/>
                    <a:gd name="connsiteX528" fmla="*/ 85121 w 851213"/>
                    <a:gd name="connsiteY528" fmla="*/ 628449 h 1394540"/>
                    <a:gd name="connsiteX529" fmla="*/ 89347 w 851213"/>
                    <a:gd name="connsiteY529" fmla="*/ 626638 h 1394540"/>
                    <a:gd name="connsiteX530" fmla="*/ 89347 w 851213"/>
                    <a:gd name="connsiteY530" fmla="*/ 623619 h 1394540"/>
                    <a:gd name="connsiteX531" fmla="*/ 85725 w 851213"/>
                    <a:gd name="connsiteY531" fmla="*/ 619393 h 1394540"/>
                    <a:gd name="connsiteX532" fmla="*/ 91158 w 851213"/>
                    <a:gd name="connsiteY532" fmla="*/ 610338 h 1394540"/>
                    <a:gd name="connsiteX533" fmla="*/ 94780 w 851213"/>
                    <a:gd name="connsiteY533" fmla="*/ 600679 h 1394540"/>
                    <a:gd name="connsiteX534" fmla="*/ 94177 w 851213"/>
                    <a:gd name="connsiteY534" fmla="*/ 598264 h 1394540"/>
                    <a:gd name="connsiteX535" fmla="*/ 98403 w 851213"/>
                    <a:gd name="connsiteY535" fmla="*/ 594038 h 1394540"/>
                    <a:gd name="connsiteX536" fmla="*/ 100817 w 851213"/>
                    <a:gd name="connsiteY536" fmla="*/ 588001 h 1394540"/>
                    <a:gd name="connsiteX537" fmla="*/ 99006 w 851213"/>
                    <a:gd name="connsiteY537" fmla="*/ 582568 h 1394540"/>
                    <a:gd name="connsiteX538" fmla="*/ 100817 w 851213"/>
                    <a:gd name="connsiteY538" fmla="*/ 573512 h 1394540"/>
                    <a:gd name="connsiteX539" fmla="*/ 97195 w 851213"/>
                    <a:gd name="connsiteY539" fmla="*/ 569286 h 1394540"/>
                    <a:gd name="connsiteX540" fmla="*/ 99006 w 851213"/>
                    <a:gd name="connsiteY540" fmla="*/ 566268 h 1394540"/>
                    <a:gd name="connsiteX541" fmla="*/ 96592 w 851213"/>
                    <a:gd name="connsiteY541" fmla="*/ 563249 h 1394540"/>
                    <a:gd name="connsiteX542" fmla="*/ 96592 w 851213"/>
                    <a:gd name="connsiteY542" fmla="*/ 559023 h 1394540"/>
                    <a:gd name="connsiteX543" fmla="*/ 99006 w 851213"/>
                    <a:gd name="connsiteY543" fmla="*/ 556005 h 1394540"/>
                    <a:gd name="connsiteX544" fmla="*/ 98403 w 851213"/>
                    <a:gd name="connsiteY544" fmla="*/ 549968 h 1394540"/>
                    <a:gd name="connsiteX545" fmla="*/ 95988 w 851213"/>
                    <a:gd name="connsiteY545" fmla="*/ 543931 h 1394540"/>
                    <a:gd name="connsiteX546" fmla="*/ 99610 w 851213"/>
                    <a:gd name="connsiteY546" fmla="*/ 539102 h 1394540"/>
                    <a:gd name="connsiteX547" fmla="*/ 100214 w 851213"/>
                    <a:gd name="connsiteY547" fmla="*/ 530650 h 1394540"/>
                    <a:gd name="connsiteX548" fmla="*/ 103232 w 851213"/>
                    <a:gd name="connsiteY548" fmla="*/ 525217 h 1394540"/>
                    <a:gd name="connsiteX549" fmla="*/ 107458 w 851213"/>
                    <a:gd name="connsiteY549" fmla="*/ 524613 h 1394540"/>
                    <a:gd name="connsiteX550" fmla="*/ 111684 w 851213"/>
                    <a:gd name="connsiteY550" fmla="*/ 528839 h 1394540"/>
                    <a:gd name="connsiteX551" fmla="*/ 117721 w 851213"/>
                    <a:gd name="connsiteY551" fmla="*/ 527028 h 1394540"/>
                    <a:gd name="connsiteX552" fmla="*/ 117721 w 851213"/>
                    <a:gd name="connsiteY552" fmla="*/ 523406 h 1394540"/>
                    <a:gd name="connsiteX553" fmla="*/ 121947 w 851213"/>
                    <a:gd name="connsiteY553" fmla="*/ 514350 h 1394540"/>
                    <a:gd name="connsiteX554" fmla="*/ 123154 w 851213"/>
                    <a:gd name="connsiteY554" fmla="*/ 508917 h 1394540"/>
                    <a:gd name="connsiteX555" fmla="*/ 121947 w 851213"/>
                    <a:gd name="connsiteY555" fmla="*/ 505295 h 1394540"/>
                    <a:gd name="connsiteX556" fmla="*/ 123758 w 851213"/>
                    <a:gd name="connsiteY556" fmla="*/ 502880 h 1394540"/>
                    <a:gd name="connsiteX557" fmla="*/ 123758 w 851213"/>
                    <a:gd name="connsiteY557" fmla="*/ 498654 h 1394540"/>
                    <a:gd name="connsiteX558" fmla="*/ 120739 w 851213"/>
                    <a:gd name="connsiteY558" fmla="*/ 496239 h 1394540"/>
                    <a:gd name="connsiteX559" fmla="*/ 120136 w 851213"/>
                    <a:gd name="connsiteY559" fmla="*/ 491409 h 1394540"/>
                    <a:gd name="connsiteX560" fmla="*/ 122550 w 851213"/>
                    <a:gd name="connsiteY560" fmla="*/ 487184 h 1394540"/>
                    <a:gd name="connsiteX561" fmla="*/ 121947 w 851213"/>
                    <a:gd name="connsiteY561" fmla="*/ 482958 h 1394540"/>
                    <a:gd name="connsiteX562" fmla="*/ 126173 w 851213"/>
                    <a:gd name="connsiteY562" fmla="*/ 476317 h 1394540"/>
                    <a:gd name="connsiteX563" fmla="*/ 129191 w 851213"/>
                    <a:gd name="connsiteY563" fmla="*/ 468469 h 1394540"/>
                    <a:gd name="connsiteX564" fmla="*/ 129795 w 851213"/>
                    <a:gd name="connsiteY564" fmla="*/ 463639 h 1394540"/>
                    <a:gd name="connsiteX565" fmla="*/ 131606 w 851213"/>
                    <a:gd name="connsiteY565" fmla="*/ 457602 h 1394540"/>
                    <a:gd name="connsiteX566" fmla="*/ 134021 w 851213"/>
                    <a:gd name="connsiteY566" fmla="*/ 456395 h 1394540"/>
                    <a:gd name="connsiteX567" fmla="*/ 135832 w 851213"/>
                    <a:gd name="connsiteY567" fmla="*/ 448547 h 1394540"/>
                    <a:gd name="connsiteX568" fmla="*/ 139454 w 851213"/>
                    <a:gd name="connsiteY568" fmla="*/ 443717 h 1394540"/>
                    <a:gd name="connsiteX569" fmla="*/ 146095 w 851213"/>
                    <a:gd name="connsiteY569" fmla="*/ 445528 h 1394540"/>
                    <a:gd name="connsiteX570" fmla="*/ 149717 w 851213"/>
                    <a:gd name="connsiteY570" fmla="*/ 452773 h 1394540"/>
                    <a:gd name="connsiteX571" fmla="*/ 149113 w 851213"/>
                    <a:gd name="connsiteY571" fmla="*/ 458206 h 1394540"/>
                    <a:gd name="connsiteX572" fmla="*/ 152132 w 851213"/>
                    <a:gd name="connsiteY572" fmla="*/ 460017 h 1394540"/>
                    <a:gd name="connsiteX573" fmla="*/ 156358 w 851213"/>
                    <a:gd name="connsiteY573" fmla="*/ 456999 h 1394540"/>
                    <a:gd name="connsiteX574" fmla="*/ 157565 w 851213"/>
                    <a:gd name="connsiteY574" fmla="*/ 449754 h 1394540"/>
                    <a:gd name="connsiteX575" fmla="*/ 154547 w 851213"/>
                    <a:gd name="connsiteY575" fmla="*/ 446736 h 1394540"/>
                    <a:gd name="connsiteX576" fmla="*/ 150321 w 851213"/>
                    <a:gd name="connsiteY576" fmla="*/ 445528 h 1394540"/>
                    <a:gd name="connsiteX577" fmla="*/ 153943 w 851213"/>
                    <a:gd name="connsiteY577" fmla="*/ 441906 h 1394540"/>
                    <a:gd name="connsiteX578" fmla="*/ 159980 w 851213"/>
                    <a:gd name="connsiteY578" fmla="*/ 441303 h 1394540"/>
                    <a:gd name="connsiteX579" fmla="*/ 160583 w 851213"/>
                    <a:gd name="connsiteY579" fmla="*/ 434058 h 1394540"/>
                    <a:gd name="connsiteX580" fmla="*/ 158772 w 851213"/>
                    <a:gd name="connsiteY580" fmla="*/ 429832 h 1394540"/>
                    <a:gd name="connsiteX581" fmla="*/ 161791 w 851213"/>
                    <a:gd name="connsiteY581" fmla="*/ 426814 h 1394540"/>
                    <a:gd name="connsiteX582" fmla="*/ 159980 w 851213"/>
                    <a:gd name="connsiteY582" fmla="*/ 423192 h 1394540"/>
                    <a:gd name="connsiteX583" fmla="*/ 160583 w 851213"/>
                    <a:gd name="connsiteY583" fmla="*/ 420173 h 1394540"/>
                    <a:gd name="connsiteX584" fmla="*/ 166620 w 851213"/>
                    <a:gd name="connsiteY584" fmla="*/ 416551 h 1394540"/>
                    <a:gd name="connsiteX585" fmla="*/ 173865 w 851213"/>
                    <a:gd name="connsiteY585" fmla="*/ 415947 h 1394540"/>
                    <a:gd name="connsiteX586" fmla="*/ 176279 w 851213"/>
                    <a:gd name="connsiteY586" fmla="*/ 409307 h 1394540"/>
                    <a:gd name="connsiteX587" fmla="*/ 179902 w 851213"/>
                    <a:gd name="connsiteY587" fmla="*/ 405081 h 1394540"/>
                    <a:gd name="connsiteX588" fmla="*/ 179298 w 851213"/>
                    <a:gd name="connsiteY588" fmla="*/ 397233 h 1394540"/>
                    <a:gd name="connsiteX589" fmla="*/ 180505 w 851213"/>
                    <a:gd name="connsiteY589" fmla="*/ 394214 h 1394540"/>
                    <a:gd name="connsiteX590" fmla="*/ 177487 w 851213"/>
                    <a:gd name="connsiteY590" fmla="*/ 385762 h 1394540"/>
                    <a:gd name="connsiteX591" fmla="*/ 178091 w 851213"/>
                    <a:gd name="connsiteY591" fmla="*/ 374292 h 1394540"/>
                    <a:gd name="connsiteX592" fmla="*/ 179298 w 851213"/>
                    <a:gd name="connsiteY592" fmla="*/ 372481 h 1394540"/>
                    <a:gd name="connsiteX593" fmla="*/ 187146 w 851213"/>
                    <a:gd name="connsiteY593" fmla="*/ 369463 h 1394540"/>
                    <a:gd name="connsiteX594" fmla="*/ 191976 w 851213"/>
                    <a:gd name="connsiteY594" fmla="*/ 362218 h 1394540"/>
                    <a:gd name="connsiteX595" fmla="*/ 196202 w 851213"/>
                    <a:gd name="connsiteY595" fmla="*/ 363426 h 1394540"/>
                    <a:gd name="connsiteX596" fmla="*/ 196805 w 851213"/>
                    <a:gd name="connsiteY596" fmla="*/ 368255 h 1394540"/>
                    <a:gd name="connsiteX597" fmla="*/ 202842 w 851213"/>
                    <a:gd name="connsiteY597" fmla="*/ 370066 h 1394540"/>
                    <a:gd name="connsiteX598" fmla="*/ 209483 w 851213"/>
                    <a:gd name="connsiteY598" fmla="*/ 365840 h 1394540"/>
                    <a:gd name="connsiteX599" fmla="*/ 210087 w 851213"/>
                    <a:gd name="connsiteY599" fmla="*/ 361011 h 1394540"/>
                    <a:gd name="connsiteX600" fmla="*/ 214313 w 851213"/>
                    <a:gd name="connsiteY600" fmla="*/ 359803 h 1394540"/>
                    <a:gd name="connsiteX601" fmla="*/ 219142 w 851213"/>
                    <a:gd name="connsiteY601" fmla="*/ 363426 h 1394540"/>
                    <a:gd name="connsiteX602" fmla="*/ 221557 w 851213"/>
                    <a:gd name="connsiteY602" fmla="*/ 361614 h 1394540"/>
                    <a:gd name="connsiteX603" fmla="*/ 221557 w 851213"/>
                    <a:gd name="connsiteY603" fmla="*/ 356181 h 1394540"/>
                    <a:gd name="connsiteX604" fmla="*/ 223368 w 851213"/>
                    <a:gd name="connsiteY604" fmla="*/ 354370 h 1394540"/>
                    <a:gd name="connsiteX605" fmla="*/ 234838 w 851213"/>
                    <a:gd name="connsiteY605" fmla="*/ 358596 h 1394540"/>
                    <a:gd name="connsiteX606" fmla="*/ 236649 w 851213"/>
                    <a:gd name="connsiteY606" fmla="*/ 371877 h 1394540"/>
                    <a:gd name="connsiteX607" fmla="*/ 242083 w 851213"/>
                    <a:gd name="connsiteY607" fmla="*/ 371274 h 1394540"/>
                    <a:gd name="connsiteX608" fmla="*/ 242686 w 851213"/>
                    <a:gd name="connsiteY608" fmla="*/ 365237 h 1394540"/>
                    <a:gd name="connsiteX609" fmla="*/ 248723 w 851213"/>
                    <a:gd name="connsiteY609" fmla="*/ 360407 h 1394540"/>
                    <a:gd name="connsiteX610" fmla="*/ 255364 w 851213"/>
                    <a:gd name="connsiteY610" fmla="*/ 361011 h 1394540"/>
                    <a:gd name="connsiteX611" fmla="*/ 258382 w 851213"/>
                    <a:gd name="connsiteY611" fmla="*/ 354974 h 1394540"/>
                    <a:gd name="connsiteX612" fmla="*/ 262608 w 851213"/>
                    <a:gd name="connsiteY612" fmla="*/ 351352 h 1394540"/>
                    <a:gd name="connsiteX613" fmla="*/ 271664 w 851213"/>
                    <a:gd name="connsiteY613" fmla="*/ 352559 h 1394540"/>
                    <a:gd name="connsiteX614" fmla="*/ 272871 w 851213"/>
                    <a:gd name="connsiteY614" fmla="*/ 348333 h 1394540"/>
                    <a:gd name="connsiteX615" fmla="*/ 281926 w 851213"/>
                    <a:gd name="connsiteY615" fmla="*/ 351352 h 1394540"/>
                    <a:gd name="connsiteX616" fmla="*/ 284945 w 851213"/>
                    <a:gd name="connsiteY616" fmla="*/ 349540 h 1394540"/>
                    <a:gd name="connsiteX617" fmla="*/ 284945 w 851213"/>
                    <a:gd name="connsiteY617" fmla="*/ 345315 h 1394540"/>
                    <a:gd name="connsiteX618" fmla="*/ 287963 w 851213"/>
                    <a:gd name="connsiteY618" fmla="*/ 345918 h 1394540"/>
                    <a:gd name="connsiteX619" fmla="*/ 290378 w 851213"/>
                    <a:gd name="connsiteY619" fmla="*/ 342296 h 1394540"/>
                    <a:gd name="connsiteX620" fmla="*/ 288567 w 851213"/>
                    <a:gd name="connsiteY620" fmla="*/ 340485 h 1394540"/>
                    <a:gd name="connsiteX621" fmla="*/ 288567 w 851213"/>
                    <a:gd name="connsiteY621" fmla="*/ 335656 h 1394540"/>
                    <a:gd name="connsiteX622" fmla="*/ 296415 w 851213"/>
                    <a:gd name="connsiteY622" fmla="*/ 325996 h 1394540"/>
                    <a:gd name="connsiteX623" fmla="*/ 300641 w 851213"/>
                    <a:gd name="connsiteY623" fmla="*/ 327204 h 1394540"/>
                    <a:gd name="connsiteX624" fmla="*/ 303660 w 851213"/>
                    <a:gd name="connsiteY624" fmla="*/ 324789 h 1394540"/>
                    <a:gd name="connsiteX625" fmla="*/ 305471 w 851213"/>
                    <a:gd name="connsiteY625" fmla="*/ 319960 h 1394540"/>
                    <a:gd name="connsiteX626" fmla="*/ 308489 w 851213"/>
                    <a:gd name="connsiteY626" fmla="*/ 321771 h 1394540"/>
                    <a:gd name="connsiteX627" fmla="*/ 310904 w 851213"/>
                    <a:gd name="connsiteY627" fmla="*/ 327204 h 1394540"/>
                    <a:gd name="connsiteX628" fmla="*/ 314526 w 851213"/>
                    <a:gd name="connsiteY628" fmla="*/ 319960 h 1394540"/>
                    <a:gd name="connsiteX629" fmla="*/ 310300 w 851213"/>
                    <a:gd name="connsiteY629" fmla="*/ 309093 h 1394540"/>
                    <a:gd name="connsiteX630" fmla="*/ 318148 w 851213"/>
                    <a:gd name="connsiteY630" fmla="*/ 300038 h 1394540"/>
                    <a:gd name="connsiteX631" fmla="*/ 316337 w 851213"/>
                    <a:gd name="connsiteY631" fmla="*/ 295812 h 1394540"/>
                    <a:gd name="connsiteX632" fmla="*/ 316337 w 851213"/>
                    <a:gd name="connsiteY632" fmla="*/ 292189 h 1394540"/>
                    <a:gd name="connsiteX633" fmla="*/ 313319 w 851213"/>
                    <a:gd name="connsiteY633" fmla="*/ 284945 h 1394540"/>
                    <a:gd name="connsiteX634" fmla="*/ 315130 w 851213"/>
                    <a:gd name="connsiteY634" fmla="*/ 281323 h 1394540"/>
                    <a:gd name="connsiteX635" fmla="*/ 315130 w 851213"/>
                    <a:gd name="connsiteY635" fmla="*/ 275890 h 1394540"/>
                    <a:gd name="connsiteX636" fmla="*/ 320563 w 851213"/>
                    <a:gd name="connsiteY636" fmla="*/ 274682 h 1394540"/>
                    <a:gd name="connsiteX637" fmla="*/ 327808 w 851213"/>
                    <a:gd name="connsiteY637" fmla="*/ 274078 h 1394540"/>
                    <a:gd name="connsiteX638" fmla="*/ 333844 w 851213"/>
                    <a:gd name="connsiteY638" fmla="*/ 271664 h 1394540"/>
                    <a:gd name="connsiteX639" fmla="*/ 336863 w 851213"/>
                    <a:gd name="connsiteY639" fmla="*/ 267438 h 1394540"/>
                    <a:gd name="connsiteX640" fmla="*/ 344711 w 851213"/>
                    <a:gd name="connsiteY640" fmla="*/ 259590 h 1394540"/>
                    <a:gd name="connsiteX641" fmla="*/ 350144 w 851213"/>
                    <a:gd name="connsiteY641" fmla="*/ 257175 h 1394540"/>
                    <a:gd name="connsiteX642" fmla="*/ 349541 w 851213"/>
                    <a:gd name="connsiteY642" fmla="*/ 245705 h 1394540"/>
                    <a:gd name="connsiteX643" fmla="*/ 345918 w 851213"/>
                    <a:gd name="connsiteY643" fmla="*/ 238460 h 1394540"/>
                    <a:gd name="connsiteX644" fmla="*/ 350144 w 851213"/>
                    <a:gd name="connsiteY644" fmla="*/ 230008 h 1394540"/>
                    <a:gd name="connsiteX645" fmla="*/ 356181 w 851213"/>
                    <a:gd name="connsiteY645" fmla="*/ 230008 h 1394540"/>
                    <a:gd name="connsiteX646" fmla="*/ 358596 w 851213"/>
                    <a:gd name="connsiteY646" fmla="*/ 228801 h 1394540"/>
                    <a:gd name="connsiteX647" fmla="*/ 363426 w 851213"/>
                    <a:gd name="connsiteY647" fmla="*/ 230008 h 1394540"/>
                    <a:gd name="connsiteX648" fmla="*/ 368255 w 851213"/>
                    <a:gd name="connsiteY648" fmla="*/ 229405 h 1394540"/>
                    <a:gd name="connsiteX649" fmla="*/ 375500 w 851213"/>
                    <a:gd name="connsiteY649" fmla="*/ 221557 h 1394540"/>
                    <a:gd name="connsiteX650" fmla="*/ 386366 w 851213"/>
                    <a:gd name="connsiteY650" fmla="*/ 224575 h 1394540"/>
                    <a:gd name="connsiteX651" fmla="*/ 389385 w 851213"/>
                    <a:gd name="connsiteY651" fmla="*/ 222764 h 1394540"/>
                    <a:gd name="connsiteX652" fmla="*/ 389988 w 851213"/>
                    <a:gd name="connsiteY652" fmla="*/ 218538 h 1394540"/>
                    <a:gd name="connsiteX653" fmla="*/ 393610 w 851213"/>
                    <a:gd name="connsiteY653" fmla="*/ 216124 h 1394540"/>
                    <a:gd name="connsiteX654" fmla="*/ 394214 w 851213"/>
                    <a:gd name="connsiteY654" fmla="*/ 211898 h 1394540"/>
                    <a:gd name="connsiteX655" fmla="*/ 391196 w 851213"/>
                    <a:gd name="connsiteY655" fmla="*/ 210690 h 1394540"/>
                    <a:gd name="connsiteX656" fmla="*/ 391799 w 851213"/>
                    <a:gd name="connsiteY656" fmla="*/ 196805 h 1394540"/>
                    <a:gd name="connsiteX657" fmla="*/ 397836 w 851213"/>
                    <a:gd name="connsiteY657" fmla="*/ 187146 h 1394540"/>
                    <a:gd name="connsiteX658" fmla="*/ 402062 w 851213"/>
                    <a:gd name="connsiteY658" fmla="*/ 184128 h 1394540"/>
                    <a:gd name="connsiteX659" fmla="*/ 401459 w 851213"/>
                    <a:gd name="connsiteY659" fmla="*/ 175676 h 1394540"/>
                    <a:gd name="connsiteX660" fmla="*/ 395422 w 851213"/>
                    <a:gd name="connsiteY660" fmla="*/ 173261 h 1394540"/>
                    <a:gd name="connsiteX661" fmla="*/ 391196 w 851213"/>
                    <a:gd name="connsiteY661" fmla="*/ 166620 h 1394540"/>
                    <a:gd name="connsiteX662" fmla="*/ 386366 w 851213"/>
                    <a:gd name="connsiteY662" fmla="*/ 168431 h 1394540"/>
                    <a:gd name="connsiteX663" fmla="*/ 384555 w 851213"/>
                    <a:gd name="connsiteY663" fmla="*/ 166017 h 1394540"/>
                    <a:gd name="connsiteX664" fmla="*/ 382744 w 851213"/>
                    <a:gd name="connsiteY664" fmla="*/ 158772 h 1394540"/>
                    <a:gd name="connsiteX665" fmla="*/ 374292 w 851213"/>
                    <a:gd name="connsiteY665" fmla="*/ 159376 h 1394540"/>
                    <a:gd name="connsiteX666" fmla="*/ 373085 w 851213"/>
                    <a:gd name="connsiteY666" fmla="*/ 162998 h 1394540"/>
                    <a:gd name="connsiteX667" fmla="*/ 367652 w 851213"/>
                    <a:gd name="connsiteY667" fmla="*/ 161791 h 1394540"/>
                    <a:gd name="connsiteX668" fmla="*/ 365841 w 851213"/>
                    <a:gd name="connsiteY668" fmla="*/ 159376 h 1394540"/>
                    <a:gd name="connsiteX669" fmla="*/ 367652 w 851213"/>
                    <a:gd name="connsiteY669" fmla="*/ 155754 h 1394540"/>
                    <a:gd name="connsiteX670" fmla="*/ 362822 w 851213"/>
                    <a:gd name="connsiteY670" fmla="*/ 155150 h 1394540"/>
                    <a:gd name="connsiteX671" fmla="*/ 356785 w 851213"/>
                    <a:gd name="connsiteY671" fmla="*/ 152735 h 1394540"/>
                    <a:gd name="connsiteX672" fmla="*/ 356785 w 851213"/>
                    <a:gd name="connsiteY672" fmla="*/ 147302 h 1394540"/>
                    <a:gd name="connsiteX673" fmla="*/ 352559 w 851213"/>
                    <a:gd name="connsiteY673" fmla="*/ 143076 h 1394540"/>
                    <a:gd name="connsiteX674" fmla="*/ 351955 w 851213"/>
                    <a:gd name="connsiteY674" fmla="*/ 136435 h 1394540"/>
                    <a:gd name="connsiteX675" fmla="*/ 348937 w 851213"/>
                    <a:gd name="connsiteY675" fmla="*/ 134021 h 1394540"/>
                    <a:gd name="connsiteX676" fmla="*/ 345315 w 851213"/>
                    <a:gd name="connsiteY676" fmla="*/ 128587 h 1394540"/>
                    <a:gd name="connsiteX677" fmla="*/ 342900 w 851213"/>
                    <a:gd name="connsiteY677" fmla="*/ 127380 h 1394540"/>
                    <a:gd name="connsiteX678" fmla="*/ 338070 w 851213"/>
                    <a:gd name="connsiteY678" fmla="*/ 131606 h 1394540"/>
                    <a:gd name="connsiteX679" fmla="*/ 327204 w 851213"/>
                    <a:gd name="connsiteY679" fmla="*/ 132813 h 1394540"/>
                    <a:gd name="connsiteX680" fmla="*/ 323582 w 851213"/>
                    <a:gd name="connsiteY680" fmla="*/ 130398 h 1394540"/>
                    <a:gd name="connsiteX681" fmla="*/ 321167 w 851213"/>
                    <a:gd name="connsiteY681" fmla="*/ 124361 h 1394540"/>
                    <a:gd name="connsiteX682" fmla="*/ 312715 w 851213"/>
                    <a:gd name="connsiteY682" fmla="*/ 123758 h 1394540"/>
                    <a:gd name="connsiteX683" fmla="*/ 310904 w 851213"/>
                    <a:gd name="connsiteY683" fmla="*/ 120739 h 1394540"/>
                    <a:gd name="connsiteX684" fmla="*/ 306678 w 851213"/>
                    <a:gd name="connsiteY684" fmla="*/ 120739 h 1394540"/>
                    <a:gd name="connsiteX685" fmla="*/ 302452 w 851213"/>
                    <a:gd name="connsiteY685" fmla="*/ 127984 h 1394540"/>
                    <a:gd name="connsiteX686" fmla="*/ 299434 w 851213"/>
                    <a:gd name="connsiteY686" fmla="*/ 130398 h 1394540"/>
                    <a:gd name="connsiteX687" fmla="*/ 291586 w 851213"/>
                    <a:gd name="connsiteY687" fmla="*/ 128587 h 1394540"/>
                    <a:gd name="connsiteX688" fmla="*/ 289775 w 851213"/>
                    <a:gd name="connsiteY688" fmla="*/ 135228 h 1394540"/>
                    <a:gd name="connsiteX689" fmla="*/ 286756 w 851213"/>
                    <a:gd name="connsiteY689" fmla="*/ 137643 h 1394540"/>
                    <a:gd name="connsiteX690" fmla="*/ 283738 w 851213"/>
                    <a:gd name="connsiteY690" fmla="*/ 136435 h 1394540"/>
                    <a:gd name="connsiteX691" fmla="*/ 281323 w 851213"/>
                    <a:gd name="connsiteY691" fmla="*/ 132813 h 1394540"/>
                    <a:gd name="connsiteX692" fmla="*/ 280719 w 851213"/>
                    <a:gd name="connsiteY692" fmla="*/ 123758 h 1394540"/>
                    <a:gd name="connsiteX693" fmla="*/ 275286 w 851213"/>
                    <a:gd name="connsiteY693" fmla="*/ 123154 h 1394540"/>
                    <a:gd name="connsiteX694" fmla="*/ 274079 w 851213"/>
                    <a:gd name="connsiteY694" fmla="*/ 115306 h 1394540"/>
                    <a:gd name="connsiteX695" fmla="*/ 280719 w 851213"/>
                    <a:gd name="connsiteY695" fmla="*/ 112891 h 1394540"/>
                    <a:gd name="connsiteX696" fmla="*/ 283134 w 851213"/>
                    <a:gd name="connsiteY696" fmla="*/ 99610 h 1394540"/>
                    <a:gd name="connsiteX697" fmla="*/ 289171 w 851213"/>
                    <a:gd name="connsiteY697" fmla="*/ 99610 h 1394540"/>
                    <a:gd name="connsiteX698" fmla="*/ 290378 w 851213"/>
                    <a:gd name="connsiteY698" fmla="*/ 94177 h 1394540"/>
                    <a:gd name="connsiteX699" fmla="*/ 295208 w 851213"/>
                    <a:gd name="connsiteY699" fmla="*/ 91762 h 1394540"/>
                    <a:gd name="connsiteX700" fmla="*/ 298226 w 851213"/>
                    <a:gd name="connsiteY700" fmla="*/ 85725 h 1394540"/>
                    <a:gd name="connsiteX701" fmla="*/ 295208 w 851213"/>
                    <a:gd name="connsiteY701" fmla="*/ 81499 h 1394540"/>
                    <a:gd name="connsiteX702" fmla="*/ 294604 w 851213"/>
                    <a:gd name="connsiteY702" fmla="*/ 77877 h 1394540"/>
                    <a:gd name="connsiteX703" fmla="*/ 289171 w 851213"/>
                    <a:gd name="connsiteY703" fmla="*/ 75462 h 1394540"/>
                    <a:gd name="connsiteX704" fmla="*/ 287963 w 851213"/>
                    <a:gd name="connsiteY704" fmla="*/ 73047 h 1394540"/>
                    <a:gd name="connsiteX705" fmla="*/ 289171 w 851213"/>
                    <a:gd name="connsiteY705" fmla="*/ 67010 h 1394540"/>
                    <a:gd name="connsiteX706" fmla="*/ 285549 w 851213"/>
                    <a:gd name="connsiteY706" fmla="*/ 59766 h 1394540"/>
                    <a:gd name="connsiteX707" fmla="*/ 281926 w 851213"/>
                    <a:gd name="connsiteY707" fmla="*/ 59766 h 1394540"/>
                    <a:gd name="connsiteX708" fmla="*/ 280115 w 851213"/>
                    <a:gd name="connsiteY708" fmla="*/ 56144 h 1394540"/>
                    <a:gd name="connsiteX709" fmla="*/ 283134 w 851213"/>
                    <a:gd name="connsiteY709" fmla="*/ 51918 h 1394540"/>
                    <a:gd name="connsiteX710" fmla="*/ 280115 w 851213"/>
                    <a:gd name="connsiteY710" fmla="*/ 49503 h 1394540"/>
                    <a:gd name="connsiteX711" fmla="*/ 281926 w 851213"/>
                    <a:gd name="connsiteY711" fmla="*/ 44673 h 1394540"/>
                    <a:gd name="connsiteX712" fmla="*/ 286152 w 851213"/>
                    <a:gd name="connsiteY712" fmla="*/ 43466 h 1394540"/>
                    <a:gd name="connsiteX713" fmla="*/ 292793 w 851213"/>
                    <a:gd name="connsiteY713" fmla="*/ 39844 h 1394540"/>
                    <a:gd name="connsiteX714" fmla="*/ 296415 w 851213"/>
                    <a:gd name="connsiteY714" fmla="*/ 43466 h 1394540"/>
                    <a:gd name="connsiteX715" fmla="*/ 297019 w 851213"/>
                    <a:gd name="connsiteY715" fmla="*/ 47692 h 1394540"/>
                    <a:gd name="connsiteX716" fmla="*/ 300037 w 851213"/>
                    <a:gd name="connsiteY716" fmla="*/ 48899 h 1394540"/>
                    <a:gd name="connsiteX717" fmla="*/ 301245 w 851213"/>
                    <a:gd name="connsiteY717" fmla="*/ 53729 h 1394540"/>
                    <a:gd name="connsiteX718" fmla="*/ 305471 w 851213"/>
                    <a:gd name="connsiteY718" fmla="*/ 54333 h 1394540"/>
                    <a:gd name="connsiteX719" fmla="*/ 306678 w 851213"/>
                    <a:gd name="connsiteY719" fmla="*/ 58559 h 1394540"/>
                    <a:gd name="connsiteX720" fmla="*/ 315734 w 851213"/>
                    <a:gd name="connsiteY720" fmla="*/ 64596 h 1394540"/>
                    <a:gd name="connsiteX721" fmla="*/ 324185 w 851213"/>
                    <a:gd name="connsiteY721" fmla="*/ 65803 h 1394540"/>
                    <a:gd name="connsiteX722" fmla="*/ 327808 w 851213"/>
                    <a:gd name="connsiteY722" fmla="*/ 63388 h 1394540"/>
                    <a:gd name="connsiteX723" fmla="*/ 332637 w 851213"/>
                    <a:gd name="connsiteY723" fmla="*/ 62784 h 1394540"/>
                    <a:gd name="connsiteX724" fmla="*/ 334448 w 851213"/>
                    <a:gd name="connsiteY724" fmla="*/ 60370 h 1394540"/>
                    <a:gd name="connsiteX725" fmla="*/ 341089 w 851213"/>
                    <a:gd name="connsiteY725" fmla="*/ 57955 h 1394540"/>
                    <a:gd name="connsiteX726" fmla="*/ 345315 w 851213"/>
                    <a:gd name="connsiteY726" fmla="*/ 51314 h 1394540"/>
                    <a:gd name="connsiteX727" fmla="*/ 352559 w 851213"/>
                    <a:gd name="connsiteY727" fmla="*/ 56144 h 1394540"/>
                    <a:gd name="connsiteX728" fmla="*/ 362822 w 851213"/>
                    <a:gd name="connsiteY728" fmla="*/ 53729 h 1394540"/>
                    <a:gd name="connsiteX729" fmla="*/ 370066 w 851213"/>
                    <a:gd name="connsiteY729" fmla="*/ 58559 h 1394540"/>
                    <a:gd name="connsiteX730" fmla="*/ 371878 w 851213"/>
                    <a:gd name="connsiteY730" fmla="*/ 63388 h 1394540"/>
                    <a:gd name="connsiteX731" fmla="*/ 378518 w 851213"/>
                    <a:gd name="connsiteY731" fmla="*/ 63992 h 1394540"/>
                    <a:gd name="connsiteX732" fmla="*/ 386970 w 851213"/>
                    <a:gd name="connsiteY732" fmla="*/ 62784 h 1394540"/>
                    <a:gd name="connsiteX733" fmla="*/ 390592 w 851213"/>
                    <a:gd name="connsiteY733" fmla="*/ 63992 h 1394540"/>
                    <a:gd name="connsiteX734" fmla="*/ 397836 w 851213"/>
                    <a:gd name="connsiteY734" fmla="*/ 62181 h 1394540"/>
                    <a:gd name="connsiteX735" fmla="*/ 398440 w 851213"/>
                    <a:gd name="connsiteY735" fmla="*/ 59766 h 1394540"/>
                    <a:gd name="connsiteX736" fmla="*/ 404477 w 851213"/>
                    <a:gd name="connsiteY736" fmla="*/ 56144 h 1394540"/>
                    <a:gd name="connsiteX737" fmla="*/ 403873 w 851213"/>
                    <a:gd name="connsiteY737" fmla="*/ 60973 h 1394540"/>
                    <a:gd name="connsiteX738" fmla="*/ 410514 w 851213"/>
                    <a:gd name="connsiteY738" fmla="*/ 66407 h 1394540"/>
                    <a:gd name="connsiteX739" fmla="*/ 415344 w 851213"/>
                    <a:gd name="connsiteY739" fmla="*/ 63388 h 1394540"/>
                    <a:gd name="connsiteX740" fmla="*/ 423795 w 851213"/>
                    <a:gd name="connsiteY740" fmla="*/ 66407 h 1394540"/>
                    <a:gd name="connsiteX741" fmla="*/ 434058 w 851213"/>
                    <a:gd name="connsiteY741" fmla="*/ 67010 h 1394540"/>
                    <a:gd name="connsiteX742" fmla="*/ 438888 w 851213"/>
                    <a:gd name="connsiteY742" fmla="*/ 65803 h 1394540"/>
                    <a:gd name="connsiteX743" fmla="*/ 442510 w 851213"/>
                    <a:gd name="connsiteY743" fmla="*/ 67614 h 1394540"/>
                    <a:gd name="connsiteX744" fmla="*/ 455188 w 851213"/>
                    <a:gd name="connsiteY744" fmla="*/ 65199 h 1394540"/>
                    <a:gd name="connsiteX745" fmla="*/ 458206 w 851213"/>
                    <a:gd name="connsiteY745" fmla="*/ 65803 h 1394540"/>
                    <a:gd name="connsiteX746" fmla="*/ 462432 w 851213"/>
                    <a:gd name="connsiteY746" fmla="*/ 70633 h 1394540"/>
                    <a:gd name="connsiteX747" fmla="*/ 469073 w 851213"/>
                    <a:gd name="connsiteY747" fmla="*/ 71840 h 1394540"/>
                    <a:gd name="connsiteX748" fmla="*/ 475110 w 851213"/>
                    <a:gd name="connsiteY748" fmla="*/ 69425 h 1394540"/>
                    <a:gd name="connsiteX749" fmla="*/ 473902 w 851213"/>
                    <a:gd name="connsiteY749" fmla="*/ 65199 h 1394540"/>
                    <a:gd name="connsiteX750" fmla="*/ 475713 w 851213"/>
                    <a:gd name="connsiteY750" fmla="*/ 62181 h 1394540"/>
                    <a:gd name="connsiteX751" fmla="*/ 483562 w 851213"/>
                    <a:gd name="connsiteY751" fmla="*/ 62784 h 1394540"/>
                    <a:gd name="connsiteX752" fmla="*/ 487787 w 851213"/>
                    <a:gd name="connsiteY752" fmla="*/ 59766 h 1394540"/>
                    <a:gd name="connsiteX753" fmla="*/ 492617 w 851213"/>
                    <a:gd name="connsiteY753" fmla="*/ 59162 h 1394540"/>
                    <a:gd name="connsiteX754" fmla="*/ 495032 w 851213"/>
                    <a:gd name="connsiteY754" fmla="*/ 54936 h 1394540"/>
                    <a:gd name="connsiteX755" fmla="*/ 498654 w 851213"/>
                    <a:gd name="connsiteY755" fmla="*/ 51918 h 1394540"/>
                    <a:gd name="connsiteX756" fmla="*/ 495635 w 851213"/>
                    <a:gd name="connsiteY756" fmla="*/ 48296 h 1394540"/>
                    <a:gd name="connsiteX757" fmla="*/ 497446 w 851213"/>
                    <a:gd name="connsiteY757" fmla="*/ 44070 h 1394540"/>
                    <a:gd name="connsiteX758" fmla="*/ 503483 w 851213"/>
                    <a:gd name="connsiteY758" fmla="*/ 42862 h 1394540"/>
                    <a:gd name="connsiteX759" fmla="*/ 507709 w 851213"/>
                    <a:gd name="connsiteY759" fmla="*/ 39844 h 1394540"/>
                    <a:gd name="connsiteX760" fmla="*/ 516765 w 851213"/>
                    <a:gd name="connsiteY760" fmla="*/ 40448 h 1394540"/>
                    <a:gd name="connsiteX761" fmla="*/ 517972 w 851213"/>
                    <a:gd name="connsiteY761" fmla="*/ 37429 h 1394540"/>
                    <a:gd name="connsiteX762" fmla="*/ 522198 w 851213"/>
                    <a:gd name="connsiteY762" fmla="*/ 36825 h 1394540"/>
                    <a:gd name="connsiteX763" fmla="*/ 527028 w 851213"/>
                    <a:gd name="connsiteY763" fmla="*/ 31392 h 1394540"/>
                    <a:gd name="connsiteX764" fmla="*/ 529442 w 851213"/>
                    <a:gd name="connsiteY764" fmla="*/ 31392 h 1394540"/>
                    <a:gd name="connsiteX765" fmla="*/ 531857 w 851213"/>
                    <a:gd name="connsiteY765" fmla="*/ 30788 h 1394540"/>
                    <a:gd name="connsiteX766" fmla="*/ 537894 w 851213"/>
                    <a:gd name="connsiteY766" fmla="*/ 35014 h 1394540"/>
                    <a:gd name="connsiteX767" fmla="*/ 540913 w 851213"/>
                    <a:gd name="connsiteY767" fmla="*/ 39844 h 1394540"/>
                    <a:gd name="connsiteX768" fmla="*/ 544535 w 851213"/>
                    <a:gd name="connsiteY768" fmla="*/ 42862 h 1394540"/>
                    <a:gd name="connsiteX769" fmla="*/ 553590 w 851213"/>
                    <a:gd name="connsiteY769" fmla="*/ 47692 h 1394540"/>
                    <a:gd name="connsiteX770" fmla="*/ 556005 w 851213"/>
                    <a:gd name="connsiteY770" fmla="*/ 50710 h 1394540"/>
                    <a:gd name="connsiteX771" fmla="*/ 559024 w 851213"/>
                    <a:gd name="connsiteY771" fmla="*/ 51918 h 1394540"/>
                    <a:gd name="connsiteX772" fmla="*/ 565664 w 851213"/>
                    <a:gd name="connsiteY772" fmla="*/ 50107 h 1394540"/>
                    <a:gd name="connsiteX773" fmla="*/ 576531 w 851213"/>
                    <a:gd name="connsiteY773" fmla="*/ 49503 h 1394540"/>
                    <a:gd name="connsiteX774" fmla="*/ 581360 w 851213"/>
                    <a:gd name="connsiteY774" fmla="*/ 51314 h 1394540"/>
                    <a:gd name="connsiteX775" fmla="*/ 586794 w 851213"/>
                    <a:gd name="connsiteY775" fmla="*/ 50107 h 1394540"/>
                    <a:gd name="connsiteX776" fmla="*/ 595246 w 851213"/>
                    <a:gd name="connsiteY776" fmla="*/ 47692 h 1394540"/>
                    <a:gd name="connsiteX777" fmla="*/ 598868 w 851213"/>
                    <a:gd name="connsiteY777" fmla="*/ 43466 h 1394540"/>
                    <a:gd name="connsiteX778" fmla="*/ 607923 w 851213"/>
                    <a:gd name="connsiteY778" fmla="*/ 40448 h 1394540"/>
                    <a:gd name="connsiteX779" fmla="*/ 612149 w 851213"/>
                    <a:gd name="connsiteY779" fmla="*/ 31996 h 1394540"/>
                    <a:gd name="connsiteX780" fmla="*/ 613356 w 851213"/>
                    <a:gd name="connsiteY780" fmla="*/ 25355 h 1394540"/>
                    <a:gd name="connsiteX781" fmla="*/ 626034 w 851213"/>
                    <a:gd name="connsiteY781" fmla="*/ 17507 h 1394540"/>
                    <a:gd name="connsiteX782" fmla="*/ 626034 w 851213"/>
                    <a:gd name="connsiteY782" fmla="*/ 12677 h 1394540"/>
                    <a:gd name="connsiteX783" fmla="*/ 629052 w 851213"/>
                    <a:gd name="connsiteY783" fmla="*/ 5433 h 1394540"/>
                    <a:gd name="connsiteX784" fmla="*/ 635693 w 851213"/>
                    <a:gd name="connsiteY784" fmla="*/ 0 h 1394540"/>
                    <a:gd name="connsiteX785" fmla="*/ 639919 w 851213"/>
                    <a:gd name="connsiteY785" fmla="*/ 1207 h 1394540"/>
                    <a:gd name="connsiteX786" fmla="*/ 647767 w 851213"/>
                    <a:gd name="connsiteY786" fmla="*/ 604 h 1394540"/>
                    <a:gd name="connsiteX787" fmla="*/ 651389 w 851213"/>
                    <a:gd name="connsiteY787" fmla="*/ 4226 h 1394540"/>
                    <a:gd name="connsiteX788" fmla="*/ 656823 w 851213"/>
                    <a:gd name="connsiteY788" fmla="*/ 4226 h 1394540"/>
                    <a:gd name="connsiteX789" fmla="*/ 658030 w 851213"/>
                    <a:gd name="connsiteY789" fmla="*/ 10866 h 1394540"/>
                    <a:gd name="connsiteX790" fmla="*/ 661048 w 851213"/>
                    <a:gd name="connsiteY790" fmla="*/ 13281 h 1394540"/>
                    <a:gd name="connsiteX791" fmla="*/ 667689 w 851213"/>
                    <a:gd name="connsiteY791" fmla="*/ 14489 h 1394540"/>
                    <a:gd name="connsiteX792" fmla="*/ 673726 w 851213"/>
                    <a:gd name="connsiteY792" fmla="*/ 16903 h 1394540"/>
                    <a:gd name="connsiteX793" fmla="*/ 673726 w 851213"/>
                    <a:gd name="connsiteY793" fmla="*/ 22337 h 1394540"/>
                    <a:gd name="connsiteX794" fmla="*/ 674330 w 851213"/>
                    <a:gd name="connsiteY794" fmla="*/ 30185 h 1394540"/>
                    <a:gd name="connsiteX795" fmla="*/ 679763 w 851213"/>
                    <a:gd name="connsiteY795" fmla="*/ 38033 h 1394540"/>
                    <a:gd name="connsiteX796" fmla="*/ 679763 w 851213"/>
                    <a:gd name="connsiteY796" fmla="*/ 42259 h 1394540"/>
                    <a:gd name="connsiteX797" fmla="*/ 682178 w 851213"/>
                    <a:gd name="connsiteY797" fmla="*/ 47088 h 1394540"/>
                    <a:gd name="connsiteX798" fmla="*/ 686404 w 851213"/>
                    <a:gd name="connsiteY798" fmla="*/ 47692 h 1394540"/>
                    <a:gd name="connsiteX799" fmla="*/ 688819 w 851213"/>
                    <a:gd name="connsiteY799" fmla="*/ 54333 h 1394540"/>
                    <a:gd name="connsiteX800" fmla="*/ 692441 w 851213"/>
                    <a:gd name="connsiteY800" fmla="*/ 56144 h 1394540"/>
                    <a:gd name="connsiteX801" fmla="*/ 703911 w 851213"/>
                    <a:gd name="connsiteY801" fmla="*/ 57955 h 1394540"/>
                    <a:gd name="connsiteX802" fmla="*/ 704515 w 851213"/>
                    <a:gd name="connsiteY802" fmla="*/ 61577 h 1394540"/>
                    <a:gd name="connsiteX803" fmla="*/ 707533 w 851213"/>
                    <a:gd name="connsiteY803" fmla="*/ 63388 h 1394540"/>
                    <a:gd name="connsiteX804" fmla="*/ 712363 w 851213"/>
                    <a:gd name="connsiteY804" fmla="*/ 63388 h 1394540"/>
                    <a:gd name="connsiteX805" fmla="*/ 712363 w 851213"/>
                    <a:gd name="connsiteY805" fmla="*/ 66407 h 1394540"/>
                    <a:gd name="connsiteX806" fmla="*/ 715381 w 851213"/>
                    <a:gd name="connsiteY806" fmla="*/ 70633 h 1394540"/>
                    <a:gd name="connsiteX807" fmla="*/ 715985 w 851213"/>
                    <a:gd name="connsiteY807" fmla="*/ 74255 h 1394540"/>
                    <a:gd name="connsiteX808" fmla="*/ 719003 w 851213"/>
                    <a:gd name="connsiteY808" fmla="*/ 78481 h 1394540"/>
                    <a:gd name="connsiteX809" fmla="*/ 719607 w 851213"/>
                    <a:gd name="connsiteY809" fmla="*/ 89347 h 1394540"/>
                    <a:gd name="connsiteX810" fmla="*/ 715985 w 851213"/>
                    <a:gd name="connsiteY810" fmla="*/ 94177 h 1394540"/>
                    <a:gd name="connsiteX811" fmla="*/ 723833 w 851213"/>
                    <a:gd name="connsiteY811" fmla="*/ 102025 h 1394540"/>
                    <a:gd name="connsiteX812" fmla="*/ 723229 w 851213"/>
                    <a:gd name="connsiteY812" fmla="*/ 106854 h 1394540"/>
                    <a:gd name="connsiteX813" fmla="*/ 726851 w 851213"/>
                    <a:gd name="connsiteY813" fmla="*/ 108062 h 1394540"/>
                    <a:gd name="connsiteX814" fmla="*/ 728662 w 851213"/>
                    <a:gd name="connsiteY814" fmla="*/ 112891 h 1394540"/>
                    <a:gd name="connsiteX815" fmla="*/ 735303 w 851213"/>
                    <a:gd name="connsiteY815" fmla="*/ 117117 h 1394540"/>
                    <a:gd name="connsiteX816" fmla="*/ 738322 w 851213"/>
                    <a:gd name="connsiteY816" fmla="*/ 116513 h 1394540"/>
                    <a:gd name="connsiteX817" fmla="*/ 761866 w 851213"/>
                    <a:gd name="connsiteY817" fmla="*/ 121343 h 1394540"/>
                    <a:gd name="connsiteX818" fmla="*/ 760658 w 851213"/>
                    <a:gd name="connsiteY818" fmla="*/ 114702 h 1394540"/>
                    <a:gd name="connsiteX819" fmla="*/ 762470 w 851213"/>
                    <a:gd name="connsiteY819" fmla="*/ 108062 h 1394540"/>
                    <a:gd name="connsiteX820" fmla="*/ 769714 w 851213"/>
                    <a:gd name="connsiteY820" fmla="*/ 106251 h 1394540"/>
                    <a:gd name="connsiteX821" fmla="*/ 775147 w 851213"/>
                    <a:gd name="connsiteY821" fmla="*/ 108665 h 1394540"/>
                    <a:gd name="connsiteX822" fmla="*/ 779373 w 851213"/>
                    <a:gd name="connsiteY822" fmla="*/ 112891 h 1394540"/>
                    <a:gd name="connsiteX823" fmla="*/ 779977 w 851213"/>
                    <a:gd name="connsiteY823" fmla="*/ 120739 h 1394540"/>
                    <a:gd name="connsiteX824" fmla="*/ 779977 w 851213"/>
                    <a:gd name="connsiteY824" fmla="*/ 125569 h 1394540"/>
                    <a:gd name="connsiteX825" fmla="*/ 776958 w 851213"/>
                    <a:gd name="connsiteY825" fmla="*/ 135832 h 1394540"/>
                    <a:gd name="connsiteX826" fmla="*/ 774544 w 851213"/>
                    <a:gd name="connsiteY826" fmla="*/ 137039 h 1394540"/>
                    <a:gd name="connsiteX827" fmla="*/ 768507 w 851213"/>
                    <a:gd name="connsiteY827" fmla="*/ 147302 h 1394540"/>
                    <a:gd name="connsiteX828" fmla="*/ 770921 w 851213"/>
                    <a:gd name="connsiteY828" fmla="*/ 152132 h 1394540"/>
                    <a:gd name="connsiteX829" fmla="*/ 768507 w 851213"/>
                    <a:gd name="connsiteY829" fmla="*/ 159376 h 1394540"/>
                    <a:gd name="connsiteX830" fmla="*/ 768507 w 851213"/>
                    <a:gd name="connsiteY830" fmla="*/ 163602 h 1394540"/>
                    <a:gd name="connsiteX831" fmla="*/ 771525 w 851213"/>
                    <a:gd name="connsiteY831" fmla="*/ 167224 h 1394540"/>
                    <a:gd name="connsiteX832" fmla="*/ 776355 w 851213"/>
                    <a:gd name="connsiteY832" fmla="*/ 168431 h 1394540"/>
                    <a:gd name="connsiteX833" fmla="*/ 779373 w 851213"/>
                    <a:gd name="connsiteY833" fmla="*/ 163602 h 1394540"/>
                    <a:gd name="connsiteX834" fmla="*/ 784203 w 851213"/>
                    <a:gd name="connsiteY834" fmla="*/ 163602 h 1394540"/>
                    <a:gd name="connsiteX835" fmla="*/ 785410 w 851213"/>
                    <a:gd name="connsiteY835" fmla="*/ 169035 h 1394540"/>
                    <a:gd name="connsiteX836" fmla="*/ 789636 w 851213"/>
                    <a:gd name="connsiteY836" fmla="*/ 173865 h 1394540"/>
                    <a:gd name="connsiteX837" fmla="*/ 787221 w 851213"/>
                    <a:gd name="connsiteY837" fmla="*/ 178694 h 1394540"/>
                    <a:gd name="connsiteX838" fmla="*/ 788429 w 851213"/>
                    <a:gd name="connsiteY838" fmla="*/ 182317 h 1394540"/>
                    <a:gd name="connsiteX839" fmla="*/ 785410 w 851213"/>
                    <a:gd name="connsiteY839" fmla="*/ 193787 h 1394540"/>
                    <a:gd name="connsiteX840" fmla="*/ 786618 w 851213"/>
                    <a:gd name="connsiteY840" fmla="*/ 203446 h 1394540"/>
                    <a:gd name="connsiteX841" fmla="*/ 784203 w 851213"/>
                    <a:gd name="connsiteY841" fmla="*/ 206465 h 1394540"/>
                    <a:gd name="connsiteX842" fmla="*/ 781184 w 851213"/>
                    <a:gd name="connsiteY842" fmla="*/ 213105 h 1394540"/>
                    <a:gd name="connsiteX843" fmla="*/ 781788 w 851213"/>
                    <a:gd name="connsiteY843" fmla="*/ 216727 h 1394540"/>
                    <a:gd name="connsiteX844" fmla="*/ 789032 w 851213"/>
                    <a:gd name="connsiteY844" fmla="*/ 223972 h 1394540"/>
                    <a:gd name="connsiteX845" fmla="*/ 793258 w 851213"/>
                    <a:gd name="connsiteY845" fmla="*/ 223368 h 1394540"/>
                    <a:gd name="connsiteX846" fmla="*/ 798088 w 851213"/>
                    <a:gd name="connsiteY846" fmla="*/ 228197 h 1394540"/>
                    <a:gd name="connsiteX847" fmla="*/ 801106 w 851213"/>
                    <a:gd name="connsiteY847" fmla="*/ 228801 h 1394540"/>
                    <a:gd name="connsiteX848" fmla="*/ 801710 w 851213"/>
                    <a:gd name="connsiteY848" fmla="*/ 233631 h 1394540"/>
                    <a:gd name="connsiteX849" fmla="*/ 800503 w 851213"/>
                    <a:gd name="connsiteY849" fmla="*/ 240875 h 1394540"/>
                    <a:gd name="connsiteX850" fmla="*/ 804729 w 851213"/>
                    <a:gd name="connsiteY850" fmla="*/ 250534 h 1394540"/>
                    <a:gd name="connsiteX851" fmla="*/ 805332 w 851213"/>
                    <a:gd name="connsiteY851" fmla="*/ 255967 h 1394540"/>
                    <a:gd name="connsiteX852" fmla="*/ 809558 w 851213"/>
                    <a:gd name="connsiteY852" fmla="*/ 254156 h 1394540"/>
                    <a:gd name="connsiteX853" fmla="*/ 809558 w 851213"/>
                    <a:gd name="connsiteY853" fmla="*/ 248723 h 1394540"/>
                    <a:gd name="connsiteX854" fmla="*/ 811973 w 851213"/>
                    <a:gd name="connsiteY854" fmla="*/ 242686 h 1394540"/>
                    <a:gd name="connsiteX855" fmla="*/ 819821 w 851213"/>
                    <a:gd name="connsiteY855" fmla="*/ 252949 h 1394540"/>
                    <a:gd name="connsiteX856" fmla="*/ 824047 w 851213"/>
                    <a:gd name="connsiteY856" fmla="*/ 252345 h 1394540"/>
                    <a:gd name="connsiteX857" fmla="*/ 827065 w 851213"/>
                    <a:gd name="connsiteY857" fmla="*/ 254156 h 1394540"/>
                    <a:gd name="connsiteX858" fmla="*/ 830687 w 851213"/>
                    <a:gd name="connsiteY858" fmla="*/ 252345 h 1394540"/>
                    <a:gd name="connsiteX859" fmla="*/ 832498 w 851213"/>
                    <a:gd name="connsiteY859" fmla="*/ 256571 h 1394540"/>
                    <a:gd name="connsiteX860" fmla="*/ 838535 w 851213"/>
                    <a:gd name="connsiteY860" fmla="*/ 254760 h 1394540"/>
                    <a:gd name="connsiteX861" fmla="*/ 843365 w 851213"/>
                    <a:gd name="connsiteY861" fmla="*/ 252345 h 1394540"/>
                    <a:gd name="connsiteX862" fmla="*/ 851213 w 851213"/>
                    <a:gd name="connsiteY862" fmla="*/ 253553 h 1394540"/>
                    <a:gd name="connsiteX863" fmla="*/ 855439 w 851213"/>
                    <a:gd name="connsiteY863" fmla="*/ 261401 h 1394540"/>
                    <a:gd name="connsiteX864" fmla="*/ 852420 w 851213"/>
                    <a:gd name="connsiteY864" fmla="*/ 270456 h 1394540"/>
                    <a:gd name="connsiteX865" fmla="*/ 852420 w 851213"/>
                    <a:gd name="connsiteY865" fmla="*/ 275890 h 1394540"/>
                    <a:gd name="connsiteX866" fmla="*/ 848798 w 851213"/>
                    <a:gd name="connsiteY866" fmla="*/ 278908 h 1394540"/>
                    <a:gd name="connsiteX867" fmla="*/ 842761 w 851213"/>
                    <a:gd name="connsiteY867" fmla="*/ 278908 h 1394540"/>
                    <a:gd name="connsiteX868" fmla="*/ 840950 w 851213"/>
                    <a:gd name="connsiteY868" fmla="*/ 281323 h 1394540"/>
                    <a:gd name="connsiteX869" fmla="*/ 840346 w 851213"/>
                    <a:gd name="connsiteY869" fmla="*/ 288567 h 1394540"/>
                    <a:gd name="connsiteX870" fmla="*/ 839139 w 851213"/>
                    <a:gd name="connsiteY870" fmla="*/ 292793 h 1394540"/>
                    <a:gd name="connsiteX871" fmla="*/ 834913 w 851213"/>
                    <a:gd name="connsiteY871" fmla="*/ 295208 h 1394540"/>
                    <a:gd name="connsiteX872" fmla="*/ 833706 w 851213"/>
                    <a:gd name="connsiteY872" fmla="*/ 300641 h 1394540"/>
                    <a:gd name="connsiteX873" fmla="*/ 828876 w 851213"/>
                    <a:gd name="connsiteY873" fmla="*/ 300641 h 1394540"/>
                    <a:gd name="connsiteX874" fmla="*/ 821632 w 851213"/>
                    <a:gd name="connsiteY874" fmla="*/ 307282 h 1394540"/>
                    <a:gd name="connsiteX875" fmla="*/ 822839 w 851213"/>
                    <a:gd name="connsiteY875" fmla="*/ 317545 h 1394540"/>
                    <a:gd name="connsiteX876" fmla="*/ 819217 w 851213"/>
                    <a:gd name="connsiteY876" fmla="*/ 322978 h 1394540"/>
                    <a:gd name="connsiteX877" fmla="*/ 815595 w 851213"/>
                    <a:gd name="connsiteY877" fmla="*/ 322978 h 1394540"/>
                    <a:gd name="connsiteX878" fmla="*/ 811973 w 851213"/>
                    <a:gd name="connsiteY878" fmla="*/ 325996 h 1394540"/>
                    <a:gd name="connsiteX879" fmla="*/ 805936 w 851213"/>
                    <a:gd name="connsiteY879" fmla="*/ 329619 h 1394540"/>
                    <a:gd name="connsiteX880" fmla="*/ 791447 w 851213"/>
                    <a:gd name="connsiteY880" fmla="*/ 329015 h 1394540"/>
                    <a:gd name="connsiteX881" fmla="*/ 784806 w 851213"/>
                    <a:gd name="connsiteY881" fmla="*/ 338674 h 1394540"/>
                    <a:gd name="connsiteX882" fmla="*/ 779373 w 851213"/>
                    <a:gd name="connsiteY882" fmla="*/ 339881 h 1394540"/>
                    <a:gd name="connsiteX883" fmla="*/ 776355 w 851213"/>
                    <a:gd name="connsiteY883" fmla="*/ 344107 h 1394540"/>
                    <a:gd name="connsiteX884" fmla="*/ 775147 w 851213"/>
                    <a:gd name="connsiteY884" fmla="*/ 350748 h 1394540"/>
                    <a:gd name="connsiteX885" fmla="*/ 775751 w 851213"/>
                    <a:gd name="connsiteY885" fmla="*/ 354974 h 139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Lst>
                  <a:rect l="l" t="t" r="r" b="b"/>
                  <a:pathLst>
                    <a:path w="851213" h="1394540">
                      <a:moveTo>
                        <a:pt x="775751" y="354974"/>
                      </a:moveTo>
                      <a:lnTo>
                        <a:pt x="770318" y="355577"/>
                      </a:lnTo>
                      <a:lnTo>
                        <a:pt x="770318" y="359200"/>
                      </a:lnTo>
                      <a:lnTo>
                        <a:pt x="777562" y="362822"/>
                      </a:lnTo>
                      <a:lnTo>
                        <a:pt x="779373" y="365840"/>
                      </a:lnTo>
                      <a:lnTo>
                        <a:pt x="783599" y="367651"/>
                      </a:lnTo>
                      <a:lnTo>
                        <a:pt x="783599" y="374292"/>
                      </a:lnTo>
                      <a:lnTo>
                        <a:pt x="778166" y="380933"/>
                      </a:lnTo>
                      <a:lnTo>
                        <a:pt x="775147" y="388781"/>
                      </a:lnTo>
                      <a:lnTo>
                        <a:pt x="768507" y="391196"/>
                      </a:lnTo>
                      <a:lnTo>
                        <a:pt x="757640" y="390592"/>
                      </a:lnTo>
                      <a:lnTo>
                        <a:pt x="754018" y="395422"/>
                      </a:lnTo>
                      <a:lnTo>
                        <a:pt x="746170" y="394214"/>
                      </a:lnTo>
                      <a:lnTo>
                        <a:pt x="742547" y="398440"/>
                      </a:lnTo>
                      <a:lnTo>
                        <a:pt x="738322" y="400855"/>
                      </a:lnTo>
                      <a:lnTo>
                        <a:pt x="738322" y="405081"/>
                      </a:lnTo>
                      <a:lnTo>
                        <a:pt x="733492" y="406288"/>
                      </a:lnTo>
                      <a:lnTo>
                        <a:pt x="729266" y="409910"/>
                      </a:lnTo>
                      <a:lnTo>
                        <a:pt x="728059" y="413533"/>
                      </a:lnTo>
                      <a:lnTo>
                        <a:pt x="722625" y="417155"/>
                      </a:lnTo>
                      <a:lnTo>
                        <a:pt x="711759" y="416551"/>
                      </a:lnTo>
                      <a:lnTo>
                        <a:pt x="704515" y="420777"/>
                      </a:lnTo>
                      <a:lnTo>
                        <a:pt x="702100" y="420777"/>
                      </a:lnTo>
                      <a:lnTo>
                        <a:pt x="696667" y="427418"/>
                      </a:lnTo>
                      <a:lnTo>
                        <a:pt x="693648" y="435869"/>
                      </a:lnTo>
                      <a:lnTo>
                        <a:pt x="683989" y="448547"/>
                      </a:lnTo>
                      <a:lnTo>
                        <a:pt x="692441" y="456395"/>
                      </a:lnTo>
                      <a:lnTo>
                        <a:pt x="689422" y="458810"/>
                      </a:lnTo>
                      <a:lnTo>
                        <a:pt x="679763" y="458810"/>
                      </a:lnTo>
                      <a:lnTo>
                        <a:pt x="679159" y="466054"/>
                      </a:lnTo>
                      <a:lnTo>
                        <a:pt x="682178" y="469676"/>
                      </a:lnTo>
                      <a:lnTo>
                        <a:pt x="679159" y="476317"/>
                      </a:lnTo>
                      <a:lnTo>
                        <a:pt x="679159" y="478732"/>
                      </a:lnTo>
                      <a:lnTo>
                        <a:pt x="683989" y="483561"/>
                      </a:lnTo>
                      <a:lnTo>
                        <a:pt x="682782" y="485976"/>
                      </a:lnTo>
                      <a:lnTo>
                        <a:pt x="690026" y="487184"/>
                      </a:lnTo>
                      <a:lnTo>
                        <a:pt x="692441" y="490806"/>
                      </a:lnTo>
                      <a:lnTo>
                        <a:pt x="687008" y="499258"/>
                      </a:lnTo>
                      <a:lnTo>
                        <a:pt x="689422" y="503483"/>
                      </a:lnTo>
                      <a:lnTo>
                        <a:pt x="687008" y="508917"/>
                      </a:lnTo>
                      <a:lnTo>
                        <a:pt x="678556" y="508313"/>
                      </a:lnTo>
                      <a:lnTo>
                        <a:pt x="679763" y="516765"/>
                      </a:lnTo>
                      <a:lnTo>
                        <a:pt x="676745" y="516765"/>
                      </a:lnTo>
                      <a:lnTo>
                        <a:pt x="670104" y="513143"/>
                      </a:lnTo>
                      <a:lnTo>
                        <a:pt x="667085" y="520991"/>
                      </a:lnTo>
                      <a:lnTo>
                        <a:pt x="668897" y="528235"/>
                      </a:lnTo>
                      <a:lnTo>
                        <a:pt x="662860" y="538498"/>
                      </a:lnTo>
                      <a:lnTo>
                        <a:pt x="658030" y="539102"/>
                      </a:lnTo>
                      <a:lnTo>
                        <a:pt x="655615" y="543327"/>
                      </a:lnTo>
                      <a:lnTo>
                        <a:pt x="659841" y="547553"/>
                      </a:lnTo>
                      <a:lnTo>
                        <a:pt x="668293" y="551175"/>
                      </a:lnTo>
                      <a:lnTo>
                        <a:pt x="665878" y="553590"/>
                      </a:lnTo>
                      <a:lnTo>
                        <a:pt x="664067" y="558420"/>
                      </a:lnTo>
                      <a:lnTo>
                        <a:pt x="659841" y="556005"/>
                      </a:lnTo>
                      <a:lnTo>
                        <a:pt x="659841" y="548761"/>
                      </a:lnTo>
                      <a:lnTo>
                        <a:pt x="654408" y="551779"/>
                      </a:lnTo>
                      <a:lnTo>
                        <a:pt x="647163" y="556609"/>
                      </a:lnTo>
                      <a:lnTo>
                        <a:pt x="644749" y="560231"/>
                      </a:lnTo>
                      <a:lnTo>
                        <a:pt x="643541" y="565664"/>
                      </a:lnTo>
                      <a:lnTo>
                        <a:pt x="644145" y="571097"/>
                      </a:lnTo>
                      <a:lnTo>
                        <a:pt x="641730" y="574116"/>
                      </a:lnTo>
                      <a:lnTo>
                        <a:pt x="639315" y="584982"/>
                      </a:lnTo>
                      <a:lnTo>
                        <a:pt x="641126" y="594038"/>
                      </a:lnTo>
                      <a:lnTo>
                        <a:pt x="645352" y="595849"/>
                      </a:lnTo>
                      <a:lnTo>
                        <a:pt x="647767" y="601886"/>
                      </a:lnTo>
                      <a:lnTo>
                        <a:pt x="650182" y="604301"/>
                      </a:lnTo>
                      <a:lnTo>
                        <a:pt x="650182" y="612753"/>
                      </a:lnTo>
                      <a:lnTo>
                        <a:pt x="651993" y="615167"/>
                      </a:lnTo>
                      <a:lnTo>
                        <a:pt x="645956" y="617582"/>
                      </a:lnTo>
                      <a:lnTo>
                        <a:pt x="632675" y="612149"/>
                      </a:lnTo>
                      <a:lnTo>
                        <a:pt x="624826" y="609734"/>
                      </a:lnTo>
                      <a:lnTo>
                        <a:pt x="623619" y="616375"/>
                      </a:lnTo>
                      <a:lnTo>
                        <a:pt x="621204" y="619393"/>
                      </a:lnTo>
                      <a:lnTo>
                        <a:pt x="622412" y="625430"/>
                      </a:lnTo>
                      <a:lnTo>
                        <a:pt x="624826" y="627241"/>
                      </a:lnTo>
                      <a:lnTo>
                        <a:pt x="624223" y="633278"/>
                      </a:lnTo>
                      <a:lnTo>
                        <a:pt x="618789" y="631467"/>
                      </a:lnTo>
                      <a:lnTo>
                        <a:pt x="615167" y="633278"/>
                      </a:lnTo>
                      <a:lnTo>
                        <a:pt x="612753" y="636901"/>
                      </a:lnTo>
                      <a:lnTo>
                        <a:pt x="613960" y="642938"/>
                      </a:lnTo>
                      <a:lnTo>
                        <a:pt x="611545" y="647767"/>
                      </a:lnTo>
                      <a:lnTo>
                        <a:pt x="608527" y="661652"/>
                      </a:lnTo>
                      <a:lnTo>
                        <a:pt x="601886" y="663463"/>
                      </a:lnTo>
                      <a:lnTo>
                        <a:pt x="596453" y="669500"/>
                      </a:lnTo>
                      <a:lnTo>
                        <a:pt x="593434" y="670104"/>
                      </a:lnTo>
                      <a:lnTo>
                        <a:pt x="583775" y="668896"/>
                      </a:lnTo>
                      <a:lnTo>
                        <a:pt x="577135" y="666482"/>
                      </a:lnTo>
                      <a:lnTo>
                        <a:pt x="571098" y="660445"/>
                      </a:lnTo>
                      <a:lnTo>
                        <a:pt x="564457" y="657426"/>
                      </a:lnTo>
                      <a:lnTo>
                        <a:pt x="561438" y="658030"/>
                      </a:lnTo>
                      <a:lnTo>
                        <a:pt x="559627" y="653804"/>
                      </a:lnTo>
                      <a:lnTo>
                        <a:pt x="557212" y="656219"/>
                      </a:lnTo>
                      <a:lnTo>
                        <a:pt x="552987" y="657426"/>
                      </a:lnTo>
                      <a:lnTo>
                        <a:pt x="548761" y="656219"/>
                      </a:lnTo>
                      <a:lnTo>
                        <a:pt x="543931" y="659841"/>
                      </a:lnTo>
                      <a:lnTo>
                        <a:pt x="536083" y="656219"/>
                      </a:lnTo>
                      <a:lnTo>
                        <a:pt x="530046" y="657426"/>
                      </a:lnTo>
                      <a:lnTo>
                        <a:pt x="524009" y="661048"/>
                      </a:lnTo>
                      <a:lnTo>
                        <a:pt x="519180" y="657426"/>
                      </a:lnTo>
                      <a:lnTo>
                        <a:pt x="511331" y="657426"/>
                      </a:lnTo>
                      <a:lnTo>
                        <a:pt x="507106" y="658634"/>
                      </a:lnTo>
                      <a:lnTo>
                        <a:pt x="504087" y="657426"/>
                      </a:lnTo>
                      <a:lnTo>
                        <a:pt x="493824" y="659237"/>
                      </a:lnTo>
                      <a:lnTo>
                        <a:pt x="493221" y="662256"/>
                      </a:lnTo>
                      <a:lnTo>
                        <a:pt x="495635" y="670104"/>
                      </a:lnTo>
                      <a:lnTo>
                        <a:pt x="492013" y="675537"/>
                      </a:lnTo>
                      <a:lnTo>
                        <a:pt x="488391" y="678555"/>
                      </a:lnTo>
                      <a:lnTo>
                        <a:pt x="490806" y="684592"/>
                      </a:lnTo>
                      <a:lnTo>
                        <a:pt x="487184" y="691233"/>
                      </a:lnTo>
                      <a:lnTo>
                        <a:pt x="482958" y="695459"/>
                      </a:lnTo>
                      <a:lnTo>
                        <a:pt x="476921" y="705118"/>
                      </a:lnTo>
                      <a:lnTo>
                        <a:pt x="462432" y="714777"/>
                      </a:lnTo>
                      <a:lnTo>
                        <a:pt x="462432" y="720814"/>
                      </a:lnTo>
                      <a:lnTo>
                        <a:pt x="461225" y="726248"/>
                      </a:lnTo>
                      <a:lnTo>
                        <a:pt x="457602" y="728663"/>
                      </a:lnTo>
                      <a:lnTo>
                        <a:pt x="456395" y="731681"/>
                      </a:lnTo>
                      <a:lnTo>
                        <a:pt x="452773" y="729870"/>
                      </a:lnTo>
                      <a:lnTo>
                        <a:pt x="448547" y="731077"/>
                      </a:lnTo>
                      <a:lnTo>
                        <a:pt x="446132" y="728663"/>
                      </a:lnTo>
                      <a:lnTo>
                        <a:pt x="445528" y="722626"/>
                      </a:lnTo>
                      <a:lnTo>
                        <a:pt x="441906" y="721418"/>
                      </a:lnTo>
                      <a:lnTo>
                        <a:pt x="438888" y="722626"/>
                      </a:lnTo>
                      <a:lnTo>
                        <a:pt x="434058" y="718400"/>
                      </a:lnTo>
                      <a:lnTo>
                        <a:pt x="431644" y="727455"/>
                      </a:lnTo>
                      <a:lnTo>
                        <a:pt x="432851" y="738925"/>
                      </a:lnTo>
                      <a:lnTo>
                        <a:pt x="431644" y="745566"/>
                      </a:lnTo>
                      <a:lnTo>
                        <a:pt x="434058" y="752207"/>
                      </a:lnTo>
                      <a:lnTo>
                        <a:pt x="433455" y="758847"/>
                      </a:lnTo>
                      <a:lnTo>
                        <a:pt x="438284" y="767299"/>
                      </a:lnTo>
                      <a:lnTo>
                        <a:pt x="438284" y="773940"/>
                      </a:lnTo>
                      <a:lnTo>
                        <a:pt x="435869" y="779977"/>
                      </a:lnTo>
                      <a:lnTo>
                        <a:pt x="432247" y="781788"/>
                      </a:lnTo>
                      <a:lnTo>
                        <a:pt x="433455" y="786014"/>
                      </a:lnTo>
                      <a:lnTo>
                        <a:pt x="429229" y="790843"/>
                      </a:lnTo>
                      <a:lnTo>
                        <a:pt x="434662" y="797484"/>
                      </a:lnTo>
                      <a:lnTo>
                        <a:pt x="441303" y="800502"/>
                      </a:lnTo>
                      <a:lnTo>
                        <a:pt x="442510" y="813180"/>
                      </a:lnTo>
                      <a:lnTo>
                        <a:pt x="449151" y="811973"/>
                      </a:lnTo>
                      <a:lnTo>
                        <a:pt x="448547" y="816199"/>
                      </a:lnTo>
                      <a:lnTo>
                        <a:pt x="450962" y="819217"/>
                      </a:lnTo>
                      <a:lnTo>
                        <a:pt x="450358" y="822236"/>
                      </a:lnTo>
                      <a:lnTo>
                        <a:pt x="447340" y="824047"/>
                      </a:lnTo>
                      <a:lnTo>
                        <a:pt x="447340" y="829480"/>
                      </a:lnTo>
                      <a:lnTo>
                        <a:pt x="443717" y="839139"/>
                      </a:lnTo>
                      <a:lnTo>
                        <a:pt x="449754" y="844572"/>
                      </a:lnTo>
                      <a:lnTo>
                        <a:pt x="450962" y="851213"/>
                      </a:lnTo>
                      <a:lnTo>
                        <a:pt x="446132" y="854835"/>
                      </a:lnTo>
                      <a:lnTo>
                        <a:pt x="446132" y="860269"/>
                      </a:lnTo>
                      <a:lnTo>
                        <a:pt x="447943" y="868117"/>
                      </a:lnTo>
                      <a:lnTo>
                        <a:pt x="446132" y="873550"/>
                      </a:lnTo>
                      <a:lnTo>
                        <a:pt x="441906" y="877172"/>
                      </a:lnTo>
                      <a:lnTo>
                        <a:pt x="440699" y="880794"/>
                      </a:lnTo>
                      <a:lnTo>
                        <a:pt x="443114" y="886227"/>
                      </a:lnTo>
                      <a:lnTo>
                        <a:pt x="444321" y="892868"/>
                      </a:lnTo>
                      <a:lnTo>
                        <a:pt x="443114" y="899509"/>
                      </a:lnTo>
                      <a:lnTo>
                        <a:pt x="444321" y="901923"/>
                      </a:lnTo>
                      <a:lnTo>
                        <a:pt x="453980" y="904942"/>
                      </a:lnTo>
                      <a:lnTo>
                        <a:pt x="460621" y="906149"/>
                      </a:lnTo>
                      <a:lnTo>
                        <a:pt x="466054" y="909772"/>
                      </a:lnTo>
                      <a:lnTo>
                        <a:pt x="474506" y="909772"/>
                      </a:lnTo>
                      <a:lnTo>
                        <a:pt x="481750" y="912790"/>
                      </a:lnTo>
                      <a:lnTo>
                        <a:pt x="482958" y="914601"/>
                      </a:lnTo>
                      <a:lnTo>
                        <a:pt x="489598" y="915205"/>
                      </a:lnTo>
                      <a:lnTo>
                        <a:pt x="491409" y="913394"/>
                      </a:lnTo>
                      <a:lnTo>
                        <a:pt x="496843" y="912790"/>
                      </a:lnTo>
                      <a:lnTo>
                        <a:pt x="507106" y="913997"/>
                      </a:lnTo>
                      <a:lnTo>
                        <a:pt x="509520" y="916412"/>
                      </a:lnTo>
                      <a:lnTo>
                        <a:pt x="508917" y="924260"/>
                      </a:lnTo>
                      <a:lnTo>
                        <a:pt x="507106" y="933316"/>
                      </a:lnTo>
                      <a:lnTo>
                        <a:pt x="509520" y="945994"/>
                      </a:lnTo>
                      <a:lnTo>
                        <a:pt x="506502" y="950823"/>
                      </a:lnTo>
                      <a:lnTo>
                        <a:pt x="495635" y="950823"/>
                      </a:lnTo>
                      <a:lnTo>
                        <a:pt x="490202" y="959275"/>
                      </a:lnTo>
                      <a:lnTo>
                        <a:pt x="481750" y="961690"/>
                      </a:lnTo>
                      <a:lnTo>
                        <a:pt x="480543" y="956256"/>
                      </a:lnTo>
                      <a:lnTo>
                        <a:pt x="480543" y="950219"/>
                      </a:lnTo>
                      <a:lnTo>
                        <a:pt x="485976" y="942975"/>
                      </a:lnTo>
                      <a:lnTo>
                        <a:pt x="479336" y="940560"/>
                      </a:lnTo>
                      <a:lnTo>
                        <a:pt x="475110" y="941164"/>
                      </a:lnTo>
                      <a:lnTo>
                        <a:pt x="472091" y="938749"/>
                      </a:lnTo>
                      <a:lnTo>
                        <a:pt x="465451" y="937542"/>
                      </a:lnTo>
                      <a:lnTo>
                        <a:pt x="460621" y="934523"/>
                      </a:lnTo>
                      <a:lnTo>
                        <a:pt x="456999" y="935731"/>
                      </a:lnTo>
                      <a:lnTo>
                        <a:pt x="453980" y="933920"/>
                      </a:lnTo>
                      <a:lnTo>
                        <a:pt x="447943" y="935127"/>
                      </a:lnTo>
                      <a:lnTo>
                        <a:pt x="443114" y="938749"/>
                      </a:lnTo>
                      <a:lnTo>
                        <a:pt x="438888" y="944786"/>
                      </a:lnTo>
                      <a:lnTo>
                        <a:pt x="432851" y="949616"/>
                      </a:lnTo>
                      <a:lnTo>
                        <a:pt x="429832" y="947805"/>
                      </a:lnTo>
                      <a:lnTo>
                        <a:pt x="428021" y="943579"/>
                      </a:lnTo>
                      <a:lnTo>
                        <a:pt x="424399" y="938145"/>
                      </a:lnTo>
                      <a:lnTo>
                        <a:pt x="423795" y="934523"/>
                      </a:lnTo>
                      <a:lnTo>
                        <a:pt x="418362" y="924864"/>
                      </a:lnTo>
                      <a:lnTo>
                        <a:pt x="416551" y="918827"/>
                      </a:lnTo>
                      <a:lnTo>
                        <a:pt x="410514" y="912790"/>
                      </a:lnTo>
                      <a:lnTo>
                        <a:pt x="405081" y="917016"/>
                      </a:lnTo>
                      <a:lnTo>
                        <a:pt x="400855" y="917016"/>
                      </a:lnTo>
                      <a:lnTo>
                        <a:pt x="397233" y="913394"/>
                      </a:lnTo>
                      <a:lnTo>
                        <a:pt x="389988" y="909772"/>
                      </a:lnTo>
                      <a:lnTo>
                        <a:pt x="386366" y="910375"/>
                      </a:lnTo>
                      <a:lnTo>
                        <a:pt x="374896" y="901923"/>
                      </a:lnTo>
                      <a:lnTo>
                        <a:pt x="373085" y="904942"/>
                      </a:lnTo>
                      <a:lnTo>
                        <a:pt x="365841" y="908564"/>
                      </a:lnTo>
                      <a:lnTo>
                        <a:pt x="365237" y="903735"/>
                      </a:lnTo>
                      <a:lnTo>
                        <a:pt x="361011" y="901923"/>
                      </a:lnTo>
                      <a:lnTo>
                        <a:pt x="357389" y="895886"/>
                      </a:lnTo>
                      <a:lnTo>
                        <a:pt x="351352" y="890453"/>
                      </a:lnTo>
                      <a:lnTo>
                        <a:pt x="348937" y="891057"/>
                      </a:lnTo>
                      <a:lnTo>
                        <a:pt x="339881" y="903131"/>
                      </a:lnTo>
                      <a:lnTo>
                        <a:pt x="336863" y="902527"/>
                      </a:lnTo>
                      <a:lnTo>
                        <a:pt x="333844" y="907357"/>
                      </a:lnTo>
                      <a:lnTo>
                        <a:pt x="331430" y="918827"/>
                      </a:lnTo>
                      <a:lnTo>
                        <a:pt x="329015" y="923657"/>
                      </a:lnTo>
                      <a:lnTo>
                        <a:pt x="331430" y="926071"/>
                      </a:lnTo>
                      <a:lnTo>
                        <a:pt x="330826" y="931505"/>
                      </a:lnTo>
                      <a:lnTo>
                        <a:pt x="333241" y="934523"/>
                      </a:lnTo>
                      <a:lnTo>
                        <a:pt x="341693" y="939353"/>
                      </a:lnTo>
                      <a:lnTo>
                        <a:pt x="354370" y="944182"/>
                      </a:lnTo>
                      <a:lnTo>
                        <a:pt x="353767" y="948408"/>
                      </a:lnTo>
                      <a:lnTo>
                        <a:pt x="358596" y="957464"/>
                      </a:lnTo>
                      <a:lnTo>
                        <a:pt x="362822" y="956860"/>
                      </a:lnTo>
                      <a:lnTo>
                        <a:pt x="373689" y="958068"/>
                      </a:lnTo>
                      <a:lnTo>
                        <a:pt x="374896" y="959879"/>
                      </a:lnTo>
                      <a:lnTo>
                        <a:pt x="374292" y="966519"/>
                      </a:lnTo>
                      <a:lnTo>
                        <a:pt x="371878" y="970141"/>
                      </a:lnTo>
                      <a:lnTo>
                        <a:pt x="370670" y="977386"/>
                      </a:lnTo>
                      <a:lnTo>
                        <a:pt x="372481" y="985234"/>
                      </a:lnTo>
                      <a:lnTo>
                        <a:pt x="373085" y="994893"/>
                      </a:lnTo>
                      <a:lnTo>
                        <a:pt x="370066" y="1003948"/>
                      </a:lnTo>
                      <a:lnTo>
                        <a:pt x="371878" y="1008174"/>
                      </a:lnTo>
                      <a:lnTo>
                        <a:pt x="372481" y="1013607"/>
                      </a:lnTo>
                      <a:lnTo>
                        <a:pt x="367048" y="1021456"/>
                      </a:lnTo>
                      <a:lnTo>
                        <a:pt x="374896" y="1021456"/>
                      </a:lnTo>
                      <a:lnTo>
                        <a:pt x="377311" y="1018437"/>
                      </a:lnTo>
                      <a:lnTo>
                        <a:pt x="381537" y="1020248"/>
                      </a:lnTo>
                      <a:lnTo>
                        <a:pt x="381537" y="1023267"/>
                      </a:lnTo>
                      <a:lnTo>
                        <a:pt x="383951" y="1028096"/>
                      </a:lnTo>
                      <a:lnTo>
                        <a:pt x="382744" y="1030511"/>
                      </a:lnTo>
                      <a:lnTo>
                        <a:pt x="387574" y="1038963"/>
                      </a:lnTo>
                      <a:lnTo>
                        <a:pt x="397836" y="1037755"/>
                      </a:lnTo>
                      <a:lnTo>
                        <a:pt x="400251" y="1041378"/>
                      </a:lnTo>
                      <a:lnTo>
                        <a:pt x="397233" y="1051641"/>
                      </a:lnTo>
                      <a:lnTo>
                        <a:pt x="391799" y="1051641"/>
                      </a:lnTo>
                      <a:lnTo>
                        <a:pt x="391799" y="1055263"/>
                      </a:lnTo>
                      <a:lnTo>
                        <a:pt x="399647" y="1058885"/>
                      </a:lnTo>
                      <a:lnTo>
                        <a:pt x="397233" y="1067940"/>
                      </a:lnTo>
                      <a:lnTo>
                        <a:pt x="394214" y="1073374"/>
                      </a:lnTo>
                      <a:lnTo>
                        <a:pt x="394214" y="1082429"/>
                      </a:lnTo>
                      <a:lnTo>
                        <a:pt x="394818" y="1088466"/>
                      </a:lnTo>
                      <a:lnTo>
                        <a:pt x="398440" y="1090881"/>
                      </a:lnTo>
                      <a:lnTo>
                        <a:pt x="399647" y="1096918"/>
                      </a:lnTo>
                      <a:lnTo>
                        <a:pt x="397233" y="1102351"/>
                      </a:lnTo>
                      <a:lnTo>
                        <a:pt x="402062" y="1105973"/>
                      </a:lnTo>
                      <a:lnTo>
                        <a:pt x="405684" y="1114425"/>
                      </a:lnTo>
                      <a:lnTo>
                        <a:pt x="402666" y="1118047"/>
                      </a:lnTo>
                      <a:lnTo>
                        <a:pt x="408703" y="1126499"/>
                      </a:lnTo>
                      <a:lnTo>
                        <a:pt x="412325" y="1150647"/>
                      </a:lnTo>
                      <a:lnTo>
                        <a:pt x="406892" y="1150647"/>
                      </a:lnTo>
                      <a:lnTo>
                        <a:pt x="397836" y="1154873"/>
                      </a:lnTo>
                      <a:lnTo>
                        <a:pt x="395422" y="1163325"/>
                      </a:lnTo>
                      <a:lnTo>
                        <a:pt x="396629" y="1168154"/>
                      </a:lnTo>
                      <a:lnTo>
                        <a:pt x="394818" y="1174795"/>
                      </a:lnTo>
                      <a:lnTo>
                        <a:pt x="396025" y="1176606"/>
                      </a:lnTo>
                      <a:lnTo>
                        <a:pt x="393007" y="1180832"/>
                      </a:lnTo>
                      <a:lnTo>
                        <a:pt x="381537" y="1184454"/>
                      </a:lnTo>
                      <a:lnTo>
                        <a:pt x="379122" y="1194113"/>
                      </a:lnTo>
                      <a:lnTo>
                        <a:pt x="369463" y="1192302"/>
                      </a:lnTo>
                      <a:lnTo>
                        <a:pt x="361011" y="1197132"/>
                      </a:lnTo>
                      <a:lnTo>
                        <a:pt x="357992" y="1197735"/>
                      </a:lnTo>
                      <a:lnTo>
                        <a:pt x="353163" y="1200754"/>
                      </a:lnTo>
                      <a:lnTo>
                        <a:pt x="354370" y="1203772"/>
                      </a:lnTo>
                      <a:lnTo>
                        <a:pt x="351955" y="1206187"/>
                      </a:lnTo>
                      <a:lnTo>
                        <a:pt x="351955" y="1212224"/>
                      </a:lnTo>
                      <a:lnTo>
                        <a:pt x="345315" y="1210413"/>
                      </a:lnTo>
                      <a:lnTo>
                        <a:pt x="340485" y="1206791"/>
                      </a:lnTo>
                      <a:lnTo>
                        <a:pt x="339881" y="1214035"/>
                      </a:lnTo>
                      <a:lnTo>
                        <a:pt x="342296" y="1214035"/>
                      </a:lnTo>
                      <a:lnTo>
                        <a:pt x="348333" y="1219468"/>
                      </a:lnTo>
                      <a:lnTo>
                        <a:pt x="353163" y="1221279"/>
                      </a:lnTo>
                      <a:lnTo>
                        <a:pt x="351955" y="1227316"/>
                      </a:lnTo>
                      <a:lnTo>
                        <a:pt x="342296" y="1227920"/>
                      </a:lnTo>
                      <a:lnTo>
                        <a:pt x="341693" y="1233957"/>
                      </a:lnTo>
                      <a:lnTo>
                        <a:pt x="338674" y="1233957"/>
                      </a:lnTo>
                      <a:lnTo>
                        <a:pt x="334448" y="1236372"/>
                      </a:lnTo>
                      <a:lnTo>
                        <a:pt x="331430" y="1242409"/>
                      </a:lnTo>
                      <a:lnTo>
                        <a:pt x="321167" y="1253275"/>
                      </a:lnTo>
                      <a:lnTo>
                        <a:pt x="313923" y="1259312"/>
                      </a:lnTo>
                      <a:lnTo>
                        <a:pt x="310300" y="1273801"/>
                      </a:lnTo>
                      <a:lnTo>
                        <a:pt x="292189" y="1275009"/>
                      </a:lnTo>
                      <a:lnTo>
                        <a:pt x="292793" y="1280442"/>
                      </a:lnTo>
                      <a:lnTo>
                        <a:pt x="283738" y="1283460"/>
                      </a:lnTo>
                      <a:lnTo>
                        <a:pt x="278908" y="1283460"/>
                      </a:lnTo>
                      <a:lnTo>
                        <a:pt x="273475" y="1289497"/>
                      </a:lnTo>
                      <a:lnTo>
                        <a:pt x="265627" y="1292516"/>
                      </a:lnTo>
                      <a:lnTo>
                        <a:pt x="265023" y="1297345"/>
                      </a:lnTo>
                      <a:lnTo>
                        <a:pt x="260797" y="1308815"/>
                      </a:lnTo>
                      <a:lnTo>
                        <a:pt x="264419" y="1314852"/>
                      </a:lnTo>
                      <a:lnTo>
                        <a:pt x="262005" y="1320889"/>
                      </a:lnTo>
                      <a:lnTo>
                        <a:pt x="261401" y="1328737"/>
                      </a:lnTo>
                      <a:lnTo>
                        <a:pt x="255968" y="1337793"/>
                      </a:lnTo>
                      <a:lnTo>
                        <a:pt x="254157" y="1342622"/>
                      </a:lnTo>
                      <a:lnTo>
                        <a:pt x="255364" y="1348056"/>
                      </a:lnTo>
                      <a:lnTo>
                        <a:pt x="254760" y="1354093"/>
                      </a:lnTo>
                      <a:lnTo>
                        <a:pt x="250534" y="1360130"/>
                      </a:lnTo>
                      <a:lnTo>
                        <a:pt x="248120" y="1365563"/>
                      </a:lnTo>
                      <a:lnTo>
                        <a:pt x="248723" y="1369789"/>
                      </a:lnTo>
                      <a:lnTo>
                        <a:pt x="246912" y="1375826"/>
                      </a:lnTo>
                      <a:lnTo>
                        <a:pt x="238460" y="1372807"/>
                      </a:lnTo>
                      <a:lnTo>
                        <a:pt x="236649" y="1379448"/>
                      </a:lnTo>
                      <a:lnTo>
                        <a:pt x="238460" y="1381863"/>
                      </a:lnTo>
                      <a:lnTo>
                        <a:pt x="236046" y="1386693"/>
                      </a:lnTo>
                      <a:lnTo>
                        <a:pt x="236046" y="1390918"/>
                      </a:lnTo>
                      <a:lnTo>
                        <a:pt x="221557" y="1389107"/>
                      </a:lnTo>
                      <a:lnTo>
                        <a:pt x="208879" y="1389711"/>
                      </a:lnTo>
                      <a:lnTo>
                        <a:pt x="196202" y="1381863"/>
                      </a:lnTo>
                      <a:lnTo>
                        <a:pt x="189561" y="1380656"/>
                      </a:lnTo>
                      <a:lnTo>
                        <a:pt x="176883" y="1388504"/>
                      </a:lnTo>
                      <a:lnTo>
                        <a:pt x="171450" y="1395144"/>
                      </a:lnTo>
                      <a:lnTo>
                        <a:pt x="167828" y="1395748"/>
                      </a:lnTo>
                      <a:lnTo>
                        <a:pt x="162998" y="1394541"/>
                      </a:lnTo>
                      <a:lnTo>
                        <a:pt x="159376" y="1388504"/>
                      </a:lnTo>
                      <a:lnTo>
                        <a:pt x="157565" y="1383674"/>
                      </a:lnTo>
                      <a:lnTo>
                        <a:pt x="155150" y="1367374"/>
                      </a:lnTo>
                      <a:lnTo>
                        <a:pt x="153339" y="1365563"/>
                      </a:lnTo>
                      <a:lnTo>
                        <a:pt x="150924" y="1350471"/>
                      </a:lnTo>
                      <a:lnTo>
                        <a:pt x="148510" y="1342019"/>
                      </a:lnTo>
                      <a:lnTo>
                        <a:pt x="149717" y="1339604"/>
                      </a:lnTo>
                      <a:lnTo>
                        <a:pt x="146095" y="1328737"/>
                      </a:lnTo>
                      <a:lnTo>
                        <a:pt x="146095" y="1322097"/>
                      </a:lnTo>
                      <a:lnTo>
                        <a:pt x="150924" y="1317871"/>
                      </a:lnTo>
                      <a:lnTo>
                        <a:pt x="150924" y="1312438"/>
                      </a:lnTo>
                      <a:lnTo>
                        <a:pt x="144887" y="1314852"/>
                      </a:lnTo>
                      <a:lnTo>
                        <a:pt x="135832" y="1319682"/>
                      </a:lnTo>
                      <a:lnTo>
                        <a:pt x="127984" y="1319682"/>
                      </a:lnTo>
                      <a:lnTo>
                        <a:pt x="126776" y="1317871"/>
                      </a:lnTo>
                      <a:lnTo>
                        <a:pt x="125569" y="1305193"/>
                      </a:lnTo>
                      <a:lnTo>
                        <a:pt x="129191" y="1303986"/>
                      </a:lnTo>
                      <a:lnTo>
                        <a:pt x="127380" y="1299760"/>
                      </a:lnTo>
                      <a:lnTo>
                        <a:pt x="120136" y="1297949"/>
                      </a:lnTo>
                      <a:lnTo>
                        <a:pt x="118928" y="1299760"/>
                      </a:lnTo>
                      <a:lnTo>
                        <a:pt x="118928" y="1307004"/>
                      </a:lnTo>
                      <a:lnTo>
                        <a:pt x="114702" y="1312438"/>
                      </a:lnTo>
                      <a:lnTo>
                        <a:pt x="107458" y="1313645"/>
                      </a:lnTo>
                      <a:lnTo>
                        <a:pt x="102025" y="1311230"/>
                      </a:lnTo>
                      <a:lnTo>
                        <a:pt x="101421" y="1301571"/>
                      </a:lnTo>
                      <a:lnTo>
                        <a:pt x="112288" y="1296138"/>
                      </a:lnTo>
                      <a:lnTo>
                        <a:pt x="108665" y="1288290"/>
                      </a:lnTo>
                      <a:lnTo>
                        <a:pt x="103836" y="1283460"/>
                      </a:lnTo>
                      <a:lnTo>
                        <a:pt x="103836" y="1279838"/>
                      </a:lnTo>
                      <a:lnTo>
                        <a:pt x="99610" y="1270179"/>
                      </a:lnTo>
                      <a:lnTo>
                        <a:pt x="97195" y="1260520"/>
                      </a:lnTo>
                      <a:lnTo>
                        <a:pt x="92969" y="1257501"/>
                      </a:lnTo>
                      <a:lnTo>
                        <a:pt x="93573" y="1254483"/>
                      </a:lnTo>
                      <a:lnTo>
                        <a:pt x="90555" y="1250257"/>
                      </a:lnTo>
                      <a:lnTo>
                        <a:pt x="84518" y="1246031"/>
                      </a:lnTo>
                      <a:lnTo>
                        <a:pt x="81499" y="1241201"/>
                      </a:lnTo>
                      <a:lnTo>
                        <a:pt x="80895" y="1236372"/>
                      </a:lnTo>
                      <a:lnTo>
                        <a:pt x="76669" y="1234561"/>
                      </a:lnTo>
                      <a:lnTo>
                        <a:pt x="74255" y="1230335"/>
                      </a:lnTo>
                      <a:lnTo>
                        <a:pt x="59766" y="1221279"/>
                      </a:lnTo>
                      <a:lnTo>
                        <a:pt x="55540" y="1215242"/>
                      </a:lnTo>
                      <a:lnTo>
                        <a:pt x="51314" y="1212827"/>
                      </a:lnTo>
                      <a:lnTo>
                        <a:pt x="43466" y="1212827"/>
                      </a:lnTo>
                      <a:lnTo>
                        <a:pt x="33203" y="1217053"/>
                      </a:lnTo>
                      <a:lnTo>
                        <a:pt x="28977" y="1220072"/>
                      </a:lnTo>
                      <a:lnTo>
                        <a:pt x="25959" y="1217657"/>
                      </a:lnTo>
                      <a:lnTo>
                        <a:pt x="21129" y="1221279"/>
                      </a:lnTo>
                      <a:lnTo>
                        <a:pt x="16300" y="1213431"/>
                      </a:lnTo>
                      <a:lnTo>
                        <a:pt x="11470" y="1199546"/>
                      </a:lnTo>
                      <a:lnTo>
                        <a:pt x="5433" y="1192906"/>
                      </a:lnTo>
                      <a:lnTo>
                        <a:pt x="0" y="1186265"/>
                      </a:lnTo>
                      <a:lnTo>
                        <a:pt x="3018" y="1182039"/>
                      </a:lnTo>
                      <a:lnTo>
                        <a:pt x="6641" y="1183247"/>
                      </a:lnTo>
                      <a:lnTo>
                        <a:pt x="12074" y="1176606"/>
                      </a:lnTo>
                      <a:lnTo>
                        <a:pt x="16300" y="1176002"/>
                      </a:lnTo>
                      <a:lnTo>
                        <a:pt x="21733" y="1172380"/>
                      </a:lnTo>
                      <a:lnTo>
                        <a:pt x="22337" y="1169965"/>
                      </a:lnTo>
                      <a:lnTo>
                        <a:pt x="19318" y="1162721"/>
                      </a:lnTo>
                      <a:lnTo>
                        <a:pt x="10263" y="1151251"/>
                      </a:lnTo>
                      <a:lnTo>
                        <a:pt x="6037" y="1147628"/>
                      </a:lnTo>
                      <a:lnTo>
                        <a:pt x="4830" y="1144006"/>
                      </a:lnTo>
                      <a:lnTo>
                        <a:pt x="5433" y="1134347"/>
                      </a:lnTo>
                      <a:lnTo>
                        <a:pt x="11470" y="1125291"/>
                      </a:lnTo>
                      <a:lnTo>
                        <a:pt x="9659" y="1121066"/>
                      </a:lnTo>
                      <a:lnTo>
                        <a:pt x="15696" y="1117443"/>
                      </a:lnTo>
                      <a:lnTo>
                        <a:pt x="16300" y="1112010"/>
                      </a:lnTo>
                      <a:lnTo>
                        <a:pt x="18715" y="1108992"/>
                      </a:lnTo>
                      <a:lnTo>
                        <a:pt x="16300" y="1104162"/>
                      </a:lnTo>
                      <a:lnTo>
                        <a:pt x="17507" y="1100540"/>
                      </a:lnTo>
                      <a:lnTo>
                        <a:pt x="21733" y="1095710"/>
                      </a:lnTo>
                      <a:lnTo>
                        <a:pt x="28977" y="1092088"/>
                      </a:lnTo>
                      <a:lnTo>
                        <a:pt x="30185" y="1088466"/>
                      </a:lnTo>
                      <a:lnTo>
                        <a:pt x="28374" y="1083637"/>
                      </a:lnTo>
                      <a:lnTo>
                        <a:pt x="30185" y="1078203"/>
                      </a:lnTo>
                      <a:lnTo>
                        <a:pt x="36826" y="1076996"/>
                      </a:lnTo>
                      <a:lnTo>
                        <a:pt x="42259" y="1072166"/>
                      </a:lnTo>
                      <a:lnTo>
                        <a:pt x="47088" y="1059489"/>
                      </a:lnTo>
                      <a:lnTo>
                        <a:pt x="49503" y="1057678"/>
                      </a:lnTo>
                      <a:lnTo>
                        <a:pt x="56144" y="1055263"/>
                      </a:lnTo>
                      <a:lnTo>
                        <a:pt x="59766" y="1049829"/>
                      </a:lnTo>
                      <a:lnTo>
                        <a:pt x="65803" y="1044396"/>
                      </a:lnTo>
                      <a:lnTo>
                        <a:pt x="68218" y="1044396"/>
                      </a:lnTo>
                      <a:lnTo>
                        <a:pt x="70632" y="1049226"/>
                      </a:lnTo>
                      <a:lnTo>
                        <a:pt x="71236" y="1054055"/>
                      </a:lnTo>
                      <a:lnTo>
                        <a:pt x="74858" y="1063111"/>
                      </a:lnTo>
                      <a:lnTo>
                        <a:pt x="77877" y="1064922"/>
                      </a:lnTo>
                      <a:lnTo>
                        <a:pt x="87536" y="1060092"/>
                      </a:lnTo>
                      <a:lnTo>
                        <a:pt x="91762" y="1063111"/>
                      </a:lnTo>
                      <a:lnTo>
                        <a:pt x="91158" y="1068544"/>
                      </a:lnTo>
                      <a:lnTo>
                        <a:pt x="94780" y="1069752"/>
                      </a:lnTo>
                      <a:lnTo>
                        <a:pt x="105043" y="1068544"/>
                      </a:lnTo>
                      <a:lnTo>
                        <a:pt x="108062" y="1064318"/>
                      </a:lnTo>
                      <a:lnTo>
                        <a:pt x="123154" y="1054055"/>
                      </a:lnTo>
                      <a:lnTo>
                        <a:pt x="124362" y="1051641"/>
                      </a:lnTo>
                      <a:lnTo>
                        <a:pt x="117721" y="1048018"/>
                      </a:lnTo>
                      <a:lnTo>
                        <a:pt x="117117" y="1044396"/>
                      </a:lnTo>
                      <a:lnTo>
                        <a:pt x="112891" y="1038359"/>
                      </a:lnTo>
                      <a:lnTo>
                        <a:pt x="122550" y="1034737"/>
                      </a:lnTo>
                      <a:lnTo>
                        <a:pt x="129191" y="1034737"/>
                      </a:lnTo>
                      <a:lnTo>
                        <a:pt x="134021" y="1029907"/>
                      </a:lnTo>
                      <a:lnTo>
                        <a:pt x="134021" y="1022059"/>
                      </a:lnTo>
                      <a:lnTo>
                        <a:pt x="131606" y="1017833"/>
                      </a:lnTo>
                      <a:lnTo>
                        <a:pt x="126173" y="1016626"/>
                      </a:lnTo>
                      <a:lnTo>
                        <a:pt x="123758" y="1014815"/>
                      </a:lnTo>
                      <a:lnTo>
                        <a:pt x="121947" y="1009985"/>
                      </a:lnTo>
                      <a:lnTo>
                        <a:pt x="119532" y="1007570"/>
                      </a:lnTo>
                      <a:lnTo>
                        <a:pt x="112288" y="1008778"/>
                      </a:lnTo>
                      <a:lnTo>
                        <a:pt x="108665" y="1006967"/>
                      </a:lnTo>
                      <a:lnTo>
                        <a:pt x="108062" y="1003345"/>
                      </a:lnTo>
                      <a:lnTo>
                        <a:pt x="99006" y="998515"/>
                      </a:lnTo>
                      <a:lnTo>
                        <a:pt x="86932" y="998515"/>
                      </a:lnTo>
                      <a:lnTo>
                        <a:pt x="85725" y="994893"/>
                      </a:lnTo>
                      <a:lnTo>
                        <a:pt x="87536" y="979800"/>
                      </a:lnTo>
                      <a:lnTo>
                        <a:pt x="80895" y="974367"/>
                      </a:lnTo>
                      <a:lnTo>
                        <a:pt x="70632" y="970141"/>
                      </a:lnTo>
                      <a:lnTo>
                        <a:pt x="68218" y="966519"/>
                      </a:lnTo>
                      <a:lnTo>
                        <a:pt x="61577" y="962293"/>
                      </a:lnTo>
                      <a:lnTo>
                        <a:pt x="62784" y="953842"/>
                      </a:lnTo>
                      <a:lnTo>
                        <a:pt x="57351" y="950219"/>
                      </a:lnTo>
                      <a:lnTo>
                        <a:pt x="48296" y="950219"/>
                      </a:lnTo>
                      <a:lnTo>
                        <a:pt x="45277" y="953842"/>
                      </a:lnTo>
                      <a:lnTo>
                        <a:pt x="48296" y="955653"/>
                      </a:lnTo>
                      <a:lnTo>
                        <a:pt x="50107" y="960482"/>
                      </a:lnTo>
                      <a:lnTo>
                        <a:pt x="43466" y="958068"/>
                      </a:lnTo>
                      <a:lnTo>
                        <a:pt x="36222" y="956860"/>
                      </a:lnTo>
                      <a:lnTo>
                        <a:pt x="32600" y="958068"/>
                      </a:lnTo>
                      <a:lnTo>
                        <a:pt x="32600" y="952634"/>
                      </a:lnTo>
                      <a:lnTo>
                        <a:pt x="39240" y="954445"/>
                      </a:lnTo>
                      <a:lnTo>
                        <a:pt x="45277" y="950219"/>
                      </a:lnTo>
                      <a:lnTo>
                        <a:pt x="48296" y="944182"/>
                      </a:lnTo>
                      <a:lnTo>
                        <a:pt x="53125" y="941164"/>
                      </a:lnTo>
                      <a:lnTo>
                        <a:pt x="51314" y="935731"/>
                      </a:lnTo>
                      <a:lnTo>
                        <a:pt x="45277" y="933920"/>
                      </a:lnTo>
                      <a:lnTo>
                        <a:pt x="42259" y="935731"/>
                      </a:lnTo>
                      <a:lnTo>
                        <a:pt x="33203" y="932712"/>
                      </a:lnTo>
                      <a:lnTo>
                        <a:pt x="34411" y="927279"/>
                      </a:lnTo>
                      <a:lnTo>
                        <a:pt x="38033" y="926071"/>
                      </a:lnTo>
                      <a:lnTo>
                        <a:pt x="41655" y="923053"/>
                      </a:lnTo>
                      <a:lnTo>
                        <a:pt x="45881" y="924260"/>
                      </a:lnTo>
                      <a:lnTo>
                        <a:pt x="47088" y="927279"/>
                      </a:lnTo>
                      <a:lnTo>
                        <a:pt x="53729" y="929090"/>
                      </a:lnTo>
                      <a:lnTo>
                        <a:pt x="57955" y="927883"/>
                      </a:lnTo>
                      <a:lnTo>
                        <a:pt x="60370" y="920034"/>
                      </a:lnTo>
                      <a:lnTo>
                        <a:pt x="62784" y="916412"/>
                      </a:lnTo>
                      <a:lnTo>
                        <a:pt x="60370" y="911583"/>
                      </a:lnTo>
                      <a:lnTo>
                        <a:pt x="62784" y="898301"/>
                      </a:lnTo>
                      <a:lnTo>
                        <a:pt x="60973" y="894075"/>
                      </a:lnTo>
                      <a:lnTo>
                        <a:pt x="61577" y="888642"/>
                      </a:lnTo>
                      <a:lnTo>
                        <a:pt x="58559" y="885020"/>
                      </a:lnTo>
                      <a:lnTo>
                        <a:pt x="43466" y="880794"/>
                      </a:lnTo>
                      <a:lnTo>
                        <a:pt x="41655" y="883812"/>
                      </a:lnTo>
                      <a:lnTo>
                        <a:pt x="38637" y="883812"/>
                      </a:lnTo>
                      <a:lnTo>
                        <a:pt x="31392" y="880794"/>
                      </a:lnTo>
                      <a:lnTo>
                        <a:pt x="29581" y="877776"/>
                      </a:lnTo>
                      <a:lnTo>
                        <a:pt x="31996" y="872946"/>
                      </a:lnTo>
                      <a:lnTo>
                        <a:pt x="35618" y="871135"/>
                      </a:lnTo>
                      <a:lnTo>
                        <a:pt x="35618" y="868117"/>
                      </a:lnTo>
                      <a:lnTo>
                        <a:pt x="32600" y="865702"/>
                      </a:lnTo>
                      <a:lnTo>
                        <a:pt x="29581" y="859665"/>
                      </a:lnTo>
                      <a:lnTo>
                        <a:pt x="36826" y="857250"/>
                      </a:lnTo>
                      <a:lnTo>
                        <a:pt x="44674" y="853628"/>
                      </a:lnTo>
                      <a:lnTo>
                        <a:pt x="52522" y="852421"/>
                      </a:lnTo>
                      <a:lnTo>
                        <a:pt x="55540" y="853628"/>
                      </a:lnTo>
                      <a:lnTo>
                        <a:pt x="62181" y="845176"/>
                      </a:lnTo>
                      <a:lnTo>
                        <a:pt x="77273" y="840950"/>
                      </a:lnTo>
                      <a:lnTo>
                        <a:pt x="74255" y="830084"/>
                      </a:lnTo>
                      <a:lnTo>
                        <a:pt x="71236" y="826461"/>
                      </a:lnTo>
                      <a:lnTo>
                        <a:pt x="71840" y="821632"/>
                      </a:lnTo>
                      <a:lnTo>
                        <a:pt x="74858" y="817406"/>
                      </a:lnTo>
                      <a:lnTo>
                        <a:pt x="73047" y="814387"/>
                      </a:lnTo>
                      <a:lnTo>
                        <a:pt x="74858" y="810765"/>
                      </a:lnTo>
                      <a:lnTo>
                        <a:pt x="76066" y="795673"/>
                      </a:lnTo>
                      <a:lnTo>
                        <a:pt x="76066" y="790239"/>
                      </a:lnTo>
                      <a:lnTo>
                        <a:pt x="77877" y="787825"/>
                      </a:lnTo>
                      <a:lnTo>
                        <a:pt x="76669" y="782995"/>
                      </a:lnTo>
                      <a:lnTo>
                        <a:pt x="78481" y="779977"/>
                      </a:lnTo>
                      <a:lnTo>
                        <a:pt x="69425" y="777562"/>
                      </a:lnTo>
                      <a:lnTo>
                        <a:pt x="57351" y="784202"/>
                      </a:lnTo>
                      <a:lnTo>
                        <a:pt x="53729" y="783599"/>
                      </a:lnTo>
                      <a:lnTo>
                        <a:pt x="49503" y="776958"/>
                      </a:lnTo>
                      <a:lnTo>
                        <a:pt x="51314" y="772129"/>
                      </a:lnTo>
                      <a:lnTo>
                        <a:pt x="57351" y="767299"/>
                      </a:lnTo>
                      <a:lnTo>
                        <a:pt x="69425" y="763073"/>
                      </a:lnTo>
                      <a:lnTo>
                        <a:pt x="68821" y="758847"/>
                      </a:lnTo>
                      <a:lnTo>
                        <a:pt x="65803" y="755829"/>
                      </a:lnTo>
                      <a:lnTo>
                        <a:pt x="64595" y="748585"/>
                      </a:lnTo>
                      <a:lnTo>
                        <a:pt x="62784" y="744359"/>
                      </a:lnTo>
                      <a:lnTo>
                        <a:pt x="62181" y="738322"/>
                      </a:lnTo>
                      <a:lnTo>
                        <a:pt x="65199" y="732285"/>
                      </a:lnTo>
                      <a:lnTo>
                        <a:pt x="63992" y="726851"/>
                      </a:lnTo>
                      <a:lnTo>
                        <a:pt x="63992" y="717192"/>
                      </a:lnTo>
                      <a:lnTo>
                        <a:pt x="60973" y="707533"/>
                      </a:lnTo>
                      <a:lnTo>
                        <a:pt x="45277" y="708137"/>
                      </a:lnTo>
                      <a:lnTo>
                        <a:pt x="41051" y="698478"/>
                      </a:lnTo>
                      <a:lnTo>
                        <a:pt x="40448" y="694252"/>
                      </a:lnTo>
                      <a:lnTo>
                        <a:pt x="38033" y="690629"/>
                      </a:lnTo>
                      <a:lnTo>
                        <a:pt x="42259" y="685800"/>
                      </a:lnTo>
                      <a:lnTo>
                        <a:pt x="42863" y="681574"/>
                      </a:lnTo>
                      <a:lnTo>
                        <a:pt x="39844" y="670707"/>
                      </a:lnTo>
                      <a:lnTo>
                        <a:pt x="44674" y="654408"/>
                      </a:lnTo>
                      <a:lnTo>
                        <a:pt x="48296" y="654408"/>
                      </a:lnTo>
                      <a:lnTo>
                        <a:pt x="55540" y="651993"/>
                      </a:lnTo>
                      <a:lnTo>
                        <a:pt x="57955" y="647767"/>
                      </a:lnTo>
                      <a:lnTo>
                        <a:pt x="60973" y="648371"/>
                      </a:lnTo>
                      <a:lnTo>
                        <a:pt x="65803" y="647163"/>
                      </a:lnTo>
                      <a:lnTo>
                        <a:pt x="68218" y="644749"/>
                      </a:lnTo>
                      <a:lnTo>
                        <a:pt x="74858" y="642334"/>
                      </a:lnTo>
                      <a:lnTo>
                        <a:pt x="82103" y="636297"/>
                      </a:lnTo>
                      <a:lnTo>
                        <a:pt x="85121" y="628449"/>
                      </a:lnTo>
                      <a:lnTo>
                        <a:pt x="89347" y="626638"/>
                      </a:lnTo>
                      <a:lnTo>
                        <a:pt x="89347" y="623619"/>
                      </a:lnTo>
                      <a:lnTo>
                        <a:pt x="85725" y="619393"/>
                      </a:lnTo>
                      <a:lnTo>
                        <a:pt x="91158" y="610338"/>
                      </a:lnTo>
                      <a:lnTo>
                        <a:pt x="94780" y="600679"/>
                      </a:lnTo>
                      <a:lnTo>
                        <a:pt x="94177" y="598264"/>
                      </a:lnTo>
                      <a:lnTo>
                        <a:pt x="98403" y="594038"/>
                      </a:lnTo>
                      <a:lnTo>
                        <a:pt x="100817" y="588001"/>
                      </a:lnTo>
                      <a:lnTo>
                        <a:pt x="99006" y="582568"/>
                      </a:lnTo>
                      <a:lnTo>
                        <a:pt x="100817" y="573512"/>
                      </a:lnTo>
                      <a:lnTo>
                        <a:pt x="97195" y="569286"/>
                      </a:lnTo>
                      <a:lnTo>
                        <a:pt x="99006" y="566268"/>
                      </a:lnTo>
                      <a:lnTo>
                        <a:pt x="96592" y="563249"/>
                      </a:lnTo>
                      <a:lnTo>
                        <a:pt x="96592" y="559023"/>
                      </a:lnTo>
                      <a:lnTo>
                        <a:pt x="99006" y="556005"/>
                      </a:lnTo>
                      <a:lnTo>
                        <a:pt x="98403" y="549968"/>
                      </a:lnTo>
                      <a:lnTo>
                        <a:pt x="95988" y="543931"/>
                      </a:lnTo>
                      <a:lnTo>
                        <a:pt x="99610" y="539102"/>
                      </a:lnTo>
                      <a:lnTo>
                        <a:pt x="100214" y="530650"/>
                      </a:lnTo>
                      <a:lnTo>
                        <a:pt x="103232" y="525217"/>
                      </a:lnTo>
                      <a:lnTo>
                        <a:pt x="107458" y="524613"/>
                      </a:lnTo>
                      <a:lnTo>
                        <a:pt x="111684" y="528839"/>
                      </a:lnTo>
                      <a:lnTo>
                        <a:pt x="117721" y="527028"/>
                      </a:lnTo>
                      <a:lnTo>
                        <a:pt x="117721" y="523406"/>
                      </a:lnTo>
                      <a:lnTo>
                        <a:pt x="121947" y="514350"/>
                      </a:lnTo>
                      <a:lnTo>
                        <a:pt x="123154" y="508917"/>
                      </a:lnTo>
                      <a:lnTo>
                        <a:pt x="121947" y="505295"/>
                      </a:lnTo>
                      <a:lnTo>
                        <a:pt x="123758" y="502880"/>
                      </a:lnTo>
                      <a:lnTo>
                        <a:pt x="123758" y="498654"/>
                      </a:lnTo>
                      <a:lnTo>
                        <a:pt x="120739" y="496239"/>
                      </a:lnTo>
                      <a:lnTo>
                        <a:pt x="120136" y="491409"/>
                      </a:lnTo>
                      <a:lnTo>
                        <a:pt x="122550" y="487184"/>
                      </a:lnTo>
                      <a:lnTo>
                        <a:pt x="121947" y="482958"/>
                      </a:lnTo>
                      <a:lnTo>
                        <a:pt x="126173" y="476317"/>
                      </a:lnTo>
                      <a:lnTo>
                        <a:pt x="129191" y="468469"/>
                      </a:lnTo>
                      <a:lnTo>
                        <a:pt x="129795" y="463639"/>
                      </a:lnTo>
                      <a:lnTo>
                        <a:pt x="131606" y="457602"/>
                      </a:lnTo>
                      <a:lnTo>
                        <a:pt x="134021" y="456395"/>
                      </a:lnTo>
                      <a:lnTo>
                        <a:pt x="135832" y="448547"/>
                      </a:lnTo>
                      <a:lnTo>
                        <a:pt x="139454" y="443717"/>
                      </a:lnTo>
                      <a:lnTo>
                        <a:pt x="146095" y="445528"/>
                      </a:lnTo>
                      <a:lnTo>
                        <a:pt x="149717" y="452773"/>
                      </a:lnTo>
                      <a:lnTo>
                        <a:pt x="149113" y="458206"/>
                      </a:lnTo>
                      <a:lnTo>
                        <a:pt x="152132" y="460017"/>
                      </a:lnTo>
                      <a:lnTo>
                        <a:pt x="156358" y="456999"/>
                      </a:lnTo>
                      <a:lnTo>
                        <a:pt x="157565" y="449754"/>
                      </a:lnTo>
                      <a:lnTo>
                        <a:pt x="154547" y="446736"/>
                      </a:lnTo>
                      <a:lnTo>
                        <a:pt x="150321" y="445528"/>
                      </a:lnTo>
                      <a:lnTo>
                        <a:pt x="153943" y="441906"/>
                      </a:lnTo>
                      <a:lnTo>
                        <a:pt x="159980" y="441303"/>
                      </a:lnTo>
                      <a:lnTo>
                        <a:pt x="160583" y="434058"/>
                      </a:lnTo>
                      <a:lnTo>
                        <a:pt x="158772" y="429832"/>
                      </a:lnTo>
                      <a:lnTo>
                        <a:pt x="161791" y="426814"/>
                      </a:lnTo>
                      <a:lnTo>
                        <a:pt x="159980" y="423192"/>
                      </a:lnTo>
                      <a:lnTo>
                        <a:pt x="160583" y="420173"/>
                      </a:lnTo>
                      <a:lnTo>
                        <a:pt x="166620" y="416551"/>
                      </a:lnTo>
                      <a:lnTo>
                        <a:pt x="173865" y="415947"/>
                      </a:lnTo>
                      <a:lnTo>
                        <a:pt x="176279" y="409307"/>
                      </a:lnTo>
                      <a:lnTo>
                        <a:pt x="179902" y="405081"/>
                      </a:lnTo>
                      <a:lnTo>
                        <a:pt x="179298" y="397233"/>
                      </a:lnTo>
                      <a:lnTo>
                        <a:pt x="180505" y="394214"/>
                      </a:lnTo>
                      <a:lnTo>
                        <a:pt x="177487" y="385762"/>
                      </a:lnTo>
                      <a:lnTo>
                        <a:pt x="178091" y="374292"/>
                      </a:lnTo>
                      <a:lnTo>
                        <a:pt x="179298" y="372481"/>
                      </a:lnTo>
                      <a:lnTo>
                        <a:pt x="187146" y="369463"/>
                      </a:lnTo>
                      <a:lnTo>
                        <a:pt x="191976" y="362218"/>
                      </a:lnTo>
                      <a:lnTo>
                        <a:pt x="196202" y="363426"/>
                      </a:lnTo>
                      <a:lnTo>
                        <a:pt x="196805" y="368255"/>
                      </a:lnTo>
                      <a:lnTo>
                        <a:pt x="202842" y="370066"/>
                      </a:lnTo>
                      <a:lnTo>
                        <a:pt x="209483" y="365840"/>
                      </a:lnTo>
                      <a:lnTo>
                        <a:pt x="210087" y="361011"/>
                      </a:lnTo>
                      <a:lnTo>
                        <a:pt x="214313" y="359803"/>
                      </a:lnTo>
                      <a:lnTo>
                        <a:pt x="219142" y="363426"/>
                      </a:lnTo>
                      <a:lnTo>
                        <a:pt x="221557" y="361614"/>
                      </a:lnTo>
                      <a:lnTo>
                        <a:pt x="221557" y="356181"/>
                      </a:lnTo>
                      <a:lnTo>
                        <a:pt x="223368" y="354370"/>
                      </a:lnTo>
                      <a:lnTo>
                        <a:pt x="234838" y="358596"/>
                      </a:lnTo>
                      <a:lnTo>
                        <a:pt x="236649" y="371877"/>
                      </a:lnTo>
                      <a:lnTo>
                        <a:pt x="242083" y="371274"/>
                      </a:lnTo>
                      <a:lnTo>
                        <a:pt x="242686" y="365237"/>
                      </a:lnTo>
                      <a:lnTo>
                        <a:pt x="248723" y="360407"/>
                      </a:lnTo>
                      <a:lnTo>
                        <a:pt x="255364" y="361011"/>
                      </a:lnTo>
                      <a:lnTo>
                        <a:pt x="258382" y="354974"/>
                      </a:lnTo>
                      <a:lnTo>
                        <a:pt x="262608" y="351352"/>
                      </a:lnTo>
                      <a:lnTo>
                        <a:pt x="271664" y="352559"/>
                      </a:lnTo>
                      <a:lnTo>
                        <a:pt x="272871" y="348333"/>
                      </a:lnTo>
                      <a:lnTo>
                        <a:pt x="281926" y="351352"/>
                      </a:lnTo>
                      <a:lnTo>
                        <a:pt x="284945" y="349540"/>
                      </a:lnTo>
                      <a:lnTo>
                        <a:pt x="284945" y="345315"/>
                      </a:lnTo>
                      <a:lnTo>
                        <a:pt x="287963" y="345918"/>
                      </a:lnTo>
                      <a:lnTo>
                        <a:pt x="290378" y="342296"/>
                      </a:lnTo>
                      <a:lnTo>
                        <a:pt x="288567" y="340485"/>
                      </a:lnTo>
                      <a:lnTo>
                        <a:pt x="288567" y="335656"/>
                      </a:lnTo>
                      <a:lnTo>
                        <a:pt x="296415" y="325996"/>
                      </a:lnTo>
                      <a:lnTo>
                        <a:pt x="300641" y="327204"/>
                      </a:lnTo>
                      <a:lnTo>
                        <a:pt x="303660" y="324789"/>
                      </a:lnTo>
                      <a:lnTo>
                        <a:pt x="305471" y="319960"/>
                      </a:lnTo>
                      <a:lnTo>
                        <a:pt x="308489" y="321771"/>
                      </a:lnTo>
                      <a:lnTo>
                        <a:pt x="310904" y="327204"/>
                      </a:lnTo>
                      <a:lnTo>
                        <a:pt x="314526" y="319960"/>
                      </a:lnTo>
                      <a:lnTo>
                        <a:pt x="310300" y="309093"/>
                      </a:lnTo>
                      <a:lnTo>
                        <a:pt x="318148" y="300038"/>
                      </a:lnTo>
                      <a:lnTo>
                        <a:pt x="316337" y="295812"/>
                      </a:lnTo>
                      <a:lnTo>
                        <a:pt x="316337" y="292189"/>
                      </a:lnTo>
                      <a:lnTo>
                        <a:pt x="313319" y="284945"/>
                      </a:lnTo>
                      <a:lnTo>
                        <a:pt x="315130" y="281323"/>
                      </a:lnTo>
                      <a:lnTo>
                        <a:pt x="315130" y="275890"/>
                      </a:lnTo>
                      <a:lnTo>
                        <a:pt x="320563" y="274682"/>
                      </a:lnTo>
                      <a:lnTo>
                        <a:pt x="327808" y="274078"/>
                      </a:lnTo>
                      <a:lnTo>
                        <a:pt x="333844" y="271664"/>
                      </a:lnTo>
                      <a:lnTo>
                        <a:pt x="336863" y="267438"/>
                      </a:lnTo>
                      <a:lnTo>
                        <a:pt x="344711" y="259590"/>
                      </a:lnTo>
                      <a:lnTo>
                        <a:pt x="350144" y="257175"/>
                      </a:lnTo>
                      <a:lnTo>
                        <a:pt x="349541" y="245705"/>
                      </a:lnTo>
                      <a:lnTo>
                        <a:pt x="345918" y="238460"/>
                      </a:lnTo>
                      <a:lnTo>
                        <a:pt x="350144" y="230008"/>
                      </a:lnTo>
                      <a:lnTo>
                        <a:pt x="356181" y="230008"/>
                      </a:lnTo>
                      <a:lnTo>
                        <a:pt x="358596" y="228801"/>
                      </a:lnTo>
                      <a:lnTo>
                        <a:pt x="363426" y="230008"/>
                      </a:lnTo>
                      <a:lnTo>
                        <a:pt x="368255" y="229405"/>
                      </a:lnTo>
                      <a:lnTo>
                        <a:pt x="375500" y="221557"/>
                      </a:lnTo>
                      <a:lnTo>
                        <a:pt x="386366" y="224575"/>
                      </a:lnTo>
                      <a:lnTo>
                        <a:pt x="389385" y="222764"/>
                      </a:lnTo>
                      <a:lnTo>
                        <a:pt x="389988" y="218538"/>
                      </a:lnTo>
                      <a:lnTo>
                        <a:pt x="393610" y="216124"/>
                      </a:lnTo>
                      <a:lnTo>
                        <a:pt x="394214" y="211898"/>
                      </a:lnTo>
                      <a:lnTo>
                        <a:pt x="391196" y="210690"/>
                      </a:lnTo>
                      <a:lnTo>
                        <a:pt x="391799" y="196805"/>
                      </a:lnTo>
                      <a:lnTo>
                        <a:pt x="397836" y="187146"/>
                      </a:lnTo>
                      <a:lnTo>
                        <a:pt x="402062" y="184128"/>
                      </a:lnTo>
                      <a:lnTo>
                        <a:pt x="401459" y="175676"/>
                      </a:lnTo>
                      <a:lnTo>
                        <a:pt x="395422" y="173261"/>
                      </a:lnTo>
                      <a:lnTo>
                        <a:pt x="391196" y="166620"/>
                      </a:lnTo>
                      <a:lnTo>
                        <a:pt x="386366" y="168431"/>
                      </a:lnTo>
                      <a:lnTo>
                        <a:pt x="384555" y="166017"/>
                      </a:lnTo>
                      <a:lnTo>
                        <a:pt x="382744" y="158772"/>
                      </a:lnTo>
                      <a:lnTo>
                        <a:pt x="374292" y="159376"/>
                      </a:lnTo>
                      <a:lnTo>
                        <a:pt x="373085" y="162998"/>
                      </a:lnTo>
                      <a:lnTo>
                        <a:pt x="367652" y="161791"/>
                      </a:lnTo>
                      <a:lnTo>
                        <a:pt x="365841" y="159376"/>
                      </a:lnTo>
                      <a:lnTo>
                        <a:pt x="367652" y="155754"/>
                      </a:lnTo>
                      <a:lnTo>
                        <a:pt x="362822" y="155150"/>
                      </a:lnTo>
                      <a:lnTo>
                        <a:pt x="356785" y="152735"/>
                      </a:lnTo>
                      <a:lnTo>
                        <a:pt x="356785" y="147302"/>
                      </a:lnTo>
                      <a:lnTo>
                        <a:pt x="352559" y="143076"/>
                      </a:lnTo>
                      <a:lnTo>
                        <a:pt x="351955" y="136435"/>
                      </a:lnTo>
                      <a:lnTo>
                        <a:pt x="348937" y="134021"/>
                      </a:lnTo>
                      <a:lnTo>
                        <a:pt x="345315" y="128587"/>
                      </a:lnTo>
                      <a:lnTo>
                        <a:pt x="342900" y="127380"/>
                      </a:lnTo>
                      <a:lnTo>
                        <a:pt x="338070" y="131606"/>
                      </a:lnTo>
                      <a:lnTo>
                        <a:pt x="327204" y="132813"/>
                      </a:lnTo>
                      <a:lnTo>
                        <a:pt x="323582" y="130398"/>
                      </a:lnTo>
                      <a:lnTo>
                        <a:pt x="321167" y="124361"/>
                      </a:lnTo>
                      <a:lnTo>
                        <a:pt x="312715" y="123758"/>
                      </a:lnTo>
                      <a:lnTo>
                        <a:pt x="310904" y="120739"/>
                      </a:lnTo>
                      <a:lnTo>
                        <a:pt x="306678" y="120739"/>
                      </a:lnTo>
                      <a:lnTo>
                        <a:pt x="302452" y="127984"/>
                      </a:lnTo>
                      <a:lnTo>
                        <a:pt x="299434" y="130398"/>
                      </a:lnTo>
                      <a:lnTo>
                        <a:pt x="291586" y="128587"/>
                      </a:lnTo>
                      <a:lnTo>
                        <a:pt x="289775" y="135228"/>
                      </a:lnTo>
                      <a:lnTo>
                        <a:pt x="286756" y="137643"/>
                      </a:lnTo>
                      <a:lnTo>
                        <a:pt x="283738" y="136435"/>
                      </a:lnTo>
                      <a:lnTo>
                        <a:pt x="281323" y="132813"/>
                      </a:lnTo>
                      <a:lnTo>
                        <a:pt x="280719" y="123758"/>
                      </a:lnTo>
                      <a:lnTo>
                        <a:pt x="275286" y="123154"/>
                      </a:lnTo>
                      <a:lnTo>
                        <a:pt x="274079" y="115306"/>
                      </a:lnTo>
                      <a:lnTo>
                        <a:pt x="280719" y="112891"/>
                      </a:lnTo>
                      <a:lnTo>
                        <a:pt x="283134" y="99610"/>
                      </a:lnTo>
                      <a:lnTo>
                        <a:pt x="289171" y="99610"/>
                      </a:lnTo>
                      <a:lnTo>
                        <a:pt x="290378" y="94177"/>
                      </a:lnTo>
                      <a:lnTo>
                        <a:pt x="295208" y="91762"/>
                      </a:lnTo>
                      <a:lnTo>
                        <a:pt x="298226" y="85725"/>
                      </a:lnTo>
                      <a:lnTo>
                        <a:pt x="295208" y="81499"/>
                      </a:lnTo>
                      <a:lnTo>
                        <a:pt x="294604" y="77877"/>
                      </a:lnTo>
                      <a:lnTo>
                        <a:pt x="289171" y="75462"/>
                      </a:lnTo>
                      <a:lnTo>
                        <a:pt x="287963" y="73047"/>
                      </a:lnTo>
                      <a:lnTo>
                        <a:pt x="289171" y="67010"/>
                      </a:lnTo>
                      <a:lnTo>
                        <a:pt x="285549" y="59766"/>
                      </a:lnTo>
                      <a:lnTo>
                        <a:pt x="281926" y="59766"/>
                      </a:lnTo>
                      <a:lnTo>
                        <a:pt x="280115" y="56144"/>
                      </a:lnTo>
                      <a:lnTo>
                        <a:pt x="283134" y="51918"/>
                      </a:lnTo>
                      <a:lnTo>
                        <a:pt x="280115" y="49503"/>
                      </a:lnTo>
                      <a:lnTo>
                        <a:pt x="281926" y="44673"/>
                      </a:lnTo>
                      <a:lnTo>
                        <a:pt x="286152" y="43466"/>
                      </a:lnTo>
                      <a:lnTo>
                        <a:pt x="292793" y="39844"/>
                      </a:lnTo>
                      <a:lnTo>
                        <a:pt x="296415" y="43466"/>
                      </a:lnTo>
                      <a:lnTo>
                        <a:pt x="297019" y="47692"/>
                      </a:lnTo>
                      <a:lnTo>
                        <a:pt x="300037" y="48899"/>
                      </a:lnTo>
                      <a:lnTo>
                        <a:pt x="301245" y="53729"/>
                      </a:lnTo>
                      <a:lnTo>
                        <a:pt x="305471" y="54333"/>
                      </a:lnTo>
                      <a:lnTo>
                        <a:pt x="306678" y="58559"/>
                      </a:lnTo>
                      <a:lnTo>
                        <a:pt x="315734" y="64596"/>
                      </a:lnTo>
                      <a:lnTo>
                        <a:pt x="324185" y="65803"/>
                      </a:lnTo>
                      <a:lnTo>
                        <a:pt x="327808" y="63388"/>
                      </a:lnTo>
                      <a:lnTo>
                        <a:pt x="332637" y="62784"/>
                      </a:lnTo>
                      <a:lnTo>
                        <a:pt x="334448" y="60370"/>
                      </a:lnTo>
                      <a:lnTo>
                        <a:pt x="341089" y="57955"/>
                      </a:lnTo>
                      <a:lnTo>
                        <a:pt x="345315" y="51314"/>
                      </a:lnTo>
                      <a:lnTo>
                        <a:pt x="352559" y="56144"/>
                      </a:lnTo>
                      <a:lnTo>
                        <a:pt x="362822" y="53729"/>
                      </a:lnTo>
                      <a:lnTo>
                        <a:pt x="370066" y="58559"/>
                      </a:lnTo>
                      <a:lnTo>
                        <a:pt x="371878" y="63388"/>
                      </a:lnTo>
                      <a:lnTo>
                        <a:pt x="378518" y="63992"/>
                      </a:lnTo>
                      <a:lnTo>
                        <a:pt x="386970" y="62784"/>
                      </a:lnTo>
                      <a:lnTo>
                        <a:pt x="390592" y="63992"/>
                      </a:lnTo>
                      <a:lnTo>
                        <a:pt x="397836" y="62181"/>
                      </a:lnTo>
                      <a:lnTo>
                        <a:pt x="398440" y="59766"/>
                      </a:lnTo>
                      <a:lnTo>
                        <a:pt x="404477" y="56144"/>
                      </a:lnTo>
                      <a:lnTo>
                        <a:pt x="403873" y="60973"/>
                      </a:lnTo>
                      <a:lnTo>
                        <a:pt x="410514" y="66407"/>
                      </a:lnTo>
                      <a:lnTo>
                        <a:pt x="415344" y="63388"/>
                      </a:lnTo>
                      <a:lnTo>
                        <a:pt x="423795" y="66407"/>
                      </a:lnTo>
                      <a:lnTo>
                        <a:pt x="434058" y="67010"/>
                      </a:lnTo>
                      <a:lnTo>
                        <a:pt x="438888" y="65803"/>
                      </a:lnTo>
                      <a:lnTo>
                        <a:pt x="442510" y="67614"/>
                      </a:lnTo>
                      <a:lnTo>
                        <a:pt x="455188" y="65199"/>
                      </a:lnTo>
                      <a:lnTo>
                        <a:pt x="458206" y="65803"/>
                      </a:lnTo>
                      <a:lnTo>
                        <a:pt x="462432" y="70633"/>
                      </a:lnTo>
                      <a:lnTo>
                        <a:pt x="469073" y="71840"/>
                      </a:lnTo>
                      <a:lnTo>
                        <a:pt x="475110" y="69425"/>
                      </a:lnTo>
                      <a:lnTo>
                        <a:pt x="473902" y="65199"/>
                      </a:lnTo>
                      <a:lnTo>
                        <a:pt x="475713" y="62181"/>
                      </a:lnTo>
                      <a:lnTo>
                        <a:pt x="483562" y="62784"/>
                      </a:lnTo>
                      <a:lnTo>
                        <a:pt x="487787" y="59766"/>
                      </a:lnTo>
                      <a:lnTo>
                        <a:pt x="492617" y="59162"/>
                      </a:lnTo>
                      <a:lnTo>
                        <a:pt x="495032" y="54936"/>
                      </a:lnTo>
                      <a:lnTo>
                        <a:pt x="498654" y="51918"/>
                      </a:lnTo>
                      <a:lnTo>
                        <a:pt x="495635" y="48296"/>
                      </a:lnTo>
                      <a:lnTo>
                        <a:pt x="497446" y="44070"/>
                      </a:lnTo>
                      <a:lnTo>
                        <a:pt x="503483" y="42862"/>
                      </a:lnTo>
                      <a:lnTo>
                        <a:pt x="507709" y="39844"/>
                      </a:lnTo>
                      <a:lnTo>
                        <a:pt x="516765" y="40448"/>
                      </a:lnTo>
                      <a:lnTo>
                        <a:pt x="517972" y="37429"/>
                      </a:lnTo>
                      <a:lnTo>
                        <a:pt x="522198" y="36825"/>
                      </a:lnTo>
                      <a:lnTo>
                        <a:pt x="527028" y="31392"/>
                      </a:lnTo>
                      <a:lnTo>
                        <a:pt x="529442" y="31392"/>
                      </a:lnTo>
                      <a:lnTo>
                        <a:pt x="531857" y="30788"/>
                      </a:lnTo>
                      <a:lnTo>
                        <a:pt x="537894" y="35014"/>
                      </a:lnTo>
                      <a:lnTo>
                        <a:pt x="540913" y="39844"/>
                      </a:lnTo>
                      <a:lnTo>
                        <a:pt x="544535" y="42862"/>
                      </a:lnTo>
                      <a:lnTo>
                        <a:pt x="553590" y="47692"/>
                      </a:lnTo>
                      <a:lnTo>
                        <a:pt x="556005" y="50710"/>
                      </a:lnTo>
                      <a:lnTo>
                        <a:pt x="559024" y="51918"/>
                      </a:lnTo>
                      <a:lnTo>
                        <a:pt x="565664" y="50107"/>
                      </a:lnTo>
                      <a:lnTo>
                        <a:pt x="576531" y="49503"/>
                      </a:lnTo>
                      <a:lnTo>
                        <a:pt x="581360" y="51314"/>
                      </a:lnTo>
                      <a:lnTo>
                        <a:pt x="586794" y="50107"/>
                      </a:lnTo>
                      <a:lnTo>
                        <a:pt x="595246" y="47692"/>
                      </a:lnTo>
                      <a:lnTo>
                        <a:pt x="598868" y="43466"/>
                      </a:lnTo>
                      <a:lnTo>
                        <a:pt x="607923" y="40448"/>
                      </a:lnTo>
                      <a:lnTo>
                        <a:pt x="612149" y="31996"/>
                      </a:lnTo>
                      <a:lnTo>
                        <a:pt x="613356" y="25355"/>
                      </a:lnTo>
                      <a:lnTo>
                        <a:pt x="626034" y="17507"/>
                      </a:lnTo>
                      <a:lnTo>
                        <a:pt x="626034" y="12677"/>
                      </a:lnTo>
                      <a:lnTo>
                        <a:pt x="629052" y="5433"/>
                      </a:lnTo>
                      <a:lnTo>
                        <a:pt x="635693" y="0"/>
                      </a:lnTo>
                      <a:lnTo>
                        <a:pt x="639919" y="1207"/>
                      </a:lnTo>
                      <a:lnTo>
                        <a:pt x="647767" y="604"/>
                      </a:lnTo>
                      <a:lnTo>
                        <a:pt x="651389" y="4226"/>
                      </a:lnTo>
                      <a:lnTo>
                        <a:pt x="656823" y="4226"/>
                      </a:lnTo>
                      <a:lnTo>
                        <a:pt x="658030" y="10866"/>
                      </a:lnTo>
                      <a:lnTo>
                        <a:pt x="661048" y="13281"/>
                      </a:lnTo>
                      <a:lnTo>
                        <a:pt x="667689" y="14489"/>
                      </a:lnTo>
                      <a:lnTo>
                        <a:pt x="673726" y="16903"/>
                      </a:lnTo>
                      <a:lnTo>
                        <a:pt x="673726" y="22337"/>
                      </a:lnTo>
                      <a:lnTo>
                        <a:pt x="674330" y="30185"/>
                      </a:lnTo>
                      <a:lnTo>
                        <a:pt x="679763" y="38033"/>
                      </a:lnTo>
                      <a:lnTo>
                        <a:pt x="679763" y="42259"/>
                      </a:lnTo>
                      <a:lnTo>
                        <a:pt x="682178" y="47088"/>
                      </a:lnTo>
                      <a:lnTo>
                        <a:pt x="686404" y="47692"/>
                      </a:lnTo>
                      <a:lnTo>
                        <a:pt x="688819" y="54333"/>
                      </a:lnTo>
                      <a:lnTo>
                        <a:pt x="692441" y="56144"/>
                      </a:lnTo>
                      <a:lnTo>
                        <a:pt x="703911" y="57955"/>
                      </a:lnTo>
                      <a:lnTo>
                        <a:pt x="704515" y="61577"/>
                      </a:lnTo>
                      <a:lnTo>
                        <a:pt x="707533" y="63388"/>
                      </a:lnTo>
                      <a:lnTo>
                        <a:pt x="712363" y="63388"/>
                      </a:lnTo>
                      <a:lnTo>
                        <a:pt x="712363" y="66407"/>
                      </a:lnTo>
                      <a:lnTo>
                        <a:pt x="715381" y="70633"/>
                      </a:lnTo>
                      <a:lnTo>
                        <a:pt x="715985" y="74255"/>
                      </a:lnTo>
                      <a:lnTo>
                        <a:pt x="719003" y="78481"/>
                      </a:lnTo>
                      <a:lnTo>
                        <a:pt x="719607" y="89347"/>
                      </a:lnTo>
                      <a:lnTo>
                        <a:pt x="715985" y="94177"/>
                      </a:lnTo>
                      <a:lnTo>
                        <a:pt x="723833" y="102025"/>
                      </a:lnTo>
                      <a:lnTo>
                        <a:pt x="723229" y="106854"/>
                      </a:lnTo>
                      <a:lnTo>
                        <a:pt x="726851" y="108062"/>
                      </a:lnTo>
                      <a:lnTo>
                        <a:pt x="728662" y="112891"/>
                      </a:lnTo>
                      <a:lnTo>
                        <a:pt x="735303" y="117117"/>
                      </a:lnTo>
                      <a:lnTo>
                        <a:pt x="738322" y="116513"/>
                      </a:lnTo>
                      <a:lnTo>
                        <a:pt x="761866" y="121343"/>
                      </a:lnTo>
                      <a:lnTo>
                        <a:pt x="760658" y="114702"/>
                      </a:lnTo>
                      <a:lnTo>
                        <a:pt x="762470" y="108062"/>
                      </a:lnTo>
                      <a:lnTo>
                        <a:pt x="769714" y="106251"/>
                      </a:lnTo>
                      <a:lnTo>
                        <a:pt x="775147" y="108665"/>
                      </a:lnTo>
                      <a:lnTo>
                        <a:pt x="779373" y="112891"/>
                      </a:lnTo>
                      <a:lnTo>
                        <a:pt x="779977" y="120739"/>
                      </a:lnTo>
                      <a:lnTo>
                        <a:pt x="779977" y="125569"/>
                      </a:lnTo>
                      <a:lnTo>
                        <a:pt x="776958" y="135832"/>
                      </a:lnTo>
                      <a:lnTo>
                        <a:pt x="774544" y="137039"/>
                      </a:lnTo>
                      <a:lnTo>
                        <a:pt x="768507" y="147302"/>
                      </a:lnTo>
                      <a:lnTo>
                        <a:pt x="770921" y="152132"/>
                      </a:lnTo>
                      <a:lnTo>
                        <a:pt x="768507" y="159376"/>
                      </a:lnTo>
                      <a:lnTo>
                        <a:pt x="768507" y="163602"/>
                      </a:lnTo>
                      <a:lnTo>
                        <a:pt x="771525" y="167224"/>
                      </a:lnTo>
                      <a:lnTo>
                        <a:pt x="776355" y="168431"/>
                      </a:lnTo>
                      <a:lnTo>
                        <a:pt x="779373" y="163602"/>
                      </a:lnTo>
                      <a:lnTo>
                        <a:pt x="784203" y="163602"/>
                      </a:lnTo>
                      <a:lnTo>
                        <a:pt x="785410" y="169035"/>
                      </a:lnTo>
                      <a:lnTo>
                        <a:pt x="789636" y="173865"/>
                      </a:lnTo>
                      <a:lnTo>
                        <a:pt x="787221" y="178694"/>
                      </a:lnTo>
                      <a:lnTo>
                        <a:pt x="788429" y="182317"/>
                      </a:lnTo>
                      <a:lnTo>
                        <a:pt x="785410" y="193787"/>
                      </a:lnTo>
                      <a:lnTo>
                        <a:pt x="786618" y="203446"/>
                      </a:lnTo>
                      <a:lnTo>
                        <a:pt x="784203" y="206465"/>
                      </a:lnTo>
                      <a:lnTo>
                        <a:pt x="781184" y="213105"/>
                      </a:lnTo>
                      <a:lnTo>
                        <a:pt x="781788" y="216727"/>
                      </a:lnTo>
                      <a:lnTo>
                        <a:pt x="789032" y="223972"/>
                      </a:lnTo>
                      <a:lnTo>
                        <a:pt x="793258" y="223368"/>
                      </a:lnTo>
                      <a:lnTo>
                        <a:pt x="798088" y="228197"/>
                      </a:lnTo>
                      <a:lnTo>
                        <a:pt x="801106" y="228801"/>
                      </a:lnTo>
                      <a:lnTo>
                        <a:pt x="801710" y="233631"/>
                      </a:lnTo>
                      <a:lnTo>
                        <a:pt x="800503" y="240875"/>
                      </a:lnTo>
                      <a:lnTo>
                        <a:pt x="804729" y="250534"/>
                      </a:lnTo>
                      <a:lnTo>
                        <a:pt x="805332" y="255967"/>
                      </a:lnTo>
                      <a:lnTo>
                        <a:pt x="809558" y="254156"/>
                      </a:lnTo>
                      <a:lnTo>
                        <a:pt x="809558" y="248723"/>
                      </a:lnTo>
                      <a:lnTo>
                        <a:pt x="811973" y="242686"/>
                      </a:lnTo>
                      <a:lnTo>
                        <a:pt x="819821" y="252949"/>
                      </a:lnTo>
                      <a:lnTo>
                        <a:pt x="824047" y="252345"/>
                      </a:lnTo>
                      <a:lnTo>
                        <a:pt x="827065" y="254156"/>
                      </a:lnTo>
                      <a:lnTo>
                        <a:pt x="830687" y="252345"/>
                      </a:lnTo>
                      <a:lnTo>
                        <a:pt x="832498" y="256571"/>
                      </a:lnTo>
                      <a:lnTo>
                        <a:pt x="838535" y="254760"/>
                      </a:lnTo>
                      <a:lnTo>
                        <a:pt x="843365" y="252345"/>
                      </a:lnTo>
                      <a:lnTo>
                        <a:pt x="851213" y="253553"/>
                      </a:lnTo>
                      <a:lnTo>
                        <a:pt x="855439" y="261401"/>
                      </a:lnTo>
                      <a:lnTo>
                        <a:pt x="852420" y="270456"/>
                      </a:lnTo>
                      <a:lnTo>
                        <a:pt x="852420" y="275890"/>
                      </a:lnTo>
                      <a:lnTo>
                        <a:pt x="848798" y="278908"/>
                      </a:lnTo>
                      <a:lnTo>
                        <a:pt x="842761" y="278908"/>
                      </a:lnTo>
                      <a:lnTo>
                        <a:pt x="840950" y="281323"/>
                      </a:lnTo>
                      <a:lnTo>
                        <a:pt x="840346" y="288567"/>
                      </a:lnTo>
                      <a:lnTo>
                        <a:pt x="839139" y="292793"/>
                      </a:lnTo>
                      <a:lnTo>
                        <a:pt x="834913" y="295208"/>
                      </a:lnTo>
                      <a:lnTo>
                        <a:pt x="833706" y="300641"/>
                      </a:lnTo>
                      <a:lnTo>
                        <a:pt x="828876" y="300641"/>
                      </a:lnTo>
                      <a:lnTo>
                        <a:pt x="821632" y="307282"/>
                      </a:lnTo>
                      <a:lnTo>
                        <a:pt x="822839" y="317545"/>
                      </a:lnTo>
                      <a:lnTo>
                        <a:pt x="819217" y="322978"/>
                      </a:lnTo>
                      <a:lnTo>
                        <a:pt x="815595" y="322978"/>
                      </a:lnTo>
                      <a:lnTo>
                        <a:pt x="811973" y="325996"/>
                      </a:lnTo>
                      <a:lnTo>
                        <a:pt x="805936" y="329619"/>
                      </a:lnTo>
                      <a:lnTo>
                        <a:pt x="791447" y="329015"/>
                      </a:lnTo>
                      <a:lnTo>
                        <a:pt x="784806" y="338674"/>
                      </a:lnTo>
                      <a:lnTo>
                        <a:pt x="779373" y="339881"/>
                      </a:lnTo>
                      <a:lnTo>
                        <a:pt x="776355" y="344107"/>
                      </a:lnTo>
                      <a:lnTo>
                        <a:pt x="775147" y="350748"/>
                      </a:lnTo>
                      <a:lnTo>
                        <a:pt x="775751" y="354974"/>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88" name="Dadra and Nagar Haveli" descr="{&quot;Key&quot;:&quot;dadra and nagar haveli&quot;,&quot;Name&quot;:&quot;Dadra and Nagar Haveli&quot;,&quot;Value&quot;:1.0,&quot;Formula&quot;:&quot;&quot;,&quot;Text&quot;:&quot;&quot;,&quot;OfficeApplication&quot;:1,&quot;HasValue&quot;:true}">
                  <a:extLst>
                    <a:ext uri="{FF2B5EF4-FFF2-40B4-BE49-F238E27FC236}">
                      <a16:creationId xmlns:a16="http://schemas.microsoft.com/office/drawing/2014/main" id="{AA2C8CC3-131D-44F1-8122-94ACFB67AAB7}"/>
                    </a:ext>
                  </a:extLst>
                </p:cNvPr>
                <p:cNvSpPr/>
                <p:nvPr/>
              </p:nvSpPr>
              <p:spPr>
                <a:xfrm>
                  <a:off x="4059729" y="3959046"/>
                  <a:ext cx="60370" cy="66407"/>
                </a:xfrm>
                <a:custGeom>
                  <a:avLst/>
                  <a:gdLst>
                    <a:gd name="connsiteX0" fmla="*/ 13885 w 60369"/>
                    <a:gd name="connsiteY0" fmla="*/ 14489 h 66406"/>
                    <a:gd name="connsiteX1" fmla="*/ 20526 w 60369"/>
                    <a:gd name="connsiteY1" fmla="*/ 14489 h 66406"/>
                    <a:gd name="connsiteX2" fmla="*/ 19922 w 60369"/>
                    <a:gd name="connsiteY2" fmla="*/ 9055 h 66406"/>
                    <a:gd name="connsiteX3" fmla="*/ 21129 w 60369"/>
                    <a:gd name="connsiteY3" fmla="*/ 14489 h 66406"/>
                    <a:gd name="connsiteX4" fmla="*/ 23544 w 60369"/>
                    <a:gd name="connsiteY4" fmla="*/ 15092 h 66406"/>
                    <a:gd name="connsiteX5" fmla="*/ 24752 w 60369"/>
                    <a:gd name="connsiteY5" fmla="*/ 15092 h 66406"/>
                    <a:gd name="connsiteX6" fmla="*/ 27166 w 60369"/>
                    <a:gd name="connsiteY6" fmla="*/ 7244 h 66406"/>
                    <a:gd name="connsiteX7" fmla="*/ 29581 w 60369"/>
                    <a:gd name="connsiteY7" fmla="*/ 7244 h 66406"/>
                    <a:gd name="connsiteX8" fmla="*/ 31392 w 60369"/>
                    <a:gd name="connsiteY8" fmla="*/ 6641 h 66406"/>
                    <a:gd name="connsiteX9" fmla="*/ 33807 w 60369"/>
                    <a:gd name="connsiteY9" fmla="*/ 7244 h 66406"/>
                    <a:gd name="connsiteX10" fmla="*/ 36222 w 60369"/>
                    <a:gd name="connsiteY10" fmla="*/ 5433 h 66406"/>
                    <a:gd name="connsiteX11" fmla="*/ 36826 w 60369"/>
                    <a:gd name="connsiteY11" fmla="*/ 0 h 66406"/>
                    <a:gd name="connsiteX12" fmla="*/ 37429 w 60369"/>
                    <a:gd name="connsiteY12" fmla="*/ 0 h 66406"/>
                    <a:gd name="connsiteX13" fmla="*/ 38637 w 60369"/>
                    <a:gd name="connsiteY13" fmla="*/ 604 h 66406"/>
                    <a:gd name="connsiteX14" fmla="*/ 39240 w 60369"/>
                    <a:gd name="connsiteY14" fmla="*/ 1207 h 66406"/>
                    <a:gd name="connsiteX15" fmla="*/ 40448 w 60369"/>
                    <a:gd name="connsiteY15" fmla="*/ 3622 h 66406"/>
                    <a:gd name="connsiteX16" fmla="*/ 41051 w 60369"/>
                    <a:gd name="connsiteY16" fmla="*/ 6037 h 66406"/>
                    <a:gd name="connsiteX17" fmla="*/ 39844 w 60369"/>
                    <a:gd name="connsiteY17" fmla="*/ 12074 h 66406"/>
                    <a:gd name="connsiteX18" fmla="*/ 44674 w 60369"/>
                    <a:gd name="connsiteY18" fmla="*/ 10866 h 66406"/>
                    <a:gd name="connsiteX19" fmla="*/ 46485 w 60369"/>
                    <a:gd name="connsiteY19" fmla="*/ 9055 h 66406"/>
                    <a:gd name="connsiteX20" fmla="*/ 52522 w 60369"/>
                    <a:gd name="connsiteY20" fmla="*/ 10263 h 66406"/>
                    <a:gd name="connsiteX21" fmla="*/ 52522 w 60369"/>
                    <a:gd name="connsiteY21" fmla="*/ 10866 h 66406"/>
                    <a:gd name="connsiteX22" fmla="*/ 52522 w 60369"/>
                    <a:gd name="connsiteY22" fmla="*/ 11470 h 66406"/>
                    <a:gd name="connsiteX23" fmla="*/ 53125 w 60369"/>
                    <a:gd name="connsiteY23" fmla="*/ 15092 h 66406"/>
                    <a:gd name="connsiteX24" fmla="*/ 50107 w 60369"/>
                    <a:gd name="connsiteY24" fmla="*/ 16903 h 66406"/>
                    <a:gd name="connsiteX25" fmla="*/ 48900 w 60369"/>
                    <a:gd name="connsiteY25" fmla="*/ 15092 h 66406"/>
                    <a:gd name="connsiteX26" fmla="*/ 48296 w 60369"/>
                    <a:gd name="connsiteY26" fmla="*/ 15092 h 66406"/>
                    <a:gd name="connsiteX27" fmla="*/ 47692 w 60369"/>
                    <a:gd name="connsiteY27" fmla="*/ 16300 h 66406"/>
                    <a:gd name="connsiteX28" fmla="*/ 47692 w 60369"/>
                    <a:gd name="connsiteY28" fmla="*/ 18111 h 66406"/>
                    <a:gd name="connsiteX29" fmla="*/ 45881 w 60369"/>
                    <a:gd name="connsiteY29" fmla="*/ 16903 h 66406"/>
                    <a:gd name="connsiteX30" fmla="*/ 45881 w 60369"/>
                    <a:gd name="connsiteY30" fmla="*/ 17507 h 66406"/>
                    <a:gd name="connsiteX31" fmla="*/ 45277 w 60369"/>
                    <a:gd name="connsiteY31" fmla="*/ 19922 h 66406"/>
                    <a:gd name="connsiteX32" fmla="*/ 44070 w 60369"/>
                    <a:gd name="connsiteY32" fmla="*/ 21733 h 66406"/>
                    <a:gd name="connsiteX33" fmla="*/ 39240 w 60369"/>
                    <a:gd name="connsiteY33" fmla="*/ 25355 h 66406"/>
                    <a:gd name="connsiteX34" fmla="*/ 38033 w 60369"/>
                    <a:gd name="connsiteY34" fmla="*/ 26563 h 66406"/>
                    <a:gd name="connsiteX35" fmla="*/ 36826 w 60369"/>
                    <a:gd name="connsiteY35" fmla="*/ 28374 h 66406"/>
                    <a:gd name="connsiteX36" fmla="*/ 33807 w 60369"/>
                    <a:gd name="connsiteY36" fmla="*/ 27770 h 66406"/>
                    <a:gd name="connsiteX37" fmla="*/ 31996 w 60369"/>
                    <a:gd name="connsiteY37" fmla="*/ 28374 h 66406"/>
                    <a:gd name="connsiteX38" fmla="*/ 29581 w 60369"/>
                    <a:gd name="connsiteY38" fmla="*/ 35618 h 66406"/>
                    <a:gd name="connsiteX39" fmla="*/ 30185 w 60369"/>
                    <a:gd name="connsiteY39" fmla="*/ 35618 h 66406"/>
                    <a:gd name="connsiteX40" fmla="*/ 31392 w 60369"/>
                    <a:gd name="connsiteY40" fmla="*/ 43466 h 66406"/>
                    <a:gd name="connsiteX41" fmla="*/ 33807 w 60369"/>
                    <a:gd name="connsiteY41" fmla="*/ 44674 h 66406"/>
                    <a:gd name="connsiteX42" fmla="*/ 34411 w 60369"/>
                    <a:gd name="connsiteY42" fmla="*/ 41655 h 66406"/>
                    <a:gd name="connsiteX43" fmla="*/ 36222 w 60369"/>
                    <a:gd name="connsiteY43" fmla="*/ 41051 h 66406"/>
                    <a:gd name="connsiteX44" fmla="*/ 38637 w 60369"/>
                    <a:gd name="connsiteY44" fmla="*/ 44070 h 66406"/>
                    <a:gd name="connsiteX45" fmla="*/ 39844 w 60369"/>
                    <a:gd name="connsiteY45" fmla="*/ 44070 h 66406"/>
                    <a:gd name="connsiteX46" fmla="*/ 41655 w 60369"/>
                    <a:gd name="connsiteY46" fmla="*/ 44674 h 66406"/>
                    <a:gd name="connsiteX47" fmla="*/ 46485 w 60369"/>
                    <a:gd name="connsiteY47" fmla="*/ 38033 h 66406"/>
                    <a:gd name="connsiteX48" fmla="*/ 45881 w 60369"/>
                    <a:gd name="connsiteY48" fmla="*/ 38033 h 66406"/>
                    <a:gd name="connsiteX49" fmla="*/ 45277 w 60369"/>
                    <a:gd name="connsiteY49" fmla="*/ 33807 h 66406"/>
                    <a:gd name="connsiteX50" fmla="*/ 46485 w 60369"/>
                    <a:gd name="connsiteY50" fmla="*/ 33807 h 66406"/>
                    <a:gd name="connsiteX51" fmla="*/ 47088 w 60369"/>
                    <a:gd name="connsiteY51" fmla="*/ 34411 h 66406"/>
                    <a:gd name="connsiteX52" fmla="*/ 47692 w 60369"/>
                    <a:gd name="connsiteY52" fmla="*/ 34411 h 66406"/>
                    <a:gd name="connsiteX53" fmla="*/ 53125 w 60369"/>
                    <a:gd name="connsiteY53" fmla="*/ 33203 h 66406"/>
                    <a:gd name="connsiteX54" fmla="*/ 54936 w 60369"/>
                    <a:gd name="connsiteY54" fmla="*/ 35014 h 66406"/>
                    <a:gd name="connsiteX55" fmla="*/ 57955 w 60369"/>
                    <a:gd name="connsiteY55" fmla="*/ 35618 h 66406"/>
                    <a:gd name="connsiteX56" fmla="*/ 59162 w 60369"/>
                    <a:gd name="connsiteY56" fmla="*/ 35618 h 66406"/>
                    <a:gd name="connsiteX57" fmla="*/ 63388 w 60369"/>
                    <a:gd name="connsiteY57" fmla="*/ 38637 h 66406"/>
                    <a:gd name="connsiteX58" fmla="*/ 62785 w 60369"/>
                    <a:gd name="connsiteY58" fmla="*/ 40448 h 66406"/>
                    <a:gd name="connsiteX59" fmla="*/ 56748 w 60369"/>
                    <a:gd name="connsiteY59" fmla="*/ 43466 h 66406"/>
                    <a:gd name="connsiteX60" fmla="*/ 56144 w 60369"/>
                    <a:gd name="connsiteY60" fmla="*/ 45881 h 66406"/>
                    <a:gd name="connsiteX61" fmla="*/ 56144 w 60369"/>
                    <a:gd name="connsiteY61" fmla="*/ 48296 h 66406"/>
                    <a:gd name="connsiteX62" fmla="*/ 59162 w 60369"/>
                    <a:gd name="connsiteY62" fmla="*/ 51918 h 66406"/>
                    <a:gd name="connsiteX63" fmla="*/ 60973 w 60369"/>
                    <a:gd name="connsiteY63" fmla="*/ 55540 h 66406"/>
                    <a:gd name="connsiteX64" fmla="*/ 59766 w 60369"/>
                    <a:gd name="connsiteY64" fmla="*/ 59162 h 66406"/>
                    <a:gd name="connsiteX65" fmla="*/ 56748 w 60369"/>
                    <a:gd name="connsiteY65" fmla="*/ 61577 h 66406"/>
                    <a:gd name="connsiteX66" fmla="*/ 56748 w 60369"/>
                    <a:gd name="connsiteY66" fmla="*/ 65199 h 66406"/>
                    <a:gd name="connsiteX67" fmla="*/ 54333 w 60369"/>
                    <a:gd name="connsiteY67" fmla="*/ 67011 h 66406"/>
                    <a:gd name="connsiteX68" fmla="*/ 53729 w 60369"/>
                    <a:gd name="connsiteY68" fmla="*/ 67614 h 66406"/>
                    <a:gd name="connsiteX69" fmla="*/ 51918 w 60369"/>
                    <a:gd name="connsiteY69" fmla="*/ 66407 h 66406"/>
                    <a:gd name="connsiteX70" fmla="*/ 50711 w 60369"/>
                    <a:gd name="connsiteY70" fmla="*/ 64596 h 66406"/>
                    <a:gd name="connsiteX71" fmla="*/ 45881 w 60369"/>
                    <a:gd name="connsiteY71" fmla="*/ 61577 h 66406"/>
                    <a:gd name="connsiteX72" fmla="*/ 44070 w 60369"/>
                    <a:gd name="connsiteY72" fmla="*/ 60370 h 66406"/>
                    <a:gd name="connsiteX73" fmla="*/ 42259 w 60369"/>
                    <a:gd name="connsiteY73" fmla="*/ 61577 h 66406"/>
                    <a:gd name="connsiteX74" fmla="*/ 41051 w 60369"/>
                    <a:gd name="connsiteY74" fmla="*/ 61577 h 66406"/>
                    <a:gd name="connsiteX75" fmla="*/ 38637 w 60369"/>
                    <a:gd name="connsiteY75" fmla="*/ 60974 h 66406"/>
                    <a:gd name="connsiteX76" fmla="*/ 38637 w 60369"/>
                    <a:gd name="connsiteY76" fmla="*/ 60370 h 66406"/>
                    <a:gd name="connsiteX77" fmla="*/ 37429 w 60369"/>
                    <a:gd name="connsiteY77" fmla="*/ 59766 h 66406"/>
                    <a:gd name="connsiteX78" fmla="*/ 33807 w 60369"/>
                    <a:gd name="connsiteY78" fmla="*/ 57955 h 66406"/>
                    <a:gd name="connsiteX79" fmla="*/ 27770 w 60369"/>
                    <a:gd name="connsiteY79" fmla="*/ 57955 h 66406"/>
                    <a:gd name="connsiteX80" fmla="*/ 27770 w 60369"/>
                    <a:gd name="connsiteY80" fmla="*/ 63992 h 66406"/>
                    <a:gd name="connsiteX81" fmla="*/ 25355 w 60369"/>
                    <a:gd name="connsiteY81" fmla="*/ 63388 h 66406"/>
                    <a:gd name="connsiteX82" fmla="*/ 18111 w 60369"/>
                    <a:gd name="connsiteY82" fmla="*/ 54937 h 66406"/>
                    <a:gd name="connsiteX83" fmla="*/ 19318 w 60369"/>
                    <a:gd name="connsiteY83" fmla="*/ 50107 h 66406"/>
                    <a:gd name="connsiteX84" fmla="*/ 19318 w 60369"/>
                    <a:gd name="connsiteY84" fmla="*/ 49503 h 66406"/>
                    <a:gd name="connsiteX85" fmla="*/ 17507 w 60369"/>
                    <a:gd name="connsiteY85" fmla="*/ 50107 h 66406"/>
                    <a:gd name="connsiteX86" fmla="*/ 17507 w 60369"/>
                    <a:gd name="connsiteY86" fmla="*/ 50711 h 66406"/>
                    <a:gd name="connsiteX87" fmla="*/ 16904 w 60369"/>
                    <a:gd name="connsiteY87" fmla="*/ 53125 h 66406"/>
                    <a:gd name="connsiteX88" fmla="*/ 12678 w 60369"/>
                    <a:gd name="connsiteY88" fmla="*/ 53729 h 66406"/>
                    <a:gd name="connsiteX89" fmla="*/ 10263 w 60369"/>
                    <a:gd name="connsiteY89" fmla="*/ 50107 h 66406"/>
                    <a:gd name="connsiteX90" fmla="*/ 12678 w 60369"/>
                    <a:gd name="connsiteY90" fmla="*/ 44070 h 66406"/>
                    <a:gd name="connsiteX91" fmla="*/ 13281 w 60369"/>
                    <a:gd name="connsiteY91" fmla="*/ 43466 h 66406"/>
                    <a:gd name="connsiteX92" fmla="*/ 13281 w 60369"/>
                    <a:gd name="connsiteY92" fmla="*/ 41051 h 66406"/>
                    <a:gd name="connsiteX93" fmla="*/ 12678 w 60369"/>
                    <a:gd name="connsiteY93" fmla="*/ 39844 h 66406"/>
                    <a:gd name="connsiteX94" fmla="*/ 10867 w 60369"/>
                    <a:gd name="connsiteY94" fmla="*/ 39240 h 66406"/>
                    <a:gd name="connsiteX95" fmla="*/ 9659 w 60369"/>
                    <a:gd name="connsiteY95" fmla="*/ 31996 h 66406"/>
                    <a:gd name="connsiteX96" fmla="*/ 10867 w 60369"/>
                    <a:gd name="connsiteY96" fmla="*/ 31996 h 66406"/>
                    <a:gd name="connsiteX97" fmla="*/ 8452 w 60369"/>
                    <a:gd name="connsiteY97" fmla="*/ 26563 h 66406"/>
                    <a:gd name="connsiteX98" fmla="*/ 4226 w 60369"/>
                    <a:gd name="connsiteY98" fmla="*/ 25355 h 66406"/>
                    <a:gd name="connsiteX99" fmla="*/ 0 w 60369"/>
                    <a:gd name="connsiteY99" fmla="*/ 18715 h 66406"/>
                    <a:gd name="connsiteX100" fmla="*/ 604 w 60369"/>
                    <a:gd name="connsiteY100" fmla="*/ 17507 h 66406"/>
                    <a:gd name="connsiteX101" fmla="*/ 3018 w 60369"/>
                    <a:gd name="connsiteY101" fmla="*/ 15696 h 66406"/>
                    <a:gd name="connsiteX102" fmla="*/ 5433 w 60369"/>
                    <a:gd name="connsiteY102" fmla="*/ 14489 h 66406"/>
                    <a:gd name="connsiteX103" fmla="*/ 9659 w 60369"/>
                    <a:gd name="connsiteY103" fmla="*/ 18715 h 66406"/>
                    <a:gd name="connsiteX104" fmla="*/ 11470 w 60369"/>
                    <a:gd name="connsiteY104" fmla="*/ 19318 h 66406"/>
                    <a:gd name="connsiteX105" fmla="*/ 13281 w 60369"/>
                    <a:gd name="connsiteY105" fmla="*/ 18715 h 66406"/>
                    <a:gd name="connsiteX106" fmla="*/ 13885 w 60369"/>
                    <a:gd name="connsiteY106" fmla="*/ 14489 h 6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369" h="66406">
                      <a:moveTo>
                        <a:pt x="13885" y="14489"/>
                      </a:moveTo>
                      <a:lnTo>
                        <a:pt x="20526" y="14489"/>
                      </a:lnTo>
                      <a:lnTo>
                        <a:pt x="19922" y="9055"/>
                      </a:lnTo>
                      <a:lnTo>
                        <a:pt x="21129" y="14489"/>
                      </a:lnTo>
                      <a:lnTo>
                        <a:pt x="23544" y="15092"/>
                      </a:lnTo>
                      <a:lnTo>
                        <a:pt x="24752" y="15092"/>
                      </a:lnTo>
                      <a:lnTo>
                        <a:pt x="27166" y="7244"/>
                      </a:lnTo>
                      <a:lnTo>
                        <a:pt x="29581" y="7244"/>
                      </a:lnTo>
                      <a:lnTo>
                        <a:pt x="31392" y="6641"/>
                      </a:lnTo>
                      <a:lnTo>
                        <a:pt x="33807" y="7244"/>
                      </a:lnTo>
                      <a:lnTo>
                        <a:pt x="36222" y="5433"/>
                      </a:lnTo>
                      <a:lnTo>
                        <a:pt x="36826" y="0"/>
                      </a:lnTo>
                      <a:lnTo>
                        <a:pt x="37429" y="0"/>
                      </a:lnTo>
                      <a:lnTo>
                        <a:pt x="38637" y="604"/>
                      </a:lnTo>
                      <a:lnTo>
                        <a:pt x="39240" y="1207"/>
                      </a:lnTo>
                      <a:lnTo>
                        <a:pt x="40448" y="3622"/>
                      </a:lnTo>
                      <a:lnTo>
                        <a:pt x="41051" y="6037"/>
                      </a:lnTo>
                      <a:lnTo>
                        <a:pt x="39844" y="12074"/>
                      </a:lnTo>
                      <a:lnTo>
                        <a:pt x="44674" y="10866"/>
                      </a:lnTo>
                      <a:lnTo>
                        <a:pt x="46485" y="9055"/>
                      </a:lnTo>
                      <a:lnTo>
                        <a:pt x="52522" y="10263"/>
                      </a:lnTo>
                      <a:lnTo>
                        <a:pt x="52522" y="10866"/>
                      </a:lnTo>
                      <a:lnTo>
                        <a:pt x="52522" y="11470"/>
                      </a:lnTo>
                      <a:lnTo>
                        <a:pt x="53125" y="15092"/>
                      </a:lnTo>
                      <a:lnTo>
                        <a:pt x="50107" y="16903"/>
                      </a:lnTo>
                      <a:lnTo>
                        <a:pt x="48900" y="15092"/>
                      </a:lnTo>
                      <a:lnTo>
                        <a:pt x="48296" y="15092"/>
                      </a:lnTo>
                      <a:lnTo>
                        <a:pt x="47692" y="16300"/>
                      </a:lnTo>
                      <a:lnTo>
                        <a:pt x="47692" y="18111"/>
                      </a:lnTo>
                      <a:lnTo>
                        <a:pt x="45881" y="16903"/>
                      </a:lnTo>
                      <a:lnTo>
                        <a:pt x="45881" y="17507"/>
                      </a:lnTo>
                      <a:lnTo>
                        <a:pt x="45277" y="19922"/>
                      </a:lnTo>
                      <a:lnTo>
                        <a:pt x="44070" y="21733"/>
                      </a:lnTo>
                      <a:lnTo>
                        <a:pt x="39240" y="25355"/>
                      </a:lnTo>
                      <a:lnTo>
                        <a:pt x="38033" y="26563"/>
                      </a:lnTo>
                      <a:lnTo>
                        <a:pt x="36826" y="28374"/>
                      </a:lnTo>
                      <a:lnTo>
                        <a:pt x="33807" y="27770"/>
                      </a:lnTo>
                      <a:lnTo>
                        <a:pt x="31996" y="28374"/>
                      </a:lnTo>
                      <a:lnTo>
                        <a:pt x="29581" y="35618"/>
                      </a:lnTo>
                      <a:lnTo>
                        <a:pt x="30185" y="35618"/>
                      </a:lnTo>
                      <a:lnTo>
                        <a:pt x="31392" y="43466"/>
                      </a:lnTo>
                      <a:lnTo>
                        <a:pt x="33807" y="44674"/>
                      </a:lnTo>
                      <a:lnTo>
                        <a:pt x="34411" y="41655"/>
                      </a:lnTo>
                      <a:lnTo>
                        <a:pt x="36222" y="41051"/>
                      </a:lnTo>
                      <a:lnTo>
                        <a:pt x="38637" y="44070"/>
                      </a:lnTo>
                      <a:lnTo>
                        <a:pt x="39844" y="44070"/>
                      </a:lnTo>
                      <a:lnTo>
                        <a:pt x="41655" y="44674"/>
                      </a:lnTo>
                      <a:lnTo>
                        <a:pt x="46485" y="38033"/>
                      </a:lnTo>
                      <a:lnTo>
                        <a:pt x="45881" y="38033"/>
                      </a:lnTo>
                      <a:lnTo>
                        <a:pt x="45277" y="33807"/>
                      </a:lnTo>
                      <a:lnTo>
                        <a:pt x="46485" y="33807"/>
                      </a:lnTo>
                      <a:lnTo>
                        <a:pt x="47088" y="34411"/>
                      </a:lnTo>
                      <a:lnTo>
                        <a:pt x="47692" y="34411"/>
                      </a:lnTo>
                      <a:lnTo>
                        <a:pt x="53125" y="33203"/>
                      </a:lnTo>
                      <a:lnTo>
                        <a:pt x="54936" y="35014"/>
                      </a:lnTo>
                      <a:lnTo>
                        <a:pt x="57955" y="35618"/>
                      </a:lnTo>
                      <a:lnTo>
                        <a:pt x="59162" y="35618"/>
                      </a:lnTo>
                      <a:lnTo>
                        <a:pt x="63388" y="38637"/>
                      </a:lnTo>
                      <a:lnTo>
                        <a:pt x="62785" y="40448"/>
                      </a:lnTo>
                      <a:lnTo>
                        <a:pt x="56748" y="43466"/>
                      </a:lnTo>
                      <a:lnTo>
                        <a:pt x="56144" y="45881"/>
                      </a:lnTo>
                      <a:lnTo>
                        <a:pt x="56144" y="48296"/>
                      </a:lnTo>
                      <a:lnTo>
                        <a:pt x="59162" y="51918"/>
                      </a:lnTo>
                      <a:lnTo>
                        <a:pt x="60973" y="55540"/>
                      </a:lnTo>
                      <a:lnTo>
                        <a:pt x="59766" y="59162"/>
                      </a:lnTo>
                      <a:lnTo>
                        <a:pt x="56748" y="61577"/>
                      </a:lnTo>
                      <a:lnTo>
                        <a:pt x="56748" y="65199"/>
                      </a:lnTo>
                      <a:lnTo>
                        <a:pt x="54333" y="67011"/>
                      </a:lnTo>
                      <a:lnTo>
                        <a:pt x="53729" y="67614"/>
                      </a:lnTo>
                      <a:lnTo>
                        <a:pt x="51918" y="66407"/>
                      </a:lnTo>
                      <a:lnTo>
                        <a:pt x="50711" y="64596"/>
                      </a:lnTo>
                      <a:lnTo>
                        <a:pt x="45881" y="61577"/>
                      </a:lnTo>
                      <a:lnTo>
                        <a:pt x="44070" y="60370"/>
                      </a:lnTo>
                      <a:lnTo>
                        <a:pt x="42259" y="61577"/>
                      </a:lnTo>
                      <a:lnTo>
                        <a:pt x="41051" y="61577"/>
                      </a:lnTo>
                      <a:lnTo>
                        <a:pt x="38637" y="60974"/>
                      </a:lnTo>
                      <a:lnTo>
                        <a:pt x="38637" y="60370"/>
                      </a:lnTo>
                      <a:lnTo>
                        <a:pt x="37429" y="59766"/>
                      </a:lnTo>
                      <a:lnTo>
                        <a:pt x="33807" y="57955"/>
                      </a:lnTo>
                      <a:lnTo>
                        <a:pt x="27770" y="57955"/>
                      </a:lnTo>
                      <a:lnTo>
                        <a:pt x="27770" y="63992"/>
                      </a:lnTo>
                      <a:lnTo>
                        <a:pt x="25355" y="63388"/>
                      </a:lnTo>
                      <a:lnTo>
                        <a:pt x="18111" y="54937"/>
                      </a:lnTo>
                      <a:lnTo>
                        <a:pt x="19318" y="50107"/>
                      </a:lnTo>
                      <a:lnTo>
                        <a:pt x="19318" y="49503"/>
                      </a:lnTo>
                      <a:lnTo>
                        <a:pt x="17507" y="50107"/>
                      </a:lnTo>
                      <a:lnTo>
                        <a:pt x="17507" y="50711"/>
                      </a:lnTo>
                      <a:lnTo>
                        <a:pt x="16904" y="53125"/>
                      </a:lnTo>
                      <a:lnTo>
                        <a:pt x="12678" y="53729"/>
                      </a:lnTo>
                      <a:lnTo>
                        <a:pt x="10263" y="50107"/>
                      </a:lnTo>
                      <a:lnTo>
                        <a:pt x="12678" y="44070"/>
                      </a:lnTo>
                      <a:lnTo>
                        <a:pt x="13281" y="43466"/>
                      </a:lnTo>
                      <a:lnTo>
                        <a:pt x="13281" y="41051"/>
                      </a:lnTo>
                      <a:lnTo>
                        <a:pt x="12678" y="39844"/>
                      </a:lnTo>
                      <a:lnTo>
                        <a:pt x="10867" y="39240"/>
                      </a:lnTo>
                      <a:lnTo>
                        <a:pt x="9659" y="31996"/>
                      </a:lnTo>
                      <a:lnTo>
                        <a:pt x="10867" y="31996"/>
                      </a:lnTo>
                      <a:lnTo>
                        <a:pt x="8452" y="26563"/>
                      </a:lnTo>
                      <a:lnTo>
                        <a:pt x="4226" y="25355"/>
                      </a:lnTo>
                      <a:lnTo>
                        <a:pt x="0" y="18715"/>
                      </a:lnTo>
                      <a:lnTo>
                        <a:pt x="604" y="17507"/>
                      </a:lnTo>
                      <a:lnTo>
                        <a:pt x="3018" y="15696"/>
                      </a:lnTo>
                      <a:lnTo>
                        <a:pt x="5433" y="14489"/>
                      </a:lnTo>
                      <a:lnTo>
                        <a:pt x="9659" y="18715"/>
                      </a:lnTo>
                      <a:lnTo>
                        <a:pt x="11470" y="19318"/>
                      </a:lnTo>
                      <a:lnTo>
                        <a:pt x="13281" y="18715"/>
                      </a:lnTo>
                      <a:lnTo>
                        <a:pt x="13885" y="14489"/>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89" name="Daman and Diu" descr="{&quot;Key&quot;:&quot;daman and diu&quot;,&quot;Name&quot;:&quot;Daman and Diu&quot;,&quot;Value&quot;:1.0,&quot;Formula&quot;:&quot;&quot;,&quot;Text&quot;:&quot;&quot;,&quot;OfficeApplication&quot;:1,&quot;HasValue&quot;:true}">
                  <a:extLst>
                    <a:ext uri="{FF2B5EF4-FFF2-40B4-BE49-F238E27FC236}">
                      <a16:creationId xmlns:a16="http://schemas.microsoft.com/office/drawing/2014/main" id="{04DFD4A0-C9A0-498C-B910-CD8B507459CD}"/>
                    </a:ext>
                  </a:extLst>
                </p:cNvPr>
                <p:cNvSpPr/>
                <p:nvPr/>
              </p:nvSpPr>
              <p:spPr>
                <a:xfrm>
                  <a:off x="3596090" y="3820196"/>
                  <a:ext cx="452773" cy="132813"/>
                </a:xfrm>
                <a:custGeom>
                  <a:avLst/>
                  <a:gdLst>
                    <a:gd name="connsiteX0" fmla="*/ 451565 w 452772"/>
                    <a:gd name="connsiteY0" fmla="*/ 115306 h 132813"/>
                    <a:gd name="connsiteX1" fmla="*/ 448547 w 452772"/>
                    <a:gd name="connsiteY1" fmla="*/ 117721 h 132813"/>
                    <a:gd name="connsiteX2" fmla="*/ 446132 w 452772"/>
                    <a:gd name="connsiteY2" fmla="*/ 121343 h 132813"/>
                    <a:gd name="connsiteX3" fmla="*/ 446736 w 452772"/>
                    <a:gd name="connsiteY3" fmla="*/ 126173 h 132813"/>
                    <a:gd name="connsiteX4" fmla="*/ 447340 w 452772"/>
                    <a:gd name="connsiteY4" fmla="*/ 126173 h 132813"/>
                    <a:gd name="connsiteX5" fmla="*/ 448547 w 452772"/>
                    <a:gd name="connsiteY5" fmla="*/ 127380 h 132813"/>
                    <a:gd name="connsiteX6" fmla="*/ 452773 w 452772"/>
                    <a:gd name="connsiteY6" fmla="*/ 128587 h 132813"/>
                    <a:gd name="connsiteX7" fmla="*/ 452773 w 452772"/>
                    <a:gd name="connsiteY7" fmla="*/ 129191 h 132813"/>
                    <a:gd name="connsiteX8" fmla="*/ 453377 w 452772"/>
                    <a:gd name="connsiteY8" fmla="*/ 131606 h 132813"/>
                    <a:gd name="connsiteX9" fmla="*/ 453980 w 452772"/>
                    <a:gd name="connsiteY9" fmla="*/ 134021 h 132813"/>
                    <a:gd name="connsiteX10" fmla="*/ 452773 w 452772"/>
                    <a:gd name="connsiteY10" fmla="*/ 131606 h 132813"/>
                    <a:gd name="connsiteX11" fmla="*/ 448547 w 452772"/>
                    <a:gd name="connsiteY11" fmla="*/ 127984 h 132813"/>
                    <a:gd name="connsiteX12" fmla="*/ 446736 w 452772"/>
                    <a:gd name="connsiteY12" fmla="*/ 129795 h 132813"/>
                    <a:gd name="connsiteX13" fmla="*/ 444925 w 452772"/>
                    <a:gd name="connsiteY13" fmla="*/ 137039 h 132813"/>
                    <a:gd name="connsiteX14" fmla="*/ 442510 w 452772"/>
                    <a:gd name="connsiteY14" fmla="*/ 136436 h 132813"/>
                    <a:gd name="connsiteX15" fmla="*/ 443717 w 452772"/>
                    <a:gd name="connsiteY15" fmla="*/ 132813 h 132813"/>
                    <a:gd name="connsiteX16" fmla="*/ 444321 w 452772"/>
                    <a:gd name="connsiteY16" fmla="*/ 122550 h 132813"/>
                    <a:gd name="connsiteX17" fmla="*/ 447340 w 452772"/>
                    <a:gd name="connsiteY17" fmla="*/ 117117 h 132813"/>
                    <a:gd name="connsiteX18" fmla="*/ 451565 w 452772"/>
                    <a:gd name="connsiteY18" fmla="*/ 115306 h 132813"/>
                    <a:gd name="connsiteX19" fmla="*/ 59162 w 452772"/>
                    <a:gd name="connsiteY19" fmla="*/ 57351 h 132813"/>
                    <a:gd name="connsiteX20" fmla="*/ 66407 w 452772"/>
                    <a:gd name="connsiteY20" fmla="*/ 60370 h 132813"/>
                    <a:gd name="connsiteX21" fmla="*/ 62785 w 452772"/>
                    <a:gd name="connsiteY21" fmla="*/ 62785 h 132813"/>
                    <a:gd name="connsiteX22" fmla="*/ 50107 w 452772"/>
                    <a:gd name="connsiteY22" fmla="*/ 61577 h 132813"/>
                    <a:gd name="connsiteX23" fmla="*/ 44674 w 452772"/>
                    <a:gd name="connsiteY23" fmla="*/ 62181 h 132813"/>
                    <a:gd name="connsiteX24" fmla="*/ 47692 w 452772"/>
                    <a:gd name="connsiteY24" fmla="*/ 57955 h 132813"/>
                    <a:gd name="connsiteX25" fmla="*/ 52522 w 452772"/>
                    <a:gd name="connsiteY25" fmla="*/ 56748 h 132813"/>
                    <a:gd name="connsiteX26" fmla="*/ 56748 w 452772"/>
                    <a:gd name="connsiteY26" fmla="*/ 56144 h 132813"/>
                    <a:gd name="connsiteX27" fmla="*/ 59162 w 452772"/>
                    <a:gd name="connsiteY27" fmla="*/ 57351 h 132813"/>
                    <a:gd name="connsiteX28" fmla="*/ 37429 w 452772"/>
                    <a:gd name="connsiteY28" fmla="*/ 51918 h 132813"/>
                    <a:gd name="connsiteX29" fmla="*/ 37429 w 452772"/>
                    <a:gd name="connsiteY29" fmla="*/ 52522 h 132813"/>
                    <a:gd name="connsiteX30" fmla="*/ 34411 w 452772"/>
                    <a:gd name="connsiteY30" fmla="*/ 57351 h 132813"/>
                    <a:gd name="connsiteX31" fmla="*/ 40448 w 452772"/>
                    <a:gd name="connsiteY31" fmla="*/ 59766 h 132813"/>
                    <a:gd name="connsiteX32" fmla="*/ 40448 w 452772"/>
                    <a:gd name="connsiteY32" fmla="*/ 62785 h 132813"/>
                    <a:gd name="connsiteX33" fmla="*/ 33807 w 452772"/>
                    <a:gd name="connsiteY33" fmla="*/ 62785 h 132813"/>
                    <a:gd name="connsiteX34" fmla="*/ 28977 w 452772"/>
                    <a:gd name="connsiteY34" fmla="*/ 60370 h 132813"/>
                    <a:gd name="connsiteX35" fmla="*/ 27166 w 452772"/>
                    <a:gd name="connsiteY35" fmla="*/ 61577 h 132813"/>
                    <a:gd name="connsiteX36" fmla="*/ 17507 w 452772"/>
                    <a:gd name="connsiteY36" fmla="*/ 58559 h 132813"/>
                    <a:gd name="connsiteX37" fmla="*/ 14489 w 452772"/>
                    <a:gd name="connsiteY37" fmla="*/ 59162 h 132813"/>
                    <a:gd name="connsiteX38" fmla="*/ 2415 w 452772"/>
                    <a:gd name="connsiteY38" fmla="*/ 53125 h 132813"/>
                    <a:gd name="connsiteX39" fmla="*/ 604 w 452772"/>
                    <a:gd name="connsiteY39" fmla="*/ 48900 h 132813"/>
                    <a:gd name="connsiteX40" fmla="*/ 0 w 452772"/>
                    <a:gd name="connsiteY40" fmla="*/ 48296 h 132813"/>
                    <a:gd name="connsiteX41" fmla="*/ 1811 w 452772"/>
                    <a:gd name="connsiteY41" fmla="*/ 45277 h 132813"/>
                    <a:gd name="connsiteX42" fmla="*/ 1811 w 452772"/>
                    <a:gd name="connsiteY42" fmla="*/ 41655 h 132813"/>
                    <a:gd name="connsiteX43" fmla="*/ 604 w 452772"/>
                    <a:gd name="connsiteY43" fmla="*/ 37429 h 132813"/>
                    <a:gd name="connsiteX44" fmla="*/ 1207 w 452772"/>
                    <a:gd name="connsiteY44" fmla="*/ 31996 h 132813"/>
                    <a:gd name="connsiteX45" fmla="*/ 4226 w 452772"/>
                    <a:gd name="connsiteY45" fmla="*/ 23544 h 132813"/>
                    <a:gd name="connsiteX46" fmla="*/ 9055 w 452772"/>
                    <a:gd name="connsiteY46" fmla="*/ 16903 h 132813"/>
                    <a:gd name="connsiteX47" fmla="*/ 9055 w 452772"/>
                    <a:gd name="connsiteY47" fmla="*/ 11470 h 132813"/>
                    <a:gd name="connsiteX48" fmla="*/ 11470 w 452772"/>
                    <a:gd name="connsiteY48" fmla="*/ 6641 h 132813"/>
                    <a:gd name="connsiteX49" fmla="*/ 13885 w 452772"/>
                    <a:gd name="connsiteY49" fmla="*/ 3018 h 132813"/>
                    <a:gd name="connsiteX50" fmla="*/ 12074 w 452772"/>
                    <a:gd name="connsiteY50" fmla="*/ 0 h 132813"/>
                    <a:gd name="connsiteX51" fmla="*/ 13885 w 452772"/>
                    <a:gd name="connsiteY51" fmla="*/ 0 h 132813"/>
                    <a:gd name="connsiteX52" fmla="*/ 16903 w 452772"/>
                    <a:gd name="connsiteY52" fmla="*/ 3622 h 132813"/>
                    <a:gd name="connsiteX53" fmla="*/ 19318 w 452772"/>
                    <a:gd name="connsiteY53" fmla="*/ 6037 h 132813"/>
                    <a:gd name="connsiteX54" fmla="*/ 20526 w 452772"/>
                    <a:gd name="connsiteY54" fmla="*/ 6037 h 132813"/>
                    <a:gd name="connsiteX55" fmla="*/ 21733 w 452772"/>
                    <a:gd name="connsiteY55" fmla="*/ 4830 h 132813"/>
                    <a:gd name="connsiteX56" fmla="*/ 24752 w 452772"/>
                    <a:gd name="connsiteY56" fmla="*/ 6641 h 132813"/>
                    <a:gd name="connsiteX57" fmla="*/ 27770 w 452772"/>
                    <a:gd name="connsiteY57" fmla="*/ 5433 h 132813"/>
                    <a:gd name="connsiteX58" fmla="*/ 30789 w 452772"/>
                    <a:gd name="connsiteY58" fmla="*/ 6641 h 132813"/>
                    <a:gd name="connsiteX59" fmla="*/ 35618 w 452772"/>
                    <a:gd name="connsiteY59" fmla="*/ 4226 h 132813"/>
                    <a:gd name="connsiteX60" fmla="*/ 36222 w 452772"/>
                    <a:gd name="connsiteY60" fmla="*/ 6037 h 132813"/>
                    <a:gd name="connsiteX61" fmla="*/ 38637 w 452772"/>
                    <a:gd name="connsiteY61" fmla="*/ 6037 h 132813"/>
                    <a:gd name="connsiteX62" fmla="*/ 42259 w 452772"/>
                    <a:gd name="connsiteY62" fmla="*/ 7244 h 132813"/>
                    <a:gd name="connsiteX63" fmla="*/ 44674 w 452772"/>
                    <a:gd name="connsiteY63" fmla="*/ 12074 h 132813"/>
                    <a:gd name="connsiteX64" fmla="*/ 47088 w 452772"/>
                    <a:gd name="connsiteY64" fmla="*/ 18715 h 132813"/>
                    <a:gd name="connsiteX65" fmla="*/ 46485 w 452772"/>
                    <a:gd name="connsiteY65" fmla="*/ 22940 h 132813"/>
                    <a:gd name="connsiteX66" fmla="*/ 43466 w 452772"/>
                    <a:gd name="connsiteY66" fmla="*/ 25355 h 132813"/>
                    <a:gd name="connsiteX67" fmla="*/ 34411 w 452772"/>
                    <a:gd name="connsiteY67" fmla="*/ 28977 h 132813"/>
                    <a:gd name="connsiteX68" fmla="*/ 33807 w 452772"/>
                    <a:gd name="connsiteY68" fmla="*/ 33807 h 132813"/>
                    <a:gd name="connsiteX69" fmla="*/ 36222 w 452772"/>
                    <a:gd name="connsiteY69" fmla="*/ 35014 h 132813"/>
                    <a:gd name="connsiteX70" fmla="*/ 44674 w 452772"/>
                    <a:gd name="connsiteY70" fmla="*/ 34411 h 132813"/>
                    <a:gd name="connsiteX71" fmla="*/ 45881 w 452772"/>
                    <a:gd name="connsiteY71" fmla="*/ 38033 h 132813"/>
                    <a:gd name="connsiteX72" fmla="*/ 45277 w 452772"/>
                    <a:gd name="connsiteY72" fmla="*/ 42863 h 132813"/>
                    <a:gd name="connsiteX73" fmla="*/ 38637 w 452772"/>
                    <a:gd name="connsiteY73" fmla="*/ 45881 h 132813"/>
                    <a:gd name="connsiteX74" fmla="*/ 37429 w 452772"/>
                    <a:gd name="connsiteY74" fmla="*/ 51918 h 13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52772" h="132813">
                      <a:moveTo>
                        <a:pt x="451565" y="115306"/>
                      </a:moveTo>
                      <a:lnTo>
                        <a:pt x="448547" y="117721"/>
                      </a:lnTo>
                      <a:lnTo>
                        <a:pt x="446132" y="121343"/>
                      </a:lnTo>
                      <a:lnTo>
                        <a:pt x="446736" y="126173"/>
                      </a:lnTo>
                      <a:lnTo>
                        <a:pt x="447340" y="126173"/>
                      </a:lnTo>
                      <a:lnTo>
                        <a:pt x="448547" y="127380"/>
                      </a:lnTo>
                      <a:lnTo>
                        <a:pt x="452773" y="128587"/>
                      </a:lnTo>
                      <a:lnTo>
                        <a:pt x="452773" y="129191"/>
                      </a:lnTo>
                      <a:lnTo>
                        <a:pt x="453377" y="131606"/>
                      </a:lnTo>
                      <a:lnTo>
                        <a:pt x="453980" y="134021"/>
                      </a:lnTo>
                      <a:lnTo>
                        <a:pt x="452773" y="131606"/>
                      </a:lnTo>
                      <a:lnTo>
                        <a:pt x="448547" y="127984"/>
                      </a:lnTo>
                      <a:lnTo>
                        <a:pt x="446736" y="129795"/>
                      </a:lnTo>
                      <a:lnTo>
                        <a:pt x="444925" y="137039"/>
                      </a:lnTo>
                      <a:lnTo>
                        <a:pt x="442510" y="136436"/>
                      </a:lnTo>
                      <a:lnTo>
                        <a:pt x="443717" y="132813"/>
                      </a:lnTo>
                      <a:lnTo>
                        <a:pt x="444321" y="122550"/>
                      </a:lnTo>
                      <a:lnTo>
                        <a:pt x="447340" y="117117"/>
                      </a:lnTo>
                      <a:lnTo>
                        <a:pt x="451565" y="115306"/>
                      </a:lnTo>
                      <a:close/>
                      <a:moveTo>
                        <a:pt x="59162" y="57351"/>
                      </a:moveTo>
                      <a:lnTo>
                        <a:pt x="66407" y="60370"/>
                      </a:lnTo>
                      <a:lnTo>
                        <a:pt x="62785" y="62785"/>
                      </a:lnTo>
                      <a:lnTo>
                        <a:pt x="50107" y="61577"/>
                      </a:lnTo>
                      <a:lnTo>
                        <a:pt x="44674" y="62181"/>
                      </a:lnTo>
                      <a:lnTo>
                        <a:pt x="47692" y="57955"/>
                      </a:lnTo>
                      <a:lnTo>
                        <a:pt x="52522" y="56748"/>
                      </a:lnTo>
                      <a:lnTo>
                        <a:pt x="56748" y="56144"/>
                      </a:lnTo>
                      <a:lnTo>
                        <a:pt x="59162" y="57351"/>
                      </a:lnTo>
                      <a:close/>
                      <a:moveTo>
                        <a:pt x="37429" y="51918"/>
                      </a:moveTo>
                      <a:lnTo>
                        <a:pt x="37429" y="52522"/>
                      </a:lnTo>
                      <a:lnTo>
                        <a:pt x="34411" y="57351"/>
                      </a:lnTo>
                      <a:lnTo>
                        <a:pt x="40448" y="59766"/>
                      </a:lnTo>
                      <a:lnTo>
                        <a:pt x="40448" y="62785"/>
                      </a:lnTo>
                      <a:lnTo>
                        <a:pt x="33807" y="62785"/>
                      </a:lnTo>
                      <a:lnTo>
                        <a:pt x="28977" y="60370"/>
                      </a:lnTo>
                      <a:lnTo>
                        <a:pt x="27166" y="61577"/>
                      </a:lnTo>
                      <a:lnTo>
                        <a:pt x="17507" y="58559"/>
                      </a:lnTo>
                      <a:lnTo>
                        <a:pt x="14489" y="59162"/>
                      </a:lnTo>
                      <a:lnTo>
                        <a:pt x="2415" y="53125"/>
                      </a:lnTo>
                      <a:lnTo>
                        <a:pt x="604" y="48900"/>
                      </a:lnTo>
                      <a:lnTo>
                        <a:pt x="0" y="48296"/>
                      </a:lnTo>
                      <a:lnTo>
                        <a:pt x="1811" y="45277"/>
                      </a:lnTo>
                      <a:lnTo>
                        <a:pt x="1811" y="41655"/>
                      </a:lnTo>
                      <a:lnTo>
                        <a:pt x="604" y="37429"/>
                      </a:lnTo>
                      <a:lnTo>
                        <a:pt x="1207" y="31996"/>
                      </a:lnTo>
                      <a:lnTo>
                        <a:pt x="4226" y="23544"/>
                      </a:lnTo>
                      <a:lnTo>
                        <a:pt x="9055" y="16903"/>
                      </a:lnTo>
                      <a:lnTo>
                        <a:pt x="9055" y="11470"/>
                      </a:lnTo>
                      <a:lnTo>
                        <a:pt x="11470" y="6641"/>
                      </a:lnTo>
                      <a:lnTo>
                        <a:pt x="13885" y="3018"/>
                      </a:lnTo>
                      <a:lnTo>
                        <a:pt x="12074" y="0"/>
                      </a:lnTo>
                      <a:lnTo>
                        <a:pt x="13885" y="0"/>
                      </a:lnTo>
                      <a:lnTo>
                        <a:pt x="16903" y="3622"/>
                      </a:lnTo>
                      <a:lnTo>
                        <a:pt x="19318" y="6037"/>
                      </a:lnTo>
                      <a:lnTo>
                        <a:pt x="20526" y="6037"/>
                      </a:lnTo>
                      <a:lnTo>
                        <a:pt x="21733" y="4830"/>
                      </a:lnTo>
                      <a:lnTo>
                        <a:pt x="24752" y="6641"/>
                      </a:lnTo>
                      <a:lnTo>
                        <a:pt x="27770" y="5433"/>
                      </a:lnTo>
                      <a:lnTo>
                        <a:pt x="30789" y="6641"/>
                      </a:lnTo>
                      <a:lnTo>
                        <a:pt x="35618" y="4226"/>
                      </a:lnTo>
                      <a:lnTo>
                        <a:pt x="36222" y="6037"/>
                      </a:lnTo>
                      <a:lnTo>
                        <a:pt x="38637" y="6037"/>
                      </a:lnTo>
                      <a:lnTo>
                        <a:pt x="42259" y="7244"/>
                      </a:lnTo>
                      <a:lnTo>
                        <a:pt x="44674" y="12074"/>
                      </a:lnTo>
                      <a:lnTo>
                        <a:pt x="47088" y="18715"/>
                      </a:lnTo>
                      <a:lnTo>
                        <a:pt x="46485" y="22940"/>
                      </a:lnTo>
                      <a:lnTo>
                        <a:pt x="43466" y="25355"/>
                      </a:lnTo>
                      <a:lnTo>
                        <a:pt x="34411" y="28977"/>
                      </a:lnTo>
                      <a:lnTo>
                        <a:pt x="33807" y="33807"/>
                      </a:lnTo>
                      <a:lnTo>
                        <a:pt x="36222" y="35014"/>
                      </a:lnTo>
                      <a:lnTo>
                        <a:pt x="44674" y="34411"/>
                      </a:lnTo>
                      <a:lnTo>
                        <a:pt x="45881" y="38033"/>
                      </a:lnTo>
                      <a:lnTo>
                        <a:pt x="45277" y="42863"/>
                      </a:lnTo>
                      <a:lnTo>
                        <a:pt x="38637" y="45881"/>
                      </a:lnTo>
                      <a:lnTo>
                        <a:pt x="37429" y="51918"/>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0" name="Delhi" descr="{&quot;Key&quot;:&quot;delhi&quot;,&quot;Name&quot;:&quot;Delhi&quot;,&quot;Value&quot;:1.0,&quot;Formula&quot;:&quot;&quot;,&quot;Text&quot;:&quot;&quot;,&quot;OfficeApplication&quot;:1,&quot;HasValue&quot;:true}">
                  <a:extLst>
                    <a:ext uri="{FF2B5EF4-FFF2-40B4-BE49-F238E27FC236}">
                      <a16:creationId xmlns:a16="http://schemas.microsoft.com/office/drawing/2014/main" id="{BE5ACF82-4E34-4F8E-B99C-EA4C1D71EBB0}"/>
                    </a:ext>
                  </a:extLst>
                </p:cNvPr>
                <p:cNvSpPr/>
                <p:nvPr/>
              </p:nvSpPr>
              <p:spPr>
                <a:xfrm>
                  <a:off x="4865665" y="2025404"/>
                  <a:ext cx="102629" cy="108665"/>
                </a:xfrm>
                <a:custGeom>
                  <a:avLst/>
                  <a:gdLst>
                    <a:gd name="connsiteX0" fmla="*/ 74858 w 102628"/>
                    <a:gd name="connsiteY0" fmla="*/ 16903 h 108665"/>
                    <a:gd name="connsiteX1" fmla="*/ 75462 w 102628"/>
                    <a:gd name="connsiteY1" fmla="*/ 18715 h 108665"/>
                    <a:gd name="connsiteX2" fmla="*/ 77273 w 102628"/>
                    <a:gd name="connsiteY2" fmla="*/ 20526 h 108665"/>
                    <a:gd name="connsiteX3" fmla="*/ 78481 w 102628"/>
                    <a:gd name="connsiteY3" fmla="*/ 20526 h 108665"/>
                    <a:gd name="connsiteX4" fmla="*/ 80895 w 102628"/>
                    <a:gd name="connsiteY4" fmla="*/ 20526 h 108665"/>
                    <a:gd name="connsiteX5" fmla="*/ 80292 w 102628"/>
                    <a:gd name="connsiteY5" fmla="*/ 22940 h 108665"/>
                    <a:gd name="connsiteX6" fmla="*/ 82103 w 102628"/>
                    <a:gd name="connsiteY6" fmla="*/ 24148 h 108665"/>
                    <a:gd name="connsiteX7" fmla="*/ 85121 w 102628"/>
                    <a:gd name="connsiteY7" fmla="*/ 27770 h 108665"/>
                    <a:gd name="connsiteX8" fmla="*/ 86932 w 102628"/>
                    <a:gd name="connsiteY8" fmla="*/ 28374 h 108665"/>
                    <a:gd name="connsiteX9" fmla="*/ 87536 w 102628"/>
                    <a:gd name="connsiteY9" fmla="*/ 31392 h 108665"/>
                    <a:gd name="connsiteX10" fmla="*/ 89347 w 102628"/>
                    <a:gd name="connsiteY10" fmla="*/ 31996 h 108665"/>
                    <a:gd name="connsiteX11" fmla="*/ 90555 w 102628"/>
                    <a:gd name="connsiteY11" fmla="*/ 31996 h 108665"/>
                    <a:gd name="connsiteX12" fmla="*/ 92969 w 102628"/>
                    <a:gd name="connsiteY12" fmla="*/ 36826 h 108665"/>
                    <a:gd name="connsiteX13" fmla="*/ 94780 w 102628"/>
                    <a:gd name="connsiteY13" fmla="*/ 38637 h 108665"/>
                    <a:gd name="connsiteX14" fmla="*/ 95384 w 102628"/>
                    <a:gd name="connsiteY14" fmla="*/ 38033 h 108665"/>
                    <a:gd name="connsiteX15" fmla="*/ 100214 w 102628"/>
                    <a:gd name="connsiteY15" fmla="*/ 36826 h 108665"/>
                    <a:gd name="connsiteX16" fmla="*/ 100817 w 102628"/>
                    <a:gd name="connsiteY16" fmla="*/ 38033 h 108665"/>
                    <a:gd name="connsiteX17" fmla="*/ 102025 w 102628"/>
                    <a:gd name="connsiteY17" fmla="*/ 42863 h 108665"/>
                    <a:gd name="connsiteX18" fmla="*/ 100214 w 102628"/>
                    <a:gd name="connsiteY18" fmla="*/ 47692 h 108665"/>
                    <a:gd name="connsiteX19" fmla="*/ 99006 w 102628"/>
                    <a:gd name="connsiteY19" fmla="*/ 54333 h 108665"/>
                    <a:gd name="connsiteX20" fmla="*/ 103836 w 102628"/>
                    <a:gd name="connsiteY20" fmla="*/ 59162 h 108665"/>
                    <a:gd name="connsiteX21" fmla="*/ 102025 w 102628"/>
                    <a:gd name="connsiteY21" fmla="*/ 63388 h 108665"/>
                    <a:gd name="connsiteX22" fmla="*/ 98403 w 102628"/>
                    <a:gd name="connsiteY22" fmla="*/ 64596 h 108665"/>
                    <a:gd name="connsiteX23" fmla="*/ 95384 w 102628"/>
                    <a:gd name="connsiteY23" fmla="*/ 68821 h 108665"/>
                    <a:gd name="connsiteX24" fmla="*/ 95384 w 102628"/>
                    <a:gd name="connsiteY24" fmla="*/ 69425 h 108665"/>
                    <a:gd name="connsiteX25" fmla="*/ 97195 w 102628"/>
                    <a:gd name="connsiteY25" fmla="*/ 76066 h 108665"/>
                    <a:gd name="connsiteX26" fmla="*/ 99610 w 102628"/>
                    <a:gd name="connsiteY26" fmla="*/ 78481 h 108665"/>
                    <a:gd name="connsiteX27" fmla="*/ 102629 w 102628"/>
                    <a:gd name="connsiteY27" fmla="*/ 82103 h 108665"/>
                    <a:gd name="connsiteX28" fmla="*/ 103836 w 102628"/>
                    <a:gd name="connsiteY28" fmla="*/ 84518 h 108665"/>
                    <a:gd name="connsiteX29" fmla="*/ 102629 w 102628"/>
                    <a:gd name="connsiteY29" fmla="*/ 86329 h 108665"/>
                    <a:gd name="connsiteX30" fmla="*/ 99610 w 102628"/>
                    <a:gd name="connsiteY30" fmla="*/ 89347 h 108665"/>
                    <a:gd name="connsiteX31" fmla="*/ 96592 w 102628"/>
                    <a:gd name="connsiteY31" fmla="*/ 90555 h 108665"/>
                    <a:gd name="connsiteX32" fmla="*/ 91762 w 102628"/>
                    <a:gd name="connsiteY32" fmla="*/ 88744 h 108665"/>
                    <a:gd name="connsiteX33" fmla="*/ 86932 w 102628"/>
                    <a:gd name="connsiteY33" fmla="*/ 91158 h 108665"/>
                    <a:gd name="connsiteX34" fmla="*/ 82706 w 102628"/>
                    <a:gd name="connsiteY34" fmla="*/ 93573 h 108665"/>
                    <a:gd name="connsiteX35" fmla="*/ 80895 w 102628"/>
                    <a:gd name="connsiteY35" fmla="*/ 96592 h 108665"/>
                    <a:gd name="connsiteX36" fmla="*/ 84518 w 102628"/>
                    <a:gd name="connsiteY36" fmla="*/ 100214 h 108665"/>
                    <a:gd name="connsiteX37" fmla="*/ 83914 w 102628"/>
                    <a:gd name="connsiteY37" fmla="*/ 104440 h 108665"/>
                    <a:gd name="connsiteX38" fmla="*/ 79084 w 102628"/>
                    <a:gd name="connsiteY38" fmla="*/ 108062 h 108665"/>
                    <a:gd name="connsiteX39" fmla="*/ 74858 w 102628"/>
                    <a:gd name="connsiteY39" fmla="*/ 108665 h 108665"/>
                    <a:gd name="connsiteX40" fmla="*/ 68821 w 102628"/>
                    <a:gd name="connsiteY40" fmla="*/ 109269 h 108665"/>
                    <a:gd name="connsiteX41" fmla="*/ 65803 w 102628"/>
                    <a:gd name="connsiteY41" fmla="*/ 105043 h 108665"/>
                    <a:gd name="connsiteX42" fmla="*/ 61577 w 102628"/>
                    <a:gd name="connsiteY42" fmla="*/ 102629 h 108665"/>
                    <a:gd name="connsiteX43" fmla="*/ 57955 w 102628"/>
                    <a:gd name="connsiteY43" fmla="*/ 99610 h 108665"/>
                    <a:gd name="connsiteX44" fmla="*/ 56144 w 102628"/>
                    <a:gd name="connsiteY44" fmla="*/ 91762 h 108665"/>
                    <a:gd name="connsiteX45" fmla="*/ 56748 w 102628"/>
                    <a:gd name="connsiteY45" fmla="*/ 89347 h 108665"/>
                    <a:gd name="connsiteX46" fmla="*/ 53125 w 102628"/>
                    <a:gd name="connsiteY46" fmla="*/ 86932 h 108665"/>
                    <a:gd name="connsiteX47" fmla="*/ 49503 w 102628"/>
                    <a:gd name="connsiteY47" fmla="*/ 83310 h 108665"/>
                    <a:gd name="connsiteX48" fmla="*/ 48296 w 102628"/>
                    <a:gd name="connsiteY48" fmla="*/ 83310 h 108665"/>
                    <a:gd name="connsiteX49" fmla="*/ 46485 w 102628"/>
                    <a:gd name="connsiteY49" fmla="*/ 84518 h 108665"/>
                    <a:gd name="connsiteX50" fmla="*/ 44674 w 102628"/>
                    <a:gd name="connsiteY50" fmla="*/ 84518 h 108665"/>
                    <a:gd name="connsiteX51" fmla="*/ 43466 w 102628"/>
                    <a:gd name="connsiteY51" fmla="*/ 83310 h 108665"/>
                    <a:gd name="connsiteX52" fmla="*/ 38637 w 102628"/>
                    <a:gd name="connsiteY52" fmla="*/ 80292 h 108665"/>
                    <a:gd name="connsiteX53" fmla="*/ 38033 w 102628"/>
                    <a:gd name="connsiteY53" fmla="*/ 80292 h 108665"/>
                    <a:gd name="connsiteX54" fmla="*/ 34411 w 102628"/>
                    <a:gd name="connsiteY54" fmla="*/ 77877 h 108665"/>
                    <a:gd name="connsiteX55" fmla="*/ 36825 w 102628"/>
                    <a:gd name="connsiteY55" fmla="*/ 82103 h 108665"/>
                    <a:gd name="connsiteX56" fmla="*/ 35618 w 102628"/>
                    <a:gd name="connsiteY56" fmla="*/ 84518 h 108665"/>
                    <a:gd name="connsiteX57" fmla="*/ 29581 w 102628"/>
                    <a:gd name="connsiteY57" fmla="*/ 82707 h 108665"/>
                    <a:gd name="connsiteX58" fmla="*/ 28374 w 102628"/>
                    <a:gd name="connsiteY58" fmla="*/ 81499 h 108665"/>
                    <a:gd name="connsiteX59" fmla="*/ 22940 w 102628"/>
                    <a:gd name="connsiteY59" fmla="*/ 84518 h 108665"/>
                    <a:gd name="connsiteX60" fmla="*/ 20526 w 102628"/>
                    <a:gd name="connsiteY60" fmla="*/ 84518 h 108665"/>
                    <a:gd name="connsiteX61" fmla="*/ 15696 w 102628"/>
                    <a:gd name="connsiteY61" fmla="*/ 84518 h 108665"/>
                    <a:gd name="connsiteX62" fmla="*/ 12677 w 102628"/>
                    <a:gd name="connsiteY62" fmla="*/ 84518 h 108665"/>
                    <a:gd name="connsiteX63" fmla="*/ 9659 w 102628"/>
                    <a:gd name="connsiteY63" fmla="*/ 85725 h 108665"/>
                    <a:gd name="connsiteX64" fmla="*/ 9659 w 102628"/>
                    <a:gd name="connsiteY64" fmla="*/ 82103 h 108665"/>
                    <a:gd name="connsiteX65" fmla="*/ 5433 w 102628"/>
                    <a:gd name="connsiteY65" fmla="*/ 78481 h 108665"/>
                    <a:gd name="connsiteX66" fmla="*/ 1207 w 102628"/>
                    <a:gd name="connsiteY66" fmla="*/ 74858 h 108665"/>
                    <a:gd name="connsiteX67" fmla="*/ 0 w 102628"/>
                    <a:gd name="connsiteY67" fmla="*/ 68821 h 108665"/>
                    <a:gd name="connsiteX68" fmla="*/ 604 w 102628"/>
                    <a:gd name="connsiteY68" fmla="*/ 66407 h 108665"/>
                    <a:gd name="connsiteX69" fmla="*/ 4830 w 102628"/>
                    <a:gd name="connsiteY69" fmla="*/ 66407 h 108665"/>
                    <a:gd name="connsiteX70" fmla="*/ 9659 w 102628"/>
                    <a:gd name="connsiteY70" fmla="*/ 55540 h 108665"/>
                    <a:gd name="connsiteX71" fmla="*/ 12677 w 102628"/>
                    <a:gd name="connsiteY71" fmla="*/ 56748 h 108665"/>
                    <a:gd name="connsiteX72" fmla="*/ 16300 w 102628"/>
                    <a:gd name="connsiteY72" fmla="*/ 55540 h 108665"/>
                    <a:gd name="connsiteX73" fmla="*/ 17507 w 102628"/>
                    <a:gd name="connsiteY73" fmla="*/ 51918 h 108665"/>
                    <a:gd name="connsiteX74" fmla="*/ 18714 w 102628"/>
                    <a:gd name="connsiteY74" fmla="*/ 48296 h 108665"/>
                    <a:gd name="connsiteX75" fmla="*/ 22940 w 102628"/>
                    <a:gd name="connsiteY75" fmla="*/ 47088 h 108665"/>
                    <a:gd name="connsiteX76" fmla="*/ 23544 w 102628"/>
                    <a:gd name="connsiteY76" fmla="*/ 46485 h 108665"/>
                    <a:gd name="connsiteX77" fmla="*/ 24148 w 102628"/>
                    <a:gd name="connsiteY77" fmla="*/ 42259 h 108665"/>
                    <a:gd name="connsiteX78" fmla="*/ 25355 w 102628"/>
                    <a:gd name="connsiteY78" fmla="*/ 39844 h 108665"/>
                    <a:gd name="connsiteX79" fmla="*/ 22337 w 102628"/>
                    <a:gd name="connsiteY79" fmla="*/ 36826 h 108665"/>
                    <a:gd name="connsiteX80" fmla="*/ 24148 w 102628"/>
                    <a:gd name="connsiteY80" fmla="*/ 30185 h 108665"/>
                    <a:gd name="connsiteX81" fmla="*/ 21733 w 102628"/>
                    <a:gd name="connsiteY81" fmla="*/ 27166 h 108665"/>
                    <a:gd name="connsiteX82" fmla="*/ 23544 w 102628"/>
                    <a:gd name="connsiteY82" fmla="*/ 23544 h 108665"/>
                    <a:gd name="connsiteX83" fmla="*/ 21733 w 102628"/>
                    <a:gd name="connsiteY83" fmla="*/ 16903 h 108665"/>
                    <a:gd name="connsiteX84" fmla="*/ 21733 w 102628"/>
                    <a:gd name="connsiteY84" fmla="*/ 15092 h 108665"/>
                    <a:gd name="connsiteX85" fmla="*/ 22940 w 102628"/>
                    <a:gd name="connsiteY85" fmla="*/ 12678 h 108665"/>
                    <a:gd name="connsiteX86" fmla="*/ 24148 w 102628"/>
                    <a:gd name="connsiteY86" fmla="*/ 13281 h 108665"/>
                    <a:gd name="connsiteX87" fmla="*/ 25959 w 102628"/>
                    <a:gd name="connsiteY87" fmla="*/ 10263 h 108665"/>
                    <a:gd name="connsiteX88" fmla="*/ 30185 w 102628"/>
                    <a:gd name="connsiteY88" fmla="*/ 9055 h 108665"/>
                    <a:gd name="connsiteX89" fmla="*/ 31392 w 102628"/>
                    <a:gd name="connsiteY89" fmla="*/ 8452 h 108665"/>
                    <a:gd name="connsiteX90" fmla="*/ 41051 w 102628"/>
                    <a:gd name="connsiteY90" fmla="*/ 9055 h 108665"/>
                    <a:gd name="connsiteX91" fmla="*/ 42259 w 102628"/>
                    <a:gd name="connsiteY91" fmla="*/ 4830 h 108665"/>
                    <a:gd name="connsiteX92" fmla="*/ 44674 w 102628"/>
                    <a:gd name="connsiteY92" fmla="*/ 604 h 108665"/>
                    <a:gd name="connsiteX93" fmla="*/ 51918 w 102628"/>
                    <a:gd name="connsiteY93" fmla="*/ 0 h 108665"/>
                    <a:gd name="connsiteX94" fmla="*/ 54936 w 102628"/>
                    <a:gd name="connsiteY94" fmla="*/ 604 h 108665"/>
                    <a:gd name="connsiteX95" fmla="*/ 57351 w 102628"/>
                    <a:gd name="connsiteY95" fmla="*/ 1811 h 108665"/>
                    <a:gd name="connsiteX96" fmla="*/ 60973 w 102628"/>
                    <a:gd name="connsiteY96" fmla="*/ 2415 h 108665"/>
                    <a:gd name="connsiteX97" fmla="*/ 62784 w 102628"/>
                    <a:gd name="connsiteY97" fmla="*/ 5433 h 108665"/>
                    <a:gd name="connsiteX98" fmla="*/ 65803 w 102628"/>
                    <a:gd name="connsiteY98" fmla="*/ 6037 h 108665"/>
                    <a:gd name="connsiteX99" fmla="*/ 68218 w 102628"/>
                    <a:gd name="connsiteY99" fmla="*/ 3018 h 108665"/>
                    <a:gd name="connsiteX100" fmla="*/ 72444 w 102628"/>
                    <a:gd name="connsiteY100" fmla="*/ 3018 h 108665"/>
                    <a:gd name="connsiteX101" fmla="*/ 74255 w 102628"/>
                    <a:gd name="connsiteY101" fmla="*/ 2415 h 108665"/>
                    <a:gd name="connsiteX102" fmla="*/ 76669 w 102628"/>
                    <a:gd name="connsiteY102" fmla="*/ 3018 h 108665"/>
                    <a:gd name="connsiteX103" fmla="*/ 79688 w 102628"/>
                    <a:gd name="connsiteY103" fmla="*/ 9055 h 108665"/>
                    <a:gd name="connsiteX104" fmla="*/ 78481 w 102628"/>
                    <a:gd name="connsiteY104" fmla="*/ 14489 h 108665"/>
                    <a:gd name="connsiteX105" fmla="*/ 74858 w 102628"/>
                    <a:gd name="connsiteY105" fmla="*/ 16903 h 10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02628" h="108665">
                      <a:moveTo>
                        <a:pt x="74858" y="16903"/>
                      </a:moveTo>
                      <a:lnTo>
                        <a:pt x="75462" y="18715"/>
                      </a:lnTo>
                      <a:lnTo>
                        <a:pt x="77273" y="20526"/>
                      </a:lnTo>
                      <a:lnTo>
                        <a:pt x="78481" y="20526"/>
                      </a:lnTo>
                      <a:lnTo>
                        <a:pt x="80895" y="20526"/>
                      </a:lnTo>
                      <a:lnTo>
                        <a:pt x="80292" y="22940"/>
                      </a:lnTo>
                      <a:lnTo>
                        <a:pt x="82103" y="24148"/>
                      </a:lnTo>
                      <a:lnTo>
                        <a:pt x="85121" y="27770"/>
                      </a:lnTo>
                      <a:lnTo>
                        <a:pt x="86932" y="28374"/>
                      </a:lnTo>
                      <a:lnTo>
                        <a:pt x="87536" y="31392"/>
                      </a:lnTo>
                      <a:lnTo>
                        <a:pt x="89347" y="31996"/>
                      </a:lnTo>
                      <a:lnTo>
                        <a:pt x="90555" y="31996"/>
                      </a:lnTo>
                      <a:lnTo>
                        <a:pt x="92969" y="36826"/>
                      </a:lnTo>
                      <a:lnTo>
                        <a:pt x="94780" y="38637"/>
                      </a:lnTo>
                      <a:lnTo>
                        <a:pt x="95384" y="38033"/>
                      </a:lnTo>
                      <a:lnTo>
                        <a:pt x="100214" y="36826"/>
                      </a:lnTo>
                      <a:lnTo>
                        <a:pt x="100817" y="38033"/>
                      </a:lnTo>
                      <a:lnTo>
                        <a:pt x="102025" y="42863"/>
                      </a:lnTo>
                      <a:lnTo>
                        <a:pt x="100214" y="47692"/>
                      </a:lnTo>
                      <a:lnTo>
                        <a:pt x="99006" y="54333"/>
                      </a:lnTo>
                      <a:lnTo>
                        <a:pt x="103836" y="59162"/>
                      </a:lnTo>
                      <a:lnTo>
                        <a:pt x="102025" y="63388"/>
                      </a:lnTo>
                      <a:lnTo>
                        <a:pt x="98403" y="64596"/>
                      </a:lnTo>
                      <a:lnTo>
                        <a:pt x="95384" y="68821"/>
                      </a:lnTo>
                      <a:lnTo>
                        <a:pt x="95384" y="69425"/>
                      </a:lnTo>
                      <a:lnTo>
                        <a:pt x="97195" y="76066"/>
                      </a:lnTo>
                      <a:lnTo>
                        <a:pt x="99610" y="78481"/>
                      </a:lnTo>
                      <a:lnTo>
                        <a:pt x="102629" y="82103"/>
                      </a:lnTo>
                      <a:lnTo>
                        <a:pt x="103836" y="84518"/>
                      </a:lnTo>
                      <a:lnTo>
                        <a:pt x="102629" y="86329"/>
                      </a:lnTo>
                      <a:lnTo>
                        <a:pt x="99610" y="89347"/>
                      </a:lnTo>
                      <a:lnTo>
                        <a:pt x="96592" y="90555"/>
                      </a:lnTo>
                      <a:lnTo>
                        <a:pt x="91762" y="88744"/>
                      </a:lnTo>
                      <a:lnTo>
                        <a:pt x="86932" y="91158"/>
                      </a:lnTo>
                      <a:lnTo>
                        <a:pt x="82706" y="93573"/>
                      </a:lnTo>
                      <a:lnTo>
                        <a:pt x="80895" y="96592"/>
                      </a:lnTo>
                      <a:lnTo>
                        <a:pt x="84518" y="100214"/>
                      </a:lnTo>
                      <a:lnTo>
                        <a:pt x="83914" y="104440"/>
                      </a:lnTo>
                      <a:lnTo>
                        <a:pt x="79084" y="108062"/>
                      </a:lnTo>
                      <a:lnTo>
                        <a:pt x="74858" y="108665"/>
                      </a:lnTo>
                      <a:lnTo>
                        <a:pt x="68821" y="109269"/>
                      </a:lnTo>
                      <a:lnTo>
                        <a:pt x="65803" y="105043"/>
                      </a:lnTo>
                      <a:lnTo>
                        <a:pt x="61577" y="102629"/>
                      </a:lnTo>
                      <a:lnTo>
                        <a:pt x="57955" y="99610"/>
                      </a:lnTo>
                      <a:lnTo>
                        <a:pt x="56144" y="91762"/>
                      </a:lnTo>
                      <a:lnTo>
                        <a:pt x="56748" y="89347"/>
                      </a:lnTo>
                      <a:lnTo>
                        <a:pt x="53125" y="86932"/>
                      </a:lnTo>
                      <a:lnTo>
                        <a:pt x="49503" y="83310"/>
                      </a:lnTo>
                      <a:lnTo>
                        <a:pt x="48296" y="83310"/>
                      </a:lnTo>
                      <a:lnTo>
                        <a:pt x="46485" y="84518"/>
                      </a:lnTo>
                      <a:lnTo>
                        <a:pt x="44674" y="84518"/>
                      </a:lnTo>
                      <a:lnTo>
                        <a:pt x="43466" y="83310"/>
                      </a:lnTo>
                      <a:lnTo>
                        <a:pt x="38637" y="80292"/>
                      </a:lnTo>
                      <a:lnTo>
                        <a:pt x="38033" y="80292"/>
                      </a:lnTo>
                      <a:lnTo>
                        <a:pt x="34411" y="77877"/>
                      </a:lnTo>
                      <a:lnTo>
                        <a:pt x="36825" y="82103"/>
                      </a:lnTo>
                      <a:lnTo>
                        <a:pt x="35618" y="84518"/>
                      </a:lnTo>
                      <a:lnTo>
                        <a:pt x="29581" y="82707"/>
                      </a:lnTo>
                      <a:lnTo>
                        <a:pt x="28374" y="81499"/>
                      </a:lnTo>
                      <a:lnTo>
                        <a:pt x="22940" y="84518"/>
                      </a:lnTo>
                      <a:lnTo>
                        <a:pt x="20526" y="84518"/>
                      </a:lnTo>
                      <a:lnTo>
                        <a:pt x="15696" y="84518"/>
                      </a:lnTo>
                      <a:lnTo>
                        <a:pt x="12677" y="84518"/>
                      </a:lnTo>
                      <a:lnTo>
                        <a:pt x="9659" y="85725"/>
                      </a:lnTo>
                      <a:lnTo>
                        <a:pt x="9659" y="82103"/>
                      </a:lnTo>
                      <a:lnTo>
                        <a:pt x="5433" y="78481"/>
                      </a:lnTo>
                      <a:lnTo>
                        <a:pt x="1207" y="74858"/>
                      </a:lnTo>
                      <a:lnTo>
                        <a:pt x="0" y="68821"/>
                      </a:lnTo>
                      <a:lnTo>
                        <a:pt x="604" y="66407"/>
                      </a:lnTo>
                      <a:lnTo>
                        <a:pt x="4830" y="66407"/>
                      </a:lnTo>
                      <a:lnTo>
                        <a:pt x="9659" y="55540"/>
                      </a:lnTo>
                      <a:lnTo>
                        <a:pt x="12677" y="56748"/>
                      </a:lnTo>
                      <a:lnTo>
                        <a:pt x="16300" y="55540"/>
                      </a:lnTo>
                      <a:lnTo>
                        <a:pt x="17507" y="51918"/>
                      </a:lnTo>
                      <a:lnTo>
                        <a:pt x="18714" y="48296"/>
                      </a:lnTo>
                      <a:lnTo>
                        <a:pt x="22940" y="47088"/>
                      </a:lnTo>
                      <a:lnTo>
                        <a:pt x="23544" y="46485"/>
                      </a:lnTo>
                      <a:lnTo>
                        <a:pt x="24148" y="42259"/>
                      </a:lnTo>
                      <a:lnTo>
                        <a:pt x="25355" y="39844"/>
                      </a:lnTo>
                      <a:lnTo>
                        <a:pt x="22337" y="36826"/>
                      </a:lnTo>
                      <a:lnTo>
                        <a:pt x="24148" y="30185"/>
                      </a:lnTo>
                      <a:lnTo>
                        <a:pt x="21733" y="27166"/>
                      </a:lnTo>
                      <a:lnTo>
                        <a:pt x="23544" y="23544"/>
                      </a:lnTo>
                      <a:lnTo>
                        <a:pt x="21733" y="16903"/>
                      </a:lnTo>
                      <a:lnTo>
                        <a:pt x="21733" y="15092"/>
                      </a:lnTo>
                      <a:lnTo>
                        <a:pt x="22940" y="12678"/>
                      </a:lnTo>
                      <a:lnTo>
                        <a:pt x="24148" y="13281"/>
                      </a:lnTo>
                      <a:lnTo>
                        <a:pt x="25959" y="10263"/>
                      </a:lnTo>
                      <a:lnTo>
                        <a:pt x="30185" y="9055"/>
                      </a:lnTo>
                      <a:lnTo>
                        <a:pt x="31392" y="8452"/>
                      </a:lnTo>
                      <a:lnTo>
                        <a:pt x="41051" y="9055"/>
                      </a:lnTo>
                      <a:lnTo>
                        <a:pt x="42259" y="4830"/>
                      </a:lnTo>
                      <a:lnTo>
                        <a:pt x="44674" y="604"/>
                      </a:lnTo>
                      <a:lnTo>
                        <a:pt x="51918" y="0"/>
                      </a:lnTo>
                      <a:lnTo>
                        <a:pt x="54936" y="604"/>
                      </a:lnTo>
                      <a:lnTo>
                        <a:pt x="57351" y="1811"/>
                      </a:lnTo>
                      <a:lnTo>
                        <a:pt x="60973" y="2415"/>
                      </a:lnTo>
                      <a:lnTo>
                        <a:pt x="62784" y="5433"/>
                      </a:lnTo>
                      <a:lnTo>
                        <a:pt x="65803" y="6037"/>
                      </a:lnTo>
                      <a:lnTo>
                        <a:pt x="68218" y="3018"/>
                      </a:lnTo>
                      <a:lnTo>
                        <a:pt x="72444" y="3018"/>
                      </a:lnTo>
                      <a:lnTo>
                        <a:pt x="74255" y="2415"/>
                      </a:lnTo>
                      <a:lnTo>
                        <a:pt x="76669" y="3018"/>
                      </a:lnTo>
                      <a:lnTo>
                        <a:pt x="79688" y="9055"/>
                      </a:lnTo>
                      <a:lnTo>
                        <a:pt x="78481" y="14489"/>
                      </a:lnTo>
                      <a:lnTo>
                        <a:pt x="74858" y="16903"/>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1" name="Goa" descr="{&quot;Key&quot;:&quot;goa&quot;,&quot;Name&quot;:&quot;Goa&quot;,&quot;Value&quot;:1.0,&quot;Formula&quot;:&quot;&quot;,&quot;Text&quot;:&quot;&quot;,&quot;OfficeApplication&quot;:1,&quot;HasValue&quot;:true}">
                  <a:extLst>
                    <a:ext uri="{FF2B5EF4-FFF2-40B4-BE49-F238E27FC236}">
                      <a16:creationId xmlns:a16="http://schemas.microsoft.com/office/drawing/2014/main" id="{BCFDFFE8-A96E-4F18-9591-C7D95A32422F}"/>
                    </a:ext>
                  </a:extLst>
                </p:cNvPr>
                <p:cNvSpPr/>
                <p:nvPr/>
              </p:nvSpPr>
              <p:spPr>
                <a:xfrm>
                  <a:off x="4216087" y="4948506"/>
                  <a:ext cx="132813" cy="193183"/>
                </a:xfrm>
                <a:custGeom>
                  <a:avLst/>
                  <a:gdLst>
                    <a:gd name="connsiteX0" fmla="*/ 91762 w 132813"/>
                    <a:gd name="connsiteY0" fmla="*/ 31996 h 193183"/>
                    <a:gd name="connsiteX1" fmla="*/ 95384 w 132813"/>
                    <a:gd name="connsiteY1" fmla="*/ 32599 h 193183"/>
                    <a:gd name="connsiteX2" fmla="*/ 101421 w 132813"/>
                    <a:gd name="connsiteY2" fmla="*/ 31392 h 193183"/>
                    <a:gd name="connsiteX3" fmla="*/ 102025 w 132813"/>
                    <a:gd name="connsiteY3" fmla="*/ 27166 h 193183"/>
                    <a:gd name="connsiteX4" fmla="*/ 111684 w 132813"/>
                    <a:gd name="connsiteY4" fmla="*/ 31996 h 193183"/>
                    <a:gd name="connsiteX5" fmla="*/ 113495 w 132813"/>
                    <a:gd name="connsiteY5" fmla="*/ 28374 h 193183"/>
                    <a:gd name="connsiteX6" fmla="*/ 118325 w 132813"/>
                    <a:gd name="connsiteY6" fmla="*/ 30788 h 193183"/>
                    <a:gd name="connsiteX7" fmla="*/ 118928 w 132813"/>
                    <a:gd name="connsiteY7" fmla="*/ 37429 h 193183"/>
                    <a:gd name="connsiteX8" fmla="*/ 120739 w 132813"/>
                    <a:gd name="connsiteY8" fmla="*/ 38636 h 193183"/>
                    <a:gd name="connsiteX9" fmla="*/ 120136 w 132813"/>
                    <a:gd name="connsiteY9" fmla="*/ 44673 h 193183"/>
                    <a:gd name="connsiteX10" fmla="*/ 118325 w 132813"/>
                    <a:gd name="connsiteY10" fmla="*/ 49503 h 193183"/>
                    <a:gd name="connsiteX11" fmla="*/ 121947 w 132813"/>
                    <a:gd name="connsiteY11" fmla="*/ 52522 h 193183"/>
                    <a:gd name="connsiteX12" fmla="*/ 124965 w 132813"/>
                    <a:gd name="connsiteY12" fmla="*/ 58559 h 193183"/>
                    <a:gd name="connsiteX13" fmla="*/ 123758 w 132813"/>
                    <a:gd name="connsiteY13" fmla="*/ 60973 h 193183"/>
                    <a:gd name="connsiteX14" fmla="*/ 118325 w 132813"/>
                    <a:gd name="connsiteY14" fmla="*/ 66407 h 193183"/>
                    <a:gd name="connsiteX15" fmla="*/ 123758 w 132813"/>
                    <a:gd name="connsiteY15" fmla="*/ 76066 h 193183"/>
                    <a:gd name="connsiteX16" fmla="*/ 122550 w 132813"/>
                    <a:gd name="connsiteY16" fmla="*/ 80292 h 193183"/>
                    <a:gd name="connsiteX17" fmla="*/ 125569 w 132813"/>
                    <a:gd name="connsiteY17" fmla="*/ 89347 h 193183"/>
                    <a:gd name="connsiteX18" fmla="*/ 128587 w 132813"/>
                    <a:gd name="connsiteY18" fmla="*/ 89347 h 193183"/>
                    <a:gd name="connsiteX19" fmla="*/ 133417 w 132813"/>
                    <a:gd name="connsiteY19" fmla="*/ 92366 h 193183"/>
                    <a:gd name="connsiteX20" fmla="*/ 132210 w 132813"/>
                    <a:gd name="connsiteY20" fmla="*/ 100214 h 193183"/>
                    <a:gd name="connsiteX21" fmla="*/ 135832 w 132813"/>
                    <a:gd name="connsiteY21" fmla="*/ 108062 h 193183"/>
                    <a:gd name="connsiteX22" fmla="*/ 134624 w 132813"/>
                    <a:gd name="connsiteY22" fmla="*/ 110477 h 193183"/>
                    <a:gd name="connsiteX23" fmla="*/ 127984 w 132813"/>
                    <a:gd name="connsiteY23" fmla="*/ 109873 h 193183"/>
                    <a:gd name="connsiteX24" fmla="*/ 122550 w 132813"/>
                    <a:gd name="connsiteY24" fmla="*/ 112288 h 193183"/>
                    <a:gd name="connsiteX25" fmla="*/ 120136 w 132813"/>
                    <a:gd name="connsiteY25" fmla="*/ 118928 h 193183"/>
                    <a:gd name="connsiteX26" fmla="*/ 127984 w 132813"/>
                    <a:gd name="connsiteY26" fmla="*/ 121947 h 193183"/>
                    <a:gd name="connsiteX27" fmla="*/ 132210 w 132813"/>
                    <a:gd name="connsiteY27" fmla="*/ 131606 h 193183"/>
                    <a:gd name="connsiteX28" fmla="*/ 129795 w 132813"/>
                    <a:gd name="connsiteY28" fmla="*/ 135832 h 193183"/>
                    <a:gd name="connsiteX29" fmla="*/ 125569 w 132813"/>
                    <a:gd name="connsiteY29" fmla="*/ 140058 h 193183"/>
                    <a:gd name="connsiteX30" fmla="*/ 126173 w 132813"/>
                    <a:gd name="connsiteY30" fmla="*/ 144887 h 193183"/>
                    <a:gd name="connsiteX31" fmla="*/ 123758 w 132813"/>
                    <a:gd name="connsiteY31" fmla="*/ 149113 h 193183"/>
                    <a:gd name="connsiteX32" fmla="*/ 124965 w 132813"/>
                    <a:gd name="connsiteY32" fmla="*/ 155754 h 193183"/>
                    <a:gd name="connsiteX33" fmla="*/ 127984 w 132813"/>
                    <a:gd name="connsiteY33" fmla="*/ 162394 h 193183"/>
                    <a:gd name="connsiteX34" fmla="*/ 124965 w 132813"/>
                    <a:gd name="connsiteY34" fmla="*/ 164206 h 193183"/>
                    <a:gd name="connsiteX35" fmla="*/ 125569 w 132813"/>
                    <a:gd name="connsiteY35" fmla="*/ 166017 h 193183"/>
                    <a:gd name="connsiteX36" fmla="*/ 123758 w 132813"/>
                    <a:gd name="connsiteY36" fmla="*/ 167224 h 193183"/>
                    <a:gd name="connsiteX37" fmla="*/ 121343 w 132813"/>
                    <a:gd name="connsiteY37" fmla="*/ 170846 h 193183"/>
                    <a:gd name="connsiteX38" fmla="*/ 121947 w 132813"/>
                    <a:gd name="connsiteY38" fmla="*/ 171450 h 193183"/>
                    <a:gd name="connsiteX39" fmla="*/ 121947 w 132813"/>
                    <a:gd name="connsiteY39" fmla="*/ 176280 h 193183"/>
                    <a:gd name="connsiteX40" fmla="*/ 120739 w 132813"/>
                    <a:gd name="connsiteY40" fmla="*/ 178091 h 193183"/>
                    <a:gd name="connsiteX41" fmla="*/ 119532 w 132813"/>
                    <a:gd name="connsiteY41" fmla="*/ 179902 h 193183"/>
                    <a:gd name="connsiteX42" fmla="*/ 117117 w 132813"/>
                    <a:gd name="connsiteY42" fmla="*/ 179298 h 193183"/>
                    <a:gd name="connsiteX43" fmla="*/ 115910 w 132813"/>
                    <a:gd name="connsiteY43" fmla="*/ 179902 h 193183"/>
                    <a:gd name="connsiteX44" fmla="*/ 115306 w 132813"/>
                    <a:gd name="connsiteY44" fmla="*/ 182317 h 193183"/>
                    <a:gd name="connsiteX45" fmla="*/ 111080 w 132813"/>
                    <a:gd name="connsiteY45" fmla="*/ 185335 h 193183"/>
                    <a:gd name="connsiteX46" fmla="*/ 107458 w 132813"/>
                    <a:gd name="connsiteY46" fmla="*/ 185939 h 193183"/>
                    <a:gd name="connsiteX47" fmla="*/ 107458 w 132813"/>
                    <a:gd name="connsiteY47" fmla="*/ 184128 h 193183"/>
                    <a:gd name="connsiteX48" fmla="*/ 106251 w 132813"/>
                    <a:gd name="connsiteY48" fmla="*/ 182920 h 193183"/>
                    <a:gd name="connsiteX49" fmla="*/ 103836 w 132813"/>
                    <a:gd name="connsiteY49" fmla="*/ 180505 h 193183"/>
                    <a:gd name="connsiteX50" fmla="*/ 100817 w 132813"/>
                    <a:gd name="connsiteY50" fmla="*/ 181713 h 193183"/>
                    <a:gd name="connsiteX51" fmla="*/ 100817 w 132813"/>
                    <a:gd name="connsiteY51" fmla="*/ 182920 h 193183"/>
                    <a:gd name="connsiteX52" fmla="*/ 99610 w 132813"/>
                    <a:gd name="connsiteY52" fmla="*/ 184128 h 193183"/>
                    <a:gd name="connsiteX53" fmla="*/ 102025 w 132813"/>
                    <a:gd name="connsiteY53" fmla="*/ 188354 h 193183"/>
                    <a:gd name="connsiteX54" fmla="*/ 102025 w 132813"/>
                    <a:gd name="connsiteY54" fmla="*/ 190165 h 193183"/>
                    <a:gd name="connsiteX55" fmla="*/ 95988 w 132813"/>
                    <a:gd name="connsiteY55" fmla="*/ 188354 h 193183"/>
                    <a:gd name="connsiteX56" fmla="*/ 92969 w 132813"/>
                    <a:gd name="connsiteY56" fmla="*/ 188957 h 193183"/>
                    <a:gd name="connsiteX57" fmla="*/ 86932 w 132813"/>
                    <a:gd name="connsiteY57" fmla="*/ 191372 h 193183"/>
                    <a:gd name="connsiteX58" fmla="*/ 85725 w 132813"/>
                    <a:gd name="connsiteY58" fmla="*/ 193183 h 193183"/>
                    <a:gd name="connsiteX59" fmla="*/ 74255 w 132813"/>
                    <a:gd name="connsiteY59" fmla="*/ 188354 h 193183"/>
                    <a:gd name="connsiteX60" fmla="*/ 76066 w 132813"/>
                    <a:gd name="connsiteY60" fmla="*/ 179902 h 193183"/>
                    <a:gd name="connsiteX61" fmla="*/ 72444 w 132813"/>
                    <a:gd name="connsiteY61" fmla="*/ 170846 h 193183"/>
                    <a:gd name="connsiteX62" fmla="*/ 70029 w 132813"/>
                    <a:gd name="connsiteY62" fmla="*/ 168431 h 193183"/>
                    <a:gd name="connsiteX63" fmla="*/ 63992 w 132813"/>
                    <a:gd name="connsiteY63" fmla="*/ 166620 h 193183"/>
                    <a:gd name="connsiteX64" fmla="*/ 62181 w 132813"/>
                    <a:gd name="connsiteY64" fmla="*/ 159980 h 193183"/>
                    <a:gd name="connsiteX65" fmla="*/ 58559 w 132813"/>
                    <a:gd name="connsiteY65" fmla="*/ 156357 h 193183"/>
                    <a:gd name="connsiteX66" fmla="*/ 51314 w 132813"/>
                    <a:gd name="connsiteY66" fmla="*/ 153943 h 193183"/>
                    <a:gd name="connsiteX67" fmla="*/ 49503 w 132813"/>
                    <a:gd name="connsiteY67" fmla="*/ 147302 h 193183"/>
                    <a:gd name="connsiteX68" fmla="*/ 53729 w 132813"/>
                    <a:gd name="connsiteY68" fmla="*/ 145491 h 193183"/>
                    <a:gd name="connsiteX69" fmla="*/ 52522 w 132813"/>
                    <a:gd name="connsiteY69" fmla="*/ 141869 h 193183"/>
                    <a:gd name="connsiteX70" fmla="*/ 54936 w 132813"/>
                    <a:gd name="connsiteY70" fmla="*/ 139454 h 193183"/>
                    <a:gd name="connsiteX71" fmla="*/ 51314 w 132813"/>
                    <a:gd name="connsiteY71" fmla="*/ 123154 h 193183"/>
                    <a:gd name="connsiteX72" fmla="*/ 44070 w 132813"/>
                    <a:gd name="connsiteY72" fmla="*/ 99610 h 193183"/>
                    <a:gd name="connsiteX73" fmla="*/ 39844 w 132813"/>
                    <a:gd name="connsiteY73" fmla="*/ 91762 h 193183"/>
                    <a:gd name="connsiteX74" fmla="*/ 33203 w 132813"/>
                    <a:gd name="connsiteY74" fmla="*/ 93573 h 193183"/>
                    <a:gd name="connsiteX75" fmla="*/ 31392 w 132813"/>
                    <a:gd name="connsiteY75" fmla="*/ 91762 h 193183"/>
                    <a:gd name="connsiteX76" fmla="*/ 25959 w 132813"/>
                    <a:gd name="connsiteY76" fmla="*/ 90555 h 193183"/>
                    <a:gd name="connsiteX77" fmla="*/ 22337 w 132813"/>
                    <a:gd name="connsiteY77" fmla="*/ 86329 h 193183"/>
                    <a:gd name="connsiteX78" fmla="*/ 21129 w 132813"/>
                    <a:gd name="connsiteY78" fmla="*/ 82707 h 193183"/>
                    <a:gd name="connsiteX79" fmla="*/ 27770 w 132813"/>
                    <a:gd name="connsiteY79" fmla="*/ 84518 h 193183"/>
                    <a:gd name="connsiteX80" fmla="*/ 33807 w 132813"/>
                    <a:gd name="connsiteY80" fmla="*/ 83310 h 193183"/>
                    <a:gd name="connsiteX81" fmla="*/ 41655 w 132813"/>
                    <a:gd name="connsiteY81" fmla="*/ 85725 h 193183"/>
                    <a:gd name="connsiteX82" fmla="*/ 44070 w 132813"/>
                    <a:gd name="connsiteY82" fmla="*/ 82103 h 193183"/>
                    <a:gd name="connsiteX83" fmla="*/ 42259 w 132813"/>
                    <a:gd name="connsiteY83" fmla="*/ 78481 h 193183"/>
                    <a:gd name="connsiteX84" fmla="*/ 36825 w 132813"/>
                    <a:gd name="connsiteY84" fmla="*/ 79084 h 193183"/>
                    <a:gd name="connsiteX85" fmla="*/ 34411 w 132813"/>
                    <a:gd name="connsiteY85" fmla="*/ 74255 h 193183"/>
                    <a:gd name="connsiteX86" fmla="*/ 31392 w 132813"/>
                    <a:gd name="connsiteY86" fmla="*/ 74255 h 193183"/>
                    <a:gd name="connsiteX87" fmla="*/ 24752 w 132813"/>
                    <a:gd name="connsiteY87" fmla="*/ 72444 h 193183"/>
                    <a:gd name="connsiteX88" fmla="*/ 25355 w 132813"/>
                    <a:gd name="connsiteY88" fmla="*/ 65199 h 193183"/>
                    <a:gd name="connsiteX89" fmla="*/ 17507 w 132813"/>
                    <a:gd name="connsiteY89" fmla="*/ 65803 h 193183"/>
                    <a:gd name="connsiteX90" fmla="*/ 14489 w 132813"/>
                    <a:gd name="connsiteY90" fmla="*/ 51918 h 193183"/>
                    <a:gd name="connsiteX91" fmla="*/ 10263 w 132813"/>
                    <a:gd name="connsiteY91" fmla="*/ 44673 h 193183"/>
                    <a:gd name="connsiteX92" fmla="*/ 15092 w 132813"/>
                    <a:gd name="connsiteY92" fmla="*/ 38636 h 193183"/>
                    <a:gd name="connsiteX93" fmla="*/ 10263 w 132813"/>
                    <a:gd name="connsiteY93" fmla="*/ 38636 h 193183"/>
                    <a:gd name="connsiteX94" fmla="*/ 7244 w 132813"/>
                    <a:gd name="connsiteY94" fmla="*/ 33807 h 193183"/>
                    <a:gd name="connsiteX95" fmla="*/ 6037 w 132813"/>
                    <a:gd name="connsiteY95" fmla="*/ 27770 h 193183"/>
                    <a:gd name="connsiteX96" fmla="*/ 1207 w 132813"/>
                    <a:gd name="connsiteY96" fmla="*/ 16903 h 193183"/>
                    <a:gd name="connsiteX97" fmla="*/ 0 w 132813"/>
                    <a:gd name="connsiteY97" fmla="*/ 15696 h 193183"/>
                    <a:gd name="connsiteX98" fmla="*/ 2415 w 132813"/>
                    <a:gd name="connsiteY98" fmla="*/ 15092 h 193183"/>
                    <a:gd name="connsiteX99" fmla="*/ 5433 w 132813"/>
                    <a:gd name="connsiteY99" fmla="*/ 16300 h 193183"/>
                    <a:gd name="connsiteX100" fmla="*/ 7848 w 132813"/>
                    <a:gd name="connsiteY100" fmla="*/ 16300 h 193183"/>
                    <a:gd name="connsiteX101" fmla="*/ 12074 w 132813"/>
                    <a:gd name="connsiteY101" fmla="*/ 16903 h 193183"/>
                    <a:gd name="connsiteX102" fmla="*/ 13885 w 132813"/>
                    <a:gd name="connsiteY102" fmla="*/ 14489 h 193183"/>
                    <a:gd name="connsiteX103" fmla="*/ 19318 w 132813"/>
                    <a:gd name="connsiteY103" fmla="*/ 14489 h 193183"/>
                    <a:gd name="connsiteX104" fmla="*/ 21733 w 132813"/>
                    <a:gd name="connsiteY104" fmla="*/ 16300 h 193183"/>
                    <a:gd name="connsiteX105" fmla="*/ 28374 w 132813"/>
                    <a:gd name="connsiteY105" fmla="*/ 12677 h 193183"/>
                    <a:gd name="connsiteX106" fmla="*/ 31392 w 132813"/>
                    <a:gd name="connsiteY106" fmla="*/ 13281 h 193183"/>
                    <a:gd name="connsiteX107" fmla="*/ 32600 w 132813"/>
                    <a:gd name="connsiteY107" fmla="*/ 7848 h 193183"/>
                    <a:gd name="connsiteX108" fmla="*/ 38033 w 132813"/>
                    <a:gd name="connsiteY108" fmla="*/ 0 h 193183"/>
                    <a:gd name="connsiteX109" fmla="*/ 42259 w 132813"/>
                    <a:gd name="connsiteY109" fmla="*/ 6037 h 193183"/>
                    <a:gd name="connsiteX110" fmla="*/ 41051 w 132813"/>
                    <a:gd name="connsiteY110" fmla="*/ 9659 h 193183"/>
                    <a:gd name="connsiteX111" fmla="*/ 47088 w 132813"/>
                    <a:gd name="connsiteY111" fmla="*/ 12074 h 193183"/>
                    <a:gd name="connsiteX112" fmla="*/ 54333 w 132813"/>
                    <a:gd name="connsiteY112" fmla="*/ 12074 h 193183"/>
                    <a:gd name="connsiteX113" fmla="*/ 57351 w 132813"/>
                    <a:gd name="connsiteY113" fmla="*/ 18714 h 193183"/>
                    <a:gd name="connsiteX114" fmla="*/ 56748 w 132813"/>
                    <a:gd name="connsiteY114" fmla="*/ 21733 h 193183"/>
                    <a:gd name="connsiteX115" fmla="*/ 59766 w 132813"/>
                    <a:gd name="connsiteY115" fmla="*/ 23544 h 193183"/>
                    <a:gd name="connsiteX116" fmla="*/ 60370 w 132813"/>
                    <a:gd name="connsiteY116" fmla="*/ 29581 h 193183"/>
                    <a:gd name="connsiteX117" fmla="*/ 59162 w 132813"/>
                    <a:gd name="connsiteY117" fmla="*/ 33203 h 193183"/>
                    <a:gd name="connsiteX118" fmla="*/ 60973 w 132813"/>
                    <a:gd name="connsiteY118" fmla="*/ 36222 h 193183"/>
                    <a:gd name="connsiteX119" fmla="*/ 66407 w 132813"/>
                    <a:gd name="connsiteY119" fmla="*/ 40448 h 193183"/>
                    <a:gd name="connsiteX120" fmla="*/ 71236 w 132813"/>
                    <a:gd name="connsiteY120" fmla="*/ 41655 h 193183"/>
                    <a:gd name="connsiteX121" fmla="*/ 73651 w 132813"/>
                    <a:gd name="connsiteY121" fmla="*/ 38033 h 193183"/>
                    <a:gd name="connsiteX122" fmla="*/ 82103 w 132813"/>
                    <a:gd name="connsiteY122" fmla="*/ 36825 h 193183"/>
                    <a:gd name="connsiteX123" fmla="*/ 91762 w 132813"/>
                    <a:gd name="connsiteY123" fmla="*/ 31996 h 193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32813" h="193183">
                      <a:moveTo>
                        <a:pt x="91762" y="31996"/>
                      </a:moveTo>
                      <a:lnTo>
                        <a:pt x="95384" y="32599"/>
                      </a:lnTo>
                      <a:lnTo>
                        <a:pt x="101421" y="31392"/>
                      </a:lnTo>
                      <a:lnTo>
                        <a:pt x="102025" y="27166"/>
                      </a:lnTo>
                      <a:lnTo>
                        <a:pt x="111684" y="31996"/>
                      </a:lnTo>
                      <a:lnTo>
                        <a:pt x="113495" y="28374"/>
                      </a:lnTo>
                      <a:lnTo>
                        <a:pt x="118325" y="30788"/>
                      </a:lnTo>
                      <a:lnTo>
                        <a:pt x="118928" y="37429"/>
                      </a:lnTo>
                      <a:lnTo>
                        <a:pt x="120739" y="38636"/>
                      </a:lnTo>
                      <a:lnTo>
                        <a:pt x="120136" y="44673"/>
                      </a:lnTo>
                      <a:lnTo>
                        <a:pt x="118325" y="49503"/>
                      </a:lnTo>
                      <a:lnTo>
                        <a:pt x="121947" y="52522"/>
                      </a:lnTo>
                      <a:lnTo>
                        <a:pt x="124965" y="58559"/>
                      </a:lnTo>
                      <a:lnTo>
                        <a:pt x="123758" y="60973"/>
                      </a:lnTo>
                      <a:lnTo>
                        <a:pt x="118325" y="66407"/>
                      </a:lnTo>
                      <a:lnTo>
                        <a:pt x="123758" y="76066"/>
                      </a:lnTo>
                      <a:lnTo>
                        <a:pt x="122550" y="80292"/>
                      </a:lnTo>
                      <a:lnTo>
                        <a:pt x="125569" y="89347"/>
                      </a:lnTo>
                      <a:lnTo>
                        <a:pt x="128587" y="89347"/>
                      </a:lnTo>
                      <a:lnTo>
                        <a:pt x="133417" y="92366"/>
                      </a:lnTo>
                      <a:lnTo>
                        <a:pt x="132210" y="100214"/>
                      </a:lnTo>
                      <a:lnTo>
                        <a:pt x="135832" y="108062"/>
                      </a:lnTo>
                      <a:lnTo>
                        <a:pt x="134624" y="110477"/>
                      </a:lnTo>
                      <a:lnTo>
                        <a:pt x="127984" y="109873"/>
                      </a:lnTo>
                      <a:lnTo>
                        <a:pt x="122550" y="112288"/>
                      </a:lnTo>
                      <a:lnTo>
                        <a:pt x="120136" y="118928"/>
                      </a:lnTo>
                      <a:lnTo>
                        <a:pt x="127984" y="121947"/>
                      </a:lnTo>
                      <a:lnTo>
                        <a:pt x="132210" y="131606"/>
                      </a:lnTo>
                      <a:lnTo>
                        <a:pt x="129795" y="135832"/>
                      </a:lnTo>
                      <a:lnTo>
                        <a:pt x="125569" y="140058"/>
                      </a:lnTo>
                      <a:lnTo>
                        <a:pt x="126173" y="144887"/>
                      </a:lnTo>
                      <a:lnTo>
                        <a:pt x="123758" y="149113"/>
                      </a:lnTo>
                      <a:lnTo>
                        <a:pt x="124965" y="155754"/>
                      </a:lnTo>
                      <a:lnTo>
                        <a:pt x="127984" y="162394"/>
                      </a:lnTo>
                      <a:lnTo>
                        <a:pt x="124965" y="164206"/>
                      </a:lnTo>
                      <a:lnTo>
                        <a:pt x="125569" y="166017"/>
                      </a:lnTo>
                      <a:lnTo>
                        <a:pt x="123758" y="167224"/>
                      </a:lnTo>
                      <a:lnTo>
                        <a:pt x="121343" y="170846"/>
                      </a:lnTo>
                      <a:lnTo>
                        <a:pt x="121947" y="171450"/>
                      </a:lnTo>
                      <a:lnTo>
                        <a:pt x="121947" y="176280"/>
                      </a:lnTo>
                      <a:lnTo>
                        <a:pt x="120739" y="178091"/>
                      </a:lnTo>
                      <a:lnTo>
                        <a:pt x="119532" y="179902"/>
                      </a:lnTo>
                      <a:lnTo>
                        <a:pt x="117117" y="179298"/>
                      </a:lnTo>
                      <a:lnTo>
                        <a:pt x="115910" y="179902"/>
                      </a:lnTo>
                      <a:lnTo>
                        <a:pt x="115306" y="182317"/>
                      </a:lnTo>
                      <a:lnTo>
                        <a:pt x="111080" y="185335"/>
                      </a:lnTo>
                      <a:lnTo>
                        <a:pt x="107458" y="185939"/>
                      </a:lnTo>
                      <a:lnTo>
                        <a:pt x="107458" y="184128"/>
                      </a:lnTo>
                      <a:lnTo>
                        <a:pt x="106251" y="182920"/>
                      </a:lnTo>
                      <a:lnTo>
                        <a:pt x="103836" y="180505"/>
                      </a:lnTo>
                      <a:lnTo>
                        <a:pt x="100817" y="181713"/>
                      </a:lnTo>
                      <a:lnTo>
                        <a:pt x="100817" y="182920"/>
                      </a:lnTo>
                      <a:lnTo>
                        <a:pt x="99610" y="184128"/>
                      </a:lnTo>
                      <a:lnTo>
                        <a:pt x="102025" y="188354"/>
                      </a:lnTo>
                      <a:lnTo>
                        <a:pt x="102025" y="190165"/>
                      </a:lnTo>
                      <a:lnTo>
                        <a:pt x="95988" y="188354"/>
                      </a:lnTo>
                      <a:lnTo>
                        <a:pt x="92969" y="188957"/>
                      </a:lnTo>
                      <a:lnTo>
                        <a:pt x="86932" y="191372"/>
                      </a:lnTo>
                      <a:lnTo>
                        <a:pt x="85725" y="193183"/>
                      </a:lnTo>
                      <a:lnTo>
                        <a:pt x="74255" y="188354"/>
                      </a:lnTo>
                      <a:lnTo>
                        <a:pt x="76066" y="179902"/>
                      </a:lnTo>
                      <a:lnTo>
                        <a:pt x="72444" y="170846"/>
                      </a:lnTo>
                      <a:lnTo>
                        <a:pt x="70029" y="168431"/>
                      </a:lnTo>
                      <a:lnTo>
                        <a:pt x="63992" y="166620"/>
                      </a:lnTo>
                      <a:lnTo>
                        <a:pt x="62181" y="159980"/>
                      </a:lnTo>
                      <a:lnTo>
                        <a:pt x="58559" y="156357"/>
                      </a:lnTo>
                      <a:lnTo>
                        <a:pt x="51314" y="153943"/>
                      </a:lnTo>
                      <a:lnTo>
                        <a:pt x="49503" y="147302"/>
                      </a:lnTo>
                      <a:lnTo>
                        <a:pt x="53729" y="145491"/>
                      </a:lnTo>
                      <a:lnTo>
                        <a:pt x="52522" y="141869"/>
                      </a:lnTo>
                      <a:lnTo>
                        <a:pt x="54936" y="139454"/>
                      </a:lnTo>
                      <a:lnTo>
                        <a:pt x="51314" y="123154"/>
                      </a:lnTo>
                      <a:lnTo>
                        <a:pt x="44070" y="99610"/>
                      </a:lnTo>
                      <a:lnTo>
                        <a:pt x="39844" y="91762"/>
                      </a:lnTo>
                      <a:lnTo>
                        <a:pt x="33203" y="93573"/>
                      </a:lnTo>
                      <a:lnTo>
                        <a:pt x="31392" y="91762"/>
                      </a:lnTo>
                      <a:lnTo>
                        <a:pt x="25959" y="90555"/>
                      </a:lnTo>
                      <a:lnTo>
                        <a:pt x="22337" y="86329"/>
                      </a:lnTo>
                      <a:lnTo>
                        <a:pt x="21129" y="82707"/>
                      </a:lnTo>
                      <a:lnTo>
                        <a:pt x="27770" y="84518"/>
                      </a:lnTo>
                      <a:lnTo>
                        <a:pt x="33807" y="83310"/>
                      </a:lnTo>
                      <a:lnTo>
                        <a:pt x="41655" y="85725"/>
                      </a:lnTo>
                      <a:lnTo>
                        <a:pt x="44070" y="82103"/>
                      </a:lnTo>
                      <a:lnTo>
                        <a:pt x="42259" y="78481"/>
                      </a:lnTo>
                      <a:lnTo>
                        <a:pt x="36825" y="79084"/>
                      </a:lnTo>
                      <a:lnTo>
                        <a:pt x="34411" y="74255"/>
                      </a:lnTo>
                      <a:lnTo>
                        <a:pt x="31392" y="74255"/>
                      </a:lnTo>
                      <a:lnTo>
                        <a:pt x="24752" y="72444"/>
                      </a:lnTo>
                      <a:lnTo>
                        <a:pt x="25355" y="65199"/>
                      </a:lnTo>
                      <a:lnTo>
                        <a:pt x="17507" y="65803"/>
                      </a:lnTo>
                      <a:lnTo>
                        <a:pt x="14489" y="51918"/>
                      </a:lnTo>
                      <a:lnTo>
                        <a:pt x="10263" y="44673"/>
                      </a:lnTo>
                      <a:lnTo>
                        <a:pt x="15092" y="38636"/>
                      </a:lnTo>
                      <a:lnTo>
                        <a:pt x="10263" y="38636"/>
                      </a:lnTo>
                      <a:lnTo>
                        <a:pt x="7244" y="33807"/>
                      </a:lnTo>
                      <a:lnTo>
                        <a:pt x="6037" y="27770"/>
                      </a:lnTo>
                      <a:lnTo>
                        <a:pt x="1207" y="16903"/>
                      </a:lnTo>
                      <a:lnTo>
                        <a:pt x="0" y="15696"/>
                      </a:lnTo>
                      <a:lnTo>
                        <a:pt x="2415" y="15092"/>
                      </a:lnTo>
                      <a:lnTo>
                        <a:pt x="5433" y="16300"/>
                      </a:lnTo>
                      <a:lnTo>
                        <a:pt x="7848" y="16300"/>
                      </a:lnTo>
                      <a:lnTo>
                        <a:pt x="12074" y="16903"/>
                      </a:lnTo>
                      <a:lnTo>
                        <a:pt x="13885" y="14489"/>
                      </a:lnTo>
                      <a:lnTo>
                        <a:pt x="19318" y="14489"/>
                      </a:lnTo>
                      <a:lnTo>
                        <a:pt x="21733" y="16300"/>
                      </a:lnTo>
                      <a:lnTo>
                        <a:pt x="28374" y="12677"/>
                      </a:lnTo>
                      <a:lnTo>
                        <a:pt x="31392" y="13281"/>
                      </a:lnTo>
                      <a:lnTo>
                        <a:pt x="32600" y="7848"/>
                      </a:lnTo>
                      <a:lnTo>
                        <a:pt x="38033" y="0"/>
                      </a:lnTo>
                      <a:lnTo>
                        <a:pt x="42259" y="6037"/>
                      </a:lnTo>
                      <a:lnTo>
                        <a:pt x="41051" y="9659"/>
                      </a:lnTo>
                      <a:lnTo>
                        <a:pt x="47088" y="12074"/>
                      </a:lnTo>
                      <a:lnTo>
                        <a:pt x="54333" y="12074"/>
                      </a:lnTo>
                      <a:lnTo>
                        <a:pt x="57351" y="18714"/>
                      </a:lnTo>
                      <a:lnTo>
                        <a:pt x="56748" y="21733"/>
                      </a:lnTo>
                      <a:lnTo>
                        <a:pt x="59766" y="23544"/>
                      </a:lnTo>
                      <a:lnTo>
                        <a:pt x="60370" y="29581"/>
                      </a:lnTo>
                      <a:lnTo>
                        <a:pt x="59162" y="33203"/>
                      </a:lnTo>
                      <a:lnTo>
                        <a:pt x="60973" y="36222"/>
                      </a:lnTo>
                      <a:lnTo>
                        <a:pt x="66407" y="40448"/>
                      </a:lnTo>
                      <a:lnTo>
                        <a:pt x="71236" y="41655"/>
                      </a:lnTo>
                      <a:lnTo>
                        <a:pt x="73651" y="38033"/>
                      </a:lnTo>
                      <a:lnTo>
                        <a:pt x="82103" y="36825"/>
                      </a:lnTo>
                      <a:lnTo>
                        <a:pt x="91762" y="31996"/>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2" name="Gujarat" descr="{&quot;Key&quot;:&quot;gujarat&quot;,&quot;Name&quot;:&quot;Gujarat&quot;,&quot;Value&quot;:1.0,&quot;Formula&quot;:&quot;&quot;,&quot;Text&quot;:&quot;&quot;,&quot;OfficeApplication&quot;:1,&quot;HasValue&quot;:true}">
                  <a:extLst>
                    <a:ext uri="{FF2B5EF4-FFF2-40B4-BE49-F238E27FC236}">
                      <a16:creationId xmlns:a16="http://schemas.microsoft.com/office/drawing/2014/main" id="{22008BD9-C8AF-410B-8F94-4F3B8BA2D045}"/>
                    </a:ext>
                  </a:extLst>
                </p:cNvPr>
                <p:cNvSpPr/>
                <p:nvPr/>
              </p:nvSpPr>
              <p:spPr>
                <a:xfrm>
                  <a:off x="3083551" y="2988301"/>
                  <a:ext cx="1291912" cy="1020248"/>
                </a:xfrm>
                <a:custGeom>
                  <a:avLst/>
                  <a:gdLst>
                    <a:gd name="connsiteX0" fmla="*/ 552987 w 1291912"/>
                    <a:gd name="connsiteY0" fmla="*/ 891661 h 1020248"/>
                    <a:gd name="connsiteX1" fmla="*/ 546950 w 1291912"/>
                    <a:gd name="connsiteY1" fmla="*/ 889246 h 1020248"/>
                    <a:gd name="connsiteX2" fmla="*/ 549968 w 1291912"/>
                    <a:gd name="connsiteY2" fmla="*/ 884416 h 1020248"/>
                    <a:gd name="connsiteX3" fmla="*/ 552987 w 1291912"/>
                    <a:gd name="connsiteY3" fmla="*/ 891661 h 1020248"/>
                    <a:gd name="connsiteX4" fmla="*/ 925468 w 1291912"/>
                    <a:gd name="connsiteY4" fmla="*/ 795069 h 1020248"/>
                    <a:gd name="connsiteX5" fmla="*/ 930901 w 1291912"/>
                    <a:gd name="connsiteY5" fmla="*/ 797484 h 1020248"/>
                    <a:gd name="connsiteX6" fmla="*/ 930901 w 1291912"/>
                    <a:gd name="connsiteY6" fmla="*/ 799899 h 1020248"/>
                    <a:gd name="connsiteX7" fmla="*/ 927883 w 1291912"/>
                    <a:gd name="connsiteY7" fmla="*/ 809558 h 1020248"/>
                    <a:gd name="connsiteX8" fmla="*/ 925468 w 1291912"/>
                    <a:gd name="connsiteY8" fmla="*/ 806539 h 1020248"/>
                    <a:gd name="connsiteX9" fmla="*/ 923053 w 1291912"/>
                    <a:gd name="connsiteY9" fmla="*/ 796880 h 1020248"/>
                    <a:gd name="connsiteX10" fmla="*/ 925468 w 1291912"/>
                    <a:gd name="connsiteY10" fmla="*/ 795069 h 1020248"/>
                    <a:gd name="connsiteX11" fmla="*/ 935127 w 1291912"/>
                    <a:gd name="connsiteY11" fmla="*/ 682178 h 1020248"/>
                    <a:gd name="connsiteX12" fmla="*/ 939957 w 1291912"/>
                    <a:gd name="connsiteY12" fmla="*/ 683989 h 1020248"/>
                    <a:gd name="connsiteX13" fmla="*/ 939957 w 1291912"/>
                    <a:gd name="connsiteY13" fmla="*/ 686404 h 1020248"/>
                    <a:gd name="connsiteX14" fmla="*/ 934523 w 1291912"/>
                    <a:gd name="connsiteY14" fmla="*/ 687007 h 1020248"/>
                    <a:gd name="connsiteX15" fmla="*/ 935127 w 1291912"/>
                    <a:gd name="connsiteY15" fmla="*/ 682178 h 1020248"/>
                    <a:gd name="connsiteX16" fmla="*/ 297019 w 1291912"/>
                    <a:gd name="connsiteY16" fmla="*/ 505295 h 1020248"/>
                    <a:gd name="connsiteX17" fmla="*/ 300038 w 1291912"/>
                    <a:gd name="connsiteY17" fmla="*/ 507709 h 1020248"/>
                    <a:gd name="connsiteX18" fmla="*/ 302452 w 1291912"/>
                    <a:gd name="connsiteY18" fmla="*/ 511935 h 1020248"/>
                    <a:gd name="connsiteX19" fmla="*/ 298830 w 1291912"/>
                    <a:gd name="connsiteY19" fmla="*/ 517369 h 1020248"/>
                    <a:gd name="connsiteX20" fmla="*/ 290378 w 1291912"/>
                    <a:gd name="connsiteY20" fmla="*/ 513143 h 1020248"/>
                    <a:gd name="connsiteX21" fmla="*/ 289775 w 1291912"/>
                    <a:gd name="connsiteY21" fmla="*/ 508917 h 1020248"/>
                    <a:gd name="connsiteX22" fmla="*/ 297019 w 1291912"/>
                    <a:gd name="connsiteY22" fmla="*/ 505295 h 1020248"/>
                    <a:gd name="connsiteX23" fmla="*/ 229405 w 1291912"/>
                    <a:gd name="connsiteY23" fmla="*/ 502276 h 1020248"/>
                    <a:gd name="connsiteX24" fmla="*/ 234838 w 1291912"/>
                    <a:gd name="connsiteY24" fmla="*/ 504691 h 1020248"/>
                    <a:gd name="connsiteX25" fmla="*/ 233631 w 1291912"/>
                    <a:gd name="connsiteY25" fmla="*/ 507709 h 1020248"/>
                    <a:gd name="connsiteX26" fmla="*/ 227594 w 1291912"/>
                    <a:gd name="connsiteY26" fmla="*/ 505295 h 1020248"/>
                    <a:gd name="connsiteX27" fmla="*/ 229405 w 1291912"/>
                    <a:gd name="connsiteY27" fmla="*/ 502276 h 1020248"/>
                    <a:gd name="connsiteX28" fmla="*/ 234235 w 1291912"/>
                    <a:gd name="connsiteY28" fmla="*/ 490202 h 1020248"/>
                    <a:gd name="connsiteX29" fmla="*/ 240875 w 1291912"/>
                    <a:gd name="connsiteY29" fmla="*/ 491410 h 1020248"/>
                    <a:gd name="connsiteX30" fmla="*/ 239064 w 1291912"/>
                    <a:gd name="connsiteY30" fmla="*/ 495635 h 1020248"/>
                    <a:gd name="connsiteX31" fmla="*/ 232423 w 1291912"/>
                    <a:gd name="connsiteY31" fmla="*/ 492013 h 1020248"/>
                    <a:gd name="connsiteX32" fmla="*/ 234235 w 1291912"/>
                    <a:gd name="connsiteY32" fmla="*/ 490202 h 1020248"/>
                    <a:gd name="connsiteX33" fmla="*/ 356785 w 1291912"/>
                    <a:gd name="connsiteY33" fmla="*/ 484769 h 1020248"/>
                    <a:gd name="connsiteX34" fmla="*/ 359200 w 1291912"/>
                    <a:gd name="connsiteY34" fmla="*/ 486580 h 1020248"/>
                    <a:gd name="connsiteX35" fmla="*/ 362218 w 1291912"/>
                    <a:gd name="connsiteY35" fmla="*/ 491410 h 1020248"/>
                    <a:gd name="connsiteX36" fmla="*/ 362218 w 1291912"/>
                    <a:gd name="connsiteY36" fmla="*/ 490202 h 1020248"/>
                    <a:gd name="connsiteX37" fmla="*/ 373085 w 1291912"/>
                    <a:gd name="connsiteY37" fmla="*/ 485976 h 1020248"/>
                    <a:gd name="connsiteX38" fmla="*/ 377914 w 1291912"/>
                    <a:gd name="connsiteY38" fmla="*/ 485976 h 1020248"/>
                    <a:gd name="connsiteX39" fmla="*/ 382140 w 1291912"/>
                    <a:gd name="connsiteY39" fmla="*/ 483561 h 1020248"/>
                    <a:gd name="connsiteX40" fmla="*/ 392403 w 1291912"/>
                    <a:gd name="connsiteY40" fmla="*/ 485976 h 1020248"/>
                    <a:gd name="connsiteX41" fmla="*/ 402062 w 1291912"/>
                    <a:gd name="connsiteY41" fmla="*/ 485976 h 1020248"/>
                    <a:gd name="connsiteX42" fmla="*/ 408703 w 1291912"/>
                    <a:gd name="connsiteY42" fmla="*/ 483561 h 1020248"/>
                    <a:gd name="connsiteX43" fmla="*/ 412929 w 1291912"/>
                    <a:gd name="connsiteY43" fmla="*/ 478128 h 1020248"/>
                    <a:gd name="connsiteX44" fmla="*/ 414740 w 1291912"/>
                    <a:gd name="connsiteY44" fmla="*/ 470280 h 1020248"/>
                    <a:gd name="connsiteX45" fmla="*/ 418966 w 1291912"/>
                    <a:gd name="connsiteY45" fmla="*/ 467262 h 1020248"/>
                    <a:gd name="connsiteX46" fmla="*/ 424399 w 1291912"/>
                    <a:gd name="connsiteY46" fmla="*/ 458810 h 1020248"/>
                    <a:gd name="connsiteX47" fmla="*/ 422588 w 1291912"/>
                    <a:gd name="connsiteY47" fmla="*/ 452773 h 1020248"/>
                    <a:gd name="connsiteX48" fmla="*/ 426210 w 1291912"/>
                    <a:gd name="connsiteY48" fmla="*/ 450358 h 1020248"/>
                    <a:gd name="connsiteX49" fmla="*/ 426210 w 1291912"/>
                    <a:gd name="connsiteY49" fmla="*/ 446132 h 1020248"/>
                    <a:gd name="connsiteX50" fmla="*/ 429832 w 1291912"/>
                    <a:gd name="connsiteY50" fmla="*/ 444321 h 1020248"/>
                    <a:gd name="connsiteX51" fmla="*/ 435869 w 1291912"/>
                    <a:gd name="connsiteY51" fmla="*/ 438888 h 1020248"/>
                    <a:gd name="connsiteX52" fmla="*/ 437077 w 1291912"/>
                    <a:gd name="connsiteY52" fmla="*/ 430436 h 1020248"/>
                    <a:gd name="connsiteX53" fmla="*/ 440095 w 1291912"/>
                    <a:gd name="connsiteY53" fmla="*/ 428625 h 1020248"/>
                    <a:gd name="connsiteX54" fmla="*/ 446736 w 1291912"/>
                    <a:gd name="connsiteY54" fmla="*/ 414136 h 1020248"/>
                    <a:gd name="connsiteX55" fmla="*/ 451566 w 1291912"/>
                    <a:gd name="connsiteY55" fmla="*/ 406892 h 1020248"/>
                    <a:gd name="connsiteX56" fmla="*/ 457603 w 1291912"/>
                    <a:gd name="connsiteY56" fmla="*/ 403270 h 1020248"/>
                    <a:gd name="connsiteX57" fmla="*/ 460621 w 1291912"/>
                    <a:gd name="connsiteY57" fmla="*/ 399648 h 1020248"/>
                    <a:gd name="connsiteX58" fmla="*/ 462432 w 1291912"/>
                    <a:gd name="connsiteY58" fmla="*/ 394818 h 1020248"/>
                    <a:gd name="connsiteX59" fmla="*/ 467262 w 1291912"/>
                    <a:gd name="connsiteY59" fmla="*/ 387574 h 1020248"/>
                    <a:gd name="connsiteX60" fmla="*/ 470884 w 1291912"/>
                    <a:gd name="connsiteY60" fmla="*/ 382140 h 1020248"/>
                    <a:gd name="connsiteX61" fmla="*/ 475110 w 1291912"/>
                    <a:gd name="connsiteY61" fmla="*/ 370670 h 1020248"/>
                    <a:gd name="connsiteX62" fmla="*/ 470884 w 1291912"/>
                    <a:gd name="connsiteY62" fmla="*/ 369463 h 1020248"/>
                    <a:gd name="connsiteX63" fmla="*/ 464243 w 1291912"/>
                    <a:gd name="connsiteY63" fmla="*/ 370670 h 1020248"/>
                    <a:gd name="connsiteX64" fmla="*/ 455188 w 1291912"/>
                    <a:gd name="connsiteY64" fmla="*/ 379122 h 1020248"/>
                    <a:gd name="connsiteX65" fmla="*/ 454584 w 1291912"/>
                    <a:gd name="connsiteY65" fmla="*/ 393007 h 1020248"/>
                    <a:gd name="connsiteX66" fmla="*/ 452773 w 1291912"/>
                    <a:gd name="connsiteY66" fmla="*/ 397233 h 1020248"/>
                    <a:gd name="connsiteX67" fmla="*/ 446132 w 1291912"/>
                    <a:gd name="connsiteY67" fmla="*/ 400251 h 1020248"/>
                    <a:gd name="connsiteX68" fmla="*/ 440095 w 1291912"/>
                    <a:gd name="connsiteY68" fmla="*/ 399044 h 1020248"/>
                    <a:gd name="connsiteX69" fmla="*/ 436473 w 1291912"/>
                    <a:gd name="connsiteY69" fmla="*/ 395422 h 1020248"/>
                    <a:gd name="connsiteX70" fmla="*/ 432851 w 1291912"/>
                    <a:gd name="connsiteY70" fmla="*/ 397233 h 1020248"/>
                    <a:gd name="connsiteX71" fmla="*/ 425607 w 1291912"/>
                    <a:gd name="connsiteY71" fmla="*/ 391196 h 1020248"/>
                    <a:gd name="connsiteX72" fmla="*/ 421984 w 1291912"/>
                    <a:gd name="connsiteY72" fmla="*/ 389385 h 1020248"/>
                    <a:gd name="connsiteX73" fmla="*/ 420173 w 1291912"/>
                    <a:gd name="connsiteY73" fmla="*/ 393611 h 1020248"/>
                    <a:gd name="connsiteX74" fmla="*/ 416551 w 1291912"/>
                    <a:gd name="connsiteY74" fmla="*/ 395422 h 1020248"/>
                    <a:gd name="connsiteX75" fmla="*/ 409910 w 1291912"/>
                    <a:gd name="connsiteY75" fmla="*/ 395422 h 1020248"/>
                    <a:gd name="connsiteX76" fmla="*/ 402062 w 1291912"/>
                    <a:gd name="connsiteY76" fmla="*/ 397837 h 1020248"/>
                    <a:gd name="connsiteX77" fmla="*/ 400855 w 1291912"/>
                    <a:gd name="connsiteY77" fmla="*/ 401459 h 1020248"/>
                    <a:gd name="connsiteX78" fmla="*/ 395422 w 1291912"/>
                    <a:gd name="connsiteY78" fmla="*/ 405081 h 1020248"/>
                    <a:gd name="connsiteX79" fmla="*/ 371274 w 1291912"/>
                    <a:gd name="connsiteY79" fmla="*/ 407496 h 1020248"/>
                    <a:gd name="connsiteX80" fmla="*/ 363426 w 1291912"/>
                    <a:gd name="connsiteY80" fmla="*/ 408703 h 1020248"/>
                    <a:gd name="connsiteX81" fmla="*/ 353163 w 1291912"/>
                    <a:gd name="connsiteY81" fmla="*/ 414740 h 1020248"/>
                    <a:gd name="connsiteX82" fmla="*/ 345919 w 1291912"/>
                    <a:gd name="connsiteY82" fmla="*/ 413533 h 1020248"/>
                    <a:gd name="connsiteX83" fmla="*/ 335656 w 1291912"/>
                    <a:gd name="connsiteY83" fmla="*/ 417759 h 1020248"/>
                    <a:gd name="connsiteX84" fmla="*/ 332033 w 1291912"/>
                    <a:gd name="connsiteY84" fmla="*/ 418362 h 1020248"/>
                    <a:gd name="connsiteX85" fmla="*/ 322374 w 1291912"/>
                    <a:gd name="connsiteY85" fmla="*/ 425003 h 1020248"/>
                    <a:gd name="connsiteX86" fmla="*/ 321167 w 1291912"/>
                    <a:gd name="connsiteY86" fmla="*/ 431040 h 1020248"/>
                    <a:gd name="connsiteX87" fmla="*/ 314526 w 1291912"/>
                    <a:gd name="connsiteY87" fmla="*/ 440095 h 1020248"/>
                    <a:gd name="connsiteX88" fmla="*/ 313923 w 1291912"/>
                    <a:gd name="connsiteY88" fmla="*/ 443114 h 1020248"/>
                    <a:gd name="connsiteX89" fmla="*/ 306075 w 1291912"/>
                    <a:gd name="connsiteY89" fmla="*/ 438888 h 1020248"/>
                    <a:gd name="connsiteX90" fmla="*/ 295208 w 1291912"/>
                    <a:gd name="connsiteY90" fmla="*/ 437077 h 1020248"/>
                    <a:gd name="connsiteX91" fmla="*/ 290378 w 1291912"/>
                    <a:gd name="connsiteY91" fmla="*/ 438284 h 1020248"/>
                    <a:gd name="connsiteX92" fmla="*/ 284341 w 1291912"/>
                    <a:gd name="connsiteY92" fmla="*/ 435869 h 1020248"/>
                    <a:gd name="connsiteX93" fmla="*/ 281323 w 1291912"/>
                    <a:gd name="connsiteY93" fmla="*/ 432851 h 1020248"/>
                    <a:gd name="connsiteX94" fmla="*/ 275286 w 1291912"/>
                    <a:gd name="connsiteY94" fmla="*/ 431644 h 1020248"/>
                    <a:gd name="connsiteX95" fmla="*/ 265023 w 1291912"/>
                    <a:gd name="connsiteY95" fmla="*/ 435266 h 1020248"/>
                    <a:gd name="connsiteX96" fmla="*/ 259590 w 1291912"/>
                    <a:gd name="connsiteY96" fmla="*/ 434058 h 1020248"/>
                    <a:gd name="connsiteX97" fmla="*/ 251742 w 1291912"/>
                    <a:gd name="connsiteY97" fmla="*/ 428625 h 1020248"/>
                    <a:gd name="connsiteX98" fmla="*/ 242083 w 1291912"/>
                    <a:gd name="connsiteY98" fmla="*/ 424399 h 1020248"/>
                    <a:gd name="connsiteX99" fmla="*/ 239064 w 1291912"/>
                    <a:gd name="connsiteY99" fmla="*/ 425003 h 1020248"/>
                    <a:gd name="connsiteX100" fmla="*/ 233027 w 1291912"/>
                    <a:gd name="connsiteY100" fmla="*/ 422588 h 1020248"/>
                    <a:gd name="connsiteX101" fmla="*/ 222161 w 1291912"/>
                    <a:gd name="connsiteY101" fmla="*/ 424399 h 1020248"/>
                    <a:gd name="connsiteX102" fmla="*/ 213105 w 1291912"/>
                    <a:gd name="connsiteY102" fmla="*/ 421381 h 1020248"/>
                    <a:gd name="connsiteX103" fmla="*/ 208276 w 1291912"/>
                    <a:gd name="connsiteY103" fmla="*/ 420777 h 1020248"/>
                    <a:gd name="connsiteX104" fmla="*/ 201031 w 1291912"/>
                    <a:gd name="connsiteY104" fmla="*/ 416551 h 1020248"/>
                    <a:gd name="connsiteX105" fmla="*/ 193787 w 1291912"/>
                    <a:gd name="connsiteY105" fmla="*/ 412929 h 1020248"/>
                    <a:gd name="connsiteX106" fmla="*/ 187750 w 1291912"/>
                    <a:gd name="connsiteY106" fmla="*/ 407496 h 1020248"/>
                    <a:gd name="connsiteX107" fmla="*/ 176280 w 1291912"/>
                    <a:gd name="connsiteY107" fmla="*/ 400251 h 1020248"/>
                    <a:gd name="connsiteX108" fmla="*/ 164206 w 1291912"/>
                    <a:gd name="connsiteY108" fmla="*/ 394214 h 1020248"/>
                    <a:gd name="connsiteX109" fmla="*/ 149113 w 1291912"/>
                    <a:gd name="connsiteY109" fmla="*/ 385159 h 1020248"/>
                    <a:gd name="connsiteX110" fmla="*/ 128588 w 1291912"/>
                    <a:gd name="connsiteY110" fmla="*/ 371274 h 1020248"/>
                    <a:gd name="connsiteX111" fmla="*/ 117117 w 1291912"/>
                    <a:gd name="connsiteY111" fmla="*/ 366444 h 1020248"/>
                    <a:gd name="connsiteX112" fmla="*/ 112891 w 1291912"/>
                    <a:gd name="connsiteY112" fmla="*/ 361615 h 1020248"/>
                    <a:gd name="connsiteX113" fmla="*/ 105043 w 1291912"/>
                    <a:gd name="connsiteY113" fmla="*/ 356181 h 1020248"/>
                    <a:gd name="connsiteX114" fmla="*/ 97195 w 1291912"/>
                    <a:gd name="connsiteY114" fmla="*/ 351352 h 1020248"/>
                    <a:gd name="connsiteX115" fmla="*/ 90555 w 1291912"/>
                    <a:gd name="connsiteY115" fmla="*/ 342900 h 1020248"/>
                    <a:gd name="connsiteX116" fmla="*/ 82103 w 1291912"/>
                    <a:gd name="connsiteY116" fmla="*/ 335052 h 1020248"/>
                    <a:gd name="connsiteX117" fmla="*/ 87536 w 1291912"/>
                    <a:gd name="connsiteY117" fmla="*/ 333844 h 1020248"/>
                    <a:gd name="connsiteX118" fmla="*/ 85725 w 1291912"/>
                    <a:gd name="connsiteY118" fmla="*/ 330222 h 1020248"/>
                    <a:gd name="connsiteX119" fmla="*/ 92969 w 1291912"/>
                    <a:gd name="connsiteY119" fmla="*/ 329619 h 1020248"/>
                    <a:gd name="connsiteX120" fmla="*/ 97195 w 1291912"/>
                    <a:gd name="connsiteY120" fmla="*/ 325996 h 1020248"/>
                    <a:gd name="connsiteX121" fmla="*/ 92969 w 1291912"/>
                    <a:gd name="connsiteY121" fmla="*/ 324789 h 1020248"/>
                    <a:gd name="connsiteX122" fmla="*/ 91158 w 1291912"/>
                    <a:gd name="connsiteY122" fmla="*/ 318149 h 1020248"/>
                    <a:gd name="connsiteX123" fmla="*/ 97195 w 1291912"/>
                    <a:gd name="connsiteY123" fmla="*/ 318752 h 1020248"/>
                    <a:gd name="connsiteX124" fmla="*/ 92366 w 1291912"/>
                    <a:gd name="connsiteY124" fmla="*/ 313923 h 1020248"/>
                    <a:gd name="connsiteX125" fmla="*/ 92366 w 1291912"/>
                    <a:gd name="connsiteY125" fmla="*/ 307886 h 1020248"/>
                    <a:gd name="connsiteX126" fmla="*/ 84518 w 1291912"/>
                    <a:gd name="connsiteY126" fmla="*/ 301849 h 1020248"/>
                    <a:gd name="connsiteX127" fmla="*/ 80895 w 1291912"/>
                    <a:gd name="connsiteY127" fmla="*/ 297623 h 1020248"/>
                    <a:gd name="connsiteX128" fmla="*/ 77877 w 1291912"/>
                    <a:gd name="connsiteY128" fmla="*/ 300038 h 1020248"/>
                    <a:gd name="connsiteX129" fmla="*/ 76670 w 1291912"/>
                    <a:gd name="connsiteY129" fmla="*/ 290982 h 1020248"/>
                    <a:gd name="connsiteX130" fmla="*/ 71236 w 1291912"/>
                    <a:gd name="connsiteY130" fmla="*/ 289775 h 1020248"/>
                    <a:gd name="connsiteX131" fmla="*/ 70633 w 1291912"/>
                    <a:gd name="connsiteY131" fmla="*/ 284341 h 1020248"/>
                    <a:gd name="connsiteX132" fmla="*/ 65803 w 1291912"/>
                    <a:gd name="connsiteY132" fmla="*/ 280719 h 1020248"/>
                    <a:gd name="connsiteX133" fmla="*/ 63992 w 1291912"/>
                    <a:gd name="connsiteY133" fmla="*/ 269249 h 1020248"/>
                    <a:gd name="connsiteX134" fmla="*/ 62181 w 1291912"/>
                    <a:gd name="connsiteY134" fmla="*/ 263816 h 1020248"/>
                    <a:gd name="connsiteX135" fmla="*/ 63388 w 1291912"/>
                    <a:gd name="connsiteY135" fmla="*/ 260193 h 1020248"/>
                    <a:gd name="connsiteX136" fmla="*/ 61577 w 1291912"/>
                    <a:gd name="connsiteY136" fmla="*/ 251138 h 1020248"/>
                    <a:gd name="connsiteX137" fmla="*/ 62785 w 1291912"/>
                    <a:gd name="connsiteY137" fmla="*/ 248723 h 1020248"/>
                    <a:gd name="connsiteX138" fmla="*/ 62181 w 1291912"/>
                    <a:gd name="connsiteY138" fmla="*/ 242082 h 1020248"/>
                    <a:gd name="connsiteX139" fmla="*/ 64596 w 1291912"/>
                    <a:gd name="connsiteY139" fmla="*/ 237253 h 1020248"/>
                    <a:gd name="connsiteX140" fmla="*/ 67614 w 1291912"/>
                    <a:gd name="connsiteY140" fmla="*/ 236045 h 1020248"/>
                    <a:gd name="connsiteX141" fmla="*/ 70029 w 1291912"/>
                    <a:gd name="connsiteY141" fmla="*/ 230008 h 1020248"/>
                    <a:gd name="connsiteX142" fmla="*/ 73651 w 1291912"/>
                    <a:gd name="connsiteY142" fmla="*/ 228197 h 1020248"/>
                    <a:gd name="connsiteX143" fmla="*/ 76066 w 1291912"/>
                    <a:gd name="connsiteY143" fmla="*/ 223368 h 1020248"/>
                    <a:gd name="connsiteX144" fmla="*/ 83914 w 1291912"/>
                    <a:gd name="connsiteY144" fmla="*/ 220349 h 1020248"/>
                    <a:gd name="connsiteX145" fmla="*/ 85725 w 1291912"/>
                    <a:gd name="connsiteY145" fmla="*/ 216727 h 1020248"/>
                    <a:gd name="connsiteX146" fmla="*/ 91158 w 1291912"/>
                    <a:gd name="connsiteY146" fmla="*/ 214313 h 1020248"/>
                    <a:gd name="connsiteX147" fmla="*/ 95988 w 1291912"/>
                    <a:gd name="connsiteY147" fmla="*/ 205861 h 1020248"/>
                    <a:gd name="connsiteX148" fmla="*/ 102629 w 1291912"/>
                    <a:gd name="connsiteY148" fmla="*/ 200428 h 1020248"/>
                    <a:gd name="connsiteX149" fmla="*/ 109269 w 1291912"/>
                    <a:gd name="connsiteY149" fmla="*/ 199220 h 1020248"/>
                    <a:gd name="connsiteX150" fmla="*/ 112891 w 1291912"/>
                    <a:gd name="connsiteY150" fmla="*/ 196805 h 1020248"/>
                    <a:gd name="connsiteX151" fmla="*/ 111684 w 1291912"/>
                    <a:gd name="connsiteY151" fmla="*/ 192580 h 1020248"/>
                    <a:gd name="connsiteX152" fmla="*/ 99610 w 1291912"/>
                    <a:gd name="connsiteY152" fmla="*/ 191372 h 1020248"/>
                    <a:gd name="connsiteX153" fmla="*/ 94177 w 1291912"/>
                    <a:gd name="connsiteY153" fmla="*/ 196805 h 1020248"/>
                    <a:gd name="connsiteX154" fmla="*/ 84518 w 1291912"/>
                    <a:gd name="connsiteY154" fmla="*/ 196202 h 1020248"/>
                    <a:gd name="connsiteX155" fmla="*/ 79688 w 1291912"/>
                    <a:gd name="connsiteY155" fmla="*/ 200428 h 1020248"/>
                    <a:gd name="connsiteX156" fmla="*/ 77877 w 1291912"/>
                    <a:gd name="connsiteY156" fmla="*/ 205257 h 1020248"/>
                    <a:gd name="connsiteX157" fmla="*/ 71236 w 1291912"/>
                    <a:gd name="connsiteY157" fmla="*/ 214916 h 1020248"/>
                    <a:gd name="connsiteX158" fmla="*/ 67614 w 1291912"/>
                    <a:gd name="connsiteY158" fmla="*/ 208879 h 1020248"/>
                    <a:gd name="connsiteX159" fmla="*/ 69425 w 1291912"/>
                    <a:gd name="connsiteY159" fmla="*/ 205257 h 1020248"/>
                    <a:gd name="connsiteX160" fmla="*/ 68821 w 1291912"/>
                    <a:gd name="connsiteY160" fmla="*/ 201031 h 1020248"/>
                    <a:gd name="connsiteX161" fmla="*/ 74858 w 1291912"/>
                    <a:gd name="connsiteY161" fmla="*/ 196202 h 1020248"/>
                    <a:gd name="connsiteX162" fmla="*/ 79084 w 1291912"/>
                    <a:gd name="connsiteY162" fmla="*/ 187146 h 1020248"/>
                    <a:gd name="connsiteX163" fmla="*/ 87536 w 1291912"/>
                    <a:gd name="connsiteY163" fmla="*/ 181713 h 1020248"/>
                    <a:gd name="connsiteX164" fmla="*/ 88743 w 1291912"/>
                    <a:gd name="connsiteY164" fmla="*/ 178694 h 1020248"/>
                    <a:gd name="connsiteX165" fmla="*/ 86932 w 1291912"/>
                    <a:gd name="connsiteY165" fmla="*/ 175072 h 1020248"/>
                    <a:gd name="connsiteX166" fmla="*/ 82103 w 1291912"/>
                    <a:gd name="connsiteY166" fmla="*/ 173261 h 1020248"/>
                    <a:gd name="connsiteX167" fmla="*/ 82707 w 1291912"/>
                    <a:gd name="connsiteY167" fmla="*/ 177487 h 1020248"/>
                    <a:gd name="connsiteX168" fmla="*/ 76670 w 1291912"/>
                    <a:gd name="connsiteY168" fmla="*/ 176883 h 1020248"/>
                    <a:gd name="connsiteX169" fmla="*/ 71840 w 1291912"/>
                    <a:gd name="connsiteY169" fmla="*/ 172054 h 1020248"/>
                    <a:gd name="connsiteX170" fmla="*/ 74255 w 1291912"/>
                    <a:gd name="connsiteY170" fmla="*/ 168432 h 1020248"/>
                    <a:gd name="connsiteX171" fmla="*/ 115910 w 1291912"/>
                    <a:gd name="connsiteY171" fmla="*/ 168432 h 1020248"/>
                    <a:gd name="connsiteX172" fmla="*/ 115910 w 1291912"/>
                    <a:gd name="connsiteY172" fmla="*/ 159980 h 1020248"/>
                    <a:gd name="connsiteX173" fmla="*/ 117721 w 1291912"/>
                    <a:gd name="connsiteY173" fmla="*/ 152132 h 1020248"/>
                    <a:gd name="connsiteX174" fmla="*/ 118325 w 1291912"/>
                    <a:gd name="connsiteY174" fmla="*/ 137643 h 1020248"/>
                    <a:gd name="connsiteX175" fmla="*/ 118928 w 1291912"/>
                    <a:gd name="connsiteY175" fmla="*/ 95988 h 1020248"/>
                    <a:gd name="connsiteX176" fmla="*/ 120739 w 1291912"/>
                    <a:gd name="connsiteY176" fmla="*/ 93573 h 1020248"/>
                    <a:gd name="connsiteX177" fmla="*/ 131606 w 1291912"/>
                    <a:gd name="connsiteY177" fmla="*/ 90555 h 1020248"/>
                    <a:gd name="connsiteX178" fmla="*/ 134624 w 1291912"/>
                    <a:gd name="connsiteY178" fmla="*/ 108665 h 1020248"/>
                    <a:gd name="connsiteX179" fmla="*/ 135832 w 1291912"/>
                    <a:gd name="connsiteY179" fmla="*/ 112891 h 1020248"/>
                    <a:gd name="connsiteX180" fmla="*/ 142473 w 1291912"/>
                    <a:gd name="connsiteY180" fmla="*/ 115306 h 1020248"/>
                    <a:gd name="connsiteX181" fmla="*/ 146095 w 1291912"/>
                    <a:gd name="connsiteY181" fmla="*/ 115306 h 1020248"/>
                    <a:gd name="connsiteX182" fmla="*/ 151528 w 1291912"/>
                    <a:gd name="connsiteY182" fmla="*/ 101421 h 1020248"/>
                    <a:gd name="connsiteX183" fmla="*/ 156358 w 1291912"/>
                    <a:gd name="connsiteY183" fmla="*/ 97195 h 1020248"/>
                    <a:gd name="connsiteX184" fmla="*/ 161187 w 1291912"/>
                    <a:gd name="connsiteY184" fmla="*/ 106251 h 1020248"/>
                    <a:gd name="connsiteX185" fmla="*/ 164809 w 1291912"/>
                    <a:gd name="connsiteY185" fmla="*/ 108665 h 1020248"/>
                    <a:gd name="connsiteX186" fmla="*/ 170243 w 1291912"/>
                    <a:gd name="connsiteY186" fmla="*/ 108062 h 1020248"/>
                    <a:gd name="connsiteX187" fmla="*/ 184731 w 1291912"/>
                    <a:gd name="connsiteY187" fmla="*/ 99610 h 1020248"/>
                    <a:gd name="connsiteX188" fmla="*/ 191976 w 1291912"/>
                    <a:gd name="connsiteY188" fmla="*/ 100818 h 1020248"/>
                    <a:gd name="connsiteX189" fmla="*/ 195598 w 1291912"/>
                    <a:gd name="connsiteY189" fmla="*/ 102629 h 1020248"/>
                    <a:gd name="connsiteX190" fmla="*/ 208276 w 1291912"/>
                    <a:gd name="connsiteY190" fmla="*/ 106854 h 1020248"/>
                    <a:gd name="connsiteX191" fmla="*/ 214313 w 1291912"/>
                    <a:gd name="connsiteY191" fmla="*/ 103232 h 1020248"/>
                    <a:gd name="connsiteX192" fmla="*/ 223972 w 1291912"/>
                    <a:gd name="connsiteY192" fmla="*/ 99006 h 1020248"/>
                    <a:gd name="connsiteX193" fmla="*/ 231216 w 1291912"/>
                    <a:gd name="connsiteY193" fmla="*/ 97195 h 1020248"/>
                    <a:gd name="connsiteX194" fmla="*/ 242083 w 1291912"/>
                    <a:gd name="connsiteY194" fmla="*/ 99610 h 1020248"/>
                    <a:gd name="connsiteX195" fmla="*/ 246308 w 1291912"/>
                    <a:gd name="connsiteY195" fmla="*/ 99610 h 1020248"/>
                    <a:gd name="connsiteX196" fmla="*/ 252345 w 1291912"/>
                    <a:gd name="connsiteY196" fmla="*/ 97799 h 1020248"/>
                    <a:gd name="connsiteX197" fmla="*/ 256571 w 1291912"/>
                    <a:gd name="connsiteY197" fmla="*/ 98403 h 1020248"/>
                    <a:gd name="connsiteX198" fmla="*/ 270456 w 1291912"/>
                    <a:gd name="connsiteY198" fmla="*/ 102629 h 1020248"/>
                    <a:gd name="connsiteX199" fmla="*/ 286756 w 1291912"/>
                    <a:gd name="connsiteY199" fmla="*/ 99006 h 1020248"/>
                    <a:gd name="connsiteX200" fmla="*/ 290982 w 1291912"/>
                    <a:gd name="connsiteY200" fmla="*/ 97195 h 1020248"/>
                    <a:gd name="connsiteX201" fmla="*/ 294604 w 1291912"/>
                    <a:gd name="connsiteY201" fmla="*/ 101421 h 1020248"/>
                    <a:gd name="connsiteX202" fmla="*/ 307886 w 1291912"/>
                    <a:gd name="connsiteY202" fmla="*/ 113495 h 1020248"/>
                    <a:gd name="connsiteX203" fmla="*/ 316941 w 1291912"/>
                    <a:gd name="connsiteY203" fmla="*/ 120136 h 1020248"/>
                    <a:gd name="connsiteX204" fmla="*/ 337467 w 1291912"/>
                    <a:gd name="connsiteY204" fmla="*/ 121947 h 1020248"/>
                    <a:gd name="connsiteX205" fmla="*/ 355578 w 1291912"/>
                    <a:gd name="connsiteY205" fmla="*/ 123154 h 1020248"/>
                    <a:gd name="connsiteX206" fmla="*/ 368859 w 1291912"/>
                    <a:gd name="connsiteY206" fmla="*/ 122550 h 1020248"/>
                    <a:gd name="connsiteX207" fmla="*/ 378518 w 1291912"/>
                    <a:gd name="connsiteY207" fmla="*/ 121947 h 1020248"/>
                    <a:gd name="connsiteX208" fmla="*/ 383348 w 1291912"/>
                    <a:gd name="connsiteY208" fmla="*/ 118325 h 1020248"/>
                    <a:gd name="connsiteX209" fmla="*/ 389385 w 1291912"/>
                    <a:gd name="connsiteY209" fmla="*/ 111080 h 1020248"/>
                    <a:gd name="connsiteX210" fmla="*/ 396025 w 1291912"/>
                    <a:gd name="connsiteY210" fmla="*/ 95384 h 1020248"/>
                    <a:gd name="connsiteX211" fmla="*/ 404477 w 1291912"/>
                    <a:gd name="connsiteY211" fmla="*/ 91762 h 1020248"/>
                    <a:gd name="connsiteX212" fmla="*/ 422588 w 1291912"/>
                    <a:gd name="connsiteY212" fmla="*/ 88140 h 1020248"/>
                    <a:gd name="connsiteX213" fmla="*/ 434662 w 1291912"/>
                    <a:gd name="connsiteY213" fmla="*/ 83310 h 1020248"/>
                    <a:gd name="connsiteX214" fmla="*/ 440699 w 1291912"/>
                    <a:gd name="connsiteY214" fmla="*/ 81499 h 1020248"/>
                    <a:gd name="connsiteX215" fmla="*/ 449754 w 1291912"/>
                    <a:gd name="connsiteY215" fmla="*/ 80292 h 1020248"/>
                    <a:gd name="connsiteX216" fmla="*/ 468469 w 1291912"/>
                    <a:gd name="connsiteY216" fmla="*/ 72444 h 1020248"/>
                    <a:gd name="connsiteX217" fmla="*/ 473299 w 1291912"/>
                    <a:gd name="connsiteY217" fmla="*/ 71840 h 1020248"/>
                    <a:gd name="connsiteX218" fmla="*/ 482958 w 1291912"/>
                    <a:gd name="connsiteY218" fmla="*/ 67010 h 1020248"/>
                    <a:gd name="connsiteX219" fmla="*/ 492013 w 1291912"/>
                    <a:gd name="connsiteY219" fmla="*/ 65199 h 1020248"/>
                    <a:gd name="connsiteX220" fmla="*/ 499861 w 1291912"/>
                    <a:gd name="connsiteY220" fmla="*/ 69425 h 1020248"/>
                    <a:gd name="connsiteX221" fmla="*/ 495635 w 1291912"/>
                    <a:gd name="connsiteY221" fmla="*/ 79084 h 1020248"/>
                    <a:gd name="connsiteX222" fmla="*/ 491410 w 1291912"/>
                    <a:gd name="connsiteY222" fmla="*/ 82103 h 1020248"/>
                    <a:gd name="connsiteX223" fmla="*/ 493221 w 1291912"/>
                    <a:gd name="connsiteY223" fmla="*/ 88744 h 1020248"/>
                    <a:gd name="connsiteX224" fmla="*/ 492013 w 1291912"/>
                    <a:gd name="connsiteY224" fmla="*/ 92366 h 1020248"/>
                    <a:gd name="connsiteX225" fmla="*/ 494428 w 1291912"/>
                    <a:gd name="connsiteY225" fmla="*/ 95384 h 1020248"/>
                    <a:gd name="connsiteX226" fmla="*/ 491410 w 1291912"/>
                    <a:gd name="connsiteY226" fmla="*/ 100214 h 1020248"/>
                    <a:gd name="connsiteX227" fmla="*/ 492013 w 1291912"/>
                    <a:gd name="connsiteY227" fmla="*/ 103232 h 1020248"/>
                    <a:gd name="connsiteX228" fmla="*/ 495635 w 1291912"/>
                    <a:gd name="connsiteY228" fmla="*/ 105647 h 1020248"/>
                    <a:gd name="connsiteX229" fmla="*/ 499861 w 1291912"/>
                    <a:gd name="connsiteY229" fmla="*/ 105647 h 1020248"/>
                    <a:gd name="connsiteX230" fmla="*/ 508917 w 1291912"/>
                    <a:gd name="connsiteY230" fmla="*/ 109269 h 1020248"/>
                    <a:gd name="connsiteX231" fmla="*/ 523405 w 1291912"/>
                    <a:gd name="connsiteY231" fmla="*/ 109873 h 1020248"/>
                    <a:gd name="connsiteX232" fmla="*/ 539705 w 1291912"/>
                    <a:gd name="connsiteY232" fmla="*/ 109873 h 1020248"/>
                    <a:gd name="connsiteX233" fmla="*/ 546346 w 1291912"/>
                    <a:gd name="connsiteY233" fmla="*/ 106854 h 1020248"/>
                    <a:gd name="connsiteX234" fmla="*/ 549364 w 1291912"/>
                    <a:gd name="connsiteY234" fmla="*/ 103836 h 1020248"/>
                    <a:gd name="connsiteX235" fmla="*/ 557816 w 1291912"/>
                    <a:gd name="connsiteY235" fmla="*/ 102025 h 1020248"/>
                    <a:gd name="connsiteX236" fmla="*/ 556005 w 1291912"/>
                    <a:gd name="connsiteY236" fmla="*/ 94177 h 1020248"/>
                    <a:gd name="connsiteX237" fmla="*/ 564457 w 1291912"/>
                    <a:gd name="connsiteY237" fmla="*/ 88140 h 1020248"/>
                    <a:gd name="connsiteX238" fmla="*/ 571701 w 1291912"/>
                    <a:gd name="connsiteY238" fmla="*/ 81499 h 1020248"/>
                    <a:gd name="connsiteX239" fmla="*/ 579549 w 1291912"/>
                    <a:gd name="connsiteY239" fmla="*/ 78481 h 1020248"/>
                    <a:gd name="connsiteX240" fmla="*/ 582568 w 1291912"/>
                    <a:gd name="connsiteY240" fmla="*/ 81499 h 1020248"/>
                    <a:gd name="connsiteX241" fmla="*/ 589208 w 1291912"/>
                    <a:gd name="connsiteY241" fmla="*/ 81499 h 1020248"/>
                    <a:gd name="connsiteX242" fmla="*/ 593434 w 1291912"/>
                    <a:gd name="connsiteY242" fmla="*/ 79084 h 1020248"/>
                    <a:gd name="connsiteX243" fmla="*/ 597660 w 1291912"/>
                    <a:gd name="connsiteY243" fmla="*/ 73651 h 1020248"/>
                    <a:gd name="connsiteX244" fmla="*/ 604905 w 1291912"/>
                    <a:gd name="connsiteY244" fmla="*/ 71840 h 1020248"/>
                    <a:gd name="connsiteX245" fmla="*/ 607319 w 1291912"/>
                    <a:gd name="connsiteY245" fmla="*/ 66407 h 1020248"/>
                    <a:gd name="connsiteX246" fmla="*/ 604301 w 1291912"/>
                    <a:gd name="connsiteY246" fmla="*/ 62784 h 1020248"/>
                    <a:gd name="connsiteX247" fmla="*/ 598868 w 1291912"/>
                    <a:gd name="connsiteY247" fmla="*/ 61577 h 1020248"/>
                    <a:gd name="connsiteX248" fmla="*/ 585586 w 1291912"/>
                    <a:gd name="connsiteY248" fmla="*/ 62181 h 1020248"/>
                    <a:gd name="connsiteX249" fmla="*/ 581360 w 1291912"/>
                    <a:gd name="connsiteY249" fmla="*/ 59766 h 1020248"/>
                    <a:gd name="connsiteX250" fmla="*/ 581360 w 1291912"/>
                    <a:gd name="connsiteY250" fmla="*/ 54333 h 1020248"/>
                    <a:gd name="connsiteX251" fmla="*/ 582568 w 1291912"/>
                    <a:gd name="connsiteY251" fmla="*/ 41655 h 1020248"/>
                    <a:gd name="connsiteX252" fmla="*/ 579549 w 1291912"/>
                    <a:gd name="connsiteY252" fmla="*/ 37429 h 1020248"/>
                    <a:gd name="connsiteX253" fmla="*/ 580153 w 1291912"/>
                    <a:gd name="connsiteY253" fmla="*/ 31996 h 1020248"/>
                    <a:gd name="connsiteX254" fmla="*/ 579549 w 1291912"/>
                    <a:gd name="connsiteY254" fmla="*/ 24148 h 1020248"/>
                    <a:gd name="connsiteX255" fmla="*/ 583775 w 1291912"/>
                    <a:gd name="connsiteY255" fmla="*/ 17507 h 1020248"/>
                    <a:gd name="connsiteX256" fmla="*/ 589208 w 1291912"/>
                    <a:gd name="connsiteY256" fmla="*/ 15696 h 1020248"/>
                    <a:gd name="connsiteX257" fmla="*/ 597057 w 1291912"/>
                    <a:gd name="connsiteY257" fmla="*/ 10263 h 1020248"/>
                    <a:gd name="connsiteX258" fmla="*/ 601886 w 1291912"/>
                    <a:gd name="connsiteY258" fmla="*/ 6037 h 1020248"/>
                    <a:gd name="connsiteX259" fmla="*/ 604301 w 1291912"/>
                    <a:gd name="connsiteY259" fmla="*/ 8452 h 1020248"/>
                    <a:gd name="connsiteX260" fmla="*/ 615167 w 1291912"/>
                    <a:gd name="connsiteY260" fmla="*/ 13281 h 1020248"/>
                    <a:gd name="connsiteX261" fmla="*/ 622412 w 1291912"/>
                    <a:gd name="connsiteY261" fmla="*/ 15092 h 1020248"/>
                    <a:gd name="connsiteX262" fmla="*/ 629656 w 1291912"/>
                    <a:gd name="connsiteY262" fmla="*/ 18111 h 1020248"/>
                    <a:gd name="connsiteX263" fmla="*/ 633278 w 1291912"/>
                    <a:gd name="connsiteY263" fmla="*/ 19318 h 1020248"/>
                    <a:gd name="connsiteX264" fmla="*/ 641126 w 1291912"/>
                    <a:gd name="connsiteY264" fmla="*/ 22337 h 1020248"/>
                    <a:gd name="connsiteX265" fmla="*/ 647163 w 1291912"/>
                    <a:gd name="connsiteY265" fmla="*/ 14489 h 1020248"/>
                    <a:gd name="connsiteX266" fmla="*/ 653200 w 1291912"/>
                    <a:gd name="connsiteY266" fmla="*/ 12074 h 1020248"/>
                    <a:gd name="connsiteX267" fmla="*/ 655615 w 1291912"/>
                    <a:gd name="connsiteY267" fmla="*/ 18111 h 1020248"/>
                    <a:gd name="connsiteX268" fmla="*/ 658030 w 1291912"/>
                    <a:gd name="connsiteY268" fmla="*/ 19318 h 1020248"/>
                    <a:gd name="connsiteX269" fmla="*/ 666482 w 1291912"/>
                    <a:gd name="connsiteY269" fmla="*/ 15696 h 1020248"/>
                    <a:gd name="connsiteX270" fmla="*/ 672519 w 1291912"/>
                    <a:gd name="connsiteY270" fmla="*/ 10866 h 1020248"/>
                    <a:gd name="connsiteX271" fmla="*/ 677348 w 1291912"/>
                    <a:gd name="connsiteY271" fmla="*/ 9659 h 1020248"/>
                    <a:gd name="connsiteX272" fmla="*/ 680367 w 1291912"/>
                    <a:gd name="connsiteY272" fmla="*/ 7244 h 1020248"/>
                    <a:gd name="connsiteX273" fmla="*/ 690630 w 1291912"/>
                    <a:gd name="connsiteY273" fmla="*/ 6037 h 1020248"/>
                    <a:gd name="connsiteX274" fmla="*/ 693648 w 1291912"/>
                    <a:gd name="connsiteY274" fmla="*/ 8452 h 1020248"/>
                    <a:gd name="connsiteX275" fmla="*/ 699685 w 1291912"/>
                    <a:gd name="connsiteY275" fmla="*/ 6641 h 1020248"/>
                    <a:gd name="connsiteX276" fmla="*/ 702704 w 1291912"/>
                    <a:gd name="connsiteY276" fmla="*/ 9659 h 1020248"/>
                    <a:gd name="connsiteX277" fmla="*/ 706929 w 1291912"/>
                    <a:gd name="connsiteY277" fmla="*/ 8452 h 1020248"/>
                    <a:gd name="connsiteX278" fmla="*/ 712966 w 1291912"/>
                    <a:gd name="connsiteY278" fmla="*/ 12074 h 1020248"/>
                    <a:gd name="connsiteX279" fmla="*/ 715985 w 1291912"/>
                    <a:gd name="connsiteY279" fmla="*/ 16903 h 1020248"/>
                    <a:gd name="connsiteX280" fmla="*/ 727455 w 1291912"/>
                    <a:gd name="connsiteY280" fmla="*/ 12074 h 1020248"/>
                    <a:gd name="connsiteX281" fmla="*/ 733492 w 1291912"/>
                    <a:gd name="connsiteY281" fmla="*/ 12074 h 1020248"/>
                    <a:gd name="connsiteX282" fmla="*/ 741340 w 1291912"/>
                    <a:gd name="connsiteY282" fmla="*/ 8452 h 1020248"/>
                    <a:gd name="connsiteX283" fmla="*/ 747377 w 1291912"/>
                    <a:gd name="connsiteY283" fmla="*/ 10263 h 1020248"/>
                    <a:gd name="connsiteX284" fmla="*/ 747981 w 1291912"/>
                    <a:gd name="connsiteY284" fmla="*/ 13885 h 1020248"/>
                    <a:gd name="connsiteX285" fmla="*/ 746773 w 1291912"/>
                    <a:gd name="connsiteY285" fmla="*/ 19318 h 1020248"/>
                    <a:gd name="connsiteX286" fmla="*/ 754018 w 1291912"/>
                    <a:gd name="connsiteY286" fmla="*/ 21129 h 1020248"/>
                    <a:gd name="connsiteX287" fmla="*/ 758847 w 1291912"/>
                    <a:gd name="connsiteY287" fmla="*/ 18715 h 1020248"/>
                    <a:gd name="connsiteX288" fmla="*/ 757640 w 1291912"/>
                    <a:gd name="connsiteY288" fmla="*/ 13281 h 1020248"/>
                    <a:gd name="connsiteX289" fmla="*/ 759451 w 1291912"/>
                    <a:gd name="connsiteY289" fmla="*/ 7848 h 1020248"/>
                    <a:gd name="connsiteX290" fmla="*/ 763677 w 1291912"/>
                    <a:gd name="connsiteY290" fmla="*/ 9055 h 1020248"/>
                    <a:gd name="connsiteX291" fmla="*/ 767903 w 1291912"/>
                    <a:gd name="connsiteY291" fmla="*/ 8452 h 1020248"/>
                    <a:gd name="connsiteX292" fmla="*/ 770318 w 1291912"/>
                    <a:gd name="connsiteY292" fmla="*/ 10263 h 1020248"/>
                    <a:gd name="connsiteX293" fmla="*/ 769110 w 1291912"/>
                    <a:gd name="connsiteY293" fmla="*/ 13885 h 1020248"/>
                    <a:gd name="connsiteX294" fmla="*/ 772129 w 1291912"/>
                    <a:gd name="connsiteY294" fmla="*/ 18111 h 1020248"/>
                    <a:gd name="connsiteX295" fmla="*/ 779373 w 1291912"/>
                    <a:gd name="connsiteY295" fmla="*/ 15696 h 1020248"/>
                    <a:gd name="connsiteX296" fmla="*/ 784806 w 1291912"/>
                    <a:gd name="connsiteY296" fmla="*/ 11470 h 1020248"/>
                    <a:gd name="connsiteX297" fmla="*/ 784806 w 1291912"/>
                    <a:gd name="connsiteY297" fmla="*/ 6641 h 1020248"/>
                    <a:gd name="connsiteX298" fmla="*/ 794466 w 1291912"/>
                    <a:gd name="connsiteY298" fmla="*/ 2415 h 1020248"/>
                    <a:gd name="connsiteX299" fmla="*/ 796880 w 1291912"/>
                    <a:gd name="connsiteY299" fmla="*/ 0 h 1020248"/>
                    <a:gd name="connsiteX300" fmla="*/ 803521 w 1291912"/>
                    <a:gd name="connsiteY300" fmla="*/ 2415 h 1020248"/>
                    <a:gd name="connsiteX301" fmla="*/ 804728 w 1291912"/>
                    <a:gd name="connsiteY301" fmla="*/ 7244 h 1020248"/>
                    <a:gd name="connsiteX302" fmla="*/ 803521 w 1291912"/>
                    <a:gd name="connsiteY302" fmla="*/ 12074 h 1020248"/>
                    <a:gd name="connsiteX303" fmla="*/ 810162 w 1291912"/>
                    <a:gd name="connsiteY303" fmla="*/ 16903 h 1020248"/>
                    <a:gd name="connsiteX304" fmla="*/ 816802 w 1291912"/>
                    <a:gd name="connsiteY304" fmla="*/ 16300 h 1020248"/>
                    <a:gd name="connsiteX305" fmla="*/ 819217 w 1291912"/>
                    <a:gd name="connsiteY305" fmla="*/ 20526 h 1020248"/>
                    <a:gd name="connsiteX306" fmla="*/ 824047 w 1291912"/>
                    <a:gd name="connsiteY306" fmla="*/ 22337 h 1020248"/>
                    <a:gd name="connsiteX307" fmla="*/ 830687 w 1291912"/>
                    <a:gd name="connsiteY307" fmla="*/ 19922 h 1020248"/>
                    <a:gd name="connsiteX308" fmla="*/ 833102 w 1291912"/>
                    <a:gd name="connsiteY308" fmla="*/ 16903 h 1020248"/>
                    <a:gd name="connsiteX309" fmla="*/ 837328 w 1291912"/>
                    <a:gd name="connsiteY309" fmla="*/ 19318 h 1020248"/>
                    <a:gd name="connsiteX310" fmla="*/ 842761 w 1291912"/>
                    <a:gd name="connsiteY310" fmla="*/ 19318 h 1020248"/>
                    <a:gd name="connsiteX311" fmla="*/ 850609 w 1291912"/>
                    <a:gd name="connsiteY311" fmla="*/ 22337 h 1020248"/>
                    <a:gd name="connsiteX312" fmla="*/ 856043 w 1291912"/>
                    <a:gd name="connsiteY312" fmla="*/ 19318 h 1020248"/>
                    <a:gd name="connsiteX313" fmla="*/ 859061 w 1291912"/>
                    <a:gd name="connsiteY313" fmla="*/ 19922 h 1020248"/>
                    <a:gd name="connsiteX314" fmla="*/ 856646 w 1291912"/>
                    <a:gd name="connsiteY314" fmla="*/ 25959 h 1020248"/>
                    <a:gd name="connsiteX315" fmla="*/ 850609 w 1291912"/>
                    <a:gd name="connsiteY315" fmla="*/ 27770 h 1020248"/>
                    <a:gd name="connsiteX316" fmla="*/ 847591 w 1291912"/>
                    <a:gd name="connsiteY316" fmla="*/ 24148 h 1020248"/>
                    <a:gd name="connsiteX317" fmla="*/ 842761 w 1291912"/>
                    <a:gd name="connsiteY317" fmla="*/ 24148 h 1020248"/>
                    <a:gd name="connsiteX318" fmla="*/ 837328 w 1291912"/>
                    <a:gd name="connsiteY318" fmla="*/ 28977 h 1020248"/>
                    <a:gd name="connsiteX319" fmla="*/ 842158 w 1291912"/>
                    <a:gd name="connsiteY319" fmla="*/ 35618 h 1020248"/>
                    <a:gd name="connsiteX320" fmla="*/ 845780 w 1291912"/>
                    <a:gd name="connsiteY320" fmla="*/ 33807 h 1020248"/>
                    <a:gd name="connsiteX321" fmla="*/ 846987 w 1291912"/>
                    <a:gd name="connsiteY321" fmla="*/ 38033 h 1020248"/>
                    <a:gd name="connsiteX322" fmla="*/ 854232 w 1291912"/>
                    <a:gd name="connsiteY322" fmla="*/ 37429 h 1020248"/>
                    <a:gd name="connsiteX323" fmla="*/ 854835 w 1291912"/>
                    <a:gd name="connsiteY323" fmla="*/ 34411 h 1020248"/>
                    <a:gd name="connsiteX324" fmla="*/ 859665 w 1291912"/>
                    <a:gd name="connsiteY324" fmla="*/ 35014 h 1020248"/>
                    <a:gd name="connsiteX325" fmla="*/ 865702 w 1291912"/>
                    <a:gd name="connsiteY325" fmla="*/ 46485 h 1020248"/>
                    <a:gd name="connsiteX326" fmla="*/ 872946 w 1291912"/>
                    <a:gd name="connsiteY326" fmla="*/ 45277 h 1020248"/>
                    <a:gd name="connsiteX327" fmla="*/ 877172 w 1291912"/>
                    <a:gd name="connsiteY327" fmla="*/ 45881 h 1020248"/>
                    <a:gd name="connsiteX328" fmla="*/ 878379 w 1291912"/>
                    <a:gd name="connsiteY328" fmla="*/ 48296 h 1020248"/>
                    <a:gd name="connsiteX329" fmla="*/ 875965 w 1291912"/>
                    <a:gd name="connsiteY329" fmla="*/ 56144 h 1020248"/>
                    <a:gd name="connsiteX330" fmla="*/ 880191 w 1291912"/>
                    <a:gd name="connsiteY330" fmla="*/ 60973 h 1020248"/>
                    <a:gd name="connsiteX331" fmla="*/ 881398 w 1291912"/>
                    <a:gd name="connsiteY331" fmla="*/ 68218 h 1020248"/>
                    <a:gd name="connsiteX332" fmla="*/ 886228 w 1291912"/>
                    <a:gd name="connsiteY332" fmla="*/ 68218 h 1020248"/>
                    <a:gd name="connsiteX333" fmla="*/ 891057 w 1291912"/>
                    <a:gd name="connsiteY333" fmla="*/ 65199 h 1020248"/>
                    <a:gd name="connsiteX334" fmla="*/ 889246 w 1291912"/>
                    <a:gd name="connsiteY334" fmla="*/ 57955 h 1020248"/>
                    <a:gd name="connsiteX335" fmla="*/ 897698 w 1291912"/>
                    <a:gd name="connsiteY335" fmla="*/ 45881 h 1020248"/>
                    <a:gd name="connsiteX336" fmla="*/ 904338 w 1291912"/>
                    <a:gd name="connsiteY336" fmla="*/ 49503 h 1020248"/>
                    <a:gd name="connsiteX337" fmla="*/ 907357 w 1291912"/>
                    <a:gd name="connsiteY337" fmla="*/ 53125 h 1020248"/>
                    <a:gd name="connsiteX338" fmla="*/ 921846 w 1291912"/>
                    <a:gd name="connsiteY338" fmla="*/ 56748 h 1020248"/>
                    <a:gd name="connsiteX339" fmla="*/ 928486 w 1291912"/>
                    <a:gd name="connsiteY339" fmla="*/ 56144 h 1020248"/>
                    <a:gd name="connsiteX340" fmla="*/ 929090 w 1291912"/>
                    <a:gd name="connsiteY340" fmla="*/ 65199 h 1020248"/>
                    <a:gd name="connsiteX341" fmla="*/ 931505 w 1291912"/>
                    <a:gd name="connsiteY341" fmla="*/ 71236 h 1020248"/>
                    <a:gd name="connsiteX342" fmla="*/ 936938 w 1291912"/>
                    <a:gd name="connsiteY342" fmla="*/ 78481 h 1020248"/>
                    <a:gd name="connsiteX343" fmla="*/ 953842 w 1291912"/>
                    <a:gd name="connsiteY343" fmla="*/ 79084 h 1020248"/>
                    <a:gd name="connsiteX344" fmla="*/ 956860 w 1291912"/>
                    <a:gd name="connsiteY344" fmla="*/ 77273 h 1020248"/>
                    <a:gd name="connsiteX345" fmla="*/ 964708 w 1291912"/>
                    <a:gd name="connsiteY345" fmla="*/ 77273 h 1020248"/>
                    <a:gd name="connsiteX346" fmla="*/ 971349 w 1291912"/>
                    <a:gd name="connsiteY346" fmla="*/ 80292 h 1020248"/>
                    <a:gd name="connsiteX347" fmla="*/ 976178 w 1291912"/>
                    <a:gd name="connsiteY347" fmla="*/ 86329 h 1020248"/>
                    <a:gd name="connsiteX348" fmla="*/ 987649 w 1291912"/>
                    <a:gd name="connsiteY348" fmla="*/ 79084 h 1020248"/>
                    <a:gd name="connsiteX349" fmla="*/ 989460 w 1291912"/>
                    <a:gd name="connsiteY349" fmla="*/ 75462 h 1020248"/>
                    <a:gd name="connsiteX350" fmla="*/ 984630 w 1291912"/>
                    <a:gd name="connsiteY350" fmla="*/ 71236 h 1020248"/>
                    <a:gd name="connsiteX351" fmla="*/ 990063 w 1291912"/>
                    <a:gd name="connsiteY351" fmla="*/ 64596 h 1020248"/>
                    <a:gd name="connsiteX352" fmla="*/ 988252 w 1291912"/>
                    <a:gd name="connsiteY352" fmla="*/ 57955 h 1020248"/>
                    <a:gd name="connsiteX353" fmla="*/ 994893 w 1291912"/>
                    <a:gd name="connsiteY353" fmla="*/ 50711 h 1020248"/>
                    <a:gd name="connsiteX354" fmla="*/ 996704 w 1291912"/>
                    <a:gd name="connsiteY354" fmla="*/ 54936 h 1020248"/>
                    <a:gd name="connsiteX355" fmla="*/ 1002741 w 1291912"/>
                    <a:gd name="connsiteY355" fmla="*/ 54936 h 1020248"/>
                    <a:gd name="connsiteX356" fmla="*/ 1011193 w 1291912"/>
                    <a:gd name="connsiteY356" fmla="*/ 48296 h 1020248"/>
                    <a:gd name="connsiteX357" fmla="*/ 1014211 w 1291912"/>
                    <a:gd name="connsiteY357" fmla="*/ 56748 h 1020248"/>
                    <a:gd name="connsiteX358" fmla="*/ 1014211 w 1291912"/>
                    <a:gd name="connsiteY358" fmla="*/ 65199 h 1020248"/>
                    <a:gd name="connsiteX359" fmla="*/ 1009382 w 1291912"/>
                    <a:gd name="connsiteY359" fmla="*/ 70633 h 1020248"/>
                    <a:gd name="connsiteX360" fmla="*/ 1014815 w 1291912"/>
                    <a:gd name="connsiteY360" fmla="*/ 72444 h 1020248"/>
                    <a:gd name="connsiteX361" fmla="*/ 1018437 w 1291912"/>
                    <a:gd name="connsiteY361" fmla="*/ 76670 h 1020248"/>
                    <a:gd name="connsiteX362" fmla="*/ 1025682 w 1291912"/>
                    <a:gd name="connsiteY362" fmla="*/ 80292 h 1020248"/>
                    <a:gd name="connsiteX363" fmla="*/ 1029304 w 1291912"/>
                    <a:gd name="connsiteY363" fmla="*/ 80895 h 1020248"/>
                    <a:gd name="connsiteX364" fmla="*/ 1035341 w 1291912"/>
                    <a:gd name="connsiteY364" fmla="*/ 74858 h 1020248"/>
                    <a:gd name="connsiteX365" fmla="*/ 1039567 w 1291912"/>
                    <a:gd name="connsiteY365" fmla="*/ 77273 h 1020248"/>
                    <a:gd name="connsiteX366" fmla="*/ 1036548 w 1291912"/>
                    <a:gd name="connsiteY366" fmla="*/ 80895 h 1020248"/>
                    <a:gd name="connsiteX367" fmla="*/ 1035341 w 1291912"/>
                    <a:gd name="connsiteY367" fmla="*/ 84518 h 1020248"/>
                    <a:gd name="connsiteX368" fmla="*/ 1030511 w 1291912"/>
                    <a:gd name="connsiteY368" fmla="*/ 84518 h 1020248"/>
                    <a:gd name="connsiteX369" fmla="*/ 1029907 w 1291912"/>
                    <a:gd name="connsiteY369" fmla="*/ 89951 h 1020248"/>
                    <a:gd name="connsiteX370" fmla="*/ 1027493 w 1291912"/>
                    <a:gd name="connsiteY370" fmla="*/ 91762 h 1020248"/>
                    <a:gd name="connsiteX371" fmla="*/ 1022059 w 1291912"/>
                    <a:gd name="connsiteY371" fmla="*/ 90555 h 1020248"/>
                    <a:gd name="connsiteX372" fmla="*/ 1020852 w 1291912"/>
                    <a:gd name="connsiteY372" fmla="*/ 96592 h 1020248"/>
                    <a:gd name="connsiteX373" fmla="*/ 1016022 w 1291912"/>
                    <a:gd name="connsiteY373" fmla="*/ 100818 h 1020248"/>
                    <a:gd name="connsiteX374" fmla="*/ 1011193 w 1291912"/>
                    <a:gd name="connsiteY374" fmla="*/ 109873 h 1020248"/>
                    <a:gd name="connsiteX375" fmla="*/ 1009382 w 1291912"/>
                    <a:gd name="connsiteY375" fmla="*/ 118325 h 1020248"/>
                    <a:gd name="connsiteX376" fmla="*/ 1016022 w 1291912"/>
                    <a:gd name="connsiteY376" fmla="*/ 125569 h 1020248"/>
                    <a:gd name="connsiteX377" fmla="*/ 1017230 w 1291912"/>
                    <a:gd name="connsiteY377" fmla="*/ 127984 h 1020248"/>
                    <a:gd name="connsiteX378" fmla="*/ 1022663 w 1291912"/>
                    <a:gd name="connsiteY378" fmla="*/ 132210 h 1020248"/>
                    <a:gd name="connsiteX379" fmla="*/ 1027493 w 1291912"/>
                    <a:gd name="connsiteY379" fmla="*/ 134624 h 1020248"/>
                    <a:gd name="connsiteX380" fmla="*/ 1033530 w 1291912"/>
                    <a:gd name="connsiteY380" fmla="*/ 135228 h 1020248"/>
                    <a:gd name="connsiteX381" fmla="*/ 1038359 w 1291912"/>
                    <a:gd name="connsiteY381" fmla="*/ 137643 h 1020248"/>
                    <a:gd name="connsiteX382" fmla="*/ 1033530 w 1291912"/>
                    <a:gd name="connsiteY382" fmla="*/ 149717 h 1020248"/>
                    <a:gd name="connsiteX383" fmla="*/ 1044396 w 1291912"/>
                    <a:gd name="connsiteY383" fmla="*/ 157565 h 1020248"/>
                    <a:gd name="connsiteX384" fmla="*/ 1048622 w 1291912"/>
                    <a:gd name="connsiteY384" fmla="*/ 153339 h 1020248"/>
                    <a:gd name="connsiteX385" fmla="*/ 1052244 w 1291912"/>
                    <a:gd name="connsiteY385" fmla="*/ 153943 h 1020248"/>
                    <a:gd name="connsiteX386" fmla="*/ 1055263 w 1291912"/>
                    <a:gd name="connsiteY386" fmla="*/ 148509 h 1020248"/>
                    <a:gd name="connsiteX387" fmla="*/ 1059489 w 1291912"/>
                    <a:gd name="connsiteY387" fmla="*/ 146095 h 1020248"/>
                    <a:gd name="connsiteX388" fmla="*/ 1061300 w 1291912"/>
                    <a:gd name="connsiteY388" fmla="*/ 141265 h 1020248"/>
                    <a:gd name="connsiteX389" fmla="*/ 1061300 w 1291912"/>
                    <a:gd name="connsiteY389" fmla="*/ 134021 h 1020248"/>
                    <a:gd name="connsiteX390" fmla="*/ 1067940 w 1291912"/>
                    <a:gd name="connsiteY390" fmla="*/ 134624 h 1020248"/>
                    <a:gd name="connsiteX391" fmla="*/ 1067940 w 1291912"/>
                    <a:gd name="connsiteY391" fmla="*/ 140058 h 1020248"/>
                    <a:gd name="connsiteX392" fmla="*/ 1073977 w 1291912"/>
                    <a:gd name="connsiteY392" fmla="*/ 143680 h 1020248"/>
                    <a:gd name="connsiteX393" fmla="*/ 1077600 w 1291912"/>
                    <a:gd name="connsiteY393" fmla="*/ 148509 h 1020248"/>
                    <a:gd name="connsiteX394" fmla="*/ 1076392 w 1291912"/>
                    <a:gd name="connsiteY394" fmla="*/ 160583 h 1020248"/>
                    <a:gd name="connsiteX395" fmla="*/ 1078807 w 1291912"/>
                    <a:gd name="connsiteY395" fmla="*/ 165413 h 1020248"/>
                    <a:gd name="connsiteX396" fmla="*/ 1078807 w 1291912"/>
                    <a:gd name="connsiteY396" fmla="*/ 177487 h 1020248"/>
                    <a:gd name="connsiteX397" fmla="*/ 1073977 w 1291912"/>
                    <a:gd name="connsiteY397" fmla="*/ 178694 h 1020248"/>
                    <a:gd name="connsiteX398" fmla="*/ 1071563 w 1291912"/>
                    <a:gd name="connsiteY398" fmla="*/ 181109 h 1020248"/>
                    <a:gd name="connsiteX399" fmla="*/ 1066129 w 1291912"/>
                    <a:gd name="connsiteY399" fmla="*/ 192580 h 1020248"/>
                    <a:gd name="connsiteX400" fmla="*/ 1069148 w 1291912"/>
                    <a:gd name="connsiteY400" fmla="*/ 199824 h 1020248"/>
                    <a:gd name="connsiteX401" fmla="*/ 1066733 w 1291912"/>
                    <a:gd name="connsiteY401" fmla="*/ 207068 h 1020248"/>
                    <a:gd name="connsiteX402" fmla="*/ 1069751 w 1291912"/>
                    <a:gd name="connsiteY402" fmla="*/ 212501 h 1020248"/>
                    <a:gd name="connsiteX403" fmla="*/ 1074581 w 1291912"/>
                    <a:gd name="connsiteY403" fmla="*/ 208879 h 1020248"/>
                    <a:gd name="connsiteX404" fmla="*/ 1078807 w 1291912"/>
                    <a:gd name="connsiteY404" fmla="*/ 209483 h 1020248"/>
                    <a:gd name="connsiteX405" fmla="*/ 1081222 w 1291912"/>
                    <a:gd name="connsiteY405" fmla="*/ 213709 h 1020248"/>
                    <a:gd name="connsiteX406" fmla="*/ 1084844 w 1291912"/>
                    <a:gd name="connsiteY406" fmla="*/ 215520 h 1020248"/>
                    <a:gd name="connsiteX407" fmla="*/ 1086051 w 1291912"/>
                    <a:gd name="connsiteY407" fmla="*/ 218538 h 1020248"/>
                    <a:gd name="connsiteX408" fmla="*/ 1089674 w 1291912"/>
                    <a:gd name="connsiteY408" fmla="*/ 221557 h 1020248"/>
                    <a:gd name="connsiteX409" fmla="*/ 1090881 w 1291912"/>
                    <a:gd name="connsiteY409" fmla="*/ 225783 h 1020248"/>
                    <a:gd name="connsiteX410" fmla="*/ 1095710 w 1291912"/>
                    <a:gd name="connsiteY410" fmla="*/ 226386 h 1020248"/>
                    <a:gd name="connsiteX411" fmla="*/ 1097522 w 1291912"/>
                    <a:gd name="connsiteY411" fmla="*/ 228197 h 1020248"/>
                    <a:gd name="connsiteX412" fmla="*/ 1095107 w 1291912"/>
                    <a:gd name="connsiteY412" fmla="*/ 242082 h 1020248"/>
                    <a:gd name="connsiteX413" fmla="*/ 1098125 w 1291912"/>
                    <a:gd name="connsiteY413" fmla="*/ 246308 h 1020248"/>
                    <a:gd name="connsiteX414" fmla="*/ 1100540 w 1291912"/>
                    <a:gd name="connsiteY414" fmla="*/ 247516 h 1020248"/>
                    <a:gd name="connsiteX415" fmla="*/ 1105973 w 1291912"/>
                    <a:gd name="connsiteY415" fmla="*/ 243290 h 1020248"/>
                    <a:gd name="connsiteX416" fmla="*/ 1109596 w 1291912"/>
                    <a:gd name="connsiteY416" fmla="*/ 237857 h 1020248"/>
                    <a:gd name="connsiteX417" fmla="*/ 1119858 w 1291912"/>
                    <a:gd name="connsiteY417" fmla="*/ 238460 h 1020248"/>
                    <a:gd name="connsiteX418" fmla="*/ 1124688 w 1291912"/>
                    <a:gd name="connsiteY418" fmla="*/ 243290 h 1020248"/>
                    <a:gd name="connsiteX419" fmla="*/ 1128310 w 1291912"/>
                    <a:gd name="connsiteY419" fmla="*/ 245101 h 1020248"/>
                    <a:gd name="connsiteX420" fmla="*/ 1125895 w 1291912"/>
                    <a:gd name="connsiteY420" fmla="*/ 248119 h 1020248"/>
                    <a:gd name="connsiteX421" fmla="*/ 1125895 w 1291912"/>
                    <a:gd name="connsiteY421" fmla="*/ 255364 h 1020248"/>
                    <a:gd name="connsiteX422" fmla="*/ 1123481 w 1291912"/>
                    <a:gd name="connsiteY422" fmla="*/ 258382 h 1020248"/>
                    <a:gd name="connsiteX423" fmla="*/ 1123481 w 1291912"/>
                    <a:gd name="connsiteY423" fmla="*/ 265627 h 1020248"/>
                    <a:gd name="connsiteX424" fmla="*/ 1127706 w 1291912"/>
                    <a:gd name="connsiteY424" fmla="*/ 269249 h 1020248"/>
                    <a:gd name="connsiteX425" fmla="*/ 1124688 w 1291912"/>
                    <a:gd name="connsiteY425" fmla="*/ 273475 h 1020248"/>
                    <a:gd name="connsiteX426" fmla="*/ 1122273 w 1291912"/>
                    <a:gd name="connsiteY426" fmla="*/ 283134 h 1020248"/>
                    <a:gd name="connsiteX427" fmla="*/ 1126499 w 1291912"/>
                    <a:gd name="connsiteY427" fmla="*/ 286153 h 1020248"/>
                    <a:gd name="connsiteX428" fmla="*/ 1130121 w 1291912"/>
                    <a:gd name="connsiteY428" fmla="*/ 283134 h 1020248"/>
                    <a:gd name="connsiteX429" fmla="*/ 1137366 w 1291912"/>
                    <a:gd name="connsiteY429" fmla="*/ 282530 h 1020248"/>
                    <a:gd name="connsiteX430" fmla="*/ 1139780 w 1291912"/>
                    <a:gd name="connsiteY430" fmla="*/ 290982 h 1020248"/>
                    <a:gd name="connsiteX431" fmla="*/ 1143403 w 1291912"/>
                    <a:gd name="connsiteY431" fmla="*/ 289171 h 1020248"/>
                    <a:gd name="connsiteX432" fmla="*/ 1149439 w 1291912"/>
                    <a:gd name="connsiteY432" fmla="*/ 281927 h 1020248"/>
                    <a:gd name="connsiteX433" fmla="*/ 1153665 w 1291912"/>
                    <a:gd name="connsiteY433" fmla="*/ 287360 h 1020248"/>
                    <a:gd name="connsiteX434" fmla="*/ 1162721 w 1291912"/>
                    <a:gd name="connsiteY434" fmla="*/ 284341 h 1020248"/>
                    <a:gd name="connsiteX435" fmla="*/ 1170569 w 1291912"/>
                    <a:gd name="connsiteY435" fmla="*/ 295812 h 1020248"/>
                    <a:gd name="connsiteX436" fmla="*/ 1173587 w 1291912"/>
                    <a:gd name="connsiteY436" fmla="*/ 302452 h 1020248"/>
                    <a:gd name="connsiteX437" fmla="*/ 1176606 w 1291912"/>
                    <a:gd name="connsiteY437" fmla="*/ 305471 h 1020248"/>
                    <a:gd name="connsiteX438" fmla="*/ 1176606 w 1291912"/>
                    <a:gd name="connsiteY438" fmla="*/ 309093 h 1020248"/>
                    <a:gd name="connsiteX439" fmla="*/ 1185661 w 1291912"/>
                    <a:gd name="connsiteY439" fmla="*/ 308489 h 1020248"/>
                    <a:gd name="connsiteX440" fmla="*/ 1187472 w 1291912"/>
                    <a:gd name="connsiteY440" fmla="*/ 301245 h 1020248"/>
                    <a:gd name="connsiteX441" fmla="*/ 1190491 w 1291912"/>
                    <a:gd name="connsiteY441" fmla="*/ 299434 h 1020248"/>
                    <a:gd name="connsiteX442" fmla="*/ 1194717 w 1291912"/>
                    <a:gd name="connsiteY442" fmla="*/ 304264 h 1020248"/>
                    <a:gd name="connsiteX443" fmla="*/ 1196528 w 1291912"/>
                    <a:gd name="connsiteY443" fmla="*/ 309093 h 1020248"/>
                    <a:gd name="connsiteX444" fmla="*/ 1204980 w 1291912"/>
                    <a:gd name="connsiteY444" fmla="*/ 310301 h 1020248"/>
                    <a:gd name="connsiteX445" fmla="*/ 1204376 w 1291912"/>
                    <a:gd name="connsiteY445" fmla="*/ 313319 h 1020248"/>
                    <a:gd name="connsiteX446" fmla="*/ 1207998 w 1291912"/>
                    <a:gd name="connsiteY446" fmla="*/ 318752 h 1020248"/>
                    <a:gd name="connsiteX447" fmla="*/ 1216450 w 1291912"/>
                    <a:gd name="connsiteY447" fmla="*/ 318149 h 1020248"/>
                    <a:gd name="connsiteX448" fmla="*/ 1220072 w 1291912"/>
                    <a:gd name="connsiteY448" fmla="*/ 318752 h 1020248"/>
                    <a:gd name="connsiteX449" fmla="*/ 1221883 w 1291912"/>
                    <a:gd name="connsiteY449" fmla="*/ 322374 h 1020248"/>
                    <a:gd name="connsiteX450" fmla="*/ 1226109 w 1291912"/>
                    <a:gd name="connsiteY450" fmla="*/ 325393 h 1020248"/>
                    <a:gd name="connsiteX451" fmla="*/ 1226713 w 1291912"/>
                    <a:gd name="connsiteY451" fmla="*/ 333844 h 1020248"/>
                    <a:gd name="connsiteX452" fmla="*/ 1223694 w 1291912"/>
                    <a:gd name="connsiteY452" fmla="*/ 338674 h 1020248"/>
                    <a:gd name="connsiteX453" fmla="*/ 1224298 w 1291912"/>
                    <a:gd name="connsiteY453" fmla="*/ 344711 h 1020248"/>
                    <a:gd name="connsiteX454" fmla="*/ 1228524 w 1291912"/>
                    <a:gd name="connsiteY454" fmla="*/ 345315 h 1020248"/>
                    <a:gd name="connsiteX455" fmla="*/ 1230335 w 1291912"/>
                    <a:gd name="connsiteY455" fmla="*/ 349541 h 1020248"/>
                    <a:gd name="connsiteX456" fmla="*/ 1235768 w 1291912"/>
                    <a:gd name="connsiteY456" fmla="*/ 350748 h 1020248"/>
                    <a:gd name="connsiteX457" fmla="*/ 1236976 w 1291912"/>
                    <a:gd name="connsiteY457" fmla="*/ 346522 h 1020248"/>
                    <a:gd name="connsiteX458" fmla="*/ 1241202 w 1291912"/>
                    <a:gd name="connsiteY458" fmla="*/ 341692 h 1020248"/>
                    <a:gd name="connsiteX459" fmla="*/ 1249653 w 1291912"/>
                    <a:gd name="connsiteY459" fmla="*/ 344711 h 1020248"/>
                    <a:gd name="connsiteX460" fmla="*/ 1254483 w 1291912"/>
                    <a:gd name="connsiteY460" fmla="*/ 349541 h 1020248"/>
                    <a:gd name="connsiteX461" fmla="*/ 1257501 w 1291912"/>
                    <a:gd name="connsiteY461" fmla="*/ 357992 h 1020248"/>
                    <a:gd name="connsiteX462" fmla="*/ 1256294 w 1291912"/>
                    <a:gd name="connsiteY462" fmla="*/ 363426 h 1020248"/>
                    <a:gd name="connsiteX463" fmla="*/ 1262331 w 1291912"/>
                    <a:gd name="connsiteY463" fmla="*/ 367048 h 1020248"/>
                    <a:gd name="connsiteX464" fmla="*/ 1264746 w 1291912"/>
                    <a:gd name="connsiteY464" fmla="*/ 370670 h 1020248"/>
                    <a:gd name="connsiteX465" fmla="*/ 1265953 w 1291912"/>
                    <a:gd name="connsiteY465" fmla="*/ 375500 h 1020248"/>
                    <a:gd name="connsiteX466" fmla="*/ 1270179 w 1291912"/>
                    <a:gd name="connsiteY466" fmla="*/ 377914 h 1020248"/>
                    <a:gd name="connsiteX467" fmla="*/ 1271386 w 1291912"/>
                    <a:gd name="connsiteY467" fmla="*/ 383951 h 1020248"/>
                    <a:gd name="connsiteX468" fmla="*/ 1274405 w 1291912"/>
                    <a:gd name="connsiteY468" fmla="*/ 389385 h 1020248"/>
                    <a:gd name="connsiteX469" fmla="*/ 1268368 w 1291912"/>
                    <a:gd name="connsiteY469" fmla="*/ 392403 h 1020248"/>
                    <a:gd name="connsiteX470" fmla="*/ 1276820 w 1291912"/>
                    <a:gd name="connsiteY470" fmla="*/ 405081 h 1020248"/>
                    <a:gd name="connsiteX471" fmla="*/ 1281046 w 1291912"/>
                    <a:gd name="connsiteY471" fmla="*/ 407496 h 1020248"/>
                    <a:gd name="connsiteX472" fmla="*/ 1284668 w 1291912"/>
                    <a:gd name="connsiteY472" fmla="*/ 403270 h 1020248"/>
                    <a:gd name="connsiteX473" fmla="*/ 1291308 w 1291912"/>
                    <a:gd name="connsiteY473" fmla="*/ 402062 h 1020248"/>
                    <a:gd name="connsiteX474" fmla="*/ 1293723 w 1291912"/>
                    <a:gd name="connsiteY474" fmla="*/ 403874 h 1020248"/>
                    <a:gd name="connsiteX475" fmla="*/ 1296742 w 1291912"/>
                    <a:gd name="connsiteY475" fmla="*/ 416551 h 1020248"/>
                    <a:gd name="connsiteX476" fmla="*/ 1294327 w 1291912"/>
                    <a:gd name="connsiteY476" fmla="*/ 426210 h 1020248"/>
                    <a:gd name="connsiteX477" fmla="*/ 1288894 w 1291912"/>
                    <a:gd name="connsiteY477" fmla="*/ 427418 h 1020248"/>
                    <a:gd name="connsiteX478" fmla="*/ 1288894 w 1291912"/>
                    <a:gd name="connsiteY478" fmla="*/ 432851 h 1020248"/>
                    <a:gd name="connsiteX479" fmla="*/ 1281046 w 1291912"/>
                    <a:gd name="connsiteY479" fmla="*/ 444925 h 1020248"/>
                    <a:gd name="connsiteX480" fmla="*/ 1279838 w 1291912"/>
                    <a:gd name="connsiteY480" fmla="*/ 453376 h 1020248"/>
                    <a:gd name="connsiteX481" fmla="*/ 1277423 w 1291912"/>
                    <a:gd name="connsiteY481" fmla="*/ 458810 h 1020248"/>
                    <a:gd name="connsiteX482" fmla="*/ 1277423 w 1291912"/>
                    <a:gd name="connsiteY482" fmla="*/ 464243 h 1020248"/>
                    <a:gd name="connsiteX483" fmla="*/ 1273197 w 1291912"/>
                    <a:gd name="connsiteY483" fmla="*/ 466054 h 1020248"/>
                    <a:gd name="connsiteX484" fmla="*/ 1265953 w 1291912"/>
                    <a:gd name="connsiteY484" fmla="*/ 464243 h 1020248"/>
                    <a:gd name="connsiteX485" fmla="*/ 1258709 w 1291912"/>
                    <a:gd name="connsiteY485" fmla="*/ 464847 h 1020248"/>
                    <a:gd name="connsiteX486" fmla="*/ 1255690 w 1291912"/>
                    <a:gd name="connsiteY486" fmla="*/ 463639 h 1020248"/>
                    <a:gd name="connsiteX487" fmla="*/ 1250861 w 1291912"/>
                    <a:gd name="connsiteY487" fmla="*/ 466054 h 1020248"/>
                    <a:gd name="connsiteX488" fmla="*/ 1251464 w 1291912"/>
                    <a:gd name="connsiteY488" fmla="*/ 469073 h 1020248"/>
                    <a:gd name="connsiteX489" fmla="*/ 1247239 w 1291912"/>
                    <a:gd name="connsiteY489" fmla="*/ 470884 h 1020248"/>
                    <a:gd name="connsiteX490" fmla="*/ 1244824 w 1291912"/>
                    <a:gd name="connsiteY490" fmla="*/ 477524 h 1020248"/>
                    <a:gd name="connsiteX491" fmla="*/ 1242409 w 1291912"/>
                    <a:gd name="connsiteY491" fmla="*/ 481750 h 1020248"/>
                    <a:gd name="connsiteX492" fmla="*/ 1239390 w 1291912"/>
                    <a:gd name="connsiteY492" fmla="*/ 481147 h 1020248"/>
                    <a:gd name="connsiteX493" fmla="*/ 1237579 w 1291912"/>
                    <a:gd name="connsiteY493" fmla="*/ 484769 h 1020248"/>
                    <a:gd name="connsiteX494" fmla="*/ 1230939 w 1291912"/>
                    <a:gd name="connsiteY494" fmla="*/ 489598 h 1020248"/>
                    <a:gd name="connsiteX495" fmla="*/ 1229731 w 1291912"/>
                    <a:gd name="connsiteY495" fmla="*/ 492617 h 1020248"/>
                    <a:gd name="connsiteX496" fmla="*/ 1224298 w 1291912"/>
                    <a:gd name="connsiteY496" fmla="*/ 491410 h 1020248"/>
                    <a:gd name="connsiteX497" fmla="*/ 1215846 w 1291912"/>
                    <a:gd name="connsiteY497" fmla="*/ 485373 h 1020248"/>
                    <a:gd name="connsiteX498" fmla="*/ 1212224 w 1291912"/>
                    <a:gd name="connsiteY498" fmla="*/ 485373 h 1020248"/>
                    <a:gd name="connsiteX499" fmla="*/ 1207394 w 1291912"/>
                    <a:gd name="connsiteY499" fmla="*/ 487184 h 1020248"/>
                    <a:gd name="connsiteX500" fmla="*/ 1207394 w 1291912"/>
                    <a:gd name="connsiteY500" fmla="*/ 492617 h 1020248"/>
                    <a:gd name="connsiteX501" fmla="*/ 1215846 w 1291912"/>
                    <a:gd name="connsiteY501" fmla="*/ 494428 h 1020248"/>
                    <a:gd name="connsiteX502" fmla="*/ 1214035 w 1291912"/>
                    <a:gd name="connsiteY502" fmla="*/ 504087 h 1020248"/>
                    <a:gd name="connsiteX503" fmla="*/ 1218865 w 1291912"/>
                    <a:gd name="connsiteY503" fmla="*/ 503484 h 1020248"/>
                    <a:gd name="connsiteX504" fmla="*/ 1220072 w 1291912"/>
                    <a:gd name="connsiteY504" fmla="*/ 511332 h 1020248"/>
                    <a:gd name="connsiteX505" fmla="*/ 1223694 w 1291912"/>
                    <a:gd name="connsiteY505" fmla="*/ 514350 h 1020248"/>
                    <a:gd name="connsiteX506" fmla="*/ 1227316 w 1291912"/>
                    <a:gd name="connsiteY506" fmla="*/ 507106 h 1020248"/>
                    <a:gd name="connsiteX507" fmla="*/ 1230335 w 1291912"/>
                    <a:gd name="connsiteY507" fmla="*/ 510124 h 1020248"/>
                    <a:gd name="connsiteX508" fmla="*/ 1236976 w 1291912"/>
                    <a:gd name="connsiteY508" fmla="*/ 508917 h 1020248"/>
                    <a:gd name="connsiteX509" fmla="*/ 1235768 w 1291912"/>
                    <a:gd name="connsiteY509" fmla="*/ 504691 h 1020248"/>
                    <a:gd name="connsiteX510" fmla="*/ 1240598 w 1291912"/>
                    <a:gd name="connsiteY510" fmla="*/ 504087 h 1020248"/>
                    <a:gd name="connsiteX511" fmla="*/ 1240598 w 1291912"/>
                    <a:gd name="connsiteY511" fmla="*/ 510728 h 1020248"/>
                    <a:gd name="connsiteX512" fmla="*/ 1247239 w 1291912"/>
                    <a:gd name="connsiteY512" fmla="*/ 510124 h 1020248"/>
                    <a:gd name="connsiteX513" fmla="*/ 1252672 w 1291912"/>
                    <a:gd name="connsiteY513" fmla="*/ 513143 h 1020248"/>
                    <a:gd name="connsiteX514" fmla="*/ 1254483 w 1291912"/>
                    <a:gd name="connsiteY514" fmla="*/ 520387 h 1020248"/>
                    <a:gd name="connsiteX515" fmla="*/ 1247842 w 1291912"/>
                    <a:gd name="connsiteY515" fmla="*/ 524009 h 1020248"/>
                    <a:gd name="connsiteX516" fmla="*/ 1244824 w 1291912"/>
                    <a:gd name="connsiteY516" fmla="*/ 528235 h 1020248"/>
                    <a:gd name="connsiteX517" fmla="*/ 1239390 w 1291912"/>
                    <a:gd name="connsiteY517" fmla="*/ 531857 h 1020248"/>
                    <a:gd name="connsiteX518" fmla="*/ 1237579 w 1291912"/>
                    <a:gd name="connsiteY518" fmla="*/ 536083 h 1020248"/>
                    <a:gd name="connsiteX519" fmla="*/ 1226109 w 1291912"/>
                    <a:gd name="connsiteY519" fmla="*/ 533668 h 1020248"/>
                    <a:gd name="connsiteX520" fmla="*/ 1224902 w 1291912"/>
                    <a:gd name="connsiteY520" fmla="*/ 529443 h 1020248"/>
                    <a:gd name="connsiteX521" fmla="*/ 1221280 w 1291912"/>
                    <a:gd name="connsiteY521" fmla="*/ 525217 h 1020248"/>
                    <a:gd name="connsiteX522" fmla="*/ 1217657 w 1291912"/>
                    <a:gd name="connsiteY522" fmla="*/ 527028 h 1020248"/>
                    <a:gd name="connsiteX523" fmla="*/ 1212828 w 1291912"/>
                    <a:gd name="connsiteY523" fmla="*/ 527632 h 1020248"/>
                    <a:gd name="connsiteX524" fmla="*/ 1214035 w 1291912"/>
                    <a:gd name="connsiteY524" fmla="*/ 531857 h 1020248"/>
                    <a:gd name="connsiteX525" fmla="*/ 1212224 w 1291912"/>
                    <a:gd name="connsiteY525" fmla="*/ 534272 h 1020248"/>
                    <a:gd name="connsiteX526" fmla="*/ 1210413 w 1291912"/>
                    <a:gd name="connsiteY526" fmla="*/ 544535 h 1020248"/>
                    <a:gd name="connsiteX527" fmla="*/ 1214639 w 1291912"/>
                    <a:gd name="connsiteY527" fmla="*/ 548157 h 1020248"/>
                    <a:gd name="connsiteX528" fmla="*/ 1214035 w 1291912"/>
                    <a:gd name="connsiteY528" fmla="*/ 558420 h 1020248"/>
                    <a:gd name="connsiteX529" fmla="*/ 1221883 w 1291912"/>
                    <a:gd name="connsiteY529" fmla="*/ 559023 h 1020248"/>
                    <a:gd name="connsiteX530" fmla="*/ 1223694 w 1291912"/>
                    <a:gd name="connsiteY530" fmla="*/ 560835 h 1020248"/>
                    <a:gd name="connsiteX531" fmla="*/ 1224298 w 1291912"/>
                    <a:gd name="connsiteY531" fmla="*/ 571097 h 1020248"/>
                    <a:gd name="connsiteX532" fmla="*/ 1226109 w 1291912"/>
                    <a:gd name="connsiteY532" fmla="*/ 571701 h 1020248"/>
                    <a:gd name="connsiteX533" fmla="*/ 1224298 w 1291912"/>
                    <a:gd name="connsiteY533" fmla="*/ 578342 h 1020248"/>
                    <a:gd name="connsiteX534" fmla="*/ 1225505 w 1291912"/>
                    <a:gd name="connsiteY534" fmla="*/ 586794 h 1020248"/>
                    <a:gd name="connsiteX535" fmla="*/ 1230335 w 1291912"/>
                    <a:gd name="connsiteY535" fmla="*/ 584379 h 1020248"/>
                    <a:gd name="connsiteX536" fmla="*/ 1233353 w 1291912"/>
                    <a:gd name="connsiteY536" fmla="*/ 585586 h 1020248"/>
                    <a:gd name="connsiteX537" fmla="*/ 1231542 w 1291912"/>
                    <a:gd name="connsiteY537" fmla="*/ 594642 h 1020248"/>
                    <a:gd name="connsiteX538" fmla="*/ 1226713 w 1291912"/>
                    <a:gd name="connsiteY538" fmla="*/ 595849 h 1020248"/>
                    <a:gd name="connsiteX539" fmla="*/ 1224298 w 1291912"/>
                    <a:gd name="connsiteY539" fmla="*/ 600075 h 1020248"/>
                    <a:gd name="connsiteX540" fmla="*/ 1218865 w 1291912"/>
                    <a:gd name="connsiteY540" fmla="*/ 603697 h 1020248"/>
                    <a:gd name="connsiteX541" fmla="*/ 1218865 w 1291912"/>
                    <a:gd name="connsiteY541" fmla="*/ 607319 h 1020248"/>
                    <a:gd name="connsiteX542" fmla="*/ 1229731 w 1291912"/>
                    <a:gd name="connsiteY542" fmla="*/ 610942 h 1020248"/>
                    <a:gd name="connsiteX543" fmla="*/ 1227920 w 1291912"/>
                    <a:gd name="connsiteY543" fmla="*/ 614564 h 1020248"/>
                    <a:gd name="connsiteX544" fmla="*/ 1228524 w 1291912"/>
                    <a:gd name="connsiteY544" fmla="*/ 618186 h 1020248"/>
                    <a:gd name="connsiteX545" fmla="*/ 1207998 w 1291912"/>
                    <a:gd name="connsiteY545" fmla="*/ 624827 h 1020248"/>
                    <a:gd name="connsiteX546" fmla="*/ 1203169 w 1291912"/>
                    <a:gd name="connsiteY546" fmla="*/ 629053 h 1020248"/>
                    <a:gd name="connsiteX547" fmla="*/ 1194113 w 1291912"/>
                    <a:gd name="connsiteY547" fmla="*/ 632675 h 1020248"/>
                    <a:gd name="connsiteX548" fmla="*/ 1182039 w 1291912"/>
                    <a:gd name="connsiteY548" fmla="*/ 639919 h 1020248"/>
                    <a:gd name="connsiteX549" fmla="*/ 1177210 w 1291912"/>
                    <a:gd name="connsiteY549" fmla="*/ 640523 h 1020248"/>
                    <a:gd name="connsiteX550" fmla="*/ 1173587 w 1291912"/>
                    <a:gd name="connsiteY550" fmla="*/ 643541 h 1020248"/>
                    <a:gd name="connsiteX551" fmla="*/ 1165739 w 1291912"/>
                    <a:gd name="connsiteY551" fmla="*/ 643541 h 1020248"/>
                    <a:gd name="connsiteX552" fmla="*/ 1159099 w 1291912"/>
                    <a:gd name="connsiteY552" fmla="*/ 647163 h 1020248"/>
                    <a:gd name="connsiteX553" fmla="*/ 1162721 w 1291912"/>
                    <a:gd name="connsiteY553" fmla="*/ 649578 h 1020248"/>
                    <a:gd name="connsiteX554" fmla="*/ 1165739 w 1291912"/>
                    <a:gd name="connsiteY554" fmla="*/ 658634 h 1020248"/>
                    <a:gd name="connsiteX555" fmla="*/ 1163325 w 1291912"/>
                    <a:gd name="connsiteY555" fmla="*/ 660445 h 1020248"/>
                    <a:gd name="connsiteX556" fmla="*/ 1166343 w 1291912"/>
                    <a:gd name="connsiteY556" fmla="*/ 665274 h 1020248"/>
                    <a:gd name="connsiteX557" fmla="*/ 1175398 w 1291912"/>
                    <a:gd name="connsiteY557" fmla="*/ 671915 h 1020248"/>
                    <a:gd name="connsiteX558" fmla="*/ 1176606 w 1291912"/>
                    <a:gd name="connsiteY558" fmla="*/ 674330 h 1020248"/>
                    <a:gd name="connsiteX559" fmla="*/ 1177210 w 1291912"/>
                    <a:gd name="connsiteY559" fmla="*/ 681574 h 1020248"/>
                    <a:gd name="connsiteX560" fmla="*/ 1174795 w 1291912"/>
                    <a:gd name="connsiteY560" fmla="*/ 687007 h 1020248"/>
                    <a:gd name="connsiteX561" fmla="*/ 1169362 w 1291912"/>
                    <a:gd name="connsiteY561" fmla="*/ 687611 h 1020248"/>
                    <a:gd name="connsiteX562" fmla="*/ 1166343 w 1291912"/>
                    <a:gd name="connsiteY562" fmla="*/ 689422 h 1020248"/>
                    <a:gd name="connsiteX563" fmla="*/ 1162721 w 1291912"/>
                    <a:gd name="connsiteY563" fmla="*/ 688215 h 1020248"/>
                    <a:gd name="connsiteX564" fmla="*/ 1157288 w 1291912"/>
                    <a:gd name="connsiteY564" fmla="*/ 688818 h 1020248"/>
                    <a:gd name="connsiteX565" fmla="*/ 1154269 w 1291912"/>
                    <a:gd name="connsiteY565" fmla="*/ 691233 h 1020248"/>
                    <a:gd name="connsiteX566" fmla="*/ 1158495 w 1291912"/>
                    <a:gd name="connsiteY566" fmla="*/ 696063 h 1020248"/>
                    <a:gd name="connsiteX567" fmla="*/ 1162117 w 1291912"/>
                    <a:gd name="connsiteY567" fmla="*/ 697270 h 1020248"/>
                    <a:gd name="connsiteX568" fmla="*/ 1163928 w 1291912"/>
                    <a:gd name="connsiteY568" fmla="*/ 706929 h 1020248"/>
                    <a:gd name="connsiteX569" fmla="*/ 1167550 w 1291912"/>
                    <a:gd name="connsiteY569" fmla="*/ 716589 h 1020248"/>
                    <a:gd name="connsiteX570" fmla="*/ 1169362 w 1291912"/>
                    <a:gd name="connsiteY570" fmla="*/ 719607 h 1020248"/>
                    <a:gd name="connsiteX571" fmla="*/ 1185058 w 1291912"/>
                    <a:gd name="connsiteY571" fmla="*/ 714174 h 1020248"/>
                    <a:gd name="connsiteX572" fmla="*/ 1185661 w 1291912"/>
                    <a:gd name="connsiteY572" fmla="*/ 716589 h 1020248"/>
                    <a:gd name="connsiteX573" fmla="*/ 1192906 w 1291912"/>
                    <a:gd name="connsiteY573" fmla="*/ 713570 h 1020248"/>
                    <a:gd name="connsiteX574" fmla="*/ 1194717 w 1291912"/>
                    <a:gd name="connsiteY574" fmla="*/ 709344 h 1020248"/>
                    <a:gd name="connsiteX575" fmla="*/ 1199546 w 1291912"/>
                    <a:gd name="connsiteY575" fmla="*/ 709948 h 1020248"/>
                    <a:gd name="connsiteX576" fmla="*/ 1203169 w 1291912"/>
                    <a:gd name="connsiteY576" fmla="*/ 707533 h 1020248"/>
                    <a:gd name="connsiteX577" fmla="*/ 1207998 w 1291912"/>
                    <a:gd name="connsiteY577" fmla="*/ 708137 h 1020248"/>
                    <a:gd name="connsiteX578" fmla="*/ 1212224 w 1291912"/>
                    <a:gd name="connsiteY578" fmla="*/ 705722 h 1020248"/>
                    <a:gd name="connsiteX579" fmla="*/ 1226109 w 1291912"/>
                    <a:gd name="connsiteY579" fmla="*/ 706326 h 1020248"/>
                    <a:gd name="connsiteX580" fmla="*/ 1236372 w 1291912"/>
                    <a:gd name="connsiteY580" fmla="*/ 705722 h 1020248"/>
                    <a:gd name="connsiteX581" fmla="*/ 1240598 w 1291912"/>
                    <a:gd name="connsiteY581" fmla="*/ 712363 h 1020248"/>
                    <a:gd name="connsiteX582" fmla="*/ 1247239 w 1291912"/>
                    <a:gd name="connsiteY582" fmla="*/ 707533 h 1020248"/>
                    <a:gd name="connsiteX583" fmla="*/ 1250861 w 1291912"/>
                    <a:gd name="connsiteY583" fmla="*/ 711155 h 1020248"/>
                    <a:gd name="connsiteX584" fmla="*/ 1254483 w 1291912"/>
                    <a:gd name="connsiteY584" fmla="*/ 711155 h 1020248"/>
                    <a:gd name="connsiteX585" fmla="*/ 1258105 w 1291912"/>
                    <a:gd name="connsiteY585" fmla="*/ 705722 h 1020248"/>
                    <a:gd name="connsiteX586" fmla="*/ 1262331 w 1291912"/>
                    <a:gd name="connsiteY586" fmla="*/ 704515 h 1020248"/>
                    <a:gd name="connsiteX587" fmla="*/ 1262935 w 1291912"/>
                    <a:gd name="connsiteY587" fmla="*/ 708741 h 1020248"/>
                    <a:gd name="connsiteX588" fmla="*/ 1267160 w 1291912"/>
                    <a:gd name="connsiteY588" fmla="*/ 709948 h 1020248"/>
                    <a:gd name="connsiteX589" fmla="*/ 1265953 w 1291912"/>
                    <a:gd name="connsiteY589" fmla="*/ 719607 h 1020248"/>
                    <a:gd name="connsiteX590" fmla="*/ 1261727 w 1291912"/>
                    <a:gd name="connsiteY590" fmla="*/ 723229 h 1020248"/>
                    <a:gd name="connsiteX591" fmla="*/ 1254483 w 1291912"/>
                    <a:gd name="connsiteY591" fmla="*/ 724437 h 1020248"/>
                    <a:gd name="connsiteX592" fmla="*/ 1252672 w 1291912"/>
                    <a:gd name="connsiteY592" fmla="*/ 726248 h 1020248"/>
                    <a:gd name="connsiteX593" fmla="*/ 1244220 w 1291912"/>
                    <a:gd name="connsiteY593" fmla="*/ 728059 h 1020248"/>
                    <a:gd name="connsiteX594" fmla="*/ 1236372 w 1291912"/>
                    <a:gd name="connsiteY594" fmla="*/ 726248 h 1020248"/>
                    <a:gd name="connsiteX595" fmla="*/ 1231542 w 1291912"/>
                    <a:gd name="connsiteY595" fmla="*/ 729266 h 1020248"/>
                    <a:gd name="connsiteX596" fmla="*/ 1227316 w 1291912"/>
                    <a:gd name="connsiteY596" fmla="*/ 727455 h 1020248"/>
                    <a:gd name="connsiteX597" fmla="*/ 1223091 w 1291912"/>
                    <a:gd name="connsiteY597" fmla="*/ 729870 h 1020248"/>
                    <a:gd name="connsiteX598" fmla="*/ 1214639 w 1291912"/>
                    <a:gd name="connsiteY598" fmla="*/ 728663 h 1020248"/>
                    <a:gd name="connsiteX599" fmla="*/ 1212224 w 1291912"/>
                    <a:gd name="connsiteY599" fmla="*/ 723229 h 1020248"/>
                    <a:gd name="connsiteX600" fmla="*/ 1209809 w 1291912"/>
                    <a:gd name="connsiteY600" fmla="*/ 728663 h 1020248"/>
                    <a:gd name="connsiteX601" fmla="*/ 1208602 w 1291912"/>
                    <a:gd name="connsiteY601" fmla="*/ 735303 h 1020248"/>
                    <a:gd name="connsiteX602" fmla="*/ 1200150 w 1291912"/>
                    <a:gd name="connsiteY602" fmla="*/ 738322 h 1020248"/>
                    <a:gd name="connsiteX603" fmla="*/ 1194113 w 1291912"/>
                    <a:gd name="connsiteY603" fmla="*/ 741944 h 1020248"/>
                    <a:gd name="connsiteX604" fmla="*/ 1190491 w 1291912"/>
                    <a:gd name="connsiteY604" fmla="*/ 742548 h 1020248"/>
                    <a:gd name="connsiteX605" fmla="*/ 1189284 w 1291912"/>
                    <a:gd name="connsiteY605" fmla="*/ 746774 h 1020248"/>
                    <a:gd name="connsiteX606" fmla="*/ 1189284 w 1291912"/>
                    <a:gd name="connsiteY606" fmla="*/ 753414 h 1020248"/>
                    <a:gd name="connsiteX607" fmla="*/ 1187472 w 1291912"/>
                    <a:gd name="connsiteY607" fmla="*/ 763677 h 1020248"/>
                    <a:gd name="connsiteX608" fmla="*/ 1184454 w 1291912"/>
                    <a:gd name="connsiteY608" fmla="*/ 766695 h 1020248"/>
                    <a:gd name="connsiteX609" fmla="*/ 1176002 w 1291912"/>
                    <a:gd name="connsiteY609" fmla="*/ 771525 h 1020248"/>
                    <a:gd name="connsiteX610" fmla="*/ 1168758 w 1291912"/>
                    <a:gd name="connsiteY610" fmla="*/ 769714 h 1020248"/>
                    <a:gd name="connsiteX611" fmla="*/ 1163325 w 1291912"/>
                    <a:gd name="connsiteY611" fmla="*/ 770317 h 1020248"/>
                    <a:gd name="connsiteX612" fmla="*/ 1164532 w 1291912"/>
                    <a:gd name="connsiteY612" fmla="*/ 775751 h 1020248"/>
                    <a:gd name="connsiteX613" fmla="*/ 1160910 w 1291912"/>
                    <a:gd name="connsiteY613" fmla="*/ 780580 h 1020248"/>
                    <a:gd name="connsiteX614" fmla="*/ 1161513 w 1291912"/>
                    <a:gd name="connsiteY614" fmla="*/ 791447 h 1020248"/>
                    <a:gd name="connsiteX615" fmla="*/ 1156080 w 1291912"/>
                    <a:gd name="connsiteY615" fmla="*/ 789636 h 1020248"/>
                    <a:gd name="connsiteX616" fmla="*/ 1153062 w 1291912"/>
                    <a:gd name="connsiteY616" fmla="*/ 793258 h 1020248"/>
                    <a:gd name="connsiteX617" fmla="*/ 1145214 w 1291912"/>
                    <a:gd name="connsiteY617" fmla="*/ 792654 h 1020248"/>
                    <a:gd name="connsiteX618" fmla="*/ 1146421 w 1291912"/>
                    <a:gd name="connsiteY618" fmla="*/ 796277 h 1020248"/>
                    <a:gd name="connsiteX619" fmla="*/ 1144006 w 1291912"/>
                    <a:gd name="connsiteY619" fmla="*/ 798691 h 1020248"/>
                    <a:gd name="connsiteX620" fmla="*/ 1139177 w 1291912"/>
                    <a:gd name="connsiteY620" fmla="*/ 796277 h 1020248"/>
                    <a:gd name="connsiteX621" fmla="*/ 1132536 w 1291912"/>
                    <a:gd name="connsiteY621" fmla="*/ 795673 h 1020248"/>
                    <a:gd name="connsiteX622" fmla="*/ 1123481 w 1291912"/>
                    <a:gd name="connsiteY622" fmla="*/ 800502 h 1020248"/>
                    <a:gd name="connsiteX623" fmla="*/ 1123481 w 1291912"/>
                    <a:gd name="connsiteY623" fmla="*/ 795673 h 1020248"/>
                    <a:gd name="connsiteX624" fmla="*/ 1119858 w 1291912"/>
                    <a:gd name="connsiteY624" fmla="*/ 794465 h 1020248"/>
                    <a:gd name="connsiteX625" fmla="*/ 1117444 w 1291912"/>
                    <a:gd name="connsiteY625" fmla="*/ 790240 h 1020248"/>
                    <a:gd name="connsiteX626" fmla="*/ 1113218 w 1291912"/>
                    <a:gd name="connsiteY626" fmla="*/ 792654 h 1020248"/>
                    <a:gd name="connsiteX627" fmla="*/ 1113218 w 1291912"/>
                    <a:gd name="connsiteY627" fmla="*/ 795673 h 1020248"/>
                    <a:gd name="connsiteX628" fmla="*/ 1118047 w 1291912"/>
                    <a:gd name="connsiteY628" fmla="*/ 795673 h 1020248"/>
                    <a:gd name="connsiteX629" fmla="*/ 1121669 w 1291912"/>
                    <a:gd name="connsiteY629" fmla="*/ 802917 h 1020248"/>
                    <a:gd name="connsiteX630" fmla="*/ 1127706 w 1291912"/>
                    <a:gd name="connsiteY630" fmla="*/ 802917 h 1020248"/>
                    <a:gd name="connsiteX631" fmla="*/ 1134951 w 1291912"/>
                    <a:gd name="connsiteY631" fmla="*/ 807143 h 1020248"/>
                    <a:gd name="connsiteX632" fmla="*/ 1137969 w 1291912"/>
                    <a:gd name="connsiteY632" fmla="*/ 804728 h 1020248"/>
                    <a:gd name="connsiteX633" fmla="*/ 1144006 w 1291912"/>
                    <a:gd name="connsiteY633" fmla="*/ 806539 h 1020248"/>
                    <a:gd name="connsiteX634" fmla="*/ 1145214 w 1291912"/>
                    <a:gd name="connsiteY634" fmla="*/ 811369 h 1020248"/>
                    <a:gd name="connsiteX635" fmla="*/ 1145214 w 1291912"/>
                    <a:gd name="connsiteY635" fmla="*/ 817406 h 1020248"/>
                    <a:gd name="connsiteX636" fmla="*/ 1146421 w 1291912"/>
                    <a:gd name="connsiteY636" fmla="*/ 820425 h 1020248"/>
                    <a:gd name="connsiteX637" fmla="*/ 1150043 w 1291912"/>
                    <a:gd name="connsiteY637" fmla="*/ 820425 h 1020248"/>
                    <a:gd name="connsiteX638" fmla="*/ 1153665 w 1291912"/>
                    <a:gd name="connsiteY638" fmla="*/ 825254 h 1020248"/>
                    <a:gd name="connsiteX639" fmla="*/ 1158495 w 1291912"/>
                    <a:gd name="connsiteY639" fmla="*/ 824650 h 1020248"/>
                    <a:gd name="connsiteX640" fmla="*/ 1160306 w 1291912"/>
                    <a:gd name="connsiteY640" fmla="*/ 830687 h 1020248"/>
                    <a:gd name="connsiteX641" fmla="*/ 1166343 w 1291912"/>
                    <a:gd name="connsiteY641" fmla="*/ 830687 h 1020248"/>
                    <a:gd name="connsiteX642" fmla="*/ 1179021 w 1291912"/>
                    <a:gd name="connsiteY642" fmla="*/ 833102 h 1020248"/>
                    <a:gd name="connsiteX643" fmla="*/ 1176606 w 1291912"/>
                    <a:gd name="connsiteY643" fmla="*/ 844573 h 1020248"/>
                    <a:gd name="connsiteX644" fmla="*/ 1180832 w 1291912"/>
                    <a:gd name="connsiteY644" fmla="*/ 848195 h 1020248"/>
                    <a:gd name="connsiteX645" fmla="*/ 1183850 w 1291912"/>
                    <a:gd name="connsiteY645" fmla="*/ 854835 h 1020248"/>
                    <a:gd name="connsiteX646" fmla="*/ 1183850 w 1291912"/>
                    <a:gd name="connsiteY646" fmla="*/ 863287 h 1020248"/>
                    <a:gd name="connsiteX647" fmla="*/ 1186869 w 1291912"/>
                    <a:gd name="connsiteY647" fmla="*/ 865098 h 1020248"/>
                    <a:gd name="connsiteX648" fmla="*/ 1185661 w 1291912"/>
                    <a:gd name="connsiteY648" fmla="*/ 871739 h 1020248"/>
                    <a:gd name="connsiteX649" fmla="*/ 1185661 w 1291912"/>
                    <a:gd name="connsiteY649" fmla="*/ 880794 h 1020248"/>
                    <a:gd name="connsiteX650" fmla="*/ 1188076 w 1291912"/>
                    <a:gd name="connsiteY650" fmla="*/ 886227 h 1020248"/>
                    <a:gd name="connsiteX651" fmla="*/ 1182039 w 1291912"/>
                    <a:gd name="connsiteY651" fmla="*/ 890453 h 1020248"/>
                    <a:gd name="connsiteX652" fmla="*/ 1175398 w 1291912"/>
                    <a:gd name="connsiteY652" fmla="*/ 888642 h 1020248"/>
                    <a:gd name="connsiteX653" fmla="*/ 1172984 w 1291912"/>
                    <a:gd name="connsiteY653" fmla="*/ 891057 h 1020248"/>
                    <a:gd name="connsiteX654" fmla="*/ 1169965 w 1291912"/>
                    <a:gd name="connsiteY654" fmla="*/ 897094 h 1020248"/>
                    <a:gd name="connsiteX655" fmla="*/ 1165739 w 1291912"/>
                    <a:gd name="connsiteY655" fmla="*/ 895283 h 1020248"/>
                    <a:gd name="connsiteX656" fmla="*/ 1161513 w 1291912"/>
                    <a:gd name="connsiteY656" fmla="*/ 897094 h 1020248"/>
                    <a:gd name="connsiteX657" fmla="*/ 1162117 w 1291912"/>
                    <a:gd name="connsiteY657" fmla="*/ 901320 h 1020248"/>
                    <a:gd name="connsiteX658" fmla="*/ 1165739 w 1291912"/>
                    <a:gd name="connsiteY658" fmla="*/ 901320 h 1020248"/>
                    <a:gd name="connsiteX659" fmla="*/ 1166947 w 1291912"/>
                    <a:gd name="connsiteY659" fmla="*/ 905546 h 1020248"/>
                    <a:gd name="connsiteX660" fmla="*/ 1166343 w 1291912"/>
                    <a:gd name="connsiteY660" fmla="*/ 912790 h 1020248"/>
                    <a:gd name="connsiteX661" fmla="*/ 1158495 w 1291912"/>
                    <a:gd name="connsiteY661" fmla="*/ 917620 h 1020248"/>
                    <a:gd name="connsiteX662" fmla="*/ 1154269 w 1291912"/>
                    <a:gd name="connsiteY662" fmla="*/ 917016 h 1020248"/>
                    <a:gd name="connsiteX663" fmla="*/ 1146421 w 1291912"/>
                    <a:gd name="connsiteY663" fmla="*/ 924864 h 1020248"/>
                    <a:gd name="connsiteX664" fmla="*/ 1144006 w 1291912"/>
                    <a:gd name="connsiteY664" fmla="*/ 923657 h 1020248"/>
                    <a:gd name="connsiteX665" fmla="*/ 1136762 w 1291912"/>
                    <a:gd name="connsiteY665" fmla="*/ 922449 h 1020248"/>
                    <a:gd name="connsiteX666" fmla="*/ 1129518 w 1291912"/>
                    <a:gd name="connsiteY666" fmla="*/ 926072 h 1020248"/>
                    <a:gd name="connsiteX667" fmla="*/ 1123481 w 1291912"/>
                    <a:gd name="connsiteY667" fmla="*/ 922449 h 1020248"/>
                    <a:gd name="connsiteX668" fmla="*/ 1120462 w 1291912"/>
                    <a:gd name="connsiteY668" fmla="*/ 912186 h 1020248"/>
                    <a:gd name="connsiteX669" fmla="*/ 1113821 w 1291912"/>
                    <a:gd name="connsiteY669" fmla="*/ 907961 h 1020248"/>
                    <a:gd name="connsiteX670" fmla="*/ 1108388 w 1291912"/>
                    <a:gd name="connsiteY670" fmla="*/ 907357 h 1020248"/>
                    <a:gd name="connsiteX671" fmla="*/ 1104162 w 1291912"/>
                    <a:gd name="connsiteY671" fmla="*/ 902527 h 1020248"/>
                    <a:gd name="connsiteX672" fmla="*/ 1101144 w 1291912"/>
                    <a:gd name="connsiteY672" fmla="*/ 901924 h 1020248"/>
                    <a:gd name="connsiteX673" fmla="*/ 1094503 w 1291912"/>
                    <a:gd name="connsiteY673" fmla="*/ 906149 h 1020248"/>
                    <a:gd name="connsiteX674" fmla="*/ 1092692 w 1291912"/>
                    <a:gd name="connsiteY674" fmla="*/ 901320 h 1020248"/>
                    <a:gd name="connsiteX675" fmla="*/ 1094503 w 1291912"/>
                    <a:gd name="connsiteY675" fmla="*/ 898905 h 1020248"/>
                    <a:gd name="connsiteX676" fmla="*/ 1091485 w 1291912"/>
                    <a:gd name="connsiteY676" fmla="*/ 891661 h 1020248"/>
                    <a:gd name="connsiteX677" fmla="*/ 1086655 w 1291912"/>
                    <a:gd name="connsiteY677" fmla="*/ 892264 h 1020248"/>
                    <a:gd name="connsiteX678" fmla="*/ 1086051 w 1291912"/>
                    <a:gd name="connsiteY678" fmla="*/ 897094 h 1020248"/>
                    <a:gd name="connsiteX679" fmla="*/ 1082429 w 1291912"/>
                    <a:gd name="connsiteY679" fmla="*/ 903735 h 1020248"/>
                    <a:gd name="connsiteX680" fmla="*/ 1075185 w 1291912"/>
                    <a:gd name="connsiteY680" fmla="*/ 906149 h 1020248"/>
                    <a:gd name="connsiteX681" fmla="*/ 1075185 w 1291912"/>
                    <a:gd name="connsiteY681" fmla="*/ 908564 h 1020248"/>
                    <a:gd name="connsiteX682" fmla="*/ 1080014 w 1291912"/>
                    <a:gd name="connsiteY682" fmla="*/ 912186 h 1020248"/>
                    <a:gd name="connsiteX683" fmla="*/ 1083033 w 1291912"/>
                    <a:gd name="connsiteY683" fmla="*/ 918827 h 1020248"/>
                    <a:gd name="connsiteX684" fmla="*/ 1090881 w 1291912"/>
                    <a:gd name="connsiteY684" fmla="*/ 921242 h 1020248"/>
                    <a:gd name="connsiteX685" fmla="*/ 1092088 w 1291912"/>
                    <a:gd name="connsiteY685" fmla="*/ 925468 h 1020248"/>
                    <a:gd name="connsiteX686" fmla="*/ 1091485 w 1291912"/>
                    <a:gd name="connsiteY686" fmla="*/ 930297 h 1020248"/>
                    <a:gd name="connsiteX687" fmla="*/ 1095107 w 1291912"/>
                    <a:gd name="connsiteY687" fmla="*/ 930901 h 1020248"/>
                    <a:gd name="connsiteX688" fmla="*/ 1089674 w 1291912"/>
                    <a:gd name="connsiteY688" fmla="*/ 936938 h 1020248"/>
                    <a:gd name="connsiteX689" fmla="*/ 1090277 w 1291912"/>
                    <a:gd name="connsiteY689" fmla="*/ 941164 h 1020248"/>
                    <a:gd name="connsiteX690" fmla="*/ 1084844 w 1291912"/>
                    <a:gd name="connsiteY690" fmla="*/ 947201 h 1020248"/>
                    <a:gd name="connsiteX691" fmla="*/ 1079411 w 1291912"/>
                    <a:gd name="connsiteY691" fmla="*/ 958671 h 1020248"/>
                    <a:gd name="connsiteX692" fmla="*/ 1073977 w 1291912"/>
                    <a:gd name="connsiteY692" fmla="*/ 961690 h 1020248"/>
                    <a:gd name="connsiteX693" fmla="*/ 1072770 w 1291912"/>
                    <a:gd name="connsiteY693" fmla="*/ 967727 h 1020248"/>
                    <a:gd name="connsiteX694" fmla="*/ 1077600 w 1291912"/>
                    <a:gd name="connsiteY694" fmla="*/ 965916 h 1020248"/>
                    <a:gd name="connsiteX695" fmla="*/ 1080014 w 1291912"/>
                    <a:gd name="connsiteY695" fmla="*/ 975575 h 1020248"/>
                    <a:gd name="connsiteX696" fmla="*/ 1080014 w 1291912"/>
                    <a:gd name="connsiteY696" fmla="*/ 979197 h 1020248"/>
                    <a:gd name="connsiteX697" fmla="*/ 1081825 w 1291912"/>
                    <a:gd name="connsiteY697" fmla="*/ 987648 h 1020248"/>
                    <a:gd name="connsiteX698" fmla="*/ 1079411 w 1291912"/>
                    <a:gd name="connsiteY698" fmla="*/ 988856 h 1020248"/>
                    <a:gd name="connsiteX699" fmla="*/ 1078807 w 1291912"/>
                    <a:gd name="connsiteY699" fmla="*/ 993082 h 1020248"/>
                    <a:gd name="connsiteX700" fmla="*/ 1080014 w 1291912"/>
                    <a:gd name="connsiteY700" fmla="*/ 1005156 h 1020248"/>
                    <a:gd name="connsiteX701" fmla="*/ 1069751 w 1291912"/>
                    <a:gd name="connsiteY701" fmla="*/ 1006967 h 1020248"/>
                    <a:gd name="connsiteX702" fmla="*/ 1056470 w 1291912"/>
                    <a:gd name="connsiteY702" fmla="*/ 1003948 h 1020248"/>
                    <a:gd name="connsiteX703" fmla="*/ 1052848 w 1291912"/>
                    <a:gd name="connsiteY703" fmla="*/ 1006967 h 1020248"/>
                    <a:gd name="connsiteX704" fmla="*/ 1052848 w 1291912"/>
                    <a:gd name="connsiteY704" fmla="*/ 1016022 h 1020248"/>
                    <a:gd name="connsiteX705" fmla="*/ 1047415 w 1291912"/>
                    <a:gd name="connsiteY705" fmla="*/ 1019041 h 1020248"/>
                    <a:gd name="connsiteX706" fmla="*/ 1046207 w 1291912"/>
                    <a:gd name="connsiteY706" fmla="*/ 1021456 h 1020248"/>
                    <a:gd name="connsiteX707" fmla="*/ 1040774 w 1291912"/>
                    <a:gd name="connsiteY707" fmla="*/ 1021456 h 1020248"/>
                    <a:gd name="connsiteX708" fmla="*/ 1036548 w 1291912"/>
                    <a:gd name="connsiteY708" fmla="*/ 1022663 h 1020248"/>
                    <a:gd name="connsiteX709" fmla="*/ 1035341 w 1291912"/>
                    <a:gd name="connsiteY709" fmla="*/ 1022663 h 1020248"/>
                    <a:gd name="connsiteX710" fmla="*/ 1032322 w 1291912"/>
                    <a:gd name="connsiteY710" fmla="*/ 1019041 h 1020248"/>
                    <a:gd name="connsiteX711" fmla="*/ 1032322 w 1291912"/>
                    <a:gd name="connsiteY711" fmla="*/ 1016626 h 1020248"/>
                    <a:gd name="connsiteX712" fmla="*/ 1032926 w 1291912"/>
                    <a:gd name="connsiteY712" fmla="*/ 1014211 h 1020248"/>
                    <a:gd name="connsiteX713" fmla="*/ 1038963 w 1291912"/>
                    <a:gd name="connsiteY713" fmla="*/ 1011193 h 1020248"/>
                    <a:gd name="connsiteX714" fmla="*/ 1039567 w 1291912"/>
                    <a:gd name="connsiteY714" fmla="*/ 1009382 h 1020248"/>
                    <a:gd name="connsiteX715" fmla="*/ 1035341 w 1291912"/>
                    <a:gd name="connsiteY715" fmla="*/ 1006363 h 1020248"/>
                    <a:gd name="connsiteX716" fmla="*/ 1034133 w 1291912"/>
                    <a:gd name="connsiteY716" fmla="*/ 1006363 h 1020248"/>
                    <a:gd name="connsiteX717" fmla="*/ 1031115 w 1291912"/>
                    <a:gd name="connsiteY717" fmla="*/ 1005759 h 1020248"/>
                    <a:gd name="connsiteX718" fmla="*/ 1029304 w 1291912"/>
                    <a:gd name="connsiteY718" fmla="*/ 1003948 h 1020248"/>
                    <a:gd name="connsiteX719" fmla="*/ 1023871 w 1291912"/>
                    <a:gd name="connsiteY719" fmla="*/ 1005156 h 1020248"/>
                    <a:gd name="connsiteX720" fmla="*/ 1023267 w 1291912"/>
                    <a:gd name="connsiteY720" fmla="*/ 1005156 h 1020248"/>
                    <a:gd name="connsiteX721" fmla="*/ 1022663 w 1291912"/>
                    <a:gd name="connsiteY721" fmla="*/ 1004552 h 1020248"/>
                    <a:gd name="connsiteX722" fmla="*/ 1021456 w 1291912"/>
                    <a:gd name="connsiteY722" fmla="*/ 1004552 h 1020248"/>
                    <a:gd name="connsiteX723" fmla="*/ 1022059 w 1291912"/>
                    <a:gd name="connsiteY723" fmla="*/ 1008778 h 1020248"/>
                    <a:gd name="connsiteX724" fmla="*/ 1022663 w 1291912"/>
                    <a:gd name="connsiteY724" fmla="*/ 1008778 h 1020248"/>
                    <a:gd name="connsiteX725" fmla="*/ 1017834 w 1291912"/>
                    <a:gd name="connsiteY725" fmla="*/ 1015419 h 1020248"/>
                    <a:gd name="connsiteX726" fmla="*/ 1016022 w 1291912"/>
                    <a:gd name="connsiteY726" fmla="*/ 1014815 h 1020248"/>
                    <a:gd name="connsiteX727" fmla="*/ 1014815 w 1291912"/>
                    <a:gd name="connsiteY727" fmla="*/ 1014815 h 1020248"/>
                    <a:gd name="connsiteX728" fmla="*/ 1012400 w 1291912"/>
                    <a:gd name="connsiteY728" fmla="*/ 1011796 h 1020248"/>
                    <a:gd name="connsiteX729" fmla="*/ 1010589 w 1291912"/>
                    <a:gd name="connsiteY729" fmla="*/ 1012400 h 1020248"/>
                    <a:gd name="connsiteX730" fmla="*/ 1009985 w 1291912"/>
                    <a:gd name="connsiteY730" fmla="*/ 1015419 h 1020248"/>
                    <a:gd name="connsiteX731" fmla="*/ 1007571 w 1291912"/>
                    <a:gd name="connsiteY731" fmla="*/ 1014211 h 1020248"/>
                    <a:gd name="connsiteX732" fmla="*/ 1006363 w 1291912"/>
                    <a:gd name="connsiteY732" fmla="*/ 1006363 h 1020248"/>
                    <a:gd name="connsiteX733" fmla="*/ 1005760 w 1291912"/>
                    <a:gd name="connsiteY733" fmla="*/ 1006363 h 1020248"/>
                    <a:gd name="connsiteX734" fmla="*/ 1008174 w 1291912"/>
                    <a:gd name="connsiteY734" fmla="*/ 999119 h 1020248"/>
                    <a:gd name="connsiteX735" fmla="*/ 1009985 w 1291912"/>
                    <a:gd name="connsiteY735" fmla="*/ 998515 h 1020248"/>
                    <a:gd name="connsiteX736" fmla="*/ 1013004 w 1291912"/>
                    <a:gd name="connsiteY736" fmla="*/ 999119 h 1020248"/>
                    <a:gd name="connsiteX737" fmla="*/ 1014211 w 1291912"/>
                    <a:gd name="connsiteY737" fmla="*/ 997308 h 1020248"/>
                    <a:gd name="connsiteX738" fmla="*/ 1015419 w 1291912"/>
                    <a:gd name="connsiteY738" fmla="*/ 996100 h 1020248"/>
                    <a:gd name="connsiteX739" fmla="*/ 1020248 w 1291912"/>
                    <a:gd name="connsiteY739" fmla="*/ 992478 h 1020248"/>
                    <a:gd name="connsiteX740" fmla="*/ 1021456 w 1291912"/>
                    <a:gd name="connsiteY740" fmla="*/ 990667 h 1020248"/>
                    <a:gd name="connsiteX741" fmla="*/ 1022059 w 1291912"/>
                    <a:gd name="connsiteY741" fmla="*/ 988252 h 1020248"/>
                    <a:gd name="connsiteX742" fmla="*/ 1022059 w 1291912"/>
                    <a:gd name="connsiteY742" fmla="*/ 987648 h 1020248"/>
                    <a:gd name="connsiteX743" fmla="*/ 1023871 w 1291912"/>
                    <a:gd name="connsiteY743" fmla="*/ 988856 h 1020248"/>
                    <a:gd name="connsiteX744" fmla="*/ 1023871 w 1291912"/>
                    <a:gd name="connsiteY744" fmla="*/ 987045 h 1020248"/>
                    <a:gd name="connsiteX745" fmla="*/ 1024474 w 1291912"/>
                    <a:gd name="connsiteY745" fmla="*/ 985837 h 1020248"/>
                    <a:gd name="connsiteX746" fmla="*/ 1025078 w 1291912"/>
                    <a:gd name="connsiteY746" fmla="*/ 985837 h 1020248"/>
                    <a:gd name="connsiteX747" fmla="*/ 1026285 w 1291912"/>
                    <a:gd name="connsiteY747" fmla="*/ 987648 h 1020248"/>
                    <a:gd name="connsiteX748" fmla="*/ 1029304 w 1291912"/>
                    <a:gd name="connsiteY748" fmla="*/ 985837 h 1020248"/>
                    <a:gd name="connsiteX749" fmla="*/ 1028700 w 1291912"/>
                    <a:gd name="connsiteY749" fmla="*/ 982215 h 1020248"/>
                    <a:gd name="connsiteX750" fmla="*/ 1028700 w 1291912"/>
                    <a:gd name="connsiteY750" fmla="*/ 981612 h 1020248"/>
                    <a:gd name="connsiteX751" fmla="*/ 1028700 w 1291912"/>
                    <a:gd name="connsiteY751" fmla="*/ 981008 h 1020248"/>
                    <a:gd name="connsiteX752" fmla="*/ 1022663 w 1291912"/>
                    <a:gd name="connsiteY752" fmla="*/ 979800 h 1020248"/>
                    <a:gd name="connsiteX753" fmla="*/ 1020852 w 1291912"/>
                    <a:gd name="connsiteY753" fmla="*/ 981612 h 1020248"/>
                    <a:gd name="connsiteX754" fmla="*/ 1016022 w 1291912"/>
                    <a:gd name="connsiteY754" fmla="*/ 982819 h 1020248"/>
                    <a:gd name="connsiteX755" fmla="*/ 1017230 w 1291912"/>
                    <a:gd name="connsiteY755" fmla="*/ 976782 h 1020248"/>
                    <a:gd name="connsiteX756" fmla="*/ 1016626 w 1291912"/>
                    <a:gd name="connsiteY756" fmla="*/ 974367 h 1020248"/>
                    <a:gd name="connsiteX757" fmla="*/ 1015419 w 1291912"/>
                    <a:gd name="connsiteY757" fmla="*/ 971952 h 1020248"/>
                    <a:gd name="connsiteX758" fmla="*/ 1014815 w 1291912"/>
                    <a:gd name="connsiteY758" fmla="*/ 971349 h 1020248"/>
                    <a:gd name="connsiteX759" fmla="*/ 1013608 w 1291912"/>
                    <a:gd name="connsiteY759" fmla="*/ 970745 h 1020248"/>
                    <a:gd name="connsiteX760" fmla="*/ 1013004 w 1291912"/>
                    <a:gd name="connsiteY760" fmla="*/ 970745 h 1020248"/>
                    <a:gd name="connsiteX761" fmla="*/ 1012400 w 1291912"/>
                    <a:gd name="connsiteY761" fmla="*/ 976178 h 1020248"/>
                    <a:gd name="connsiteX762" fmla="*/ 1009985 w 1291912"/>
                    <a:gd name="connsiteY762" fmla="*/ 977989 h 1020248"/>
                    <a:gd name="connsiteX763" fmla="*/ 1007571 w 1291912"/>
                    <a:gd name="connsiteY763" fmla="*/ 977386 h 1020248"/>
                    <a:gd name="connsiteX764" fmla="*/ 1005760 w 1291912"/>
                    <a:gd name="connsiteY764" fmla="*/ 977989 h 1020248"/>
                    <a:gd name="connsiteX765" fmla="*/ 1003345 w 1291912"/>
                    <a:gd name="connsiteY765" fmla="*/ 977989 h 1020248"/>
                    <a:gd name="connsiteX766" fmla="*/ 1000930 w 1291912"/>
                    <a:gd name="connsiteY766" fmla="*/ 985837 h 1020248"/>
                    <a:gd name="connsiteX767" fmla="*/ 999723 w 1291912"/>
                    <a:gd name="connsiteY767" fmla="*/ 985837 h 1020248"/>
                    <a:gd name="connsiteX768" fmla="*/ 997308 w 1291912"/>
                    <a:gd name="connsiteY768" fmla="*/ 985234 h 1020248"/>
                    <a:gd name="connsiteX769" fmla="*/ 996100 w 1291912"/>
                    <a:gd name="connsiteY769" fmla="*/ 979800 h 1020248"/>
                    <a:gd name="connsiteX770" fmla="*/ 996704 w 1291912"/>
                    <a:gd name="connsiteY770" fmla="*/ 985234 h 1020248"/>
                    <a:gd name="connsiteX771" fmla="*/ 990063 w 1291912"/>
                    <a:gd name="connsiteY771" fmla="*/ 985234 h 1020248"/>
                    <a:gd name="connsiteX772" fmla="*/ 989460 w 1291912"/>
                    <a:gd name="connsiteY772" fmla="*/ 989460 h 1020248"/>
                    <a:gd name="connsiteX773" fmla="*/ 987649 w 1291912"/>
                    <a:gd name="connsiteY773" fmla="*/ 990063 h 1020248"/>
                    <a:gd name="connsiteX774" fmla="*/ 985838 w 1291912"/>
                    <a:gd name="connsiteY774" fmla="*/ 989460 h 1020248"/>
                    <a:gd name="connsiteX775" fmla="*/ 981612 w 1291912"/>
                    <a:gd name="connsiteY775" fmla="*/ 985234 h 1020248"/>
                    <a:gd name="connsiteX776" fmla="*/ 979197 w 1291912"/>
                    <a:gd name="connsiteY776" fmla="*/ 986441 h 1020248"/>
                    <a:gd name="connsiteX777" fmla="*/ 976782 w 1291912"/>
                    <a:gd name="connsiteY777" fmla="*/ 988252 h 1020248"/>
                    <a:gd name="connsiteX778" fmla="*/ 976178 w 1291912"/>
                    <a:gd name="connsiteY778" fmla="*/ 989460 h 1020248"/>
                    <a:gd name="connsiteX779" fmla="*/ 980404 w 1291912"/>
                    <a:gd name="connsiteY779" fmla="*/ 996100 h 1020248"/>
                    <a:gd name="connsiteX780" fmla="*/ 984630 w 1291912"/>
                    <a:gd name="connsiteY780" fmla="*/ 997308 h 1020248"/>
                    <a:gd name="connsiteX781" fmla="*/ 987045 w 1291912"/>
                    <a:gd name="connsiteY781" fmla="*/ 1002741 h 1020248"/>
                    <a:gd name="connsiteX782" fmla="*/ 985838 w 1291912"/>
                    <a:gd name="connsiteY782" fmla="*/ 1002741 h 1020248"/>
                    <a:gd name="connsiteX783" fmla="*/ 977386 w 1291912"/>
                    <a:gd name="connsiteY783" fmla="*/ 1000326 h 1020248"/>
                    <a:gd name="connsiteX784" fmla="*/ 968330 w 1291912"/>
                    <a:gd name="connsiteY784" fmla="*/ 999722 h 1020248"/>
                    <a:gd name="connsiteX785" fmla="*/ 965916 w 1291912"/>
                    <a:gd name="connsiteY785" fmla="*/ 1003948 h 1020248"/>
                    <a:gd name="connsiteX786" fmla="*/ 961086 w 1291912"/>
                    <a:gd name="connsiteY786" fmla="*/ 1003948 h 1020248"/>
                    <a:gd name="connsiteX787" fmla="*/ 957464 w 1291912"/>
                    <a:gd name="connsiteY787" fmla="*/ 1009382 h 1020248"/>
                    <a:gd name="connsiteX788" fmla="*/ 956860 w 1291912"/>
                    <a:gd name="connsiteY788" fmla="*/ 1015419 h 1020248"/>
                    <a:gd name="connsiteX789" fmla="*/ 951427 w 1291912"/>
                    <a:gd name="connsiteY789" fmla="*/ 1017230 h 1020248"/>
                    <a:gd name="connsiteX790" fmla="*/ 948408 w 1291912"/>
                    <a:gd name="connsiteY790" fmla="*/ 1020852 h 1020248"/>
                    <a:gd name="connsiteX791" fmla="*/ 938145 w 1291912"/>
                    <a:gd name="connsiteY791" fmla="*/ 1019645 h 1020248"/>
                    <a:gd name="connsiteX792" fmla="*/ 939957 w 1291912"/>
                    <a:gd name="connsiteY792" fmla="*/ 1005759 h 1020248"/>
                    <a:gd name="connsiteX793" fmla="*/ 939353 w 1291912"/>
                    <a:gd name="connsiteY793" fmla="*/ 999119 h 1020248"/>
                    <a:gd name="connsiteX794" fmla="*/ 941768 w 1291912"/>
                    <a:gd name="connsiteY794" fmla="*/ 985234 h 1020248"/>
                    <a:gd name="connsiteX795" fmla="*/ 945390 w 1291912"/>
                    <a:gd name="connsiteY795" fmla="*/ 982819 h 1020248"/>
                    <a:gd name="connsiteX796" fmla="*/ 945994 w 1291912"/>
                    <a:gd name="connsiteY796" fmla="*/ 976178 h 1020248"/>
                    <a:gd name="connsiteX797" fmla="*/ 948408 w 1291912"/>
                    <a:gd name="connsiteY797" fmla="*/ 972556 h 1020248"/>
                    <a:gd name="connsiteX798" fmla="*/ 952030 w 1291912"/>
                    <a:gd name="connsiteY798" fmla="*/ 971952 h 1020248"/>
                    <a:gd name="connsiteX799" fmla="*/ 955049 w 1291912"/>
                    <a:gd name="connsiteY799" fmla="*/ 968330 h 1020248"/>
                    <a:gd name="connsiteX800" fmla="*/ 957464 w 1291912"/>
                    <a:gd name="connsiteY800" fmla="*/ 968934 h 1020248"/>
                    <a:gd name="connsiteX801" fmla="*/ 959275 w 1291912"/>
                    <a:gd name="connsiteY801" fmla="*/ 961690 h 1020248"/>
                    <a:gd name="connsiteX802" fmla="*/ 961086 w 1291912"/>
                    <a:gd name="connsiteY802" fmla="*/ 959879 h 1020248"/>
                    <a:gd name="connsiteX803" fmla="*/ 965312 w 1291912"/>
                    <a:gd name="connsiteY803" fmla="*/ 963501 h 1020248"/>
                    <a:gd name="connsiteX804" fmla="*/ 966519 w 1291912"/>
                    <a:gd name="connsiteY804" fmla="*/ 965916 h 1020248"/>
                    <a:gd name="connsiteX805" fmla="*/ 965916 w 1291912"/>
                    <a:gd name="connsiteY805" fmla="*/ 963501 h 1020248"/>
                    <a:gd name="connsiteX806" fmla="*/ 965312 w 1291912"/>
                    <a:gd name="connsiteY806" fmla="*/ 961086 h 1020248"/>
                    <a:gd name="connsiteX807" fmla="*/ 965312 w 1291912"/>
                    <a:gd name="connsiteY807" fmla="*/ 960482 h 1020248"/>
                    <a:gd name="connsiteX808" fmla="*/ 961086 w 1291912"/>
                    <a:gd name="connsiteY808" fmla="*/ 959275 h 1020248"/>
                    <a:gd name="connsiteX809" fmla="*/ 959879 w 1291912"/>
                    <a:gd name="connsiteY809" fmla="*/ 958068 h 1020248"/>
                    <a:gd name="connsiteX810" fmla="*/ 959275 w 1291912"/>
                    <a:gd name="connsiteY810" fmla="*/ 958068 h 1020248"/>
                    <a:gd name="connsiteX811" fmla="*/ 958671 w 1291912"/>
                    <a:gd name="connsiteY811" fmla="*/ 953238 h 1020248"/>
                    <a:gd name="connsiteX812" fmla="*/ 961086 w 1291912"/>
                    <a:gd name="connsiteY812" fmla="*/ 949616 h 1020248"/>
                    <a:gd name="connsiteX813" fmla="*/ 964104 w 1291912"/>
                    <a:gd name="connsiteY813" fmla="*/ 947201 h 1020248"/>
                    <a:gd name="connsiteX814" fmla="*/ 963501 w 1291912"/>
                    <a:gd name="connsiteY814" fmla="*/ 944786 h 1020248"/>
                    <a:gd name="connsiteX815" fmla="*/ 968330 w 1291912"/>
                    <a:gd name="connsiteY815" fmla="*/ 939957 h 1020248"/>
                    <a:gd name="connsiteX816" fmla="*/ 968934 w 1291912"/>
                    <a:gd name="connsiteY816" fmla="*/ 927883 h 1020248"/>
                    <a:gd name="connsiteX817" fmla="*/ 970745 w 1291912"/>
                    <a:gd name="connsiteY817" fmla="*/ 920638 h 1020248"/>
                    <a:gd name="connsiteX818" fmla="*/ 968934 w 1291912"/>
                    <a:gd name="connsiteY818" fmla="*/ 908564 h 1020248"/>
                    <a:gd name="connsiteX819" fmla="*/ 966519 w 1291912"/>
                    <a:gd name="connsiteY819" fmla="*/ 906753 h 1020248"/>
                    <a:gd name="connsiteX820" fmla="*/ 962293 w 1291912"/>
                    <a:gd name="connsiteY820" fmla="*/ 891057 h 1020248"/>
                    <a:gd name="connsiteX821" fmla="*/ 962897 w 1291912"/>
                    <a:gd name="connsiteY821" fmla="*/ 888038 h 1020248"/>
                    <a:gd name="connsiteX822" fmla="*/ 967727 w 1291912"/>
                    <a:gd name="connsiteY822" fmla="*/ 887435 h 1020248"/>
                    <a:gd name="connsiteX823" fmla="*/ 958067 w 1291912"/>
                    <a:gd name="connsiteY823" fmla="*/ 877776 h 1020248"/>
                    <a:gd name="connsiteX824" fmla="*/ 958671 w 1291912"/>
                    <a:gd name="connsiteY824" fmla="*/ 874153 h 1020248"/>
                    <a:gd name="connsiteX825" fmla="*/ 949012 w 1291912"/>
                    <a:gd name="connsiteY825" fmla="*/ 852421 h 1020248"/>
                    <a:gd name="connsiteX826" fmla="*/ 947805 w 1291912"/>
                    <a:gd name="connsiteY826" fmla="*/ 846987 h 1020248"/>
                    <a:gd name="connsiteX827" fmla="*/ 941164 w 1291912"/>
                    <a:gd name="connsiteY827" fmla="*/ 842158 h 1020248"/>
                    <a:gd name="connsiteX828" fmla="*/ 938145 w 1291912"/>
                    <a:gd name="connsiteY828" fmla="*/ 833102 h 1020248"/>
                    <a:gd name="connsiteX829" fmla="*/ 935127 w 1291912"/>
                    <a:gd name="connsiteY829" fmla="*/ 821632 h 1020248"/>
                    <a:gd name="connsiteX830" fmla="*/ 941164 w 1291912"/>
                    <a:gd name="connsiteY830" fmla="*/ 815595 h 1020248"/>
                    <a:gd name="connsiteX831" fmla="*/ 931505 w 1291912"/>
                    <a:gd name="connsiteY831" fmla="*/ 813180 h 1020248"/>
                    <a:gd name="connsiteX832" fmla="*/ 930297 w 1291912"/>
                    <a:gd name="connsiteY832" fmla="*/ 807143 h 1020248"/>
                    <a:gd name="connsiteX833" fmla="*/ 931505 w 1291912"/>
                    <a:gd name="connsiteY833" fmla="*/ 801106 h 1020248"/>
                    <a:gd name="connsiteX834" fmla="*/ 933316 w 1291912"/>
                    <a:gd name="connsiteY834" fmla="*/ 798691 h 1020248"/>
                    <a:gd name="connsiteX835" fmla="*/ 926071 w 1291912"/>
                    <a:gd name="connsiteY835" fmla="*/ 794465 h 1020248"/>
                    <a:gd name="connsiteX836" fmla="*/ 923053 w 1291912"/>
                    <a:gd name="connsiteY836" fmla="*/ 795673 h 1020248"/>
                    <a:gd name="connsiteX837" fmla="*/ 921846 w 1291912"/>
                    <a:gd name="connsiteY837" fmla="*/ 798691 h 1020248"/>
                    <a:gd name="connsiteX838" fmla="*/ 921846 w 1291912"/>
                    <a:gd name="connsiteY838" fmla="*/ 810162 h 1020248"/>
                    <a:gd name="connsiteX839" fmla="*/ 920035 w 1291912"/>
                    <a:gd name="connsiteY839" fmla="*/ 812576 h 1020248"/>
                    <a:gd name="connsiteX840" fmla="*/ 915205 w 1291912"/>
                    <a:gd name="connsiteY840" fmla="*/ 809558 h 1020248"/>
                    <a:gd name="connsiteX841" fmla="*/ 913998 w 1291912"/>
                    <a:gd name="connsiteY841" fmla="*/ 798088 h 1020248"/>
                    <a:gd name="connsiteX842" fmla="*/ 913394 w 1291912"/>
                    <a:gd name="connsiteY842" fmla="*/ 779977 h 1020248"/>
                    <a:gd name="connsiteX843" fmla="*/ 909168 w 1291912"/>
                    <a:gd name="connsiteY843" fmla="*/ 774543 h 1020248"/>
                    <a:gd name="connsiteX844" fmla="*/ 907357 w 1291912"/>
                    <a:gd name="connsiteY844" fmla="*/ 767903 h 1020248"/>
                    <a:gd name="connsiteX845" fmla="*/ 907961 w 1291912"/>
                    <a:gd name="connsiteY845" fmla="*/ 760658 h 1020248"/>
                    <a:gd name="connsiteX846" fmla="*/ 913998 w 1291912"/>
                    <a:gd name="connsiteY846" fmla="*/ 753414 h 1020248"/>
                    <a:gd name="connsiteX847" fmla="*/ 913998 w 1291912"/>
                    <a:gd name="connsiteY847" fmla="*/ 746774 h 1020248"/>
                    <a:gd name="connsiteX848" fmla="*/ 923053 w 1291912"/>
                    <a:gd name="connsiteY848" fmla="*/ 735303 h 1020248"/>
                    <a:gd name="connsiteX849" fmla="*/ 919431 w 1291912"/>
                    <a:gd name="connsiteY849" fmla="*/ 732889 h 1020248"/>
                    <a:gd name="connsiteX850" fmla="*/ 920638 w 1291912"/>
                    <a:gd name="connsiteY850" fmla="*/ 727455 h 1020248"/>
                    <a:gd name="connsiteX851" fmla="*/ 923053 w 1291912"/>
                    <a:gd name="connsiteY851" fmla="*/ 723229 h 1020248"/>
                    <a:gd name="connsiteX852" fmla="*/ 924864 w 1291912"/>
                    <a:gd name="connsiteY852" fmla="*/ 714174 h 1020248"/>
                    <a:gd name="connsiteX853" fmla="*/ 924260 w 1291912"/>
                    <a:gd name="connsiteY853" fmla="*/ 710552 h 1020248"/>
                    <a:gd name="connsiteX854" fmla="*/ 918224 w 1291912"/>
                    <a:gd name="connsiteY854" fmla="*/ 717192 h 1020248"/>
                    <a:gd name="connsiteX855" fmla="*/ 915205 w 1291912"/>
                    <a:gd name="connsiteY855" fmla="*/ 718400 h 1020248"/>
                    <a:gd name="connsiteX856" fmla="*/ 909168 w 1291912"/>
                    <a:gd name="connsiteY856" fmla="*/ 709344 h 1020248"/>
                    <a:gd name="connsiteX857" fmla="*/ 910979 w 1291912"/>
                    <a:gd name="connsiteY857" fmla="*/ 701496 h 1020248"/>
                    <a:gd name="connsiteX858" fmla="*/ 915205 w 1291912"/>
                    <a:gd name="connsiteY858" fmla="*/ 693044 h 1020248"/>
                    <a:gd name="connsiteX859" fmla="*/ 919431 w 1291912"/>
                    <a:gd name="connsiteY859" fmla="*/ 693044 h 1020248"/>
                    <a:gd name="connsiteX860" fmla="*/ 924260 w 1291912"/>
                    <a:gd name="connsiteY860" fmla="*/ 690630 h 1020248"/>
                    <a:gd name="connsiteX861" fmla="*/ 930901 w 1291912"/>
                    <a:gd name="connsiteY861" fmla="*/ 685196 h 1020248"/>
                    <a:gd name="connsiteX862" fmla="*/ 935127 w 1291912"/>
                    <a:gd name="connsiteY862" fmla="*/ 688215 h 1020248"/>
                    <a:gd name="connsiteX863" fmla="*/ 939957 w 1291912"/>
                    <a:gd name="connsiteY863" fmla="*/ 687611 h 1020248"/>
                    <a:gd name="connsiteX864" fmla="*/ 940560 w 1291912"/>
                    <a:gd name="connsiteY864" fmla="*/ 685800 h 1020248"/>
                    <a:gd name="connsiteX865" fmla="*/ 948408 w 1291912"/>
                    <a:gd name="connsiteY865" fmla="*/ 687007 h 1020248"/>
                    <a:gd name="connsiteX866" fmla="*/ 950219 w 1291912"/>
                    <a:gd name="connsiteY866" fmla="*/ 683385 h 1020248"/>
                    <a:gd name="connsiteX867" fmla="*/ 942975 w 1291912"/>
                    <a:gd name="connsiteY867" fmla="*/ 681574 h 1020248"/>
                    <a:gd name="connsiteX868" fmla="*/ 937542 w 1291912"/>
                    <a:gd name="connsiteY868" fmla="*/ 676744 h 1020248"/>
                    <a:gd name="connsiteX869" fmla="*/ 932712 w 1291912"/>
                    <a:gd name="connsiteY869" fmla="*/ 679159 h 1020248"/>
                    <a:gd name="connsiteX870" fmla="*/ 909168 w 1291912"/>
                    <a:gd name="connsiteY870" fmla="*/ 679159 h 1020248"/>
                    <a:gd name="connsiteX871" fmla="*/ 901320 w 1291912"/>
                    <a:gd name="connsiteY871" fmla="*/ 683385 h 1020248"/>
                    <a:gd name="connsiteX872" fmla="*/ 898905 w 1291912"/>
                    <a:gd name="connsiteY872" fmla="*/ 683989 h 1020248"/>
                    <a:gd name="connsiteX873" fmla="*/ 894076 w 1291912"/>
                    <a:gd name="connsiteY873" fmla="*/ 679159 h 1020248"/>
                    <a:gd name="connsiteX874" fmla="*/ 892868 w 1291912"/>
                    <a:gd name="connsiteY874" fmla="*/ 671915 h 1020248"/>
                    <a:gd name="connsiteX875" fmla="*/ 897698 w 1291912"/>
                    <a:gd name="connsiteY875" fmla="*/ 665274 h 1020248"/>
                    <a:gd name="connsiteX876" fmla="*/ 897698 w 1291912"/>
                    <a:gd name="connsiteY876" fmla="*/ 661048 h 1020248"/>
                    <a:gd name="connsiteX877" fmla="*/ 899509 w 1291912"/>
                    <a:gd name="connsiteY877" fmla="*/ 653804 h 1020248"/>
                    <a:gd name="connsiteX878" fmla="*/ 903131 w 1291912"/>
                    <a:gd name="connsiteY878" fmla="*/ 647163 h 1020248"/>
                    <a:gd name="connsiteX879" fmla="*/ 895887 w 1291912"/>
                    <a:gd name="connsiteY879" fmla="*/ 641730 h 1020248"/>
                    <a:gd name="connsiteX880" fmla="*/ 893472 w 1291912"/>
                    <a:gd name="connsiteY880" fmla="*/ 641127 h 1020248"/>
                    <a:gd name="connsiteX881" fmla="*/ 890453 w 1291912"/>
                    <a:gd name="connsiteY881" fmla="*/ 630864 h 1020248"/>
                    <a:gd name="connsiteX882" fmla="*/ 889246 w 1291912"/>
                    <a:gd name="connsiteY882" fmla="*/ 622412 h 1020248"/>
                    <a:gd name="connsiteX883" fmla="*/ 890453 w 1291912"/>
                    <a:gd name="connsiteY883" fmla="*/ 609131 h 1020248"/>
                    <a:gd name="connsiteX884" fmla="*/ 892868 w 1291912"/>
                    <a:gd name="connsiteY884" fmla="*/ 601282 h 1020248"/>
                    <a:gd name="connsiteX885" fmla="*/ 894679 w 1291912"/>
                    <a:gd name="connsiteY885" fmla="*/ 591020 h 1020248"/>
                    <a:gd name="connsiteX886" fmla="*/ 898905 w 1291912"/>
                    <a:gd name="connsiteY886" fmla="*/ 574116 h 1020248"/>
                    <a:gd name="connsiteX887" fmla="*/ 903131 w 1291912"/>
                    <a:gd name="connsiteY887" fmla="*/ 566268 h 1020248"/>
                    <a:gd name="connsiteX888" fmla="*/ 906150 w 1291912"/>
                    <a:gd name="connsiteY888" fmla="*/ 563249 h 1020248"/>
                    <a:gd name="connsiteX889" fmla="*/ 912187 w 1291912"/>
                    <a:gd name="connsiteY889" fmla="*/ 559627 h 1020248"/>
                    <a:gd name="connsiteX890" fmla="*/ 919431 w 1291912"/>
                    <a:gd name="connsiteY890" fmla="*/ 559627 h 1020248"/>
                    <a:gd name="connsiteX891" fmla="*/ 930297 w 1291912"/>
                    <a:gd name="connsiteY891" fmla="*/ 566872 h 1020248"/>
                    <a:gd name="connsiteX892" fmla="*/ 942371 w 1291912"/>
                    <a:gd name="connsiteY892" fmla="*/ 568683 h 1020248"/>
                    <a:gd name="connsiteX893" fmla="*/ 950823 w 1291912"/>
                    <a:gd name="connsiteY893" fmla="*/ 555401 h 1020248"/>
                    <a:gd name="connsiteX894" fmla="*/ 954445 w 1291912"/>
                    <a:gd name="connsiteY894" fmla="*/ 552987 h 1020248"/>
                    <a:gd name="connsiteX895" fmla="*/ 965312 w 1291912"/>
                    <a:gd name="connsiteY895" fmla="*/ 558420 h 1020248"/>
                    <a:gd name="connsiteX896" fmla="*/ 971349 w 1291912"/>
                    <a:gd name="connsiteY896" fmla="*/ 556005 h 1020248"/>
                    <a:gd name="connsiteX897" fmla="*/ 970141 w 1291912"/>
                    <a:gd name="connsiteY897" fmla="*/ 552987 h 1020248"/>
                    <a:gd name="connsiteX898" fmla="*/ 964708 w 1291912"/>
                    <a:gd name="connsiteY898" fmla="*/ 554194 h 1020248"/>
                    <a:gd name="connsiteX899" fmla="*/ 959879 w 1291912"/>
                    <a:gd name="connsiteY899" fmla="*/ 545139 h 1020248"/>
                    <a:gd name="connsiteX900" fmla="*/ 953238 w 1291912"/>
                    <a:gd name="connsiteY900" fmla="*/ 548761 h 1020248"/>
                    <a:gd name="connsiteX901" fmla="*/ 942371 w 1291912"/>
                    <a:gd name="connsiteY901" fmla="*/ 556609 h 1020248"/>
                    <a:gd name="connsiteX902" fmla="*/ 928486 w 1291912"/>
                    <a:gd name="connsiteY902" fmla="*/ 555401 h 1020248"/>
                    <a:gd name="connsiteX903" fmla="*/ 921846 w 1291912"/>
                    <a:gd name="connsiteY903" fmla="*/ 548157 h 1020248"/>
                    <a:gd name="connsiteX904" fmla="*/ 917016 w 1291912"/>
                    <a:gd name="connsiteY904" fmla="*/ 544535 h 1020248"/>
                    <a:gd name="connsiteX905" fmla="*/ 911583 w 1291912"/>
                    <a:gd name="connsiteY905" fmla="*/ 545742 h 1020248"/>
                    <a:gd name="connsiteX906" fmla="*/ 904338 w 1291912"/>
                    <a:gd name="connsiteY906" fmla="*/ 551175 h 1020248"/>
                    <a:gd name="connsiteX907" fmla="*/ 901320 w 1291912"/>
                    <a:gd name="connsiteY907" fmla="*/ 550572 h 1020248"/>
                    <a:gd name="connsiteX908" fmla="*/ 898301 w 1291912"/>
                    <a:gd name="connsiteY908" fmla="*/ 553590 h 1020248"/>
                    <a:gd name="connsiteX909" fmla="*/ 895887 w 1291912"/>
                    <a:gd name="connsiteY909" fmla="*/ 551779 h 1020248"/>
                    <a:gd name="connsiteX910" fmla="*/ 889850 w 1291912"/>
                    <a:gd name="connsiteY910" fmla="*/ 557212 h 1020248"/>
                    <a:gd name="connsiteX911" fmla="*/ 886228 w 1291912"/>
                    <a:gd name="connsiteY911" fmla="*/ 563853 h 1020248"/>
                    <a:gd name="connsiteX912" fmla="*/ 883813 w 1291912"/>
                    <a:gd name="connsiteY912" fmla="*/ 563249 h 1020248"/>
                    <a:gd name="connsiteX913" fmla="*/ 887435 w 1291912"/>
                    <a:gd name="connsiteY913" fmla="*/ 554194 h 1020248"/>
                    <a:gd name="connsiteX914" fmla="*/ 883209 w 1291912"/>
                    <a:gd name="connsiteY914" fmla="*/ 554194 h 1020248"/>
                    <a:gd name="connsiteX915" fmla="*/ 875361 w 1291912"/>
                    <a:gd name="connsiteY915" fmla="*/ 540913 h 1020248"/>
                    <a:gd name="connsiteX916" fmla="*/ 865702 w 1291912"/>
                    <a:gd name="connsiteY916" fmla="*/ 538498 h 1020248"/>
                    <a:gd name="connsiteX917" fmla="*/ 868720 w 1291912"/>
                    <a:gd name="connsiteY917" fmla="*/ 534876 h 1020248"/>
                    <a:gd name="connsiteX918" fmla="*/ 869324 w 1291912"/>
                    <a:gd name="connsiteY918" fmla="*/ 529443 h 1020248"/>
                    <a:gd name="connsiteX919" fmla="*/ 863891 w 1291912"/>
                    <a:gd name="connsiteY919" fmla="*/ 533065 h 1020248"/>
                    <a:gd name="connsiteX920" fmla="*/ 862683 w 1291912"/>
                    <a:gd name="connsiteY920" fmla="*/ 537291 h 1020248"/>
                    <a:gd name="connsiteX921" fmla="*/ 865702 w 1291912"/>
                    <a:gd name="connsiteY921" fmla="*/ 541516 h 1020248"/>
                    <a:gd name="connsiteX922" fmla="*/ 870531 w 1291912"/>
                    <a:gd name="connsiteY922" fmla="*/ 541516 h 1020248"/>
                    <a:gd name="connsiteX923" fmla="*/ 871739 w 1291912"/>
                    <a:gd name="connsiteY923" fmla="*/ 544535 h 1020248"/>
                    <a:gd name="connsiteX924" fmla="*/ 871135 w 1291912"/>
                    <a:gd name="connsiteY924" fmla="*/ 552383 h 1020248"/>
                    <a:gd name="connsiteX925" fmla="*/ 871739 w 1291912"/>
                    <a:gd name="connsiteY925" fmla="*/ 557212 h 1020248"/>
                    <a:gd name="connsiteX926" fmla="*/ 868720 w 1291912"/>
                    <a:gd name="connsiteY926" fmla="*/ 563249 h 1020248"/>
                    <a:gd name="connsiteX927" fmla="*/ 863287 w 1291912"/>
                    <a:gd name="connsiteY927" fmla="*/ 556005 h 1020248"/>
                    <a:gd name="connsiteX928" fmla="*/ 860269 w 1291912"/>
                    <a:gd name="connsiteY928" fmla="*/ 557816 h 1020248"/>
                    <a:gd name="connsiteX929" fmla="*/ 861476 w 1291912"/>
                    <a:gd name="connsiteY929" fmla="*/ 563249 h 1020248"/>
                    <a:gd name="connsiteX930" fmla="*/ 866306 w 1291912"/>
                    <a:gd name="connsiteY930" fmla="*/ 566872 h 1020248"/>
                    <a:gd name="connsiteX931" fmla="*/ 865702 w 1291912"/>
                    <a:gd name="connsiteY931" fmla="*/ 572305 h 1020248"/>
                    <a:gd name="connsiteX932" fmla="*/ 859665 w 1291912"/>
                    <a:gd name="connsiteY932" fmla="*/ 568683 h 1020248"/>
                    <a:gd name="connsiteX933" fmla="*/ 859665 w 1291912"/>
                    <a:gd name="connsiteY933" fmla="*/ 574116 h 1020248"/>
                    <a:gd name="connsiteX934" fmla="*/ 856646 w 1291912"/>
                    <a:gd name="connsiteY934" fmla="*/ 577738 h 1020248"/>
                    <a:gd name="connsiteX935" fmla="*/ 852420 w 1291912"/>
                    <a:gd name="connsiteY935" fmla="*/ 578946 h 1020248"/>
                    <a:gd name="connsiteX936" fmla="*/ 849402 w 1291912"/>
                    <a:gd name="connsiteY936" fmla="*/ 588605 h 1020248"/>
                    <a:gd name="connsiteX937" fmla="*/ 848195 w 1291912"/>
                    <a:gd name="connsiteY937" fmla="*/ 595849 h 1020248"/>
                    <a:gd name="connsiteX938" fmla="*/ 843365 w 1291912"/>
                    <a:gd name="connsiteY938" fmla="*/ 615168 h 1020248"/>
                    <a:gd name="connsiteX939" fmla="*/ 839743 w 1291912"/>
                    <a:gd name="connsiteY939" fmla="*/ 616979 h 1020248"/>
                    <a:gd name="connsiteX940" fmla="*/ 839743 w 1291912"/>
                    <a:gd name="connsiteY940" fmla="*/ 612149 h 1020248"/>
                    <a:gd name="connsiteX941" fmla="*/ 837932 w 1291912"/>
                    <a:gd name="connsiteY941" fmla="*/ 610942 h 1020248"/>
                    <a:gd name="connsiteX942" fmla="*/ 839743 w 1291912"/>
                    <a:gd name="connsiteY942" fmla="*/ 603697 h 1020248"/>
                    <a:gd name="connsiteX943" fmla="*/ 836121 w 1291912"/>
                    <a:gd name="connsiteY943" fmla="*/ 600679 h 1020248"/>
                    <a:gd name="connsiteX944" fmla="*/ 835517 w 1291912"/>
                    <a:gd name="connsiteY944" fmla="*/ 596453 h 1020248"/>
                    <a:gd name="connsiteX945" fmla="*/ 845176 w 1291912"/>
                    <a:gd name="connsiteY945" fmla="*/ 591623 h 1020248"/>
                    <a:gd name="connsiteX946" fmla="*/ 848798 w 1291912"/>
                    <a:gd name="connsiteY946" fmla="*/ 591020 h 1020248"/>
                    <a:gd name="connsiteX947" fmla="*/ 848195 w 1291912"/>
                    <a:gd name="connsiteY947" fmla="*/ 584379 h 1020248"/>
                    <a:gd name="connsiteX948" fmla="*/ 842158 w 1291912"/>
                    <a:gd name="connsiteY948" fmla="*/ 587397 h 1020248"/>
                    <a:gd name="connsiteX949" fmla="*/ 843365 w 1291912"/>
                    <a:gd name="connsiteY949" fmla="*/ 590416 h 1020248"/>
                    <a:gd name="connsiteX950" fmla="*/ 834913 w 1291912"/>
                    <a:gd name="connsiteY950" fmla="*/ 595245 h 1020248"/>
                    <a:gd name="connsiteX951" fmla="*/ 833706 w 1291912"/>
                    <a:gd name="connsiteY951" fmla="*/ 597057 h 1020248"/>
                    <a:gd name="connsiteX952" fmla="*/ 833706 w 1291912"/>
                    <a:gd name="connsiteY952" fmla="*/ 607319 h 1020248"/>
                    <a:gd name="connsiteX953" fmla="*/ 831291 w 1291912"/>
                    <a:gd name="connsiteY953" fmla="*/ 617582 h 1020248"/>
                    <a:gd name="connsiteX954" fmla="*/ 833706 w 1291912"/>
                    <a:gd name="connsiteY954" fmla="*/ 624223 h 1020248"/>
                    <a:gd name="connsiteX955" fmla="*/ 838535 w 1291912"/>
                    <a:gd name="connsiteY955" fmla="*/ 632071 h 1020248"/>
                    <a:gd name="connsiteX956" fmla="*/ 839743 w 1291912"/>
                    <a:gd name="connsiteY956" fmla="*/ 655615 h 1020248"/>
                    <a:gd name="connsiteX957" fmla="*/ 841554 w 1291912"/>
                    <a:gd name="connsiteY957" fmla="*/ 661652 h 1020248"/>
                    <a:gd name="connsiteX958" fmla="*/ 839139 w 1291912"/>
                    <a:gd name="connsiteY958" fmla="*/ 669500 h 1020248"/>
                    <a:gd name="connsiteX959" fmla="*/ 843365 w 1291912"/>
                    <a:gd name="connsiteY959" fmla="*/ 676744 h 1020248"/>
                    <a:gd name="connsiteX960" fmla="*/ 844572 w 1291912"/>
                    <a:gd name="connsiteY960" fmla="*/ 682178 h 1020248"/>
                    <a:gd name="connsiteX961" fmla="*/ 848195 w 1291912"/>
                    <a:gd name="connsiteY961" fmla="*/ 687007 h 1020248"/>
                    <a:gd name="connsiteX962" fmla="*/ 848798 w 1291912"/>
                    <a:gd name="connsiteY962" fmla="*/ 690630 h 1020248"/>
                    <a:gd name="connsiteX963" fmla="*/ 840950 w 1291912"/>
                    <a:gd name="connsiteY963" fmla="*/ 702704 h 1020248"/>
                    <a:gd name="connsiteX964" fmla="*/ 840347 w 1291912"/>
                    <a:gd name="connsiteY964" fmla="*/ 709948 h 1020248"/>
                    <a:gd name="connsiteX965" fmla="*/ 838535 w 1291912"/>
                    <a:gd name="connsiteY965" fmla="*/ 718400 h 1020248"/>
                    <a:gd name="connsiteX966" fmla="*/ 834310 w 1291912"/>
                    <a:gd name="connsiteY966" fmla="*/ 728663 h 1020248"/>
                    <a:gd name="connsiteX967" fmla="*/ 827669 w 1291912"/>
                    <a:gd name="connsiteY967" fmla="*/ 737114 h 1020248"/>
                    <a:gd name="connsiteX968" fmla="*/ 821028 w 1291912"/>
                    <a:gd name="connsiteY968" fmla="*/ 743151 h 1020248"/>
                    <a:gd name="connsiteX969" fmla="*/ 820424 w 1291912"/>
                    <a:gd name="connsiteY969" fmla="*/ 746170 h 1020248"/>
                    <a:gd name="connsiteX970" fmla="*/ 812576 w 1291912"/>
                    <a:gd name="connsiteY970" fmla="*/ 755225 h 1020248"/>
                    <a:gd name="connsiteX971" fmla="*/ 808351 w 1291912"/>
                    <a:gd name="connsiteY971" fmla="*/ 763073 h 1020248"/>
                    <a:gd name="connsiteX972" fmla="*/ 808954 w 1291912"/>
                    <a:gd name="connsiteY972" fmla="*/ 766092 h 1020248"/>
                    <a:gd name="connsiteX973" fmla="*/ 802917 w 1291912"/>
                    <a:gd name="connsiteY973" fmla="*/ 775147 h 1020248"/>
                    <a:gd name="connsiteX974" fmla="*/ 804125 w 1291912"/>
                    <a:gd name="connsiteY974" fmla="*/ 778769 h 1020248"/>
                    <a:gd name="connsiteX975" fmla="*/ 808954 w 1291912"/>
                    <a:gd name="connsiteY975" fmla="*/ 781184 h 1020248"/>
                    <a:gd name="connsiteX976" fmla="*/ 809558 w 1291912"/>
                    <a:gd name="connsiteY976" fmla="*/ 784806 h 1020248"/>
                    <a:gd name="connsiteX977" fmla="*/ 803521 w 1291912"/>
                    <a:gd name="connsiteY977" fmla="*/ 787221 h 1020248"/>
                    <a:gd name="connsiteX978" fmla="*/ 801106 w 1291912"/>
                    <a:gd name="connsiteY978" fmla="*/ 790240 h 1020248"/>
                    <a:gd name="connsiteX979" fmla="*/ 787825 w 1291912"/>
                    <a:gd name="connsiteY979" fmla="*/ 797484 h 1020248"/>
                    <a:gd name="connsiteX980" fmla="*/ 790240 w 1291912"/>
                    <a:gd name="connsiteY980" fmla="*/ 789636 h 1020248"/>
                    <a:gd name="connsiteX981" fmla="*/ 782995 w 1291912"/>
                    <a:gd name="connsiteY981" fmla="*/ 795069 h 1020248"/>
                    <a:gd name="connsiteX982" fmla="*/ 784203 w 1291912"/>
                    <a:gd name="connsiteY982" fmla="*/ 798088 h 1020248"/>
                    <a:gd name="connsiteX983" fmla="*/ 775751 w 1291912"/>
                    <a:gd name="connsiteY983" fmla="*/ 803521 h 1020248"/>
                    <a:gd name="connsiteX984" fmla="*/ 768507 w 1291912"/>
                    <a:gd name="connsiteY984" fmla="*/ 804728 h 1020248"/>
                    <a:gd name="connsiteX985" fmla="*/ 743755 w 1291912"/>
                    <a:gd name="connsiteY985" fmla="*/ 816802 h 1020248"/>
                    <a:gd name="connsiteX986" fmla="*/ 741944 w 1291912"/>
                    <a:gd name="connsiteY986" fmla="*/ 821028 h 1020248"/>
                    <a:gd name="connsiteX987" fmla="*/ 737114 w 1291912"/>
                    <a:gd name="connsiteY987" fmla="*/ 824650 h 1020248"/>
                    <a:gd name="connsiteX988" fmla="*/ 728059 w 1291912"/>
                    <a:gd name="connsiteY988" fmla="*/ 824650 h 1020248"/>
                    <a:gd name="connsiteX989" fmla="*/ 719607 w 1291912"/>
                    <a:gd name="connsiteY989" fmla="*/ 830084 h 1020248"/>
                    <a:gd name="connsiteX990" fmla="*/ 716589 w 1291912"/>
                    <a:gd name="connsiteY990" fmla="*/ 829480 h 1020248"/>
                    <a:gd name="connsiteX991" fmla="*/ 711155 w 1291912"/>
                    <a:gd name="connsiteY991" fmla="*/ 831895 h 1020248"/>
                    <a:gd name="connsiteX992" fmla="*/ 711155 w 1291912"/>
                    <a:gd name="connsiteY992" fmla="*/ 835517 h 1020248"/>
                    <a:gd name="connsiteX993" fmla="*/ 703307 w 1291912"/>
                    <a:gd name="connsiteY993" fmla="*/ 837328 h 1020248"/>
                    <a:gd name="connsiteX994" fmla="*/ 688819 w 1291912"/>
                    <a:gd name="connsiteY994" fmla="*/ 842158 h 1020248"/>
                    <a:gd name="connsiteX995" fmla="*/ 685800 w 1291912"/>
                    <a:gd name="connsiteY995" fmla="*/ 840950 h 1020248"/>
                    <a:gd name="connsiteX996" fmla="*/ 677952 w 1291912"/>
                    <a:gd name="connsiteY996" fmla="*/ 853628 h 1020248"/>
                    <a:gd name="connsiteX997" fmla="*/ 671915 w 1291912"/>
                    <a:gd name="connsiteY997" fmla="*/ 855439 h 1020248"/>
                    <a:gd name="connsiteX998" fmla="*/ 670104 w 1291912"/>
                    <a:gd name="connsiteY998" fmla="*/ 858457 h 1020248"/>
                    <a:gd name="connsiteX999" fmla="*/ 662860 w 1291912"/>
                    <a:gd name="connsiteY999" fmla="*/ 858457 h 1020248"/>
                    <a:gd name="connsiteX1000" fmla="*/ 656219 w 1291912"/>
                    <a:gd name="connsiteY1000" fmla="*/ 862080 h 1020248"/>
                    <a:gd name="connsiteX1001" fmla="*/ 645956 w 1291912"/>
                    <a:gd name="connsiteY1001" fmla="*/ 863287 h 1020248"/>
                    <a:gd name="connsiteX1002" fmla="*/ 627845 w 1291912"/>
                    <a:gd name="connsiteY1002" fmla="*/ 872946 h 1020248"/>
                    <a:gd name="connsiteX1003" fmla="*/ 623016 w 1291912"/>
                    <a:gd name="connsiteY1003" fmla="*/ 872946 h 1020248"/>
                    <a:gd name="connsiteX1004" fmla="*/ 621204 w 1291912"/>
                    <a:gd name="connsiteY1004" fmla="*/ 875964 h 1020248"/>
                    <a:gd name="connsiteX1005" fmla="*/ 611545 w 1291912"/>
                    <a:gd name="connsiteY1005" fmla="*/ 878379 h 1020248"/>
                    <a:gd name="connsiteX1006" fmla="*/ 610338 w 1291912"/>
                    <a:gd name="connsiteY1006" fmla="*/ 883209 h 1020248"/>
                    <a:gd name="connsiteX1007" fmla="*/ 602490 w 1291912"/>
                    <a:gd name="connsiteY1007" fmla="*/ 882605 h 1020248"/>
                    <a:gd name="connsiteX1008" fmla="*/ 597660 w 1291912"/>
                    <a:gd name="connsiteY1008" fmla="*/ 883209 h 1020248"/>
                    <a:gd name="connsiteX1009" fmla="*/ 589812 w 1291912"/>
                    <a:gd name="connsiteY1009" fmla="*/ 888642 h 1020248"/>
                    <a:gd name="connsiteX1010" fmla="*/ 586794 w 1291912"/>
                    <a:gd name="connsiteY1010" fmla="*/ 886831 h 1020248"/>
                    <a:gd name="connsiteX1011" fmla="*/ 577738 w 1291912"/>
                    <a:gd name="connsiteY1011" fmla="*/ 885624 h 1020248"/>
                    <a:gd name="connsiteX1012" fmla="*/ 571701 w 1291912"/>
                    <a:gd name="connsiteY1012" fmla="*/ 889246 h 1020248"/>
                    <a:gd name="connsiteX1013" fmla="*/ 569287 w 1291912"/>
                    <a:gd name="connsiteY1013" fmla="*/ 888038 h 1020248"/>
                    <a:gd name="connsiteX1014" fmla="*/ 565061 w 1291912"/>
                    <a:gd name="connsiteY1014" fmla="*/ 888642 h 1020248"/>
                    <a:gd name="connsiteX1015" fmla="*/ 560231 w 1291912"/>
                    <a:gd name="connsiteY1015" fmla="*/ 889850 h 1020248"/>
                    <a:gd name="connsiteX1016" fmla="*/ 557213 w 1291912"/>
                    <a:gd name="connsiteY1016" fmla="*/ 894075 h 1020248"/>
                    <a:gd name="connsiteX1017" fmla="*/ 556609 w 1291912"/>
                    <a:gd name="connsiteY1017" fmla="*/ 893472 h 1020248"/>
                    <a:gd name="connsiteX1018" fmla="*/ 553590 w 1291912"/>
                    <a:gd name="connsiteY1018" fmla="*/ 893472 h 1020248"/>
                    <a:gd name="connsiteX1019" fmla="*/ 553590 w 1291912"/>
                    <a:gd name="connsiteY1019" fmla="*/ 889850 h 1020248"/>
                    <a:gd name="connsiteX1020" fmla="*/ 549968 w 1291912"/>
                    <a:gd name="connsiteY1020" fmla="*/ 883813 h 1020248"/>
                    <a:gd name="connsiteX1021" fmla="*/ 551176 w 1291912"/>
                    <a:gd name="connsiteY1021" fmla="*/ 877776 h 1020248"/>
                    <a:gd name="connsiteX1022" fmla="*/ 557816 w 1291912"/>
                    <a:gd name="connsiteY1022" fmla="*/ 874757 h 1020248"/>
                    <a:gd name="connsiteX1023" fmla="*/ 558420 w 1291912"/>
                    <a:gd name="connsiteY1023" fmla="*/ 869928 h 1020248"/>
                    <a:gd name="connsiteX1024" fmla="*/ 557213 w 1291912"/>
                    <a:gd name="connsiteY1024" fmla="*/ 866305 h 1020248"/>
                    <a:gd name="connsiteX1025" fmla="*/ 548761 w 1291912"/>
                    <a:gd name="connsiteY1025" fmla="*/ 866909 h 1020248"/>
                    <a:gd name="connsiteX1026" fmla="*/ 546346 w 1291912"/>
                    <a:gd name="connsiteY1026" fmla="*/ 865702 h 1020248"/>
                    <a:gd name="connsiteX1027" fmla="*/ 546950 w 1291912"/>
                    <a:gd name="connsiteY1027" fmla="*/ 860872 h 1020248"/>
                    <a:gd name="connsiteX1028" fmla="*/ 556005 w 1291912"/>
                    <a:gd name="connsiteY1028" fmla="*/ 857250 h 1020248"/>
                    <a:gd name="connsiteX1029" fmla="*/ 559024 w 1291912"/>
                    <a:gd name="connsiteY1029" fmla="*/ 854835 h 1020248"/>
                    <a:gd name="connsiteX1030" fmla="*/ 559627 w 1291912"/>
                    <a:gd name="connsiteY1030" fmla="*/ 850610 h 1020248"/>
                    <a:gd name="connsiteX1031" fmla="*/ 557213 w 1291912"/>
                    <a:gd name="connsiteY1031" fmla="*/ 843969 h 1020248"/>
                    <a:gd name="connsiteX1032" fmla="*/ 554798 w 1291912"/>
                    <a:gd name="connsiteY1032" fmla="*/ 839139 h 1020248"/>
                    <a:gd name="connsiteX1033" fmla="*/ 551176 w 1291912"/>
                    <a:gd name="connsiteY1033" fmla="*/ 837932 h 1020248"/>
                    <a:gd name="connsiteX1034" fmla="*/ 548761 w 1291912"/>
                    <a:gd name="connsiteY1034" fmla="*/ 837932 h 1020248"/>
                    <a:gd name="connsiteX1035" fmla="*/ 548157 w 1291912"/>
                    <a:gd name="connsiteY1035" fmla="*/ 836121 h 1020248"/>
                    <a:gd name="connsiteX1036" fmla="*/ 543328 w 1291912"/>
                    <a:gd name="connsiteY1036" fmla="*/ 838536 h 1020248"/>
                    <a:gd name="connsiteX1037" fmla="*/ 540309 w 1291912"/>
                    <a:gd name="connsiteY1037" fmla="*/ 837328 h 1020248"/>
                    <a:gd name="connsiteX1038" fmla="*/ 537291 w 1291912"/>
                    <a:gd name="connsiteY1038" fmla="*/ 838536 h 1020248"/>
                    <a:gd name="connsiteX1039" fmla="*/ 534272 w 1291912"/>
                    <a:gd name="connsiteY1039" fmla="*/ 836724 h 1020248"/>
                    <a:gd name="connsiteX1040" fmla="*/ 533065 w 1291912"/>
                    <a:gd name="connsiteY1040" fmla="*/ 837932 h 1020248"/>
                    <a:gd name="connsiteX1041" fmla="*/ 531857 w 1291912"/>
                    <a:gd name="connsiteY1041" fmla="*/ 837932 h 1020248"/>
                    <a:gd name="connsiteX1042" fmla="*/ 529442 w 1291912"/>
                    <a:gd name="connsiteY1042" fmla="*/ 835517 h 1020248"/>
                    <a:gd name="connsiteX1043" fmla="*/ 526424 w 1291912"/>
                    <a:gd name="connsiteY1043" fmla="*/ 831895 h 1020248"/>
                    <a:gd name="connsiteX1044" fmla="*/ 524613 w 1291912"/>
                    <a:gd name="connsiteY1044" fmla="*/ 831895 h 1020248"/>
                    <a:gd name="connsiteX1045" fmla="*/ 526424 w 1291912"/>
                    <a:gd name="connsiteY1045" fmla="*/ 834913 h 1020248"/>
                    <a:gd name="connsiteX1046" fmla="*/ 524009 w 1291912"/>
                    <a:gd name="connsiteY1046" fmla="*/ 838536 h 1020248"/>
                    <a:gd name="connsiteX1047" fmla="*/ 521594 w 1291912"/>
                    <a:gd name="connsiteY1047" fmla="*/ 843365 h 1020248"/>
                    <a:gd name="connsiteX1048" fmla="*/ 521594 w 1291912"/>
                    <a:gd name="connsiteY1048" fmla="*/ 848798 h 1020248"/>
                    <a:gd name="connsiteX1049" fmla="*/ 516765 w 1291912"/>
                    <a:gd name="connsiteY1049" fmla="*/ 855439 h 1020248"/>
                    <a:gd name="connsiteX1050" fmla="*/ 513746 w 1291912"/>
                    <a:gd name="connsiteY1050" fmla="*/ 863891 h 1020248"/>
                    <a:gd name="connsiteX1051" fmla="*/ 513143 w 1291912"/>
                    <a:gd name="connsiteY1051" fmla="*/ 869324 h 1020248"/>
                    <a:gd name="connsiteX1052" fmla="*/ 514350 w 1291912"/>
                    <a:gd name="connsiteY1052" fmla="*/ 873550 h 1020248"/>
                    <a:gd name="connsiteX1053" fmla="*/ 514350 w 1291912"/>
                    <a:gd name="connsiteY1053" fmla="*/ 877172 h 1020248"/>
                    <a:gd name="connsiteX1054" fmla="*/ 512539 w 1291912"/>
                    <a:gd name="connsiteY1054" fmla="*/ 880190 h 1020248"/>
                    <a:gd name="connsiteX1055" fmla="*/ 513143 w 1291912"/>
                    <a:gd name="connsiteY1055" fmla="*/ 880794 h 1020248"/>
                    <a:gd name="connsiteX1056" fmla="*/ 511935 w 1291912"/>
                    <a:gd name="connsiteY1056" fmla="*/ 882001 h 1020248"/>
                    <a:gd name="connsiteX1057" fmla="*/ 506502 w 1291912"/>
                    <a:gd name="connsiteY1057" fmla="*/ 882001 h 1020248"/>
                    <a:gd name="connsiteX1058" fmla="*/ 494428 w 1291912"/>
                    <a:gd name="connsiteY1058" fmla="*/ 877776 h 1020248"/>
                    <a:gd name="connsiteX1059" fmla="*/ 487184 w 1291912"/>
                    <a:gd name="connsiteY1059" fmla="*/ 872946 h 1020248"/>
                    <a:gd name="connsiteX1060" fmla="*/ 485373 w 1291912"/>
                    <a:gd name="connsiteY1060" fmla="*/ 873550 h 1020248"/>
                    <a:gd name="connsiteX1061" fmla="*/ 476921 w 1291912"/>
                    <a:gd name="connsiteY1061" fmla="*/ 868720 h 1020248"/>
                    <a:gd name="connsiteX1062" fmla="*/ 464243 w 1291912"/>
                    <a:gd name="connsiteY1062" fmla="*/ 862080 h 1020248"/>
                    <a:gd name="connsiteX1063" fmla="*/ 454584 w 1291912"/>
                    <a:gd name="connsiteY1063" fmla="*/ 853024 h 1020248"/>
                    <a:gd name="connsiteX1064" fmla="*/ 448547 w 1291912"/>
                    <a:gd name="connsiteY1064" fmla="*/ 851213 h 1020248"/>
                    <a:gd name="connsiteX1065" fmla="*/ 444925 w 1291912"/>
                    <a:gd name="connsiteY1065" fmla="*/ 848195 h 1020248"/>
                    <a:gd name="connsiteX1066" fmla="*/ 439492 w 1291912"/>
                    <a:gd name="connsiteY1066" fmla="*/ 845780 h 1020248"/>
                    <a:gd name="connsiteX1067" fmla="*/ 420173 w 1291912"/>
                    <a:gd name="connsiteY1067" fmla="*/ 830084 h 1020248"/>
                    <a:gd name="connsiteX1068" fmla="*/ 402666 w 1291912"/>
                    <a:gd name="connsiteY1068" fmla="*/ 814388 h 1020248"/>
                    <a:gd name="connsiteX1069" fmla="*/ 400251 w 1291912"/>
                    <a:gd name="connsiteY1069" fmla="*/ 811369 h 1020248"/>
                    <a:gd name="connsiteX1070" fmla="*/ 385763 w 1291912"/>
                    <a:gd name="connsiteY1070" fmla="*/ 798088 h 1020248"/>
                    <a:gd name="connsiteX1071" fmla="*/ 379726 w 1291912"/>
                    <a:gd name="connsiteY1071" fmla="*/ 790240 h 1020248"/>
                    <a:gd name="connsiteX1072" fmla="*/ 374896 w 1291912"/>
                    <a:gd name="connsiteY1072" fmla="*/ 785410 h 1020248"/>
                    <a:gd name="connsiteX1073" fmla="*/ 351352 w 1291912"/>
                    <a:gd name="connsiteY1073" fmla="*/ 757640 h 1020248"/>
                    <a:gd name="connsiteX1074" fmla="*/ 335052 w 1291912"/>
                    <a:gd name="connsiteY1074" fmla="*/ 736511 h 1020248"/>
                    <a:gd name="connsiteX1075" fmla="*/ 314526 w 1291912"/>
                    <a:gd name="connsiteY1075" fmla="*/ 712363 h 1020248"/>
                    <a:gd name="connsiteX1076" fmla="*/ 316941 w 1291912"/>
                    <a:gd name="connsiteY1076" fmla="*/ 706929 h 1020248"/>
                    <a:gd name="connsiteX1077" fmla="*/ 324185 w 1291912"/>
                    <a:gd name="connsiteY1077" fmla="*/ 701496 h 1020248"/>
                    <a:gd name="connsiteX1078" fmla="*/ 324789 w 1291912"/>
                    <a:gd name="connsiteY1078" fmla="*/ 697874 h 1020248"/>
                    <a:gd name="connsiteX1079" fmla="*/ 322374 w 1291912"/>
                    <a:gd name="connsiteY1079" fmla="*/ 694252 h 1020248"/>
                    <a:gd name="connsiteX1080" fmla="*/ 320563 w 1291912"/>
                    <a:gd name="connsiteY1080" fmla="*/ 688818 h 1020248"/>
                    <a:gd name="connsiteX1081" fmla="*/ 316941 w 1291912"/>
                    <a:gd name="connsiteY1081" fmla="*/ 689422 h 1020248"/>
                    <a:gd name="connsiteX1082" fmla="*/ 310904 w 1291912"/>
                    <a:gd name="connsiteY1082" fmla="*/ 687007 h 1020248"/>
                    <a:gd name="connsiteX1083" fmla="*/ 309697 w 1291912"/>
                    <a:gd name="connsiteY1083" fmla="*/ 690026 h 1020248"/>
                    <a:gd name="connsiteX1084" fmla="*/ 314526 w 1291912"/>
                    <a:gd name="connsiteY1084" fmla="*/ 694855 h 1020248"/>
                    <a:gd name="connsiteX1085" fmla="*/ 312715 w 1291912"/>
                    <a:gd name="connsiteY1085" fmla="*/ 699081 h 1020248"/>
                    <a:gd name="connsiteX1086" fmla="*/ 316941 w 1291912"/>
                    <a:gd name="connsiteY1086" fmla="*/ 703307 h 1020248"/>
                    <a:gd name="connsiteX1087" fmla="*/ 315130 w 1291912"/>
                    <a:gd name="connsiteY1087" fmla="*/ 709948 h 1020248"/>
                    <a:gd name="connsiteX1088" fmla="*/ 309093 w 1291912"/>
                    <a:gd name="connsiteY1088" fmla="*/ 707533 h 1020248"/>
                    <a:gd name="connsiteX1089" fmla="*/ 291586 w 1291912"/>
                    <a:gd name="connsiteY1089" fmla="*/ 688215 h 1020248"/>
                    <a:gd name="connsiteX1090" fmla="*/ 284945 w 1291912"/>
                    <a:gd name="connsiteY1090" fmla="*/ 686404 h 1020248"/>
                    <a:gd name="connsiteX1091" fmla="*/ 270456 w 1291912"/>
                    <a:gd name="connsiteY1091" fmla="*/ 672519 h 1020248"/>
                    <a:gd name="connsiteX1092" fmla="*/ 265627 w 1291912"/>
                    <a:gd name="connsiteY1092" fmla="*/ 666482 h 1020248"/>
                    <a:gd name="connsiteX1093" fmla="*/ 257175 w 1291912"/>
                    <a:gd name="connsiteY1093" fmla="*/ 659841 h 1020248"/>
                    <a:gd name="connsiteX1094" fmla="*/ 248723 w 1291912"/>
                    <a:gd name="connsiteY1094" fmla="*/ 651389 h 1020248"/>
                    <a:gd name="connsiteX1095" fmla="*/ 245101 w 1291912"/>
                    <a:gd name="connsiteY1095" fmla="*/ 646560 h 1020248"/>
                    <a:gd name="connsiteX1096" fmla="*/ 239668 w 1291912"/>
                    <a:gd name="connsiteY1096" fmla="*/ 643541 h 1020248"/>
                    <a:gd name="connsiteX1097" fmla="*/ 222764 w 1291912"/>
                    <a:gd name="connsiteY1097" fmla="*/ 628449 h 1020248"/>
                    <a:gd name="connsiteX1098" fmla="*/ 211294 w 1291912"/>
                    <a:gd name="connsiteY1098" fmla="*/ 616375 h 1020248"/>
                    <a:gd name="connsiteX1099" fmla="*/ 192579 w 1291912"/>
                    <a:gd name="connsiteY1099" fmla="*/ 594642 h 1020248"/>
                    <a:gd name="connsiteX1100" fmla="*/ 184731 w 1291912"/>
                    <a:gd name="connsiteY1100" fmla="*/ 584983 h 1020248"/>
                    <a:gd name="connsiteX1101" fmla="*/ 179298 w 1291912"/>
                    <a:gd name="connsiteY1101" fmla="*/ 580153 h 1020248"/>
                    <a:gd name="connsiteX1102" fmla="*/ 170846 w 1291912"/>
                    <a:gd name="connsiteY1102" fmla="*/ 568683 h 1020248"/>
                    <a:gd name="connsiteX1103" fmla="*/ 163602 w 1291912"/>
                    <a:gd name="connsiteY1103" fmla="*/ 560835 h 1020248"/>
                    <a:gd name="connsiteX1104" fmla="*/ 157565 w 1291912"/>
                    <a:gd name="connsiteY1104" fmla="*/ 552383 h 1020248"/>
                    <a:gd name="connsiteX1105" fmla="*/ 158169 w 1291912"/>
                    <a:gd name="connsiteY1105" fmla="*/ 549968 h 1020248"/>
                    <a:gd name="connsiteX1106" fmla="*/ 153943 w 1291912"/>
                    <a:gd name="connsiteY1106" fmla="*/ 538498 h 1020248"/>
                    <a:gd name="connsiteX1107" fmla="*/ 155754 w 1291912"/>
                    <a:gd name="connsiteY1107" fmla="*/ 533668 h 1020248"/>
                    <a:gd name="connsiteX1108" fmla="*/ 158169 w 1291912"/>
                    <a:gd name="connsiteY1108" fmla="*/ 531857 h 1020248"/>
                    <a:gd name="connsiteX1109" fmla="*/ 158169 w 1291912"/>
                    <a:gd name="connsiteY1109" fmla="*/ 526424 h 1020248"/>
                    <a:gd name="connsiteX1110" fmla="*/ 164206 w 1291912"/>
                    <a:gd name="connsiteY1110" fmla="*/ 515558 h 1020248"/>
                    <a:gd name="connsiteX1111" fmla="*/ 169035 w 1291912"/>
                    <a:gd name="connsiteY1111" fmla="*/ 510124 h 1020248"/>
                    <a:gd name="connsiteX1112" fmla="*/ 184128 w 1291912"/>
                    <a:gd name="connsiteY1112" fmla="*/ 501069 h 1020248"/>
                    <a:gd name="connsiteX1113" fmla="*/ 182920 w 1291912"/>
                    <a:gd name="connsiteY1113" fmla="*/ 506502 h 1020248"/>
                    <a:gd name="connsiteX1114" fmla="*/ 176280 w 1291912"/>
                    <a:gd name="connsiteY1114" fmla="*/ 511935 h 1020248"/>
                    <a:gd name="connsiteX1115" fmla="*/ 181713 w 1291912"/>
                    <a:gd name="connsiteY1115" fmla="*/ 519783 h 1020248"/>
                    <a:gd name="connsiteX1116" fmla="*/ 184128 w 1291912"/>
                    <a:gd name="connsiteY1116" fmla="*/ 520387 h 1020248"/>
                    <a:gd name="connsiteX1117" fmla="*/ 190165 w 1291912"/>
                    <a:gd name="connsiteY1117" fmla="*/ 516765 h 1020248"/>
                    <a:gd name="connsiteX1118" fmla="*/ 193183 w 1291912"/>
                    <a:gd name="connsiteY1118" fmla="*/ 519180 h 1020248"/>
                    <a:gd name="connsiteX1119" fmla="*/ 198013 w 1291912"/>
                    <a:gd name="connsiteY1119" fmla="*/ 518576 h 1020248"/>
                    <a:gd name="connsiteX1120" fmla="*/ 199824 w 1291912"/>
                    <a:gd name="connsiteY1120" fmla="*/ 516161 h 1020248"/>
                    <a:gd name="connsiteX1121" fmla="*/ 207068 w 1291912"/>
                    <a:gd name="connsiteY1121" fmla="*/ 513746 h 1020248"/>
                    <a:gd name="connsiteX1122" fmla="*/ 208879 w 1291912"/>
                    <a:gd name="connsiteY1122" fmla="*/ 520991 h 1020248"/>
                    <a:gd name="connsiteX1123" fmla="*/ 205257 w 1291912"/>
                    <a:gd name="connsiteY1123" fmla="*/ 522802 h 1020248"/>
                    <a:gd name="connsiteX1124" fmla="*/ 204050 w 1291912"/>
                    <a:gd name="connsiteY1124" fmla="*/ 528839 h 1020248"/>
                    <a:gd name="connsiteX1125" fmla="*/ 201635 w 1291912"/>
                    <a:gd name="connsiteY1125" fmla="*/ 531254 h 1020248"/>
                    <a:gd name="connsiteX1126" fmla="*/ 200427 w 1291912"/>
                    <a:gd name="connsiteY1126" fmla="*/ 537291 h 1020248"/>
                    <a:gd name="connsiteX1127" fmla="*/ 202239 w 1291912"/>
                    <a:gd name="connsiteY1127" fmla="*/ 542120 h 1020248"/>
                    <a:gd name="connsiteX1128" fmla="*/ 209483 w 1291912"/>
                    <a:gd name="connsiteY1128" fmla="*/ 548761 h 1020248"/>
                    <a:gd name="connsiteX1129" fmla="*/ 213709 w 1291912"/>
                    <a:gd name="connsiteY1129" fmla="*/ 550572 h 1020248"/>
                    <a:gd name="connsiteX1130" fmla="*/ 227594 w 1291912"/>
                    <a:gd name="connsiteY1130" fmla="*/ 546346 h 1020248"/>
                    <a:gd name="connsiteX1131" fmla="*/ 236046 w 1291912"/>
                    <a:gd name="connsiteY1131" fmla="*/ 540309 h 1020248"/>
                    <a:gd name="connsiteX1132" fmla="*/ 237253 w 1291912"/>
                    <a:gd name="connsiteY1132" fmla="*/ 534272 h 1020248"/>
                    <a:gd name="connsiteX1133" fmla="*/ 242686 w 1291912"/>
                    <a:gd name="connsiteY1133" fmla="*/ 536083 h 1020248"/>
                    <a:gd name="connsiteX1134" fmla="*/ 253553 w 1291912"/>
                    <a:gd name="connsiteY1134" fmla="*/ 537894 h 1020248"/>
                    <a:gd name="connsiteX1135" fmla="*/ 261401 w 1291912"/>
                    <a:gd name="connsiteY1135" fmla="*/ 533065 h 1020248"/>
                    <a:gd name="connsiteX1136" fmla="*/ 263816 w 1291912"/>
                    <a:gd name="connsiteY1136" fmla="*/ 534272 h 1020248"/>
                    <a:gd name="connsiteX1137" fmla="*/ 268042 w 1291912"/>
                    <a:gd name="connsiteY1137" fmla="*/ 532461 h 1020248"/>
                    <a:gd name="connsiteX1138" fmla="*/ 268645 w 1291912"/>
                    <a:gd name="connsiteY1138" fmla="*/ 528839 h 1020248"/>
                    <a:gd name="connsiteX1139" fmla="*/ 273475 w 1291912"/>
                    <a:gd name="connsiteY1139" fmla="*/ 524613 h 1020248"/>
                    <a:gd name="connsiteX1140" fmla="*/ 275286 w 1291912"/>
                    <a:gd name="connsiteY1140" fmla="*/ 513143 h 1020248"/>
                    <a:gd name="connsiteX1141" fmla="*/ 280719 w 1291912"/>
                    <a:gd name="connsiteY1141" fmla="*/ 517972 h 1020248"/>
                    <a:gd name="connsiteX1142" fmla="*/ 282530 w 1291912"/>
                    <a:gd name="connsiteY1142" fmla="*/ 526424 h 1020248"/>
                    <a:gd name="connsiteX1143" fmla="*/ 286152 w 1291912"/>
                    <a:gd name="connsiteY1143" fmla="*/ 525820 h 1020248"/>
                    <a:gd name="connsiteX1144" fmla="*/ 290982 w 1291912"/>
                    <a:gd name="connsiteY1144" fmla="*/ 530046 h 1020248"/>
                    <a:gd name="connsiteX1145" fmla="*/ 294604 w 1291912"/>
                    <a:gd name="connsiteY1145" fmla="*/ 530046 h 1020248"/>
                    <a:gd name="connsiteX1146" fmla="*/ 294604 w 1291912"/>
                    <a:gd name="connsiteY1146" fmla="*/ 526424 h 1020248"/>
                    <a:gd name="connsiteX1147" fmla="*/ 300038 w 1291912"/>
                    <a:gd name="connsiteY1147" fmla="*/ 528839 h 1020248"/>
                    <a:gd name="connsiteX1148" fmla="*/ 302452 w 1291912"/>
                    <a:gd name="connsiteY1148" fmla="*/ 528235 h 1020248"/>
                    <a:gd name="connsiteX1149" fmla="*/ 304263 w 1291912"/>
                    <a:gd name="connsiteY1149" fmla="*/ 520387 h 1020248"/>
                    <a:gd name="connsiteX1150" fmla="*/ 311508 w 1291912"/>
                    <a:gd name="connsiteY1150" fmla="*/ 519783 h 1020248"/>
                    <a:gd name="connsiteX1151" fmla="*/ 310300 w 1291912"/>
                    <a:gd name="connsiteY1151" fmla="*/ 514350 h 1020248"/>
                    <a:gd name="connsiteX1152" fmla="*/ 312111 w 1291912"/>
                    <a:gd name="connsiteY1152" fmla="*/ 511332 h 1020248"/>
                    <a:gd name="connsiteX1153" fmla="*/ 309697 w 1291912"/>
                    <a:gd name="connsiteY1153" fmla="*/ 507709 h 1020248"/>
                    <a:gd name="connsiteX1154" fmla="*/ 315734 w 1291912"/>
                    <a:gd name="connsiteY1154" fmla="*/ 505295 h 1020248"/>
                    <a:gd name="connsiteX1155" fmla="*/ 319960 w 1291912"/>
                    <a:gd name="connsiteY1155" fmla="*/ 505898 h 1020248"/>
                    <a:gd name="connsiteX1156" fmla="*/ 321167 w 1291912"/>
                    <a:gd name="connsiteY1156" fmla="*/ 512539 h 1020248"/>
                    <a:gd name="connsiteX1157" fmla="*/ 324185 w 1291912"/>
                    <a:gd name="connsiteY1157" fmla="*/ 511332 h 1020248"/>
                    <a:gd name="connsiteX1158" fmla="*/ 330826 w 1291912"/>
                    <a:gd name="connsiteY1158" fmla="*/ 517972 h 1020248"/>
                    <a:gd name="connsiteX1159" fmla="*/ 333845 w 1291912"/>
                    <a:gd name="connsiteY1159" fmla="*/ 517972 h 1020248"/>
                    <a:gd name="connsiteX1160" fmla="*/ 336863 w 1291912"/>
                    <a:gd name="connsiteY1160" fmla="*/ 512539 h 1020248"/>
                    <a:gd name="connsiteX1161" fmla="*/ 338070 w 1291912"/>
                    <a:gd name="connsiteY1161" fmla="*/ 507106 h 1020248"/>
                    <a:gd name="connsiteX1162" fmla="*/ 340485 w 1291912"/>
                    <a:gd name="connsiteY1162" fmla="*/ 506502 h 1020248"/>
                    <a:gd name="connsiteX1163" fmla="*/ 344711 w 1291912"/>
                    <a:gd name="connsiteY1163" fmla="*/ 508313 h 1020248"/>
                    <a:gd name="connsiteX1164" fmla="*/ 354974 w 1291912"/>
                    <a:gd name="connsiteY1164" fmla="*/ 502276 h 1020248"/>
                    <a:gd name="connsiteX1165" fmla="*/ 355578 w 1291912"/>
                    <a:gd name="connsiteY1165" fmla="*/ 499258 h 1020248"/>
                    <a:gd name="connsiteX1166" fmla="*/ 359804 w 1291912"/>
                    <a:gd name="connsiteY1166" fmla="*/ 493824 h 1020248"/>
                    <a:gd name="connsiteX1167" fmla="*/ 361615 w 1291912"/>
                    <a:gd name="connsiteY1167" fmla="*/ 493824 h 1020248"/>
                    <a:gd name="connsiteX1168" fmla="*/ 362218 w 1291912"/>
                    <a:gd name="connsiteY1168" fmla="*/ 491410 h 1020248"/>
                    <a:gd name="connsiteX1169" fmla="*/ 356181 w 1291912"/>
                    <a:gd name="connsiteY1169" fmla="*/ 493824 h 1020248"/>
                    <a:gd name="connsiteX1170" fmla="*/ 351955 w 1291912"/>
                    <a:gd name="connsiteY1170" fmla="*/ 493824 h 1020248"/>
                    <a:gd name="connsiteX1171" fmla="*/ 353163 w 1291912"/>
                    <a:gd name="connsiteY1171" fmla="*/ 485976 h 1020248"/>
                    <a:gd name="connsiteX1172" fmla="*/ 356785 w 1291912"/>
                    <a:gd name="connsiteY1172" fmla="*/ 484769 h 1020248"/>
                    <a:gd name="connsiteX1173" fmla="*/ 375500 w 1291912"/>
                    <a:gd name="connsiteY1173" fmla="*/ 475713 h 1020248"/>
                    <a:gd name="connsiteX1174" fmla="*/ 378518 w 1291912"/>
                    <a:gd name="connsiteY1174" fmla="*/ 477524 h 1020248"/>
                    <a:gd name="connsiteX1175" fmla="*/ 379122 w 1291912"/>
                    <a:gd name="connsiteY1175" fmla="*/ 481147 h 1020248"/>
                    <a:gd name="connsiteX1176" fmla="*/ 374896 w 1291912"/>
                    <a:gd name="connsiteY1176" fmla="*/ 484769 h 1020248"/>
                    <a:gd name="connsiteX1177" fmla="*/ 365841 w 1291912"/>
                    <a:gd name="connsiteY1177" fmla="*/ 486580 h 1020248"/>
                    <a:gd name="connsiteX1178" fmla="*/ 364633 w 1291912"/>
                    <a:gd name="connsiteY1178" fmla="*/ 482958 h 1020248"/>
                    <a:gd name="connsiteX1179" fmla="*/ 366444 w 1291912"/>
                    <a:gd name="connsiteY1179" fmla="*/ 479336 h 1020248"/>
                    <a:gd name="connsiteX1180" fmla="*/ 375500 w 1291912"/>
                    <a:gd name="connsiteY1180" fmla="*/ 475713 h 1020248"/>
                    <a:gd name="connsiteX1181" fmla="*/ 466054 w 1291912"/>
                    <a:gd name="connsiteY1181" fmla="*/ 373085 h 1020248"/>
                    <a:gd name="connsiteX1182" fmla="*/ 463639 w 1291912"/>
                    <a:gd name="connsiteY1182" fmla="*/ 380329 h 1020248"/>
                    <a:gd name="connsiteX1183" fmla="*/ 461225 w 1291912"/>
                    <a:gd name="connsiteY1183" fmla="*/ 385159 h 1020248"/>
                    <a:gd name="connsiteX1184" fmla="*/ 458810 w 1291912"/>
                    <a:gd name="connsiteY1184" fmla="*/ 380933 h 1020248"/>
                    <a:gd name="connsiteX1185" fmla="*/ 466054 w 1291912"/>
                    <a:gd name="connsiteY1185" fmla="*/ 373085 h 1020248"/>
                    <a:gd name="connsiteX1186" fmla="*/ 76066 w 1291912"/>
                    <a:gd name="connsiteY1186" fmla="*/ 314526 h 1020248"/>
                    <a:gd name="connsiteX1187" fmla="*/ 77877 w 1291912"/>
                    <a:gd name="connsiteY1187" fmla="*/ 316941 h 1020248"/>
                    <a:gd name="connsiteX1188" fmla="*/ 82707 w 1291912"/>
                    <a:gd name="connsiteY1188" fmla="*/ 316337 h 1020248"/>
                    <a:gd name="connsiteX1189" fmla="*/ 86329 w 1291912"/>
                    <a:gd name="connsiteY1189" fmla="*/ 318149 h 1020248"/>
                    <a:gd name="connsiteX1190" fmla="*/ 88140 w 1291912"/>
                    <a:gd name="connsiteY1190" fmla="*/ 323582 h 1020248"/>
                    <a:gd name="connsiteX1191" fmla="*/ 79084 w 1291912"/>
                    <a:gd name="connsiteY1191" fmla="*/ 325996 h 1020248"/>
                    <a:gd name="connsiteX1192" fmla="*/ 78481 w 1291912"/>
                    <a:gd name="connsiteY1192" fmla="*/ 328411 h 1020248"/>
                    <a:gd name="connsiteX1193" fmla="*/ 72444 w 1291912"/>
                    <a:gd name="connsiteY1193" fmla="*/ 324789 h 1020248"/>
                    <a:gd name="connsiteX1194" fmla="*/ 77877 w 1291912"/>
                    <a:gd name="connsiteY1194" fmla="*/ 321167 h 1020248"/>
                    <a:gd name="connsiteX1195" fmla="*/ 75462 w 1291912"/>
                    <a:gd name="connsiteY1195" fmla="*/ 318149 h 1020248"/>
                    <a:gd name="connsiteX1196" fmla="*/ 76066 w 1291912"/>
                    <a:gd name="connsiteY1196" fmla="*/ 314526 h 1020248"/>
                    <a:gd name="connsiteX1197" fmla="*/ 65803 w 1291912"/>
                    <a:gd name="connsiteY1197" fmla="*/ 307886 h 1020248"/>
                    <a:gd name="connsiteX1198" fmla="*/ 70029 w 1291912"/>
                    <a:gd name="connsiteY1198" fmla="*/ 309093 h 1020248"/>
                    <a:gd name="connsiteX1199" fmla="*/ 71840 w 1291912"/>
                    <a:gd name="connsiteY1199" fmla="*/ 313923 h 1020248"/>
                    <a:gd name="connsiteX1200" fmla="*/ 66407 w 1291912"/>
                    <a:gd name="connsiteY1200" fmla="*/ 313319 h 1020248"/>
                    <a:gd name="connsiteX1201" fmla="*/ 65803 w 1291912"/>
                    <a:gd name="connsiteY1201" fmla="*/ 307886 h 1020248"/>
                    <a:gd name="connsiteX1202" fmla="*/ 82707 w 1291912"/>
                    <a:gd name="connsiteY1202" fmla="*/ 300641 h 1020248"/>
                    <a:gd name="connsiteX1203" fmla="*/ 85725 w 1291912"/>
                    <a:gd name="connsiteY1203" fmla="*/ 304867 h 1020248"/>
                    <a:gd name="connsiteX1204" fmla="*/ 88743 w 1291912"/>
                    <a:gd name="connsiteY1204" fmla="*/ 305471 h 1020248"/>
                    <a:gd name="connsiteX1205" fmla="*/ 88743 w 1291912"/>
                    <a:gd name="connsiteY1205" fmla="*/ 310904 h 1020248"/>
                    <a:gd name="connsiteX1206" fmla="*/ 83914 w 1291912"/>
                    <a:gd name="connsiteY1206" fmla="*/ 309093 h 1020248"/>
                    <a:gd name="connsiteX1207" fmla="*/ 79084 w 1291912"/>
                    <a:gd name="connsiteY1207" fmla="*/ 301245 h 1020248"/>
                    <a:gd name="connsiteX1208" fmla="*/ 82707 w 1291912"/>
                    <a:gd name="connsiteY1208" fmla="*/ 300641 h 1020248"/>
                    <a:gd name="connsiteX1209" fmla="*/ 65803 w 1291912"/>
                    <a:gd name="connsiteY1209" fmla="*/ 282530 h 1020248"/>
                    <a:gd name="connsiteX1210" fmla="*/ 68821 w 1291912"/>
                    <a:gd name="connsiteY1210" fmla="*/ 286756 h 1020248"/>
                    <a:gd name="connsiteX1211" fmla="*/ 65199 w 1291912"/>
                    <a:gd name="connsiteY1211" fmla="*/ 287964 h 1020248"/>
                    <a:gd name="connsiteX1212" fmla="*/ 65803 w 1291912"/>
                    <a:gd name="connsiteY1212" fmla="*/ 282530 h 1020248"/>
                    <a:gd name="connsiteX1213" fmla="*/ 58559 w 1291912"/>
                    <a:gd name="connsiteY1213" fmla="*/ 277097 h 1020248"/>
                    <a:gd name="connsiteX1214" fmla="*/ 63388 w 1291912"/>
                    <a:gd name="connsiteY1214" fmla="*/ 281927 h 1020248"/>
                    <a:gd name="connsiteX1215" fmla="*/ 61577 w 1291912"/>
                    <a:gd name="connsiteY1215" fmla="*/ 294001 h 1020248"/>
                    <a:gd name="connsiteX1216" fmla="*/ 57351 w 1291912"/>
                    <a:gd name="connsiteY1216" fmla="*/ 294001 h 1020248"/>
                    <a:gd name="connsiteX1217" fmla="*/ 56144 w 1291912"/>
                    <a:gd name="connsiteY1217" fmla="*/ 287360 h 1020248"/>
                    <a:gd name="connsiteX1218" fmla="*/ 56144 w 1291912"/>
                    <a:gd name="connsiteY1218" fmla="*/ 283134 h 1020248"/>
                    <a:gd name="connsiteX1219" fmla="*/ 50711 w 1291912"/>
                    <a:gd name="connsiteY1219" fmla="*/ 286153 h 1020248"/>
                    <a:gd name="connsiteX1220" fmla="*/ 52522 w 1291912"/>
                    <a:gd name="connsiteY1220" fmla="*/ 280116 h 1020248"/>
                    <a:gd name="connsiteX1221" fmla="*/ 58559 w 1291912"/>
                    <a:gd name="connsiteY1221" fmla="*/ 277097 h 1020248"/>
                    <a:gd name="connsiteX1222" fmla="*/ 60370 w 1291912"/>
                    <a:gd name="connsiteY1222" fmla="*/ 250534 h 1020248"/>
                    <a:gd name="connsiteX1223" fmla="*/ 61577 w 1291912"/>
                    <a:gd name="connsiteY1223" fmla="*/ 255968 h 1020248"/>
                    <a:gd name="connsiteX1224" fmla="*/ 57955 w 1291912"/>
                    <a:gd name="connsiteY1224" fmla="*/ 260797 h 1020248"/>
                    <a:gd name="connsiteX1225" fmla="*/ 53125 w 1291912"/>
                    <a:gd name="connsiteY1225" fmla="*/ 263212 h 1020248"/>
                    <a:gd name="connsiteX1226" fmla="*/ 50711 w 1291912"/>
                    <a:gd name="connsiteY1226" fmla="*/ 259590 h 1020248"/>
                    <a:gd name="connsiteX1227" fmla="*/ 54333 w 1291912"/>
                    <a:gd name="connsiteY1227" fmla="*/ 257779 h 1020248"/>
                    <a:gd name="connsiteX1228" fmla="*/ 57955 w 1291912"/>
                    <a:gd name="connsiteY1228" fmla="*/ 251742 h 1020248"/>
                    <a:gd name="connsiteX1229" fmla="*/ 60370 w 1291912"/>
                    <a:gd name="connsiteY1229" fmla="*/ 250534 h 1020248"/>
                    <a:gd name="connsiteX1230" fmla="*/ 55540 w 1291912"/>
                    <a:gd name="connsiteY1230" fmla="*/ 244497 h 1020248"/>
                    <a:gd name="connsiteX1231" fmla="*/ 57351 w 1291912"/>
                    <a:gd name="connsiteY1231" fmla="*/ 249327 h 1020248"/>
                    <a:gd name="connsiteX1232" fmla="*/ 51918 w 1291912"/>
                    <a:gd name="connsiteY1232" fmla="*/ 249327 h 1020248"/>
                    <a:gd name="connsiteX1233" fmla="*/ 50711 w 1291912"/>
                    <a:gd name="connsiteY1233" fmla="*/ 246308 h 1020248"/>
                    <a:gd name="connsiteX1234" fmla="*/ 55540 w 1291912"/>
                    <a:gd name="connsiteY1234" fmla="*/ 244497 h 1020248"/>
                    <a:gd name="connsiteX1235" fmla="*/ 35014 w 1291912"/>
                    <a:gd name="connsiteY1235" fmla="*/ 204050 h 1020248"/>
                    <a:gd name="connsiteX1236" fmla="*/ 43466 w 1291912"/>
                    <a:gd name="connsiteY1236" fmla="*/ 208276 h 1020248"/>
                    <a:gd name="connsiteX1237" fmla="*/ 48899 w 1291912"/>
                    <a:gd name="connsiteY1237" fmla="*/ 205861 h 1020248"/>
                    <a:gd name="connsiteX1238" fmla="*/ 47088 w 1291912"/>
                    <a:gd name="connsiteY1238" fmla="*/ 215520 h 1020248"/>
                    <a:gd name="connsiteX1239" fmla="*/ 47692 w 1291912"/>
                    <a:gd name="connsiteY1239" fmla="*/ 220953 h 1020248"/>
                    <a:gd name="connsiteX1240" fmla="*/ 41655 w 1291912"/>
                    <a:gd name="connsiteY1240" fmla="*/ 237857 h 1020248"/>
                    <a:gd name="connsiteX1241" fmla="*/ 35014 w 1291912"/>
                    <a:gd name="connsiteY1241" fmla="*/ 243894 h 1020248"/>
                    <a:gd name="connsiteX1242" fmla="*/ 32600 w 1291912"/>
                    <a:gd name="connsiteY1242" fmla="*/ 250534 h 1020248"/>
                    <a:gd name="connsiteX1243" fmla="*/ 21733 w 1291912"/>
                    <a:gd name="connsiteY1243" fmla="*/ 254760 h 1020248"/>
                    <a:gd name="connsiteX1244" fmla="*/ 18111 w 1291912"/>
                    <a:gd name="connsiteY1244" fmla="*/ 253553 h 1020248"/>
                    <a:gd name="connsiteX1245" fmla="*/ 15696 w 1291912"/>
                    <a:gd name="connsiteY1245" fmla="*/ 249327 h 1020248"/>
                    <a:gd name="connsiteX1246" fmla="*/ 9055 w 1291912"/>
                    <a:gd name="connsiteY1246" fmla="*/ 252345 h 1020248"/>
                    <a:gd name="connsiteX1247" fmla="*/ 7848 w 1291912"/>
                    <a:gd name="connsiteY1247" fmla="*/ 250534 h 1020248"/>
                    <a:gd name="connsiteX1248" fmla="*/ 1207 w 1291912"/>
                    <a:gd name="connsiteY1248" fmla="*/ 249327 h 1020248"/>
                    <a:gd name="connsiteX1249" fmla="*/ 0 w 1291912"/>
                    <a:gd name="connsiteY1249" fmla="*/ 243894 h 1020248"/>
                    <a:gd name="connsiteX1250" fmla="*/ 4226 w 1291912"/>
                    <a:gd name="connsiteY1250" fmla="*/ 240875 h 1020248"/>
                    <a:gd name="connsiteX1251" fmla="*/ 16904 w 1291912"/>
                    <a:gd name="connsiteY1251" fmla="*/ 239064 h 1020248"/>
                    <a:gd name="connsiteX1252" fmla="*/ 19318 w 1291912"/>
                    <a:gd name="connsiteY1252" fmla="*/ 234234 h 1020248"/>
                    <a:gd name="connsiteX1253" fmla="*/ 25355 w 1291912"/>
                    <a:gd name="connsiteY1253" fmla="*/ 226990 h 1020248"/>
                    <a:gd name="connsiteX1254" fmla="*/ 25959 w 1291912"/>
                    <a:gd name="connsiteY1254" fmla="*/ 224575 h 1020248"/>
                    <a:gd name="connsiteX1255" fmla="*/ 31392 w 1291912"/>
                    <a:gd name="connsiteY1255" fmla="*/ 220349 h 1020248"/>
                    <a:gd name="connsiteX1256" fmla="*/ 30185 w 1291912"/>
                    <a:gd name="connsiteY1256" fmla="*/ 214313 h 1020248"/>
                    <a:gd name="connsiteX1257" fmla="*/ 35014 w 1291912"/>
                    <a:gd name="connsiteY1257" fmla="*/ 204050 h 1020248"/>
                    <a:gd name="connsiteX1258" fmla="*/ 22337 w 1291912"/>
                    <a:gd name="connsiteY1258" fmla="*/ 204050 h 1020248"/>
                    <a:gd name="connsiteX1259" fmla="*/ 24752 w 1291912"/>
                    <a:gd name="connsiteY1259" fmla="*/ 199824 h 1020248"/>
                    <a:gd name="connsiteX1260" fmla="*/ 27770 w 1291912"/>
                    <a:gd name="connsiteY1260" fmla="*/ 204050 h 1020248"/>
                    <a:gd name="connsiteX1261" fmla="*/ 25959 w 1291912"/>
                    <a:gd name="connsiteY1261" fmla="*/ 207672 h 1020248"/>
                    <a:gd name="connsiteX1262" fmla="*/ 25959 w 1291912"/>
                    <a:gd name="connsiteY1262" fmla="*/ 213105 h 1020248"/>
                    <a:gd name="connsiteX1263" fmla="*/ 27770 w 1291912"/>
                    <a:gd name="connsiteY1263" fmla="*/ 219746 h 1020248"/>
                    <a:gd name="connsiteX1264" fmla="*/ 22940 w 1291912"/>
                    <a:gd name="connsiteY1264" fmla="*/ 220953 h 1020248"/>
                    <a:gd name="connsiteX1265" fmla="*/ 16300 w 1291912"/>
                    <a:gd name="connsiteY1265" fmla="*/ 226386 h 1020248"/>
                    <a:gd name="connsiteX1266" fmla="*/ 14489 w 1291912"/>
                    <a:gd name="connsiteY1266" fmla="*/ 223972 h 1020248"/>
                    <a:gd name="connsiteX1267" fmla="*/ 15696 w 1291912"/>
                    <a:gd name="connsiteY1267" fmla="*/ 221557 h 1020248"/>
                    <a:gd name="connsiteX1268" fmla="*/ 16904 w 1291912"/>
                    <a:gd name="connsiteY1268" fmla="*/ 216124 h 1020248"/>
                    <a:gd name="connsiteX1269" fmla="*/ 15696 w 1291912"/>
                    <a:gd name="connsiteY1269" fmla="*/ 214313 h 1020248"/>
                    <a:gd name="connsiteX1270" fmla="*/ 18715 w 1291912"/>
                    <a:gd name="connsiteY1270" fmla="*/ 205861 h 1020248"/>
                    <a:gd name="connsiteX1271" fmla="*/ 17507 w 1291912"/>
                    <a:gd name="connsiteY1271" fmla="*/ 206465 h 1020248"/>
                    <a:gd name="connsiteX1272" fmla="*/ 15092 w 1291912"/>
                    <a:gd name="connsiteY1272" fmla="*/ 214313 h 1020248"/>
                    <a:gd name="connsiteX1273" fmla="*/ 15696 w 1291912"/>
                    <a:gd name="connsiteY1273" fmla="*/ 216727 h 1020248"/>
                    <a:gd name="connsiteX1274" fmla="*/ 13885 w 1291912"/>
                    <a:gd name="connsiteY1274" fmla="*/ 225179 h 1020248"/>
                    <a:gd name="connsiteX1275" fmla="*/ 16300 w 1291912"/>
                    <a:gd name="connsiteY1275" fmla="*/ 228801 h 1020248"/>
                    <a:gd name="connsiteX1276" fmla="*/ 13885 w 1291912"/>
                    <a:gd name="connsiteY1276" fmla="*/ 232423 h 1020248"/>
                    <a:gd name="connsiteX1277" fmla="*/ 10263 w 1291912"/>
                    <a:gd name="connsiteY1277" fmla="*/ 231820 h 1020248"/>
                    <a:gd name="connsiteX1278" fmla="*/ 4226 w 1291912"/>
                    <a:gd name="connsiteY1278" fmla="*/ 225783 h 1020248"/>
                    <a:gd name="connsiteX1279" fmla="*/ 1207 w 1291912"/>
                    <a:gd name="connsiteY1279" fmla="*/ 220349 h 1020248"/>
                    <a:gd name="connsiteX1280" fmla="*/ 3622 w 1291912"/>
                    <a:gd name="connsiteY1280" fmla="*/ 215520 h 1020248"/>
                    <a:gd name="connsiteX1281" fmla="*/ 7848 w 1291912"/>
                    <a:gd name="connsiteY1281" fmla="*/ 213709 h 1020248"/>
                    <a:gd name="connsiteX1282" fmla="*/ 4226 w 1291912"/>
                    <a:gd name="connsiteY1282" fmla="*/ 202842 h 1020248"/>
                    <a:gd name="connsiteX1283" fmla="*/ 5433 w 1291912"/>
                    <a:gd name="connsiteY1283" fmla="*/ 196805 h 1020248"/>
                    <a:gd name="connsiteX1284" fmla="*/ 9659 w 1291912"/>
                    <a:gd name="connsiteY1284" fmla="*/ 196805 h 1020248"/>
                    <a:gd name="connsiteX1285" fmla="*/ 13281 w 1291912"/>
                    <a:gd name="connsiteY1285" fmla="*/ 191976 h 1020248"/>
                    <a:gd name="connsiteX1286" fmla="*/ 14489 w 1291912"/>
                    <a:gd name="connsiteY1286" fmla="*/ 187146 h 1020248"/>
                    <a:gd name="connsiteX1287" fmla="*/ 18111 w 1291912"/>
                    <a:gd name="connsiteY1287" fmla="*/ 182920 h 1020248"/>
                    <a:gd name="connsiteX1288" fmla="*/ 18715 w 1291912"/>
                    <a:gd name="connsiteY1288" fmla="*/ 178694 h 1020248"/>
                    <a:gd name="connsiteX1289" fmla="*/ 22337 w 1291912"/>
                    <a:gd name="connsiteY1289" fmla="*/ 177487 h 1020248"/>
                    <a:gd name="connsiteX1290" fmla="*/ 28374 w 1291912"/>
                    <a:gd name="connsiteY1290" fmla="*/ 179298 h 1020248"/>
                    <a:gd name="connsiteX1291" fmla="*/ 31996 w 1291912"/>
                    <a:gd name="connsiteY1291" fmla="*/ 176883 h 1020248"/>
                    <a:gd name="connsiteX1292" fmla="*/ 32600 w 1291912"/>
                    <a:gd name="connsiteY1292" fmla="*/ 169035 h 1020248"/>
                    <a:gd name="connsiteX1293" fmla="*/ 38637 w 1291912"/>
                    <a:gd name="connsiteY1293" fmla="*/ 163602 h 1020248"/>
                    <a:gd name="connsiteX1294" fmla="*/ 41051 w 1291912"/>
                    <a:gd name="connsiteY1294" fmla="*/ 167828 h 1020248"/>
                    <a:gd name="connsiteX1295" fmla="*/ 44070 w 1291912"/>
                    <a:gd name="connsiteY1295" fmla="*/ 167224 h 1020248"/>
                    <a:gd name="connsiteX1296" fmla="*/ 50107 w 1291912"/>
                    <a:gd name="connsiteY1296" fmla="*/ 161187 h 1020248"/>
                    <a:gd name="connsiteX1297" fmla="*/ 51314 w 1291912"/>
                    <a:gd name="connsiteY1297" fmla="*/ 162998 h 1020248"/>
                    <a:gd name="connsiteX1298" fmla="*/ 50107 w 1291912"/>
                    <a:gd name="connsiteY1298" fmla="*/ 169035 h 1020248"/>
                    <a:gd name="connsiteX1299" fmla="*/ 47692 w 1291912"/>
                    <a:gd name="connsiteY1299" fmla="*/ 175072 h 1020248"/>
                    <a:gd name="connsiteX1300" fmla="*/ 44070 w 1291912"/>
                    <a:gd name="connsiteY1300" fmla="*/ 178091 h 1020248"/>
                    <a:gd name="connsiteX1301" fmla="*/ 33203 w 1291912"/>
                    <a:gd name="connsiteY1301" fmla="*/ 180506 h 1020248"/>
                    <a:gd name="connsiteX1302" fmla="*/ 31996 w 1291912"/>
                    <a:gd name="connsiteY1302" fmla="*/ 184731 h 1020248"/>
                    <a:gd name="connsiteX1303" fmla="*/ 32600 w 1291912"/>
                    <a:gd name="connsiteY1303" fmla="*/ 191372 h 1020248"/>
                    <a:gd name="connsiteX1304" fmla="*/ 30789 w 1291912"/>
                    <a:gd name="connsiteY1304" fmla="*/ 196202 h 1020248"/>
                    <a:gd name="connsiteX1305" fmla="*/ 30789 w 1291912"/>
                    <a:gd name="connsiteY1305" fmla="*/ 200428 h 1020248"/>
                    <a:gd name="connsiteX1306" fmla="*/ 27770 w 1291912"/>
                    <a:gd name="connsiteY1306" fmla="*/ 203446 h 1020248"/>
                    <a:gd name="connsiteX1307" fmla="*/ 25355 w 1291912"/>
                    <a:gd name="connsiteY1307" fmla="*/ 199220 h 1020248"/>
                    <a:gd name="connsiteX1308" fmla="*/ 21733 w 1291912"/>
                    <a:gd name="connsiteY1308" fmla="*/ 200428 h 1020248"/>
                    <a:gd name="connsiteX1309" fmla="*/ 22337 w 1291912"/>
                    <a:gd name="connsiteY1309" fmla="*/ 204050 h 1020248"/>
                    <a:gd name="connsiteX1310" fmla="*/ 63388 w 1291912"/>
                    <a:gd name="connsiteY1310" fmla="*/ 198013 h 1020248"/>
                    <a:gd name="connsiteX1311" fmla="*/ 65803 w 1291912"/>
                    <a:gd name="connsiteY1311" fmla="*/ 199220 h 1020248"/>
                    <a:gd name="connsiteX1312" fmla="*/ 68821 w 1291912"/>
                    <a:gd name="connsiteY1312" fmla="*/ 204050 h 1020248"/>
                    <a:gd name="connsiteX1313" fmla="*/ 67010 w 1291912"/>
                    <a:gd name="connsiteY1313" fmla="*/ 207672 h 1020248"/>
                    <a:gd name="connsiteX1314" fmla="*/ 68821 w 1291912"/>
                    <a:gd name="connsiteY1314" fmla="*/ 211898 h 1020248"/>
                    <a:gd name="connsiteX1315" fmla="*/ 67614 w 1291912"/>
                    <a:gd name="connsiteY1315" fmla="*/ 214916 h 1020248"/>
                    <a:gd name="connsiteX1316" fmla="*/ 61577 w 1291912"/>
                    <a:gd name="connsiteY1316" fmla="*/ 219142 h 1020248"/>
                    <a:gd name="connsiteX1317" fmla="*/ 56748 w 1291912"/>
                    <a:gd name="connsiteY1317" fmla="*/ 217935 h 1020248"/>
                    <a:gd name="connsiteX1318" fmla="*/ 51314 w 1291912"/>
                    <a:gd name="connsiteY1318" fmla="*/ 217935 h 1020248"/>
                    <a:gd name="connsiteX1319" fmla="*/ 55540 w 1291912"/>
                    <a:gd name="connsiteY1319" fmla="*/ 210690 h 1020248"/>
                    <a:gd name="connsiteX1320" fmla="*/ 53729 w 1291912"/>
                    <a:gd name="connsiteY1320" fmla="*/ 203446 h 1020248"/>
                    <a:gd name="connsiteX1321" fmla="*/ 54936 w 1291912"/>
                    <a:gd name="connsiteY1321" fmla="*/ 201635 h 1020248"/>
                    <a:gd name="connsiteX1322" fmla="*/ 63388 w 1291912"/>
                    <a:gd name="connsiteY1322" fmla="*/ 198013 h 1020248"/>
                    <a:gd name="connsiteX1323" fmla="*/ 47088 w 1291912"/>
                    <a:gd name="connsiteY1323" fmla="*/ 188957 h 1020248"/>
                    <a:gd name="connsiteX1324" fmla="*/ 48899 w 1291912"/>
                    <a:gd name="connsiteY1324" fmla="*/ 192580 h 1020248"/>
                    <a:gd name="connsiteX1325" fmla="*/ 51314 w 1291912"/>
                    <a:gd name="connsiteY1325" fmla="*/ 196202 h 1020248"/>
                    <a:gd name="connsiteX1326" fmla="*/ 48899 w 1291912"/>
                    <a:gd name="connsiteY1326" fmla="*/ 202842 h 1020248"/>
                    <a:gd name="connsiteX1327" fmla="*/ 43466 w 1291912"/>
                    <a:gd name="connsiteY1327" fmla="*/ 207672 h 1020248"/>
                    <a:gd name="connsiteX1328" fmla="*/ 39240 w 1291912"/>
                    <a:gd name="connsiteY1328" fmla="*/ 205861 h 1020248"/>
                    <a:gd name="connsiteX1329" fmla="*/ 37429 w 1291912"/>
                    <a:gd name="connsiteY1329" fmla="*/ 202842 h 1020248"/>
                    <a:gd name="connsiteX1330" fmla="*/ 32600 w 1291912"/>
                    <a:gd name="connsiteY1330" fmla="*/ 201031 h 1020248"/>
                    <a:gd name="connsiteX1331" fmla="*/ 31996 w 1291912"/>
                    <a:gd name="connsiteY1331" fmla="*/ 196805 h 1020248"/>
                    <a:gd name="connsiteX1332" fmla="*/ 38033 w 1291912"/>
                    <a:gd name="connsiteY1332" fmla="*/ 191372 h 1020248"/>
                    <a:gd name="connsiteX1333" fmla="*/ 34411 w 1291912"/>
                    <a:gd name="connsiteY1333" fmla="*/ 191372 h 1020248"/>
                    <a:gd name="connsiteX1334" fmla="*/ 33203 w 1291912"/>
                    <a:gd name="connsiteY1334" fmla="*/ 184731 h 1020248"/>
                    <a:gd name="connsiteX1335" fmla="*/ 36222 w 1291912"/>
                    <a:gd name="connsiteY1335" fmla="*/ 181109 h 1020248"/>
                    <a:gd name="connsiteX1336" fmla="*/ 41051 w 1291912"/>
                    <a:gd name="connsiteY1336" fmla="*/ 181109 h 1020248"/>
                    <a:gd name="connsiteX1337" fmla="*/ 47692 w 1291912"/>
                    <a:gd name="connsiteY1337" fmla="*/ 177487 h 1020248"/>
                    <a:gd name="connsiteX1338" fmla="*/ 49503 w 1291912"/>
                    <a:gd name="connsiteY1338" fmla="*/ 175072 h 1020248"/>
                    <a:gd name="connsiteX1339" fmla="*/ 53729 w 1291912"/>
                    <a:gd name="connsiteY1339" fmla="*/ 173865 h 1020248"/>
                    <a:gd name="connsiteX1340" fmla="*/ 54936 w 1291912"/>
                    <a:gd name="connsiteY1340" fmla="*/ 175072 h 1020248"/>
                    <a:gd name="connsiteX1341" fmla="*/ 53729 w 1291912"/>
                    <a:gd name="connsiteY1341" fmla="*/ 184128 h 1020248"/>
                    <a:gd name="connsiteX1342" fmla="*/ 54333 w 1291912"/>
                    <a:gd name="connsiteY1342" fmla="*/ 186543 h 1020248"/>
                    <a:gd name="connsiteX1343" fmla="*/ 52522 w 1291912"/>
                    <a:gd name="connsiteY1343" fmla="*/ 188957 h 1020248"/>
                    <a:gd name="connsiteX1344" fmla="*/ 48899 w 1291912"/>
                    <a:gd name="connsiteY1344" fmla="*/ 190165 h 1020248"/>
                    <a:gd name="connsiteX1345" fmla="*/ 47088 w 1291912"/>
                    <a:gd name="connsiteY1345" fmla="*/ 188957 h 1020248"/>
                    <a:gd name="connsiteX1346" fmla="*/ 12074 w 1291912"/>
                    <a:gd name="connsiteY1346" fmla="*/ 187146 h 1020248"/>
                    <a:gd name="connsiteX1347" fmla="*/ 13281 w 1291912"/>
                    <a:gd name="connsiteY1347" fmla="*/ 190768 h 1020248"/>
                    <a:gd name="connsiteX1348" fmla="*/ 9055 w 1291912"/>
                    <a:gd name="connsiteY1348" fmla="*/ 195598 h 1020248"/>
                    <a:gd name="connsiteX1349" fmla="*/ 5433 w 1291912"/>
                    <a:gd name="connsiteY1349" fmla="*/ 194391 h 1020248"/>
                    <a:gd name="connsiteX1350" fmla="*/ 6037 w 1291912"/>
                    <a:gd name="connsiteY1350" fmla="*/ 189561 h 1020248"/>
                    <a:gd name="connsiteX1351" fmla="*/ 12074 w 1291912"/>
                    <a:gd name="connsiteY1351" fmla="*/ 187146 h 1020248"/>
                    <a:gd name="connsiteX1352" fmla="*/ 71840 w 1291912"/>
                    <a:gd name="connsiteY1352" fmla="*/ 172054 h 1020248"/>
                    <a:gd name="connsiteX1353" fmla="*/ 79084 w 1291912"/>
                    <a:gd name="connsiteY1353" fmla="*/ 180506 h 1020248"/>
                    <a:gd name="connsiteX1354" fmla="*/ 74255 w 1291912"/>
                    <a:gd name="connsiteY1354" fmla="*/ 187750 h 1020248"/>
                    <a:gd name="connsiteX1355" fmla="*/ 71236 w 1291912"/>
                    <a:gd name="connsiteY1355" fmla="*/ 187750 h 1020248"/>
                    <a:gd name="connsiteX1356" fmla="*/ 68821 w 1291912"/>
                    <a:gd name="connsiteY1356" fmla="*/ 191976 h 1020248"/>
                    <a:gd name="connsiteX1357" fmla="*/ 62181 w 1291912"/>
                    <a:gd name="connsiteY1357" fmla="*/ 190165 h 1020248"/>
                    <a:gd name="connsiteX1358" fmla="*/ 61577 w 1291912"/>
                    <a:gd name="connsiteY1358" fmla="*/ 184731 h 1020248"/>
                    <a:gd name="connsiteX1359" fmla="*/ 67010 w 1291912"/>
                    <a:gd name="connsiteY1359" fmla="*/ 181713 h 1020248"/>
                    <a:gd name="connsiteX1360" fmla="*/ 71236 w 1291912"/>
                    <a:gd name="connsiteY1360" fmla="*/ 178091 h 1020248"/>
                    <a:gd name="connsiteX1361" fmla="*/ 69425 w 1291912"/>
                    <a:gd name="connsiteY1361" fmla="*/ 173261 h 1020248"/>
                    <a:gd name="connsiteX1362" fmla="*/ 71840 w 1291912"/>
                    <a:gd name="connsiteY1362" fmla="*/ 172054 h 1020248"/>
                    <a:gd name="connsiteX1363" fmla="*/ 53729 w 1291912"/>
                    <a:gd name="connsiteY1363" fmla="*/ 173865 h 1020248"/>
                    <a:gd name="connsiteX1364" fmla="*/ 49503 w 1291912"/>
                    <a:gd name="connsiteY1364" fmla="*/ 174469 h 1020248"/>
                    <a:gd name="connsiteX1365" fmla="*/ 53729 w 1291912"/>
                    <a:gd name="connsiteY1365" fmla="*/ 164206 h 1020248"/>
                    <a:gd name="connsiteX1366" fmla="*/ 56748 w 1291912"/>
                    <a:gd name="connsiteY1366" fmla="*/ 161791 h 1020248"/>
                    <a:gd name="connsiteX1367" fmla="*/ 60370 w 1291912"/>
                    <a:gd name="connsiteY1367" fmla="*/ 161791 h 1020248"/>
                    <a:gd name="connsiteX1368" fmla="*/ 64596 w 1291912"/>
                    <a:gd name="connsiteY1368" fmla="*/ 166017 h 1020248"/>
                    <a:gd name="connsiteX1369" fmla="*/ 63388 w 1291912"/>
                    <a:gd name="connsiteY1369" fmla="*/ 169035 h 1020248"/>
                    <a:gd name="connsiteX1370" fmla="*/ 67614 w 1291912"/>
                    <a:gd name="connsiteY1370" fmla="*/ 173261 h 1020248"/>
                    <a:gd name="connsiteX1371" fmla="*/ 68218 w 1291912"/>
                    <a:gd name="connsiteY1371" fmla="*/ 176883 h 1020248"/>
                    <a:gd name="connsiteX1372" fmla="*/ 61577 w 1291912"/>
                    <a:gd name="connsiteY1372" fmla="*/ 182920 h 1020248"/>
                    <a:gd name="connsiteX1373" fmla="*/ 58559 w 1291912"/>
                    <a:gd name="connsiteY1373" fmla="*/ 191372 h 1020248"/>
                    <a:gd name="connsiteX1374" fmla="*/ 53125 w 1291912"/>
                    <a:gd name="connsiteY1374" fmla="*/ 193787 h 1020248"/>
                    <a:gd name="connsiteX1375" fmla="*/ 50107 w 1291912"/>
                    <a:gd name="connsiteY1375" fmla="*/ 193183 h 1020248"/>
                    <a:gd name="connsiteX1376" fmla="*/ 54936 w 1291912"/>
                    <a:gd name="connsiteY1376" fmla="*/ 186543 h 1020248"/>
                    <a:gd name="connsiteX1377" fmla="*/ 54936 w 1291912"/>
                    <a:gd name="connsiteY1377" fmla="*/ 176280 h 1020248"/>
                    <a:gd name="connsiteX1378" fmla="*/ 56144 w 1291912"/>
                    <a:gd name="connsiteY1378" fmla="*/ 175072 h 1020248"/>
                    <a:gd name="connsiteX1379" fmla="*/ 53729 w 1291912"/>
                    <a:gd name="connsiteY1379" fmla="*/ 173865 h 1020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Lst>
                  <a:rect l="l" t="t" r="r" b="b"/>
                  <a:pathLst>
                    <a:path w="1291912" h="1020248">
                      <a:moveTo>
                        <a:pt x="552987" y="891661"/>
                      </a:moveTo>
                      <a:lnTo>
                        <a:pt x="546950" y="889246"/>
                      </a:lnTo>
                      <a:lnTo>
                        <a:pt x="549968" y="884416"/>
                      </a:lnTo>
                      <a:lnTo>
                        <a:pt x="552987" y="891661"/>
                      </a:lnTo>
                      <a:close/>
                      <a:moveTo>
                        <a:pt x="925468" y="795069"/>
                      </a:moveTo>
                      <a:lnTo>
                        <a:pt x="930901" y="797484"/>
                      </a:lnTo>
                      <a:lnTo>
                        <a:pt x="930901" y="799899"/>
                      </a:lnTo>
                      <a:lnTo>
                        <a:pt x="927883" y="809558"/>
                      </a:lnTo>
                      <a:lnTo>
                        <a:pt x="925468" y="806539"/>
                      </a:lnTo>
                      <a:lnTo>
                        <a:pt x="923053" y="796880"/>
                      </a:lnTo>
                      <a:lnTo>
                        <a:pt x="925468" y="795069"/>
                      </a:lnTo>
                      <a:close/>
                      <a:moveTo>
                        <a:pt x="935127" y="682178"/>
                      </a:moveTo>
                      <a:lnTo>
                        <a:pt x="939957" y="683989"/>
                      </a:lnTo>
                      <a:lnTo>
                        <a:pt x="939957" y="686404"/>
                      </a:lnTo>
                      <a:lnTo>
                        <a:pt x="934523" y="687007"/>
                      </a:lnTo>
                      <a:lnTo>
                        <a:pt x="935127" y="682178"/>
                      </a:lnTo>
                      <a:close/>
                      <a:moveTo>
                        <a:pt x="297019" y="505295"/>
                      </a:moveTo>
                      <a:lnTo>
                        <a:pt x="300038" y="507709"/>
                      </a:lnTo>
                      <a:lnTo>
                        <a:pt x="302452" y="511935"/>
                      </a:lnTo>
                      <a:lnTo>
                        <a:pt x="298830" y="517369"/>
                      </a:lnTo>
                      <a:lnTo>
                        <a:pt x="290378" y="513143"/>
                      </a:lnTo>
                      <a:lnTo>
                        <a:pt x="289775" y="508917"/>
                      </a:lnTo>
                      <a:lnTo>
                        <a:pt x="297019" y="505295"/>
                      </a:lnTo>
                      <a:close/>
                      <a:moveTo>
                        <a:pt x="229405" y="502276"/>
                      </a:moveTo>
                      <a:lnTo>
                        <a:pt x="234838" y="504691"/>
                      </a:lnTo>
                      <a:lnTo>
                        <a:pt x="233631" y="507709"/>
                      </a:lnTo>
                      <a:lnTo>
                        <a:pt x="227594" y="505295"/>
                      </a:lnTo>
                      <a:lnTo>
                        <a:pt x="229405" y="502276"/>
                      </a:lnTo>
                      <a:close/>
                      <a:moveTo>
                        <a:pt x="234235" y="490202"/>
                      </a:moveTo>
                      <a:lnTo>
                        <a:pt x="240875" y="491410"/>
                      </a:lnTo>
                      <a:lnTo>
                        <a:pt x="239064" y="495635"/>
                      </a:lnTo>
                      <a:lnTo>
                        <a:pt x="232423" y="492013"/>
                      </a:lnTo>
                      <a:lnTo>
                        <a:pt x="234235" y="490202"/>
                      </a:lnTo>
                      <a:close/>
                      <a:moveTo>
                        <a:pt x="356785" y="484769"/>
                      </a:moveTo>
                      <a:lnTo>
                        <a:pt x="359200" y="486580"/>
                      </a:lnTo>
                      <a:lnTo>
                        <a:pt x="362218" y="491410"/>
                      </a:lnTo>
                      <a:lnTo>
                        <a:pt x="362218" y="490202"/>
                      </a:lnTo>
                      <a:lnTo>
                        <a:pt x="373085" y="485976"/>
                      </a:lnTo>
                      <a:lnTo>
                        <a:pt x="377914" y="485976"/>
                      </a:lnTo>
                      <a:lnTo>
                        <a:pt x="382140" y="483561"/>
                      </a:lnTo>
                      <a:lnTo>
                        <a:pt x="392403" y="485976"/>
                      </a:lnTo>
                      <a:lnTo>
                        <a:pt x="402062" y="485976"/>
                      </a:lnTo>
                      <a:lnTo>
                        <a:pt x="408703" y="483561"/>
                      </a:lnTo>
                      <a:lnTo>
                        <a:pt x="412929" y="478128"/>
                      </a:lnTo>
                      <a:lnTo>
                        <a:pt x="414740" y="470280"/>
                      </a:lnTo>
                      <a:lnTo>
                        <a:pt x="418966" y="467262"/>
                      </a:lnTo>
                      <a:lnTo>
                        <a:pt x="424399" y="458810"/>
                      </a:lnTo>
                      <a:lnTo>
                        <a:pt x="422588" y="452773"/>
                      </a:lnTo>
                      <a:lnTo>
                        <a:pt x="426210" y="450358"/>
                      </a:lnTo>
                      <a:lnTo>
                        <a:pt x="426210" y="446132"/>
                      </a:lnTo>
                      <a:lnTo>
                        <a:pt x="429832" y="444321"/>
                      </a:lnTo>
                      <a:lnTo>
                        <a:pt x="435869" y="438888"/>
                      </a:lnTo>
                      <a:lnTo>
                        <a:pt x="437077" y="430436"/>
                      </a:lnTo>
                      <a:lnTo>
                        <a:pt x="440095" y="428625"/>
                      </a:lnTo>
                      <a:lnTo>
                        <a:pt x="446736" y="414136"/>
                      </a:lnTo>
                      <a:lnTo>
                        <a:pt x="451566" y="406892"/>
                      </a:lnTo>
                      <a:lnTo>
                        <a:pt x="457603" y="403270"/>
                      </a:lnTo>
                      <a:lnTo>
                        <a:pt x="460621" y="399648"/>
                      </a:lnTo>
                      <a:lnTo>
                        <a:pt x="462432" y="394818"/>
                      </a:lnTo>
                      <a:lnTo>
                        <a:pt x="467262" y="387574"/>
                      </a:lnTo>
                      <a:lnTo>
                        <a:pt x="470884" y="382140"/>
                      </a:lnTo>
                      <a:lnTo>
                        <a:pt x="475110" y="370670"/>
                      </a:lnTo>
                      <a:lnTo>
                        <a:pt x="470884" y="369463"/>
                      </a:lnTo>
                      <a:lnTo>
                        <a:pt x="464243" y="370670"/>
                      </a:lnTo>
                      <a:lnTo>
                        <a:pt x="455188" y="379122"/>
                      </a:lnTo>
                      <a:lnTo>
                        <a:pt x="454584" y="393007"/>
                      </a:lnTo>
                      <a:lnTo>
                        <a:pt x="452773" y="397233"/>
                      </a:lnTo>
                      <a:lnTo>
                        <a:pt x="446132" y="400251"/>
                      </a:lnTo>
                      <a:lnTo>
                        <a:pt x="440095" y="399044"/>
                      </a:lnTo>
                      <a:lnTo>
                        <a:pt x="436473" y="395422"/>
                      </a:lnTo>
                      <a:lnTo>
                        <a:pt x="432851" y="397233"/>
                      </a:lnTo>
                      <a:lnTo>
                        <a:pt x="425607" y="391196"/>
                      </a:lnTo>
                      <a:lnTo>
                        <a:pt x="421984" y="389385"/>
                      </a:lnTo>
                      <a:lnTo>
                        <a:pt x="420173" y="393611"/>
                      </a:lnTo>
                      <a:lnTo>
                        <a:pt x="416551" y="395422"/>
                      </a:lnTo>
                      <a:lnTo>
                        <a:pt x="409910" y="395422"/>
                      </a:lnTo>
                      <a:lnTo>
                        <a:pt x="402062" y="397837"/>
                      </a:lnTo>
                      <a:lnTo>
                        <a:pt x="400855" y="401459"/>
                      </a:lnTo>
                      <a:lnTo>
                        <a:pt x="395422" y="405081"/>
                      </a:lnTo>
                      <a:lnTo>
                        <a:pt x="371274" y="407496"/>
                      </a:lnTo>
                      <a:lnTo>
                        <a:pt x="363426" y="408703"/>
                      </a:lnTo>
                      <a:lnTo>
                        <a:pt x="353163" y="414740"/>
                      </a:lnTo>
                      <a:lnTo>
                        <a:pt x="345919" y="413533"/>
                      </a:lnTo>
                      <a:lnTo>
                        <a:pt x="335656" y="417759"/>
                      </a:lnTo>
                      <a:lnTo>
                        <a:pt x="332033" y="418362"/>
                      </a:lnTo>
                      <a:lnTo>
                        <a:pt x="322374" y="425003"/>
                      </a:lnTo>
                      <a:lnTo>
                        <a:pt x="321167" y="431040"/>
                      </a:lnTo>
                      <a:lnTo>
                        <a:pt x="314526" y="440095"/>
                      </a:lnTo>
                      <a:lnTo>
                        <a:pt x="313923" y="443114"/>
                      </a:lnTo>
                      <a:lnTo>
                        <a:pt x="306075" y="438888"/>
                      </a:lnTo>
                      <a:lnTo>
                        <a:pt x="295208" y="437077"/>
                      </a:lnTo>
                      <a:lnTo>
                        <a:pt x="290378" y="438284"/>
                      </a:lnTo>
                      <a:lnTo>
                        <a:pt x="284341" y="435869"/>
                      </a:lnTo>
                      <a:lnTo>
                        <a:pt x="281323" y="432851"/>
                      </a:lnTo>
                      <a:lnTo>
                        <a:pt x="275286" y="431644"/>
                      </a:lnTo>
                      <a:lnTo>
                        <a:pt x="265023" y="435266"/>
                      </a:lnTo>
                      <a:lnTo>
                        <a:pt x="259590" y="434058"/>
                      </a:lnTo>
                      <a:lnTo>
                        <a:pt x="251742" y="428625"/>
                      </a:lnTo>
                      <a:lnTo>
                        <a:pt x="242083" y="424399"/>
                      </a:lnTo>
                      <a:lnTo>
                        <a:pt x="239064" y="425003"/>
                      </a:lnTo>
                      <a:lnTo>
                        <a:pt x="233027" y="422588"/>
                      </a:lnTo>
                      <a:lnTo>
                        <a:pt x="222161" y="424399"/>
                      </a:lnTo>
                      <a:lnTo>
                        <a:pt x="213105" y="421381"/>
                      </a:lnTo>
                      <a:lnTo>
                        <a:pt x="208276" y="420777"/>
                      </a:lnTo>
                      <a:lnTo>
                        <a:pt x="201031" y="416551"/>
                      </a:lnTo>
                      <a:lnTo>
                        <a:pt x="193787" y="412929"/>
                      </a:lnTo>
                      <a:lnTo>
                        <a:pt x="187750" y="407496"/>
                      </a:lnTo>
                      <a:lnTo>
                        <a:pt x="176280" y="400251"/>
                      </a:lnTo>
                      <a:lnTo>
                        <a:pt x="164206" y="394214"/>
                      </a:lnTo>
                      <a:lnTo>
                        <a:pt x="149113" y="385159"/>
                      </a:lnTo>
                      <a:lnTo>
                        <a:pt x="128588" y="371274"/>
                      </a:lnTo>
                      <a:lnTo>
                        <a:pt x="117117" y="366444"/>
                      </a:lnTo>
                      <a:lnTo>
                        <a:pt x="112891" y="361615"/>
                      </a:lnTo>
                      <a:lnTo>
                        <a:pt x="105043" y="356181"/>
                      </a:lnTo>
                      <a:lnTo>
                        <a:pt x="97195" y="351352"/>
                      </a:lnTo>
                      <a:lnTo>
                        <a:pt x="90555" y="342900"/>
                      </a:lnTo>
                      <a:lnTo>
                        <a:pt x="82103" y="335052"/>
                      </a:lnTo>
                      <a:lnTo>
                        <a:pt x="87536" y="333844"/>
                      </a:lnTo>
                      <a:lnTo>
                        <a:pt x="85725" y="330222"/>
                      </a:lnTo>
                      <a:lnTo>
                        <a:pt x="92969" y="329619"/>
                      </a:lnTo>
                      <a:lnTo>
                        <a:pt x="97195" y="325996"/>
                      </a:lnTo>
                      <a:lnTo>
                        <a:pt x="92969" y="324789"/>
                      </a:lnTo>
                      <a:lnTo>
                        <a:pt x="91158" y="318149"/>
                      </a:lnTo>
                      <a:lnTo>
                        <a:pt x="97195" y="318752"/>
                      </a:lnTo>
                      <a:lnTo>
                        <a:pt x="92366" y="313923"/>
                      </a:lnTo>
                      <a:lnTo>
                        <a:pt x="92366" y="307886"/>
                      </a:lnTo>
                      <a:lnTo>
                        <a:pt x="84518" y="301849"/>
                      </a:lnTo>
                      <a:lnTo>
                        <a:pt x="80895" y="297623"/>
                      </a:lnTo>
                      <a:lnTo>
                        <a:pt x="77877" y="300038"/>
                      </a:lnTo>
                      <a:lnTo>
                        <a:pt x="76670" y="290982"/>
                      </a:lnTo>
                      <a:lnTo>
                        <a:pt x="71236" y="289775"/>
                      </a:lnTo>
                      <a:lnTo>
                        <a:pt x="70633" y="284341"/>
                      </a:lnTo>
                      <a:lnTo>
                        <a:pt x="65803" y="280719"/>
                      </a:lnTo>
                      <a:lnTo>
                        <a:pt x="63992" y="269249"/>
                      </a:lnTo>
                      <a:lnTo>
                        <a:pt x="62181" y="263816"/>
                      </a:lnTo>
                      <a:lnTo>
                        <a:pt x="63388" y="260193"/>
                      </a:lnTo>
                      <a:lnTo>
                        <a:pt x="61577" y="251138"/>
                      </a:lnTo>
                      <a:lnTo>
                        <a:pt x="62785" y="248723"/>
                      </a:lnTo>
                      <a:lnTo>
                        <a:pt x="62181" y="242082"/>
                      </a:lnTo>
                      <a:lnTo>
                        <a:pt x="64596" y="237253"/>
                      </a:lnTo>
                      <a:lnTo>
                        <a:pt x="67614" y="236045"/>
                      </a:lnTo>
                      <a:lnTo>
                        <a:pt x="70029" y="230008"/>
                      </a:lnTo>
                      <a:lnTo>
                        <a:pt x="73651" y="228197"/>
                      </a:lnTo>
                      <a:lnTo>
                        <a:pt x="76066" y="223368"/>
                      </a:lnTo>
                      <a:lnTo>
                        <a:pt x="83914" y="220349"/>
                      </a:lnTo>
                      <a:lnTo>
                        <a:pt x="85725" y="216727"/>
                      </a:lnTo>
                      <a:lnTo>
                        <a:pt x="91158" y="214313"/>
                      </a:lnTo>
                      <a:lnTo>
                        <a:pt x="95988" y="205861"/>
                      </a:lnTo>
                      <a:lnTo>
                        <a:pt x="102629" y="200428"/>
                      </a:lnTo>
                      <a:lnTo>
                        <a:pt x="109269" y="199220"/>
                      </a:lnTo>
                      <a:lnTo>
                        <a:pt x="112891" y="196805"/>
                      </a:lnTo>
                      <a:lnTo>
                        <a:pt x="111684" y="192580"/>
                      </a:lnTo>
                      <a:lnTo>
                        <a:pt x="99610" y="191372"/>
                      </a:lnTo>
                      <a:lnTo>
                        <a:pt x="94177" y="196805"/>
                      </a:lnTo>
                      <a:lnTo>
                        <a:pt x="84518" y="196202"/>
                      </a:lnTo>
                      <a:lnTo>
                        <a:pt x="79688" y="200428"/>
                      </a:lnTo>
                      <a:lnTo>
                        <a:pt x="77877" y="205257"/>
                      </a:lnTo>
                      <a:lnTo>
                        <a:pt x="71236" y="214916"/>
                      </a:lnTo>
                      <a:lnTo>
                        <a:pt x="67614" y="208879"/>
                      </a:lnTo>
                      <a:lnTo>
                        <a:pt x="69425" y="205257"/>
                      </a:lnTo>
                      <a:lnTo>
                        <a:pt x="68821" y="201031"/>
                      </a:lnTo>
                      <a:lnTo>
                        <a:pt x="74858" y="196202"/>
                      </a:lnTo>
                      <a:lnTo>
                        <a:pt x="79084" y="187146"/>
                      </a:lnTo>
                      <a:lnTo>
                        <a:pt x="87536" y="181713"/>
                      </a:lnTo>
                      <a:lnTo>
                        <a:pt x="88743" y="178694"/>
                      </a:lnTo>
                      <a:lnTo>
                        <a:pt x="86932" y="175072"/>
                      </a:lnTo>
                      <a:lnTo>
                        <a:pt x="82103" y="173261"/>
                      </a:lnTo>
                      <a:lnTo>
                        <a:pt x="82707" y="177487"/>
                      </a:lnTo>
                      <a:lnTo>
                        <a:pt x="76670" y="176883"/>
                      </a:lnTo>
                      <a:lnTo>
                        <a:pt x="71840" y="172054"/>
                      </a:lnTo>
                      <a:lnTo>
                        <a:pt x="74255" y="168432"/>
                      </a:lnTo>
                      <a:lnTo>
                        <a:pt x="115910" y="168432"/>
                      </a:lnTo>
                      <a:lnTo>
                        <a:pt x="115910" y="159980"/>
                      </a:lnTo>
                      <a:lnTo>
                        <a:pt x="117721" y="152132"/>
                      </a:lnTo>
                      <a:lnTo>
                        <a:pt x="118325" y="137643"/>
                      </a:lnTo>
                      <a:lnTo>
                        <a:pt x="118928" y="95988"/>
                      </a:lnTo>
                      <a:lnTo>
                        <a:pt x="120739" y="93573"/>
                      </a:lnTo>
                      <a:lnTo>
                        <a:pt x="131606" y="90555"/>
                      </a:lnTo>
                      <a:lnTo>
                        <a:pt x="134624" y="108665"/>
                      </a:lnTo>
                      <a:lnTo>
                        <a:pt x="135832" y="112891"/>
                      </a:lnTo>
                      <a:lnTo>
                        <a:pt x="142473" y="115306"/>
                      </a:lnTo>
                      <a:lnTo>
                        <a:pt x="146095" y="115306"/>
                      </a:lnTo>
                      <a:lnTo>
                        <a:pt x="151528" y="101421"/>
                      </a:lnTo>
                      <a:lnTo>
                        <a:pt x="156358" y="97195"/>
                      </a:lnTo>
                      <a:lnTo>
                        <a:pt x="161187" y="106251"/>
                      </a:lnTo>
                      <a:lnTo>
                        <a:pt x="164809" y="108665"/>
                      </a:lnTo>
                      <a:lnTo>
                        <a:pt x="170243" y="108062"/>
                      </a:lnTo>
                      <a:lnTo>
                        <a:pt x="184731" y="99610"/>
                      </a:lnTo>
                      <a:lnTo>
                        <a:pt x="191976" y="100818"/>
                      </a:lnTo>
                      <a:lnTo>
                        <a:pt x="195598" y="102629"/>
                      </a:lnTo>
                      <a:lnTo>
                        <a:pt x="208276" y="106854"/>
                      </a:lnTo>
                      <a:lnTo>
                        <a:pt x="214313" y="103232"/>
                      </a:lnTo>
                      <a:lnTo>
                        <a:pt x="223972" y="99006"/>
                      </a:lnTo>
                      <a:lnTo>
                        <a:pt x="231216" y="97195"/>
                      </a:lnTo>
                      <a:lnTo>
                        <a:pt x="242083" y="99610"/>
                      </a:lnTo>
                      <a:lnTo>
                        <a:pt x="246308" y="99610"/>
                      </a:lnTo>
                      <a:lnTo>
                        <a:pt x="252345" y="97799"/>
                      </a:lnTo>
                      <a:lnTo>
                        <a:pt x="256571" y="98403"/>
                      </a:lnTo>
                      <a:lnTo>
                        <a:pt x="270456" y="102629"/>
                      </a:lnTo>
                      <a:lnTo>
                        <a:pt x="286756" y="99006"/>
                      </a:lnTo>
                      <a:lnTo>
                        <a:pt x="290982" y="97195"/>
                      </a:lnTo>
                      <a:lnTo>
                        <a:pt x="294604" y="101421"/>
                      </a:lnTo>
                      <a:lnTo>
                        <a:pt x="307886" y="113495"/>
                      </a:lnTo>
                      <a:lnTo>
                        <a:pt x="316941" y="120136"/>
                      </a:lnTo>
                      <a:lnTo>
                        <a:pt x="337467" y="121947"/>
                      </a:lnTo>
                      <a:lnTo>
                        <a:pt x="355578" y="123154"/>
                      </a:lnTo>
                      <a:lnTo>
                        <a:pt x="368859" y="122550"/>
                      </a:lnTo>
                      <a:lnTo>
                        <a:pt x="378518" y="121947"/>
                      </a:lnTo>
                      <a:lnTo>
                        <a:pt x="383348" y="118325"/>
                      </a:lnTo>
                      <a:lnTo>
                        <a:pt x="389385" y="111080"/>
                      </a:lnTo>
                      <a:lnTo>
                        <a:pt x="396025" y="95384"/>
                      </a:lnTo>
                      <a:lnTo>
                        <a:pt x="404477" y="91762"/>
                      </a:lnTo>
                      <a:lnTo>
                        <a:pt x="422588" y="88140"/>
                      </a:lnTo>
                      <a:lnTo>
                        <a:pt x="434662" y="83310"/>
                      </a:lnTo>
                      <a:lnTo>
                        <a:pt x="440699" y="81499"/>
                      </a:lnTo>
                      <a:lnTo>
                        <a:pt x="449754" y="80292"/>
                      </a:lnTo>
                      <a:lnTo>
                        <a:pt x="468469" y="72444"/>
                      </a:lnTo>
                      <a:lnTo>
                        <a:pt x="473299" y="71840"/>
                      </a:lnTo>
                      <a:lnTo>
                        <a:pt x="482958" y="67010"/>
                      </a:lnTo>
                      <a:lnTo>
                        <a:pt x="492013" y="65199"/>
                      </a:lnTo>
                      <a:lnTo>
                        <a:pt x="499861" y="69425"/>
                      </a:lnTo>
                      <a:lnTo>
                        <a:pt x="495635" y="79084"/>
                      </a:lnTo>
                      <a:lnTo>
                        <a:pt x="491410" y="82103"/>
                      </a:lnTo>
                      <a:lnTo>
                        <a:pt x="493221" y="88744"/>
                      </a:lnTo>
                      <a:lnTo>
                        <a:pt x="492013" y="92366"/>
                      </a:lnTo>
                      <a:lnTo>
                        <a:pt x="494428" y="95384"/>
                      </a:lnTo>
                      <a:lnTo>
                        <a:pt x="491410" y="100214"/>
                      </a:lnTo>
                      <a:lnTo>
                        <a:pt x="492013" y="103232"/>
                      </a:lnTo>
                      <a:lnTo>
                        <a:pt x="495635" y="105647"/>
                      </a:lnTo>
                      <a:lnTo>
                        <a:pt x="499861" y="105647"/>
                      </a:lnTo>
                      <a:lnTo>
                        <a:pt x="508917" y="109269"/>
                      </a:lnTo>
                      <a:lnTo>
                        <a:pt x="523405" y="109873"/>
                      </a:lnTo>
                      <a:lnTo>
                        <a:pt x="539705" y="109873"/>
                      </a:lnTo>
                      <a:lnTo>
                        <a:pt x="546346" y="106854"/>
                      </a:lnTo>
                      <a:lnTo>
                        <a:pt x="549364" y="103836"/>
                      </a:lnTo>
                      <a:lnTo>
                        <a:pt x="557816" y="102025"/>
                      </a:lnTo>
                      <a:lnTo>
                        <a:pt x="556005" y="94177"/>
                      </a:lnTo>
                      <a:lnTo>
                        <a:pt x="564457" y="88140"/>
                      </a:lnTo>
                      <a:lnTo>
                        <a:pt x="571701" y="81499"/>
                      </a:lnTo>
                      <a:lnTo>
                        <a:pt x="579549" y="78481"/>
                      </a:lnTo>
                      <a:lnTo>
                        <a:pt x="582568" y="81499"/>
                      </a:lnTo>
                      <a:lnTo>
                        <a:pt x="589208" y="81499"/>
                      </a:lnTo>
                      <a:lnTo>
                        <a:pt x="593434" y="79084"/>
                      </a:lnTo>
                      <a:lnTo>
                        <a:pt x="597660" y="73651"/>
                      </a:lnTo>
                      <a:lnTo>
                        <a:pt x="604905" y="71840"/>
                      </a:lnTo>
                      <a:lnTo>
                        <a:pt x="607319" y="66407"/>
                      </a:lnTo>
                      <a:lnTo>
                        <a:pt x="604301" y="62784"/>
                      </a:lnTo>
                      <a:lnTo>
                        <a:pt x="598868" y="61577"/>
                      </a:lnTo>
                      <a:lnTo>
                        <a:pt x="585586" y="62181"/>
                      </a:lnTo>
                      <a:lnTo>
                        <a:pt x="581360" y="59766"/>
                      </a:lnTo>
                      <a:lnTo>
                        <a:pt x="581360" y="54333"/>
                      </a:lnTo>
                      <a:lnTo>
                        <a:pt x="582568" y="41655"/>
                      </a:lnTo>
                      <a:lnTo>
                        <a:pt x="579549" y="37429"/>
                      </a:lnTo>
                      <a:lnTo>
                        <a:pt x="580153" y="31996"/>
                      </a:lnTo>
                      <a:lnTo>
                        <a:pt x="579549" y="24148"/>
                      </a:lnTo>
                      <a:lnTo>
                        <a:pt x="583775" y="17507"/>
                      </a:lnTo>
                      <a:lnTo>
                        <a:pt x="589208" y="15696"/>
                      </a:lnTo>
                      <a:lnTo>
                        <a:pt x="597057" y="10263"/>
                      </a:lnTo>
                      <a:lnTo>
                        <a:pt x="601886" y="6037"/>
                      </a:lnTo>
                      <a:lnTo>
                        <a:pt x="604301" y="8452"/>
                      </a:lnTo>
                      <a:lnTo>
                        <a:pt x="615167" y="13281"/>
                      </a:lnTo>
                      <a:lnTo>
                        <a:pt x="622412" y="15092"/>
                      </a:lnTo>
                      <a:lnTo>
                        <a:pt x="629656" y="18111"/>
                      </a:lnTo>
                      <a:lnTo>
                        <a:pt x="633278" y="19318"/>
                      </a:lnTo>
                      <a:lnTo>
                        <a:pt x="641126" y="22337"/>
                      </a:lnTo>
                      <a:lnTo>
                        <a:pt x="647163" y="14489"/>
                      </a:lnTo>
                      <a:lnTo>
                        <a:pt x="653200" y="12074"/>
                      </a:lnTo>
                      <a:lnTo>
                        <a:pt x="655615" y="18111"/>
                      </a:lnTo>
                      <a:lnTo>
                        <a:pt x="658030" y="19318"/>
                      </a:lnTo>
                      <a:lnTo>
                        <a:pt x="666482" y="15696"/>
                      </a:lnTo>
                      <a:lnTo>
                        <a:pt x="672519" y="10866"/>
                      </a:lnTo>
                      <a:lnTo>
                        <a:pt x="677348" y="9659"/>
                      </a:lnTo>
                      <a:lnTo>
                        <a:pt x="680367" y="7244"/>
                      </a:lnTo>
                      <a:lnTo>
                        <a:pt x="690630" y="6037"/>
                      </a:lnTo>
                      <a:lnTo>
                        <a:pt x="693648" y="8452"/>
                      </a:lnTo>
                      <a:lnTo>
                        <a:pt x="699685" y="6641"/>
                      </a:lnTo>
                      <a:lnTo>
                        <a:pt x="702704" y="9659"/>
                      </a:lnTo>
                      <a:lnTo>
                        <a:pt x="706929" y="8452"/>
                      </a:lnTo>
                      <a:lnTo>
                        <a:pt x="712966" y="12074"/>
                      </a:lnTo>
                      <a:lnTo>
                        <a:pt x="715985" y="16903"/>
                      </a:lnTo>
                      <a:lnTo>
                        <a:pt x="727455" y="12074"/>
                      </a:lnTo>
                      <a:lnTo>
                        <a:pt x="733492" y="12074"/>
                      </a:lnTo>
                      <a:lnTo>
                        <a:pt x="741340" y="8452"/>
                      </a:lnTo>
                      <a:lnTo>
                        <a:pt x="747377" y="10263"/>
                      </a:lnTo>
                      <a:lnTo>
                        <a:pt x="747981" y="13885"/>
                      </a:lnTo>
                      <a:lnTo>
                        <a:pt x="746773" y="19318"/>
                      </a:lnTo>
                      <a:lnTo>
                        <a:pt x="754018" y="21129"/>
                      </a:lnTo>
                      <a:lnTo>
                        <a:pt x="758847" y="18715"/>
                      </a:lnTo>
                      <a:lnTo>
                        <a:pt x="757640" y="13281"/>
                      </a:lnTo>
                      <a:lnTo>
                        <a:pt x="759451" y="7848"/>
                      </a:lnTo>
                      <a:lnTo>
                        <a:pt x="763677" y="9055"/>
                      </a:lnTo>
                      <a:lnTo>
                        <a:pt x="767903" y="8452"/>
                      </a:lnTo>
                      <a:lnTo>
                        <a:pt x="770318" y="10263"/>
                      </a:lnTo>
                      <a:lnTo>
                        <a:pt x="769110" y="13885"/>
                      </a:lnTo>
                      <a:lnTo>
                        <a:pt x="772129" y="18111"/>
                      </a:lnTo>
                      <a:lnTo>
                        <a:pt x="779373" y="15696"/>
                      </a:lnTo>
                      <a:lnTo>
                        <a:pt x="784806" y="11470"/>
                      </a:lnTo>
                      <a:lnTo>
                        <a:pt x="784806" y="6641"/>
                      </a:lnTo>
                      <a:lnTo>
                        <a:pt x="794466" y="2415"/>
                      </a:lnTo>
                      <a:lnTo>
                        <a:pt x="796880" y="0"/>
                      </a:lnTo>
                      <a:lnTo>
                        <a:pt x="803521" y="2415"/>
                      </a:lnTo>
                      <a:lnTo>
                        <a:pt x="804728" y="7244"/>
                      </a:lnTo>
                      <a:lnTo>
                        <a:pt x="803521" y="12074"/>
                      </a:lnTo>
                      <a:lnTo>
                        <a:pt x="810162" y="16903"/>
                      </a:lnTo>
                      <a:lnTo>
                        <a:pt x="816802" y="16300"/>
                      </a:lnTo>
                      <a:lnTo>
                        <a:pt x="819217" y="20526"/>
                      </a:lnTo>
                      <a:lnTo>
                        <a:pt x="824047" y="22337"/>
                      </a:lnTo>
                      <a:lnTo>
                        <a:pt x="830687" y="19922"/>
                      </a:lnTo>
                      <a:lnTo>
                        <a:pt x="833102" y="16903"/>
                      </a:lnTo>
                      <a:lnTo>
                        <a:pt x="837328" y="19318"/>
                      </a:lnTo>
                      <a:lnTo>
                        <a:pt x="842761" y="19318"/>
                      </a:lnTo>
                      <a:lnTo>
                        <a:pt x="850609" y="22337"/>
                      </a:lnTo>
                      <a:lnTo>
                        <a:pt x="856043" y="19318"/>
                      </a:lnTo>
                      <a:lnTo>
                        <a:pt x="859061" y="19922"/>
                      </a:lnTo>
                      <a:lnTo>
                        <a:pt x="856646" y="25959"/>
                      </a:lnTo>
                      <a:lnTo>
                        <a:pt x="850609" y="27770"/>
                      </a:lnTo>
                      <a:lnTo>
                        <a:pt x="847591" y="24148"/>
                      </a:lnTo>
                      <a:lnTo>
                        <a:pt x="842761" y="24148"/>
                      </a:lnTo>
                      <a:lnTo>
                        <a:pt x="837328" y="28977"/>
                      </a:lnTo>
                      <a:lnTo>
                        <a:pt x="842158" y="35618"/>
                      </a:lnTo>
                      <a:lnTo>
                        <a:pt x="845780" y="33807"/>
                      </a:lnTo>
                      <a:lnTo>
                        <a:pt x="846987" y="38033"/>
                      </a:lnTo>
                      <a:lnTo>
                        <a:pt x="854232" y="37429"/>
                      </a:lnTo>
                      <a:lnTo>
                        <a:pt x="854835" y="34411"/>
                      </a:lnTo>
                      <a:lnTo>
                        <a:pt x="859665" y="35014"/>
                      </a:lnTo>
                      <a:lnTo>
                        <a:pt x="865702" y="46485"/>
                      </a:lnTo>
                      <a:lnTo>
                        <a:pt x="872946" y="45277"/>
                      </a:lnTo>
                      <a:lnTo>
                        <a:pt x="877172" y="45881"/>
                      </a:lnTo>
                      <a:lnTo>
                        <a:pt x="878379" y="48296"/>
                      </a:lnTo>
                      <a:lnTo>
                        <a:pt x="875965" y="56144"/>
                      </a:lnTo>
                      <a:lnTo>
                        <a:pt x="880191" y="60973"/>
                      </a:lnTo>
                      <a:lnTo>
                        <a:pt x="881398" y="68218"/>
                      </a:lnTo>
                      <a:lnTo>
                        <a:pt x="886228" y="68218"/>
                      </a:lnTo>
                      <a:lnTo>
                        <a:pt x="891057" y="65199"/>
                      </a:lnTo>
                      <a:lnTo>
                        <a:pt x="889246" y="57955"/>
                      </a:lnTo>
                      <a:lnTo>
                        <a:pt x="897698" y="45881"/>
                      </a:lnTo>
                      <a:lnTo>
                        <a:pt x="904338" y="49503"/>
                      </a:lnTo>
                      <a:lnTo>
                        <a:pt x="907357" y="53125"/>
                      </a:lnTo>
                      <a:lnTo>
                        <a:pt x="921846" y="56748"/>
                      </a:lnTo>
                      <a:lnTo>
                        <a:pt x="928486" y="56144"/>
                      </a:lnTo>
                      <a:lnTo>
                        <a:pt x="929090" y="65199"/>
                      </a:lnTo>
                      <a:lnTo>
                        <a:pt x="931505" y="71236"/>
                      </a:lnTo>
                      <a:lnTo>
                        <a:pt x="936938" y="78481"/>
                      </a:lnTo>
                      <a:lnTo>
                        <a:pt x="953842" y="79084"/>
                      </a:lnTo>
                      <a:lnTo>
                        <a:pt x="956860" y="77273"/>
                      </a:lnTo>
                      <a:lnTo>
                        <a:pt x="964708" y="77273"/>
                      </a:lnTo>
                      <a:lnTo>
                        <a:pt x="971349" y="80292"/>
                      </a:lnTo>
                      <a:lnTo>
                        <a:pt x="976178" y="86329"/>
                      </a:lnTo>
                      <a:lnTo>
                        <a:pt x="987649" y="79084"/>
                      </a:lnTo>
                      <a:lnTo>
                        <a:pt x="989460" y="75462"/>
                      </a:lnTo>
                      <a:lnTo>
                        <a:pt x="984630" y="71236"/>
                      </a:lnTo>
                      <a:lnTo>
                        <a:pt x="990063" y="64596"/>
                      </a:lnTo>
                      <a:lnTo>
                        <a:pt x="988252" y="57955"/>
                      </a:lnTo>
                      <a:lnTo>
                        <a:pt x="994893" y="50711"/>
                      </a:lnTo>
                      <a:lnTo>
                        <a:pt x="996704" y="54936"/>
                      </a:lnTo>
                      <a:lnTo>
                        <a:pt x="1002741" y="54936"/>
                      </a:lnTo>
                      <a:lnTo>
                        <a:pt x="1011193" y="48296"/>
                      </a:lnTo>
                      <a:lnTo>
                        <a:pt x="1014211" y="56748"/>
                      </a:lnTo>
                      <a:lnTo>
                        <a:pt x="1014211" y="65199"/>
                      </a:lnTo>
                      <a:lnTo>
                        <a:pt x="1009382" y="70633"/>
                      </a:lnTo>
                      <a:lnTo>
                        <a:pt x="1014815" y="72444"/>
                      </a:lnTo>
                      <a:lnTo>
                        <a:pt x="1018437" y="76670"/>
                      </a:lnTo>
                      <a:lnTo>
                        <a:pt x="1025682" y="80292"/>
                      </a:lnTo>
                      <a:lnTo>
                        <a:pt x="1029304" y="80895"/>
                      </a:lnTo>
                      <a:lnTo>
                        <a:pt x="1035341" y="74858"/>
                      </a:lnTo>
                      <a:lnTo>
                        <a:pt x="1039567" y="77273"/>
                      </a:lnTo>
                      <a:lnTo>
                        <a:pt x="1036548" y="80895"/>
                      </a:lnTo>
                      <a:lnTo>
                        <a:pt x="1035341" y="84518"/>
                      </a:lnTo>
                      <a:lnTo>
                        <a:pt x="1030511" y="84518"/>
                      </a:lnTo>
                      <a:lnTo>
                        <a:pt x="1029907" y="89951"/>
                      </a:lnTo>
                      <a:lnTo>
                        <a:pt x="1027493" y="91762"/>
                      </a:lnTo>
                      <a:lnTo>
                        <a:pt x="1022059" y="90555"/>
                      </a:lnTo>
                      <a:lnTo>
                        <a:pt x="1020852" y="96592"/>
                      </a:lnTo>
                      <a:lnTo>
                        <a:pt x="1016022" y="100818"/>
                      </a:lnTo>
                      <a:lnTo>
                        <a:pt x="1011193" y="109873"/>
                      </a:lnTo>
                      <a:lnTo>
                        <a:pt x="1009382" y="118325"/>
                      </a:lnTo>
                      <a:lnTo>
                        <a:pt x="1016022" y="125569"/>
                      </a:lnTo>
                      <a:lnTo>
                        <a:pt x="1017230" y="127984"/>
                      </a:lnTo>
                      <a:lnTo>
                        <a:pt x="1022663" y="132210"/>
                      </a:lnTo>
                      <a:lnTo>
                        <a:pt x="1027493" y="134624"/>
                      </a:lnTo>
                      <a:lnTo>
                        <a:pt x="1033530" y="135228"/>
                      </a:lnTo>
                      <a:lnTo>
                        <a:pt x="1038359" y="137643"/>
                      </a:lnTo>
                      <a:lnTo>
                        <a:pt x="1033530" y="149717"/>
                      </a:lnTo>
                      <a:lnTo>
                        <a:pt x="1044396" y="157565"/>
                      </a:lnTo>
                      <a:lnTo>
                        <a:pt x="1048622" y="153339"/>
                      </a:lnTo>
                      <a:lnTo>
                        <a:pt x="1052244" y="153943"/>
                      </a:lnTo>
                      <a:lnTo>
                        <a:pt x="1055263" y="148509"/>
                      </a:lnTo>
                      <a:lnTo>
                        <a:pt x="1059489" y="146095"/>
                      </a:lnTo>
                      <a:lnTo>
                        <a:pt x="1061300" y="141265"/>
                      </a:lnTo>
                      <a:lnTo>
                        <a:pt x="1061300" y="134021"/>
                      </a:lnTo>
                      <a:lnTo>
                        <a:pt x="1067940" y="134624"/>
                      </a:lnTo>
                      <a:lnTo>
                        <a:pt x="1067940" y="140058"/>
                      </a:lnTo>
                      <a:lnTo>
                        <a:pt x="1073977" y="143680"/>
                      </a:lnTo>
                      <a:lnTo>
                        <a:pt x="1077600" y="148509"/>
                      </a:lnTo>
                      <a:lnTo>
                        <a:pt x="1076392" y="160583"/>
                      </a:lnTo>
                      <a:lnTo>
                        <a:pt x="1078807" y="165413"/>
                      </a:lnTo>
                      <a:lnTo>
                        <a:pt x="1078807" y="177487"/>
                      </a:lnTo>
                      <a:lnTo>
                        <a:pt x="1073977" y="178694"/>
                      </a:lnTo>
                      <a:lnTo>
                        <a:pt x="1071563" y="181109"/>
                      </a:lnTo>
                      <a:lnTo>
                        <a:pt x="1066129" y="192580"/>
                      </a:lnTo>
                      <a:lnTo>
                        <a:pt x="1069148" y="199824"/>
                      </a:lnTo>
                      <a:lnTo>
                        <a:pt x="1066733" y="207068"/>
                      </a:lnTo>
                      <a:lnTo>
                        <a:pt x="1069751" y="212501"/>
                      </a:lnTo>
                      <a:lnTo>
                        <a:pt x="1074581" y="208879"/>
                      </a:lnTo>
                      <a:lnTo>
                        <a:pt x="1078807" y="209483"/>
                      </a:lnTo>
                      <a:lnTo>
                        <a:pt x="1081222" y="213709"/>
                      </a:lnTo>
                      <a:lnTo>
                        <a:pt x="1084844" y="215520"/>
                      </a:lnTo>
                      <a:lnTo>
                        <a:pt x="1086051" y="218538"/>
                      </a:lnTo>
                      <a:lnTo>
                        <a:pt x="1089674" y="221557"/>
                      </a:lnTo>
                      <a:lnTo>
                        <a:pt x="1090881" y="225783"/>
                      </a:lnTo>
                      <a:lnTo>
                        <a:pt x="1095710" y="226386"/>
                      </a:lnTo>
                      <a:lnTo>
                        <a:pt x="1097522" y="228197"/>
                      </a:lnTo>
                      <a:lnTo>
                        <a:pt x="1095107" y="242082"/>
                      </a:lnTo>
                      <a:lnTo>
                        <a:pt x="1098125" y="246308"/>
                      </a:lnTo>
                      <a:lnTo>
                        <a:pt x="1100540" y="247516"/>
                      </a:lnTo>
                      <a:lnTo>
                        <a:pt x="1105973" y="243290"/>
                      </a:lnTo>
                      <a:lnTo>
                        <a:pt x="1109596" y="237857"/>
                      </a:lnTo>
                      <a:lnTo>
                        <a:pt x="1119858" y="238460"/>
                      </a:lnTo>
                      <a:lnTo>
                        <a:pt x="1124688" y="243290"/>
                      </a:lnTo>
                      <a:lnTo>
                        <a:pt x="1128310" y="245101"/>
                      </a:lnTo>
                      <a:lnTo>
                        <a:pt x="1125895" y="248119"/>
                      </a:lnTo>
                      <a:lnTo>
                        <a:pt x="1125895" y="255364"/>
                      </a:lnTo>
                      <a:lnTo>
                        <a:pt x="1123481" y="258382"/>
                      </a:lnTo>
                      <a:lnTo>
                        <a:pt x="1123481" y="265627"/>
                      </a:lnTo>
                      <a:lnTo>
                        <a:pt x="1127706" y="269249"/>
                      </a:lnTo>
                      <a:lnTo>
                        <a:pt x="1124688" y="273475"/>
                      </a:lnTo>
                      <a:lnTo>
                        <a:pt x="1122273" y="283134"/>
                      </a:lnTo>
                      <a:lnTo>
                        <a:pt x="1126499" y="286153"/>
                      </a:lnTo>
                      <a:lnTo>
                        <a:pt x="1130121" y="283134"/>
                      </a:lnTo>
                      <a:lnTo>
                        <a:pt x="1137366" y="282530"/>
                      </a:lnTo>
                      <a:lnTo>
                        <a:pt x="1139780" y="290982"/>
                      </a:lnTo>
                      <a:lnTo>
                        <a:pt x="1143403" y="289171"/>
                      </a:lnTo>
                      <a:lnTo>
                        <a:pt x="1149439" y="281927"/>
                      </a:lnTo>
                      <a:lnTo>
                        <a:pt x="1153665" y="287360"/>
                      </a:lnTo>
                      <a:lnTo>
                        <a:pt x="1162721" y="284341"/>
                      </a:lnTo>
                      <a:lnTo>
                        <a:pt x="1170569" y="295812"/>
                      </a:lnTo>
                      <a:lnTo>
                        <a:pt x="1173587" y="302452"/>
                      </a:lnTo>
                      <a:lnTo>
                        <a:pt x="1176606" y="305471"/>
                      </a:lnTo>
                      <a:lnTo>
                        <a:pt x="1176606" y="309093"/>
                      </a:lnTo>
                      <a:lnTo>
                        <a:pt x="1185661" y="308489"/>
                      </a:lnTo>
                      <a:lnTo>
                        <a:pt x="1187472" y="301245"/>
                      </a:lnTo>
                      <a:lnTo>
                        <a:pt x="1190491" y="299434"/>
                      </a:lnTo>
                      <a:lnTo>
                        <a:pt x="1194717" y="304264"/>
                      </a:lnTo>
                      <a:lnTo>
                        <a:pt x="1196528" y="309093"/>
                      </a:lnTo>
                      <a:lnTo>
                        <a:pt x="1204980" y="310301"/>
                      </a:lnTo>
                      <a:lnTo>
                        <a:pt x="1204376" y="313319"/>
                      </a:lnTo>
                      <a:lnTo>
                        <a:pt x="1207998" y="318752"/>
                      </a:lnTo>
                      <a:lnTo>
                        <a:pt x="1216450" y="318149"/>
                      </a:lnTo>
                      <a:lnTo>
                        <a:pt x="1220072" y="318752"/>
                      </a:lnTo>
                      <a:lnTo>
                        <a:pt x="1221883" y="322374"/>
                      </a:lnTo>
                      <a:lnTo>
                        <a:pt x="1226109" y="325393"/>
                      </a:lnTo>
                      <a:lnTo>
                        <a:pt x="1226713" y="333844"/>
                      </a:lnTo>
                      <a:lnTo>
                        <a:pt x="1223694" y="338674"/>
                      </a:lnTo>
                      <a:lnTo>
                        <a:pt x="1224298" y="344711"/>
                      </a:lnTo>
                      <a:lnTo>
                        <a:pt x="1228524" y="345315"/>
                      </a:lnTo>
                      <a:lnTo>
                        <a:pt x="1230335" y="349541"/>
                      </a:lnTo>
                      <a:lnTo>
                        <a:pt x="1235768" y="350748"/>
                      </a:lnTo>
                      <a:lnTo>
                        <a:pt x="1236976" y="346522"/>
                      </a:lnTo>
                      <a:lnTo>
                        <a:pt x="1241202" y="341692"/>
                      </a:lnTo>
                      <a:lnTo>
                        <a:pt x="1249653" y="344711"/>
                      </a:lnTo>
                      <a:lnTo>
                        <a:pt x="1254483" y="349541"/>
                      </a:lnTo>
                      <a:lnTo>
                        <a:pt x="1257501" y="357992"/>
                      </a:lnTo>
                      <a:lnTo>
                        <a:pt x="1256294" y="363426"/>
                      </a:lnTo>
                      <a:lnTo>
                        <a:pt x="1262331" y="367048"/>
                      </a:lnTo>
                      <a:lnTo>
                        <a:pt x="1264746" y="370670"/>
                      </a:lnTo>
                      <a:lnTo>
                        <a:pt x="1265953" y="375500"/>
                      </a:lnTo>
                      <a:lnTo>
                        <a:pt x="1270179" y="377914"/>
                      </a:lnTo>
                      <a:lnTo>
                        <a:pt x="1271386" y="383951"/>
                      </a:lnTo>
                      <a:lnTo>
                        <a:pt x="1274405" y="389385"/>
                      </a:lnTo>
                      <a:lnTo>
                        <a:pt x="1268368" y="392403"/>
                      </a:lnTo>
                      <a:lnTo>
                        <a:pt x="1276820" y="405081"/>
                      </a:lnTo>
                      <a:lnTo>
                        <a:pt x="1281046" y="407496"/>
                      </a:lnTo>
                      <a:lnTo>
                        <a:pt x="1284668" y="403270"/>
                      </a:lnTo>
                      <a:lnTo>
                        <a:pt x="1291308" y="402062"/>
                      </a:lnTo>
                      <a:lnTo>
                        <a:pt x="1293723" y="403874"/>
                      </a:lnTo>
                      <a:lnTo>
                        <a:pt x="1296742" y="416551"/>
                      </a:lnTo>
                      <a:lnTo>
                        <a:pt x="1294327" y="426210"/>
                      </a:lnTo>
                      <a:lnTo>
                        <a:pt x="1288894" y="427418"/>
                      </a:lnTo>
                      <a:lnTo>
                        <a:pt x="1288894" y="432851"/>
                      </a:lnTo>
                      <a:lnTo>
                        <a:pt x="1281046" y="444925"/>
                      </a:lnTo>
                      <a:lnTo>
                        <a:pt x="1279838" y="453376"/>
                      </a:lnTo>
                      <a:lnTo>
                        <a:pt x="1277423" y="458810"/>
                      </a:lnTo>
                      <a:lnTo>
                        <a:pt x="1277423" y="464243"/>
                      </a:lnTo>
                      <a:lnTo>
                        <a:pt x="1273197" y="466054"/>
                      </a:lnTo>
                      <a:lnTo>
                        <a:pt x="1265953" y="464243"/>
                      </a:lnTo>
                      <a:lnTo>
                        <a:pt x="1258709" y="464847"/>
                      </a:lnTo>
                      <a:lnTo>
                        <a:pt x="1255690" y="463639"/>
                      </a:lnTo>
                      <a:lnTo>
                        <a:pt x="1250861" y="466054"/>
                      </a:lnTo>
                      <a:lnTo>
                        <a:pt x="1251464" y="469073"/>
                      </a:lnTo>
                      <a:lnTo>
                        <a:pt x="1247239" y="470884"/>
                      </a:lnTo>
                      <a:lnTo>
                        <a:pt x="1244824" y="477524"/>
                      </a:lnTo>
                      <a:lnTo>
                        <a:pt x="1242409" y="481750"/>
                      </a:lnTo>
                      <a:lnTo>
                        <a:pt x="1239390" y="481147"/>
                      </a:lnTo>
                      <a:lnTo>
                        <a:pt x="1237579" y="484769"/>
                      </a:lnTo>
                      <a:lnTo>
                        <a:pt x="1230939" y="489598"/>
                      </a:lnTo>
                      <a:lnTo>
                        <a:pt x="1229731" y="492617"/>
                      </a:lnTo>
                      <a:lnTo>
                        <a:pt x="1224298" y="491410"/>
                      </a:lnTo>
                      <a:lnTo>
                        <a:pt x="1215846" y="485373"/>
                      </a:lnTo>
                      <a:lnTo>
                        <a:pt x="1212224" y="485373"/>
                      </a:lnTo>
                      <a:lnTo>
                        <a:pt x="1207394" y="487184"/>
                      </a:lnTo>
                      <a:lnTo>
                        <a:pt x="1207394" y="492617"/>
                      </a:lnTo>
                      <a:lnTo>
                        <a:pt x="1215846" y="494428"/>
                      </a:lnTo>
                      <a:lnTo>
                        <a:pt x="1214035" y="504087"/>
                      </a:lnTo>
                      <a:lnTo>
                        <a:pt x="1218865" y="503484"/>
                      </a:lnTo>
                      <a:lnTo>
                        <a:pt x="1220072" y="511332"/>
                      </a:lnTo>
                      <a:lnTo>
                        <a:pt x="1223694" y="514350"/>
                      </a:lnTo>
                      <a:lnTo>
                        <a:pt x="1227316" y="507106"/>
                      </a:lnTo>
                      <a:lnTo>
                        <a:pt x="1230335" y="510124"/>
                      </a:lnTo>
                      <a:lnTo>
                        <a:pt x="1236976" y="508917"/>
                      </a:lnTo>
                      <a:lnTo>
                        <a:pt x="1235768" y="504691"/>
                      </a:lnTo>
                      <a:lnTo>
                        <a:pt x="1240598" y="504087"/>
                      </a:lnTo>
                      <a:lnTo>
                        <a:pt x="1240598" y="510728"/>
                      </a:lnTo>
                      <a:lnTo>
                        <a:pt x="1247239" y="510124"/>
                      </a:lnTo>
                      <a:lnTo>
                        <a:pt x="1252672" y="513143"/>
                      </a:lnTo>
                      <a:lnTo>
                        <a:pt x="1254483" y="520387"/>
                      </a:lnTo>
                      <a:lnTo>
                        <a:pt x="1247842" y="524009"/>
                      </a:lnTo>
                      <a:lnTo>
                        <a:pt x="1244824" y="528235"/>
                      </a:lnTo>
                      <a:lnTo>
                        <a:pt x="1239390" y="531857"/>
                      </a:lnTo>
                      <a:lnTo>
                        <a:pt x="1237579" y="536083"/>
                      </a:lnTo>
                      <a:lnTo>
                        <a:pt x="1226109" y="533668"/>
                      </a:lnTo>
                      <a:lnTo>
                        <a:pt x="1224902" y="529443"/>
                      </a:lnTo>
                      <a:lnTo>
                        <a:pt x="1221280" y="525217"/>
                      </a:lnTo>
                      <a:lnTo>
                        <a:pt x="1217657" y="527028"/>
                      </a:lnTo>
                      <a:lnTo>
                        <a:pt x="1212828" y="527632"/>
                      </a:lnTo>
                      <a:lnTo>
                        <a:pt x="1214035" y="531857"/>
                      </a:lnTo>
                      <a:lnTo>
                        <a:pt x="1212224" y="534272"/>
                      </a:lnTo>
                      <a:lnTo>
                        <a:pt x="1210413" y="544535"/>
                      </a:lnTo>
                      <a:lnTo>
                        <a:pt x="1214639" y="548157"/>
                      </a:lnTo>
                      <a:lnTo>
                        <a:pt x="1214035" y="558420"/>
                      </a:lnTo>
                      <a:lnTo>
                        <a:pt x="1221883" y="559023"/>
                      </a:lnTo>
                      <a:lnTo>
                        <a:pt x="1223694" y="560835"/>
                      </a:lnTo>
                      <a:lnTo>
                        <a:pt x="1224298" y="571097"/>
                      </a:lnTo>
                      <a:lnTo>
                        <a:pt x="1226109" y="571701"/>
                      </a:lnTo>
                      <a:lnTo>
                        <a:pt x="1224298" y="578342"/>
                      </a:lnTo>
                      <a:lnTo>
                        <a:pt x="1225505" y="586794"/>
                      </a:lnTo>
                      <a:lnTo>
                        <a:pt x="1230335" y="584379"/>
                      </a:lnTo>
                      <a:lnTo>
                        <a:pt x="1233353" y="585586"/>
                      </a:lnTo>
                      <a:lnTo>
                        <a:pt x="1231542" y="594642"/>
                      </a:lnTo>
                      <a:lnTo>
                        <a:pt x="1226713" y="595849"/>
                      </a:lnTo>
                      <a:lnTo>
                        <a:pt x="1224298" y="600075"/>
                      </a:lnTo>
                      <a:lnTo>
                        <a:pt x="1218865" y="603697"/>
                      </a:lnTo>
                      <a:lnTo>
                        <a:pt x="1218865" y="607319"/>
                      </a:lnTo>
                      <a:lnTo>
                        <a:pt x="1229731" y="610942"/>
                      </a:lnTo>
                      <a:lnTo>
                        <a:pt x="1227920" y="614564"/>
                      </a:lnTo>
                      <a:lnTo>
                        <a:pt x="1228524" y="618186"/>
                      </a:lnTo>
                      <a:lnTo>
                        <a:pt x="1207998" y="624827"/>
                      </a:lnTo>
                      <a:lnTo>
                        <a:pt x="1203169" y="629053"/>
                      </a:lnTo>
                      <a:lnTo>
                        <a:pt x="1194113" y="632675"/>
                      </a:lnTo>
                      <a:lnTo>
                        <a:pt x="1182039" y="639919"/>
                      </a:lnTo>
                      <a:lnTo>
                        <a:pt x="1177210" y="640523"/>
                      </a:lnTo>
                      <a:lnTo>
                        <a:pt x="1173587" y="643541"/>
                      </a:lnTo>
                      <a:lnTo>
                        <a:pt x="1165739" y="643541"/>
                      </a:lnTo>
                      <a:lnTo>
                        <a:pt x="1159099" y="647163"/>
                      </a:lnTo>
                      <a:lnTo>
                        <a:pt x="1162721" y="649578"/>
                      </a:lnTo>
                      <a:lnTo>
                        <a:pt x="1165739" y="658634"/>
                      </a:lnTo>
                      <a:lnTo>
                        <a:pt x="1163325" y="660445"/>
                      </a:lnTo>
                      <a:lnTo>
                        <a:pt x="1166343" y="665274"/>
                      </a:lnTo>
                      <a:lnTo>
                        <a:pt x="1175398" y="671915"/>
                      </a:lnTo>
                      <a:lnTo>
                        <a:pt x="1176606" y="674330"/>
                      </a:lnTo>
                      <a:lnTo>
                        <a:pt x="1177210" y="681574"/>
                      </a:lnTo>
                      <a:lnTo>
                        <a:pt x="1174795" y="687007"/>
                      </a:lnTo>
                      <a:lnTo>
                        <a:pt x="1169362" y="687611"/>
                      </a:lnTo>
                      <a:lnTo>
                        <a:pt x="1166343" y="689422"/>
                      </a:lnTo>
                      <a:lnTo>
                        <a:pt x="1162721" y="688215"/>
                      </a:lnTo>
                      <a:lnTo>
                        <a:pt x="1157288" y="688818"/>
                      </a:lnTo>
                      <a:lnTo>
                        <a:pt x="1154269" y="691233"/>
                      </a:lnTo>
                      <a:lnTo>
                        <a:pt x="1158495" y="696063"/>
                      </a:lnTo>
                      <a:lnTo>
                        <a:pt x="1162117" y="697270"/>
                      </a:lnTo>
                      <a:lnTo>
                        <a:pt x="1163928" y="706929"/>
                      </a:lnTo>
                      <a:lnTo>
                        <a:pt x="1167550" y="716589"/>
                      </a:lnTo>
                      <a:lnTo>
                        <a:pt x="1169362" y="719607"/>
                      </a:lnTo>
                      <a:lnTo>
                        <a:pt x="1185058" y="714174"/>
                      </a:lnTo>
                      <a:lnTo>
                        <a:pt x="1185661" y="716589"/>
                      </a:lnTo>
                      <a:lnTo>
                        <a:pt x="1192906" y="713570"/>
                      </a:lnTo>
                      <a:lnTo>
                        <a:pt x="1194717" y="709344"/>
                      </a:lnTo>
                      <a:lnTo>
                        <a:pt x="1199546" y="709948"/>
                      </a:lnTo>
                      <a:lnTo>
                        <a:pt x="1203169" y="707533"/>
                      </a:lnTo>
                      <a:lnTo>
                        <a:pt x="1207998" y="708137"/>
                      </a:lnTo>
                      <a:lnTo>
                        <a:pt x="1212224" y="705722"/>
                      </a:lnTo>
                      <a:lnTo>
                        <a:pt x="1226109" y="706326"/>
                      </a:lnTo>
                      <a:lnTo>
                        <a:pt x="1236372" y="705722"/>
                      </a:lnTo>
                      <a:lnTo>
                        <a:pt x="1240598" y="712363"/>
                      </a:lnTo>
                      <a:lnTo>
                        <a:pt x="1247239" y="707533"/>
                      </a:lnTo>
                      <a:lnTo>
                        <a:pt x="1250861" y="711155"/>
                      </a:lnTo>
                      <a:lnTo>
                        <a:pt x="1254483" y="711155"/>
                      </a:lnTo>
                      <a:lnTo>
                        <a:pt x="1258105" y="705722"/>
                      </a:lnTo>
                      <a:lnTo>
                        <a:pt x="1262331" y="704515"/>
                      </a:lnTo>
                      <a:lnTo>
                        <a:pt x="1262935" y="708741"/>
                      </a:lnTo>
                      <a:lnTo>
                        <a:pt x="1267160" y="709948"/>
                      </a:lnTo>
                      <a:lnTo>
                        <a:pt x="1265953" y="719607"/>
                      </a:lnTo>
                      <a:lnTo>
                        <a:pt x="1261727" y="723229"/>
                      </a:lnTo>
                      <a:lnTo>
                        <a:pt x="1254483" y="724437"/>
                      </a:lnTo>
                      <a:lnTo>
                        <a:pt x="1252672" y="726248"/>
                      </a:lnTo>
                      <a:lnTo>
                        <a:pt x="1244220" y="728059"/>
                      </a:lnTo>
                      <a:lnTo>
                        <a:pt x="1236372" y="726248"/>
                      </a:lnTo>
                      <a:lnTo>
                        <a:pt x="1231542" y="729266"/>
                      </a:lnTo>
                      <a:lnTo>
                        <a:pt x="1227316" y="727455"/>
                      </a:lnTo>
                      <a:lnTo>
                        <a:pt x="1223091" y="729870"/>
                      </a:lnTo>
                      <a:lnTo>
                        <a:pt x="1214639" y="728663"/>
                      </a:lnTo>
                      <a:lnTo>
                        <a:pt x="1212224" y="723229"/>
                      </a:lnTo>
                      <a:lnTo>
                        <a:pt x="1209809" y="728663"/>
                      </a:lnTo>
                      <a:lnTo>
                        <a:pt x="1208602" y="735303"/>
                      </a:lnTo>
                      <a:lnTo>
                        <a:pt x="1200150" y="738322"/>
                      </a:lnTo>
                      <a:lnTo>
                        <a:pt x="1194113" y="741944"/>
                      </a:lnTo>
                      <a:lnTo>
                        <a:pt x="1190491" y="742548"/>
                      </a:lnTo>
                      <a:lnTo>
                        <a:pt x="1189284" y="746774"/>
                      </a:lnTo>
                      <a:lnTo>
                        <a:pt x="1189284" y="753414"/>
                      </a:lnTo>
                      <a:lnTo>
                        <a:pt x="1187472" y="763677"/>
                      </a:lnTo>
                      <a:lnTo>
                        <a:pt x="1184454" y="766695"/>
                      </a:lnTo>
                      <a:lnTo>
                        <a:pt x="1176002" y="771525"/>
                      </a:lnTo>
                      <a:lnTo>
                        <a:pt x="1168758" y="769714"/>
                      </a:lnTo>
                      <a:lnTo>
                        <a:pt x="1163325" y="770317"/>
                      </a:lnTo>
                      <a:lnTo>
                        <a:pt x="1164532" y="775751"/>
                      </a:lnTo>
                      <a:lnTo>
                        <a:pt x="1160910" y="780580"/>
                      </a:lnTo>
                      <a:lnTo>
                        <a:pt x="1161513" y="791447"/>
                      </a:lnTo>
                      <a:lnTo>
                        <a:pt x="1156080" y="789636"/>
                      </a:lnTo>
                      <a:lnTo>
                        <a:pt x="1153062" y="793258"/>
                      </a:lnTo>
                      <a:lnTo>
                        <a:pt x="1145214" y="792654"/>
                      </a:lnTo>
                      <a:lnTo>
                        <a:pt x="1146421" y="796277"/>
                      </a:lnTo>
                      <a:lnTo>
                        <a:pt x="1144006" y="798691"/>
                      </a:lnTo>
                      <a:lnTo>
                        <a:pt x="1139177" y="796277"/>
                      </a:lnTo>
                      <a:lnTo>
                        <a:pt x="1132536" y="795673"/>
                      </a:lnTo>
                      <a:lnTo>
                        <a:pt x="1123481" y="800502"/>
                      </a:lnTo>
                      <a:lnTo>
                        <a:pt x="1123481" y="795673"/>
                      </a:lnTo>
                      <a:lnTo>
                        <a:pt x="1119858" y="794465"/>
                      </a:lnTo>
                      <a:lnTo>
                        <a:pt x="1117444" y="790240"/>
                      </a:lnTo>
                      <a:lnTo>
                        <a:pt x="1113218" y="792654"/>
                      </a:lnTo>
                      <a:lnTo>
                        <a:pt x="1113218" y="795673"/>
                      </a:lnTo>
                      <a:lnTo>
                        <a:pt x="1118047" y="795673"/>
                      </a:lnTo>
                      <a:lnTo>
                        <a:pt x="1121669" y="802917"/>
                      </a:lnTo>
                      <a:lnTo>
                        <a:pt x="1127706" y="802917"/>
                      </a:lnTo>
                      <a:lnTo>
                        <a:pt x="1134951" y="807143"/>
                      </a:lnTo>
                      <a:lnTo>
                        <a:pt x="1137969" y="804728"/>
                      </a:lnTo>
                      <a:lnTo>
                        <a:pt x="1144006" y="806539"/>
                      </a:lnTo>
                      <a:lnTo>
                        <a:pt x="1145214" y="811369"/>
                      </a:lnTo>
                      <a:lnTo>
                        <a:pt x="1145214" y="817406"/>
                      </a:lnTo>
                      <a:lnTo>
                        <a:pt x="1146421" y="820425"/>
                      </a:lnTo>
                      <a:lnTo>
                        <a:pt x="1150043" y="820425"/>
                      </a:lnTo>
                      <a:lnTo>
                        <a:pt x="1153665" y="825254"/>
                      </a:lnTo>
                      <a:lnTo>
                        <a:pt x="1158495" y="824650"/>
                      </a:lnTo>
                      <a:lnTo>
                        <a:pt x="1160306" y="830687"/>
                      </a:lnTo>
                      <a:lnTo>
                        <a:pt x="1166343" y="830687"/>
                      </a:lnTo>
                      <a:lnTo>
                        <a:pt x="1179021" y="833102"/>
                      </a:lnTo>
                      <a:lnTo>
                        <a:pt x="1176606" y="844573"/>
                      </a:lnTo>
                      <a:lnTo>
                        <a:pt x="1180832" y="848195"/>
                      </a:lnTo>
                      <a:lnTo>
                        <a:pt x="1183850" y="854835"/>
                      </a:lnTo>
                      <a:lnTo>
                        <a:pt x="1183850" y="863287"/>
                      </a:lnTo>
                      <a:lnTo>
                        <a:pt x="1186869" y="865098"/>
                      </a:lnTo>
                      <a:lnTo>
                        <a:pt x="1185661" y="871739"/>
                      </a:lnTo>
                      <a:lnTo>
                        <a:pt x="1185661" y="880794"/>
                      </a:lnTo>
                      <a:lnTo>
                        <a:pt x="1188076" y="886227"/>
                      </a:lnTo>
                      <a:lnTo>
                        <a:pt x="1182039" y="890453"/>
                      </a:lnTo>
                      <a:lnTo>
                        <a:pt x="1175398" y="888642"/>
                      </a:lnTo>
                      <a:lnTo>
                        <a:pt x="1172984" y="891057"/>
                      </a:lnTo>
                      <a:lnTo>
                        <a:pt x="1169965" y="897094"/>
                      </a:lnTo>
                      <a:lnTo>
                        <a:pt x="1165739" y="895283"/>
                      </a:lnTo>
                      <a:lnTo>
                        <a:pt x="1161513" y="897094"/>
                      </a:lnTo>
                      <a:lnTo>
                        <a:pt x="1162117" y="901320"/>
                      </a:lnTo>
                      <a:lnTo>
                        <a:pt x="1165739" y="901320"/>
                      </a:lnTo>
                      <a:lnTo>
                        <a:pt x="1166947" y="905546"/>
                      </a:lnTo>
                      <a:lnTo>
                        <a:pt x="1166343" y="912790"/>
                      </a:lnTo>
                      <a:lnTo>
                        <a:pt x="1158495" y="917620"/>
                      </a:lnTo>
                      <a:lnTo>
                        <a:pt x="1154269" y="917016"/>
                      </a:lnTo>
                      <a:lnTo>
                        <a:pt x="1146421" y="924864"/>
                      </a:lnTo>
                      <a:lnTo>
                        <a:pt x="1144006" y="923657"/>
                      </a:lnTo>
                      <a:lnTo>
                        <a:pt x="1136762" y="922449"/>
                      </a:lnTo>
                      <a:lnTo>
                        <a:pt x="1129518" y="926072"/>
                      </a:lnTo>
                      <a:lnTo>
                        <a:pt x="1123481" y="922449"/>
                      </a:lnTo>
                      <a:lnTo>
                        <a:pt x="1120462" y="912186"/>
                      </a:lnTo>
                      <a:lnTo>
                        <a:pt x="1113821" y="907961"/>
                      </a:lnTo>
                      <a:lnTo>
                        <a:pt x="1108388" y="907357"/>
                      </a:lnTo>
                      <a:lnTo>
                        <a:pt x="1104162" y="902527"/>
                      </a:lnTo>
                      <a:lnTo>
                        <a:pt x="1101144" y="901924"/>
                      </a:lnTo>
                      <a:lnTo>
                        <a:pt x="1094503" y="906149"/>
                      </a:lnTo>
                      <a:lnTo>
                        <a:pt x="1092692" y="901320"/>
                      </a:lnTo>
                      <a:lnTo>
                        <a:pt x="1094503" y="898905"/>
                      </a:lnTo>
                      <a:lnTo>
                        <a:pt x="1091485" y="891661"/>
                      </a:lnTo>
                      <a:lnTo>
                        <a:pt x="1086655" y="892264"/>
                      </a:lnTo>
                      <a:lnTo>
                        <a:pt x="1086051" y="897094"/>
                      </a:lnTo>
                      <a:lnTo>
                        <a:pt x="1082429" y="903735"/>
                      </a:lnTo>
                      <a:lnTo>
                        <a:pt x="1075185" y="906149"/>
                      </a:lnTo>
                      <a:lnTo>
                        <a:pt x="1075185" y="908564"/>
                      </a:lnTo>
                      <a:lnTo>
                        <a:pt x="1080014" y="912186"/>
                      </a:lnTo>
                      <a:lnTo>
                        <a:pt x="1083033" y="918827"/>
                      </a:lnTo>
                      <a:lnTo>
                        <a:pt x="1090881" y="921242"/>
                      </a:lnTo>
                      <a:lnTo>
                        <a:pt x="1092088" y="925468"/>
                      </a:lnTo>
                      <a:lnTo>
                        <a:pt x="1091485" y="930297"/>
                      </a:lnTo>
                      <a:lnTo>
                        <a:pt x="1095107" y="930901"/>
                      </a:lnTo>
                      <a:lnTo>
                        <a:pt x="1089674" y="936938"/>
                      </a:lnTo>
                      <a:lnTo>
                        <a:pt x="1090277" y="941164"/>
                      </a:lnTo>
                      <a:lnTo>
                        <a:pt x="1084844" y="947201"/>
                      </a:lnTo>
                      <a:lnTo>
                        <a:pt x="1079411" y="958671"/>
                      </a:lnTo>
                      <a:lnTo>
                        <a:pt x="1073977" y="961690"/>
                      </a:lnTo>
                      <a:lnTo>
                        <a:pt x="1072770" y="967727"/>
                      </a:lnTo>
                      <a:lnTo>
                        <a:pt x="1077600" y="965916"/>
                      </a:lnTo>
                      <a:lnTo>
                        <a:pt x="1080014" y="975575"/>
                      </a:lnTo>
                      <a:lnTo>
                        <a:pt x="1080014" y="979197"/>
                      </a:lnTo>
                      <a:lnTo>
                        <a:pt x="1081825" y="987648"/>
                      </a:lnTo>
                      <a:lnTo>
                        <a:pt x="1079411" y="988856"/>
                      </a:lnTo>
                      <a:lnTo>
                        <a:pt x="1078807" y="993082"/>
                      </a:lnTo>
                      <a:lnTo>
                        <a:pt x="1080014" y="1005156"/>
                      </a:lnTo>
                      <a:lnTo>
                        <a:pt x="1069751" y="1006967"/>
                      </a:lnTo>
                      <a:lnTo>
                        <a:pt x="1056470" y="1003948"/>
                      </a:lnTo>
                      <a:lnTo>
                        <a:pt x="1052848" y="1006967"/>
                      </a:lnTo>
                      <a:lnTo>
                        <a:pt x="1052848" y="1016022"/>
                      </a:lnTo>
                      <a:lnTo>
                        <a:pt x="1047415" y="1019041"/>
                      </a:lnTo>
                      <a:lnTo>
                        <a:pt x="1046207" y="1021456"/>
                      </a:lnTo>
                      <a:lnTo>
                        <a:pt x="1040774" y="1021456"/>
                      </a:lnTo>
                      <a:lnTo>
                        <a:pt x="1036548" y="1022663"/>
                      </a:lnTo>
                      <a:lnTo>
                        <a:pt x="1035341" y="1022663"/>
                      </a:lnTo>
                      <a:lnTo>
                        <a:pt x="1032322" y="1019041"/>
                      </a:lnTo>
                      <a:lnTo>
                        <a:pt x="1032322" y="1016626"/>
                      </a:lnTo>
                      <a:lnTo>
                        <a:pt x="1032926" y="1014211"/>
                      </a:lnTo>
                      <a:lnTo>
                        <a:pt x="1038963" y="1011193"/>
                      </a:lnTo>
                      <a:lnTo>
                        <a:pt x="1039567" y="1009382"/>
                      </a:lnTo>
                      <a:lnTo>
                        <a:pt x="1035341" y="1006363"/>
                      </a:lnTo>
                      <a:lnTo>
                        <a:pt x="1034133" y="1006363"/>
                      </a:lnTo>
                      <a:lnTo>
                        <a:pt x="1031115" y="1005759"/>
                      </a:lnTo>
                      <a:lnTo>
                        <a:pt x="1029304" y="1003948"/>
                      </a:lnTo>
                      <a:lnTo>
                        <a:pt x="1023871" y="1005156"/>
                      </a:lnTo>
                      <a:lnTo>
                        <a:pt x="1023267" y="1005156"/>
                      </a:lnTo>
                      <a:lnTo>
                        <a:pt x="1022663" y="1004552"/>
                      </a:lnTo>
                      <a:lnTo>
                        <a:pt x="1021456" y="1004552"/>
                      </a:lnTo>
                      <a:lnTo>
                        <a:pt x="1022059" y="1008778"/>
                      </a:lnTo>
                      <a:lnTo>
                        <a:pt x="1022663" y="1008778"/>
                      </a:lnTo>
                      <a:lnTo>
                        <a:pt x="1017834" y="1015419"/>
                      </a:lnTo>
                      <a:lnTo>
                        <a:pt x="1016022" y="1014815"/>
                      </a:lnTo>
                      <a:lnTo>
                        <a:pt x="1014815" y="1014815"/>
                      </a:lnTo>
                      <a:lnTo>
                        <a:pt x="1012400" y="1011796"/>
                      </a:lnTo>
                      <a:lnTo>
                        <a:pt x="1010589" y="1012400"/>
                      </a:lnTo>
                      <a:lnTo>
                        <a:pt x="1009985" y="1015419"/>
                      </a:lnTo>
                      <a:lnTo>
                        <a:pt x="1007571" y="1014211"/>
                      </a:lnTo>
                      <a:lnTo>
                        <a:pt x="1006363" y="1006363"/>
                      </a:lnTo>
                      <a:lnTo>
                        <a:pt x="1005760" y="1006363"/>
                      </a:lnTo>
                      <a:lnTo>
                        <a:pt x="1008174" y="999119"/>
                      </a:lnTo>
                      <a:lnTo>
                        <a:pt x="1009985" y="998515"/>
                      </a:lnTo>
                      <a:lnTo>
                        <a:pt x="1013004" y="999119"/>
                      </a:lnTo>
                      <a:lnTo>
                        <a:pt x="1014211" y="997308"/>
                      </a:lnTo>
                      <a:lnTo>
                        <a:pt x="1015419" y="996100"/>
                      </a:lnTo>
                      <a:lnTo>
                        <a:pt x="1020248" y="992478"/>
                      </a:lnTo>
                      <a:lnTo>
                        <a:pt x="1021456" y="990667"/>
                      </a:lnTo>
                      <a:lnTo>
                        <a:pt x="1022059" y="988252"/>
                      </a:lnTo>
                      <a:lnTo>
                        <a:pt x="1022059" y="987648"/>
                      </a:lnTo>
                      <a:lnTo>
                        <a:pt x="1023871" y="988856"/>
                      </a:lnTo>
                      <a:lnTo>
                        <a:pt x="1023871" y="987045"/>
                      </a:lnTo>
                      <a:lnTo>
                        <a:pt x="1024474" y="985837"/>
                      </a:lnTo>
                      <a:lnTo>
                        <a:pt x="1025078" y="985837"/>
                      </a:lnTo>
                      <a:lnTo>
                        <a:pt x="1026285" y="987648"/>
                      </a:lnTo>
                      <a:lnTo>
                        <a:pt x="1029304" y="985837"/>
                      </a:lnTo>
                      <a:lnTo>
                        <a:pt x="1028700" y="982215"/>
                      </a:lnTo>
                      <a:lnTo>
                        <a:pt x="1028700" y="981612"/>
                      </a:lnTo>
                      <a:lnTo>
                        <a:pt x="1028700" y="981008"/>
                      </a:lnTo>
                      <a:lnTo>
                        <a:pt x="1022663" y="979800"/>
                      </a:lnTo>
                      <a:lnTo>
                        <a:pt x="1020852" y="981612"/>
                      </a:lnTo>
                      <a:lnTo>
                        <a:pt x="1016022" y="982819"/>
                      </a:lnTo>
                      <a:lnTo>
                        <a:pt x="1017230" y="976782"/>
                      </a:lnTo>
                      <a:lnTo>
                        <a:pt x="1016626" y="974367"/>
                      </a:lnTo>
                      <a:lnTo>
                        <a:pt x="1015419" y="971952"/>
                      </a:lnTo>
                      <a:lnTo>
                        <a:pt x="1014815" y="971349"/>
                      </a:lnTo>
                      <a:lnTo>
                        <a:pt x="1013608" y="970745"/>
                      </a:lnTo>
                      <a:lnTo>
                        <a:pt x="1013004" y="970745"/>
                      </a:lnTo>
                      <a:lnTo>
                        <a:pt x="1012400" y="976178"/>
                      </a:lnTo>
                      <a:lnTo>
                        <a:pt x="1009985" y="977989"/>
                      </a:lnTo>
                      <a:lnTo>
                        <a:pt x="1007571" y="977386"/>
                      </a:lnTo>
                      <a:lnTo>
                        <a:pt x="1005760" y="977989"/>
                      </a:lnTo>
                      <a:lnTo>
                        <a:pt x="1003345" y="977989"/>
                      </a:lnTo>
                      <a:lnTo>
                        <a:pt x="1000930" y="985837"/>
                      </a:lnTo>
                      <a:lnTo>
                        <a:pt x="999723" y="985837"/>
                      </a:lnTo>
                      <a:lnTo>
                        <a:pt x="997308" y="985234"/>
                      </a:lnTo>
                      <a:lnTo>
                        <a:pt x="996100" y="979800"/>
                      </a:lnTo>
                      <a:lnTo>
                        <a:pt x="996704" y="985234"/>
                      </a:lnTo>
                      <a:lnTo>
                        <a:pt x="990063" y="985234"/>
                      </a:lnTo>
                      <a:lnTo>
                        <a:pt x="989460" y="989460"/>
                      </a:lnTo>
                      <a:lnTo>
                        <a:pt x="987649" y="990063"/>
                      </a:lnTo>
                      <a:lnTo>
                        <a:pt x="985838" y="989460"/>
                      </a:lnTo>
                      <a:lnTo>
                        <a:pt x="981612" y="985234"/>
                      </a:lnTo>
                      <a:lnTo>
                        <a:pt x="979197" y="986441"/>
                      </a:lnTo>
                      <a:lnTo>
                        <a:pt x="976782" y="988252"/>
                      </a:lnTo>
                      <a:lnTo>
                        <a:pt x="976178" y="989460"/>
                      </a:lnTo>
                      <a:lnTo>
                        <a:pt x="980404" y="996100"/>
                      </a:lnTo>
                      <a:lnTo>
                        <a:pt x="984630" y="997308"/>
                      </a:lnTo>
                      <a:lnTo>
                        <a:pt x="987045" y="1002741"/>
                      </a:lnTo>
                      <a:lnTo>
                        <a:pt x="985838" y="1002741"/>
                      </a:lnTo>
                      <a:lnTo>
                        <a:pt x="977386" y="1000326"/>
                      </a:lnTo>
                      <a:lnTo>
                        <a:pt x="968330" y="999722"/>
                      </a:lnTo>
                      <a:lnTo>
                        <a:pt x="965916" y="1003948"/>
                      </a:lnTo>
                      <a:lnTo>
                        <a:pt x="961086" y="1003948"/>
                      </a:lnTo>
                      <a:lnTo>
                        <a:pt x="957464" y="1009382"/>
                      </a:lnTo>
                      <a:lnTo>
                        <a:pt x="956860" y="1015419"/>
                      </a:lnTo>
                      <a:lnTo>
                        <a:pt x="951427" y="1017230"/>
                      </a:lnTo>
                      <a:lnTo>
                        <a:pt x="948408" y="1020852"/>
                      </a:lnTo>
                      <a:lnTo>
                        <a:pt x="938145" y="1019645"/>
                      </a:lnTo>
                      <a:lnTo>
                        <a:pt x="939957" y="1005759"/>
                      </a:lnTo>
                      <a:lnTo>
                        <a:pt x="939353" y="999119"/>
                      </a:lnTo>
                      <a:lnTo>
                        <a:pt x="941768" y="985234"/>
                      </a:lnTo>
                      <a:lnTo>
                        <a:pt x="945390" y="982819"/>
                      </a:lnTo>
                      <a:lnTo>
                        <a:pt x="945994" y="976178"/>
                      </a:lnTo>
                      <a:lnTo>
                        <a:pt x="948408" y="972556"/>
                      </a:lnTo>
                      <a:lnTo>
                        <a:pt x="952030" y="971952"/>
                      </a:lnTo>
                      <a:lnTo>
                        <a:pt x="955049" y="968330"/>
                      </a:lnTo>
                      <a:lnTo>
                        <a:pt x="957464" y="968934"/>
                      </a:lnTo>
                      <a:lnTo>
                        <a:pt x="959275" y="961690"/>
                      </a:lnTo>
                      <a:lnTo>
                        <a:pt x="961086" y="959879"/>
                      </a:lnTo>
                      <a:lnTo>
                        <a:pt x="965312" y="963501"/>
                      </a:lnTo>
                      <a:lnTo>
                        <a:pt x="966519" y="965916"/>
                      </a:lnTo>
                      <a:lnTo>
                        <a:pt x="965916" y="963501"/>
                      </a:lnTo>
                      <a:lnTo>
                        <a:pt x="965312" y="961086"/>
                      </a:lnTo>
                      <a:lnTo>
                        <a:pt x="965312" y="960482"/>
                      </a:lnTo>
                      <a:lnTo>
                        <a:pt x="961086" y="959275"/>
                      </a:lnTo>
                      <a:lnTo>
                        <a:pt x="959879" y="958068"/>
                      </a:lnTo>
                      <a:lnTo>
                        <a:pt x="959275" y="958068"/>
                      </a:lnTo>
                      <a:lnTo>
                        <a:pt x="958671" y="953238"/>
                      </a:lnTo>
                      <a:lnTo>
                        <a:pt x="961086" y="949616"/>
                      </a:lnTo>
                      <a:lnTo>
                        <a:pt x="964104" y="947201"/>
                      </a:lnTo>
                      <a:lnTo>
                        <a:pt x="963501" y="944786"/>
                      </a:lnTo>
                      <a:lnTo>
                        <a:pt x="968330" y="939957"/>
                      </a:lnTo>
                      <a:lnTo>
                        <a:pt x="968934" y="927883"/>
                      </a:lnTo>
                      <a:lnTo>
                        <a:pt x="970745" y="920638"/>
                      </a:lnTo>
                      <a:lnTo>
                        <a:pt x="968934" y="908564"/>
                      </a:lnTo>
                      <a:lnTo>
                        <a:pt x="966519" y="906753"/>
                      </a:lnTo>
                      <a:lnTo>
                        <a:pt x="962293" y="891057"/>
                      </a:lnTo>
                      <a:lnTo>
                        <a:pt x="962897" y="888038"/>
                      </a:lnTo>
                      <a:lnTo>
                        <a:pt x="967727" y="887435"/>
                      </a:lnTo>
                      <a:lnTo>
                        <a:pt x="958067" y="877776"/>
                      </a:lnTo>
                      <a:lnTo>
                        <a:pt x="958671" y="874153"/>
                      </a:lnTo>
                      <a:lnTo>
                        <a:pt x="949012" y="852421"/>
                      </a:lnTo>
                      <a:lnTo>
                        <a:pt x="947805" y="846987"/>
                      </a:lnTo>
                      <a:lnTo>
                        <a:pt x="941164" y="842158"/>
                      </a:lnTo>
                      <a:lnTo>
                        <a:pt x="938145" y="833102"/>
                      </a:lnTo>
                      <a:lnTo>
                        <a:pt x="935127" y="821632"/>
                      </a:lnTo>
                      <a:lnTo>
                        <a:pt x="941164" y="815595"/>
                      </a:lnTo>
                      <a:lnTo>
                        <a:pt x="931505" y="813180"/>
                      </a:lnTo>
                      <a:lnTo>
                        <a:pt x="930297" y="807143"/>
                      </a:lnTo>
                      <a:lnTo>
                        <a:pt x="931505" y="801106"/>
                      </a:lnTo>
                      <a:lnTo>
                        <a:pt x="933316" y="798691"/>
                      </a:lnTo>
                      <a:lnTo>
                        <a:pt x="926071" y="794465"/>
                      </a:lnTo>
                      <a:lnTo>
                        <a:pt x="923053" y="795673"/>
                      </a:lnTo>
                      <a:lnTo>
                        <a:pt x="921846" y="798691"/>
                      </a:lnTo>
                      <a:lnTo>
                        <a:pt x="921846" y="810162"/>
                      </a:lnTo>
                      <a:lnTo>
                        <a:pt x="920035" y="812576"/>
                      </a:lnTo>
                      <a:lnTo>
                        <a:pt x="915205" y="809558"/>
                      </a:lnTo>
                      <a:lnTo>
                        <a:pt x="913998" y="798088"/>
                      </a:lnTo>
                      <a:lnTo>
                        <a:pt x="913394" y="779977"/>
                      </a:lnTo>
                      <a:lnTo>
                        <a:pt x="909168" y="774543"/>
                      </a:lnTo>
                      <a:lnTo>
                        <a:pt x="907357" y="767903"/>
                      </a:lnTo>
                      <a:lnTo>
                        <a:pt x="907961" y="760658"/>
                      </a:lnTo>
                      <a:lnTo>
                        <a:pt x="913998" y="753414"/>
                      </a:lnTo>
                      <a:lnTo>
                        <a:pt x="913998" y="746774"/>
                      </a:lnTo>
                      <a:lnTo>
                        <a:pt x="923053" y="735303"/>
                      </a:lnTo>
                      <a:lnTo>
                        <a:pt x="919431" y="732889"/>
                      </a:lnTo>
                      <a:lnTo>
                        <a:pt x="920638" y="727455"/>
                      </a:lnTo>
                      <a:lnTo>
                        <a:pt x="923053" y="723229"/>
                      </a:lnTo>
                      <a:lnTo>
                        <a:pt x="924864" y="714174"/>
                      </a:lnTo>
                      <a:lnTo>
                        <a:pt x="924260" y="710552"/>
                      </a:lnTo>
                      <a:lnTo>
                        <a:pt x="918224" y="717192"/>
                      </a:lnTo>
                      <a:lnTo>
                        <a:pt x="915205" y="718400"/>
                      </a:lnTo>
                      <a:lnTo>
                        <a:pt x="909168" y="709344"/>
                      </a:lnTo>
                      <a:lnTo>
                        <a:pt x="910979" y="701496"/>
                      </a:lnTo>
                      <a:lnTo>
                        <a:pt x="915205" y="693044"/>
                      </a:lnTo>
                      <a:lnTo>
                        <a:pt x="919431" y="693044"/>
                      </a:lnTo>
                      <a:lnTo>
                        <a:pt x="924260" y="690630"/>
                      </a:lnTo>
                      <a:lnTo>
                        <a:pt x="930901" y="685196"/>
                      </a:lnTo>
                      <a:lnTo>
                        <a:pt x="935127" y="688215"/>
                      </a:lnTo>
                      <a:lnTo>
                        <a:pt x="939957" y="687611"/>
                      </a:lnTo>
                      <a:lnTo>
                        <a:pt x="940560" y="685800"/>
                      </a:lnTo>
                      <a:lnTo>
                        <a:pt x="948408" y="687007"/>
                      </a:lnTo>
                      <a:lnTo>
                        <a:pt x="950219" y="683385"/>
                      </a:lnTo>
                      <a:lnTo>
                        <a:pt x="942975" y="681574"/>
                      </a:lnTo>
                      <a:lnTo>
                        <a:pt x="937542" y="676744"/>
                      </a:lnTo>
                      <a:lnTo>
                        <a:pt x="932712" y="679159"/>
                      </a:lnTo>
                      <a:lnTo>
                        <a:pt x="909168" y="679159"/>
                      </a:lnTo>
                      <a:lnTo>
                        <a:pt x="901320" y="683385"/>
                      </a:lnTo>
                      <a:lnTo>
                        <a:pt x="898905" y="683989"/>
                      </a:lnTo>
                      <a:lnTo>
                        <a:pt x="894076" y="679159"/>
                      </a:lnTo>
                      <a:lnTo>
                        <a:pt x="892868" y="671915"/>
                      </a:lnTo>
                      <a:lnTo>
                        <a:pt x="897698" y="665274"/>
                      </a:lnTo>
                      <a:lnTo>
                        <a:pt x="897698" y="661048"/>
                      </a:lnTo>
                      <a:lnTo>
                        <a:pt x="899509" y="653804"/>
                      </a:lnTo>
                      <a:lnTo>
                        <a:pt x="903131" y="647163"/>
                      </a:lnTo>
                      <a:lnTo>
                        <a:pt x="895887" y="641730"/>
                      </a:lnTo>
                      <a:lnTo>
                        <a:pt x="893472" y="641127"/>
                      </a:lnTo>
                      <a:lnTo>
                        <a:pt x="890453" y="630864"/>
                      </a:lnTo>
                      <a:lnTo>
                        <a:pt x="889246" y="622412"/>
                      </a:lnTo>
                      <a:lnTo>
                        <a:pt x="890453" y="609131"/>
                      </a:lnTo>
                      <a:lnTo>
                        <a:pt x="892868" y="601282"/>
                      </a:lnTo>
                      <a:lnTo>
                        <a:pt x="894679" y="591020"/>
                      </a:lnTo>
                      <a:lnTo>
                        <a:pt x="898905" y="574116"/>
                      </a:lnTo>
                      <a:lnTo>
                        <a:pt x="903131" y="566268"/>
                      </a:lnTo>
                      <a:lnTo>
                        <a:pt x="906150" y="563249"/>
                      </a:lnTo>
                      <a:lnTo>
                        <a:pt x="912187" y="559627"/>
                      </a:lnTo>
                      <a:lnTo>
                        <a:pt x="919431" y="559627"/>
                      </a:lnTo>
                      <a:lnTo>
                        <a:pt x="930297" y="566872"/>
                      </a:lnTo>
                      <a:lnTo>
                        <a:pt x="942371" y="568683"/>
                      </a:lnTo>
                      <a:lnTo>
                        <a:pt x="950823" y="555401"/>
                      </a:lnTo>
                      <a:lnTo>
                        <a:pt x="954445" y="552987"/>
                      </a:lnTo>
                      <a:lnTo>
                        <a:pt x="965312" y="558420"/>
                      </a:lnTo>
                      <a:lnTo>
                        <a:pt x="971349" y="556005"/>
                      </a:lnTo>
                      <a:lnTo>
                        <a:pt x="970141" y="552987"/>
                      </a:lnTo>
                      <a:lnTo>
                        <a:pt x="964708" y="554194"/>
                      </a:lnTo>
                      <a:lnTo>
                        <a:pt x="959879" y="545139"/>
                      </a:lnTo>
                      <a:lnTo>
                        <a:pt x="953238" y="548761"/>
                      </a:lnTo>
                      <a:lnTo>
                        <a:pt x="942371" y="556609"/>
                      </a:lnTo>
                      <a:lnTo>
                        <a:pt x="928486" y="555401"/>
                      </a:lnTo>
                      <a:lnTo>
                        <a:pt x="921846" y="548157"/>
                      </a:lnTo>
                      <a:lnTo>
                        <a:pt x="917016" y="544535"/>
                      </a:lnTo>
                      <a:lnTo>
                        <a:pt x="911583" y="545742"/>
                      </a:lnTo>
                      <a:lnTo>
                        <a:pt x="904338" y="551175"/>
                      </a:lnTo>
                      <a:lnTo>
                        <a:pt x="901320" y="550572"/>
                      </a:lnTo>
                      <a:lnTo>
                        <a:pt x="898301" y="553590"/>
                      </a:lnTo>
                      <a:lnTo>
                        <a:pt x="895887" y="551779"/>
                      </a:lnTo>
                      <a:lnTo>
                        <a:pt x="889850" y="557212"/>
                      </a:lnTo>
                      <a:lnTo>
                        <a:pt x="886228" y="563853"/>
                      </a:lnTo>
                      <a:lnTo>
                        <a:pt x="883813" y="563249"/>
                      </a:lnTo>
                      <a:lnTo>
                        <a:pt x="887435" y="554194"/>
                      </a:lnTo>
                      <a:lnTo>
                        <a:pt x="883209" y="554194"/>
                      </a:lnTo>
                      <a:lnTo>
                        <a:pt x="875361" y="540913"/>
                      </a:lnTo>
                      <a:lnTo>
                        <a:pt x="865702" y="538498"/>
                      </a:lnTo>
                      <a:lnTo>
                        <a:pt x="868720" y="534876"/>
                      </a:lnTo>
                      <a:lnTo>
                        <a:pt x="869324" y="529443"/>
                      </a:lnTo>
                      <a:lnTo>
                        <a:pt x="863891" y="533065"/>
                      </a:lnTo>
                      <a:lnTo>
                        <a:pt x="862683" y="537291"/>
                      </a:lnTo>
                      <a:lnTo>
                        <a:pt x="865702" y="541516"/>
                      </a:lnTo>
                      <a:lnTo>
                        <a:pt x="870531" y="541516"/>
                      </a:lnTo>
                      <a:lnTo>
                        <a:pt x="871739" y="544535"/>
                      </a:lnTo>
                      <a:lnTo>
                        <a:pt x="871135" y="552383"/>
                      </a:lnTo>
                      <a:lnTo>
                        <a:pt x="871739" y="557212"/>
                      </a:lnTo>
                      <a:lnTo>
                        <a:pt x="868720" y="563249"/>
                      </a:lnTo>
                      <a:lnTo>
                        <a:pt x="863287" y="556005"/>
                      </a:lnTo>
                      <a:lnTo>
                        <a:pt x="860269" y="557816"/>
                      </a:lnTo>
                      <a:lnTo>
                        <a:pt x="861476" y="563249"/>
                      </a:lnTo>
                      <a:lnTo>
                        <a:pt x="866306" y="566872"/>
                      </a:lnTo>
                      <a:lnTo>
                        <a:pt x="865702" y="572305"/>
                      </a:lnTo>
                      <a:lnTo>
                        <a:pt x="859665" y="568683"/>
                      </a:lnTo>
                      <a:lnTo>
                        <a:pt x="859665" y="574116"/>
                      </a:lnTo>
                      <a:lnTo>
                        <a:pt x="856646" y="577738"/>
                      </a:lnTo>
                      <a:lnTo>
                        <a:pt x="852420" y="578946"/>
                      </a:lnTo>
                      <a:lnTo>
                        <a:pt x="849402" y="588605"/>
                      </a:lnTo>
                      <a:lnTo>
                        <a:pt x="848195" y="595849"/>
                      </a:lnTo>
                      <a:lnTo>
                        <a:pt x="843365" y="615168"/>
                      </a:lnTo>
                      <a:lnTo>
                        <a:pt x="839743" y="616979"/>
                      </a:lnTo>
                      <a:lnTo>
                        <a:pt x="839743" y="612149"/>
                      </a:lnTo>
                      <a:lnTo>
                        <a:pt x="837932" y="610942"/>
                      </a:lnTo>
                      <a:lnTo>
                        <a:pt x="839743" y="603697"/>
                      </a:lnTo>
                      <a:lnTo>
                        <a:pt x="836121" y="600679"/>
                      </a:lnTo>
                      <a:lnTo>
                        <a:pt x="835517" y="596453"/>
                      </a:lnTo>
                      <a:lnTo>
                        <a:pt x="845176" y="591623"/>
                      </a:lnTo>
                      <a:lnTo>
                        <a:pt x="848798" y="591020"/>
                      </a:lnTo>
                      <a:lnTo>
                        <a:pt x="848195" y="584379"/>
                      </a:lnTo>
                      <a:lnTo>
                        <a:pt x="842158" y="587397"/>
                      </a:lnTo>
                      <a:lnTo>
                        <a:pt x="843365" y="590416"/>
                      </a:lnTo>
                      <a:lnTo>
                        <a:pt x="834913" y="595245"/>
                      </a:lnTo>
                      <a:lnTo>
                        <a:pt x="833706" y="597057"/>
                      </a:lnTo>
                      <a:lnTo>
                        <a:pt x="833706" y="607319"/>
                      </a:lnTo>
                      <a:lnTo>
                        <a:pt x="831291" y="617582"/>
                      </a:lnTo>
                      <a:lnTo>
                        <a:pt x="833706" y="624223"/>
                      </a:lnTo>
                      <a:lnTo>
                        <a:pt x="838535" y="632071"/>
                      </a:lnTo>
                      <a:lnTo>
                        <a:pt x="839743" y="655615"/>
                      </a:lnTo>
                      <a:lnTo>
                        <a:pt x="841554" y="661652"/>
                      </a:lnTo>
                      <a:lnTo>
                        <a:pt x="839139" y="669500"/>
                      </a:lnTo>
                      <a:lnTo>
                        <a:pt x="843365" y="676744"/>
                      </a:lnTo>
                      <a:lnTo>
                        <a:pt x="844572" y="682178"/>
                      </a:lnTo>
                      <a:lnTo>
                        <a:pt x="848195" y="687007"/>
                      </a:lnTo>
                      <a:lnTo>
                        <a:pt x="848798" y="690630"/>
                      </a:lnTo>
                      <a:lnTo>
                        <a:pt x="840950" y="702704"/>
                      </a:lnTo>
                      <a:lnTo>
                        <a:pt x="840347" y="709948"/>
                      </a:lnTo>
                      <a:lnTo>
                        <a:pt x="838535" y="718400"/>
                      </a:lnTo>
                      <a:lnTo>
                        <a:pt x="834310" y="728663"/>
                      </a:lnTo>
                      <a:lnTo>
                        <a:pt x="827669" y="737114"/>
                      </a:lnTo>
                      <a:lnTo>
                        <a:pt x="821028" y="743151"/>
                      </a:lnTo>
                      <a:lnTo>
                        <a:pt x="820424" y="746170"/>
                      </a:lnTo>
                      <a:lnTo>
                        <a:pt x="812576" y="755225"/>
                      </a:lnTo>
                      <a:lnTo>
                        <a:pt x="808351" y="763073"/>
                      </a:lnTo>
                      <a:lnTo>
                        <a:pt x="808954" y="766092"/>
                      </a:lnTo>
                      <a:lnTo>
                        <a:pt x="802917" y="775147"/>
                      </a:lnTo>
                      <a:lnTo>
                        <a:pt x="804125" y="778769"/>
                      </a:lnTo>
                      <a:lnTo>
                        <a:pt x="808954" y="781184"/>
                      </a:lnTo>
                      <a:lnTo>
                        <a:pt x="809558" y="784806"/>
                      </a:lnTo>
                      <a:lnTo>
                        <a:pt x="803521" y="787221"/>
                      </a:lnTo>
                      <a:lnTo>
                        <a:pt x="801106" y="790240"/>
                      </a:lnTo>
                      <a:lnTo>
                        <a:pt x="787825" y="797484"/>
                      </a:lnTo>
                      <a:lnTo>
                        <a:pt x="790240" y="789636"/>
                      </a:lnTo>
                      <a:lnTo>
                        <a:pt x="782995" y="795069"/>
                      </a:lnTo>
                      <a:lnTo>
                        <a:pt x="784203" y="798088"/>
                      </a:lnTo>
                      <a:lnTo>
                        <a:pt x="775751" y="803521"/>
                      </a:lnTo>
                      <a:lnTo>
                        <a:pt x="768507" y="804728"/>
                      </a:lnTo>
                      <a:lnTo>
                        <a:pt x="743755" y="816802"/>
                      </a:lnTo>
                      <a:lnTo>
                        <a:pt x="741944" y="821028"/>
                      </a:lnTo>
                      <a:lnTo>
                        <a:pt x="737114" y="824650"/>
                      </a:lnTo>
                      <a:lnTo>
                        <a:pt x="728059" y="824650"/>
                      </a:lnTo>
                      <a:lnTo>
                        <a:pt x="719607" y="830084"/>
                      </a:lnTo>
                      <a:lnTo>
                        <a:pt x="716589" y="829480"/>
                      </a:lnTo>
                      <a:lnTo>
                        <a:pt x="711155" y="831895"/>
                      </a:lnTo>
                      <a:lnTo>
                        <a:pt x="711155" y="835517"/>
                      </a:lnTo>
                      <a:lnTo>
                        <a:pt x="703307" y="837328"/>
                      </a:lnTo>
                      <a:lnTo>
                        <a:pt x="688819" y="842158"/>
                      </a:lnTo>
                      <a:lnTo>
                        <a:pt x="685800" y="840950"/>
                      </a:lnTo>
                      <a:lnTo>
                        <a:pt x="677952" y="853628"/>
                      </a:lnTo>
                      <a:lnTo>
                        <a:pt x="671915" y="855439"/>
                      </a:lnTo>
                      <a:lnTo>
                        <a:pt x="670104" y="858457"/>
                      </a:lnTo>
                      <a:lnTo>
                        <a:pt x="662860" y="858457"/>
                      </a:lnTo>
                      <a:lnTo>
                        <a:pt x="656219" y="862080"/>
                      </a:lnTo>
                      <a:lnTo>
                        <a:pt x="645956" y="863287"/>
                      </a:lnTo>
                      <a:lnTo>
                        <a:pt x="627845" y="872946"/>
                      </a:lnTo>
                      <a:lnTo>
                        <a:pt x="623016" y="872946"/>
                      </a:lnTo>
                      <a:lnTo>
                        <a:pt x="621204" y="875964"/>
                      </a:lnTo>
                      <a:lnTo>
                        <a:pt x="611545" y="878379"/>
                      </a:lnTo>
                      <a:lnTo>
                        <a:pt x="610338" y="883209"/>
                      </a:lnTo>
                      <a:lnTo>
                        <a:pt x="602490" y="882605"/>
                      </a:lnTo>
                      <a:lnTo>
                        <a:pt x="597660" y="883209"/>
                      </a:lnTo>
                      <a:lnTo>
                        <a:pt x="589812" y="888642"/>
                      </a:lnTo>
                      <a:lnTo>
                        <a:pt x="586794" y="886831"/>
                      </a:lnTo>
                      <a:lnTo>
                        <a:pt x="577738" y="885624"/>
                      </a:lnTo>
                      <a:lnTo>
                        <a:pt x="571701" y="889246"/>
                      </a:lnTo>
                      <a:lnTo>
                        <a:pt x="569287" y="888038"/>
                      </a:lnTo>
                      <a:lnTo>
                        <a:pt x="565061" y="888642"/>
                      </a:lnTo>
                      <a:lnTo>
                        <a:pt x="560231" y="889850"/>
                      </a:lnTo>
                      <a:lnTo>
                        <a:pt x="557213" y="894075"/>
                      </a:lnTo>
                      <a:lnTo>
                        <a:pt x="556609" y="893472"/>
                      </a:lnTo>
                      <a:lnTo>
                        <a:pt x="553590" y="893472"/>
                      </a:lnTo>
                      <a:lnTo>
                        <a:pt x="553590" y="889850"/>
                      </a:lnTo>
                      <a:lnTo>
                        <a:pt x="549968" y="883813"/>
                      </a:lnTo>
                      <a:lnTo>
                        <a:pt x="551176" y="877776"/>
                      </a:lnTo>
                      <a:lnTo>
                        <a:pt x="557816" y="874757"/>
                      </a:lnTo>
                      <a:lnTo>
                        <a:pt x="558420" y="869928"/>
                      </a:lnTo>
                      <a:lnTo>
                        <a:pt x="557213" y="866305"/>
                      </a:lnTo>
                      <a:lnTo>
                        <a:pt x="548761" y="866909"/>
                      </a:lnTo>
                      <a:lnTo>
                        <a:pt x="546346" y="865702"/>
                      </a:lnTo>
                      <a:lnTo>
                        <a:pt x="546950" y="860872"/>
                      </a:lnTo>
                      <a:lnTo>
                        <a:pt x="556005" y="857250"/>
                      </a:lnTo>
                      <a:lnTo>
                        <a:pt x="559024" y="854835"/>
                      </a:lnTo>
                      <a:lnTo>
                        <a:pt x="559627" y="850610"/>
                      </a:lnTo>
                      <a:lnTo>
                        <a:pt x="557213" y="843969"/>
                      </a:lnTo>
                      <a:lnTo>
                        <a:pt x="554798" y="839139"/>
                      </a:lnTo>
                      <a:lnTo>
                        <a:pt x="551176" y="837932"/>
                      </a:lnTo>
                      <a:lnTo>
                        <a:pt x="548761" y="837932"/>
                      </a:lnTo>
                      <a:lnTo>
                        <a:pt x="548157" y="836121"/>
                      </a:lnTo>
                      <a:lnTo>
                        <a:pt x="543328" y="838536"/>
                      </a:lnTo>
                      <a:lnTo>
                        <a:pt x="540309" y="837328"/>
                      </a:lnTo>
                      <a:lnTo>
                        <a:pt x="537291" y="838536"/>
                      </a:lnTo>
                      <a:lnTo>
                        <a:pt x="534272" y="836724"/>
                      </a:lnTo>
                      <a:lnTo>
                        <a:pt x="533065" y="837932"/>
                      </a:lnTo>
                      <a:lnTo>
                        <a:pt x="531857" y="837932"/>
                      </a:lnTo>
                      <a:lnTo>
                        <a:pt x="529442" y="835517"/>
                      </a:lnTo>
                      <a:lnTo>
                        <a:pt x="526424" y="831895"/>
                      </a:lnTo>
                      <a:lnTo>
                        <a:pt x="524613" y="831895"/>
                      </a:lnTo>
                      <a:lnTo>
                        <a:pt x="526424" y="834913"/>
                      </a:lnTo>
                      <a:lnTo>
                        <a:pt x="524009" y="838536"/>
                      </a:lnTo>
                      <a:lnTo>
                        <a:pt x="521594" y="843365"/>
                      </a:lnTo>
                      <a:lnTo>
                        <a:pt x="521594" y="848798"/>
                      </a:lnTo>
                      <a:lnTo>
                        <a:pt x="516765" y="855439"/>
                      </a:lnTo>
                      <a:lnTo>
                        <a:pt x="513746" y="863891"/>
                      </a:lnTo>
                      <a:lnTo>
                        <a:pt x="513143" y="869324"/>
                      </a:lnTo>
                      <a:lnTo>
                        <a:pt x="514350" y="873550"/>
                      </a:lnTo>
                      <a:lnTo>
                        <a:pt x="514350" y="877172"/>
                      </a:lnTo>
                      <a:lnTo>
                        <a:pt x="512539" y="880190"/>
                      </a:lnTo>
                      <a:lnTo>
                        <a:pt x="513143" y="880794"/>
                      </a:lnTo>
                      <a:lnTo>
                        <a:pt x="511935" y="882001"/>
                      </a:lnTo>
                      <a:lnTo>
                        <a:pt x="506502" y="882001"/>
                      </a:lnTo>
                      <a:lnTo>
                        <a:pt x="494428" y="877776"/>
                      </a:lnTo>
                      <a:lnTo>
                        <a:pt x="487184" y="872946"/>
                      </a:lnTo>
                      <a:lnTo>
                        <a:pt x="485373" y="873550"/>
                      </a:lnTo>
                      <a:lnTo>
                        <a:pt x="476921" y="868720"/>
                      </a:lnTo>
                      <a:lnTo>
                        <a:pt x="464243" y="862080"/>
                      </a:lnTo>
                      <a:lnTo>
                        <a:pt x="454584" y="853024"/>
                      </a:lnTo>
                      <a:lnTo>
                        <a:pt x="448547" y="851213"/>
                      </a:lnTo>
                      <a:lnTo>
                        <a:pt x="444925" y="848195"/>
                      </a:lnTo>
                      <a:lnTo>
                        <a:pt x="439492" y="845780"/>
                      </a:lnTo>
                      <a:lnTo>
                        <a:pt x="420173" y="830084"/>
                      </a:lnTo>
                      <a:lnTo>
                        <a:pt x="402666" y="814388"/>
                      </a:lnTo>
                      <a:lnTo>
                        <a:pt x="400251" y="811369"/>
                      </a:lnTo>
                      <a:lnTo>
                        <a:pt x="385763" y="798088"/>
                      </a:lnTo>
                      <a:lnTo>
                        <a:pt x="379726" y="790240"/>
                      </a:lnTo>
                      <a:lnTo>
                        <a:pt x="374896" y="785410"/>
                      </a:lnTo>
                      <a:lnTo>
                        <a:pt x="351352" y="757640"/>
                      </a:lnTo>
                      <a:lnTo>
                        <a:pt x="335052" y="736511"/>
                      </a:lnTo>
                      <a:lnTo>
                        <a:pt x="314526" y="712363"/>
                      </a:lnTo>
                      <a:lnTo>
                        <a:pt x="316941" y="706929"/>
                      </a:lnTo>
                      <a:lnTo>
                        <a:pt x="324185" y="701496"/>
                      </a:lnTo>
                      <a:lnTo>
                        <a:pt x="324789" y="697874"/>
                      </a:lnTo>
                      <a:lnTo>
                        <a:pt x="322374" y="694252"/>
                      </a:lnTo>
                      <a:lnTo>
                        <a:pt x="320563" y="688818"/>
                      </a:lnTo>
                      <a:lnTo>
                        <a:pt x="316941" y="689422"/>
                      </a:lnTo>
                      <a:lnTo>
                        <a:pt x="310904" y="687007"/>
                      </a:lnTo>
                      <a:lnTo>
                        <a:pt x="309697" y="690026"/>
                      </a:lnTo>
                      <a:lnTo>
                        <a:pt x="314526" y="694855"/>
                      </a:lnTo>
                      <a:lnTo>
                        <a:pt x="312715" y="699081"/>
                      </a:lnTo>
                      <a:lnTo>
                        <a:pt x="316941" y="703307"/>
                      </a:lnTo>
                      <a:lnTo>
                        <a:pt x="315130" y="709948"/>
                      </a:lnTo>
                      <a:lnTo>
                        <a:pt x="309093" y="707533"/>
                      </a:lnTo>
                      <a:lnTo>
                        <a:pt x="291586" y="688215"/>
                      </a:lnTo>
                      <a:lnTo>
                        <a:pt x="284945" y="686404"/>
                      </a:lnTo>
                      <a:lnTo>
                        <a:pt x="270456" y="672519"/>
                      </a:lnTo>
                      <a:lnTo>
                        <a:pt x="265627" y="666482"/>
                      </a:lnTo>
                      <a:lnTo>
                        <a:pt x="257175" y="659841"/>
                      </a:lnTo>
                      <a:lnTo>
                        <a:pt x="248723" y="651389"/>
                      </a:lnTo>
                      <a:lnTo>
                        <a:pt x="245101" y="646560"/>
                      </a:lnTo>
                      <a:lnTo>
                        <a:pt x="239668" y="643541"/>
                      </a:lnTo>
                      <a:lnTo>
                        <a:pt x="222764" y="628449"/>
                      </a:lnTo>
                      <a:lnTo>
                        <a:pt x="211294" y="616375"/>
                      </a:lnTo>
                      <a:lnTo>
                        <a:pt x="192579" y="594642"/>
                      </a:lnTo>
                      <a:lnTo>
                        <a:pt x="184731" y="584983"/>
                      </a:lnTo>
                      <a:lnTo>
                        <a:pt x="179298" y="580153"/>
                      </a:lnTo>
                      <a:lnTo>
                        <a:pt x="170846" y="568683"/>
                      </a:lnTo>
                      <a:lnTo>
                        <a:pt x="163602" y="560835"/>
                      </a:lnTo>
                      <a:lnTo>
                        <a:pt x="157565" y="552383"/>
                      </a:lnTo>
                      <a:lnTo>
                        <a:pt x="158169" y="549968"/>
                      </a:lnTo>
                      <a:lnTo>
                        <a:pt x="153943" y="538498"/>
                      </a:lnTo>
                      <a:lnTo>
                        <a:pt x="155754" y="533668"/>
                      </a:lnTo>
                      <a:lnTo>
                        <a:pt x="158169" y="531857"/>
                      </a:lnTo>
                      <a:lnTo>
                        <a:pt x="158169" y="526424"/>
                      </a:lnTo>
                      <a:lnTo>
                        <a:pt x="164206" y="515558"/>
                      </a:lnTo>
                      <a:lnTo>
                        <a:pt x="169035" y="510124"/>
                      </a:lnTo>
                      <a:lnTo>
                        <a:pt x="184128" y="501069"/>
                      </a:lnTo>
                      <a:lnTo>
                        <a:pt x="182920" y="506502"/>
                      </a:lnTo>
                      <a:lnTo>
                        <a:pt x="176280" y="511935"/>
                      </a:lnTo>
                      <a:lnTo>
                        <a:pt x="181713" y="519783"/>
                      </a:lnTo>
                      <a:lnTo>
                        <a:pt x="184128" y="520387"/>
                      </a:lnTo>
                      <a:lnTo>
                        <a:pt x="190165" y="516765"/>
                      </a:lnTo>
                      <a:lnTo>
                        <a:pt x="193183" y="519180"/>
                      </a:lnTo>
                      <a:lnTo>
                        <a:pt x="198013" y="518576"/>
                      </a:lnTo>
                      <a:lnTo>
                        <a:pt x="199824" y="516161"/>
                      </a:lnTo>
                      <a:lnTo>
                        <a:pt x="207068" y="513746"/>
                      </a:lnTo>
                      <a:lnTo>
                        <a:pt x="208879" y="520991"/>
                      </a:lnTo>
                      <a:lnTo>
                        <a:pt x="205257" y="522802"/>
                      </a:lnTo>
                      <a:lnTo>
                        <a:pt x="204050" y="528839"/>
                      </a:lnTo>
                      <a:lnTo>
                        <a:pt x="201635" y="531254"/>
                      </a:lnTo>
                      <a:lnTo>
                        <a:pt x="200427" y="537291"/>
                      </a:lnTo>
                      <a:lnTo>
                        <a:pt x="202239" y="542120"/>
                      </a:lnTo>
                      <a:lnTo>
                        <a:pt x="209483" y="548761"/>
                      </a:lnTo>
                      <a:lnTo>
                        <a:pt x="213709" y="550572"/>
                      </a:lnTo>
                      <a:lnTo>
                        <a:pt x="227594" y="546346"/>
                      </a:lnTo>
                      <a:lnTo>
                        <a:pt x="236046" y="540309"/>
                      </a:lnTo>
                      <a:lnTo>
                        <a:pt x="237253" y="534272"/>
                      </a:lnTo>
                      <a:lnTo>
                        <a:pt x="242686" y="536083"/>
                      </a:lnTo>
                      <a:lnTo>
                        <a:pt x="253553" y="537894"/>
                      </a:lnTo>
                      <a:lnTo>
                        <a:pt x="261401" y="533065"/>
                      </a:lnTo>
                      <a:lnTo>
                        <a:pt x="263816" y="534272"/>
                      </a:lnTo>
                      <a:lnTo>
                        <a:pt x="268042" y="532461"/>
                      </a:lnTo>
                      <a:lnTo>
                        <a:pt x="268645" y="528839"/>
                      </a:lnTo>
                      <a:lnTo>
                        <a:pt x="273475" y="524613"/>
                      </a:lnTo>
                      <a:lnTo>
                        <a:pt x="275286" y="513143"/>
                      </a:lnTo>
                      <a:lnTo>
                        <a:pt x="280719" y="517972"/>
                      </a:lnTo>
                      <a:lnTo>
                        <a:pt x="282530" y="526424"/>
                      </a:lnTo>
                      <a:lnTo>
                        <a:pt x="286152" y="525820"/>
                      </a:lnTo>
                      <a:lnTo>
                        <a:pt x="290982" y="530046"/>
                      </a:lnTo>
                      <a:lnTo>
                        <a:pt x="294604" y="530046"/>
                      </a:lnTo>
                      <a:lnTo>
                        <a:pt x="294604" y="526424"/>
                      </a:lnTo>
                      <a:lnTo>
                        <a:pt x="300038" y="528839"/>
                      </a:lnTo>
                      <a:lnTo>
                        <a:pt x="302452" y="528235"/>
                      </a:lnTo>
                      <a:lnTo>
                        <a:pt x="304263" y="520387"/>
                      </a:lnTo>
                      <a:lnTo>
                        <a:pt x="311508" y="519783"/>
                      </a:lnTo>
                      <a:lnTo>
                        <a:pt x="310300" y="514350"/>
                      </a:lnTo>
                      <a:lnTo>
                        <a:pt x="312111" y="511332"/>
                      </a:lnTo>
                      <a:lnTo>
                        <a:pt x="309697" y="507709"/>
                      </a:lnTo>
                      <a:lnTo>
                        <a:pt x="315734" y="505295"/>
                      </a:lnTo>
                      <a:lnTo>
                        <a:pt x="319960" y="505898"/>
                      </a:lnTo>
                      <a:lnTo>
                        <a:pt x="321167" y="512539"/>
                      </a:lnTo>
                      <a:lnTo>
                        <a:pt x="324185" y="511332"/>
                      </a:lnTo>
                      <a:lnTo>
                        <a:pt x="330826" y="517972"/>
                      </a:lnTo>
                      <a:lnTo>
                        <a:pt x="333845" y="517972"/>
                      </a:lnTo>
                      <a:lnTo>
                        <a:pt x="336863" y="512539"/>
                      </a:lnTo>
                      <a:lnTo>
                        <a:pt x="338070" y="507106"/>
                      </a:lnTo>
                      <a:lnTo>
                        <a:pt x="340485" y="506502"/>
                      </a:lnTo>
                      <a:lnTo>
                        <a:pt x="344711" y="508313"/>
                      </a:lnTo>
                      <a:lnTo>
                        <a:pt x="354974" y="502276"/>
                      </a:lnTo>
                      <a:lnTo>
                        <a:pt x="355578" y="499258"/>
                      </a:lnTo>
                      <a:lnTo>
                        <a:pt x="359804" y="493824"/>
                      </a:lnTo>
                      <a:lnTo>
                        <a:pt x="361615" y="493824"/>
                      </a:lnTo>
                      <a:lnTo>
                        <a:pt x="362218" y="491410"/>
                      </a:lnTo>
                      <a:lnTo>
                        <a:pt x="356181" y="493824"/>
                      </a:lnTo>
                      <a:lnTo>
                        <a:pt x="351955" y="493824"/>
                      </a:lnTo>
                      <a:lnTo>
                        <a:pt x="353163" y="485976"/>
                      </a:lnTo>
                      <a:lnTo>
                        <a:pt x="356785" y="484769"/>
                      </a:lnTo>
                      <a:close/>
                      <a:moveTo>
                        <a:pt x="375500" y="475713"/>
                      </a:moveTo>
                      <a:lnTo>
                        <a:pt x="378518" y="477524"/>
                      </a:lnTo>
                      <a:lnTo>
                        <a:pt x="379122" y="481147"/>
                      </a:lnTo>
                      <a:lnTo>
                        <a:pt x="374896" y="484769"/>
                      </a:lnTo>
                      <a:lnTo>
                        <a:pt x="365841" y="486580"/>
                      </a:lnTo>
                      <a:lnTo>
                        <a:pt x="364633" y="482958"/>
                      </a:lnTo>
                      <a:lnTo>
                        <a:pt x="366444" y="479336"/>
                      </a:lnTo>
                      <a:lnTo>
                        <a:pt x="375500" y="475713"/>
                      </a:lnTo>
                      <a:close/>
                      <a:moveTo>
                        <a:pt x="466054" y="373085"/>
                      </a:moveTo>
                      <a:lnTo>
                        <a:pt x="463639" y="380329"/>
                      </a:lnTo>
                      <a:lnTo>
                        <a:pt x="461225" y="385159"/>
                      </a:lnTo>
                      <a:lnTo>
                        <a:pt x="458810" y="380933"/>
                      </a:lnTo>
                      <a:lnTo>
                        <a:pt x="466054" y="373085"/>
                      </a:lnTo>
                      <a:close/>
                      <a:moveTo>
                        <a:pt x="76066" y="314526"/>
                      </a:moveTo>
                      <a:lnTo>
                        <a:pt x="77877" y="316941"/>
                      </a:lnTo>
                      <a:lnTo>
                        <a:pt x="82707" y="316337"/>
                      </a:lnTo>
                      <a:lnTo>
                        <a:pt x="86329" y="318149"/>
                      </a:lnTo>
                      <a:lnTo>
                        <a:pt x="88140" y="323582"/>
                      </a:lnTo>
                      <a:lnTo>
                        <a:pt x="79084" y="325996"/>
                      </a:lnTo>
                      <a:lnTo>
                        <a:pt x="78481" y="328411"/>
                      </a:lnTo>
                      <a:lnTo>
                        <a:pt x="72444" y="324789"/>
                      </a:lnTo>
                      <a:lnTo>
                        <a:pt x="77877" y="321167"/>
                      </a:lnTo>
                      <a:lnTo>
                        <a:pt x="75462" y="318149"/>
                      </a:lnTo>
                      <a:lnTo>
                        <a:pt x="76066" y="314526"/>
                      </a:lnTo>
                      <a:close/>
                      <a:moveTo>
                        <a:pt x="65803" y="307886"/>
                      </a:moveTo>
                      <a:lnTo>
                        <a:pt x="70029" y="309093"/>
                      </a:lnTo>
                      <a:lnTo>
                        <a:pt x="71840" y="313923"/>
                      </a:lnTo>
                      <a:lnTo>
                        <a:pt x="66407" y="313319"/>
                      </a:lnTo>
                      <a:lnTo>
                        <a:pt x="65803" y="307886"/>
                      </a:lnTo>
                      <a:close/>
                      <a:moveTo>
                        <a:pt x="82707" y="300641"/>
                      </a:moveTo>
                      <a:lnTo>
                        <a:pt x="85725" y="304867"/>
                      </a:lnTo>
                      <a:lnTo>
                        <a:pt x="88743" y="305471"/>
                      </a:lnTo>
                      <a:lnTo>
                        <a:pt x="88743" y="310904"/>
                      </a:lnTo>
                      <a:lnTo>
                        <a:pt x="83914" y="309093"/>
                      </a:lnTo>
                      <a:lnTo>
                        <a:pt x="79084" y="301245"/>
                      </a:lnTo>
                      <a:lnTo>
                        <a:pt x="82707" y="300641"/>
                      </a:lnTo>
                      <a:close/>
                      <a:moveTo>
                        <a:pt x="65803" y="282530"/>
                      </a:moveTo>
                      <a:lnTo>
                        <a:pt x="68821" y="286756"/>
                      </a:lnTo>
                      <a:lnTo>
                        <a:pt x="65199" y="287964"/>
                      </a:lnTo>
                      <a:lnTo>
                        <a:pt x="65803" y="282530"/>
                      </a:lnTo>
                      <a:close/>
                      <a:moveTo>
                        <a:pt x="58559" y="277097"/>
                      </a:moveTo>
                      <a:lnTo>
                        <a:pt x="63388" y="281927"/>
                      </a:lnTo>
                      <a:lnTo>
                        <a:pt x="61577" y="294001"/>
                      </a:lnTo>
                      <a:lnTo>
                        <a:pt x="57351" y="294001"/>
                      </a:lnTo>
                      <a:lnTo>
                        <a:pt x="56144" y="287360"/>
                      </a:lnTo>
                      <a:lnTo>
                        <a:pt x="56144" y="283134"/>
                      </a:lnTo>
                      <a:lnTo>
                        <a:pt x="50711" y="286153"/>
                      </a:lnTo>
                      <a:lnTo>
                        <a:pt x="52522" y="280116"/>
                      </a:lnTo>
                      <a:lnTo>
                        <a:pt x="58559" y="277097"/>
                      </a:lnTo>
                      <a:close/>
                      <a:moveTo>
                        <a:pt x="60370" y="250534"/>
                      </a:moveTo>
                      <a:lnTo>
                        <a:pt x="61577" y="255968"/>
                      </a:lnTo>
                      <a:lnTo>
                        <a:pt x="57955" y="260797"/>
                      </a:lnTo>
                      <a:lnTo>
                        <a:pt x="53125" y="263212"/>
                      </a:lnTo>
                      <a:lnTo>
                        <a:pt x="50711" y="259590"/>
                      </a:lnTo>
                      <a:lnTo>
                        <a:pt x="54333" y="257779"/>
                      </a:lnTo>
                      <a:lnTo>
                        <a:pt x="57955" y="251742"/>
                      </a:lnTo>
                      <a:lnTo>
                        <a:pt x="60370" y="250534"/>
                      </a:lnTo>
                      <a:close/>
                      <a:moveTo>
                        <a:pt x="55540" y="244497"/>
                      </a:moveTo>
                      <a:lnTo>
                        <a:pt x="57351" y="249327"/>
                      </a:lnTo>
                      <a:lnTo>
                        <a:pt x="51918" y="249327"/>
                      </a:lnTo>
                      <a:lnTo>
                        <a:pt x="50711" y="246308"/>
                      </a:lnTo>
                      <a:lnTo>
                        <a:pt x="55540" y="244497"/>
                      </a:lnTo>
                      <a:close/>
                      <a:moveTo>
                        <a:pt x="35014" y="204050"/>
                      </a:moveTo>
                      <a:lnTo>
                        <a:pt x="43466" y="208276"/>
                      </a:lnTo>
                      <a:lnTo>
                        <a:pt x="48899" y="205861"/>
                      </a:lnTo>
                      <a:lnTo>
                        <a:pt x="47088" y="215520"/>
                      </a:lnTo>
                      <a:lnTo>
                        <a:pt x="47692" y="220953"/>
                      </a:lnTo>
                      <a:lnTo>
                        <a:pt x="41655" y="237857"/>
                      </a:lnTo>
                      <a:lnTo>
                        <a:pt x="35014" y="243894"/>
                      </a:lnTo>
                      <a:lnTo>
                        <a:pt x="32600" y="250534"/>
                      </a:lnTo>
                      <a:lnTo>
                        <a:pt x="21733" y="254760"/>
                      </a:lnTo>
                      <a:lnTo>
                        <a:pt x="18111" y="253553"/>
                      </a:lnTo>
                      <a:lnTo>
                        <a:pt x="15696" y="249327"/>
                      </a:lnTo>
                      <a:lnTo>
                        <a:pt x="9055" y="252345"/>
                      </a:lnTo>
                      <a:lnTo>
                        <a:pt x="7848" y="250534"/>
                      </a:lnTo>
                      <a:lnTo>
                        <a:pt x="1207" y="249327"/>
                      </a:lnTo>
                      <a:lnTo>
                        <a:pt x="0" y="243894"/>
                      </a:lnTo>
                      <a:lnTo>
                        <a:pt x="4226" y="240875"/>
                      </a:lnTo>
                      <a:lnTo>
                        <a:pt x="16904" y="239064"/>
                      </a:lnTo>
                      <a:lnTo>
                        <a:pt x="19318" y="234234"/>
                      </a:lnTo>
                      <a:lnTo>
                        <a:pt x="25355" y="226990"/>
                      </a:lnTo>
                      <a:lnTo>
                        <a:pt x="25959" y="224575"/>
                      </a:lnTo>
                      <a:lnTo>
                        <a:pt x="31392" y="220349"/>
                      </a:lnTo>
                      <a:lnTo>
                        <a:pt x="30185" y="214313"/>
                      </a:lnTo>
                      <a:lnTo>
                        <a:pt x="35014" y="204050"/>
                      </a:lnTo>
                      <a:close/>
                      <a:moveTo>
                        <a:pt x="22337" y="204050"/>
                      </a:moveTo>
                      <a:lnTo>
                        <a:pt x="24752" y="199824"/>
                      </a:lnTo>
                      <a:lnTo>
                        <a:pt x="27770" y="204050"/>
                      </a:lnTo>
                      <a:lnTo>
                        <a:pt x="25959" y="207672"/>
                      </a:lnTo>
                      <a:lnTo>
                        <a:pt x="25959" y="213105"/>
                      </a:lnTo>
                      <a:lnTo>
                        <a:pt x="27770" y="219746"/>
                      </a:lnTo>
                      <a:lnTo>
                        <a:pt x="22940" y="220953"/>
                      </a:lnTo>
                      <a:lnTo>
                        <a:pt x="16300" y="226386"/>
                      </a:lnTo>
                      <a:lnTo>
                        <a:pt x="14489" y="223972"/>
                      </a:lnTo>
                      <a:lnTo>
                        <a:pt x="15696" y="221557"/>
                      </a:lnTo>
                      <a:lnTo>
                        <a:pt x="16904" y="216124"/>
                      </a:lnTo>
                      <a:lnTo>
                        <a:pt x="15696" y="214313"/>
                      </a:lnTo>
                      <a:lnTo>
                        <a:pt x="18715" y="205861"/>
                      </a:lnTo>
                      <a:lnTo>
                        <a:pt x="17507" y="206465"/>
                      </a:lnTo>
                      <a:lnTo>
                        <a:pt x="15092" y="214313"/>
                      </a:lnTo>
                      <a:lnTo>
                        <a:pt x="15696" y="216727"/>
                      </a:lnTo>
                      <a:lnTo>
                        <a:pt x="13885" y="225179"/>
                      </a:lnTo>
                      <a:lnTo>
                        <a:pt x="16300" y="228801"/>
                      </a:lnTo>
                      <a:lnTo>
                        <a:pt x="13885" y="232423"/>
                      </a:lnTo>
                      <a:lnTo>
                        <a:pt x="10263" y="231820"/>
                      </a:lnTo>
                      <a:lnTo>
                        <a:pt x="4226" y="225783"/>
                      </a:lnTo>
                      <a:lnTo>
                        <a:pt x="1207" y="220349"/>
                      </a:lnTo>
                      <a:lnTo>
                        <a:pt x="3622" y="215520"/>
                      </a:lnTo>
                      <a:lnTo>
                        <a:pt x="7848" y="213709"/>
                      </a:lnTo>
                      <a:lnTo>
                        <a:pt x="4226" y="202842"/>
                      </a:lnTo>
                      <a:lnTo>
                        <a:pt x="5433" y="196805"/>
                      </a:lnTo>
                      <a:lnTo>
                        <a:pt x="9659" y="196805"/>
                      </a:lnTo>
                      <a:lnTo>
                        <a:pt x="13281" y="191976"/>
                      </a:lnTo>
                      <a:lnTo>
                        <a:pt x="14489" y="187146"/>
                      </a:lnTo>
                      <a:lnTo>
                        <a:pt x="18111" y="182920"/>
                      </a:lnTo>
                      <a:lnTo>
                        <a:pt x="18715" y="178694"/>
                      </a:lnTo>
                      <a:lnTo>
                        <a:pt x="22337" y="177487"/>
                      </a:lnTo>
                      <a:lnTo>
                        <a:pt x="28374" y="179298"/>
                      </a:lnTo>
                      <a:lnTo>
                        <a:pt x="31996" y="176883"/>
                      </a:lnTo>
                      <a:lnTo>
                        <a:pt x="32600" y="169035"/>
                      </a:lnTo>
                      <a:lnTo>
                        <a:pt x="38637" y="163602"/>
                      </a:lnTo>
                      <a:lnTo>
                        <a:pt x="41051" y="167828"/>
                      </a:lnTo>
                      <a:lnTo>
                        <a:pt x="44070" y="167224"/>
                      </a:lnTo>
                      <a:lnTo>
                        <a:pt x="50107" y="161187"/>
                      </a:lnTo>
                      <a:lnTo>
                        <a:pt x="51314" y="162998"/>
                      </a:lnTo>
                      <a:lnTo>
                        <a:pt x="50107" y="169035"/>
                      </a:lnTo>
                      <a:lnTo>
                        <a:pt x="47692" y="175072"/>
                      </a:lnTo>
                      <a:lnTo>
                        <a:pt x="44070" y="178091"/>
                      </a:lnTo>
                      <a:lnTo>
                        <a:pt x="33203" y="180506"/>
                      </a:lnTo>
                      <a:lnTo>
                        <a:pt x="31996" y="184731"/>
                      </a:lnTo>
                      <a:lnTo>
                        <a:pt x="32600" y="191372"/>
                      </a:lnTo>
                      <a:lnTo>
                        <a:pt x="30789" y="196202"/>
                      </a:lnTo>
                      <a:lnTo>
                        <a:pt x="30789" y="200428"/>
                      </a:lnTo>
                      <a:lnTo>
                        <a:pt x="27770" y="203446"/>
                      </a:lnTo>
                      <a:lnTo>
                        <a:pt x="25355" y="199220"/>
                      </a:lnTo>
                      <a:lnTo>
                        <a:pt x="21733" y="200428"/>
                      </a:lnTo>
                      <a:lnTo>
                        <a:pt x="22337" y="204050"/>
                      </a:lnTo>
                      <a:close/>
                      <a:moveTo>
                        <a:pt x="63388" y="198013"/>
                      </a:moveTo>
                      <a:lnTo>
                        <a:pt x="65803" y="199220"/>
                      </a:lnTo>
                      <a:lnTo>
                        <a:pt x="68821" y="204050"/>
                      </a:lnTo>
                      <a:lnTo>
                        <a:pt x="67010" y="207672"/>
                      </a:lnTo>
                      <a:lnTo>
                        <a:pt x="68821" y="211898"/>
                      </a:lnTo>
                      <a:lnTo>
                        <a:pt x="67614" y="214916"/>
                      </a:lnTo>
                      <a:lnTo>
                        <a:pt x="61577" y="219142"/>
                      </a:lnTo>
                      <a:lnTo>
                        <a:pt x="56748" y="217935"/>
                      </a:lnTo>
                      <a:lnTo>
                        <a:pt x="51314" y="217935"/>
                      </a:lnTo>
                      <a:lnTo>
                        <a:pt x="55540" y="210690"/>
                      </a:lnTo>
                      <a:lnTo>
                        <a:pt x="53729" y="203446"/>
                      </a:lnTo>
                      <a:lnTo>
                        <a:pt x="54936" y="201635"/>
                      </a:lnTo>
                      <a:lnTo>
                        <a:pt x="63388" y="198013"/>
                      </a:lnTo>
                      <a:close/>
                      <a:moveTo>
                        <a:pt x="47088" y="188957"/>
                      </a:moveTo>
                      <a:lnTo>
                        <a:pt x="48899" y="192580"/>
                      </a:lnTo>
                      <a:lnTo>
                        <a:pt x="51314" y="196202"/>
                      </a:lnTo>
                      <a:lnTo>
                        <a:pt x="48899" y="202842"/>
                      </a:lnTo>
                      <a:lnTo>
                        <a:pt x="43466" y="207672"/>
                      </a:lnTo>
                      <a:lnTo>
                        <a:pt x="39240" y="205861"/>
                      </a:lnTo>
                      <a:lnTo>
                        <a:pt x="37429" y="202842"/>
                      </a:lnTo>
                      <a:lnTo>
                        <a:pt x="32600" y="201031"/>
                      </a:lnTo>
                      <a:lnTo>
                        <a:pt x="31996" y="196805"/>
                      </a:lnTo>
                      <a:lnTo>
                        <a:pt x="38033" y="191372"/>
                      </a:lnTo>
                      <a:lnTo>
                        <a:pt x="34411" y="191372"/>
                      </a:lnTo>
                      <a:lnTo>
                        <a:pt x="33203" y="184731"/>
                      </a:lnTo>
                      <a:lnTo>
                        <a:pt x="36222" y="181109"/>
                      </a:lnTo>
                      <a:lnTo>
                        <a:pt x="41051" y="181109"/>
                      </a:lnTo>
                      <a:lnTo>
                        <a:pt x="47692" y="177487"/>
                      </a:lnTo>
                      <a:lnTo>
                        <a:pt x="49503" y="175072"/>
                      </a:lnTo>
                      <a:lnTo>
                        <a:pt x="53729" y="173865"/>
                      </a:lnTo>
                      <a:lnTo>
                        <a:pt x="54936" y="175072"/>
                      </a:lnTo>
                      <a:lnTo>
                        <a:pt x="53729" y="184128"/>
                      </a:lnTo>
                      <a:lnTo>
                        <a:pt x="54333" y="186543"/>
                      </a:lnTo>
                      <a:lnTo>
                        <a:pt x="52522" y="188957"/>
                      </a:lnTo>
                      <a:lnTo>
                        <a:pt x="48899" y="190165"/>
                      </a:lnTo>
                      <a:lnTo>
                        <a:pt x="47088" y="188957"/>
                      </a:lnTo>
                      <a:close/>
                      <a:moveTo>
                        <a:pt x="12074" y="187146"/>
                      </a:moveTo>
                      <a:lnTo>
                        <a:pt x="13281" y="190768"/>
                      </a:lnTo>
                      <a:lnTo>
                        <a:pt x="9055" y="195598"/>
                      </a:lnTo>
                      <a:lnTo>
                        <a:pt x="5433" y="194391"/>
                      </a:lnTo>
                      <a:lnTo>
                        <a:pt x="6037" y="189561"/>
                      </a:lnTo>
                      <a:lnTo>
                        <a:pt x="12074" y="187146"/>
                      </a:lnTo>
                      <a:close/>
                      <a:moveTo>
                        <a:pt x="71840" y="172054"/>
                      </a:moveTo>
                      <a:lnTo>
                        <a:pt x="79084" y="180506"/>
                      </a:lnTo>
                      <a:lnTo>
                        <a:pt x="74255" y="187750"/>
                      </a:lnTo>
                      <a:lnTo>
                        <a:pt x="71236" y="187750"/>
                      </a:lnTo>
                      <a:lnTo>
                        <a:pt x="68821" y="191976"/>
                      </a:lnTo>
                      <a:lnTo>
                        <a:pt x="62181" y="190165"/>
                      </a:lnTo>
                      <a:lnTo>
                        <a:pt x="61577" y="184731"/>
                      </a:lnTo>
                      <a:lnTo>
                        <a:pt x="67010" y="181713"/>
                      </a:lnTo>
                      <a:lnTo>
                        <a:pt x="71236" y="178091"/>
                      </a:lnTo>
                      <a:lnTo>
                        <a:pt x="69425" y="173261"/>
                      </a:lnTo>
                      <a:lnTo>
                        <a:pt x="71840" y="172054"/>
                      </a:lnTo>
                      <a:close/>
                      <a:moveTo>
                        <a:pt x="53729" y="173865"/>
                      </a:moveTo>
                      <a:lnTo>
                        <a:pt x="49503" y="174469"/>
                      </a:lnTo>
                      <a:lnTo>
                        <a:pt x="53729" y="164206"/>
                      </a:lnTo>
                      <a:lnTo>
                        <a:pt x="56748" y="161791"/>
                      </a:lnTo>
                      <a:lnTo>
                        <a:pt x="60370" y="161791"/>
                      </a:lnTo>
                      <a:lnTo>
                        <a:pt x="64596" y="166017"/>
                      </a:lnTo>
                      <a:lnTo>
                        <a:pt x="63388" y="169035"/>
                      </a:lnTo>
                      <a:lnTo>
                        <a:pt x="67614" y="173261"/>
                      </a:lnTo>
                      <a:lnTo>
                        <a:pt x="68218" y="176883"/>
                      </a:lnTo>
                      <a:lnTo>
                        <a:pt x="61577" y="182920"/>
                      </a:lnTo>
                      <a:lnTo>
                        <a:pt x="58559" y="191372"/>
                      </a:lnTo>
                      <a:lnTo>
                        <a:pt x="53125" y="193787"/>
                      </a:lnTo>
                      <a:lnTo>
                        <a:pt x="50107" y="193183"/>
                      </a:lnTo>
                      <a:lnTo>
                        <a:pt x="54936" y="186543"/>
                      </a:lnTo>
                      <a:lnTo>
                        <a:pt x="54936" y="176280"/>
                      </a:lnTo>
                      <a:lnTo>
                        <a:pt x="56144" y="175072"/>
                      </a:lnTo>
                      <a:lnTo>
                        <a:pt x="53729" y="173865"/>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3" name="Haryana" descr="{&quot;Key&quot;:&quot;haryana&quot;,&quot;Name&quot;:&quot;Haryana&quot;,&quot;Value&quot;:1.0,&quot;Formula&quot;:&quot;&quot;,&quot;Text&quot;:&quot;&quot;,&quot;OfficeApplication&quot;:1,&quot;HasValue&quot;:true}">
                  <a:extLst>
                    <a:ext uri="{FF2B5EF4-FFF2-40B4-BE49-F238E27FC236}">
                      <a16:creationId xmlns:a16="http://schemas.microsoft.com/office/drawing/2014/main" id="{736FB279-83B5-4187-957F-551A83721D22}"/>
                    </a:ext>
                  </a:extLst>
                </p:cNvPr>
                <p:cNvSpPr/>
                <p:nvPr/>
              </p:nvSpPr>
              <p:spPr>
                <a:xfrm>
                  <a:off x="4377878" y="1536409"/>
                  <a:ext cx="639919" cy="772732"/>
                </a:xfrm>
                <a:custGeom>
                  <a:avLst/>
                  <a:gdLst>
                    <a:gd name="connsiteX0" fmla="*/ 641127 w 639919"/>
                    <a:gd name="connsiteY0" fmla="*/ 131002 h 772732"/>
                    <a:gd name="connsiteX1" fmla="*/ 644145 w 639919"/>
                    <a:gd name="connsiteY1" fmla="*/ 134021 h 772732"/>
                    <a:gd name="connsiteX2" fmla="*/ 639919 w 639919"/>
                    <a:gd name="connsiteY2" fmla="*/ 141869 h 772732"/>
                    <a:gd name="connsiteX3" fmla="*/ 639919 w 639919"/>
                    <a:gd name="connsiteY3" fmla="*/ 148510 h 772732"/>
                    <a:gd name="connsiteX4" fmla="*/ 632071 w 639919"/>
                    <a:gd name="connsiteY4" fmla="*/ 153943 h 772732"/>
                    <a:gd name="connsiteX5" fmla="*/ 629656 w 639919"/>
                    <a:gd name="connsiteY5" fmla="*/ 160583 h 772732"/>
                    <a:gd name="connsiteX6" fmla="*/ 624827 w 639919"/>
                    <a:gd name="connsiteY6" fmla="*/ 166620 h 772732"/>
                    <a:gd name="connsiteX7" fmla="*/ 619997 w 639919"/>
                    <a:gd name="connsiteY7" fmla="*/ 177487 h 772732"/>
                    <a:gd name="connsiteX8" fmla="*/ 614564 w 639919"/>
                    <a:gd name="connsiteY8" fmla="*/ 182317 h 772732"/>
                    <a:gd name="connsiteX9" fmla="*/ 609734 w 639919"/>
                    <a:gd name="connsiteY9" fmla="*/ 182317 h 772732"/>
                    <a:gd name="connsiteX10" fmla="*/ 607319 w 639919"/>
                    <a:gd name="connsiteY10" fmla="*/ 187750 h 772732"/>
                    <a:gd name="connsiteX11" fmla="*/ 607923 w 639919"/>
                    <a:gd name="connsiteY11" fmla="*/ 196202 h 772732"/>
                    <a:gd name="connsiteX12" fmla="*/ 603093 w 639919"/>
                    <a:gd name="connsiteY12" fmla="*/ 199824 h 772732"/>
                    <a:gd name="connsiteX13" fmla="*/ 599471 w 639919"/>
                    <a:gd name="connsiteY13" fmla="*/ 200428 h 772732"/>
                    <a:gd name="connsiteX14" fmla="*/ 591020 w 639919"/>
                    <a:gd name="connsiteY14" fmla="*/ 207068 h 772732"/>
                    <a:gd name="connsiteX15" fmla="*/ 583775 w 639919"/>
                    <a:gd name="connsiteY15" fmla="*/ 208276 h 772732"/>
                    <a:gd name="connsiteX16" fmla="*/ 578342 w 639919"/>
                    <a:gd name="connsiteY16" fmla="*/ 211294 h 772732"/>
                    <a:gd name="connsiteX17" fmla="*/ 578946 w 639919"/>
                    <a:gd name="connsiteY17" fmla="*/ 214313 h 772732"/>
                    <a:gd name="connsiteX18" fmla="*/ 574116 w 639919"/>
                    <a:gd name="connsiteY18" fmla="*/ 225179 h 772732"/>
                    <a:gd name="connsiteX19" fmla="*/ 571098 w 639919"/>
                    <a:gd name="connsiteY19" fmla="*/ 226990 h 772732"/>
                    <a:gd name="connsiteX20" fmla="*/ 570494 w 639919"/>
                    <a:gd name="connsiteY20" fmla="*/ 230612 h 772732"/>
                    <a:gd name="connsiteX21" fmla="*/ 563853 w 639919"/>
                    <a:gd name="connsiteY21" fmla="*/ 239064 h 772732"/>
                    <a:gd name="connsiteX22" fmla="*/ 561438 w 639919"/>
                    <a:gd name="connsiteY22" fmla="*/ 240875 h 772732"/>
                    <a:gd name="connsiteX23" fmla="*/ 559627 w 639919"/>
                    <a:gd name="connsiteY23" fmla="*/ 245705 h 772732"/>
                    <a:gd name="connsiteX24" fmla="*/ 560231 w 639919"/>
                    <a:gd name="connsiteY24" fmla="*/ 252949 h 772732"/>
                    <a:gd name="connsiteX25" fmla="*/ 557213 w 639919"/>
                    <a:gd name="connsiteY25" fmla="*/ 258986 h 772732"/>
                    <a:gd name="connsiteX26" fmla="*/ 557213 w 639919"/>
                    <a:gd name="connsiteY26" fmla="*/ 263212 h 772732"/>
                    <a:gd name="connsiteX27" fmla="*/ 554194 w 639919"/>
                    <a:gd name="connsiteY27" fmla="*/ 266231 h 772732"/>
                    <a:gd name="connsiteX28" fmla="*/ 553590 w 639919"/>
                    <a:gd name="connsiteY28" fmla="*/ 271664 h 772732"/>
                    <a:gd name="connsiteX29" fmla="*/ 546950 w 639919"/>
                    <a:gd name="connsiteY29" fmla="*/ 275890 h 772732"/>
                    <a:gd name="connsiteX30" fmla="*/ 545742 w 639919"/>
                    <a:gd name="connsiteY30" fmla="*/ 282530 h 772732"/>
                    <a:gd name="connsiteX31" fmla="*/ 551176 w 639919"/>
                    <a:gd name="connsiteY31" fmla="*/ 289775 h 772732"/>
                    <a:gd name="connsiteX32" fmla="*/ 551779 w 639919"/>
                    <a:gd name="connsiteY32" fmla="*/ 293397 h 772732"/>
                    <a:gd name="connsiteX33" fmla="*/ 548157 w 639919"/>
                    <a:gd name="connsiteY33" fmla="*/ 294604 h 772732"/>
                    <a:gd name="connsiteX34" fmla="*/ 546950 w 639919"/>
                    <a:gd name="connsiteY34" fmla="*/ 298830 h 772732"/>
                    <a:gd name="connsiteX35" fmla="*/ 548761 w 639919"/>
                    <a:gd name="connsiteY35" fmla="*/ 303660 h 772732"/>
                    <a:gd name="connsiteX36" fmla="*/ 545139 w 639919"/>
                    <a:gd name="connsiteY36" fmla="*/ 306678 h 772732"/>
                    <a:gd name="connsiteX37" fmla="*/ 540309 w 639919"/>
                    <a:gd name="connsiteY37" fmla="*/ 317545 h 772732"/>
                    <a:gd name="connsiteX38" fmla="*/ 543328 w 639919"/>
                    <a:gd name="connsiteY38" fmla="*/ 322978 h 772732"/>
                    <a:gd name="connsiteX39" fmla="*/ 545139 w 639919"/>
                    <a:gd name="connsiteY39" fmla="*/ 329015 h 772732"/>
                    <a:gd name="connsiteX40" fmla="*/ 540913 w 639919"/>
                    <a:gd name="connsiteY40" fmla="*/ 330826 h 772732"/>
                    <a:gd name="connsiteX41" fmla="*/ 539705 w 639919"/>
                    <a:gd name="connsiteY41" fmla="*/ 333241 h 772732"/>
                    <a:gd name="connsiteX42" fmla="*/ 542724 w 639919"/>
                    <a:gd name="connsiteY42" fmla="*/ 338674 h 772732"/>
                    <a:gd name="connsiteX43" fmla="*/ 545742 w 639919"/>
                    <a:gd name="connsiteY43" fmla="*/ 340485 h 772732"/>
                    <a:gd name="connsiteX44" fmla="*/ 547553 w 639919"/>
                    <a:gd name="connsiteY44" fmla="*/ 344711 h 772732"/>
                    <a:gd name="connsiteX45" fmla="*/ 546346 w 639919"/>
                    <a:gd name="connsiteY45" fmla="*/ 347126 h 772732"/>
                    <a:gd name="connsiteX46" fmla="*/ 546950 w 639919"/>
                    <a:gd name="connsiteY46" fmla="*/ 351352 h 772732"/>
                    <a:gd name="connsiteX47" fmla="*/ 551176 w 639919"/>
                    <a:gd name="connsiteY47" fmla="*/ 354974 h 772732"/>
                    <a:gd name="connsiteX48" fmla="*/ 548157 w 639919"/>
                    <a:gd name="connsiteY48" fmla="*/ 359804 h 772732"/>
                    <a:gd name="connsiteX49" fmla="*/ 551176 w 639919"/>
                    <a:gd name="connsiteY49" fmla="*/ 368859 h 772732"/>
                    <a:gd name="connsiteX50" fmla="*/ 546346 w 639919"/>
                    <a:gd name="connsiteY50" fmla="*/ 370670 h 772732"/>
                    <a:gd name="connsiteX51" fmla="*/ 546950 w 639919"/>
                    <a:gd name="connsiteY51" fmla="*/ 376707 h 772732"/>
                    <a:gd name="connsiteX52" fmla="*/ 552383 w 639919"/>
                    <a:gd name="connsiteY52" fmla="*/ 377914 h 772732"/>
                    <a:gd name="connsiteX53" fmla="*/ 554194 w 639919"/>
                    <a:gd name="connsiteY53" fmla="*/ 384555 h 772732"/>
                    <a:gd name="connsiteX54" fmla="*/ 549364 w 639919"/>
                    <a:gd name="connsiteY54" fmla="*/ 394818 h 772732"/>
                    <a:gd name="connsiteX55" fmla="*/ 551779 w 639919"/>
                    <a:gd name="connsiteY55" fmla="*/ 400251 h 772732"/>
                    <a:gd name="connsiteX56" fmla="*/ 551779 w 639919"/>
                    <a:gd name="connsiteY56" fmla="*/ 403270 h 772732"/>
                    <a:gd name="connsiteX57" fmla="*/ 548761 w 639919"/>
                    <a:gd name="connsiteY57" fmla="*/ 405685 h 772732"/>
                    <a:gd name="connsiteX58" fmla="*/ 551176 w 639919"/>
                    <a:gd name="connsiteY58" fmla="*/ 416551 h 772732"/>
                    <a:gd name="connsiteX59" fmla="*/ 548761 w 639919"/>
                    <a:gd name="connsiteY59" fmla="*/ 423192 h 772732"/>
                    <a:gd name="connsiteX60" fmla="*/ 551176 w 639919"/>
                    <a:gd name="connsiteY60" fmla="*/ 427418 h 772732"/>
                    <a:gd name="connsiteX61" fmla="*/ 548157 w 639919"/>
                    <a:gd name="connsiteY61" fmla="*/ 432851 h 772732"/>
                    <a:gd name="connsiteX62" fmla="*/ 548157 w 639919"/>
                    <a:gd name="connsiteY62" fmla="*/ 435266 h 772732"/>
                    <a:gd name="connsiteX63" fmla="*/ 554798 w 639919"/>
                    <a:gd name="connsiteY63" fmla="*/ 441303 h 772732"/>
                    <a:gd name="connsiteX64" fmla="*/ 556005 w 639919"/>
                    <a:gd name="connsiteY64" fmla="*/ 447943 h 772732"/>
                    <a:gd name="connsiteX65" fmla="*/ 562042 w 639919"/>
                    <a:gd name="connsiteY65" fmla="*/ 454584 h 772732"/>
                    <a:gd name="connsiteX66" fmla="*/ 566268 w 639919"/>
                    <a:gd name="connsiteY66" fmla="*/ 458206 h 772732"/>
                    <a:gd name="connsiteX67" fmla="*/ 562042 w 639919"/>
                    <a:gd name="connsiteY67" fmla="*/ 468469 h 772732"/>
                    <a:gd name="connsiteX68" fmla="*/ 561438 w 639919"/>
                    <a:gd name="connsiteY68" fmla="*/ 472091 h 772732"/>
                    <a:gd name="connsiteX69" fmla="*/ 564457 w 639919"/>
                    <a:gd name="connsiteY69" fmla="*/ 474506 h 772732"/>
                    <a:gd name="connsiteX70" fmla="*/ 562646 w 639919"/>
                    <a:gd name="connsiteY70" fmla="*/ 478128 h 772732"/>
                    <a:gd name="connsiteX71" fmla="*/ 568079 w 639919"/>
                    <a:gd name="connsiteY71" fmla="*/ 481147 h 772732"/>
                    <a:gd name="connsiteX72" fmla="*/ 566872 w 639919"/>
                    <a:gd name="connsiteY72" fmla="*/ 482958 h 772732"/>
                    <a:gd name="connsiteX73" fmla="*/ 559627 w 639919"/>
                    <a:gd name="connsiteY73" fmla="*/ 485373 h 772732"/>
                    <a:gd name="connsiteX74" fmla="*/ 560835 w 639919"/>
                    <a:gd name="connsiteY74" fmla="*/ 490806 h 772732"/>
                    <a:gd name="connsiteX75" fmla="*/ 560231 w 639919"/>
                    <a:gd name="connsiteY75" fmla="*/ 492013 h 772732"/>
                    <a:gd name="connsiteX76" fmla="*/ 556005 w 639919"/>
                    <a:gd name="connsiteY76" fmla="*/ 492013 h 772732"/>
                    <a:gd name="connsiteX77" fmla="*/ 553590 w 639919"/>
                    <a:gd name="connsiteY77" fmla="*/ 495032 h 772732"/>
                    <a:gd name="connsiteX78" fmla="*/ 550572 w 639919"/>
                    <a:gd name="connsiteY78" fmla="*/ 494428 h 772732"/>
                    <a:gd name="connsiteX79" fmla="*/ 548761 w 639919"/>
                    <a:gd name="connsiteY79" fmla="*/ 491409 h 772732"/>
                    <a:gd name="connsiteX80" fmla="*/ 545139 w 639919"/>
                    <a:gd name="connsiteY80" fmla="*/ 490806 h 772732"/>
                    <a:gd name="connsiteX81" fmla="*/ 542724 w 639919"/>
                    <a:gd name="connsiteY81" fmla="*/ 489598 h 772732"/>
                    <a:gd name="connsiteX82" fmla="*/ 539705 w 639919"/>
                    <a:gd name="connsiteY82" fmla="*/ 488995 h 772732"/>
                    <a:gd name="connsiteX83" fmla="*/ 532461 w 639919"/>
                    <a:gd name="connsiteY83" fmla="*/ 489598 h 772732"/>
                    <a:gd name="connsiteX84" fmla="*/ 530046 w 639919"/>
                    <a:gd name="connsiteY84" fmla="*/ 493824 h 772732"/>
                    <a:gd name="connsiteX85" fmla="*/ 528839 w 639919"/>
                    <a:gd name="connsiteY85" fmla="*/ 498050 h 772732"/>
                    <a:gd name="connsiteX86" fmla="*/ 524009 w 639919"/>
                    <a:gd name="connsiteY86" fmla="*/ 498050 h 772732"/>
                    <a:gd name="connsiteX87" fmla="*/ 519180 w 639919"/>
                    <a:gd name="connsiteY87" fmla="*/ 497446 h 772732"/>
                    <a:gd name="connsiteX88" fmla="*/ 517972 w 639919"/>
                    <a:gd name="connsiteY88" fmla="*/ 498050 h 772732"/>
                    <a:gd name="connsiteX89" fmla="*/ 513746 w 639919"/>
                    <a:gd name="connsiteY89" fmla="*/ 499258 h 772732"/>
                    <a:gd name="connsiteX90" fmla="*/ 511935 w 639919"/>
                    <a:gd name="connsiteY90" fmla="*/ 502276 h 772732"/>
                    <a:gd name="connsiteX91" fmla="*/ 509520 w 639919"/>
                    <a:gd name="connsiteY91" fmla="*/ 505898 h 772732"/>
                    <a:gd name="connsiteX92" fmla="*/ 510728 w 639919"/>
                    <a:gd name="connsiteY92" fmla="*/ 507709 h 772732"/>
                    <a:gd name="connsiteX93" fmla="*/ 511332 w 639919"/>
                    <a:gd name="connsiteY93" fmla="*/ 512539 h 772732"/>
                    <a:gd name="connsiteX94" fmla="*/ 509520 w 639919"/>
                    <a:gd name="connsiteY94" fmla="*/ 516161 h 772732"/>
                    <a:gd name="connsiteX95" fmla="*/ 511935 w 639919"/>
                    <a:gd name="connsiteY95" fmla="*/ 519180 h 772732"/>
                    <a:gd name="connsiteX96" fmla="*/ 510124 w 639919"/>
                    <a:gd name="connsiteY96" fmla="*/ 525820 h 772732"/>
                    <a:gd name="connsiteX97" fmla="*/ 513143 w 639919"/>
                    <a:gd name="connsiteY97" fmla="*/ 528839 h 772732"/>
                    <a:gd name="connsiteX98" fmla="*/ 511935 w 639919"/>
                    <a:gd name="connsiteY98" fmla="*/ 531254 h 772732"/>
                    <a:gd name="connsiteX99" fmla="*/ 511332 w 639919"/>
                    <a:gd name="connsiteY99" fmla="*/ 535480 h 772732"/>
                    <a:gd name="connsiteX100" fmla="*/ 510728 w 639919"/>
                    <a:gd name="connsiteY100" fmla="*/ 536083 h 772732"/>
                    <a:gd name="connsiteX101" fmla="*/ 506502 w 639919"/>
                    <a:gd name="connsiteY101" fmla="*/ 537291 h 772732"/>
                    <a:gd name="connsiteX102" fmla="*/ 505295 w 639919"/>
                    <a:gd name="connsiteY102" fmla="*/ 540913 h 772732"/>
                    <a:gd name="connsiteX103" fmla="*/ 504087 w 639919"/>
                    <a:gd name="connsiteY103" fmla="*/ 544535 h 772732"/>
                    <a:gd name="connsiteX104" fmla="*/ 500465 w 639919"/>
                    <a:gd name="connsiteY104" fmla="*/ 545742 h 772732"/>
                    <a:gd name="connsiteX105" fmla="*/ 497446 w 639919"/>
                    <a:gd name="connsiteY105" fmla="*/ 544535 h 772732"/>
                    <a:gd name="connsiteX106" fmla="*/ 492617 w 639919"/>
                    <a:gd name="connsiteY106" fmla="*/ 555401 h 772732"/>
                    <a:gd name="connsiteX107" fmla="*/ 488391 w 639919"/>
                    <a:gd name="connsiteY107" fmla="*/ 555401 h 772732"/>
                    <a:gd name="connsiteX108" fmla="*/ 487787 w 639919"/>
                    <a:gd name="connsiteY108" fmla="*/ 557816 h 772732"/>
                    <a:gd name="connsiteX109" fmla="*/ 488995 w 639919"/>
                    <a:gd name="connsiteY109" fmla="*/ 563853 h 772732"/>
                    <a:gd name="connsiteX110" fmla="*/ 493221 w 639919"/>
                    <a:gd name="connsiteY110" fmla="*/ 567475 h 772732"/>
                    <a:gd name="connsiteX111" fmla="*/ 497446 w 639919"/>
                    <a:gd name="connsiteY111" fmla="*/ 571098 h 772732"/>
                    <a:gd name="connsiteX112" fmla="*/ 497446 w 639919"/>
                    <a:gd name="connsiteY112" fmla="*/ 574720 h 772732"/>
                    <a:gd name="connsiteX113" fmla="*/ 500465 w 639919"/>
                    <a:gd name="connsiteY113" fmla="*/ 573512 h 772732"/>
                    <a:gd name="connsiteX114" fmla="*/ 503483 w 639919"/>
                    <a:gd name="connsiteY114" fmla="*/ 573512 h 772732"/>
                    <a:gd name="connsiteX115" fmla="*/ 508313 w 639919"/>
                    <a:gd name="connsiteY115" fmla="*/ 573512 h 772732"/>
                    <a:gd name="connsiteX116" fmla="*/ 510728 w 639919"/>
                    <a:gd name="connsiteY116" fmla="*/ 573512 h 772732"/>
                    <a:gd name="connsiteX117" fmla="*/ 516161 w 639919"/>
                    <a:gd name="connsiteY117" fmla="*/ 570494 h 772732"/>
                    <a:gd name="connsiteX118" fmla="*/ 517369 w 639919"/>
                    <a:gd name="connsiteY118" fmla="*/ 571701 h 772732"/>
                    <a:gd name="connsiteX119" fmla="*/ 523406 w 639919"/>
                    <a:gd name="connsiteY119" fmla="*/ 573512 h 772732"/>
                    <a:gd name="connsiteX120" fmla="*/ 524613 w 639919"/>
                    <a:gd name="connsiteY120" fmla="*/ 571098 h 772732"/>
                    <a:gd name="connsiteX121" fmla="*/ 522198 w 639919"/>
                    <a:gd name="connsiteY121" fmla="*/ 566872 h 772732"/>
                    <a:gd name="connsiteX122" fmla="*/ 525820 w 639919"/>
                    <a:gd name="connsiteY122" fmla="*/ 569286 h 772732"/>
                    <a:gd name="connsiteX123" fmla="*/ 526424 w 639919"/>
                    <a:gd name="connsiteY123" fmla="*/ 569286 h 772732"/>
                    <a:gd name="connsiteX124" fmla="*/ 531254 w 639919"/>
                    <a:gd name="connsiteY124" fmla="*/ 572305 h 772732"/>
                    <a:gd name="connsiteX125" fmla="*/ 532461 w 639919"/>
                    <a:gd name="connsiteY125" fmla="*/ 573512 h 772732"/>
                    <a:gd name="connsiteX126" fmla="*/ 534272 w 639919"/>
                    <a:gd name="connsiteY126" fmla="*/ 573512 h 772732"/>
                    <a:gd name="connsiteX127" fmla="*/ 537291 w 639919"/>
                    <a:gd name="connsiteY127" fmla="*/ 572305 h 772732"/>
                    <a:gd name="connsiteX128" fmla="*/ 540913 w 639919"/>
                    <a:gd name="connsiteY128" fmla="*/ 575927 h 772732"/>
                    <a:gd name="connsiteX129" fmla="*/ 544535 w 639919"/>
                    <a:gd name="connsiteY129" fmla="*/ 578342 h 772732"/>
                    <a:gd name="connsiteX130" fmla="*/ 543931 w 639919"/>
                    <a:gd name="connsiteY130" fmla="*/ 580757 h 772732"/>
                    <a:gd name="connsiteX131" fmla="*/ 545742 w 639919"/>
                    <a:gd name="connsiteY131" fmla="*/ 588605 h 772732"/>
                    <a:gd name="connsiteX132" fmla="*/ 549364 w 639919"/>
                    <a:gd name="connsiteY132" fmla="*/ 591623 h 772732"/>
                    <a:gd name="connsiteX133" fmla="*/ 553590 w 639919"/>
                    <a:gd name="connsiteY133" fmla="*/ 594038 h 772732"/>
                    <a:gd name="connsiteX134" fmla="*/ 556609 w 639919"/>
                    <a:gd name="connsiteY134" fmla="*/ 598264 h 772732"/>
                    <a:gd name="connsiteX135" fmla="*/ 562646 w 639919"/>
                    <a:gd name="connsiteY135" fmla="*/ 597660 h 772732"/>
                    <a:gd name="connsiteX136" fmla="*/ 566872 w 639919"/>
                    <a:gd name="connsiteY136" fmla="*/ 597057 h 772732"/>
                    <a:gd name="connsiteX137" fmla="*/ 571701 w 639919"/>
                    <a:gd name="connsiteY137" fmla="*/ 593434 h 772732"/>
                    <a:gd name="connsiteX138" fmla="*/ 572305 w 639919"/>
                    <a:gd name="connsiteY138" fmla="*/ 589209 h 772732"/>
                    <a:gd name="connsiteX139" fmla="*/ 568683 w 639919"/>
                    <a:gd name="connsiteY139" fmla="*/ 585586 h 772732"/>
                    <a:gd name="connsiteX140" fmla="*/ 570494 w 639919"/>
                    <a:gd name="connsiteY140" fmla="*/ 582568 h 772732"/>
                    <a:gd name="connsiteX141" fmla="*/ 574720 w 639919"/>
                    <a:gd name="connsiteY141" fmla="*/ 580153 h 772732"/>
                    <a:gd name="connsiteX142" fmla="*/ 579549 w 639919"/>
                    <a:gd name="connsiteY142" fmla="*/ 577738 h 772732"/>
                    <a:gd name="connsiteX143" fmla="*/ 584379 w 639919"/>
                    <a:gd name="connsiteY143" fmla="*/ 579549 h 772732"/>
                    <a:gd name="connsiteX144" fmla="*/ 587398 w 639919"/>
                    <a:gd name="connsiteY144" fmla="*/ 578342 h 772732"/>
                    <a:gd name="connsiteX145" fmla="*/ 590416 w 639919"/>
                    <a:gd name="connsiteY145" fmla="*/ 575323 h 772732"/>
                    <a:gd name="connsiteX146" fmla="*/ 592227 w 639919"/>
                    <a:gd name="connsiteY146" fmla="*/ 574720 h 772732"/>
                    <a:gd name="connsiteX147" fmla="*/ 596453 w 639919"/>
                    <a:gd name="connsiteY147" fmla="*/ 577738 h 772732"/>
                    <a:gd name="connsiteX148" fmla="*/ 600075 w 639919"/>
                    <a:gd name="connsiteY148" fmla="*/ 582568 h 772732"/>
                    <a:gd name="connsiteX149" fmla="*/ 604301 w 639919"/>
                    <a:gd name="connsiteY149" fmla="*/ 583775 h 772732"/>
                    <a:gd name="connsiteX150" fmla="*/ 604301 w 639919"/>
                    <a:gd name="connsiteY150" fmla="*/ 586794 h 772732"/>
                    <a:gd name="connsiteX151" fmla="*/ 610338 w 639919"/>
                    <a:gd name="connsiteY151" fmla="*/ 587397 h 772732"/>
                    <a:gd name="connsiteX152" fmla="*/ 612149 w 639919"/>
                    <a:gd name="connsiteY152" fmla="*/ 592831 h 772732"/>
                    <a:gd name="connsiteX153" fmla="*/ 619997 w 639919"/>
                    <a:gd name="connsiteY153" fmla="*/ 597057 h 772732"/>
                    <a:gd name="connsiteX154" fmla="*/ 619393 w 639919"/>
                    <a:gd name="connsiteY154" fmla="*/ 601886 h 772732"/>
                    <a:gd name="connsiteX155" fmla="*/ 622412 w 639919"/>
                    <a:gd name="connsiteY155" fmla="*/ 605508 h 772732"/>
                    <a:gd name="connsiteX156" fmla="*/ 624223 w 639919"/>
                    <a:gd name="connsiteY156" fmla="*/ 610338 h 772732"/>
                    <a:gd name="connsiteX157" fmla="*/ 618790 w 639919"/>
                    <a:gd name="connsiteY157" fmla="*/ 613960 h 772732"/>
                    <a:gd name="connsiteX158" fmla="*/ 624827 w 639919"/>
                    <a:gd name="connsiteY158" fmla="*/ 622412 h 772732"/>
                    <a:gd name="connsiteX159" fmla="*/ 624223 w 639919"/>
                    <a:gd name="connsiteY159" fmla="*/ 628449 h 772732"/>
                    <a:gd name="connsiteX160" fmla="*/ 619997 w 639919"/>
                    <a:gd name="connsiteY160" fmla="*/ 628449 h 772732"/>
                    <a:gd name="connsiteX161" fmla="*/ 618790 w 639919"/>
                    <a:gd name="connsiteY161" fmla="*/ 630864 h 772732"/>
                    <a:gd name="connsiteX162" fmla="*/ 627845 w 639919"/>
                    <a:gd name="connsiteY162" fmla="*/ 634486 h 772732"/>
                    <a:gd name="connsiteX163" fmla="*/ 633278 w 639919"/>
                    <a:gd name="connsiteY163" fmla="*/ 634486 h 772732"/>
                    <a:gd name="connsiteX164" fmla="*/ 632675 w 639919"/>
                    <a:gd name="connsiteY164" fmla="*/ 638108 h 772732"/>
                    <a:gd name="connsiteX165" fmla="*/ 628449 w 639919"/>
                    <a:gd name="connsiteY165" fmla="*/ 640523 h 772732"/>
                    <a:gd name="connsiteX166" fmla="*/ 630260 w 639919"/>
                    <a:gd name="connsiteY166" fmla="*/ 645352 h 772732"/>
                    <a:gd name="connsiteX167" fmla="*/ 633278 w 639919"/>
                    <a:gd name="connsiteY167" fmla="*/ 649578 h 772732"/>
                    <a:gd name="connsiteX168" fmla="*/ 632071 w 639919"/>
                    <a:gd name="connsiteY168" fmla="*/ 654408 h 772732"/>
                    <a:gd name="connsiteX169" fmla="*/ 625430 w 639919"/>
                    <a:gd name="connsiteY169" fmla="*/ 656219 h 772732"/>
                    <a:gd name="connsiteX170" fmla="*/ 625430 w 639919"/>
                    <a:gd name="connsiteY170" fmla="*/ 665274 h 772732"/>
                    <a:gd name="connsiteX171" fmla="*/ 619997 w 639919"/>
                    <a:gd name="connsiteY171" fmla="*/ 670104 h 772732"/>
                    <a:gd name="connsiteX172" fmla="*/ 618790 w 639919"/>
                    <a:gd name="connsiteY172" fmla="*/ 673726 h 772732"/>
                    <a:gd name="connsiteX173" fmla="*/ 621808 w 639919"/>
                    <a:gd name="connsiteY173" fmla="*/ 679763 h 772732"/>
                    <a:gd name="connsiteX174" fmla="*/ 620601 w 639919"/>
                    <a:gd name="connsiteY174" fmla="*/ 682782 h 772732"/>
                    <a:gd name="connsiteX175" fmla="*/ 626638 w 639919"/>
                    <a:gd name="connsiteY175" fmla="*/ 688819 h 772732"/>
                    <a:gd name="connsiteX176" fmla="*/ 627845 w 639919"/>
                    <a:gd name="connsiteY176" fmla="*/ 691837 h 772732"/>
                    <a:gd name="connsiteX177" fmla="*/ 632675 w 639919"/>
                    <a:gd name="connsiteY177" fmla="*/ 695459 h 772732"/>
                    <a:gd name="connsiteX178" fmla="*/ 627241 w 639919"/>
                    <a:gd name="connsiteY178" fmla="*/ 700289 h 772732"/>
                    <a:gd name="connsiteX179" fmla="*/ 632675 w 639919"/>
                    <a:gd name="connsiteY179" fmla="*/ 702100 h 772732"/>
                    <a:gd name="connsiteX180" fmla="*/ 632675 w 639919"/>
                    <a:gd name="connsiteY180" fmla="*/ 705722 h 772732"/>
                    <a:gd name="connsiteX181" fmla="*/ 629656 w 639919"/>
                    <a:gd name="connsiteY181" fmla="*/ 709948 h 772732"/>
                    <a:gd name="connsiteX182" fmla="*/ 618790 w 639919"/>
                    <a:gd name="connsiteY182" fmla="*/ 709948 h 772732"/>
                    <a:gd name="connsiteX183" fmla="*/ 619997 w 639919"/>
                    <a:gd name="connsiteY183" fmla="*/ 714777 h 772732"/>
                    <a:gd name="connsiteX184" fmla="*/ 619393 w 639919"/>
                    <a:gd name="connsiteY184" fmla="*/ 718400 h 772732"/>
                    <a:gd name="connsiteX185" fmla="*/ 613356 w 639919"/>
                    <a:gd name="connsiteY185" fmla="*/ 722626 h 772732"/>
                    <a:gd name="connsiteX186" fmla="*/ 609130 w 639919"/>
                    <a:gd name="connsiteY186" fmla="*/ 718400 h 772732"/>
                    <a:gd name="connsiteX187" fmla="*/ 604905 w 639919"/>
                    <a:gd name="connsiteY187" fmla="*/ 721418 h 772732"/>
                    <a:gd name="connsiteX188" fmla="*/ 607319 w 639919"/>
                    <a:gd name="connsiteY188" fmla="*/ 726851 h 772732"/>
                    <a:gd name="connsiteX189" fmla="*/ 599471 w 639919"/>
                    <a:gd name="connsiteY189" fmla="*/ 725644 h 772732"/>
                    <a:gd name="connsiteX190" fmla="*/ 592227 w 639919"/>
                    <a:gd name="connsiteY190" fmla="*/ 726851 h 772732"/>
                    <a:gd name="connsiteX191" fmla="*/ 586794 w 639919"/>
                    <a:gd name="connsiteY191" fmla="*/ 733492 h 772732"/>
                    <a:gd name="connsiteX192" fmla="*/ 578946 w 639919"/>
                    <a:gd name="connsiteY192" fmla="*/ 738925 h 772732"/>
                    <a:gd name="connsiteX193" fmla="*/ 576531 w 639919"/>
                    <a:gd name="connsiteY193" fmla="*/ 737114 h 772732"/>
                    <a:gd name="connsiteX194" fmla="*/ 574720 w 639919"/>
                    <a:gd name="connsiteY194" fmla="*/ 741340 h 772732"/>
                    <a:gd name="connsiteX195" fmla="*/ 570494 w 639919"/>
                    <a:gd name="connsiteY195" fmla="*/ 743755 h 772732"/>
                    <a:gd name="connsiteX196" fmla="*/ 568079 w 639919"/>
                    <a:gd name="connsiteY196" fmla="*/ 741340 h 772732"/>
                    <a:gd name="connsiteX197" fmla="*/ 561438 w 639919"/>
                    <a:gd name="connsiteY197" fmla="*/ 741340 h 772732"/>
                    <a:gd name="connsiteX198" fmla="*/ 557816 w 639919"/>
                    <a:gd name="connsiteY198" fmla="*/ 737114 h 772732"/>
                    <a:gd name="connsiteX199" fmla="*/ 552987 w 639919"/>
                    <a:gd name="connsiteY199" fmla="*/ 737718 h 772732"/>
                    <a:gd name="connsiteX200" fmla="*/ 552987 w 639919"/>
                    <a:gd name="connsiteY200" fmla="*/ 743755 h 772732"/>
                    <a:gd name="connsiteX201" fmla="*/ 543328 w 639919"/>
                    <a:gd name="connsiteY201" fmla="*/ 744359 h 772732"/>
                    <a:gd name="connsiteX202" fmla="*/ 537291 w 639919"/>
                    <a:gd name="connsiteY202" fmla="*/ 738322 h 772732"/>
                    <a:gd name="connsiteX203" fmla="*/ 530046 w 639919"/>
                    <a:gd name="connsiteY203" fmla="*/ 735907 h 772732"/>
                    <a:gd name="connsiteX204" fmla="*/ 527028 w 639919"/>
                    <a:gd name="connsiteY204" fmla="*/ 743755 h 772732"/>
                    <a:gd name="connsiteX205" fmla="*/ 532461 w 639919"/>
                    <a:gd name="connsiteY205" fmla="*/ 749792 h 772732"/>
                    <a:gd name="connsiteX206" fmla="*/ 536687 w 639919"/>
                    <a:gd name="connsiteY206" fmla="*/ 750396 h 772732"/>
                    <a:gd name="connsiteX207" fmla="*/ 538498 w 639919"/>
                    <a:gd name="connsiteY207" fmla="*/ 755225 h 772732"/>
                    <a:gd name="connsiteX208" fmla="*/ 533065 w 639919"/>
                    <a:gd name="connsiteY208" fmla="*/ 757640 h 772732"/>
                    <a:gd name="connsiteX209" fmla="*/ 528839 w 639919"/>
                    <a:gd name="connsiteY209" fmla="*/ 752810 h 772732"/>
                    <a:gd name="connsiteX210" fmla="*/ 520991 w 639919"/>
                    <a:gd name="connsiteY210" fmla="*/ 754018 h 772732"/>
                    <a:gd name="connsiteX211" fmla="*/ 517972 w 639919"/>
                    <a:gd name="connsiteY211" fmla="*/ 762469 h 772732"/>
                    <a:gd name="connsiteX212" fmla="*/ 516161 w 639919"/>
                    <a:gd name="connsiteY212" fmla="*/ 773940 h 772732"/>
                    <a:gd name="connsiteX213" fmla="*/ 508917 w 639919"/>
                    <a:gd name="connsiteY213" fmla="*/ 769714 h 772732"/>
                    <a:gd name="connsiteX214" fmla="*/ 503483 w 639919"/>
                    <a:gd name="connsiteY214" fmla="*/ 773940 h 772732"/>
                    <a:gd name="connsiteX215" fmla="*/ 499861 w 639919"/>
                    <a:gd name="connsiteY215" fmla="*/ 768506 h 772732"/>
                    <a:gd name="connsiteX216" fmla="*/ 504691 w 639919"/>
                    <a:gd name="connsiteY216" fmla="*/ 763677 h 772732"/>
                    <a:gd name="connsiteX217" fmla="*/ 502276 w 639919"/>
                    <a:gd name="connsiteY217" fmla="*/ 760055 h 772732"/>
                    <a:gd name="connsiteX218" fmla="*/ 499258 w 639919"/>
                    <a:gd name="connsiteY218" fmla="*/ 759451 h 772732"/>
                    <a:gd name="connsiteX219" fmla="*/ 501069 w 639919"/>
                    <a:gd name="connsiteY219" fmla="*/ 743755 h 772732"/>
                    <a:gd name="connsiteX220" fmla="*/ 502880 w 639919"/>
                    <a:gd name="connsiteY220" fmla="*/ 738925 h 772732"/>
                    <a:gd name="connsiteX221" fmla="*/ 501672 w 639919"/>
                    <a:gd name="connsiteY221" fmla="*/ 735907 h 772732"/>
                    <a:gd name="connsiteX222" fmla="*/ 503483 w 639919"/>
                    <a:gd name="connsiteY222" fmla="*/ 732285 h 772732"/>
                    <a:gd name="connsiteX223" fmla="*/ 507106 w 639919"/>
                    <a:gd name="connsiteY223" fmla="*/ 732888 h 772732"/>
                    <a:gd name="connsiteX224" fmla="*/ 507709 w 639919"/>
                    <a:gd name="connsiteY224" fmla="*/ 728059 h 772732"/>
                    <a:gd name="connsiteX225" fmla="*/ 507106 w 639919"/>
                    <a:gd name="connsiteY225" fmla="*/ 718400 h 772732"/>
                    <a:gd name="connsiteX226" fmla="*/ 509520 w 639919"/>
                    <a:gd name="connsiteY226" fmla="*/ 718400 h 772732"/>
                    <a:gd name="connsiteX227" fmla="*/ 509520 w 639919"/>
                    <a:gd name="connsiteY227" fmla="*/ 712966 h 772732"/>
                    <a:gd name="connsiteX228" fmla="*/ 505898 w 639919"/>
                    <a:gd name="connsiteY228" fmla="*/ 711759 h 772732"/>
                    <a:gd name="connsiteX229" fmla="*/ 507106 w 639919"/>
                    <a:gd name="connsiteY229" fmla="*/ 699081 h 772732"/>
                    <a:gd name="connsiteX230" fmla="*/ 505898 w 639919"/>
                    <a:gd name="connsiteY230" fmla="*/ 694856 h 772732"/>
                    <a:gd name="connsiteX231" fmla="*/ 508313 w 639919"/>
                    <a:gd name="connsiteY231" fmla="*/ 683989 h 772732"/>
                    <a:gd name="connsiteX232" fmla="*/ 511332 w 639919"/>
                    <a:gd name="connsiteY232" fmla="*/ 677348 h 772732"/>
                    <a:gd name="connsiteX233" fmla="*/ 514350 w 639919"/>
                    <a:gd name="connsiteY233" fmla="*/ 660445 h 772732"/>
                    <a:gd name="connsiteX234" fmla="*/ 510124 w 639919"/>
                    <a:gd name="connsiteY234" fmla="*/ 659237 h 772732"/>
                    <a:gd name="connsiteX235" fmla="*/ 498654 w 639919"/>
                    <a:gd name="connsiteY235" fmla="*/ 648975 h 772732"/>
                    <a:gd name="connsiteX236" fmla="*/ 501672 w 639919"/>
                    <a:gd name="connsiteY236" fmla="*/ 645956 h 772732"/>
                    <a:gd name="connsiteX237" fmla="*/ 495032 w 639919"/>
                    <a:gd name="connsiteY237" fmla="*/ 644749 h 772732"/>
                    <a:gd name="connsiteX238" fmla="*/ 494428 w 639919"/>
                    <a:gd name="connsiteY238" fmla="*/ 641730 h 772732"/>
                    <a:gd name="connsiteX239" fmla="*/ 487787 w 639919"/>
                    <a:gd name="connsiteY239" fmla="*/ 641730 h 772732"/>
                    <a:gd name="connsiteX240" fmla="*/ 485976 w 639919"/>
                    <a:gd name="connsiteY240" fmla="*/ 644145 h 772732"/>
                    <a:gd name="connsiteX241" fmla="*/ 482354 w 639919"/>
                    <a:gd name="connsiteY241" fmla="*/ 643541 h 772732"/>
                    <a:gd name="connsiteX242" fmla="*/ 482354 w 639919"/>
                    <a:gd name="connsiteY242" fmla="*/ 647163 h 772732"/>
                    <a:gd name="connsiteX243" fmla="*/ 479336 w 639919"/>
                    <a:gd name="connsiteY243" fmla="*/ 648975 h 772732"/>
                    <a:gd name="connsiteX244" fmla="*/ 480543 w 639919"/>
                    <a:gd name="connsiteY244" fmla="*/ 654408 h 772732"/>
                    <a:gd name="connsiteX245" fmla="*/ 479336 w 639919"/>
                    <a:gd name="connsiteY245" fmla="*/ 657426 h 772732"/>
                    <a:gd name="connsiteX246" fmla="*/ 472091 w 639919"/>
                    <a:gd name="connsiteY246" fmla="*/ 659841 h 772732"/>
                    <a:gd name="connsiteX247" fmla="*/ 468469 w 639919"/>
                    <a:gd name="connsiteY247" fmla="*/ 664067 h 772732"/>
                    <a:gd name="connsiteX248" fmla="*/ 462432 w 639919"/>
                    <a:gd name="connsiteY248" fmla="*/ 662859 h 772732"/>
                    <a:gd name="connsiteX249" fmla="*/ 456999 w 639919"/>
                    <a:gd name="connsiteY249" fmla="*/ 671311 h 772732"/>
                    <a:gd name="connsiteX250" fmla="*/ 449754 w 639919"/>
                    <a:gd name="connsiteY250" fmla="*/ 672519 h 772732"/>
                    <a:gd name="connsiteX251" fmla="*/ 450358 w 639919"/>
                    <a:gd name="connsiteY251" fmla="*/ 683385 h 772732"/>
                    <a:gd name="connsiteX252" fmla="*/ 452169 w 639919"/>
                    <a:gd name="connsiteY252" fmla="*/ 689422 h 772732"/>
                    <a:gd name="connsiteX253" fmla="*/ 447340 w 639919"/>
                    <a:gd name="connsiteY253" fmla="*/ 691837 h 772732"/>
                    <a:gd name="connsiteX254" fmla="*/ 439492 w 639919"/>
                    <a:gd name="connsiteY254" fmla="*/ 691837 h 772732"/>
                    <a:gd name="connsiteX255" fmla="*/ 433455 w 639919"/>
                    <a:gd name="connsiteY255" fmla="*/ 697874 h 772732"/>
                    <a:gd name="connsiteX256" fmla="*/ 428625 w 639919"/>
                    <a:gd name="connsiteY256" fmla="*/ 700892 h 772732"/>
                    <a:gd name="connsiteX257" fmla="*/ 425607 w 639919"/>
                    <a:gd name="connsiteY257" fmla="*/ 699081 h 772732"/>
                    <a:gd name="connsiteX258" fmla="*/ 427418 w 639919"/>
                    <a:gd name="connsiteY258" fmla="*/ 690026 h 772732"/>
                    <a:gd name="connsiteX259" fmla="*/ 427418 w 639919"/>
                    <a:gd name="connsiteY259" fmla="*/ 685196 h 772732"/>
                    <a:gd name="connsiteX260" fmla="*/ 424399 w 639919"/>
                    <a:gd name="connsiteY260" fmla="*/ 683385 h 772732"/>
                    <a:gd name="connsiteX261" fmla="*/ 421381 w 639919"/>
                    <a:gd name="connsiteY261" fmla="*/ 685800 h 772732"/>
                    <a:gd name="connsiteX262" fmla="*/ 417759 w 639919"/>
                    <a:gd name="connsiteY262" fmla="*/ 682782 h 772732"/>
                    <a:gd name="connsiteX263" fmla="*/ 409910 w 639919"/>
                    <a:gd name="connsiteY263" fmla="*/ 683385 h 772732"/>
                    <a:gd name="connsiteX264" fmla="*/ 410514 w 639919"/>
                    <a:gd name="connsiteY264" fmla="*/ 679763 h 772732"/>
                    <a:gd name="connsiteX265" fmla="*/ 415947 w 639919"/>
                    <a:gd name="connsiteY265" fmla="*/ 680367 h 772732"/>
                    <a:gd name="connsiteX266" fmla="*/ 418966 w 639919"/>
                    <a:gd name="connsiteY266" fmla="*/ 679159 h 772732"/>
                    <a:gd name="connsiteX267" fmla="*/ 412929 w 639919"/>
                    <a:gd name="connsiteY267" fmla="*/ 673726 h 772732"/>
                    <a:gd name="connsiteX268" fmla="*/ 408703 w 639919"/>
                    <a:gd name="connsiteY268" fmla="*/ 672519 h 772732"/>
                    <a:gd name="connsiteX269" fmla="*/ 410514 w 639919"/>
                    <a:gd name="connsiteY269" fmla="*/ 668293 h 772732"/>
                    <a:gd name="connsiteX270" fmla="*/ 418966 w 639919"/>
                    <a:gd name="connsiteY270" fmla="*/ 668896 h 772732"/>
                    <a:gd name="connsiteX271" fmla="*/ 417155 w 639919"/>
                    <a:gd name="connsiteY271" fmla="*/ 662859 h 772732"/>
                    <a:gd name="connsiteX272" fmla="*/ 413533 w 639919"/>
                    <a:gd name="connsiteY272" fmla="*/ 659237 h 772732"/>
                    <a:gd name="connsiteX273" fmla="*/ 406288 w 639919"/>
                    <a:gd name="connsiteY273" fmla="*/ 658634 h 772732"/>
                    <a:gd name="connsiteX274" fmla="*/ 404477 w 639919"/>
                    <a:gd name="connsiteY274" fmla="*/ 659841 h 772732"/>
                    <a:gd name="connsiteX275" fmla="*/ 397836 w 639919"/>
                    <a:gd name="connsiteY275" fmla="*/ 659237 h 772732"/>
                    <a:gd name="connsiteX276" fmla="*/ 393611 w 639919"/>
                    <a:gd name="connsiteY276" fmla="*/ 661652 h 772732"/>
                    <a:gd name="connsiteX277" fmla="*/ 390592 w 639919"/>
                    <a:gd name="connsiteY277" fmla="*/ 660445 h 772732"/>
                    <a:gd name="connsiteX278" fmla="*/ 388781 w 639919"/>
                    <a:gd name="connsiteY278" fmla="*/ 655011 h 772732"/>
                    <a:gd name="connsiteX279" fmla="*/ 385159 w 639919"/>
                    <a:gd name="connsiteY279" fmla="*/ 652597 h 772732"/>
                    <a:gd name="connsiteX280" fmla="*/ 379726 w 639919"/>
                    <a:gd name="connsiteY280" fmla="*/ 651389 h 772732"/>
                    <a:gd name="connsiteX281" fmla="*/ 373689 w 639919"/>
                    <a:gd name="connsiteY281" fmla="*/ 651993 h 772732"/>
                    <a:gd name="connsiteX282" fmla="*/ 373689 w 639919"/>
                    <a:gd name="connsiteY282" fmla="*/ 654408 h 772732"/>
                    <a:gd name="connsiteX283" fmla="*/ 382744 w 639919"/>
                    <a:gd name="connsiteY283" fmla="*/ 659237 h 772732"/>
                    <a:gd name="connsiteX284" fmla="*/ 384555 w 639919"/>
                    <a:gd name="connsiteY284" fmla="*/ 661652 h 772732"/>
                    <a:gd name="connsiteX285" fmla="*/ 389385 w 639919"/>
                    <a:gd name="connsiteY285" fmla="*/ 664067 h 772732"/>
                    <a:gd name="connsiteX286" fmla="*/ 384555 w 639919"/>
                    <a:gd name="connsiteY286" fmla="*/ 668896 h 772732"/>
                    <a:gd name="connsiteX287" fmla="*/ 379726 w 639919"/>
                    <a:gd name="connsiteY287" fmla="*/ 668293 h 772732"/>
                    <a:gd name="connsiteX288" fmla="*/ 385762 w 639919"/>
                    <a:gd name="connsiteY288" fmla="*/ 676745 h 772732"/>
                    <a:gd name="connsiteX289" fmla="*/ 388781 w 639919"/>
                    <a:gd name="connsiteY289" fmla="*/ 678556 h 772732"/>
                    <a:gd name="connsiteX290" fmla="*/ 385762 w 639919"/>
                    <a:gd name="connsiteY290" fmla="*/ 687007 h 772732"/>
                    <a:gd name="connsiteX291" fmla="*/ 381537 w 639919"/>
                    <a:gd name="connsiteY291" fmla="*/ 689422 h 772732"/>
                    <a:gd name="connsiteX292" fmla="*/ 376103 w 639919"/>
                    <a:gd name="connsiteY292" fmla="*/ 687007 h 772732"/>
                    <a:gd name="connsiteX293" fmla="*/ 376103 w 639919"/>
                    <a:gd name="connsiteY293" fmla="*/ 682782 h 772732"/>
                    <a:gd name="connsiteX294" fmla="*/ 372481 w 639919"/>
                    <a:gd name="connsiteY294" fmla="*/ 678556 h 772732"/>
                    <a:gd name="connsiteX295" fmla="*/ 368255 w 639919"/>
                    <a:gd name="connsiteY295" fmla="*/ 677348 h 772732"/>
                    <a:gd name="connsiteX296" fmla="*/ 364030 w 639919"/>
                    <a:gd name="connsiteY296" fmla="*/ 680970 h 772732"/>
                    <a:gd name="connsiteX297" fmla="*/ 352559 w 639919"/>
                    <a:gd name="connsiteY297" fmla="*/ 680367 h 772732"/>
                    <a:gd name="connsiteX298" fmla="*/ 352559 w 639919"/>
                    <a:gd name="connsiteY298" fmla="*/ 682782 h 772732"/>
                    <a:gd name="connsiteX299" fmla="*/ 357993 w 639919"/>
                    <a:gd name="connsiteY299" fmla="*/ 687007 h 772732"/>
                    <a:gd name="connsiteX300" fmla="*/ 356785 w 639919"/>
                    <a:gd name="connsiteY300" fmla="*/ 688819 h 772732"/>
                    <a:gd name="connsiteX301" fmla="*/ 351956 w 639919"/>
                    <a:gd name="connsiteY301" fmla="*/ 688819 h 772732"/>
                    <a:gd name="connsiteX302" fmla="*/ 347730 w 639919"/>
                    <a:gd name="connsiteY302" fmla="*/ 696063 h 772732"/>
                    <a:gd name="connsiteX303" fmla="*/ 349541 w 639919"/>
                    <a:gd name="connsiteY303" fmla="*/ 698478 h 772732"/>
                    <a:gd name="connsiteX304" fmla="*/ 353163 w 639919"/>
                    <a:gd name="connsiteY304" fmla="*/ 700289 h 772732"/>
                    <a:gd name="connsiteX305" fmla="*/ 351352 w 639919"/>
                    <a:gd name="connsiteY305" fmla="*/ 715381 h 772732"/>
                    <a:gd name="connsiteX306" fmla="*/ 357389 w 639919"/>
                    <a:gd name="connsiteY306" fmla="*/ 717796 h 772732"/>
                    <a:gd name="connsiteX307" fmla="*/ 355578 w 639919"/>
                    <a:gd name="connsiteY307" fmla="*/ 721418 h 772732"/>
                    <a:gd name="connsiteX308" fmla="*/ 356181 w 639919"/>
                    <a:gd name="connsiteY308" fmla="*/ 725644 h 772732"/>
                    <a:gd name="connsiteX309" fmla="*/ 358596 w 639919"/>
                    <a:gd name="connsiteY309" fmla="*/ 729266 h 772732"/>
                    <a:gd name="connsiteX310" fmla="*/ 351956 w 639919"/>
                    <a:gd name="connsiteY310" fmla="*/ 738925 h 772732"/>
                    <a:gd name="connsiteX311" fmla="*/ 342296 w 639919"/>
                    <a:gd name="connsiteY311" fmla="*/ 732888 h 772732"/>
                    <a:gd name="connsiteX312" fmla="*/ 341089 w 639919"/>
                    <a:gd name="connsiteY312" fmla="*/ 728059 h 772732"/>
                    <a:gd name="connsiteX313" fmla="*/ 334448 w 639919"/>
                    <a:gd name="connsiteY313" fmla="*/ 724437 h 772732"/>
                    <a:gd name="connsiteX314" fmla="*/ 332637 w 639919"/>
                    <a:gd name="connsiteY314" fmla="*/ 728663 h 772732"/>
                    <a:gd name="connsiteX315" fmla="*/ 328411 w 639919"/>
                    <a:gd name="connsiteY315" fmla="*/ 727455 h 772732"/>
                    <a:gd name="connsiteX316" fmla="*/ 326600 w 639919"/>
                    <a:gd name="connsiteY316" fmla="*/ 729266 h 772732"/>
                    <a:gd name="connsiteX317" fmla="*/ 318149 w 639919"/>
                    <a:gd name="connsiteY317" fmla="*/ 726248 h 772732"/>
                    <a:gd name="connsiteX318" fmla="*/ 310904 w 639919"/>
                    <a:gd name="connsiteY318" fmla="*/ 725644 h 772732"/>
                    <a:gd name="connsiteX319" fmla="*/ 311508 w 639919"/>
                    <a:gd name="connsiteY319" fmla="*/ 715381 h 772732"/>
                    <a:gd name="connsiteX320" fmla="*/ 307282 w 639919"/>
                    <a:gd name="connsiteY320" fmla="*/ 712966 h 772732"/>
                    <a:gd name="connsiteX321" fmla="*/ 301245 w 639919"/>
                    <a:gd name="connsiteY321" fmla="*/ 713570 h 772732"/>
                    <a:gd name="connsiteX322" fmla="*/ 300641 w 639919"/>
                    <a:gd name="connsiteY322" fmla="*/ 709948 h 772732"/>
                    <a:gd name="connsiteX323" fmla="*/ 304867 w 639919"/>
                    <a:gd name="connsiteY323" fmla="*/ 708137 h 772732"/>
                    <a:gd name="connsiteX324" fmla="*/ 308489 w 639919"/>
                    <a:gd name="connsiteY324" fmla="*/ 708740 h 772732"/>
                    <a:gd name="connsiteX325" fmla="*/ 309697 w 639919"/>
                    <a:gd name="connsiteY325" fmla="*/ 702704 h 772732"/>
                    <a:gd name="connsiteX326" fmla="*/ 313319 w 639919"/>
                    <a:gd name="connsiteY326" fmla="*/ 697874 h 772732"/>
                    <a:gd name="connsiteX327" fmla="*/ 307282 w 639919"/>
                    <a:gd name="connsiteY327" fmla="*/ 696667 h 772732"/>
                    <a:gd name="connsiteX328" fmla="*/ 307282 w 639919"/>
                    <a:gd name="connsiteY328" fmla="*/ 693648 h 772732"/>
                    <a:gd name="connsiteX329" fmla="*/ 313923 w 639919"/>
                    <a:gd name="connsiteY329" fmla="*/ 693044 h 772732"/>
                    <a:gd name="connsiteX330" fmla="*/ 310300 w 639919"/>
                    <a:gd name="connsiteY330" fmla="*/ 690026 h 772732"/>
                    <a:gd name="connsiteX331" fmla="*/ 310904 w 639919"/>
                    <a:gd name="connsiteY331" fmla="*/ 685196 h 772732"/>
                    <a:gd name="connsiteX332" fmla="*/ 318149 w 639919"/>
                    <a:gd name="connsiteY332" fmla="*/ 685196 h 772732"/>
                    <a:gd name="connsiteX333" fmla="*/ 319356 w 639919"/>
                    <a:gd name="connsiteY333" fmla="*/ 680970 h 772732"/>
                    <a:gd name="connsiteX334" fmla="*/ 322978 w 639919"/>
                    <a:gd name="connsiteY334" fmla="*/ 677952 h 772732"/>
                    <a:gd name="connsiteX335" fmla="*/ 319356 w 639919"/>
                    <a:gd name="connsiteY335" fmla="*/ 674933 h 772732"/>
                    <a:gd name="connsiteX336" fmla="*/ 316337 w 639919"/>
                    <a:gd name="connsiteY336" fmla="*/ 679763 h 772732"/>
                    <a:gd name="connsiteX337" fmla="*/ 311508 w 639919"/>
                    <a:gd name="connsiteY337" fmla="*/ 674330 h 772732"/>
                    <a:gd name="connsiteX338" fmla="*/ 307886 w 639919"/>
                    <a:gd name="connsiteY338" fmla="*/ 674330 h 772732"/>
                    <a:gd name="connsiteX339" fmla="*/ 303056 w 639919"/>
                    <a:gd name="connsiteY339" fmla="*/ 671915 h 772732"/>
                    <a:gd name="connsiteX340" fmla="*/ 304263 w 639919"/>
                    <a:gd name="connsiteY340" fmla="*/ 669500 h 772732"/>
                    <a:gd name="connsiteX341" fmla="*/ 311508 w 639919"/>
                    <a:gd name="connsiteY341" fmla="*/ 664067 h 772732"/>
                    <a:gd name="connsiteX342" fmla="*/ 314526 w 639919"/>
                    <a:gd name="connsiteY342" fmla="*/ 664067 h 772732"/>
                    <a:gd name="connsiteX343" fmla="*/ 315130 w 639919"/>
                    <a:gd name="connsiteY343" fmla="*/ 658634 h 772732"/>
                    <a:gd name="connsiteX344" fmla="*/ 321771 w 639919"/>
                    <a:gd name="connsiteY344" fmla="*/ 653804 h 772732"/>
                    <a:gd name="connsiteX345" fmla="*/ 329619 w 639919"/>
                    <a:gd name="connsiteY345" fmla="*/ 655011 h 772732"/>
                    <a:gd name="connsiteX346" fmla="*/ 329619 w 639919"/>
                    <a:gd name="connsiteY346" fmla="*/ 660445 h 772732"/>
                    <a:gd name="connsiteX347" fmla="*/ 333241 w 639919"/>
                    <a:gd name="connsiteY347" fmla="*/ 661048 h 772732"/>
                    <a:gd name="connsiteX348" fmla="*/ 335656 w 639919"/>
                    <a:gd name="connsiteY348" fmla="*/ 658030 h 772732"/>
                    <a:gd name="connsiteX349" fmla="*/ 331430 w 639919"/>
                    <a:gd name="connsiteY349" fmla="*/ 653804 h 772732"/>
                    <a:gd name="connsiteX350" fmla="*/ 329619 w 639919"/>
                    <a:gd name="connsiteY350" fmla="*/ 647767 h 772732"/>
                    <a:gd name="connsiteX351" fmla="*/ 325393 w 639919"/>
                    <a:gd name="connsiteY351" fmla="*/ 646560 h 772732"/>
                    <a:gd name="connsiteX352" fmla="*/ 327204 w 639919"/>
                    <a:gd name="connsiteY352" fmla="*/ 641730 h 772732"/>
                    <a:gd name="connsiteX353" fmla="*/ 323582 w 639919"/>
                    <a:gd name="connsiteY353" fmla="*/ 641127 h 772732"/>
                    <a:gd name="connsiteX354" fmla="*/ 318752 w 639919"/>
                    <a:gd name="connsiteY354" fmla="*/ 637504 h 772732"/>
                    <a:gd name="connsiteX355" fmla="*/ 317545 w 639919"/>
                    <a:gd name="connsiteY355" fmla="*/ 635090 h 772732"/>
                    <a:gd name="connsiteX356" fmla="*/ 319960 w 639919"/>
                    <a:gd name="connsiteY356" fmla="*/ 628449 h 772732"/>
                    <a:gd name="connsiteX357" fmla="*/ 313319 w 639919"/>
                    <a:gd name="connsiteY357" fmla="*/ 624827 h 772732"/>
                    <a:gd name="connsiteX358" fmla="*/ 307282 w 639919"/>
                    <a:gd name="connsiteY358" fmla="*/ 615167 h 772732"/>
                    <a:gd name="connsiteX359" fmla="*/ 301245 w 639919"/>
                    <a:gd name="connsiteY359" fmla="*/ 613356 h 772732"/>
                    <a:gd name="connsiteX360" fmla="*/ 300038 w 639919"/>
                    <a:gd name="connsiteY360" fmla="*/ 607923 h 772732"/>
                    <a:gd name="connsiteX361" fmla="*/ 289775 w 639919"/>
                    <a:gd name="connsiteY361" fmla="*/ 602490 h 772732"/>
                    <a:gd name="connsiteX362" fmla="*/ 281927 w 639919"/>
                    <a:gd name="connsiteY362" fmla="*/ 601282 h 772732"/>
                    <a:gd name="connsiteX363" fmla="*/ 280719 w 639919"/>
                    <a:gd name="connsiteY363" fmla="*/ 598264 h 772732"/>
                    <a:gd name="connsiteX364" fmla="*/ 275286 w 639919"/>
                    <a:gd name="connsiteY364" fmla="*/ 597057 h 772732"/>
                    <a:gd name="connsiteX365" fmla="*/ 272267 w 639919"/>
                    <a:gd name="connsiteY365" fmla="*/ 599471 h 772732"/>
                    <a:gd name="connsiteX366" fmla="*/ 268645 w 639919"/>
                    <a:gd name="connsiteY366" fmla="*/ 598868 h 772732"/>
                    <a:gd name="connsiteX367" fmla="*/ 268042 w 639919"/>
                    <a:gd name="connsiteY367" fmla="*/ 595849 h 772732"/>
                    <a:gd name="connsiteX368" fmla="*/ 271664 w 639919"/>
                    <a:gd name="connsiteY368" fmla="*/ 591020 h 772732"/>
                    <a:gd name="connsiteX369" fmla="*/ 270456 w 639919"/>
                    <a:gd name="connsiteY369" fmla="*/ 586794 h 772732"/>
                    <a:gd name="connsiteX370" fmla="*/ 261401 w 639919"/>
                    <a:gd name="connsiteY370" fmla="*/ 583172 h 772732"/>
                    <a:gd name="connsiteX371" fmla="*/ 262005 w 639919"/>
                    <a:gd name="connsiteY371" fmla="*/ 580153 h 772732"/>
                    <a:gd name="connsiteX372" fmla="*/ 252346 w 639919"/>
                    <a:gd name="connsiteY372" fmla="*/ 577135 h 772732"/>
                    <a:gd name="connsiteX373" fmla="*/ 246912 w 639919"/>
                    <a:gd name="connsiteY373" fmla="*/ 572305 h 772732"/>
                    <a:gd name="connsiteX374" fmla="*/ 247516 w 639919"/>
                    <a:gd name="connsiteY374" fmla="*/ 569286 h 772732"/>
                    <a:gd name="connsiteX375" fmla="*/ 239668 w 639919"/>
                    <a:gd name="connsiteY375" fmla="*/ 566268 h 772732"/>
                    <a:gd name="connsiteX376" fmla="*/ 237857 w 639919"/>
                    <a:gd name="connsiteY376" fmla="*/ 556005 h 772732"/>
                    <a:gd name="connsiteX377" fmla="*/ 235442 w 639919"/>
                    <a:gd name="connsiteY377" fmla="*/ 552383 h 772732"/>
                    <a:gd name="connsiteX378" fmla="*/ 230612 w 639919"/>
                    <a:gd name="connsiteY378" fmla="*/ 551779 h 772732"/>
                    <a:gd name="connsiteX379" fmla="*/ 228801 w 639919"/>
                    <a:gd name="connsiteY379" fmla="*/ 549364 h 772732"/>
                    <a:gd name="connsiteX380" fmla="*/ 224575 w 639919"/>
                    <a:gd name="connsiteY380" fmla="*/ 549968 h 772732"/>
                    <a:gd name="connsiteX381" fmla="*/ 223368 w 639919"/>
                    <a:gd name="connsiteY381" fmla="*/ 543327 h 772732"/>
                    <a:gd name="connsiteX382" fmla="*/ 221557 w 639919"/>
                    <a:gd name="connsiteY382" fmla="*/ 542120 h 772732"/>
                    <a:gd name="connsiteX383" fmla="*/ 219746 w 639919"/>
                    <a:gd name="connsiteY383" fmla="*/ 522198 h 772732"/>
                    <a:gd name="connsiteX384" fmla="*/ 216727 w 639919"/>
                    <a:gd name="connsiteY384" fmla="*/ 513143 h 772732"/>
                    <a:gd name="connsiteX385" fmla="*/ 213105 w 639919"/>
                    <a:gd name="connsiteY385" fmla="*/ 509520 h 772732"/>
                    <a:gd name="connsiteX386" fmla="*/ 216124 w 639919"/>
                    <a:gd name="connsiteY386" fmla="*/ 498050 h 772732"/>
                    <a:gd name="connsiteX387" fmla="*/ 210690 w 639919"/>
                    <a:gd name="connsiteY387" fmla="*/ 492617 h 772732"/>
                    <a:gd name="connsiteX388" fmla="*/ 210690 w 639919"/>
                    <a:gd name="connsiteY388" fmla="*/ 483561 h 772732"/>
                    <a:gd name="connsiteX389" fmla="*/ 206465 w 639919"/>
                    <a:gd name="connsiteY389" fmla="*/ 476921 h 772732"/>
                    <a:gd name="connsiteX390" fmla="*/ 206465 w 639919"/>
                    <a:gd name="connsiteY390" fmla="*/ 473902 h 772732"/>
                    <a:gd name="connsiteX391" fmla="*/ 212501 w 639919"/>
                    <a:gd name="connsiteY391" fmla="*/ 473299 h 772732"/>
                    <a:gd name="connsiteX392" fmla="*/ 213709 w 639919"/>
                    <a:gd name="connsiteY392" fmla="*/ 468469 h 772732"/>
                    <a:gd name="connsiteX393" fmla="*/ 216727 w 639919"/>
                    <a:gd name="connsiteY393" fmla="*/ 465451 h 772732"/>
                    <a:gd name="connsiteX394" fmla="*/ 215520 w 639919"/>
                    <a:gd name="connsiteY394" fmla="*/ 456999 h 772732"/>
                    <a:gd name="connsiteX395" fmla="*/ 207672 w 639919"/>
                    <a:gd name="connsiteY395" fmla="*/ 454584 h 772732"/>
                    <a:gd name="connsiteX396" fmla="*/ 199824 w 639919"/>
                    <a:gd name="connsiteY396" fmla="*/ 455791 h 772732"/>
                    <a:gd name="connsiteX397" fmla="*/ 201031 w 639919"/>
                    <a:gd name="connsiteY397" fmla="*/ 449754 h 772732"/>
                    <a:gd name="connsiteX398" fmla="*/ 198616 w 639919"/>
                    <a:gd name="connsiteY398" fmla="*/ 444321 h 772732"/>
                    <a:gd name="connsiteX399" fmla="*/ 188354 w 639919"/>
                    <a:gd name="connsiteY399" fmla="*/ 443114 h 772732"/>
                    <a:gd name="connsiteX400" fmla="*/ 188354 w 639919"/>
                    <a:gd name="connsiteY400" fmla="*/ 433455 h 772732"/>
                    <a:gd name="connsiteX401" fmla="*/ 191976 w 639919"/>
                    <a:gd name="connsiteY401" fmla="*/ 429229 h 772732"/>
                    <a:gd name="connsiteX402" fmla="*/ 184731 w 639919"/>
                    <a:gd name="connsiteY402" fmla="*/ 425607 h 772732"/>
                    <a:gd name="connsiteX403" fmla="*/ 185939 w 639919"/>
                    <a:gd name="connsiteY403" fmla="*/ 419570 h 772732"/>
                    <a:gd name="connsiteX404" fmla="*/ 190165 w 639919"/>
                    <a:gd name="connsiteY404" fmla="*/ 418966 h 772732"/>
                    <a:gd name="connsiteX405" fmla="*/ 192579 w 639919"/>
                    <a:gd name="connsiteY405" fmla="*/ 414740 h 772732"/>
                    <a:gd name="connsiteX406" fmla="*/ 191976 w 639919"/>
                    <a:gd name="connsiteY406" fmla="*/ 409307 h 772732"/>
                    <a:gd name="connsiteX407" fmla="*/ 190165 w 639919"/>
                    <a:gd name="connsiteY407" fmla="*/ 405081 h 772732"/>
                    <a:gd name="connsiteX408" fmla="*/ 192579 w 639919"/>
                    <a:gd name="connsiteY408" fmla="*/ 402666 h 772732"/>
                    <a:gd name="connsiteX409" fmla="*/ 191372 w 639919"/>
                    <a:gd name="connsiteY409" fmla="*/ 397836 h 772732"/>
                    <a:gd name="connsiteX410" fmla="*/ 188354 w 639919"/>
                    <a:gd name="connsiteY410" fmla="*/ 397233 h 772732"/>
                    <a:gd name="connsiteX411" fmla="*/ 182317 w 639919"/>
                    <a:gd name="connsiteY411" fmla="*/ 400855 h 772732"/>
                    <a:gd name="connsiteX412" fmla="*/ 181109 w 639919"/>
                    <a:gd name="connsiteY412" fmla="*/ 406288 h 772732"/>
                    <a:gd name="connsiteX413" fmla="*/ 175072 w 639919"/>
                    <a:gd name="connsiteY413" fmla="*/ 403873 h 772732"/>
                    <a:gd name="connsiteX414" fmla="*/ 176883 w 639919"/>
                    <a:gd name="connsiteY414" fmla="*/ 400251 h 772732"/>
                    <a:gd name="connsiteX415" fmla="*/ 176883 w 639919"/>
                    <a:gd name="connsiteY415" fmla="*/ 393611 h 772732"/>
                    <a:gd name="connsiteX416" fmla="*/ 175676 w 639919"/>
                    <a:gd name="connsiteY416" fmla="*/ 389988 h 772732"/>
                    <a:gd name="connsiteX417" fmla="*/ 167224 w 639919"/>
                    <a:gd name="connsiteY417" fmla="*/ 394818 h 772732"/>
                    <a:gd name="connsiteX418" fmla="*/ 166017 w 639919"/>
                    <a:gd name="connsiteY418" fmla="*/ 399648 h 772732"/>
                    <a:gd name="connsiteX419" fmla="*/ 158772 w 639919"/>
                    <a:gd name="connsiteY419" fmla="*/ 400251 h 772732"/>
                    <a:gd name="connsiteX420" fmla="*/ 156358 w 639919"/>
                    <a:gd name="connsiteY420" fmla="*/ 403873 h 772732"/>
                    <a:gd name="connsiteX421" fmla="*/ 150321 w 639919"/>
                    <a:gd name="connsiteY421" fmla="*/ 402062 h 772732"/>
                    <a:gd name="connsiteX422" fmla="*/ 147302 w 639919"/>
                    <a:gd name="connsiteY422" fmla="*/ 396025 h 772732"/>
                    <a:gd name="connsiteX423" fmla="*/ 143680 w 639919"/>
                    <a:gd name="connsiteY423" fmla="*/ 397233 h 772732"/>
                    <a:gd name="connsiteX424" fmla="*/ 140661 w 639919"/>
                    <a:gd name="connsiteY424" fmla="*/ 401459 h 772732"/>
                    <a:gd name="connsiteX425" fmla="*/ 133417 w 639919"/>
                    <a:gd name="connsiteY425" fmla="*/ 402062 h 772732"/>
                    <a:gd name="connsiteX426" fmla="*/ 132210 w 639919"/>
                    <a:gd name="connsiteY426" fmla="*/ 405685 h 772732"/>
                    <a:gd name="connsiteX427" fmla="*/ 126173 w 639919"/>
                    <a:gd name="connsiteY427" fmla="*/ 404477 h 772732"/>
                    <a:gd name="connsiteX428" fmla="*/ 120739 w 639919"/>
                    <a:gd name="connsiteY428" fmla="*/ 397233 h 772732"/>
                    <a:gd name="connsiteX429" fmla="*/ 118325 w 639919"/>
                    <a:gd name="connsiteY429" fmla="*/ 391799 h 772732"/>
                    <a:gd name="connsiteX430" fmla="*/ 114702 w 639919"/>
                    <a:gd name="connsiteY430" fmla="*/ 390592 h 772732"/>
                    <a:gd name="connsiteX431" fmla="*/ 108062 w 639919"/>
                    <a:gd name="connsiteY431" fmla="*/ 395422 h 772732"/>
                    <a:gd name="connsiteX432" fmla="*/ 105043 w 639919"/>
                    <a:gd name="connsiteY432" fmla="*/ 393007 h 772732"/>
                    <a:gd name="connsiteX433" fmla="*/ 100214 w 639919"/>
                    <a:gd name="connsiteY433" fmla="*/ 393007 h 772732"/>
                    <a:gd name="connsiteX434" fmla="*/ 97799 w 639919"/>
                    <a:gd name="connsiteY434" fmla="*/ 387574 h 772732"/>
                    <a:gd name="connsiteX435" fmla="*/ 99610 w 639919"/>
                    <a:gd name="connsiteY435" fmla="*/ 383951 h 772732"/>
                    <a:gd name="connsiteX436" fmla="*/ 96592 w 639919"/>
                    <a:gd name="connsiteY436" fmla="*/ 379726 h 772732"/>
                    <a:gd name="connsiteX437" fmla="*/ 94781 w 639919"/>
                    <a:gd name="connsiteY437" fmla="*/ 373085 h 772732"/>
                    <a:gd name="connsiteX438" fmla="*/ 86932 w 639919"/>
                    <a:gd name="connsiteY438" fmla="*/ 368255 h 772732"/>
                    <a:gd name="connsiteX439" fmla="*/ 83310 w 639919"/>
                    <a:gd name="connsiteY439" fmla="*/ 368255 h 772732"/>
                    <a:gd name="connsiteX440" fmla="*/ 79084 w 639919"/>
                    <a:gd name="connsiteY440" fmla="*/ 364029 h 772732"/>
                    <a:gd name="connsiteX441" fmla="*/ 70633 w 639919"/>
                    <a:gd name="connsiteY441" fmla="*/ 365237 h 772732"/>
                    <a:gd name="connsiteX442" fmla="*/ 63992 w 639919"/>
                    <a:gd name="connsiteY442" fmla="*/ 374292 h 772732"/>
                    <a:gd name="connsiteX443" fmla="*/ 54936 w 639919"/>
                    <a:gd name="connsiteY443" fmla="*/ 376103 h 772732"/>
                    <a:gd name="connsiteX444" fmla="*/ 50711 w 639919"/>
                    <a:gd name="connsiteY444" fmla="*/ 372481 h 772732"/>
                    <a:gd name="connsiteX445" fmla="*/ 45881 w 639919"/>
                    <a:gd name="connsiteY445" fmla="*/ 373085 h 772732"/>
                    <a:gd name="connsiteX446" fmla="*/ 38033 w 639919"/>
                    <a:gd name="connsiteY446" fmla="*/ 371274 h 772732"/>
                    <a:gd name="connsiteX447" fmla="*/ 36222 w 639919"/>
                    <a:gd name="connsiteY447" fmla="*/ 380933 h 772732"/>
                    <a:gd name="connsiteX448" fmla="*/ 26563 w 639919"/>
                    <a:gd name="connsiteY448" fmla="*/ 382140 h 772732"/>
                    <a:gd name="connsiteX449" fmla="*/ 27770 w 639919"/>
                    <a:gd name="connsiteY449" fmla="*/ 375500 h 772732"/>
                    <a:gd name="connsiteX450" fmla="*/ 21733 w 639919"/>
                    <a:gd name="connsiteY450" fmla="*/ 368255 h 772732"/>
                    <a:gd name="connsiteX451" fmla="*/ 21129 w 639919"/>
                    <a:gd name="connsiteY451" fmla="*/ 363426 h 772732"/>
                    <a:gd name="connsiteX452" fmla="*/ 17507 w 639919"/>
                    <a:gd name="connsiteY452" fmla="*/ 359804 h 772732"/>
                    <a:gd name="connsiteX453" fmla="*/ 13281 w 639919"/>
                    <a:gd name="connsiteY453" fmla="*/ 359200 h 772732"/>
                    <a:gd name="connsiteX454" fmla="*/ 12678 w 639919"/>
                    <a:gd name="connsiteY454" fmla="*/ 353163 h 772732"/>
                    <a:gd name="connsiteX455" fmla="*/ 13885 w 639919"/>
                    <a:gd name="connsiteY455" fmla="*/ 349541 h 772732"/>
                    <a:gd name="connsiteX456" fmla="*/ 22941 w 639919"/>
                    <a:gd name="connsiteY456" fmla="*/ 351352 h 772732"/>
                    <a:gd name="connsiteX457" fmla="*/ 25959 w 639919"/>
                    <a:gd name="connsiteY457" fmla="*/ 342900 h 772732"/>
                    <a:gd name="connsiteX458" fmla="*/ 30185 w 639919"/>
                    <a:gd name="connsiteY458" fmla="*/ 336259 h 772732"/>
                    <a:gd name="connsiteX459" fmla="*/ 30185 w 639919"/>
                    <a:gd name="connsiteY459" fmla="*/ 333844 h 772732"/>
                    <a:gd name="connsiteX460" fmla="*/ 21733 w 639919"/>
                    <a:gd name="connsiteY460" fmla="*/ 328411 h 772732"/>
                    <a:gd name="connsiteX461" fmla="*/ 21733 w 639919"/>
                    <a:gd name="connsiteY461" fmla="*/ 321167 h 772732"/>
                    <a:gd name="connsiteX462" fmla="*/ 22337 w 639919"/>
                    <a:gd name="connsiteY462" fmla="*/ 310904 h 772732"/>
                    <a:gd name="connsiteX463" fmla="*/ 24752 w 639919"/>
                    <a:gd name="connsiteY463" fmla="*/ 309093 h 772732"/>
                    <a:gd name="connsiteX464" fmla="*/ 22941 w 639919"/>
                    <a:gd name="connsiteY464" fmla="*/ 304867 h 772732"/>
                    <a:gd name="connsiteX465" fmla="*/ 28374 w 639919"/>
                    <a:gd name="connsiteY465" fmla="*/ 288567 h 772732"/>
                    <a:gd name="connsiteX466" fmla="*/ 28977 w 639919"/>
                    <a:gd name="connsiteY466" fmla="*/ 281323 h 772732"/>
                    <a:gd name="connsiteX467" fmla="*/ 25959 w 639919"/>
                    <a:gd name="connsiteY467" fmla="*/ 278304 h 772732"/>
                    <a:gd name="connsiteX468" fmla="*/ 21733 w 639919"/>
                    <a:gd name="connsiteY468" fmla="*/ 281323 h 772732"/>
                    <a:gd name="connsiteX469" fmla="*/ 14489 w 639919"/>
                    <a:gd name="connsiteY469" fmla="*/ 281323 h 772732"/>
                    <a:gd name="connsiteX470" fmla="*/ 12074 w 639919"/>
                    <a:gd name="connsiteY470" fmla="*/ 283738 h 772732"/>
                    <a:gd name="connsiteX471" fmla="*/ 1207 w 639919"/>
                    <a:gd name="connsiteY471" fmla="*/ 283134 h 772732"/>
                    <a:gd name="connsiteX472" fmla="*/ 0 w 639919"/>
                    <a:gd name="connsiteY472" fmla="*/ 272871 h 772732"/>
                    <a:gd name="connsiteX473" fmla="*/ 604 w 639919"/>
                    <a:gd name="connsiteY473" fmla="*/ 269853 h 772732"/>
                    <a:gd name="connsiteX474" fmla="*/ 5433 w 639919"/>
                    <a:gd name="connsiteY474" fmla="*/ 263816 h 772732"/>
                    <a:gd name="connsiteX475" fmla="*/ 13885 w 639919"/>
                    <a:gd name="connsiteY475" fmla="*/ 260797 h 772732"/>
                    <a:gd name="connsiteX476" fmla="*/ 18111 w 639919"/>
                    <a:gd name="connsiteY476" fmla="*/ 254760 h 772732"/>
                    <a:gd name="connsiteX477" fmla="*/ 13885 w 639919"/>
                    <a:gd name="connsiteY477" fmla="*/ 245705 h 772732"/>
                    <a:gd name="connsiteX478" fmla="*/ 7848 w 639919"/>
                    <a:gd name="connsiteY478" fmla="*/ 244497 h 772732"/>
                    <a:gd name="connsiteX479" fmla="*/ 10867 w 639919"/>
                    <a:gd name="connsiteY479" fmla="*/ 236046 h 772732"/>
                    <a:gd name="connsiteX480" fmla="*/ 21733 w 639919"/>
                    <a:gd name="connsiteY480" fmla="*/ 240271 h 772732"/>
                    <a:gd name="connsiteX481" fmla="*/ 24752 w 639919"/>
                    <a:gd name="connsiteY481" fmla="*/ 242686 h 772732"/>
                    <a:gd name="connsiteX482" fmla="*/ 35618 w 639919"/>
                    <a:gd name="connsiteY482" fmla="*/ 245101 h 772732"/>
                    <a:gd name="connsiteX483" fmla="*/ 35618 w 639919"/>
                    <a:gd name="connsiteY483" fmla="*/ 240875 h 772732"/>
                    <a:gd name="connsiteX484" fmla="*/ 44070 w 639919"/>
                    <a:gd name="connsiteY484" fmla="*/ 234838 h 772732"/>
                    <a:gd name="connsiteX485" fmla="*/ 47088 w 639919"/>
                    <a:gd name="connsiteY485" fmla="*/ 229405 h 772732"/>
                    <a:gd name="connsiteX486" fmla="*/ 53125 w 639919"/>
                    <a:gd name="connsiteY486" fmla="*/ 231820 h 772732"/>
                    <a:gd name="connsiteX487" fmla="*/ 56144 w 639919"/>
                    <a:gd name="connsiteY487" fmla="*/ 230009 h 772732"/>
                    <a:gd name="connsiteX488" fmla="*/ 63992 w 639919"/>
                    <a:gd name="connsiteY488" fmla="*/ 228801 h 772732"/>
                    <a:gd name="connsiteX489" fmla="*/ 68822 w 639919"/>
                    <a:gd name="connsiteY489" fmla="*/ 224575 h 772732"/>
                    <a:gd name="connsiteX490" fmla="*/ 73047 w 639919"/>
                    <a:gd name="connsiteY490" fmla="*/ 228801 h 772732"/>
                    <a:gd name="connsiteX491" fmla="*/ 79084 w 639919"/>
                    <a:gd name="connsiteY491" fmla="*/ 232423 h 772732"/>
                    <a:gd name="connsiteX492" fmla="*/ 83914 w 639919"/>
                    <a:gd name="connsiteY492" fmla="*/ 232423 h 772732"/>
                    <a:gd name="connsiteX493" fmla="*/ 94177 w 639919"/>
                    <a:gd name="connsiteY493" fmla="*/ 236649 h 772732"/>
                    <a:gd name="connsiteX494" fmla="*/ 98403 w 639919"/>
                    <a:gd name="connsiteY494" fmla="*/ 245705 h 772732"/>
                    <a:gd name="connsiteX495" fmla="*/ 103836 w 639919"/>
                    <a:gd name="connsiteY495" fmla="*/ 248723 h 772732"/>
                    <a:gd name="connsiteX496" fmla="*/ 103836 w 639919"/>
                    <a:gd name="connsiteY496" fmla="*/ 251138 h 772732"/>
                    <a:gd name="connsiteX497" fmla="*/ 108062 w 639919"/>
                    <a:gd name="connsiteY497" fmla="*/ 256571 h 772732"/>
                    <a:gd name="connsiteX498" fmla="*/ 112891 w 639919"/>
                    <a:gd name="connsiteY498" fmla="*/ 254760 h 772732"/>
                    <a:gd name="connsiteX499" fmla="*/ 117721 w 639919"/>
                    <a:gd name="connsiteY499" fmla="*/ 250534 h 772732"/>
                    <a:gd name="connsiteX500" fmla="*/ 123758 w 639919"/>
                    <a:gd name="connsiteY500" fmla="*/ 251138 h 772732"/>
                    <a:gd name="connsiteX501" fmla="*/ 126173 w 639919"/>
                    <a:gd name="connsiteY501" fmla="*/ 243290 h 772732"/>
                    <a:gd name="connsiteX502" fmla="*/ 131002 w 639919"/>
                    <a:gd name="connsiteY502" fmla="*/ 246912 h 772732"/>
                    <a:gd name="connsiteX503" fmla="*/ 131002 w 639919"/>
                    <a:gd name="connsiteY503" fmla="*/ 254157 h 772732"/>
                    <a:gd name="connsiteX504" fmla="*/ 127380 w 639919"/>
                    <a:gd name="connsiteY504" fmla="*/ 255968 h 772732"/>
                    <a:gd name="connsiteX505" fmla="*/ 127984 w 639919"/>
                    <a:gd name="connsiteY505" fmla="*/ 259590 h 772732"/>
                    <a:gd name="connsiteX506" fmla="*/ 131606 w 639919"/>
                    <a:gd name="connsiteY506" fmla="*/ 260797 h 772732"/>
                    <a:gd name="connsiteX507" fmla="*/ 129191 w 639919"/>
                    <a:gd name="connsiteY507" fmla="*/ 265627 h 772732"/>
                    <a:gd name="connsiteX508" fmla="*/ 131002 w 639919"/>
                    <a:gd name="connsiteY508" fmla="*/ 269249 h 772732"/>
                    <a:gd name="connsiteX509" fmla="*/ 135832 w 639919"/>
                    <a:gd name="connsiteY509" fmla="*/ 268645 h 772732"/>
                    <a:gd name="connsiteX510" fmla="*/ 137039 w 639919"/>
                    <a:gd name="connsiteY510" fmla="*/ 273475 h 772732"/>
                    <a:gd name="connsiteX511" fmla="*/ 140661 w 639919"/>
                    <a:gd name="connsiteY511" fmla="*/ 272267 h 772732"/>
                    <a:gd name="connsiteX512" fmla="*/ 141869 w 639919"/>
                    <a:gd name="connsiteY512" fmla="*/ 265627 h 772732"/>
                    <a:gd name="connsiteX513" fmla="*/ 147906 w 639919"/>
                    <a:gd name="connsiteY513" fmla="*/ 260797 h 772732"/>
                    <a:gd name="connsiteX514" fmla="*/ 151528 w 639919"/>
                    <a:gd name="connsiteY514" fmla="*/ 263212 h 772732"/>
                    <a:gd name="connsiteX515" fmla="*/ 150924 w 639919"/>
                    <a:gd name="connsiteY515" fmla="*/ 271060 h 772732"/>
                    <a:gd name="connsiteX516" fmla="*/ 153943 w 639919"/>
                    <a:gd name="connsiteY516" fmla="*/ 273475 h 772732"/>
                    <a:gd name="connsiteX517" fmla="*/ 157565 w 639919"/>
                    <a:gd name="connsiteY517" fmla="*/ 281323 h 772732"/>
                    <a:gd name="connsiteX518" fmla="*/ 155754 w 639919"/>
                    <a:gd name="connsiteY518" fmla="*/ 286152 h 772732"/>
                    <a:gd name="connsiteX519" fmla="*/ 150924 w 639919"/>
                    <a:gd name="connsiteY519" fmla="*/ 286756 h 772732"/>
                    <a:gd name="connsiteX520" fmla="*/ 148510 w 639919"/>
                    <a:gd name="connsiteY520" fmla="*/ 290982 h 772732"/>
                    <a:gd name="connsiteX521" fmla="*/ 150924 w 639919"/>
                    <a:gd name="connsiteY521" fmla="*/ 294604 h 772732"/>
                    <a:gd name="connsiteX522" fmla="*/ 149113 w 639919"/>
                    <a:gd name="connsiteY522" fmla="*/ 298226 h 772732"/>
                    <a:gd name="connsiteX523" fmla="*/ 143076 w 639919"/>
                    <a:gd name="connsiteY523" fmla="*/ 301245 h 772732"/>
                    <a:gd name="connsiteX524" fmla="*/ 145491 w 639919"/>
                    <a:gd name="connsiteY524" fmla="*/ 306075 h 772732"/>
                    <a:gd name="connsiteX525" fmla="*/ 145491 w 639919"/>
                    <a:gd name="connsiteY525" fmla="*/ 310300 h 772732"/>
                    <a:gd name="connsiteX526" fmla="*/ 150924 w 639919"/>
                    <a:gd name="connsiteY526" fmla="*/ 312112 h 772732"/>
                    <a:gd name="connsiteX527" fmla="*/ 155754 w 639919"/>
                    <a:gd name="connsiteY527" fmla="*/ 315734 h 772732"/>
                    <a:gd name="connsiteX528" fmla="*/ 153339 w 639919"/>
                    <a:gd name="connsiteY528" fmla="*/ 321771 h 772732"/>
                    <a:gd name="connsiteX529" fmla="*/ 159376 w 639919"/>
                    <a:gd name="connsiteY529" fmla="*/ 329015 h 772732"/>
                    <a:gd name="connsiteX530" fmla="*/ 170243 w 639919"/>
                    <a:gd name="connsiteY530" fmla="*/ 326600 h 772732"/>
                    <a:gd name="connsiteX531" fmla="*/ 172657 w 639919"/>
                    <a:gd name="connsiteY531" fmla="*/ 320563 h 772732"/>
                    <a:gd name="connsiteX532" fmla="*/ 167828 w 639919"/>
                    <a:gd name="connsiteY532" fmla="*/ 316941 h 772732"/>
                    <a:gd name="connsiteX533" fmla="*/ 169639 w 639919"/>
                    <a:gd name="connsiteY533" fmla="*/ 312715 h 772732"/>
                    <a:gd name="connsiteX534" fmla="*/ 173261 w 639919"/>
                    <a:gd name="connsiteY534" fmla="*/ 309697 h 772732"/>
                    <a:gd name="connsiteX535" fmla="*/ 175676 w 639919"/>
                    <a:gd name="connsiteY535" fmla="*/ 300641 h 772732"/>
                    <a:gd name="connsiteX536" fmla="*/ 181109 w 639919"/>
                    <a:gd name="connsiteY536" fmla="*/ 300641 h 772732"/>
                    <a:gd name="connsiteX537" fmla="*/ 178694 w 639919"/>
                    <a:gd name="connsiteY537" fmla="*/ 296415 h 772732"/>
                    <a:gd name="connsiteX538" fmla="*/ 184731 w 639919"/>
                    <a:gd name="connsiteY538" fmla="*/ 290982 h 772732"/>
                    <a:gd name="connsiteX539" fmla="*/ 188354 w 639919"/>
                    <a:gd name="connsiteY539" fmla="*/ 290982 h 772732"/>
                    <a:gd name="connsiteX540" fmla="*/ 188957 w 639919"/>
                    <a:gd name="connsiteY540" fmla="*/ 285549 h 772732"/>
                    <a:gd name="connsiteX541" fmla="*/ 191976 w 639919"/>
                    <a:gd name="connsiteY541" fmla="*/ 279512 h 772732"/>
                    <a:gd name="connsiteX542" fmla="*/ 201635 w 639919"/>
                    <a:gd name="connsiteY542" fmla="*/ 273475 h 772732"/>
                    <a:gd name="connsiteX543" fmla="*/ 201635 w 639919"/>
                    <a:gd name="connsiteY543" fmla="*/ 268042 h 772732"/>
                    <a:gd name="connsiteX544" fmla="*/ 214313 w 639919"/>
                    <a:gd name="connsiteY544" fmla="*/ 276493 h 772732"/>
                    <a:gd name="connsiteX545" fmla="*/ 224575 w 639919"/>
                    <a:gd name="connsiteY545" fmla="*/ 278304 h 772732"/>
                    <a:gd name="connsiteX546" fmla="*/ 226386 w 639919"/>
                    <a:gd name="connsiteY546" fmla="*/ 283134 h 772732"/>
                    <a:gd name="connsiteX547" fmla="*/ 238460 w 639919"/>
                    <a:gd name="connsiteY547" fmla="*/ 281323 h 772732"/>
                    <a:gd name="connsiteX548" fmla="*/ 239064 w 639919"/>
                    <a:gd name="connsiteY548" fmla="*/ 276493 h 772732"/>
                    <a:gd name="connsiteX549" fmla="*/ 247516 w 639919"/>
                    <a:gd name="connsiteY549" fmla="*/ 276493 h 772732"/>
                    <a:gd name="connsiteX550" fmla="*/ 249931 w 639919"/>
                    <a:gd name="connsiteY550" fmla="*/ 280115 h 772732"/>
                    <a:gd name="connsiteX551" fmla="*/ 253553 w 639919"/>
                    <a:gd name="connsiteY551" fmla="*/ 280719 h 772732"/>
                    <a:gd name="connsiteX552" fmla="*/ 255364 w 639919"/>
                    <a:gd name="connsiteY552" fmla="*/ 268042 h 772732"/>
                    <a:gd name="connsiteX553" fmla="*/ 264419 w 639919"/>
                    <a:gd name="connsiteY553" fmla="*/ 267438 h 772732"/>
                    <a:gd name="connsiteX554" fmla="*/ 269249 w 639919"/>
                    <a:gd name="connsiteY554" fmla="*/ 263816 h 772732"/>
                    <a:gd name="connsiteX555" fmla="*/ 274079 w 639919"/>
                    <a:gd name="connsiteY555" fmla="*/ 268645 h 772732"/>
                    <a:gd name="connsiteX556" fmla="*/ 278908 w 639919"/>
                    <a:gd name="connsiteY556" fmla="*/ 266231 h 772732"/>
                    <a:gd name="connsiteX557" fmla="*/ 283738 w 639919"/>
                    <a:gd name="connsiteY557" fmla="*/ 275890 h 772732"/>
                    <a:gd name="connsiteX558" fmla="*/ 287964 w 639919"/>
                    <a:gd name="connsiteY558" fmla="*/ 281323 h 772732"/>
                    <a:gd name="connsiteX559" fmla="*/ 291586 w 639919"/>
                    <a:gd name="connsiteY559" fmla="*/ 282530 h 772732"/>
                    <a:gd name="connsiteX560" fmla="*/ 295208 w 639919"/>
                    <a:gd name="connsiteY560" fmla="*/ 280719 h 772732"/>
                    <a:gd name="connsiteX561" fmla="*/ 298226 w 639919"/>
                    <a:gd name="connsiteY561" fmla="*/ 284945 h 772732"/>
                    <a:gd name="connsiteX562" fmla="*/ 302452 w 639919"/>
                    <a:gd name="connsiteY562" fmla="*/ 286152 h 772732"/>
                    <a:gd name="connsiteX563" fmla="*/ 310300 w 639919"/>
                    <a:gd name="connsiteY563" fmla="*/ 286152 h 772732"/>
                    <a:gd name="connsiteX564" fmla="*/ 316941 w 639919"/>
                    <a:gd name="connsiteY564" fmla="*/ 281927 h 772732"/>
                    <a:gd name="connsiteX565" fmla="*/ 321167 w 639919"/>
                    <a:gd name="connsiteY565" fmla="*/ 280719 h 772732"/>
                    <a:gd name="connsiteX566" fmla="*/ 324789 w 639919"/>
                    <a:gd name="connsiteY566" fmla="*/ 282530 h 772732"/>
                    <a:gd name="connsiteX567" fmla="*/ 328411 w 639919"/>
                    <a:gd name="connsiteY567" fmla="*/ 276493 h 772732"/>
                    <a:gd name="connsiteX568" fmla="*/ 331430 w 639919"/>
                    <a:gd name="connsiteY568" fmla="*/ 274682 h 772732"/>
                    <a:gd name="connsiteX569" fmla="*/ 332033 w 639919"/>
                    <a:gd name="connsiteY569" fmla="*/ 268645 h 772732"/>
                    <a:gd name="connsiteX570" fmla="*/ 335656 w 639919"/>
                    <a:gd name="connsiteY570" fmla="*/ 267438 h 772732"/>
                    <a:gd name="connsiteX571" fmla="*/ 340485 w 639919"/>
                    <a:gd name="connsiteY571" fmla="*/ 271060 h 772732"/>
                    <a:gd name="connsiteX572" fmla="*/ 344711 w 639919"/>
                    <a:gd name="connsiteY572" fmla="*/ 266231 h 772732"/>
                    <a:gd name="connsiteX573" fmla="*/ 350748 w 639919"/>
                    <a:gd name="connsiteY573" fmla="*/ 265627 h 772732"/>
                    <a:gd name="connsiteX574" fmla="*/ 356181 w 639919"/>
                    <a:gd name="connsiteY574" fmla="*/ 259590 h 772732"/>
                    <a:gd name="connsiteX575" fmla="*/ 363426 w 639919"/>
                    <a:gd name="connsiteY575" fmla="*/ 257175 h 772732"/>
                    <a:gd name="connsiteX576" fmla="*/ 365841 w 639919"/>
                    <a:gd name="connsiteY576" fmla="*/ 253553 h 772732"/>
                    <a:gd name="connsiteX577" fmla="*/ 362822 w 639919"/>
                    <a:gd name="connsiteY577" fmla="*/ 249931 h 772732"/>
                    <a:gd name="connsiteX578" fmla="*/ 356785 w 639919"/>
                    <a:gd name="connsiteY578" fmla="*/ 249931 h 772732"/>
                    <a:gd name="connsiteX579" fmla="*/ 353767 w 639919"/>
                    <a:gd name="connsiteY579" fmla="*/ 247516 h 772732"/>
                    <a:gd name="connsiteX580" fmla="*/ 353767 w 639919"/>
                    <a:gd name="connsiteY580" fmla="*/ 240875 h 772732"/>
                    <a:gd name="connsiteX581" fmla="*/ 350748 w 639919"/>
                    <a:gd name="connsiteY581" fmla="*/ 239668 h 772732"/>
                    <a:gd name="connsiteX582" fmla="*/ 353163 w 639919"/>
                    <a:gd name="connsiteY582" fmla="*/ 235442 h 772732"/>
                    <a:gd name="connsiteX583" fmla="*/ 357993 w 639919"/>
                    <a:gd name="connsiteY583" fmla="*/ 236046 h 772732"/>
                    <a:gd name="connsiteX584" fmla="*/ 354974 w 639919"/>
                    <a:gd name="connsiteY584" fmla="*/ 221557 h 772732"/>
                    <a:gd name="connsiteX585" fmla="*/ 357389 w 639919"/>
                    <a:gd name="connsiteY585" fmla="*/ 214313 h 772732"/>
                    <a:gd name="connsiteX586" fmla="*/ 363426 w 639919"/>
                    <a:gd name="connsiteY586" fmla="*/ 203446 h 772732"/>
                    <a:gd name="connsiteX587" fmla="*/ 368255 w 639919"/>
                    <a:gd name="connsiteY587" fmla="*/ 197409 h 772732"/>
                    <a:gd name="connsiteX588" fmla="*/ 364030 w 639919"/>
                    <a:gd name="connsiteY588" fmla="*/ 196805 h 772732"/>
                    <a:gd name="connsiteX589" fmla="*/ 358596 w 639919"/>
                    <a:gd name="connsiteY589" fmla="*/ 191976 h 772732"/>
                    <a:gd name="connsiteX590" fmla="*/ 359804 w 639919"/>
                    <a:gd name="connsiteY590" fmla="*/ 190165 h 772732"/>
                    <a:gd name="connsiteX591" fmla="*/ 359804 w 639919"/>
                    <a:gd name="connsiteY591" fmla="*/ 185335 h 772732"/>
                    <a:gd name="connsiteX592" fmla="*/ 368255 w 639919"/>
                    <a:gd name="connsiteY592" fmla="*/ 194391 h 772732"/>
                    <a:gd name="connsiteX593" fmla="*/ 373689 w 639919"/>
                    <a:gd name="connsiteY593" fmla="*/ 195598 h 772732"/>
                    <a:gd name="connsiteX594" fmla="*/ 376707 w 639919"/>
                    <a:gd name="connsiteY594" fmla="*/ 194391 h 772732"/>
                    <a:gd name="connsiteX595" fmla="*/ 380933 w 639919"/>
                    <a:gd name="connsiteY595" fmla="*/ 196805 h 772732"/>
                    <a:gd name="connsiteX596" fmla="*/ 383951 w 639919"/>
                    <a:gd name="connsiteY596" fmla="*/ 196202 h 772732"/>
                    <a:gd name="connsiteX597" fmla="*/ 388177 w 639919"/>
                    <a:gd name="connsiteY597" fmla="*/ 191976 h 772732"/>
                    <a:gd name="connsiteX598" fmla="*/ 383348 w 639919"/>
                    <a:gd name="connsiteY598" fmla="*/ 187146 h 772732"/>
                    <a:gd name="connsiteX599" fmla="*/ 388177 w 639919"/>
                    <a:gd name="connsiteY599" fmla="*/ 186542 h 772732"/>
                    <a:gd name="connsiteX600" fmla="*/ 391196 w 639919"/>
                    <a:gd name="connsiteY600" fmla="*/ 191976 h 772732"/>
                    <a:gd name="connsiteX601" fmla="*/ 396629 w 639919"/>
                    <a:gd name="connsiteY601" fmla="*/ 191976 h 772732"/>
                    <a:gd name="connsiteX602" fmla="*/ 395422 w 639919"/>
                    <a:gd name="connsiteY602" fmla="*/ 187750 h 772732"/>
                    <a:gd name="connsiteX603" fmla="*/ 399044 w 639919"/>
                    <a:gd name="connsiteY603" fmla="*/ 184731 h 772732"/>
                    <a:gd name="connsiteX604" fmla="*/ 394818 w 639919"/>
                    <a:gd name="connsiteY604" fmla="*/ 178694 h 772732"/>
                    <a:gd name="connsiteX605" fmla="*/ 398440 w 639919"/>
                    <a:gd name="connsiteY605" fmla="*/ 175072 h 772732"/>
                    <a:gd name="connsiteX606" fmla="*/ 402666 w 639919"/>
                    <a:gd name="connsiteY606" fmla="*/ 175676 h 772732"/>
                    <a:gd name="connsiteX607" fmla="*/ 404477 w 639919"/>
                    <a:gd name="connsiteY607" fmla="*/ 179902 h 772732"/>
                    <a:gd name="connsiteX608" fmla="*/ 403873 w 639919"/>
                    <a:gd name="connsiteY608" fmla="*/ 187146 h 772732"/>
                    <a:gd name="connsiteX609" fmla="*/ 408099 w 639919"/>
                    <a:gd name="connsiteY609" fmla="*/ 193183 h 772732"/>
                    <a:gd name="connsiteX610" fmla="*/ 409307 w 639919"/>
                    <a:gd name="connsiteY610" fmla="*/ 198616 h 772732"/>
                    <a:gd name="connsiteX611" fmla="*/ 417155 w 639919"/>
                    <a:gd name="connsiteY611" fmla="*/ 199220 h 772732"/>
                    <a:gd name="connsiteX612" fmla="*/ 419570 w 639919"/>
                    <a:gd name="connsiteY612" fmla="*/ 204050 h 772732"/>
                    <a:gd name="connsiteX613" fmla="*/ 426210 w 639919"/>
                    <a:gd name="connsiteY613" fmla="*/ 202842 h 772732"/>
                    <a:gd name="connsiteX614" fmla="*/ 430436 w 639919"/>
                    <a:gd name="connsiteY614" fmla="*/ 199220 h 772732"/>
                    <a:gd name="connsiteX615" fmla="*/ 437680 w 639919"/>
                    <a:gd name="connsiteY615" fmla="*/ 203446 h 772732"/>
                    <a:gd name="connsiteX616" fmla="*/ 443717 w 639919"/>
                    <a:gd name="connsiteY616" fmla="*/ 199824 h 772732"/>
                    <a:gd name="connsiteX617" fmla="*/ 445529 w 639919"/>
                    <a:gd name="connsiteY617" fmla="*/ 196202 h 772732"/>
                    <a:gd name="connsiteX618" fmla="*/ 446132 w 639919"/>
                    <a:gd name="connsiteY618" fmla="*/ 190165 h 772732"/>
                    <a:gd name="connsiteX619" fmla="*/ 444321 w 639919"/>
                    <a:gd name="connsiteY619" fmla="*/ 181713 h 772732"/>
                    <a:gd name="connsiteX620" fmla="*/ 447943 w 639919"/>
                    <a:gd name="connsiteY620" fmla="*/ 178694 h 772732"/>
                    <a:gd name="connsiteX621" fmla="*/ 447943 w 639919"/>
                    <a:gd name="connsiteY621" fmla="*/ 173261 h 772732"/>
                    <a:gd name="connsiteX622" fmla="*/ 440699 w 639919"/>
                    <a:gd name="connsiteY622" fmla="*/ 171450 h 772732"/>
                    <a:gd name="connsiteX623" fmla="*/ 442510 w 639919"/>
                    <a:gd name="connsiteY623" fmla="*/ 169035 h 772732"/>
                    <a:gd name="connsiteX624" fmla="*/ 437680 w 639919"/>
                    <a:gd name="connsiteY624" fmla="*/ 161791 h 772732"/>
                    <a:gd name="connsiteX625" fmla="*/ 434662 w 639919"/>
                    <a:gd name="connsiteY625" fmla="*/ 161791 h 772732"/>
                    <a:gd name="connsiteX626" fmla="*/ 429229 w 639919"/>
                    <a:gd name="connsiteY626" fmla="*/ 166620 h 772732"/>
                    <a:gd name="connsiteX627" fmla="*/ 428625 w 639919"/>
                    <a:gd name="connsiteY627" fmla="*/ 161187 h 772732"/>
                    <a:gd name="connsiteX628" fmla="*/ 435869 w 639919"/>
                    <a:gd name="connsiteY628" fmla="*/ 158169 h 772732"/>
                    <a:gd name="connsiteX629" fmla="*/ 443114 w 639919"/>
                    <a:gd name="connsiteY629" fmla="*/ 156961 h 772732"/>
                    <a:gd name="connsiteX630" fmla="*/ 450358 w 639919"/>
                    <a:gd name="connsiteY630" fmla="*/ 150924 h 772732"/>
                    <a:gd name="connsiteX631" fmla="*/ 452773 w 639919"/>
                    <a:gd name="connsiteY631" fmla="*/ 150924 h 772732"/>
                    <a:gd name="connsiteX632" fmla="*/ 454584 w 639919"/>
                    <a:gd name="connsiteY632" fmla="*/ 146698 h 772732"/>
                    <a:gd name="connsiteX633" fmla="*/ 460017 w 639919"/>
                    <a:gd name="connsiteY633" fmla="*/ 144887 h 772732"/>
                    <a:gd name="connsiteX634" fmla="*/ 468469 w 639919"/>
                    <a:gd name="connsiteY634" fmla="*/ 137039 h 772732"/>
                    <a:gd name="connsiteX635" fmla="*/ 460621 w 639919"/>
                    <a:gd name="connsiteY635" fmla="*/ 128587 h 772732"/>
                    <a:gd name="connsiteX636" fmla="*/ 466054 w 639919"/>
                    <a:gd name="connsiteY636" fmla="*/ 126173 h 772732"/>
                    <a:gd name="connsiteX637" fmla="*/ 465451 w 639919"/>
                    <a:gd name="connsiteY637" fmla="*/ 121947 h 772732"/>
                    <a:gd name="connsiteX638" fmla="*/ 470884 w 639919"/>
                    <a:gd name="connsiteY638" fmla="*/ 120739 h 772732"/>
                    <a:gd name="connsiteX639" fmla="*/ 476921 w 639919"/>
                    <a:gd name="connsiteY639" fmla="*/ 123758 h 772732"/>
                    <a:gd name="connsiteX640" fmla="*/ 482958 w 639919"/>
                    <a:gd name="connsiteY640" fmla="*/ 124362 h 772732"/>
                    <a:gd name="connsiteX641" fmla="*/ 487787 w 639919"/>
                    <a:gd name="connsiteY641" fmla="*/ 118928 h 772732"/>
                    <a:gd name="connsiteX642" fmla="*/ 490806 w 639919"/>
                    <a:gd name="connsiteY642" fmla="*/ 123758 h 772732"/>
                    <a:gd name="connsiteX643" fmla="*/ 494428 w 639919"/>
                    <a:gd name="connsiteY643" fmla="*/ 124965 h 772732"/>
                    <a:gd name="connsiteX644" fmla="*/ 495032 w 639919"/>
                    <a:gd name="connsiteY644" fmla="*/ 128587 h 772732"/>
                    <a:gd name="connsiteX645" fmla="*/ 497446 w 639919"/>
                    <a:gd name="connsiteY645" fmla="*/ 131002 h 772732"/>
                    <a:gd name="connsiteX646" fmla="*/ 496843 w 639919"/>
                    <a:gd name="connsiteY646" fmla="*/ 135832 h 772732"/>
                    <a:gd name="connsiteX647" fmla="*/ 501069 w 639919"/>
                    <a:gd name="connsiteY647" fmla="*/ 135832 h 772732"/>
                    <a:gd name="connsiteX648" fmla="*/ 507106 w 639919"/>
                    <a:gd name="connsiteY648" fmla="*/ 129795 h 772732"/>
                    <a:gd name="connsiteX649" fmla="*/ 503483 w 639919"/>
                    <a:gd name="connsiteY649" fmla="*/ 126173 h 772732"/>
                    <a:gd name="connsiteX650" fmla="*/ 502276 w 639919"/>
                    <a:gd name="connsiteY650" fmla="*/ 120136 h 772732"/>
                    <a:gd name="connsiteX651" fmla="*/ 499861 w 639919"/>
                    <a:gd name="connsiteY651" fmla="*/ 118325 h 772732"/>
                    <a:gd name="connsiteX652" fmla="*/ 500465 w 639919"/>
                    <a:gd name="connsiteY652" fmla="*/ 114099 h 772732"/>
                    <a:gd name="connsiteX653" fmla="*/ 500465 w 639919"/>
                    <a:gd name="connsiteY653" fmla="*/ 105647 h 772732"/>
                    <a:gd name="connsiteX654" fmla="*/ 504087 w 639919"/>
                    <a:gd name="connsiteY654" fmla="*/ 104440 h 772732"/>
                    <a:gd name="connsiteX655" fmla="*/ 505898 w 639919"/>
                    <a:gd name="connsiteY655" fmla="*/ 97195 h 772732"/>
                    <a:gd name="connsiteX656" fmla="*/ 498654 w 639919"/>
                    <a:gd name="connsiteY656" fmla="*/ 93573 h 772732"/>
                    <a:gd name="connsiteX657" fmla="*/ 502276 w 639919"/>
                    <a:gd name="connsiteY657" fmla="*/ 91158 h 772732"/>
                    <a:gd name="connsiteX658" fmla="*/ 501672 w 639919"/>
                    <a:gd name="connsiteY658" fmla="*/ 87536 h 772732"/>
                    <a:gd name="connsiteX659" fmla="*/ 504691 w 639919"/>
                    <a:gd name="connsiteY659" fmla="*/ 79084 h 772732"/>
                    <a:gd name="connsiteX660" fmla="*/ 501672 w 639919"/>
                    <a:gd name="connsiteY660" fmla="*/ 74255 h 772732"/>
                    <a:gd name="connsiteX661" fmla="*/ 496239 w 639919"/>
                    <a:gd name="connsiteY661" fmla="*/ 69425 h 772732"/>
                    <a:gd name="connsiteX662" fmla="*/ 493221 w 639919"/>
                    <a:gd name="connsiteY662" fmla="*/ 69425 h 772732"/>
                    <a:gd name="connsiteX663" fmla="*/ 494428 w 639919"/>
                    <a:gd name="connsiteY663" fmla="*/ 62181 h 772732"/>
                    <a:gd name="connsiteX664" fmla="*/ 484769 w 639919"/>
                    <a:gd name="connsiteY664" fmla="*/ 64596 h 772732"/>
                    <a:gd name="connsiteX665" fmla="*/ 485373 w 639919"/>
                    <a:gd name="connsiteY665" fmla="*/ 58559 h 772732"/>
                    <a:gd name="connsiteX666" fmla="*/ 485373 w 639919"/>
                    <a:gd name="connsiteY666" fmla="*/ 56144 h 772732"/>
                    <a:gd name="connsiteX667" fmla="*/ 488391 w 639919"/>
                    <a:gd name="connsiteY667" fmla="*/ 51918 h 772732"/>
                    <a:gd name="connsiteX668" fmla="*/ 485976 w 639919"/>
                    <a:gd name="connsiteY668" fmla="*/ 47692 h 772732"/>
                    <a:gd name="connsiteX669" fmla="*/ 487184 w 639919"/>
                    <a:gd name="connsiteY669" fmla="*/ 39844 h 772732"/>
                    <a:gd name="connsiteX670" fmla="*/ 490806 w 639919"/>
                    <a:gd name="connsiteY670" fmla="*/ 33203 h 772732"/>
                    <a:gd name="connsiteX671" fmla="*/ 487787 w 639919"/>
                    <a:gd name="connsiteY671" fmla="*/ 30185 h 772732"/>
                    <a:gd name="connsiteX672" fmla="*/ 486580 w 639919"/>
                    <a:gd name="connsiteY672" fmla="*/ 23544 h 772732"/>
                    <a:gd name="connsiteX673" fmla="*/ 481147 w 639919"/>
                    <a:gd name="connsiteY673" fmla="*/ 21129 h 772732"/>
                    <a:gd name="connsiteX674" fmla="*/ 474506 w 639919"/>
                    <a:gd name="connsiteY674" fmla="*/ 12678 h 772732"/>
                    <a:gd name="connsiteX675" fmla="*/ 473299 w 639919"/>
                    <a:gd name="connsiteY675" fmla="*/ 9055 h 772732"/>
                    <a:gd name="connsiteX676" fmla="*/ 475110 w 639919"/>
                    <a:gd name="connsiteY676" fmla="*/ 6037 h 772732"/>
                    <a:gd name="connsiteX677" fmla="*/ 482958 w 639919"/>
                    <a:gd name="connsiteY677" fmla="*/ 0 h 772732"/>
                    <a:gd name="connsiteX678" fmla="*/ 482958 w 639919"/>
                    <a:gd name="connsiteY678" fmla="*/ 5433 h 772732"/>
                    <a:gd name="connsiteX679" fmla="*/ 485976 w 639919"/>
                    <a:gd name="connsiteY679" fmla="*/ 10263 h 772732"/>
                    <a:gd name="connsiteX680" fmla="*/ 492013 w 639919"/>
                    <a:gd name="connsiteY680" fmla="*/ 14489 h 772732"/>
                    <a:gd name="connsiteX681" fmla="*/ 502276 w 639919"/>
                    <a:gd name="connsiteY681" fmla="*/ 7848 h 772732"/>
                    <a:gd name="connsiteX682" fmla="*/ 507106 w 639919"/>
                    <a:gd name="connsiteY682" fmla="*/ 18111 h 772732"/>
                    <a:gd name="connsiteX683" fmla="*/ 507709 w 639919"/>
                    <a:gd name="connsiteY683" fmla="*/ 22337 h 772732"/>
                    <a:gd name="connsiteX684" fmla="*/ 510728 w 639919"/>
                    <a:gd name="connsiteY684" fmla="*/ 24148 h 772732"/>
                    <a:gd name="connsiteX685" fmla="*/ 512539 w 639919"/>
                    <a:gd name="connsiteY685" fmla="*/ 28374 h 772732"/>
                    <a:gd name="connsiteX686" fmla="*/ 516161 w 639919"/>
                    <a:gd name="connsiteY686" fmla="*/ 29581 h 772732"/>
                    <a:gd name="connsiteX687" fmla="*/ 522198 w 639919"/>
                    <a:gd name="connsiteY687" fmla="*/ 27770 h 772732"/>
                    <a:gd name="connsiteX688" fmla="*/ 522198 w 639919"/>
                    <a:gd name="connsiteY688" fmla="*/ 33807 h 772732"/>
                    <a:gd name="connsiteX689" fmla="*/ 519783 w 639919"/>
                    <a:gd name="connsiteY689" fmla="*/ 36826 h 772732"/>
                    <a:gd name="connsiteX690" fmla="*/ 523406 w 639919"/>
                    <a:gd name="connsiteY690" fmla="*/ 39240 h 772732"/>
                    <a:gd name="connsiteX691" fmla="*/ 525217 w 639919"/>
                    <a:gd name="connsiteY691" fmla="*/ 45277 h 772732"/>
                    <a:gd name="connsiteX692" fmla="*/ 531857 w 639919"/>
                    <a:gd name="connsiteY692" fmla="*/ 43466 h 772732"/>
                    <a:gd name="connsiteX693" fmla="*/ 538498 w 639919"/>
                    <a:gd name="connsiteY693" fmla="*/ 44674 h 772732"/>
                    <a:gd name="connsiteX694" fmla="*/ 543328 w 639919"/>
                    <a:gd name="connsiteY694" fmla="*/ 47692 h 772732"/>
                    <a:gd name="connsiteX695" fmla="*/ 548157 w 639919"/>
                    <a:gd name="connsiteY695" fmla="*/ 53729 h 772732"/>
                    <a:gd name="connsiteX696" fmla="*/ 554194 w 639919"/>
                    <a:gd name="connsiteY696" fmla="*/ 57955 h 772732"/>
                    <a:gd name="connsiteX697" fmla="*/ 553590 w 639919"/>
                    <a:gd name="connsiteY697" fmla="*/ 66407 h 772732"/>
                    <a:gd name="connsiteX698" fmla="*/ 556005 w 639919"/>
                    <a:gd name="connsiteY698" fmla="*/ 70029 h 772732"/>
                    <a:gd name="connsiteX699" fmla="*/ 554798 w 639919"/>
                    <a:gd name="connsiteY699" fmla="*/ 79084 h 772732"/>
                    <a:gd name="connsiteX700" fmla="*/ 551176 w 639919"/>
                    <a:gd name="connsiteY700" fmla="*/ 83310 h 772732"/>
                    <a:gd name="connsiteX701" fmla="*/ 545139 w 639919"/>
                    <a:gd name="connsiteY701" fmla="*/ 86932 h 772732"/>
                    <a:gd name="connsiteX702" fmla="*/ 547553 w 639919"/>
                    <a:gd name="connsiteY702" fmla="*/ 91762 h 772732"/>
                    <a:gd name="connsiteX703" fmla="*/ 550572 w 639919"/>
                    <a:gd name="connsiteY703" fmla="*/ 94177 h 772732"/>
                    <a:gd name="connsiteX704" fmla="*/ 560835 w 639919"/>
                    <a:gd name="connsiteY704" fmla="*/ 97195 h 772732"/>
                    <a:gd name="connsiteX705" fmla="*/ 563250 w 639919"/>
                    <a:gd name="connsiteY705" fmla="*/ 101421 h 772732"/>
                    <a:gd name="connsiteX706" fmla="*/ 563853 w 639919"/>
                    <a:gd name="connsiteY706" fmla="*/ 108062 h 772732"/>
                    <a:gd name="connsiteX707" fmla="*/ 569287 w 639919"/>
                    <a:gd name="connsiteY707" fmla="*/ 105647 h 772732"/>
                    <a:gd name="connsiteX708" fmla="*/ 574116 w 639919"/>
                    <a:gd name="connsiteY708" fmla="*/ 106854 h 772732"/>
                    <a:gd name="connsiteX709" fmla="*/ 576531 w 639919"/>
                    <a:gd name="connsiteY709" fmla="*/ 111080 h 772732"/>
                    <a:gd name="connsiteX710" fmla="*/ 586190 w 639919"/>
                    <a:gd name="connsiteY710" fmla="*/ 114099 h 772732"/>
                    <a:gd name="connsiteX711" fmla="*/ 588605 w 639919"/>
                    <a:gd name="connsiteY711" fmla="*/ 112288 h 772732"/>
                    <a:gd name="connsiteX712" fmla="*/ 593434 w 639919"/>
                    <a:gd name="connsiteY712" fmla="*/ 112288 h 772732"/>
                    <a:gd name="connsiteX713" fmla="*/ 595849 w 639919"/>
                    <a:gd name="connsiteY713" fmla="*/ 117117 h 772732"/>
                    <a:gd name="connsiteX714" fmla="*/ 600679 w 639919"/>
                    <a:gd name="connsiteY714" fmla="*/ 115910 h 772732"/>
                    <a:gd name="connsiteX715" fmla="*/ 603697 w 639919"/>
                    <a:gd name="connsiteY715" fmla="*/ 121947 h 772732"/>
                    <a:gd name="connsiteX716" fmla="*/ 610338 w 639919"/>
                    <a:gd name="connsiteY716" fmla="*/ 117117 h 772732"/>
                    <a:gd name="connsiteX717" fmla="*/ 613960 w 639919"/>
                    <a:gd name="connsiteY717" fmla="*/ 111684 h 772732"/>
                    <a:gd name="connsiteX718" fmla="*/ 616375 w 639919"/>
                    <a:gd name="connsiteY718" fmla="*/ 113495 h 772732"/>
                    <a:gd name="connsiteX719" fmla="*/ 615771 w 639919"/>
                    <a:gd name="connsiteY719" fmla="*/ 117721 h 772732"/>
                    <a:gd name="connsiteX720" fmla="*/ 612753 w 639919"/>
                    <a:gd name="connsiteY720" fmla="*/ 121343 h 772732"/>
                    <a:gd name="connsiteX721" fmla="*/ 612149 w 639919"/>
                    <a:gd name="connsiteY721" fmla="*/ 126173 h 772732"/>
                    <a:gd name="connsiteX722" fmla="*/ 617582 w 639919"/>
                    <a:gd name="connsiteY722" fmla="*/ 125569 h 772732"/>
                    <a:gd name="connsiteX723" fmla="*/ 623619 w 639919"/>
                    <a:gd name="connsiteY723" fmla="*/ 123154 h 772732"/>
                    <a:gd name="connsiteX724" fmla="*/ 624223 w 639919"/>
                    <a:gd name="connsiteY724" fmla="*/ 118928 h 772732"/>
                    <a:gd name="connsiteX725" fmla="*/ 627241 w 639919"/>
                    <a:gd name="connsiteY725" fmla="*/ 115306 h 772732"/>
                    <a:gd name="connsiteX726" fmla="*/ 630864 w 639919"/>
                    <a:gd name="connsiteY726" fmla="*/ 123154 h 772732"/>
                    <a:gd name="connsiteX727" fmla="*/ 634486 w 639919"/>
                    <a:gd name="connsiteY727" fmla="*/ 127984 h 772732"/>
                    <a:gd name="connsiteX728" fmla="*/ 641127 w 639919"/>
                    <a:gd name="connsiteY728" fmla="*/ 131002 h 77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Lst>
                  <a:rect l="l" t="t" r="r" b="b"/>
                  <a:pathLst>
                    <a:path w="639919" h="772732">
                      <a:moveTo>
                        <a:pt x="641127" y="131002"/>
                      </a:moveTo>
                      <a:lnTo>
                        <a:pt x="644145" y="134021"/>
                      </a:lnTo>
                      <a:lnTo>
                        <a:pt x="639919" y="141869"/>
                      </a:lnTo>
                      <a:lnTo>
                        <a:pt x="639919" y="148510"/>
                      </a:lnTo>
                      <a:lnTo>
                        <a:pt x="632071" y="153943"/>
                      </a:lnTo>
                      <a:lnTo>
                        <a:pt x="629656" y="160583"/>
                      </a:lnTo>
                      <a:lnTo>
                        <a:pt x="624827" y="166620"/>
                      </a:lnTo>
                      <a:lnTo>
                        <a:pt x="619997" y="177487"/>
                      </a:lnTo>
                      <a:lnTo>
                        <a:pt x="614564" y="182317"/>
                      </a:lnTo>
                      <a:lnTo>
                        <a:pt x="609734" y="182317"/>
                      </a:lnTo>
                      <a:lnTo>
                        <a:pt x="607319" y="187750"/>
                      </a:lnTo>
                      <a:lnTo>
                        <a:pt x="607923" y="196202"/>
                      </a:lnTo>
                      <a:lnTo>
                        <a:pt x="603093" y="199824"/>
                      </a:lnTo>
                      <a:lnTo>
                        <a:pt x="599471" y="200428"/>
                      </a:lnTo>
                      <a:lnTo>
                        <a:pt x="591020" y="207068"/>
                      </a:lnTo>
                      <a:lnTo>
                        <a:pt x="583775" y="208276"/>
                      </a:lnTo>
                      <a:lnTo>
                        <a:pt x="578342" y="211294"/>
                      </a:lnTo>
                      <a:lnTo>
                        <a:pt x="578946" y="214313"/>
                      </a:lnTo>
                      <a:lnTo>
                        <a:pt x="574116" y="225179"/>
                      </a:lnTo>
                      <a:lnTo>
                        <a:pt x="571098" y="226990"/>
                      </a:lnTo>
                      <a:lnTo>
                        <a:pt x="570494" y="230612"/>
                      </a:lnTo>
                      <a:lnTo>
                        <a:pt x="563853" y="239064"/>
                      </a:lnTo>
                      <a:lnTo>
                        <a:pt x="561438" y="240875"/>
                      </a:lnTo>
                      <a:lnTo>
                        <a:pt x="559627" y="245705"/>
                      </a:lnTo>
                      <a:lnTo>
                        <a:pt x="560231" y="252949"/>
                      </a:lnTo>
                      <a:lnTo>
                        <a:pt x="557213" y="258986"/>
                      </a:lnTo>
                      <a:lnTo>
                        <a:pt x="557213" y="263212"/>
                      </a:lnTo>
                      <a:lnTo>
                        <a:pt x="554194" y="266231"/>
                      </a:lnTo>
                      <a:lnTo>
                        <a:pt x="553590" y="271664"/>
                      </a:lnTo>
                      <a:lnTo>
                        <a:pt x="546950" y="275890"/>
                      </a:lnTo>
                      <a:lnTo>
                        <a:pt x="545742" y="282530"/>
                      </a:lnTo>
                      <a:lnTo>
                        <a:pt x="551176" y="289775"/>
                      </a:lnTo>
                      <a:lnTo>
                        <a:pt x="551779" y="293397"/>
                      </a:lnTo>
                      <a:lnTo>
                        <a:pt x="548157" y="294604"/>
                      </a:lnTo>
                      <a:lnTo>
                        <a:pt x="546950" y="298830"/>
                      </a:lnTo>
                      <a:lnTo>
                        <a:pt x="548761" y="303660"/>
                      </a:lnTo>
                      <a:lnTo>
                        <a:pt x="545139" y="306678"/>
                      </a:lnTo>
                      <a:lnTo>
                        <a:pt x="540309" y="317545"/>
                      </a:lnTo>
                      <a:lnTo>
                        <a:pt x="543328" y="322978"/>
                      </a:lnTo>
                      <a:lnTo>
                        <a:pt x="545139" y="329015"/>
                      </a:lnTo>
                      <a:lnTo>
                        <a:pt x="540913" y="330826"/>
                      </a:lnTo>
                      <a:lnTo>
                        <a:pt x="539705" y="333241"/>
                      </a:lnTo>
                      <a:lnTo>
                        <a:pt x="542724" y="338674"/>
                      </a:lnTo>
                      <a:lnTo>
                        <a:pt x="545742" y="340485"/>
                      </a:lnTo>
                      <a:lnTo>
                        <a:pt x="547553" y="344711"/>
                      </a:lnTo>
                      <a:lnTo>
                        <a:pt x="546346" y="347126"/>
                      </a:lnTo>
                      <a:lnTo>
                        <a:pt x="546950" y="351352"/>
                      </a:lnTo>
                      <a:lnTo>
                        <a:pt x="551176" y="354974"/>
                      </a:lnTo>
                      <a:lnTo>
                        <a:pt x="548157" y="359804"/>
                      </a:lnTo>
                      <a:lnTo>
                        <a:pt x="551176" y="368859"/>
                      </a:lnTo>
                      <a:lnTo>
                        <a:pt x="546346" y="370670"/>
                      </a:lnTo>
                      <a:lnTo>
                        <a:pt x="546950" y="376707"/>
                      </a:lnTo>
                      <a:lnTo>
                        <a:pt x="552383" y="377914"/>
                      </a:lnTo>
                      <a:lnTo>
                        <a:pt x="554194" y="384555"/>
                      </a:lnTo>
                      <a:lnTo>
                        <a:pt x="549364" y="394818"/>
                      </a:lnTo>
                      <a:lnTo>
                        <a:pt x="551779" y="400251"/>
                      </a:lnTo>
                      <a:lnTo>
                        <a:pt x="551779" y="403270"/>
                      </a:lnTo>
                      <a:lnTo>
                        <a:pt x="548761" y="405685"/>
                      </a:lnTo>
                      <a:lnTo>
                        <a:pt x="551176" y="416551"/>
                      </a:lnTo>
                      <a:lnTo>
                        <a:pt x="548761" y="423192"/>
                      </a:lnTo>
                      <a:lnTo>
                        <a:pt x="551176" y="427418"/>
                      </a:lnTo>
                      <a:lnTo>
                        <a:pt x="548157" y="432851"/>
                      </a:lnTo>
                      <a:lnTo>
                        <a:pt x="548157" y="435266"/>
                      </a:lnTo>
                      <a:lnTo>
                        <a:pt x="554798" y="441303"/>
                      </a:lnTo>
                      <a:lnTo>
                        <a:pt x="556005" y="447943"/>
                      </a:lnTo>
                      <a:lnTo>
                        <a:pt x="562042" y="454584"/>
                      </a:lnTo>
                      <a:lnTo>
                        <a:pt x="566268" y="458206"/>
                      </a:lnTo>
                      <a:lnTo>
                        <a:pt x="562042" y="468469"/>
                      </a:lnTo>
                      <a:lnTo>
                        <a:pt x="561438" y="472091"/>
                      </a:lnTo>
                      <a:lnTo>
                        <a:pt x="564457" y="474506"/>
                      </a:lnTo>
                      <a:lnTo>
                        <a:pt x="562646" y="478128"/>
                      </a:lnTo>
                      <a:lnTo>
                        <a:pt x="568079" y="481147"/>
                      </a:lnTo>
                      <a:lnTo>
                        <a:pt x="566872" y="482958"/>
                      </a:lnTo>
                      <a:lnTo>
                        <a:pt x="559627" y="485373"/>
                      </a:lnTo>
                      <a:lnTo>
                        <a:pt x="560835" y="490806"/>
                      </a:lnTo>
                      <a:lnTo>
                        <a:pt x="560231" y="492013"/>
                      </a:lnTo>
                      <a:lnTo>
                        <a:pt x="556005" y="492013"/>
                      </a:lnTo>
                      <a:lnTo>
                        <a:pt x="553590" y="495032"/>
                      </a:lnTo>
                      <a:lnTo>
                        <a:pt x="550572" y="494428"/>
                      </a:lnTo>
                      <a:lnTo>
                        <a:pt x="548761" y="491409"/>
                      </a:lnTo>
                      <a:lnTo>
                        <a:pt x="545139" y="490806"/>
                      </a:lnTo>
                      <a:lnTo>
                        <a:pt x="542724" y="489598"/>
                      </a:lnTo>
                      <a:lnTo>
                        <a:pt x="539705" y="488995"/>
                      </a:lnTo>
                      <a:lnTo>
                        <a:pt x="532461" y="489598"/>
                      </a:lnTo>
                      <a:lnTo>
                        <a:pt x="530046" y="493824"/>
                      </a:lnTo>
                      <a:lnTo>
                        <a:pt x="528839" y="498050"/>
                      </a:lnTo>
                      <a:lnTo>
                        <a:pt x="524009" y="498050"/>
                      </a:lnTo>
                      <a:lnTo>
                        <a:pt x="519180" y="497446"/>
                      </a:lnTo>
                      <a:lnTo>
                        <a:pt x="517972" y="498050"/>
                      </a:lnTo>
                      <a:lnTo>
                        <a:pt x="513746" y="499258"/>
                      </a:lnTo>
                      <a:lnTo>
                        <a:pt x="511935" y="502276"/>
                      </a:lnTo>
                      <a:lnTo>
                        <a:pt x="509520" y="505898"/>
                      </a:lnTo>
                      <a:lnTo>
                        <a:pt x="510728" y="507709"/>
                      </a:lnTo>
                      <a:lnTo>
                        <a:pt x="511332" y="512539"/>
                      </a:lnTo>
                      <a:lnTo>
                        <a:pt x="509520" y="516161"/>
                      </a:lnTo>
                      <a:lnTo>
                        <a:pt x="511935" y="519180"/>
                      </a:lnTo>
                      <a:lnTo>
                        <a:pt x="510124" y="525820"/>
                      </a:lnTo>
                      <a:lnTo>
                        <a:pt x="513143" y="528839"/>
                      </a:lnTo>
                      <a:lnTo>
                        <a:pt x="511935" y="531254"/>
                      </a:lnTo>
                      <a:lnTo>
                        <a:pt x="511332" y="535480"/>
                      </a:lnTo>
                      <a:lnTo>
                        <a:pt x="510728" y="536083"/>
                      </a:lnTo>
                      <a:lnTo>
                        <a:pt x="506502" y="537291"/>
                      </a:lnTo>
                      <a:lnTo>
                        <a:pt x="505295" y="540913"/>
                      </a:lnTo>
                      <a:lnTo>
                        <a:pt x="504087" y="544535"/>
                      </a:lnTo>
                      <a:lnTo>
                        <a:pt x="500465" y="545742"/>
                      </a:lnTo>
                      <a:lnTo>
                        <a:pt x="497446" y="544535"/>
                      </a:lnTo>
                      <a:lnTo>
                        <a:pt x="492617" y="555401"/>
                      </a:lnTo>
                      <a:lnTo>
                        <a:pt x="488391" y="555401"/>
                      </a:lnTo>
                      <a:lnTo>
                        <a:pt x="487787" y="557816"/>
                      </a:lnTo>
                      <a:lnTo>
                        <a:pt x="488995" y="563853"/>
                      </a:lnTo>
                      <a:lnTo>
                        <a:pt x="493221" y="567475"/>
                      </a:lnTo>
                      <a:lnTo>
                        <a:pt x="497446" y="571098"/>
                      </a:lnTo>
                      <a:lnTo>
                        <a:pt x="497446" y="574720"/>
                      </a:lnTo>
                      <a:lnTo>
                        <a:pt x="500465" y="573512"/>
                      </a:lnTo>
                      <a:lnTo>
                        <a:pt x="503483" y="573512"/>
                      </a:lnTo>
                      <a:lnTo>
                        <a:pt x="508313" y="573512"/>
                      </a:lnTo>
                      <a:lnTo>
                        <a:pt x="510728" y="573512"/>
                      </a:lnTo>
                      <a:lnTo>
                        <a:pt x="516161" y="570494"/>
                      </a:lnTo>
                      <a:lnTo>
                        <a:pt x="517369" y="571701"/>
                      </a:lnTo>
                      <a:lnTo>
                        <a:pt x="523406" y="573512"/>
                      </a:lnTo>
                      <a:lnTo>
                        <a:pt x="524613" y="571098"/>
                      </a:lnTo>
                      <a:lnTo>
                        <a:pt x="522198" y="566872"/>
                      </a:lnTo>
                      <a:lnTo>
                        <a:pt x="525820" y="569286"/>
                      </a:lnTo>
                      <a:lnTo>
                        <a:pt x="526424" y="569286"/>
                      </a:lnTo>
                      <a:lnTo>
                        <a:pt x="531254" y="572305"/>
                      </a:lnTo>
                      <a:lnTo>
                        <a:pt x="532461" y="573512"/>
                      </a:lnTo>
                      <a:lnTo>
                        <a:pt x="534272" y="573512"/>
                      </a:lnTo>
                      <a:lnTo>
                        <a:pt x="537291" y="572305"/>
                      </a:lnTo>
                      <a:lnTo>
                        <a:pt x="540913" y="575927"/>
                      </a:lnTo>
                      <a:lnTo>
                        <a:pt x="544535" y="578342"/>
                      </a:lnTo>
                      <a:lnTo>
                        <a:pt x="543931" y="580757"/>
                      </a:lnTo>
                      <a:lnTo>
                        <a:pt x="545742" y="588605"/>
                      </a:lnTo>
                      <a:lnTo>
                        <a:pt x="549364" y="591623"/>
                      </a:lnTo>
                      <a:lnTo>
                        <a:pt x="553590" y="594038"/>
                      </a:lnTo>
                      <a:lnTo>
                        <a:pt x="556609" y="598264"/>
                      </a:lnTo>
                      <a:lnTo>
                        <a:pt x="562646" y="597660"/>
                      </a:lnTo>
                      <a:lnTo>
                        <a:pt x="566872" y="597057"/>
                      </a:lnTo>
                      <a:lnTo>
                        <a:pt x="571701" y="593434"/>
                      </a:lnTo>
                      <a:lnTo>
                        <a:pt x="572305" y="589209"/>
                      </a:lnTo>
                      <a:lnTo>
                        <a:pt x="568683" y="585586"/>
                      </a:lnTo>
                      <a:lnTo>
                        <a:pt x="570494" y="582568"/>
                      </a:lnTo>
                      <a:lnTo>
                        <a:pt x="574720" y="580153"/>
                      </a:lnTo>
                      <a:lnTo>
                        <a:pt x="579549" y="577738"/>
                      </a:lnTo>
                      <a:lnTo>
                        <a:pt x="584379" y="579549"/>
                      </a:lnTo>
                      <a:lnTo>
                        <a:pt x="587398" y="578342"/>
                      </a:lnTo>
                      <a:lnTo>
                        <a:pt x="590416" y="575323"/>
                      </a:lnTo>
                      <a:lnTo>
                        <a:pt x="592227" y="574720"/>
                      </a:lnTo>
                      <a:lnTo>
                        <a:pt x="596453" y="577738"/>
                      </a:lnTo>
                      <a:lnTo>
                        <a:pt x="600075" y="582568"/>
                      </a:lnTo>
                      <a:lnTo>
                        <a:pt x="604301" y="583775"/>
                      </a:lnTo>
                      <a:lnTo>
                        <a:pt x="604301" y="586794"/>
                      </a:lnTo>
                      <a:lnTo>
                        <a:pt x="610338" y="587397"/>
                      </a:lnTo>
                      <a:lnTo>
                        <a:pt x="612149" y="592831"/>
                      </a:lnTo>
                      <a:lnTo>
                        <a:pt x="619997" y="597057"/>
                      </a:lnTo>
                      <a:lnTo>
                        <a:pt x="619393" y="601886"/>
                      </a:lnTo>
                      <a:lnTo>
                        <a:pt x="622412" y="605508"/>
                      </a:lnTo>
                      <a:lnTo>
                        <a:pt x="624223" y="610338"/>
                      </a:lnTo>
                      <a:lnTo>
                        <a:pt x="618790" y="613960"/>
                      </a:lnTo>
                      <a:lnTo>
                        <a:pt x="624827" y="622412"/>
                      </a:lnTo>
                      <a:lnTo>
                        <a:pt x="624223" y="628449"/>
                      </a:lnTo>
                      <a:lnTo>
                        <a:pt x="619997" y="628449"/>
                      </a:lnTo>
                      <a:lnTo>
                        <a:pt x="618790" y="630864"/>
                      </a:lnTo>
                      <a:lnTo>
                        <a:pt x="627845" y="634486"/>
                      </a:lnTo>
                      <a:lnTo>
                        <a:pt x="633278" y="634486"/>
                      </a:lnTo>
                      <a:lnTo>
                        <a:pt x="632675" y="638108"/>
                      </a:lnTo>
                      <a:lnTo>
                        <a:pt x="628449" y="640523"/>
                      </a:lnTo>
                      <a:lnTo>
                        <a:pt x="630260" y="645352"/>
                      </a:lnTo>
                      <a:lnTo>
                        <a:pt x="633278" y="649578"/>
                      </a:lnTo>
                      <a:lnTo>
                        <a:pt x="632071" y="654408"/>
                      </a:lnTo>
                      <a:lnTo>
                        <a:pt x="625430" y="656219"/>
                      </a:lnTo>
                      <a:lnTo>
                        <a:pt x="625430" y="665274"/>
                      </a:lnTo>
                      <a:lnTo>
                        <a:pt x="619997" y="670104"/>
                      </a:lnTo>
                      <a:lnTo>
                        <a:pt x="618790" y="673726"/>
                      </a:lnTo>
                      <a:lnTo>
                        <a:pt x="621808" y="679763"/>
                      </a:lnTo>
                      <a:lnTo>
                        <a:pt x="620601" y="682782"/>
                      </a:lnTo>
                      <a:lnTo>
                        <a:pt x="626638" y="688819"/>
                      </a:lnTo>
                      <a:lnTo>
                        <a:pt x="627845" y="691837"/>
                      </a:lnTo>
                      <a:lnTo>
                        <a:pt x="632675" y="695459"/>
                      </a:lnTo>
                      <a:lnTo>
                        <a:pt x="627241" y="700289"/>
                      </a:lnTo>
                      <a:lnTo>
                        <a:pt x="632675" y="702100"/>
                      </a:lnTo>
                      <a:lnTo>
                        <a:pt x="632675" y="705722"/>
                      </a:lnTo>
                      <a:lnTo>
                        <a:pt x="629656" y="709948"/>
                      </a:lnTo>
                      <a:lnTo>
                        <a:pt x="618790" y="709948"/>
                      </a:lnTo>
                      <a:lnTo>
                        <a:pt x="619997" y="714777"/>
                      </a:lnTo>
                      <a:lnTo>
                        <a:pt x="619393" y="718400"/>
                      </a:lnTo>
                      <a:lnTo>
                        <a:pt x="613356" y="722626"/>
                      </a:lnTo>
                      <a:lnTo>
                        <a:pt x="609130" y="718400"/>
                      </a:lnTo>
                      <a:lnTo>
                        <a:pt x="604905" y="721418"/>
                      </a:lnTo>
                      <a:lnTo>
                        <a:pt x="607319" y="726851"/>
                      </a:lnTo>
                      <a:lnTo>
                        <a:pt x="599471" y="725644"/>
                      </a:lnTo>
                      <a:lnTo>
                        <a:pt x="592227" y="726851"/>
                      </a:lnTo>
                      <a:lnTo>
                        <a:pt x="586794" y="733492"/>
                      </a:lnTo>
                      <a:lnTo>
                        <a:pt x="578946" y="738925"/>
                      </a:lnTo>
                      <a:lnTo>
                        <a:pt x="576531" y="737114"/>
                      </a:lnTo>
                      <a:lnTo>
                        <a:pt x="574720" y="741340"/>
                      </a:lnTo>
                      <a:lnTo>
                        <a:pt x="570494" y="743755"/>
                      </a:lnTo>
                      <a:lnTo>
                        <a:pt x="568079" y="741340"/>
                      </a:lnTo>
                      <a:lnTo>
                        <a:pt x="561438" y="741340"/>
                      </a:lnTo>
                      <a:lnTo>
                        <a:pt x="557816" y="737114"/>
                      </a:lnTo>
                      <a:lnTo>
                        <a:pt x="552987" y="737718"/>
                      </a:lnTo>
                      <a:lnTo>
                        <a:pt x="552987" y="743755"/>
                      </a:lnTo>
                      <a:lnTo>
                        <a:pt x="543328" y="744359"/>
                      </a:lnTo>
                      <a:lnTo>
                        <a:pt x="537291" y="738322"/>
                      </a:lnTo>
                      <a:lnTo>
                        <a:pt x="530046" y="735907"/>
                      </a:lnTo>
                      <a:lnTo>
                        <a:pt x="527028" y="743755"/>
                      </a:lnTo>
                      <a:lnTo>
                        <a:pt x="532461" y="749792"/>
                      </a:lnTo>
                      <a:lnTo>
                        <a:pt x="536687" y="750396"/>
                      </a:lnTo>
                      <a:lnTo>
                        <a:pt x="538498" y="755225"/>
                      </a:lnTo>
                      <a:lnTo>
                        <a:pt x="533065" y="757640"/>
                      </a:lnTo>
                      <a:lnTo>
                        <a:pt x="528839" y="752810"/>
                      </a:lnTo>
                      <a:lnTo>
                        <a:pt x="520991" y="754018"/>
                      </a:lnTo>
                      <a:lnTo>
                        <a:pt x="517972" y="762469"/>
                      </a:lnTo>
                      <a:lnTo>
                        <a:pt x="516161" y="773940"/>
                      </a:lnTo>
                      <a:lnTo>
                        <a:pt x="508917" y="769714"/>
                      </a:lnTo>
                      <a:lnTo>
                        <a:pt x="503483" y="773940"/>
                      </a:lnTo>
                      <a:lnTo>
                        <a:pt x="499861" y="768506"/>
                      </a:lnTo>
                      <a:lnTo>
                        <a:pt x="504691" y="763677"/>
                      </a:lnTo>
                      <a:lnTo>
                        <a:pt x="502276" y="760055"/>
                      </a:lnTo>
                      <a:lnTo>
                        <a:pt x="499258" y="759451"/>
                      </a:lnTo>
                      <a:lnTo>
                        <a:pt x="501069" y="743755"/>
                      </a:lnTo>
                      <a:lnTo>
                        <a:pt x="502880" y="738925"/>
                      </a:lnTo>
                      <a:lnTo>
                        <a:pt x="501672" y="735907"/>
                      </a:lnTo>
                      <a:lnTo>
                        <a:pt x="503483" y="732285"/>
                      </a:lnTo>
                      <a:lnTo>
                        <a:pt x="507106" y="732888"/>
                      </a:lnTo>
                      <a:lnTo>
                        <a:pt x="507709" y="728059"/>
                      </a:lnTo>
                      <a:lnTo>
                        <a:pt x="507106" y="718400"/>
                      </a:lnTo>
                      <a:lnTo>
                        <a:pt x="509520" y="718400"/>
                      </a:lnTo>
                      <a:lnTo>
                        <a:pt x="509520" y="712966"/>
                      </a:lnTo>
                      <a:lnTo>
                        <a:pt x="505898" y="711759"/>
                      </a:lnTo>
                      <a:lnTo>
                        <a:pt x="507106" y="699081"/>
                      </a:lnTo>
                      <a:lnTo>
                        <a:pt x="505898" y="694856"/>
                      </a:lnTo>
                      <a:lnTo>
                        <a:pt x="508313" y="683989"/>
                      </a:lnTo>
                      <a:lnTo>
                        <a:pt x="511332" y="677348"/>
                      </a:lnTo>
                      <a:lnTo>
                        <a:pt x="514350" y="660445"/>
                      </a:lnTo>
                      <a:lnTo>
                        <a:pt x="510124" y="659237"/>
                      </a:lnTo>
                      <a:lnTo>
                        <a:pt x="498654" y="648975"/>
                      </a:lnTo>
                      <a:lnTo>
                        <a:pt x="501672" y="645956"/>
                      </a:lnTo>
                      <a:lnTo>
                        <a:pt x="495032" y="644749"/>
                      </a:lnTo>
                      <a:lnTo>
                        <a:pt x="494428" y="641730"/>
                      </a:lnTo>
                      <a:lnTo>
                        <a:pt x="487787" y="641730"/>
                      </a:lnTo>
                      <a:lnTo>
                        <a:pt x="485976" y="644145"/>
                      </a:lnTo>
                      <a:lnTo>
                        <a:pt x="482354" y="643541"/>
                      </a:lnTo>
                      <a:lnTo>
                        <a:pt x="482354" y="647163"/>
                      </a:lnTo>
                      <a:lnTo>
                        <a:pt x="479336" y="648975"/>
                      </a:lnTo>
                      <a:lnTo>
                        <a:pt x="480543" y="654408"/>
                      </a:lnTo>
                      <a:lnTo>
                        <a:pt x="479336" y="657426"/>
                      </a:lnTo>
                      <a:lnTo>
                        <a:pt x="472091" y="659841"/>
                      </a:lnTo>
                      <a:lnTo>
                        <a:pt x="468469" y="664067"/>
                      </a:lnTo>
                      <a:lnTo>
                        <a:pt x="462432" y="662859"/>
                      </a:lnTo>
                      <a:lnTo>
                        <a:pt x="456999" y="671311"/>
                      </a:lnTo>
                      <a:lnTo>
                        <a:pt x="449754" y="672519"/>
                      </a:lnTo>
                      <a:lnTo>
                        <a:pt x="450358" y="683385"/>
                      </a:lnTo>
                      <a:lnTo>
                        <a:pt x="452169" y="689422"/>
                      </a:lnTo>
                      <a:lnTo>
                        <a:pt x="447340" y="691837"/>
                      </a:lnTo>
                      <a:lnTo>
                        <a:pt x="439492" y="691837"/>
                      </a:lnTo>
                      <a:lnTo>
                        <a:pt x="433455" y="697874"/>
                      </a:lnTo>
                      <a:lnTo>
                        <a:pt x="428625" y="700892"/>
                      </a:lnTo>
                      <a:lnTo>
                        <a:pt x="425607" y="699081"/>
                      </a:lnTo>
                      <a:lnTo>
                        <a:pt x="427418" y="690026"/>
                      </a:lnTo>
                      <a:lnTo>
                        <a:pt x="427418" y="685196"/>
                      </a:lnTo>
                      <a:lnTo>
                        <a:pt x="424399" y="683385"/>
                      </a:lnTo>
                      <a:lnTo>
                        <a:pt x="421381" y="685800"/>
                      </a:lnTo>
                      <a:lnTo>
                        <a:pt x="417759" y="682782"/>
                      </a:lnTo>
                      <a:lnTo>
                        <a:pt x="409910" y="683385"/>
                      </a:lnTo>
                      <a:lnTo>
                        <a:pt x="410514" y="679763"/>
                      </a:lnTo>
                      <a:lnTo>
                        <a:pt x="415947" y="680367"/>
                      </a:lnTo>
                      <a:lnTo>
                        <a:pt x="418966" y="679159"/>
                      </a:lnTo>
                      <a:lnTo>
                        <a:pt x="412929" y="673726"/>
                      </a:lnTo>
                      <a:lnTo>
                        <a:pt x="408703" y="672519"/>
                      </a:lnTo>
                      <a:lnTo>
                        <a:pt x="410514" y="668293"/>
                      </a:lnTo>
                      <a:lnTo>
                        <a:pt x="418966" y="668896"/>
                      </a:lnTo>
                      <a:lnTo>
                        <a:pt x="417155" y="662859"/>
                      </a:lnTo>
                      <a:lnTo>
                        <a:pt x="413533" y="659237"/>
                      </a:lnTo>
                      <a:lnTo>
                        <a:pt x="406288" y="658634"/>
                      </a:lnTo>
                      <a:lnTo>
                        <a:pt x="404477" y="659841"/>
                      </a:lnTo>
                      <a:lnTo>
                        <a:pt x="397836" y="659237"/>
                      </a:lnTo>
                      <a:lnTo>
                        <a:pt x="393611" y="661652"/>
                      </a:lnTo>
                      <a:lnTo>
                        <a:pt x="390592" y="660445"/>
                      </a:lnTo>
                      <a:lnTo>
                        <a:pt x="388781" y="655011"/>
                      </a:lnTo>
                      <a:lnTo>
                        <a:pt x="385159" y="652597"/>
                      </a:lnTo>
                      <a:lnTo>
                        <a:pt x="379726" y="651389"/>
                      </a:lnTo>
                      <a:lnTo>
                        <a:pt x="373689" y="651993"/>
                      </a:lnTo>
                      <a:lnTo>
                        <a:pt x="373689" y="654408"/>
                      </a:lnTo>
                      <a:lnTo>
                        <a:pt x="382744" y="659237"/>
                      </a:lnTo>
                      <a:lnTo>
                        <a:pt x="384555" y="661652"/>
                      </a:lnTo>
                      <a:lnTo>
                        <a:pt x="389385" y="664067"/>
                      </a:lnTo>
                      <a:lnTo>
                        <a:pt x="384555" y="668896"/>
                      </a:lnTo>
                      <a:lnTo>
                        <a:pt x="379726" y="668293"/>
                      </a:lnTo>
                      <a:lnTo>
                        <a:pt x="385762" y="676745"/>
                      </a:lnTo>
                      <a:lnTo>
                        <a:pt x="388781" y="678556"/>
                      </a:lnTo>
                      <a:lnTo>
                        <a:pt x="385762" y="687007"/>
                      </a:lnTo>
                      <a:lnTo>
                        <a:pt x="381537" y="689422"/>
                      </a:lnTo>
                      <a:lnTo>
                        <a:pt x="376103" y="687007"/>
                      </a:lnTo>
                      <a:lnTo>
                        <a:pt x="376103" y="682782"/>
                      </a:lnTo>
                      <a:lnTo>
                        <a:pt x="372481" y="678556"/>
                      </a:lnTo>
                      <a:lnTo>
                        <a:pt x="368255" y="677348"/>
                      </a:lnTo>
                      <a:lnTo>
                        <a:pt x="364030" y="680970"/>
                      </a:lnTo>
                      <a:lnTo>
                        <a:pt x="352559" y="680367"/>
                      </a:lnTo>
                      <a:lnTo>
                        <a:pt x="352559" y="682782"/>
                      </a:lnTo>
                      <a:lnTo>
                        <a:pt x="357993" y="687007"/>
                      </a:lnTo>
                      <a:lnTo>
                        <a:pt x="356785" y="688819"/>
                      </a:lnTo>
                      <a:lnTo>
                        <a:pt x="351956" y="688819"/>
                      </a:lnTo>
                      <a:lnTo>
                        <a:pt x="347730" y="696063"/>
                      </a:lnTo>
                      <a:lnTo>
                        <a:pt x="349541" y="698478"/>
                      </a:lnTo>
                      <a:lnTo>
                        <a:pt x="353163" y="700289"/>
                      </a:lnTo>
                      <a:lnTo>
                        <a:pt x="351352" y="715381"/>
                      </a:lnTo>
                      <a:lnTo>
                        <a:pt x="357389" y="717796"/>
                      </a:lnTo>
                      <a:lnTo>
                        <a:pt x="355578" y="721418"/>
                      </a:lnTo>
                      <a:lnTo>
                        <a:pt x="356181" y="725644"/>
                      </a:lnTo>
                      <a:lnTo>
                        <a:pt x="358596" y="729266"/>
                      </a:lnTo>
                      <a:lnTo>
                        <a:pt x="351956" y="738925"/>
                      </a:lnTo>
                      <a:lnTo>
                        <a:pt x="342296" y="732888"/>
                      </a:lnTo>
                      <a:lnTo>
                        <a:pt x="341089" y="728059"/>
                      </a:lnTo>
                      <a:lnTo>
                        <a:pt x="334448" y="724437"/>
                      </a:lnTo>
                      <a:lnTo>
                        <a:pt x="332637" y="728663"/>
                      </a:lnTo>
                      <a:lnTo>
                        <a:pt x="328411" y="727455"/>
                      </a:lnTo>
                      <a:lnTo>
                        <a:pt x="326600" y="729266"/>
                      </a:lnTo>
                      <a:lnTo>
                        <a:pt x="318149" y="726248"/>
                      </a:lnTo>
                      <a:lnTo>
                        <a:pt x="310904" y="725644"/>
                      </a:lnTo>
                      <a:lnTo>
                        <a:pt x="311508" y="715381"/>
                      </a:lnTo>
                      <a:lnTo>
                        <a:pt x="307282" y="712966"/>
                      </a:lnTo>
                      <a:lnTo>
                        <a:pt x="301245" y="713570"/>
                      </a:lnTo>
                      <a:lnTo>
                        <a:pt x="300641" y="709948"/>
                      </a:lnTo>
                      <a:lnTo>
                        <a:pt x="304867" y="708137"/>
                      </a:lnTo>
                      <a:lnTo>
                        <a:pt x="308489" y="708740"/>
                      </a:lnTo>
                      <a:lnTo>
                        <a:pt x="309697" y="702704"/>
                      </a:lnTo>
                      <a:lnTo>
                        <a:pt x="313319" y="697874"/>
                      </a:lnTo>
                      <a:lnTo>
                        <a:pt x="307282" y="696667"/>
                      </a:lnTo>
                      <a:lnTo>
                        <a:pt x="307282" y="693648"/>
                      </a:lnTo>
                      <a:lnTo>
                        <a:pt x="313923" y="693044"/>
                      </a:lnTo>
                      <a:lnTo>
                        <a:pt x="310300" y="690026"/>
                      </a:lnTo>
                      <a:lnTo>
                        <a:pt x="310904" y="685196"/>
                      </a:lnTo>
                      <a:lnTo>
                        <a:pt x="318149" y="685196"/>
                      </a:lnTo>
                      <a:lnTo>
                        <a:pt x="319356" y="680970"/>
                      </a:lnTo>
                      <a:lnTo>
                        <a:pt x="322978" y="677952"/>
                      </a:lnTo>
                      <a:lnTo>
                        <a:pt x="319356" y="674933"/>
                      </a:lnTo>
                      <a:lnTo>
                        <a:pt x="316337" y="679763"/>
                      </a:lnTo>
                      <a:lnTo>
                        <a:pt x="311508" y="674330"/>
                      </a:lnTo>
                      <a:lnTo>
                        <a:pt x="307886" y="674330"/>
                      </a:lnTo>
                      <a:lnTo>
                        <a:pt x="303056" y="671915"/>
                      </a:lnTo>
                      <a:lnTo>
                        <a:pt x="304263" y="669500"/>
                      </a:lnTo>
                      <a:lnTo>
                        <a:pt x="311508" y="664067"/>
                      </a:lnTo>
                      <a:lnTo>
                        <a:pt x="314526" y="664067"/>
                      </a:lnTo>
                      <a:lnTo>
                        <a:pt x="315130" y="658634"/>
                      </a:lnTo>
                      <a:lnTo>
                        <a:pt x="321771" y="653804"/>
                      </a:lnTo>
                      <a:lnTo>
                        <a:pt x="329619" y="655011"/>
                      </a:lnTo>
                      <a:lnTo>
                        <a:pt x="329619" y="660445"/>
                      </a:lnTo>
                      <a:lnTo>
                        <a:pt x="333241" y="661048"/>
                      </a:lnTo>
                      <a:lnTo>
                        <a:pt x="335656" y="658030"/>
                      </a:lnTo>
                      <a:lnTo>
                        <a:pt x="331430" y="653804"/>
                      </a:lnTo>
                      <a:lnTo>
                        <a:pt x="329619" y="647767"/>
                      </a:lnTo>
                      <a:lnTo>
                        <a:pt x="325393" y="646560"/>
                      </a:lnTo>
                      <a:lnTo>
                        <a:pt x="327204" y="641730"/>
                      </a:lnTo>
                      <a:lnTo>
                        <a:pt x="323582" y="641127"/>
                      </a:lnTo>
                      <a:lnTo>
                        <a:pt x="318752" y="637504"/>
                      </a:lnTo>
                      <a:lnTo>
                        <a:pt x="317545" y="635090"/>
                      </a:lnTo>
                      <a:lnTo>
                        <a:pt x="319960" y="628449"/>
                      </a:lnTo>
                      <a:lnTo>
                        <a:pt x="313319" y="624827"/>
                      </a:lnTo>
                      <a:lnTo>
                        <a:pt x="307282" y="615167"/>
                      </a:lnTo>
                      <a:lnTo>
                        <a:pt x="301245" y="613356"/>
                      </a:lnTo>
                      <a:lnTo>
                        <a:pt x="300038" y="607923"/>
                      </a:lnTo>
                      <a:lnTo>
                        <a:pt x="289775" y="602490"/>
                      </a:lnTo>
                      <a:lnTo>
                        <a:pt x="281927" y="601282"/>
                      </a:lnTo>
                      <a:lnTo>
                        <a:pt x="280719" y="598264"/>
                      </a:lnTo>
                      <a:lnTo>
                        <a:pt x="275286" y="597057"/>
                      </a:lnTo>
                      <a:lnTo>
                        <a:pt x="272267" y="599471"/>
                      </a:lnTo>
                      <a:lnTo>
                        <a:pt x="268645" y="598868"/>
                      </a:lnTo>
                      <a:lnTo>
                        <a:pt x="268042" y="595849"/>
                      </a:lnTo>
                      <a:lnTo>
                        <a:pt x="271664" y="591020"/>
                      </a:lnTo>
                      <a:lnTo>
                        <a:pt x="270456" y="586794"/>
                      </a:lnTo>
                      <a:lnTo>
                        <a:pt x="261401" y="583172"/>
                      </a:lnTo>
                      <a:lnTo>
                        <a:pt x="262005" y="580153"/>
                      </a:lnTo>
                      <a:lnTo>
                        <a:pt x="252346" y="577135"/>
                      </a:lnTo>
                      <a:lnTo>
                        <a:pt x="246912" y="572305"/>
                      </a:lnTo>
                      <a:lnTo>
                        <a:pt x="247516" y="569286"/>
                      </a:lnTo>
                      <a:lnTo>
                        <a:pt x="239668" y="566268"/>
                      </a:lnTo>
                      <a:lnTo>
                        <a:pt x="237857" y="556005"/>
                      </a:lnTo>
                      <a:lnTo>
                        <a:pt x="235442" y="552383"/>
                      </a:lnTo>
                      <a:lnTo>
                        <a:pt x="230612" y="551779"/>
                      </a:lnTo>
                      <a:lnTo>
                        <a:pt x="228801" y="549364"/>
                      </a:lnTo>
                      <a:lnTo>
                        <a:pt x="224575" y="549968"/>
                      </a:lnTo>
                      <a:lnTo>
                        <a:pt x="223368" y="543327"/>
                      </a:lnTo>
                      <a:lnTo>
                        <a:pt x="221557" y="542120"/>
                      </a:lnTo>
                      <a:lnTo>
                        <a:pt x="219746" y="522198"/>
                      </a:lnTo>
                      <a:lnTo>
                        <a:pt x="216727" y="513143"/>
                      </a:lnTo>
                      <a:lnTo>
                        <a:pt x="213105" y="509520"/>
                      </a:lnTo>
                      <a:lnTo>
                        <a:pt x="216124" y="498050"/>
                      </a:lnTo>
                      <a:lnTo>
                        <a:pt x="210690" y="492617"/>
                      </a:lnTo>
                      <a:lnTo>
                        <a:pt x="210690" y="483561"/>
                      </a:lnTo>
                      <a:lnTo>
                        <a:pt x="206465" y="476921"/>
                      </a:lnTo>
                      <a:lnTo>
                        <a:pt x="206465" y="473902"/>
                      </a:lnTo>
                      <a:lnTo>
                        <a:pt x="212501" y="473299"/>
                      </a:lnTo>
                      <a:lnTo>
                        <a:pt x="213709" y="468469"/>
                      </a:lnTo>
                      <a:lnTo>
                        <a:pt x="216727" y="465451"/>
                      </a:lnTo>
                      <a:lnTo>
                        <a:pt x="215520" y="456999"/>
                      </a:lnTo>
                      <a:lnTo>
                        <a:pt x="207672" y="454584"/>
                      </a:lnTo>
                      <a:lnTo>
                        <a:pt x="199824" y="455791"/>
                      </a:lnTo>
                      <a:lnTo>
                        <a:pt x="201031" y="449754"/>
                      </a:lnTo>
                      <a:lnTo>
                        <a:pt x="198616" y="444321"/>
                      </a:lnTo>
                      <a:lnTo>
                        <a:pt x="188354" y="443114"/>
                      </a:lnTo>
                      <a:lnTo>
                        <a:pt x="188354" y="433455"/>
                      </a:lnTo>
                      <a:lnTo>
                        <a:pt x="191976" y="429229"/>
                      </a:lnTo>
                      <a:lnTo>
                        <a:pt x="184731" y="425607"/>
                      </a:lnTo>
                      <a:lnTo>
                        <a:pt x="185939" y="419570"/>
                      </a:lnTo>
                      <a:lnTo>
                        <a:pt x="190165" y="418966"/>
                      </a:lnTo>
                      <a:lnTo>
                        <a:pt x="192579" y="414740"/>
                      </a:lnTo>
                      <a:lnTo>
                        <a:pt x="191976" y="409307"/>
                      </a:lnTo>
                      <a:lnTo>
                        <a:pt x="190165" y="405081"/>
                      </a:lnTo>
                      <a:lnTo>
                        <a:pt x="192579" y="402666"/>
                      </a:lnTo>
                      <a:lnTo>
                        <a:pt x="191372" y="397836"/>
                      </a:lnTo>
                      <a:lnTo>
                        <a:pt x="188354" y="397233"/>
                      </a:lnTo>
                      <a:lnTo>
                        <a:pt x="182317" y="400855"/>
                      </a:lnTo>
                      <a:lnTo>
                        <a:pt x="181109" y="406288"/>
                      </a:lnTo>
                      <a:lnTo>
                        <a:pt x="175072" y="403873"/>
                      </a:lnTo>
                      <a:lnTo>
                        <a:pt x="176883" y="400251"/>
                      </a:lnTo>
                      <a:lnTo>
                        <a:pt x="176883" y="393611"/>
                      </a:lnTo>
                      <a:lnTo>
                        <a:pt x="175676" y="389988"/>
                      </a:lnTo>
                      <a:lnTo>
                        <a:pt x="167224" y="394818"/>
                      </a:lnTo>
                      <a:lnTo>
                        <a:pt x="166017" y="399648"/>
                      </a:lnTo>
                      <a:lnTo>
                        <a:pt x="158772" y="400251"/>
                      </a:lnTo>
                      <a:lnTo>
                        <a:pt x="156358" y="403873"/>
                      </a:lnTo>
                      <a:lnTo>
                        <a:pt x="150321" y="402062"/>
                      </a:lnTo>
                      <a:lnTo>
                        <a:pt x="147302" y="396025"/>
                      </a:lnTo>
                      <a:lnTo>
                        <a:pt x="143680" y="397233"/>
                      </a:lnTo>
                      <a:lnTo>
                        <a:pt x="140661" y="401459"/>
                      </a:lnTo>
                      <a:lnTo>
                        <a:pt x="133417" y="402062"/>
                      </a:lnTo>
                      <a:lnTo>
                        <a:pt x="132210" y="405685"/>
                      </a:lnTo>
                      <a:lnTo>
                        <a:pt x="126173" y="404477"/>
                      </a:lnTo>
                      <a:lnTo>
                        <a:pt x="120739" y="397233"/>
                      </a:lnTo>
                      <a:lnTo>
                        <a:pt x="118325" y="391799"/>
                      </a:lnTo>
                      <a:lnTo>
                        <a:pt x="114702" y="390592"/>
                      </a:lnTo>
                      <a:lnTo>
                        <a:pt x="108062" y="395422"/>
                      </a:lnTo>
                      <a:lnTo>
                        <a:pt x="105043" y="393007"/>
                      </a:lnTo>
                      <a:lnTo>
                        <a:pt x="100214" y="393007"/>
                      </a:lnTo>
                      <a:lnTo>
                        <a:pt x="97799" y="387574"/>
                      </a:lnTo>
                      <a:lnTo>
                        <a:pt x="99610" y="383951"/>
                      </a:lnTo>
                      <a:lnTo>
                        <a:pt x="96592" y="379726"/>
                      </a:lnTo>
                      <a:lnTo>
                        <a:pt x="94781" y="373085"/>
                      </a:lnTo>
                      <a:lnTo>
                        <a:pt x="86932" y="368255"/>
                      </a:lnTo>
                      <a:lnTo>
                        <a:pt x="83310" y="368255"/>
                      </a:lnTo>
                      <a:lnTo>
                        <a:pt x="79084" y="364029"/>
                      </a:lnTo>
                      <a:lnTo>
                        <a:pt x="70633" y="365237"/>
                      </a:lnTo>
                      <a:lnTo>
                        <a:pt x="63992" y="374292"/>
                      </a:lnTo>
                      <a:lnTo>
                        <a:pt x="54936" y="376103"/>
                      </a:lnTo>
                      <a:lnTo>
                        <a:pt x="50711" y="372481"/>
                      </a:lnTo>
                      <a:lnTo>
                        <a:pt x="45881" y="373085"/>
                      </a:lnTo>
                      <a:lnTo>
                        <a:pt x="38033" y="371274"/>
                      </a:lnTo>
                      <a:lnTo>
                        <a:pt x="36222" y="380933"/>
                      </a:lnTo>
                      <a:lnTo>
                        <a:pt x="26563" y="382140"/>
                      </a:lnTo>
                      <a:lnTo>
                        <a:pt x="27770" y="375500"/>
                      </a:lnTo>
                      <a:lnTo>
                        <a:pt x="21733" y="368255"/>
                      </a:lnTo>
                      <a:lnTo>
                        <a:pt x="21129" y="363426"/>
                      </a:lnTo>
                      <a:lnTo>
                        <a:pt x="17507" y="359804"/>
                      </a:lnTo>
                      <a:lnTo>
                        <a:pt x="13281" y="359200"/>
                      </a:lnTo>
                      <a:lnTo>
                        <a:pt x="12678" y="353163"/>
                      </a:lnTo>
                      <a:lnTo>
                        <a:pt x="13885" y="349541"/>
                      </a:lnTo>
                      <a:lnTo>
                        <a:pt x="22941" y="351352"/>
                      </a:lnTo>
                      <a:lnTo>
                        <a:pt x="25959" y="342900"/>
                      </a:lnTo>
                      <a:lnTo>
                        <a:pt x="30185" y="336259"/>
                      </a:lnTo>
                      <a:lnTo>
                        <a:pt x="30185" y="333844"/>
                      </a:lnTo>
                      <a:lnTo>
                        <a:pt x="21733" y="328411"/>
                      </a:lnTo>
                      <a:lnTo>
                        <a:pt x="21733" y="321167"/>
                      </a:lnTo>
                      <a:lnTo>
                        <a:pt x="22337" y="310904"/>
                      </a:lnTo>
                      <a:lnTo>
                        <a:pt x="24752" y="309093"/>
                      </a:lnTo>
                      <a:lnTo>
                        <a:pt x="22941" y="304867"/>
                      </a:lnTo>
                      <a:lnTo>
                        <a:pt x="28374" y="288567"/>
                      </a:lnTo>
                      <a:lnTo>
                        <a:pt x="28977" y="281323"/>
                      </a:lnTo>
                      <a:lnTo>
                        <a:pt x="25959" y="278304"/>
                      </a:lnTo>
                      <a:lnTo>
                        <a:pt x="21733" y="281323"/>
                      </a:lnTo>
                      <a:lnTo>
                        <a:pt x="14489" y="281323"/>
                      </a:lnTo>
                      <a:lnTo>
                        <a:pt x="12074" y="283738"/>
                      </a:lnTo>
                      <a:lnTo>
                        <a:pt x="1207" y="283134"/>
                      </a:lnTo>
                      <a:lnTo>
                        <a:pt x="0" y="272871"/>
                      </a:lnTo>
                      <a:lnTo>
                        <a:pt x="604" y="269853"/>
                      </a:lnTo>
                      <a:lnTo>
                        <a:pt x="5433" y="263816"/>
                      </a:lnTo>
                      <a:lnTo>
                        <a:pt x="13885" y="260797"/>
                      </a:lnTo>
                      <a:lnTo>
                        <a:pt x="18111" y="254760"/>
                      </a:lnTo>
                      <a:lnTo>
                        <a:pt x="13885" y="245705"/>
                      </a:lnTo>
                      <a:lnTo>
                        <a:pt x="7848" y="244497"/>
                      </a:lnTo>
                      <a:lnTo>
                        <a:pt x="10867" y="236046"/>
                      </a:lnTo>
                      <a:lnTo>
                        <a:pt x="21733" y="240271"/>
                      </a:lnTo>
                      <a:lnTo>
                        <a:pt x="24752" y="242686"/>
                      </a:lnTo>
                      <a:lnTo>
                        <a:pt x="35618" y="245101"/>
                      </a:lnTo>
                      <a:lnTo>
                        <a:pt x="35618" y="240875"/>
                      </a:lnTo>
                      <a:lnTo>
                        <a:pt x="44070" y="234838"/>
                      </a:lnTo>
                      <a:lnTo>
                        <a:pt x="47088" y="229405"/>
                      </a:lnTo>
                      <a:lnTo>
                        <a:pt x="53125" y="231820"/>
                      </a:lnTo>
                      <a:lnTo>
                        <a:pt x="56144" y="230009"/>
                      </a:lnTo>
                      <a:lnTo>
                        <a:pt x="63992" y="228801"/>
                      </a:lnTo>
                      <a:lnTo>
                        <a:pt x="68822" y="224575"/>
                      </a:lnTo>
                      <a:lnTo>
                        <a:pt x="73047" y="228801"/>
                      </a:lnTo>
                      <a:lnTo>
                        <a:pt x="79084" y="232423"/>
                      </a:lnTo>
                      <a:lnTo>
                        <a:pt x="83914" y="232423"/>
                      </a:lnTo>
                      <a:lnTo>
                        <a:pt x="94177" y="236649"/>
                      </a:lnTo>
                      <a:lnTo>
                        <a:pt x="98403" y="245705"/>
                      </a:lnTo>
                      <a:lnTo>
                        <a:pt x="103836" y="248723"/>
                      </a:lnTo>
                      <a:lnTo>
                        <a:pt x="103836" y="251138"/>
                      </a:lnTo>
                      <a:lnTo>
                        <a:pt x="108062" y="256571"/>
                      </a:lnTo>
                      <a:lnTo>
                        <a:pt x="112891" y="254760"/>
                      </a:lnTo>
                      <a:lnTo>
                        <a:pt x="117721" y="250534"/>
                      </a:lnTo>
                      <a:lnTo>
                        <a:pt x="123758" y="251138"/>
                      </a:lnTo>
                      <a:lnTo>
                        <a:pt x="126173" y="243290"/>
                      </a:lnTo>
                      <a:lnTo>
                        <a:pt x="131002" y="246912"/>
                      </a:lnTo>
                      <a:lnTo>
                        <a:pt x="131002" y="254157"/>
                      </a:lnTo>
                      <a:lnTo>
                        <a:pt x="127380" y="255968"/>
                      </a:lnTo>
                      <a:lnTo>
                        <a:pt x="127984" y="259590"/>
                      </a:lnTo>
                      <a:lnTo>
                        <a:pt x="131606" y="260797"/>
                      </a:lnTo>
                      <a:lnTo>
                        <a:pt x="129191" y="265627"/>
                      </a:lnTo>
                      <a:lnTo>
                        <a:pt x="131002" y="269249"/>
                      </a:lnTo>
                      <a:lnTo>
                        <a:pt x="135832" y="268645"/>
                      </a:lnTo>
                      <a:lnTo>
                        <a:pt x="137039" y="273475"/>
                      </a:lnTo>
                      <a:lnTo>
                        <a:pt x="140661" y="272267"/>
                      </a:lnTo>
                      <a:lnTo>
                        <a:pt x="141869" y="265627"/>
                      </a:lnTo>
                      <a:lnTo>
                        <a:pt x="147906" y="260797"/>
                      </a:lnTo>
                      <a:lnTo>
                        <a:pt x="151528" y="263212"/>
                      </a:lnTo>
                      <a:lnTo>
                        <a:pt x="150924" y="271060"/>
                      </a:lnTo>
                      <a:lnTo>
                        <a:pt x="153943" y="273475"/>
                      </a:lnTo>
                      <a:lnTo>
                        <a:pt x="157565" y="281323"/>
                      </a:lnTo>
                      <a:lnTo>
                        <a:pt x="155754" y="286152"/>
                      </a:lnTo>
                      <a:lnTo>
                        <a:pt x="150924" y="286756"/>
                      </a:lnTo>
                      <a:lnTo>
                        <a:pt x="148510" y="290982"/>
                      </a:lnTo>
                      <a:lnTo>
                        <a:pt x="150924" y="294604"/>
                      </a:lnTo>
                      <a:lnTo>
                        <a:pt x="149113" y="298226"/>
                      </a:lnTo>
                      <a:lnTo>
                        <a:pt x="143076" y="301245"/>
                      </a:lnTo>
                      <a:lnTo>
                        <a:pt x="145491" y="306075"/>
                      </a:lnTo>
                      <a:lnTo>
                        <a:pt x="145491" y="310300"/>
                      </a:lnTo>
                      <a:lnTo>
                        <a:pt x="150924" y="312112"/>
                      </a:lnTo>
                      <a:lnTo>
                        <a:pt x="155754" y="315734"/>
                      </a:lnTo>
                      <a:lnTo>
                        <a:pt x="153339" y="321771"/>
                      </a:lnTo>
                      <a:lnTo>
                        <a:pt x="159376" y="329015"/>
                      </a:lnTo>
                      <a:lnTo>
                        <a:pt x="170243" y="326600"/>
                      </a:lnTo>
                      <a:lnTo>
                        <a:pt x="172657" y="320563"/>
                      </a:lnTo>
                      <a:lnTo>
                        <a:pt x="167828" y="316941"/>
                      </a:lnTo>
                      <a:lnTo>
                        <a:pt x="169639" y="312715"/>
                      </a:lnTo>
                      <a:lnTo>
                        <a:pt x="173261" y="309697"/>
                      </a:lnTo>
                      <a:lnTo>
                        <a:pt x="175676" y="300641"/>
                      </a:lnTo>
                      <a:lnTo>
                        <a:pt x="181109" y="300641"/>
                      </a:lnTo>
                      <a:lnTo>
                        <a:pt x="178694" y="296415"/>
                      </a:lnTo>
                      <a:lnTo>
                        <a:pt x="184731" y="290982"/>
                      </a:lnTo>
                      <a:lnTo>
                        <a:pt x="188354" y="290982"/>
                      </a:lnTo>
                      <a:lnTo>
                        <a:pt x="188957" y="285549"/>
                      </a:lnTo>
                      <a:lnTo>
                        <a:pt x="191976" y="279512"/>
                      </a:lnTo>
                      <a:lnTo>
                        <a:pt x="201635" y="273475"/>
                      </a:lnTo>
                      <a:lnTo>
                        <a:pt x="201635" y="268042"/>
                      </a:lnTo>
                      <a:lnTo>
                        <a:pt x="214313" y="276493"/>
                      </a:lnTo>
                      <a:lnTo>
                        <a:pt x="224575" y="278304"/>
                      </a:lnTo>
                      <a:lnTo>
                        <a:pt x="226386" y="283134"/>
                      </a:lnTo>
                      <a:lnTo>
                        <a:pt x="238460" y="281323"/>
                      </a:lnTo>
                      <a:lnTo>
                        <a:pt x="239064" y="276493"/>
                      </a:lnTo>
                      <a:lnTo>
                        <a:pt x="247516" y="276493"/>
                      </a:lnTo>
                      <a:lnTo>
                        <a:pt x="249931" y="280115"/>
                      </a:lnTo>
                      <a:lnTo>
                        <a:pt x="253553" y="280719"/>
                      </a:lnTo>
                      <a:lnTo>
                        <a:pt x="255364" y="268042"/>
                      </a:lnTo>
                      <a:lnTo>
                        <a:pt x="264419" y="267438"/>
                      </a:lnTo>
                      <a:lnTo>
                        <a:pt x="269249" y="263816"/>
                      </a:lnTo>
                      <a:lnTo>
                        <a:pt x="274079" y="268645"/>
                      </a:lnTo>
                      <a:lnTo>
                        <a:pt x="278908" y="266231"/>
                      </a:lnTo>
                      <a:lnTo>
                        <a:pt x="283738" y="275890"/>
                      </a:lnTo>
                      <a:lnTo>
                        <a:pt x="287964" y="281323"/>
                      </a:lnTo>
                      <a:lnTo>
                        <a:pt x="291586" y="282530"/>
                      </a:lnTo>
                      <a:lnTo>
                        <a:pt x="295208" y="280719"/>
                      </a:lnTo>
                      <a:lnTo>
                        <a:pt x="298226" y="284945"/>
                      </a:lnTo>
                      <a:lnTo>
                        <a:pt x="302452" y="286152"/>
                      </a:lnTo>
                      <a:lnTo>
                        <a:pt x="310300" y="286152"/>
                      </a:lnTo>
                      <a:lnTo>
                        <a:pt x="316941" y="281927"/>
                      </a:lnTo>
                      <a:lnTo>
                        <a:pt x="321167" y="280719"/>
                      </a:lnTo>
                      <a:lnTo>
                        <a:pt x="324789" y="282530"/>
                      </a:lnTo>
                      <a:lnTo>
                        <a:pt x="328411" y="276493"/>
                      </a:lnTo>
                      <a:lnTo>
                        <a:pt x="331430" y="274682"/>
                      </a:lnTo>
                      <a:lnTo>
                        <a:pt x="332033" y="268645"/>
                      </a:lnTo>
                      <a:lnTo>
                        <a:pt x="335656" y="267438"/>
                      </a:lnTo>
                      <a:lnTo>
                        <a:pt x="340485" y="271060"/>
                      </a:lnTo>
                      <a:lnTo>
                        <a:pt x="344711" y="266231"/>
                      </a:lnTo>
                      <a:lnTo>
                        <a:pt x="350748" y="265627"/>
                      </a:lnTo>
                      <a:lnTo>
                        <a:pt x="356181" y="259590"/>
                      </a:lnTo>
                      <a:lnTo>
                        <a:pt x="363426" y="257175"/>
                      </a:lnTo>
                      <a:lnTo>
                        <a:pt x="365841" y="253553"/>
                      </a:lnTo>
                      <a:lnTo>
                        <a:pt x="362822" y="249931"/>
                      </a:lnTo>
                      <a:lnTo>
                        <a:pt x="356785" y="249931"/>
                      </a:lnTo>
                      <a:lnTo>
                        <a:pt x="353767" y="247516"/>
                      </a:lnTo>
                      <a:lnTo>
                        <a:pt x="353767" y="240875"/>
                      </a:lnTo>
                      <a:lnTo>
                        <a:pt x="350748" y="239668"/>
                      </a:lnTo>
                      <a:lnTo>
                        <a:pt x="353163" y="235442"/>
                      </a:lnTo>
                      <a:lnTo>
                        <a:pt x="357993" y="236046"/>
                      </a:lnTo>
                      <a:lnTo>
                        <a:pt x="354974" y="221557"/>
                      </a:lnTo>
                      <a:lnTo>
                        <a:pt x="357389" y="214313"/>
                      </a:lnTo>
                      <a:lnTo>
                        <a:pt x="363426" y="203446"/>
                      </a:lnTo>
                      <a:lnTo>
                        <a:pt x="368255" y="197409"/>
                      </a:lnTo>
                      <a:lnTo>
                        <a:pt x="364030" y="196805"/>
                      </a:lnTo>
                      <a:lnTo>
                        <a:pt x="358596" y="191976"/>
                      </a:lnTo>
                      <a:lnTo>
                        <a:pt x="359804" y="190165"/>
                      </a:lnTo>
                      <a:lnTo>
                        <a:pt x="359804" y="185335"/>
                      </a:lnTo>
                      <a:lnTo>
                        <a:pt x="368255" y="194391"/>
                      </a:lnTo>
                      <a:lnTo>
                        <a:pt x="373689" y="195598"/>
                      </a:lnTo>
                      <a:lnTo>
                        <a:pt x="376707" y="194391"/>
                      </a:lnTo>
                      <a:lnTo>
                        <a:pt x="380933" y="196805"/>
                      </a:lnTo>
                      <a:lnTo>
                        <a:pt x="383951" y="196202"/>
                      </a:lnTo>
                      <a:lnTo>
                        <a:pt x="388177" y="191976"/>
                      </a:lnTo>
                      <a:lnTo>
                        <a:pt x="383348" y="187146"/>
                      </a:lnTo>
                      <a:lnTo>
                        <a:pt x="388177" y="186542"/>
                      </a:lnTo>
                      <a:lnTo>
                        <a:pt x="391196" y="191976"/>
                      </a:lnTo>
                      <a:lnTo>
                        <a:pt x="396629" y="191976"/>
                      </a:lnTo>
                      <a:lnTo>
                        <a:pt x="395422" y="187750"/>
                      </a:lnTo>
                      <a:lnTo>
                        <a:pt x="399044" y="184731"/>
                      </a:lnTo>
                      <a:lnTo>
                        <a:pt x="394818" y="178694"/>
                      </a:lnTo>
                      <a:lnTo>
                        <a:pt x="398440" y="175072"/>
                      </a:lnTo>
                      <a:lnTo>
                        <a:pt x="402666" y="175676"/>
                      </a:lnTo>
                      <a:lnTo>
                        <a:pt x="404477" y="179902"/>
                      </a:lnTo>
                      <a:lnTo>
                        <a:pt x="403873" y="187146"/>
                      </a:lnTo>
                      <a:lnTo>
                        <a:pt x="408099" y="193183"/>
                      </a:lnTo>
                      <a:lnTo>
                        <a:pt x="409307" y="198616"/>
                      </a:lnTo>
                      <a:lnTo>
                        <a:pt x="417155" y="199220"/>
                      </a:lnTo>
                      <a:lnTo>
                        <a:pt x="419570" y="204050"/>
                      </a:lnTo>
                      <a:lnTo>
                        <a:pt x="426210" y="202842"/>
                      </a:lnTo>
                      <a:lnTo>
                        <a:pt x="430436" y="199220"/>
                      </a:lnTo>
                      <a:lnTo>
                        <a:pt x="437680" y="203446"/>
                      </a:lnTo>
                      <a:lnTo>
                        <a:pt x="443717" y="199824"/>
                      </a:lnTo>
                      <a:lnTo>
                        <a:pt x="445529" y="196202"/>
                      </a:lnTo>
                      <a:lnTo>
                        <a:pt x="446132" y="190165"/>
                      </a:lnTo>
                      <a:lnTo>
                        <a:pt x="444321" y="181713"/>
                      </a:lnTo>
                      <a:lnTo>
                        <a:pt x="447943" y="178694"/>
                      </a:lnTo>
                      <a:lnTo>
                        <a:pt x="447943" y="173261"/>
                      </a:lnTo>
                      <a:lnTo>
                        <a:pt x="440699" y="171450"/>
                      </a:lnTo>
                      <a:lnTo>
                        <a:pt x="442510" y="169035"/>
                      </a:lnTo>
                      <a:lnTo>
                        <a:pt x="437680" y="161791"/>
                      </a:lnTo>
                      <a:lnTo>
                        <a:pt x="434662" y="161791"/>
                      </a:lnTo>
                      <a:lnTo>
                        <a:pt x="429229" y="166620"/>
                      </a:lnTo>
                      <a:lnTo>
                        <a:pt x="428625" y="161187"/>
                      </a:lnTo>
                      <a:lnTo>
                        <a:pt x="435869" y="158169"/>
                      </a:lnTo>
                      <a:lnTo>
                        <a:pt x="443114" y="156961"/>
                      </a:lnTo>
                      <a:lnTo>
                        <a:pt x="450358" y="150924"/>
                      </a:lnTo>
                      <a:lnTo>
                        <a:pt x="452773" y="150924"/>
                      </a:lnTo>
                      <a:lnTo>
                        <a:pt x="454584" y="146698"/>
                      </a:lnTo>
                      <a:lnTo>
                        <a:pt x="460017" y="144887"/>
                      </a:lnTo>
                      <a:lnTo>
                        <a:pt x="468469" y="137039"/>
                      </a:lnTo>
                      <a:lnTo>
                        <a:pt x="460621" y="128587"/>
                      </a:lnTo>
                      <a:lnTo>
                        <a:pt x="466054" y="126173"/>
                      </a:lnTo>
                      <a:lnTo>
                        <a:pt x="465451" y="121947"/>
                      </a:lnTo>
                      <a:lnTo>
                        <a:pt x="470884" y="120739"/>
                      </a:lnTo>
                      <a:lnTo>
                        <a:pt x="476921" y="123758"/>
                      </a:lnTo>
                      <a:lnTo>
                        <a:pt x="482958" y="124362"/>
                      </a:lnTo>
                      <a:lnTo>
                        <a:pt x="487787" y="118928"/>
                      </a:lnTo>
                      <a:lnTo>
                        <a:pt x="490806" y="123758"/>
                      </a:lnTo>
                      <a:lnTo>
                        <a:pt x="494428" y="124965"/>
                      </a:lnTo>
                      <a:lnTo>
                        <a:pt x="495032" y="128587"/>
                      </a:lnTo>
                      <a:lnTo>
                        <a:pt x="497446" y="131002"/>
                      </a:lnTo>
                      <a:lnTo>
                        <a:pt x="496843" y="135832"/>
                      </a:lnTo>
                      <a:lnTo>
                        <a:pt x="501069" y="135832"/>
                      </a:lnTo>
                      <a:lnTo>
                        <a:pt x="507106" y="129795"/>
                      </a:lnTo>
                      <a:lnTo>
                        <a:pt x="503483" y="126173"/>
                      </a:lnTo>
                      <a:lnTo>
                        <a:pt x="502276" y="120136"/>
                      </a:lnTo>
                      <a:lnTo>
                        <a:pt x="499861" y="118325"/>
                      </a:lnTo>
                      <a:lnTo>
                        <a:pt x="500465" y="114099"/>
                      </a:lnTo>
                      <a:lnTo>
                        <a:pt x="500465" y="105647"/>
                      </a:lnTo>
                      <a:lnTo>
                        <a:pt x="504087" y="104440"/>
                      </a:lnTo>
                      <a:lnTo>
                        <a:pt x="505898" y="97195"/>
                      </a:lnTo>
                      <a:lnTo>
                        <a:pt x="498654" y="93573"/>
                      </a:lnTo>
                      <a:lnTo>
                        <a:pt x="502276" y="91158"/>
                      </a:lnTo>
                      <a:lnTo>
                        <a:pt x="501672" y="87536"/>
                      </a:lnTo>
                      <a:lnTo>
                        <a:pt x="504691" y="79084"/>
                      </a:lnTo>
                      <a:lnTo>
                        <a:pt x="501672" y="74255"/>
                      </a:lnTo>
                      <a:lnTo>
                        <a:pt x="496239" y="69425"/>
                      </a:lnTo>
                      <a:lnTo>
                        <a:pt x="493221" y="69425"/>
                      </a:lnTo>
                      <a:lnTo>
                        <a:pt x="494428" y="62181"/>
                      </a:lnTo>
                      <a:lnTo>
                        <a:pt x="484769" y="64596"/>
                      </a:lnTo>
                      <a:lnTo>
                        <a:pt x="485373" y="58559"/>
                      </a:lnTo>
                      <a:lnTo>
                        <a:pt x="485373" y="56144"/>
                      </a:lnTo>
                      <a:lnTo>
                        <a:pt x="488391" y="51918"/>
                      </a:lnTo>
                      <a:lnTo>
                        <a:pt x="485976" y="47692"/>
                      </a:lnTo>
                      <a:lnTo>
                        <a:pt x="487184" y="39844"/>
                      </a:lnTo>
                      <a:lnTo>
                        <a:pt x="490806" y="33203"/>
                      </a:lnTo>
                      <a:lnTo>
                        <a:pt x="487787" y="30185"/>
                      </a:lnTo>
                      <a:lnTo>
                        <a:pt x="486580" y="23544"/>
                      </a:lnTo>
                      <a:lnTo>
                        <a:pt x="481147" y="21129"/>
                      </a:lnTo>
                      <a:lnTo>
                        <a:pt x="474506" y="12678"/>
                      </a:lnTo>
                      <a:lnTo>
                        <a:pt x="473299" y="9055"/>
                      </a:lnTo>
                      <a:lnTo>
                        <a:pt x="475110" y="6037"/>
                      </a:lnTo>
                      <a:lnTo>
                        <a:pt x="482958" y="0"/>
                      </a:lnTo>
                      <a:lnTo>
                        <a:pt x="482958" y="5433"/>
                      </a:lnTo>
                      <a:lnTo>
                        <a:pt x="485976" y="10263"/>
                      </a:lnTo>
                      <a:lnTo>
                        <a:pt x="492013" y="14489"/>
                      </a:lnTo>
                      <a:lnTo>
                        <a:pt x="502276" y="7848"/>
                      </a:lnTo>
                      <a:lnTo>
                        <a:pt x="507106" y="18111"/>
                      </a:lnTo>
                      <a:lnTo>
                        <a:pt x="507709" y="22337"/>
                      </a:lnTo>
                      <a:lnTo>
                        <a:pt x="510728" y="24148"/>
                      </a:lnTo>
                      <a:lnTo>
                        <a:pt x="512539" y="28374"/>
                      </a:lnTo>
                      <a:lnTo>
                        <a:pt x="516161" y="29581"/>
                      </a:lnTo>
                      <a:lnTo>
                        <a:pt x="522198" y="27770"/>
                      </a:lnTo>
                      <a:lnTo>
                        <a:pt x="522198" y="33807"/>
                      </a:lnTo>
                      <a:lnTo>
                        <a:pt x="519783" y="36826"/>
                      </a:lnTo>
                      <a:lnTo>
                        <a:pt x="523406" y="39240"/>
                      </a:lnTo>
                      <a:lnTo>
                        <a:pt x="525217" y="45277"/>
                      </a:lnTo>
                      <a:lnTo>
                        <a:pt x="531857" y="43466"/>
                      </a:lnTo>
                      <a:lnTo>
                        <a:pt x="538498" y="44674"/>
                      </a:lnTo>
                      <a:lnTo>
                        <a:pt x="543328" y="47692"/>
                      </a:lnTo>
                      <a:lnTo>
                        <a:pt x="548157" y="53729"/>
                      </a:lnTo>
                      <a:lnTo>
                        <a:pt x="554194" y="57955"/>
                      </a:lnTo>
                      <a:lnTo>
                        <a:pt x="553590" y="66407"/>
                      </a:lnTo>
                      <a:lnTo>
                        <a:pt x="556005" y="70029"/>
                      </a:lnTo>
                      <a:lnTo>
                        <a:pt x="554798" y="79084"/>
                      </a:lnTo>
                      <a:lnTo>
                        <a:pt x="551176" y="83310"/>
                      </a:lnTo>
                      <a:lnTo>
                        <a:pt x="545139" y="86932"/>
                      </a:lnTo>
                      <a:lnTo>
                        <a:pt x="547553" y="91762"/>
                      </a:lnTo>
                      <a:lnTo>
                        <a:pt x="550572" y="94177"/>
                      </a:lnTo>
                      <a:lnTo>
                        <a:pt x="560835" y="97195"/>
                      </a:lnTo>
                      <a:lnTo>
                        <a:pt x="563250" y="101421"/>
                      </a:lnTo>
                      <a:lnTo>
                        <a:pt x="563853" y="108062"/>
                      </a:lnTo>
                      <a:lnTo>
                        <a:pt x="569287" y="105647"/>
                      </a:lnTo>
                      <a:lnTo>
                        <a:pt x="574116" y="106854"/>
                      </a:lnTo>
                      <a:lnTo>
                        <a:pt x="576531" y="111080"/>
                      </a:lnTo>
                      <a:lnTo>
                        <a:pt x="586190" y="114099"/>
                      </a:lnTo>
                      <a:lnTo>
                        <a:pt x="588605" y="112288"/>
                      </a:lnTo>
                      <a:lnTo>
                        <a:pt x="593434" y="112288"/>
                      </a:lnTo>
                      <a:lnTo>
                        <a:pt x="595849" y="117117"/>
                      </a:lnTo>
                      <a:lnTo>
                        <a:pt x="600679" y="115910"/>
                      </a:lnTo>
                      <a:lnTo>
                        <a:pt x="603697" y="121947"/>
                      </a:lnTo>
                      <a:lnTo>
                        <a:pt x="610338" y="117117"/>
                      </a:lnTo>
                      <a:lnTo>
                        <a:pt x="613960" y="111684"/>
                      </a:lnTo>
                      <a:lnTo>
                        <a:pt x="616375" y="113495"/>
                      </a:lnTo>
                      <a:lnTo>
                        <a:pt x="615771" y="117721"/>
                      </a:lnTo>
                      <a:lnTo>
                        <a:pt x="612753" y="121343"/>
                      </a:lnTo>
                      <a:lnTo>
                        <a:pt x="612149" y="126173"/>
                      </a:lnTo>
                      <a:lnTo>
                        <a:pt x="617582" y="125569"/>
                      </a:lnTo>
                      <a:lnTo>
                        <a:pt x="623619" y="123154"/>
                      </a:lnTo>
                      <a:lnTo>
                        <a:pt x="624223" y="118928"/>
                      </a:lnTo>
                      <a:lnTo>
                        <a:pt x="627241" y="115306"/>
                      </a:lnTo>
                      <a:lnTo>
                        <a:pt x="630864" y="123154"/>
                      </a:lnTo>
                      <a:lnTo>
                        <a:pt x="634486" y="127984"/>
                      </a:lnTo>
                      <a:lnTo>
                        <a:pt x="641127" y="131002"/>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4" name="Himachal Pradesh" descr="{&quot;Key&quot;:&quot;himachal pradesh&quot;,&quot;Name&quot;:&quot;Himachal Pradesh&quot;,&quot;Value&quot;:1.0,&quot;Formula&quot;:&quot;&quot;,&quot;Text&quot;:&quot;&quot;,&quot;OfficeApplication&quot;:1,&quot;HasValue&quot;:true}">
                  <a:extLst>
                    <a:ext uri="{FF2B5EF4-FFF2-40B4-BE49-F238E27FC236}">
                      <a16:creationId xmlns:a16="http://schemas.microsoft.com/office/drawing/2014/main" id="{0A03E2CF-71F3-4469-B749-5FC9AB7C3EE1}"/>
                    </a:ext>
                  </a:extLst>
                </p:cNvPr>
                <p:cNvSpPr/>
                <p:nvPr/>
              </p:nvSpPr>
              <p:spPr>
                <a:xfrm>
                  <a:off x="4607283" y="970745"/>
                  <a:ext cx="700289" cy="694252"/>
                </a:xfrm>
                <a:custGeom>
                  <a:avLst/>
                  <a:gdLst>
                    <a:gd name="connsiteX0" fmla="*/ 686404 w 700288"/>
                    <a:gd name="connsiteY0" fmla="*/ 486580 h 694251"/>
                    <a:gd name="connsiteX1" fmla="*/ 687008 w 700288"/>
                    <a:gd name="connsiteY1" fmla="*/ 492617 h 694251"/>
                    <a:gd name="connsiteX2" fmla="*/ 691837 w 700288"/>
                    <a:gd name="connsiteY2" fmla="*/ 495635 h 694251"/>
                    <a:gd name="connsiteX3" fmla="*/ 691837 w 700288"/>
                    <a:gd name="connsiteY3" fmla="*/ 499258 h 694251"/>
                    <a:gd name="connsiteX4" fmla="*/ 694252 w 700288"/>
                    <a:gd name="connsiteY4" fmla="*/ 502276 h 694251"/>
                    <a:gd name="connsiteX5" fmla="*/ 699685 w 700288"/>
                    <a:gd name="connsiteY5" fmla="*/ 505295 h 694251"/>
                    <a:gd name="connsiteX6" fmla="*/ 700893 w 700288"/>
                    <a:gd name="connsiteY6" fmla="*/ 513746 h 694251"/>
                    <a:gd name="connsiteX7" fmla="*/ 704515 w 700288"/>
                    <a:gd name="connsiteY7" fmla="*/ 520387 h 694251"/>
                    <a:gd name="connsiteX8" fmla="*/ 698478 w 700288"/>
                    <a:gd name="connsiteY8" fmla="*/ 520991 h 694251"/>
                    <a:gd name="connsiteX9" fmla="*/ 693648 w 700288"/>
                    <a:gd name="connsiteY9" fmla="*/ 523405 h 694251"/>
                    <a:gd name="connsiteX10" fmla="*/ 685196 w 700288"/>
                    <a:gd name="connsiteY10" fmla="*/ 520991 h 694251"/>
                    <a:gd name="connsiteX11" fmla="*/ 680367 w 700288"/>
                    <a:gd name="connsiteY11" fmla="*/ 524009 h 694251"/>
                    <a:gd name="connsiteX12" fmla="*/ 676745 w 700288"/>
                    <a:gd name="connsiteY12" fmla="*/ 521594 h 694251"/>
                    <a:gd name="connsiteX13" fmla="*/ 667689 w 700288"/>
                    <a:gd name="connsiteY13" fmla="*/ 513746 h 694251"/>
                    <a:gd name="connsiteX14" fmla="*/ 664067 w 700288"/>
                    <a:gd name="connsiteY14" fmla="*/ 505898 h 694251"/>
                    <a:gd name="connsiteX15" fmla="*/ 664671 w 700288"/>
                    <a:gd name="connsiteY15" fmla="*/ 501069 h 694251"/>
                    <a:gd name="connsiteX16" fmla="*/ 662860 w 700288"/>
                    <a:gd name="connsiteY16" fmla="*/ 499258 h 694251"/>
                    <a:gd name="connsiteX17" fmla="*/ 653804 w 700288"/>
                    <a:gd name="connsiteY17" fmla="*/ 502276 h 694251"/>
                    <a:gd name="connsiteX18" fmla="*/ 642334 w 700288"/>
                    <a:gd name="connsiteY18" fmla="*/ 501672 h 694251"/>
                    <a:gd name="connsiteX19" fmla="*/ 638712 w 700288"/>
                    <a:gd name="connsiteY19" fmla="*/ 499861 h 694251"/>
                    <a:gd name="connsiteX20" fmla="*/ 633278 w 700288"/>
                    <a:gd name="connsiteY20" fmla="*/ 501069 h 694251"/>
                    <a:gd name="connsiteX21" fmla="*/ 630260 w 700288"/>
                    <a:gd name="connsiteY21" fmla="*/ 496239 h 694251"/>
                    <a:gd name="connsiteX22" fmla="*/ 623016 w 700288"/>
                    <a:gd name="connsiteY22" fmla="*/ 492013 h 694251"/>
                    <a:gd name="connsiteX23" fmla="*/ 615771 w 700288"/>
                    <a:gd name="connsiteY23" fmla="*/ 492617 h 694251"/>
                    <a:gd name="connsiteX24" fmla="*/ 609734 w 700288"/>
                    <a:gd name="connsiteY24" fmla="*/ 499258 h 694251"/>
                    <a:gd name="connsiteX25" fmla="*/ 595849 w 700288"/>
                    <a:gd name="connsiteY25" fmla="*/ 499861 h 694251"/>
                    <a:gd name="connsiteX26" fmla="*/ 595246 w 700288"/>
                    <a:gd name="connsiteY26" fmla="*/ 495635 h 694251"/>
                    <a:gd name="connsiteX27" fmla="*/ 590416 w 700288"/>
                    <a:gd name="connsiteY27" fmla="*/ 490202 h 694251"/>
                    <a:gd name="connsiteX28" fmla="*/ 585586 w 700288"/>
                    <a:gd name="connsiteY28" fmla="*/ 486580 h 694251"/>
                    <a:gd name="connsiteX29" fmla="*/ 581361 w 700288"/>
                    <a:gd name="connsiteY29" fmla="*/ 488995 h 694251"/>
                    <a:gd name="connsiteX30" fmla="*/ 580153 w 700288"/>
                    <a:gd name="connsiteY30" fmla="*/ 485976 h 694251"/>
                    <a:gd name="connsiteX31" fmla="*/ 575324 w 700288"/>
                    <a:gd name="connsiteY31" fmla="*/ 479336 h 694251"/>
                    <a:gd name="connsiteX32" fmla="*/ 572305 w 700288"/>
                    <a:gd name="connsiteY32" fmla="*/ 478732 h 694251"/>
                    <a:gd name="connsiteX33" fmla="*/ 564457 w 700288"/>
                    <a:gd name="connsiteY33" fmla="*/ 480543 h 694251"/>
                    <a:gd name="connsiteX34" fmla="*/ 560835 w 700288"/>
                    <a:gd name="connsiteY34" fmla="*/ 479336 h 694251"/>
                    <a:gd name="connsiteX35" fmla="*/ 559627 w 700288"/>
                    <a:gd name="connsiteY35" fmla="*/ 484769 h 694251"/>
                    <a:gd name="connsiteX36" fmla="*/ 554798 w 700288"/>
                    <a:gd name="connsiteY36" fmla="*/ 483561 h 694251"/>
                    <a:gd name="connsiteX37" fmla="*/ 546950 w 700288"/>
                    <a:gd name="connsiteY37" fmla="*/ 492617 h 694251"/>
                    <a:gd name="connsiteX38" fmla="*/ 541516 w 700288"/>
                    <a:gd name="connsiteY38" fmla="*/ 492013 h 694251"/>
                    <a:gd name="connsiteX39" fmla="*/ 537291 w 700288"/>
                    <a:gd name="connsiteY39" fmla="*/ 495032 h 694251"/>
                    <a:gd name="connsiteX40" fmla="*/ 534272 w 700288"/>
                    <a:gd name="connsiteY40" fmla="*/ 493221 h 694251"/>
                    <a:gd name="connsiteX41" fmla="*/ 529443 w 700288"/>
                    <a:gd name="connsiteY41" fmla="*/ 493221 h 694251"/>
                    <a:gd name="connsiteX42" fmla="*/ 527028 w 700288"/>
                    <a:gd name="connsiteY42" fmla="*/ 496843 h 694251"/>
                    <a:gd name="connsiteX43" fmla="*/ 523406 w 700288"/>
                    <a:gd name="connsiteY43" fmla="*/ 497446 h 694251"/>
                    <a:gd name="connsiteX44" fmla="*/ 517972 w 700288"/>
                    <a:gd name="connsiteY44" fmla="*/ 502276 h 694251"/>
                    <a:gd name="connsiteX45" fmla="*/ 510124 w 700288"/>
                    <a:gd name="connsiteY45" fmla="*/ 502276 h 694251"/>
                    <a:gd name="connsiteX46" fmla="*/ 505295 w 700288"/>
                    <a:gd name="connsiteY46" fmla="*/ 504087 h 694251"/>
                    <a:gd name="connsiteX47" fmla="*/ 500465 w 700288"/>
                    <a:gd name="connsiteY47" fmla="*/ 511332 h 694251"/>
                    <a:gd name="connsiteX48" fmla="*/ 497446 w 700288"/>
                    <a:gd name="connsiteY48" fmla="*/ 508917 h 694251"/>
                    <a:gd name="connsiteX49" fmla="*/ 492617 w 700288"/>
                    <a:gd name="connsiteY49" fmla="*/ 508917 h 694251"/>
                    <a:gd name="connsiteX50" fmla="*/ 489598 w 700288"/>
                    <a:gd name="connsiteY50" fmla="*/ 505898 h 694251"/>
                    <a:gd name="connsiteX51" fmla="*/ 481750 w 700288"/>
                    <a:gd name="connsiteY51" fmla="*/ 511332 h 694251"/>
                    <a:gd name="connsiteX52" fmla="*/ 478732 w 700288"/>
                    <a:gd name="connsiteY52" fmla="*/ 510728 h 694251"/>
                    <a:gd name="connsiteX53" fmla="*/ 474506 w 700288"/>
                    <a:gd name="connsiteY53" fmla="*/ 515557 h 694251"/>
                    <a:gd name="connsiteX54" fmla="*/ 473902 w 700288"/>
                    <a:gd name="connsiteY54" fmla="*/ 519180 h 694251"/>
                    <a:gd name="connsiteX55" fmla="*/ 468469 w 700288"/>
                    <a:gd name="connsiteY55" fmla="*/ 522198 h 694251"/>
                    <a:gd name="connsiteX56" fmla="*/ 466658 w 700288"/>
                    <a:gd name="connsiteY56" fmla="*/ 529442 h 694251"/>
                    <a:gd name="connsiteX57" fmla="*/ 463036 w 700288"/>
                    <a:gd name="connsiteY57" fmla="*/ 531254 h 694251"/>
                    <a:gd name="connsiteX58" fmla="*/ 458810 w 700288"/>
                    <a:gd name="connsiteY58" fmla="*/ 536083 h 694251"/>
                    <a:gd name="connsiteX59" fmla="*/ 463036 w 700288"/>
                    <a:gd name="connsiteY59" fmla="*/ 547553 h 694251"/>
                    <a:gd name="connsiteX60" fmla="*/ 459414 w 700288"/>
                    <a:gd name="connsiteY60" fmla="*/ 550572 h 694251"/>
                    <a:gd name="connsiteX61" fmla="*/ 456999 w 700288"/>
                    <a:gd name="connsiteY61" fmla="*/ 556005 h 694251"/>
                    <a:gd name="connsiteX62" fmla="*/ 448547 w 700288"/>
                    <a:gd name="connsiteY62" fmla="*/ 554194 h 694251"/>
                    <a:gd name="connsiteX63" fmla="*/ 444925 w 700288"/>
                    <a:gd name="connsiteY63" fmla="*/ 557816 h 694251"/>
                    <a:gd name="connsiteX64" fmla="*/ 444321 w 700288"/>
                    <a:gd name="connsiteY64" fmla="*/ 560835 h 694251"/>
                    <a:gd name="connsiteX65" fmla="*/ 446736 w 700288"/>
                    <a:gd name="connsiteY65" fmla="*/ 565061 h 694251"/>
                    <a:gd name="connsiteX66" fmla="*/ 446736 w 700288"/>
                    <a:gd name="connsiteY66" fmla="*/ 567475 h 694251"/>
                    <a:gd name="connsiteX67" fmla="*/ 450962 w 700288"/>
                    <a:gd name="connsiteY67" fmla="*/ 568079 h 694251"/>
                    <a:gd name="connsiteX68" fmla="*/ 456395 w 700288"/>
                    <a:gd name="connsiteY68" fmla="*/ 566872 h 694251"/>
                    <a:gd name="connsiteX69" fmla="*/ 458206 w 700288"/>
                    <a:gd name="connsiteY69" fmla="*/ 569890 h 694251"/>
                    <a:gd name="connsiteX70" fmla="*/ 455188 w 700288"/>
                    <a:gd name="connsiteY70" fmla="*/ 574116 h 694251"/>
                    <a:gd name="connsiteX71" fmla="*/ 454584 w 700288"/>
                    <a:gd name="connsiteY71" fmla="*/ 579549 h 694251"/>
                    <a:gd name="connsiteX72" fmla="*/ 450962 w 700288"/>
                    <a:gd name="connsiteY72" fmla="*/ 581360 h 694251"/>
                    <a:gd name="connsiteX73" fmla="*/ 449151 w 700288"/>
                    <a:gd name="connsiteY73" fmla="*/ 577738 h 694251"/>
                    <a:gd name="connsiteX74" fmla="*/ 446736 w 700288"/>
                    <a:gd name="connsiteY74" fmla="*/ 577738 h 694251"/>
                    <a:gd name="connsiteX75" fmla="*/ 443717 w 700288"/>
                    <a:gd name="connsiteY75" fmla="*/ 584983 h 694251"/>
                    <a:gd name="connsiteX76" fmla="*/ 446132 w 700288"/>
                    <a:gd name="connsiteY76" fmla="*/ 588001 h 694251"/>
                    <a:gd name="connsiteX77" fmla="*/ 441303 w 700288"/>
                    <a:gd name="connsiteY77" fmla="*/ 595245 h 694251"/>
                    <a:gd name="connsiteX78" fmla="*/ 438284 w 700288"/>
                    <a:gd name="connsiteY78" fmla="*/ 601886 h 694251"/>
                    <a:gd name="connsiteX79" fmla="*/ 434662 w 700288"/>
                    <a:gd name="connsiteY79" fmla="*/ 604301 h 694251"/>
                    <a:gd name="connsiteX80" fmla="*/ 435869 w 700288"/>
                    <a:gd name="connsiteY80" fmla="*/ 609734 h 694251"/>
                    <a:gd name="connsiteX81" fmla="*/ 438888 w 700288"/>
                    <a:gd name="connsiteY81" fmla="*/ 610338 h 694251"/>
                    <a:gd name="connsiteX82" fmla="*/ 445529 w 700288"/>
                    <a:gd name="connsiteY82" fmla="*/ 618186 h 694251"/>
                    <a:gd name="connsiteX83" fmla="*/ 444321 w 700288"/>
                    <a:gd name="connsiteY83" fmla="*/ 624223 h 694251"/>
                    <a:gd name="connsiteX84" fmla="*/ 450962 w 700288"/>
                    <a:gd name="connsiteY84" fmla="*/ 629052 h 694251"/>
                    <a:gd name="connsiteX85" fmla="*/ 452773 w 700288"/>
                    <a:gd name="connsiteY85" fmla="*/ 635089 h 694251"/>
                    <a:gd name="connsiteX86" fmla="*/ 449151 w 700288"/>
                    <a:gd name="connsiteY86" fmla="*/ 639919 h 694251"/>
                    <a:gd name="connsiteX87" fmla="*/ 449151 w 700288"/>
                    <a:gd name="connsiteY87" fmla="*/ 643541 h 694251"/>
                    <a:gd name="connsiteX88" fmla="*/ 443717 w 700288"/>
                    <a:gd name="connsiteY88" fmla="*/ 642937 h 694251"/>
                    <a:gd name="connsiteX89" fmla="*/ 448547 w 700288"/>
                    <a:gd name="connsiteY89" fmla="*/ 651993 h 694251"/>
                    <a:gd name="connsiteX90" fmla="*/ 453377 w 700288"/>
                    <a:gd name="connsiteY90" fmla="*/ 655011 h 694251"/>
                    <a:gd name="connsiteX91" fmla="*/ 458810 w 700288"/>
                    <a:gd name="connsiteY91" fmla="*/ 654408 h 694251"/>
                    <a:gd name="connsiteX92" fmla="*/ 460621 w 700288"/>
                    <a:gd name="connsiteY92" fmla="*/ 659841 h 694251"/>
                    <a:gd name="connsiteX93" fmla="*/ 457603 w 700288"/>
                    <a:gd name="connsiteY93" fmla="*/ 665878 h 694251"/>
                    <a:gd name="connsiteX94" fmla="*/ 450962 w 700288"/>
                    <a:gd name="connsiteY94" fmla="*/ 667689 h 694251"/>
                    <a:gd name="connsiteX95" fmla="*/ 441906 w 700288"/>
                    <a:gd name="connsiteY95" fmla="*/ 674330 h 694251"/>
                    <a:gd name="connsiteX96" fmla="*/ 439492 w 700288"/>
                    <a:gd name="connsiteY96" fmla="*/ 674330 h 694251"/>
                    <a:gd name="connsiteX97" fmla="*/ 429229 w 700288"/>
                    <a:gd name="connsiteY97" fmla="*/ 680970 h 694251"/>
                    <a:gd name="connsiteX98" fmla="*/ 425003 w 700288"/>
                    <a:gd name="connsiteY98" fmla="*/ 680367 h 694251"/>
                    <a:gd name="connsiteX99" fmla="*/ 423192 w 700288"/>
                    <a:gd name="connsiteY99" fmla="*/ 683989 h 694251"/>
                    <a:gd name="connsiteX100" fmla="*/ 417155 w 700288"/>
                    <a:gd name="connsiteY100" fmla="*/ 683989 h 694251"/>
                    <a:gd name="connsiteX101" fmla="*/ 412929 w 700288"/>
                    <a:gd name="connsiteY101" fmla="*/ 685800 h 694251"/>
                    <a:gd name="connsiteX102" fmla="*/ 409307 w 700288"/>
                    <a:gd name="connsiteY102" fmla="*/ 688818 h 694251"/>
                    <a:gd name="connsiteX103" fmla="*/ 409307 w 700288"/>
                    <a:gd name="connsiteY103" fmla="*/ 691837 h 694251"/>
                    <a:gd name="connsiteX104" fmla="*/ 411722 w 700288"/>
                    <a:gd name="connsiteY104" fmla="*/ 696667 h 694251"/>
                    <a:gd name="connsiteX105" fmla="*/ 405081 w 700288"/>
                    <a:gd name="connsiteY105" fmla="*/ 693648 h 694251"/>
                    <a:gd name="connsiteX106" fmla="*/ 401459 w 700288"/>
                    <a:gd name="connsiteY106" fmla="*/ 688818 h 694251"/>
                    <a:gd name="connsiteX107" fmla="*/ 397836 w 700288"/>
                    <a:gd name="connsiteY107" fmla="*/ 680970 h 694251"/>
                    <a:gd name="connsiteX108" fmla="*/ 394818 w 700288"/>
                    <a:gd name="connsiteY108" fmla="*/ 684593 h 694251"/>
                    <a:gd name="connsiteX109" fmla="*/ 394214 w 700288"/>
                    <a:gd name="connsiteY109" fmla="*/ 688818 h 694251"/>
                    <a:gd name="connsiteX110" fmla="*/ 388177 w 700288"/>
                    <a:gd name="connsiteY110" fmla="*/ 691233 h 694251"/>
                    <a:gd name="connsiteX111" fmla="*/ 382744 w 700288"/>
                    <a:gd name="connsiteY111" fmla="*/ 691837 h 694251"/>
                    <a:gd name="connsiteX112" fmla="*/ 383348 w 700288"/>
                    <a:gd name="connsiteY112" fmla="*/ 687007 h 694251"/>
                    <a:gd name="connsiteX113" fmla="*/ 386366 w 700288"/>
                    <a:gd name="connsiteY113" fmla="*/ 683385 h 694251"/>
                    <a:gd name="connsiteX114" fmla="*/ 386970 w 700288"/>
                    <a:gd name="connsiteY114" fmla="*/ 679159 h 694251"/>
                    <a:gd name="connsiteX115" fmla="*/ 384555 w 700288"/>
                    <a:gd name="connsiteY115" fmla="*/ 677348 h 694251"/>
                    <a:gd name="connsiteX116" fmla="*/ 380933 w 700288"/>
                    <a:gd name="connsiteY116" fmla="*/ 682781 h 694251"/>
                    <a:gd name="connsiteX117" fmla="*/ 374292 w 700288"/>
                    <a:gd name="connsiteY117" fmla="*/ 687611 h 694251"/>
                    <a:gd name="connsiteX118" fmla="*/ 371274 w 700288"/>
                    <a:gd name="connsiteY118" fmla="*/ 681574 h 694251"/>
                    <a:gd name="connsiteX119" fmla="*/ 366444 w 700288"/>
                    <a:gd name="connsiteY119" fmla="*/ 682781 h 694251"/>
                    <a:gd name="connsiteX120" fmla="*/ 364030 w 700288"/>
                    <a:gd name="connsiteY120" fmla="*/ 677952 h 694251"/>
                    <a:gd name="connsiteX121" fmla="*/ 359200 w 700288"/>
                    <a:gd name="connsiteY121" fmla="*/ 677952 h 694251"/>
                    <a:gd name="connsiteX122" fmla="*/ 356785 w 700288"/>
                    <a:gd name="connsiteY122" fmla="*/ 679763 h 694251"/>
                    <a:gd name="connsiteX123" fmla="*/ 347126 w 700288"/>
                    <a:gd name="connsiteY123" fmla="*/ 676745 h 694251"/>
                    <a:gd name="connsiteX124" fmla="*/ 344711 w 700288"/>
                    <a:gd name="connsiteY124" fmla="*/ 672519 h 694251"/>
                    <a:gd name="connsiteX125" fmla="*/ 339882 w 700288"/>
                    <a:gd name="connsiteY125" fmla="*/ 671311 h 694251"/>
                    <a:gd name="connsiteX126" fmla="*/ 334448 w 700288"/>
                    <a:gd name="connsiteY126" fmla="*/ 673726 h 694251"/>
                    <a:gd name="connsiteX127" fmla="*/ 333845 w 700288"/>
                    <a:gd name="connsiteY127" fmla="*/ 667085 h 694251"/>
                    <a:gd name="connsiteX128" fmla="*/ 331430 w 700288"/>
                    <a:gd name="connsiteY128" fmla="*/ 662860 h 694251"/>
                    <a:gd name="connsiteX129" fmla="*/ 321167 w 700288"/>
                    <a:gd name="connsiteY129" fmla="*/ 659841 h 694251"/>
                    <a:gd name="connsiteX130" fmla="*/ 318149 w 700288"/>
                    <a:gd name="connsiteY130" fmla="*/ 657426 h 694251"/>
                    <a:gd name="connsiteX131" fmla="*/ 315734 w 700288"/>
                    <a:gd name="connsiteY131" fmla="*/ 652597 h 694251"/>
                    <a:gd name="connsiteX132" fmla="*/ 321771 w 700288"/>
                    <a:gd name="connsiteY132" fmla="*/ 648974 h 694251"/>
                    <a:gd name="connsiteX133" fmla="*/ 325393 w 700288"/>
                    <a:gd name="connsiteY133" fmla="*/ 644749 h 694251"/>
                    <a:gd name="connsiteX134" fmla="*/ 326600 w 700288"/>
                    <a:gd name="connsiteY134" fmla="*/ 635693 h 694251"/>
                    <a:gd name="connsiteX135" fmla="*/ 324185 w 700288"/>
                    <a:gd name="connsiteY135" fmla="*/ 632071 h 694251"/>
                    <a:gd name="connsiteX136" fmla="*/ 324789 w 700288"/>
                    <a:gd name="connsiteY136" fmla="*/ 623619 h 694251"/>
                    <a:gd name="connsiteX137" fmla="*/ 318752 w 700288"/>
                    <a:gd name="connsiteY137" fmla="*/ 619393 h 694251"/>
                    <a:gd name="connsiteX138" fmla="*/ 313923 w 700288"/>
                    <a:gd name="connsiteY138" fmla="*/ 613356 h 694251"/>
                    <a:gd name="connsiteX139" fmla="*/ 309093 w 700288"/>
                    <a:gd name="connsiteY139" fmla="*/ 610338 h 694251"/>
                    <a:gd name="connsiteX140" fmla="*/ 302452 w 700288"/>
                    <a:gd name="connsiteY140" fmla="*/ 609131 h 694251"/>
                    <a:gd name="connsiteX141" fmla="*/ 295812 w 700288"/>
                    <a:gd name="connsiteY141" fmla="*/ 610942 h 694251"/>
                    <a:gd name="connsiteX142" fmla="*/ 294001 w 700288"/>
                    <a:gd name="connsiteY142" fmla="*/ 604905 h 694251"/>
                    <a:gd name="connsiteX143" fmla="*/ 290378 w 700288"/>
                    <a:gd name="connsiteY143" fmla="*/ 602490 h 694251"/>
                    <a:gd name="connsiteX144" fmla="*/ 292793 w 700288"/>
                    <a:gd name="connsiteY144" fmla="*/ 599471 h 694251"/>
                    <a:gd name="connsiteX145" fmla="*/ 292793 w 700288"/>
                    <a:gd name="connsiteY145" fmla="*/ 593434 h 694251"/>
                    <a:gd name="connsiteX146" fmla="*/ 286756 w 700288"/>
                    <a:gd name="connsiteY146" fmla="*/ 595245 h 694251"/>
                    <a:gd name="connsiteX147" fmla="*/ 283134 w 700288"/>
                    <a:gd name="connsiteY147" fmla="*/ 594038 h 694251"/>
                    <a:gd name="connsiteX148" fmla="*/ 281323 w 700288"/>
                    <a:gd name="connsiteY148" fmla="*/ 589812 h 694251"/>
                    <a:gd name="connsiteX149" fmla="*/ 278304 w 700288"/>
                    <a:gd name="connsiteY149" fmla="*/ 588001 h 694251"/>
                    <a:gd name="connsiteX150" fmla="*/ 277701 w 700288"/>
                    <a:gd name="connsiteY150" fmla="*/ 583775 h 694251"/>
                    <a:gd name="connsiteX151" fmla="*/ 272871 w 700288"/>
                    <a:gd name="connsiteY151" fmla="*/ 573512 h 694251"/>
                    <a:gd name="connsiteX152" fmla="*/ 262608 w 700288"/>
                    <a:gd name="connsiteY152" fmla="*/ 580153 h 694251"/>
                    <a:gd name="connsiteX153" fmla="*/ 256571 w 700288"/>
                    <a:gd name="connsiteY153" fmla="*/ 575927 h 694251"/>
                    <a:gd name="connsiteX154" fmla="*/ 253553 w 700288"/>
                    <a:gd name="connsiteY154" fmla="*/ 571098 h 694251"/>
                    <a:gd name="connsiteX155" fmla="*/ 253553 w 700288"/>
                    <a:gd name="connsiteY155" fmla="*/ 565664 h 694251"/>
                    <a:gd name="connsiteX156" fmla="*/ 245705 w 700288"/>
                    <a:gd name="connsiteY156" fmla="*/ 571701 h 694251"/>
                    <a:gd name="connsiteX157" fmla="*/ 240875 w 700288"/>
                    <a:gd name="connsiteY157" fmla="*/ 565664 h 694251"/>
                    <a:gd name="connsiteX158" fmla="*/ 236649 w 700288"/>
                    <a:gd name="connsiteY158" fmla="*/ 563250 h 694251"/>
                    <a:gd name="connsiteX159" fmla="*/ 233631 w 700288"/>
                    <a:gd name="connsiteY159" fmla="*/ 557816 h 694251"/>
                    <a:gd name="connsiteX160" fmla="*/ 230009 w 700288"/>
                    <a:gd name="connsiteY160" fmla="*/ 555401 h 694251"/>
                    <a:gd name="connsiteX161" fmla="*/ 224575 w 700288"/>
                    <a:gd name="connsiteY161" fmla="*/ 556005 h 694251"/>
                    <a:gd name="connsiteX162" fmla="*/ 221557 w 700288"/>
                    <a:gd name="connsiteY162" fmla="*/ 553590 h 694251"/>
                    <a:gd name="connsiteX163" fmla="*/ 212501 w 700288"/>
                    <a:gd name="connsiteY163" fmla="*/ 548157 h 694251"/>
                    <a:gd name="connsiteX164" fmla="*/ 213105 w 700288"/>
                    <a:gd name="connsiteY164" fmla="*/ 543931 h 694251"/>
                    <a:gd name="connsiteX165" fmla="*/ 210087 w 700288"/>
                    <a:gd name="connsiteY165" fmla="*/ 536083 h 694251"/>
                    <a:gd name="connsiteX166" fmla="*/ 212501 w 700288"/>
                    <a:gd name="connsiteY166" fmla="*/ 534272 h 694251"/>
                    <a:gd name="connsiteX167" fmla="*/ 211294 w 700288"/>
                    <a:gd name="connsiteY167" fmla="*/ 530046 h 694251"/>
                    <a:gd name="connsiteX168" fmla="*/ 215520 w 700288"/>
                    <a:gd name="connsiteY168" fmla="*/ 522198 h 694251"/>
                    <a:gd name="connsiteX169" fmla="*/ 208276 w 700288"/>
                    <a:gd name="connsiteY169" fmla="*/ 517972 h 694251"/>
                    <a:gd name="connsiteX170" fmla="*/ 210087 w 700288"/>
                    <a:gd name="connsiteY170" fmla="*/ 512539 h 694251"/>
                    <a:gd name="connsiteX171" fmla="*/ 208276 w 700288"/>
                    <a:gd name="connsiteY171" fmla="*/ 511332 h 694251"/>
                    <a:gd name="connsiteX172" fmla="*/ 208276 w 700288"/>
                    <a:gd name="connsiteY172" fmla="*/ 504691 h 694251"/>
                    <a:gd name="connsiteX173" fmla="*/ 213105 w 700288"/>
                    <a:gd name="connsiteY173" fmla="*/ 499861 h 694251"/>
                    <a:gd name="connsiteX174" fmla="*/ 217935 w 700288"/>
                    <a:gd name="connsiteY174" fmla="*/ 497446 h 694251"/>
                    <a:gd name="connsiteX175" fmla="*/ 213709 w 700288"/>
                    <a:gd name="connsiteY175" fmla="*/ 493824 h 694251"/>
                    <a:gd name="connsiteX176" fmla="*/ 207672 w 700288"/>
                    <a:gd name="connsiteY176" fmla="*/ 496843 h 694251"/>
                    <a:gd name="connsiteX177" fmla="*/ 205257 w 700288"/>
                    <a:gd name="connsiteY177" fmla="*/ 494428 h 694251"/>
                    <a:gd name="connsiteX178" fmla="*/ 210690 w 700288"/>
                    <a:gd name="connsiteY178" fmla="*/ 488391 h 694251"/>
                    <a:gd name="connsiteX179" fmla="*/ 204653 w 700288"/>
                    <a:gd name="connsiteY179" fmla="*/ 481147 h 694251"/>
                    <a:gd name="connsiteX180" fmla="*/ 199220 w 700288"/>
                    <a:gd name="connsiteY180" fmla="*/ 487184 h 694251"/>
                    <a:gd name="connsiteX181" fmla="*/ 191976 w 700288"/>
                    <a:gd name="connsiteY181" fmla="*/ 481147 h 694251"/>
                    <a:gd name="connsiteX182" fmla="*/ 187750 w 700288"/>
                    <a:gd name="connsiteY182" fmla="*/ 482958 h 694251"/>
                    <a:gd name="connsiteX183" fmla="*/ 182920 w 700288"/>
                    <a:gd name="connsiteY183" fmla="*/ 473902 h 694251"/>
                    <a:gd name="connsiteX184" fmla="*/ 179298 w 700288"/>
                    <a:gd name="connsiteY184" fmla="*/ 475110 h 694251"/>
                    <a:gd name="connsiteX185" fmla="*/ 175072 w 700288"/>
                    <a:gd name="connsiteY185" fmla="*/ 470280 h 694251"/>
                    <a:gd name="connsiteX186" fmla="*/ 167224 w 700288"/>
                    <a:gd name="connsiteY186" fmla="*/ 457602 h 694251"/>
                    <a:gd name="connsiteX187" fmla="*/ 167224 w 700288"/>
                    <a:gd name="connsiteY187" fmla="*/ 453377 h 694251"/>
                    <a:gd name="connsiteX188" fmla="*/ 161791 w 700288"/>
                    <a:gd name="connsiteY188" fmla="*/ 442510 h 694251"/>
                    <a:gd name="connsiteX189" fmla="*/ 160583 w 700288"/>
                    <a:gd name="connsiteY189" fmla="*/ 448547 h 694251"/>
                    <a:gd name="connsiteX190" fmla="*/ 158169 w 700288"/>
                    <a:gd name="connsiteY190" fmla="*/ 450962 h 694251"/>
                    <a:gd name="connsiteX191" fmla="*/ 152132 w 700288"/>
                    <a:gd name="connsiteY191" fmla="*/ 452169 h 694251"/>
                    <a:gd name="connsiteX192" fmla="*/ 152132 w 700288"/>
                    <a:gd name="connsiteY192" fmla="*/ 456999 h 694251"/>
                    <a:gd name="connsiteX193" fmla="*/ 154547 w 700288"/>
                    <a:gd name="connsiteY193" fmla="*/ 457602 h 694251"/>
                    <a:gd name="connsiteX194" fmla="*/ 155150 w 700288"/>
                    <a:gd name="connsiteY194" fmla="*/ 465450 h 694251"/>
                    <a:gd name="connsiteX195" fmla="*/ 147906 w 700288"/>
                    <a:gd name="connsiteY195" fmla="*/ 466658 h 694251"/>
                    <a:gd name="connsiteX196" fmla="*/ 149113 w 700288"/>
                    <a:gd name="connsiteY196" fmla="*/ 470280 h 694251"/>
                    <a:gd name="connsiteX197" fmla="*/ 146699 w 700288"/>
                    <a:gd name="connsiteY197" fmla="*/ 472695 h 694251"/>
                    <a:gd name="connsiteX198" fmla="*/ 140662 w 700288"/>
                    <a:gd name="connsiteY198" fmla="*/ 475110 h 694251"/>
                    <a:gd name="connsiteX199" fmla="*/ 139454 w 700288"/>
                    <a:gd name="connsiteY199" fmla="*/ 473299 h 694251"/>
                    <a:gd name="connsiteX200" fmla="*/ 132813 w 700288"/>
                    <a:gd name="connsiteY200" fmla="*/ 473299 h 694251"/>
                    <a:gd name="connsiteX201" fmla="*/ 129191 w 700288"/>
                    <a:gd name="connsiteY201" fmla="*/ 475110 h 694251"/>
                    <a:gd name="connsiteX202" fmla="*/ 122551 w 700288"/>
                    <a:gd name="connsiteY202" fmla="*/ 475110 h 694251"/>
                    <a:gd name="connsiteX203" fmla="*/ 121343 w 700288"/>
                    <a:gd name="connsiteY203" fmla="*/ 466658 h 694251"/>
                    <a:gd name="connsiteX204" fmla="*/ 115306 w 700288"/>
                    <a:gd name="connsiteY204" fmla="*/ 463639 h 694251"/>
                    <a:gd name="connsiteX205" fmla="*/ 114702 w 700288"/>
                    <a:gd name="connsiteY205" fmla="*/ 456999 h 694251"/>
                    <a:gd name="connsiteX206" fmla="*/ 118928 w 700288"/>
                    <a:gd name="connsiteY206" fmla="*/ 451566 h 694251"/>
                    <a:gd name="connsiteX207" fmla="*/ 116514 w 700288"/>
                    <a:gd name="connsiteY207" fmla="*/ 444925 h 694251"/>
                    <a:gd name="connsiteX208" fmla="*/ 113495 w 700288"/>
                    <a:gd name="connsiteY208" fmla="*/ 441906 h 694251"/>
                    <a:gd name="connsiteX209" fmla="*/ 109269 w 700288"/>
                    <a:gd name="connsiteY209" fmla="*/ 429229 h 694251"/>
                    <a:gd name="connsiteX210" fmla="*/ 105647 w 700288"/>
                    <a:gd name="connsiteY210" fmla="*/ 423795 h 694251"/>
                    <a:gd name="connsiteX211" fmla="*/ 103836 w 700288"/>
                    <a:gd name="connsiteY211" fmla="*/ 419570 h 694251"/>
                    <a:gd name="connsiteX212" fmla="*/ 95988 w 700288"/>
                    <a:gd name="connsiteY212" fmla="*/ 406288 h 694251"/>
                    <a:gd name="connsiteX213" fmla="*/ 95988 w 700288"/>
                    <a:gd name="connsiteY213" fmla="*/ 403270 h 694251"/>
                    <a:gd name="connsiteX214" fmla="*/ 91762 w 700288"/>
                    <a:gd name="connsiteY214" fmla="*/ 400251 h 694251"/>
                    <a:gd name="connsiteX215" fmla="*/ 87536 w 700288"/>
                    <a:gd name="connsiteY215" fmla="*/ 393007 h 694251"/>
                    <a:gd name="connsiteX216" fmla="*/ 87536 w 700288"/>
                    <a:gd name="connsiteY216" fmla="*/ 388781 h 694251"/>
                    <a:gd name="connsiteX217" fmla="*/ 85725 w 700288"/>
                    <a:gd name="connsiteY217" fmla="*/ 384555 h 694251"/>
                    <a:gd name="connsiteX218" fmla="*/ 82103 w 700288"/>
                    <a:gd name="connsiteY218" fmla="*/ 380933 h 694251"/>
                    <a:gd name="connsiteX219" fmla="*/ 82103 w 700288"/>
                    <a:gd name="connsiteY219" fmla="*/ 378518 h 694251"/>
                    <a:gd name="connsiteX220" fmla="*/ 75462 w 700288"/>
                    <a:gd name="connsiteY220" fmla="*/ 360407 h 694251"/>
                    <a:gd name="connsiteX221" fmla="*/ 73651 w 700288"/>
                    <a:gd name="connsiteY221" fmla="*/ 359200 h 694251"/>
                    <a:gd name="connsiteX222" fmla="*/ 70633 w 700288"/>
                    <a:gd name="connsiteY222" fmla="*/ 351352 h 694251"/>
                    <a:gd name="connsiteX223" fmla="*/ 77273 w 700288"/>
                    <a:gd name="connsiteY223" fmla="*/ 350144 h 694251"/>
                    <a:gd name="connsiteX224" fmla="*/ 76670 w 700288"/>
                    <a:gd name="connsiteY224" fmla="*/ 344107 h 694251"/>
                    <a:gd name="connsiteX225" fmla="*/ 65199 w 700288"/>
                    <a:gd name="connsiteY225" fmla="*/ 319356 h 694251"/>
                    <a:gd name="connsiteX226" fmla="*/ 59162 w 700288"/>
                    <a:gd name="connsiteY226" fmla="*/ 314526 h 694251"/>
                    <a:gd name="connsiteX227" fmla="*/ 53125 w 700288"/>
                    <a:gd name="connsiteY227" fmla="*/ 311508 h 694251"/>
                    <a:gd name="connsiteX228" fmla="*/ 44674 w 700288"/>
                    <a:gd name="connsiteY228" fmla="*/ 309697 h 694251"/>
                    <a:gd name="connsiteX229" fmla="*/ 40448 w 700288"/>
                    <a:gd name="connsiteY229" fmla="*/ 306678 h 694251"/>
                    <a:gd name="connsiteX230" fmla="*/ 31996 w 700288"/>
                    <a:gd name="connsiteY230" fmla="*/ 298226 h 694251"/>
                    <a:gd name="connsiteX231" fmla="*/ 27166 w 700288"/>
                    <a:gd name="connsiteY231" fmla="*/ 298226 h 694251"/>
                    <a:gd name="connsiteX232" fmla="*/ 23544 w 700288"/>
                    <a:gd name="connsiteY232" fmla="*/ 292793 h 694251"/>
                    <a:gd name="connsiteX233" fmla="*/ 14489 w 700288"/>
                    <a:gd name="connsiteY233" fmla="*/ 288567 h 694251"/>
                    <a:gd name="connsiteX234" fmla="*/ 4226 w 700288"/>
                    <a:gd name="connsiteY234" fmla="*/ 290982 h 694251"/>
                    <a:gd name="connsiteX235" fmla="*/ 0 w 700288"/>
                    <a:gd name="connsiteY235" fmla="*/ 287360 h 694251"/>
                    <a:gd name="connsiteX236" fmla="*/ 6641 w 700288"/>
                    <a:gd name="connsiteY236" fmla="*/ 283134 h 694251"/>
                    <a:gd name="connsiteX237" fmla="*/ 15696 w 700288"/>
                    <a:gd name="connsiteY237" fmla="*/ 271664 h 694251"/>
                    <a:gd name="connsiteX238" fmla="*/ 16904 w 700288"/>
                    <a:gd name="connsiteY238" fmla="*/ 266834 h 694251"/>
                    <a:gd name="connsiteX239" fmla="*/ 15696 w 700288"/>
                    <a:gd name="connsiteY239" fmla="*/ 264419 h 694251"/>
                    <a:gd name="connsiteX240" fmla="*/ 8452 w 700288"/>
                    <a:gd name="connsiteY240" fmla="*/ 262005 h 694251"/>
                    <a:gd name="connsiteX241" fmla="*/ 9055 w 700288"/>
                    <a:gd name="connsiteY241" fmla="*/ 249931 h 694251"/>
                    <a:gd name="connsiteX242" fmla="*/ 15092 w 700288"/>
                    <a:gd name="connsiteY242" fmla="*/ 245101 h 694251"/>
                    <a:gd name="connsiteX243" fmla="*/ 19922 w 700288"/>
                    <a:gd name="connsiteY243" fmla="*/ 242686 h 694251"/>
                    <a:gd name="connsiteX244" fmla="*/ 32600 w 700288"/>
                    <a:gd name="connsiteY244" fmla="*/ 240272 h 694251"/>
                    <a:gd name="connsiteX245" fmla="*/ 36222 w 700288"/>
                    <a:gd name="connsiteY245" fmla="*/ 237253 h 694251"/>
                    <a:gd name="connsiteX246" fmla="*/ 38033 w 700288"/>
                    <a:gd name="connsiteY246" fmla="*/ 233631 h 694251"/>
                    <a:gd name="connsiteX247" fmla="*/ 54333 w 700288"/>
                    <a:gd name="connsiteY247" fmla="*/ 214916 h 694251"/>
                    <a:gd name="connsiteX248" fmla="*/ 60370 w 700288"/>
                    <a:gd name="connsiteY248" fmla="*/ 210087 h 694251"/>
                    <a:gd name="connsiteX249" fmla="*/ 71236 w 700288"/>
                    <a:gd name="connsiteY249" fmla="*/ 207068 h 694251"/>
                    <a:gd name="connsiteX250" fmla="*/ 73047 w 700288"/>
                    <a:gd name="connsiteY250" fmla="*/ 203446 h 694251"/>
                    <a:gd name="connsiteX251" fmla="*/ 69425 w 700288"/>
                    <a:gd name="connsiteY251" fmla="*/ 198013 h 694251"/>
                    <a:gd name="connsiteX252" fmla="*/ 56748 w 700288"/>
                    <a:gd name="connsiteY252" fmla="*/ 185335 h 694251"/>
                    <a:gd name="connsiteX253" fmla="*/ 56144 w 700288"/>
                    <a:gd name="connsiteY253" fmla="*/ 179902 h 694251"/>
                    <a:gd name="connsiteX254" fmla="*/ 57351 w 700288"/>
                    <a:gd name="connsiteY254" fmla="*/ 176280 h 694251"/>
                    <a:gd name="connsiteX255" fmla="*/ 57955 w 700288"/>
                    <a:gd name="connsiteY255" fmla="*/ 174468 h 694251"/>
                    <a:gd name="connsiteX256" fmla="*/ 59766 w 700288"/>
                    <a:gd name="connsiteY256" fmla="*/ 170846 h 694251"/>
                    <a:gd name="connsiteX257" fmla="*/ 60370 w 700288"/>
                    <a:gd name="connsiteY257" fmla="*/ 166620 h 694251"/>
                    <a:gd name="connsiteX258" fmla="*/ 67614 w 700288"/>
                    <a:gd name="connsiteY258" fmla="*/ 156358 h 694251"/>
                    <a:gd name="connsiteX259" fmla="*/ 71236 w 700288"/>
                    <a:gd name="connsiteY259" fmla="*/ 150321 h 694251"/>
                    <a:gd name="connsiteX260" fmla="*/ 71236 w 700288"/>
                    <a:gd name="connsiteY260" fmla="*/ 146698 h 694251"/>
                    <a:gd name="connsiteX261" fmla="*/ 65803 w 700288"/>
                    <a:gd name="connsiteY261" fmla="*/ 141265 h 694251"/>
                    <a:gd name="connsiteX262" fmla="*/ 65803 w 700288"/>
                    <a:gd name="connsiteY262" fmla="*/ 136436 h 694251"/>
                    <a:gd name="connsiteX263" fmla="*/ 68218 w 700288"/>
                    <a:gd name="connsiteY263" fmla="*/ 131002 h 694251"/>
                    <a:gd name="connsiteX264" fmla="*/ 68821 w 700288"/>
                    <a:gd name="connsiteY264" fmla="*/ 122551 h 694251"/>
                    <a:gd name="connsiteX265" fmla="*/ 66407 w 700288"/>
                    <a:gd name="connsiteY265" fmla="*/ 118928 h 694251"/>
                    <a:gd name="connsiteX266" fmla="*/ 60973 w 700288"/>
                    <a:gd name="connsiteY266" fmla="*/ 108665 h 694251"/>
                    <a:gd name="connsiteX267" fmla="*/ 53125 w 700288"/>
                    <a:gd name="connsiteY267" fmla="*/ 102629 h 694251"/>
                    <a:gd name="connsiteX268" fmla="*/ 50107 w 700288"/>
                    <a:gd name="connsiteY268" fmla="*/ 101421 h 694251"/>
                    <a:gd name="connsiteX269" fmla="*/ 44674 w 700288"/>
                    <a:gd name="connsiteY269" fmla="*/ 94780 h 694251"/>
                    <a:gd name="connsiteX270" fmla="*/ 42863 w 700288"/>
                    <a:gd name="connsiteY270" fmla="*/ 88743 h 694251"/>
                    <a:gd name="connsiteX271" fmla="*/ 45277 w 700288"/>
                    <a:gd name="connsiteY271" fmla="*/ 86329 h 694251"/>
                    <a:gd name="connsiteX272" fmla="*/ 45277 w 700288"/>
                    <a:gd name="connsiteY272" fmla="*/ 82706 h 694251"/>
                    <a:gd name="connsiteX273" fmla="*/ 47088 w 700288"/>
                    <a:gd name="connsiteY273" fmla="*/ 79688 h 694251"/>
                    <a:gd name="connsiteX274" fmla="*/ 52522 w 700288"/>
                    <a:gd name="connsiteY274" fmla="*/ 78481 h 694251"/>
                    <a:gd name="connsiteX275" fmla="*/ 54333 w 700288"/>
                    <a:gd name="connsiteY275" fmla="*/ 79084 h 694251"/>
                    <a:gd name="connsiteX276" fmla="*/ 56144 w 700288"/>
                    <a:gd name="connsiteY276" fmla="*/ 79688 h 694251"/>
                    <a:gd name="connsiteX277" fmla="*/ 59162 w 700288"/>
                    <a:gd name="connsiteY277" fmla="*/ 79688 h 694251"/>
                    <a:gd name="connsiteX278" fmla="*/ 66407 w 700288"/>
                    <a:gd name="connsiteY278" fmla="*/ 83310 h 694251"/>
                    <a:gd name="connsiteX279" fmla="*/ 73047 w 700288"/>
                    <a:gd name="connsiteY279" fmla="*/ 91158 h 694251"/>
                    <a:gd name="connsiteX280" fmla="*/ 75462 w 700288"/>
                    <a:gd name="connsiteY280" fmla="*/ 91158 h 694251"/>
                    <a:gd name="connsiteX281" fmla="*/ 76066 w 700288"/>
                    <a:gd name="connsiteY281" fmla="*/ 90555 h 694251"/>
                    <a:gd name="connsiteX282" fmla="*/ 83310 w 700288"/>
                    <a:gd name="connsiteY282" fmla="*/ 86932 h 694251"/>
                    <a:gd name="connsiteX283" fmla="*/ 90555 w 700288"/>
                    <a:gd name="connsiteY283" fmla="*/ 82706 h 694251"/>
                    <a:gd name="connsiteX284" fmla="*/ 92366 w 700288"/>
                    <a:gd name="connsiteY284" fmla="*/ 77877 h 694251"/>
                    <a:gd name="connsiteX285" fmla="*/ 95384 w 700288"/>
                    <a:gd name="connsiteY285" fmla="*/ 77273 h 694251"/>
                    <a:gd name="connsiteX286" fmla="*/ 103836 w 700288"/>
                    <a:gd name="connsiteY286" fmla="*/ 70029 h 694251"/>
                    <a:gd name="connsiteX287" fmla="*/ 106251 w 700288"/>
                    <a:gd name="connsiteY287" fmla="*/ 61577 h 694251"/>
                    <a:gd name="connsiteX288" fmla="*/ 113495 w 700288"/>
                    <a:gd name="connsiteY288" fmla="*/ 60370 h 694251"/>
                    <a:gd name="connsiteX289" fmla="*/ 118325 w 700288"/>
                    <a:gd name="connsiteY289" fmla="*/ 56748 h 694251"/>
                    <a:gd name="connsiteX290" fmla="*/ 135832 w 700288"/>
                    <a:gd name="connsiteY290" fmla="*/ 54936 h 694251"/>
                    <a:gd name="connsiteX291" fmla="*/ 139454 w 700288"/>
                    <a:gd name="connsiteY291" fmla="*/ 49503 h 694251"/>
                    <a:gd name="connsiteX292" fmla="*/ 143680 w 700288"/>
                    <a:gd name="connsiteY292" fmla="*/ 36825 h 694251"/>
                    <a:gd name="connsiteX293" fmla="*/ 146699 w 700288"/>
                    <a:gd name="connsiteY293" fmla="*/ 33203 h 694251"/>
                    <a:gd name="connsiteX294" fmla="*/ 152132 w 700288"/>
                    <a:gd name="connsiteY294" fmla="*/ 30789 h 694251"/>
                    <a:gd name="connsiteX295" fmla="*/ 155754 w 700288"/>
                    <a:gd name="connsiteY295" fmla="*/ 26563 h 694251"/>
                    <a:gd name="connsiteX296" fmla="*/ 160583 w 700288"/>
                    <a:gd name="connsiteY296" fmla="*/ 24148 h 694251"/>
                    <a:gd name="connsiteX297" fmla="*/ 166017 w 700288"/>
                    <a:gd name="connsiteY297" fmla="*/ 17507 h 694251"/>
                    <a:gd name="connsiteX298" fmla="*/ 170846 w 700288"/>
                    <a:gd name="connsiteY298" fmla="*/ 16300 h 694251"/>
                    <a:gd name="connsiteX299" fmla="*/ 172054 w 700288"/>
                    <a:gd name="connsiteY299" fmla="*/ 16904 h 694251"/>
                    <a:gd name="connsiteX300" fmla="*/ 173865 w 700288"/>
                    <a:gd name="connsiteY300" fmla="*/ 18111 h 694251"/>
                    <a:gd name="connsiteX301" fmla="*/ 177487 w 700288"/>
                    <a:gd name="connsiteY301" fmla="*/ 18111 h 694251"/>
                    <a:gd name="connsiteX302" fmla="*/ 178091 w 700288"/>
                    <a:gd name="connsiteY302" fmla="*/ 18111 h 694251"/>
                    <a:gd name="connsiteX303" fmla="*/ 179902 w 700288"/>
                    <a:gd name="connsiteY303" fmla="*/ 17507 h 694251"/>
                    <a:gd name="connsiteX304" fmla="*/ 180505 w 700288"/>
                    <a:gd name="connsiteY304" fmla="*/ 17507 h 694251"/>
                    <a:gd name="connsiteX305" fmla="*/ 183524 w 700288"/>
                    <a:gd name="connsiteY305" fmla="*/ 18111 h 694251"/>
                    <a:gd name="connsiteX306" fmla="*/ 188957 w 700288"/>
                    <a:gd name="connsiteY306" fmla="*/ 14489 h 694251"/>
                    <a:gd name="connsiteX307" fmla="*/ 192579 w 700288"/>
                    <a:gd name="connsiteY307" fmla="*/ 14489 h 694251"/>
                    <a:gd name="connsiteX308" fmla="*/ 196805 w 700288"/>
                    <a:gd name="connsiteY308" fmla="*/ 13885 h 694251"/>
                    <a:gd name="connsiteX309" fmla="*/ 197409 w 700288"/>
                    <a:gd name="connsiteY309" fmla="*/ 13281 h 694251"/>
                    <a:gd name="connsiteX310" fmla="*/ 199824 w 700288"/>
                    <a:gd name="connsiteY310" fmla="*/ 10867 h 694251"/>
                    <a:gd name="connsiteX311" fmla="*/ 201635 w 700288"/>
                    <a:gd name="connsiteY311" fmla="*/ 11470 h 694251"/>
                    <a:gd name="connsiteX312" fmla="*/ 202239 w 700288"/>
                    <a:gd name="connsiteY312" fmla="*/ 12074 h 694251"/>
                    <a:gd name="connsiteX313" fmla="*/ 202842 w 700288"/>
                    <a:gd name="connsiteY313" fmla="*/ 12074 h 694251"/>
                    <a:gd name="connsiteX314" fmla="*/ 204050 w 700288"/>
                    <a:gd name="connsiteY314" fmla="*/ 11470 h 694251"/>
                    <a:gd name="connsiteX315" fmla="*/ 207672 w 700288"/>
                    <a:gd name="connsiteY315" fmla="*/ 12678 h 694251"/>
                    <a:gd name="connsiteX316" fmla="*/ 210690 w 700288"/>
                    <a:gd name="connsiteY316" fmla="*/ 19922 h 694251"/>
                    <a:gd name="connsiteX317" fmla="*/ 216124 w 700288"/>
                    <a:gd name="connsiteY317" fmla="*/ 22941 h 694251"/>
                    <a:gd name="connsiteX318" fmla="*/ 217935 w 700288"/>
                    <a:gd name="connsiteY318" fmla="*/ 22337 h 694251"/>
                    <a:gd name="connsiteX319" fmla="*/ 219142 w 700288"/>
                    <a:gd name="connsiteY319" fmla="*/ 22337 h 694251"/>
                    <a:gd name="connsiteX320" fmla="*/ 220953 w 700288"/>
                    <a:gd name="connsiteY320" fmla="*/ 20526 h 694251"/>
                    <a:gd name="connsiteX321" fmla="*/ 228198 w 700288"/>
                    <a:gd name="connsiteY321" fmla="*/ 19922 h 694251"/>
                    <a:gd name="connsiteX322" fmla="*/ 230612 w 700288"/>
                    <a:gd name="connsiteY322" fmla="*/ 18111 h 694251"/>
                    <a:gd name="connsiteX323" fmla="*/ 233027 w 700288"/>
                    <a:gd name="connsiteY323" fmla="*/ 18111 h 694251"/>
                    <a:gd name="connsiteX324" fmla="*/ 233631 w 700288"/>
                    <a:gd name="connsiteY324" fmla="*/ 18111 h 694251"/>
                    <a:gd name="connsiteX325" fmla="*/ 234235 w 700288"/>
                    <a:gd name="connsiteY325" fmla="*/ 18715 h 694251"/>
                    <a:gd name="connsiteX326" fmla="*/ 236046 w 700288"/>
                    <a:gd name="connsiteY326" fmla="*/ 18715 h 694251"/>
                    <a:gd name="connsiteX327" fmla="*/ 237253 w 700288"/>
                    <a:gd name="connsiteY327" fmla="*/ 18715 h 694251"/>
                    <a:gd name="connsiteX328" fmla="*/ 243290 w 700288"/>
                    <a:gd name="connsiteY328" fmla="*/ 7244 h 694251"/>
                    <a:gd name="connsiteX329" fmla="*/ 244497 w 700288"/>
                    <a:gd name="connsiteY329" fmla="*/ 0 h 694251"/>
                    <a:gd name="connsiteX330" fmla="*/ 247516 w 700288"/>
                    <a:gd name="connsiteY330" fmla="*/ 0 h 694251"/>
                    <a:gd name="connsiteX331" fmla="*/ 248723 w 700288"/>
                    <a:gd name="connsiteY331" fmla="*/ 0 h 694251"/>
                    <a:gd name="connsiteX332" fmla="*/ 251138 w 700288"/>
                    <a:gd name="connsiteY332" fmla="*/ 3018 h 694251"/>
                    <a:gd name="connsiteX333" fmla="*/ 252949 w 700288"/>
                    <a:gd name="connsiteY333" fmla="*/ 4226 h 694251"/>
                    <a:gd name="connsiteX334" fmla="*/ 253553 w 700288"/>
                    <a:gd name="connsiteY334" fmla="*/ 2415 h 694251"/>
                    <a:gd name="connsiteX335" fmla="*/ 253553 w 700288"/>
                    <a:gd name="connsiteY335" fmla="*/ 2415 h 694251"/>
                    <a:gd name="connsiteX336" fmla="*/ 254760 w 700288"/>
                    <a:gd name="connsiteY336" fmla="*/ 1811 h 694251"/>
                    <a:gd name="connsiteX337" fmla="*/ 255968 w 700288"/>
                    <a:gd name="connsiteY337" fmla="*/ 1811 h 694251"/>
                    <a:gd name="connsiteX338" fmla="*/ 257779 w 700288"/>
                    <a:gd name="connsiteY338" fmla="*/ 1811 h 694251"/>
                    <a:gd name="connsiteX339" fmla="*/ 257779 w 700288"/>
                    <a:gd name="connsiteY339" fmla="*/ 2415 h 694251"/>
                    <a:gd name="connsiteX340" fmla="*/ 257779 w 700288"/>
                    <a:gd name="connsiteY340" fmla="*/ 3018 h 694251"/>
                    <a:gd name="connsiteX341" fmla="*/ 256571 w 700288"/>
                    <a:gd name="connsiteY341" fmla="*/ 4226 h 694251"/>
                    <a:gd name="connsiteX342" fmla="*/ 255364 w 700288"/>
                    <a:gd name="connsiteY342" fmla="*/ 6037 h 694251"/>
                    <a:gd name="connsiteX343" fmla="*/ 254157 w 700288"/>
                    <a:gd name="connsiteY343" fmla="*/ 9659 h 694251"/>
                    <a:gd name="connsiteX344" fmla="*/ 255364 w 700288"/>
                    <a:gd name="connsiteY344" fmla="*/ 12074 h 694251"/>
                    <a:gd name="connsiteX345" fmla="*/ 252346 w 700288"/>
                    <a:gd name="connsiteY345" fmla="*/ 15092 h 694251"/>
                    <a:gd name="connsiteX346" fmla="*/ 251138 w 700288"/>
                    <a:gd name="connsiteY346" fmla="*/ 19922 h 694251"/>
                    <a:gd name="connsiteX347" fmla="*/ 252346 w 700288"/>
                    <a:gd name="connsiteY347" fmla="*/ 24148 h 694251"/>
                    <a:gd name="connsiteX348" fmla="*/ 257779 w 700288"/>
                    <a:gd name="connsiteY348" fmla="*/ 28977 h 694251"/>
                    <a:gd name="connsiteX349" fmla="*/ 258986 w 700288"/>
                    <a:gd name="connsiteY349" fmla="*/ 33203 h 694251"/>
                    <a:gd name="connsiteX350" fmla="*/ 262608 w 700288"/>
                    <a:gd name="connsiteY350" fmla="*/ 35014 h 694251"/>
                    <a:gd name="connsiteX351" fmla="*/ 263212 w 700288"/>
                    <a:gd name="connsiteY351" fmla="*/ 34411 h 694251"/>
                    <a:gd name="connsiteX352" fmla="*/ 264419 w 700288"/>
                    <a:gd name="connsiteY352" fmla="*/ 33807 h 694251"/>
                    <a:gd name="connsiteX353" fmla="*/ 265627 w 700288"/>
                    <a:gd name="connsiteY353" fmla="*/ 33203 h 694251"/>
                    <a:gd name="connsiteX354" fmla="*/ 267438 w 700288"/>
                    <a:gd name="connsiteY354" fmla="*/ 34411 h 694251"/>
                    <a:gd name="connsiteX355" fmla="*/ 267438 w 700288"/>
                    <a:gd name="connsiteY355" fmla="*/ 36222 h 694251"/>
                    <a:gd name="connsiteX356" fmla="*/ 269249 w 700288"/>
                    <a:gd name="connsiteY356" fmla="*/ 38637 h 694251"/>
                    <a:gd name="connsiteX357" fmla="*/ 271060 w 700288"/>
                    <a:gd name="connsiteY357" fmla="*/ 39240 h 694251"/>
                    <a:gd name="connsiteX358" fmla="*/ 270456 w 700288"/>
                    <a:gd name="connsiteY358" fmla="*/ 42862 h 694251"/>
                    <a:gd name="connsiteX359" fmla="*/ 275890 w 700288"/>
                    <a:gd name="connsiteY359" fmla="*/ 54333 h 694251"/>
                    <a:gd name="connsiteX360" fmla="*/ 284945 w 700288"/>
                    <a:gd name="connsiteY360" fmla="*/ 59162 h 694251"/>
                    <a:gd name="connsiteX361" fmla="*/ 292793 w 700288"/>
                    <a:gd name="connsiteY361" fmla="*/ 65199 h 694251"/>
                    <a:gd name="connsiteX362" fmla="*/ 294604 w 700288"/>
                    <a:gd name="connsiteY362" fmla="*/ 64596 h 694251"/>
                    <a:gd name="connsiteX363" fmla="*/ 295208 w 700288"/>
                    <a:gd name="connsiteY363" fmla="*/ 64596 h 694251"/>
                    <a:gd name="connsiteX364" fmla="*/ 297019 w 700288"/>
                    <a:gd name="connsiteY364" fmla="*/ 64596 h 694251"/>
                    <a:gd name="connsiteX365" fmla="*/ 298226 w 700288"/>
                    <a:gd name="connsiteY365" fmla="*/ 63388 h 694251"/>
                    <a:gd name="connsiteX366" fmla="*/ 300038 w 700288"/>
                    <a:gd name="connsiteY366" fmla="*/ 62784 h 694251"/>
                    <a:gd name="connsiteX367" fmla="*/ 301849 w 700288"/>
                    <a:gd name="connsiteY367" fmla="*/ 63992 h 694251"/>
                    <a:gd name="connsiteX368" fmla="*/ 303660 w 700288"/>
                    <a:gd name="connsiteY368" fmla="*/ 65199 h 694251"/>
                    <a:gd name="connsiteX369" fmla="*/ 304867 w 700288"/>
                    <a:gd name="connsiteY369" fmla="*/ 65803 h 694251"/>
                    <a:gd name="connsiteX370" fmla="*/ 306678 w 700288"/>
                    <a:gd name="connsiteY370" fmla="*/ 66407 h 694251"/>
                    <a:gd name="connsiteX371" fmla="*/ 308489 w 700288"/>
                    <a:gd name="connsiteY371" fmla="*/ 69425 h 694251"/>
                    <a:gd name="connsiteX372" fmla="*/ 310300 w 700288"/>
                    <a:gd name="connsiteY372" fmla="*/ 69425 h 694251"/>
                    <a:gd name="connsiteX373" fmla="*/ 311508 w 700288"/>
                    <a:gd name="connsiteY373" fmla="*/ 68821 h 694251"/>
                    <a:gd name="connsiteX374" fmla="*/ 312715 w 700288"/>
                    <a:gd name="connsiteY374" fmla="*/ 68218 h 694251"/>
                    <a:gd name="connsiteX375" fmla="*/ 314526 w 700288"/>
                    <a:gd name="connsiteY375" fmla="*/ 65803 h 694251"/>
                    <a:gd name="connsiteX376" fmla="*/ 316337 w 700288"/>
                    <a:gd name="connsiteY376" fmla="*/ 66407 h 694251"/>
                    <a:gd name="connsiteX377" fmla="*/ 317545 w 700288"/>
                    <a:gd name="connsiteY377" fmla="*/ 67010 h 694251"/>
                    <a:gd name="connsiteX378" fmla="*/ 317545 w 700288"/>
                    <a:gd name="connsiteY378" fmla="*/ 67010 h 694251"/>
                    <a:gd name="connsiteX379" fmla="*/ 321167 w 700288"/>
                    <a:gd name="connsiteY379" fmla="*/ 67614 h 694251"/>
                    <a:gd name="connsiteX380" fmla="*/ 321167 w 700288"/>
                    <a:gd name="connsiteY380" fmla="*/ 73047 h 694251"/>
                    <a:gd name="connsiteX381" fmla="*/ 325393 w 700288"/>
                    <a:gd name="connsiteY381" fmla="*/ 83914 h 694251"/>
                    <a:gd name="connsiteX382" fmla="*/ 325997 w 700288"/>
                    <a:gd name="connsiteY382" fmla="*/ 83310 h 694251"/>
                    <a:gd name="connsiteX383" fmla="*/ 325997 w 700288"/>
                    <a:gd name="connsiteY383" fmla="*/ 82103 h 694251"/>
                    <a:gd name="connsiteX384" fmla="*/ 326600 w 700288"/>
                    <a:gd name="connsiteY384" fmla="*/ 80895 h 694251"/>
                    <a:gd name="connsiteX385" fmla="*/ 327204 w 700288"/>
                    <a:gd name="connsiteY385" fmla="*/ 80292 h 694251"/>
                    <a:gd name="connsiteX386" fmla="*/ 327204 w 700288"/>
                    <a:gd name="connsiteY386" fmla="*/ 80292 h 694251"/>
                    <a:gd name="connsiteX387" fmla="*/ 329015 w 700288"/>
                    <a:gd name="connsiteY387" fmla="*/ 79688 h 694251"/>
                    <a:gd name="connsiteX388" fmla="*/ 329619 w 700288"/>
                    <a:gd name="connsiteY388" fmla="*/ 82103 h 694251"/>
                    <a:gd name="connsiteX389" fmla="*/ 330222 w 700288"/>
                    <a:gd name="connsiteY389" fmla="*/ 83310 h 694251"/>
                    <a:gd name="connsiteX390" fmla="*/ 339882 w 700288"/>
                    <a:gd name="connsiteY390" fmla="*/ 88140 h 694251"/>
                    <a:gd name="connsiteX391" fmla="*/ 339278 w 700288"/>
                    <a:gd name="connsiteY391" fmla="*/ 91762 h 694251"/>
                    <a:gd name="connsiteX392" fmla="*/ 344107 w 700288"/>
                    <a:gd name="connsiteY392" fmla="*/ 95988 h 694251"/>
                    <a:gd name="connsiteX393" fmla="*/ 345315 w 700288"/>
                    <a:gd name="connsiteY393" fmla="*/ 94780 h 694251"/>
                    <a:gd name="connsiteX394" fmla="*/ 346522 w 700288"/>
                    <a:gd name="connsiteY394" fmla="*/ 92969 h 694251"/>
                    <a:gd name="connsiteX395" fmla="*/ 348333 w 700288"/>
                    <a:gd name="connsiteY395" fmla="*/ 94780 h 694251"/>
                    <a:gd name="connsiteX396" fmla="*/ 348937 w 700288"/>
                    <a:gd name="connsiteY396" fmla="*/ 95384 h 694251"/>
                    <a:gd name="connsiteX397" fmla="*/ 349541 w 700288"/>
                    <a:gd name="connsiteY397" fmla="*/ 97195 h 694251"/>
                    <a:gd name="connsiteX398" fmla="*/ 352559 w 700288"/>
                    <a:gd name="connsiteY398" fmla="*/ 99006 h 694251"/>
                    <a:gd name="connsiteX399" fmla="*/ 356181 w 700288"/>
                    <a:gd name="connsiteY399" fmla="*/ 98403 h 694251"/>
                    <a:gd name="connsiteX400" fmla="*/ 359200 w 700288"/>
                    <a:gd name="connsiteY400" fmla="*/ 106251 h 694251"/>
                    <a:gd name="connsiteX401" fmla="*/ 362218 w 700288"/>
                    <a:gd name="connsiteY401" fmla="*/ 106854 h 694251"/>
                    <a:gd name="connsiteX402" fmla="*/ 362822 w 700288"/>
                    <a:gd name="connsiteY402" fmla="*/ 106854 h 694251"/>
                    <a:gd name="connsiteX403" fmla="*/ 363426 w 700288"/>
                    <a:gd name="connsiteY403" fmla="*/ 106854 h 694251"/>
                    <a:gd name="connsiteX404" fmla="*/ 364633 w 700288"/>
                    <a:gd name="connsiteY404" fmla="*/ 106854 h 694251"/>
                    <a:gd name="connsiteX405" fmla="*/ 366444 w 700288"/>
                    <a:gd name="connsiteY405" fmla="*/ 105647 h 694251"/>
                    <a:gd name="connsiteX406" fmla="*/ 367048 w 700288"/>
                    <a:gd name="connsiteY406" fmla="*/ 97799 h 694251"/>
                    <a:gd name="connsiteX407" fmla="*/ 371274 w 700288"/>
                    <a:gd name="connsiteY407" fmla="*/ 91762 h 694251"/>
                    <a:gd name="connsiteX408" fmla="*/ 374292 w 700288"/>
                    <a:gd name="connsiteY408" fmla="*/ 90555 h 694251"/>
                    <a:gd name="connsiteX409" fmla="*/ 376103 w 700288"/>
                    <a:gd name="connsiteY409" fmla="*/ 91762 h 694251"/>
                    <a:gd name="connsiteX410" fmla="*/ 376103 w 700288"/>
                    <a:gd name="connsiteY410" fmla="*/ 91762 h 694251"/>
                    <a:gd name="connsiteX411" fmla="*/ 377311 w 700288"/>
                    <a:gd name="connsiteY411" fmla="*/ 92366 h 694251"/>
                    <a:gd name="connsiteX412" fmla="*/ 379122 w 700288"/>
                    <a:gd name="connsiteY412" fmla="*/ 92366 h 694251"/>
                    <a:gd name="connsiteX413" fmla="*/ 379726 w 700288"/>
                    <a:gd name="connsiteY413" fmla="*/ 92366 h 694251"/>
                    <a:gd name="connsiteX414" fmla="*/ 380933 w 700288"/>
                    <a:gd name="connsiteY414" fmla="*/ 91158 h 694251"/>
                    <a:gd name="connsiteX415" fmla="*/ 382140 w 700288"/>
                    <a:gd name="connsiteY415" fmla="*/ 92969 h 694251"/>
                    <a:gd name="connsiteX416" fmla="*/ 382140 w 700288"/>
                    <a:gd name="connsiteY416" fmla="*/ 94780 h 694251"/>
                    <a:gd name="connsiteX417" fmla="*/ 382744 w 700288"/>
                    <a:gd name="connsiteY417" fmla="*/ 95384 h 694251"/>
                    <a:gd name="connsiteX418" fmla="*/ 386970 w 700288"/>
                    <a:gd name="connsiteY418" fmla="*/ 96592 h 694251"/>
                    <a:gd name="connsiteX419" fmla="*/ 387574 w 700288"/>
                    <a:gd name="connsiteY419" fmla="*/ 95988 h 694251"/>
                    <a:gd name="connsiteX420" fmla="*/ 390592 w 700288"/>
                    <a:gd name="connsiteY420" fmla="*/ 92366 h 694251"/>
                    <a:gd name="connsiteX421" fmla="*/ 393007 w 700288"/>
                    <a:gd name="connsiteY421" fmla="*/ 90555 h 694251"/>
                    <a:gd name="connsiteX422" fmla="*/ 394818 w 700288"/>
                    <a:gd name="connsiteY422" fmla="*/ 91762 h 694251"/>
                    <a:gd name="connsiteX423" fmla="*/ 396025 w 700288"/>
                    <a:gd name="connsiteY423" fmla="*/ 91158 h 694251"/>
                    <a:gd name="connsiteX424" fmla="*/ 396629 w 700288"/>
                    <a:gd name="connsiteY424" fmla="*/ 91158 h 694251"/>
                    <a:gd name="connsiteX425" fmla="*/ 397233 w 700288"/>
                    <a:gd name="connsiteY425" fmla="*/ 91158 h 694251"/>
                    <a:gd name="connsiteX426" fmla="*/ 400251 w 700288"/>
                    <a:gd name="connsiteY426" fmla="*/ 90555 h 694251"/>
                    <a:gd name="connsiteX427" fmla="*/ 405081 w 700288"/>
                    <a:gd name="connsiteY427" fmla="*/ 84518 h 694251"/>
                    <a:gd name="connsiteX428" fmla="*/ 410514 w 700288"/>
                    <a:gd name="connsiteY428" fmla="*/ 82103 h 694251"/>
                    <a:gd name="connsiteX429" fmla="*/ 412929 w 700288"/>
                    <a:gd name="connsiteY429" fmla="*/ 77877 h 694251"/>
                    <a:gd name="connsiteX430" fmla="*/ 418966 w 700288"/>
                    <a:gd name="connsiteY430" fmla="*/ 77273 h 694251"/>
                    <a:gd name="connsiteX431" fmla="*/ 419570 w 700288"/>
                    <a:gd name="connsiteY431" fmla="*/ 77273 h 694251"/>
                    <a:gd name="connsiteX432" fmla="*/ 419570 w 700288"/>
                    <a:gd name="connsiteY432" fmla="*/ 77273 h 694251"/>
                    <a:gd name="connsiteX433" fmla="*/ 427418 w 700288"/>
                    <a:gd name="connsiteY433" fmla="*/ 72444 h 694251"/>
                    <a:gd name="connsiteX434" fmla="*/ 429832 w 700288"/>
                    <a:gd name="connsiteY434" fmla="*/ 65803 h 694251"/>
                    <a:gd name="connsiteX435" fmla="*/ 432851 w 700288"/>
                    <a:gd name="connsiteY435" fmla="*/ 68218 h 694251"/>
                    <a:gd name="connsiteX436" fmla="*/ 433455 w 700288"/>
                    <a:gd name="connsiteY436" fmla="*/ 68218 h 694251"/>
                    <a:gd name="connsiteX437" fmla="*/ 435266 w 700288"/>
                    <a:gd name="connsiteY437" fmla="*/ 67614 h 694251"/>
                    <a:gd name="connsiteX438" fmla="*/ 435869 w 700288"/>
                    <a:gd name="connsiteY438" fmla="*/ 68218 h 694251"/>
                    <a:gd name="connsiteX439" fmla="*/ 436473 w 700288"/>
                    <a:gd name="connsiteY439" fmla="*/ 68218 h 694251"/>
                    <a:gd name="connsiteX440" fmla="*/ 436473 w 700288"/>
                    <a:gd name="connsiteY440" fmla="*/ 68218 h 694251"/>
                    <a:gd name="connsiteX441" fmla="*/ 437077 w 700288"/>
                    <a:gd name="connsiteY441" fmla="*/ 70029 h 694251"/>
                    <a:gd name="connsiteX442" fmla="*/ 440095 w 700288"/>
                    <a:gd name="connsiteY442" fmla="*/ 69425 h 694251"/>
                    <a:gd name="connsiteX443" fmla="*/ 449754 w 700288"/>
                    <a:gd name="connsiteY443" fmla="*/ 80292 h 694251"/>
                    <a:gd name="connsiteX444" fmla="*/ 455791 w 700288"/>
                    <a:gd name="connsiteY444" fmla="*/ 85725 h 694251"/>
                    <a:gd name="connsiteX445" fmla="*/ 452169 w 700288"/>
                    <a:gd name="connsiteY445" fmla="*/ 89347 h 694251"/>
                    <a:gd name="connsiteX446" fmla="*/ 449754 w 700288"/>
                    <a:gd name="connsiteY446" fmla="*/ 95988 h 694251"/>
                    <a:gd name="connsiteX447" fmla="*/ 457603 w 700288"/>
                    <a:gd name="connsiteY447" fmla="*/ 100817 h 694251"/>
                    <a:gd name="connsiteX448" fmla="*/ 459414 w 700288"/>
                    <a:gd name="connsiteY448" fmla="*/ 102629 h 694251"/>
                    <a:gd name="connsiteX449" fmla="*/ 460621 w 700288"/>
                    <a:gd name="connsiteY449" fmla="*/ 102629 h 694251"/>
                    <a:gd name="connsiteX450" fmla="*/ 461828 w 700288"/>
                    <a:gd name="connsiteY450" fmla="*/ 102025 h 694251"/>
                    <a:gd name="connsiteX451" fmla="*/ 462432 w 700288"/>
                    <a:gd name="connsiteY451" fmla="*/ 102025 h 694251"/>
                    <a:gd name="connsiteX452" fmla="*/ 463036 w 700288"/>
                    <a:gd name="connsiteY452" fmla="*/ 102025 h 694251"/>
                    <a:gd name="connsiteX453" fmla="*/ 464243 w 700288"/>
                    <a:gd name="connsiteY453" fmla="*/ 103232 h 694251"/>
                    <a:gd name="connsiteX454" fmla="*/ 464847 w 700288"/>
                    <a:gd name="connsiteY454" fmla="*/ 103836 h 694251"/>
                    <a:gd name="connsiteX455" fmla="*/ 467865 w 700288"/>
                    <a:gd name="connsiteY455" fmla="*/ 105043 h 694251"/>
                    <a:gd name="connsiteX456" fmla="*/ 470280 w 700288"/>
                    <a:gd name="connsiteY456" fmla="*/ 108062 h 694251"/>
                    <a:gd name="connsiteX457" fmla="*/ 471488 w 700288"/>
                    <a:gd name="connsiteY457" fmla="*/ 114099 h 694251"/>
                    <a:gd name="connsiteX458" fmla="*/ 474506 w 700288"/>
                    <a:gd name="connsiteY458" fmla="*/ 117721 h 694251"/>
                    <a:gd name="connsiteX459" fmla="*/ 476921 w 700288"/>
                    <a:gd name="connsiteY459" fmla="*/ 117721 h 694251"/>
                    <a:gd name="connsiteX460" fmla="*/ 477525 w 700288"/>
                    <a:gd name="connsiteY460" fmla="*/ 117721 h 694251"/>
                    <a:gd name="connsiteX461" fmla="*/ 478128 w 700288"/>
                    <a:gd name="connsiteY461" fmla="*/ 117721 h 694251"/>
                    <a:gd name="connsiteX462" fmla="*/ 479336 w 700288"/>
                    <a:gd name="connsiteY462" fmla="*/ 118325 h 694251"/>
                    <a:gd name="connsiteX463" fmla="*/ 480543 w 700288"/>
                    <a:gd name="connsiteY463" fmla="*/ 118325 h 694251"/>
                    <a:gd name="connsiteX464" fmla="*/ 481750 w 700288"/>
                    <a:gd name="connsiteY464" fmla="*/ 120136 h 694251"/>
                    <a:gd name="connsiteX465" fmla="*/ 482354 w 700288"/>
                    <a:gd name="connsiteY465" fmla="*/ 122551 h 694251"/>
                    <a:gd name="connsiteX466" fmla="*/ 479336 w 700288"/>
                    <a:gd name="connsiteY466" fmla="*/ 138247 h 694251"/>
                    <a:gd name="connsiteX467" fmla="*/ 482958 w 700288"/>
                    <a:gd name="connsiteY467" fmla="*/ 141265 h 694251"/>
                    <a:gd name="connsiteX468" fmla="*/ 486580 w 700288"/>
                    <a:gd name="connsiteY468" fmla="*/ 149113 h 694251"/>
                    <a:gd name="connsiteX469" fmla="*/ 489598 w 700288"/>
                    <a:gd name="connsiteY469" fmla="*/ 150924 h 694251"/>
                    <a:gd name="connsiteX470" fmla="*/ 489598 w 700288"/>
                    <a:gd name="connsiteY470" fmla="*/ 154546 h 694251"/>
                    <a:gd name="connsiteX471" fmla="*/ 494428 w 700288"/>
                    <a:gd name="connsiteY471" fmla="*/ 162998 h 694251"/>
                    <a:gd name="connsiteX472" fmla="*/ 496239 w 700288"/>
                    <a:gd name="connsiteY472" fmla="*/ 163602 h 694251"/>
                    <a:gd name="connsiteX473" fmla="*/ 498050 w 700288"/>
                    <a:gd name="connsiteY473" fmla="*/ 163602 h 694251"/>
                    <a:gd name="connsiteX474" fmla="*/ 502880 w 700288"/>
                    <a:gd name="connsiteY474" fmla="*/ 164206 h 694251"/>
                    <a:gd name="connsiteX475" fmla="*/ 506502 w 700288"/>
                    <a:gd name="connsiteY475" fmla="*/ 162998 h 694251"/>
                    <a:gd name="connsiteX476" fmla="*/ 506502 w 700288"/>
                    <a:gd name="connsiteY476" fmla="*/ 156961 h 694251"/>
                    <a:gd name="connsiteX477" fmla="*/ 508313 w 700288"/>
                    <a:gd name="connsiteY477" fmla="*/ 153943 h 694251"/>
                    <a:gd name="connsiteX478" fmla="*/ 513143 w 700288"/>
                    <a:gd name="connsiteY478" fmla="*/ 154546 h 694251"/>
                    <a:gd name="connsiteX479" fmla="*/ 514350 w 700288"/>
                    <a:gd name="connsiteY479" fmla="*/ 149717 h 694251"/>
                    <a:gd name="connsiteX480" fmla="*/ 518576 w 700288"/>
                    <a:gd name="connsiteY480" fmla="*/ 145491 h 694251"/>
                    <a:gd name="connsiteX481" fmla="*/ 519783 w 700288"/>
                    <a:gd name="connsiteY481" fmla="*/ 146095 h 694251"/>
                    <a:gd name="connsiteX482" fmla="*/ 520387 w 700288"/>
                    <a:gd name="connsiteY482" fmla="*/ 147906 h 694251"/>
                    <a:gd name="connsiteX483" fmla="*/ 520991 w 700288"/>
                    <a:gd name="connsiteY483" fmla="*/ 148509 h 694251"/>
                    <a:gd name="connsiteX484" fmla="*/ 522802 w 700288"/>
                    <a:gd name="connsiteY484" fmla="*/ 150321 h 694251"/>
                    <a:gd name="connsiteX485" fmla="*/ 524009 w 700288"/>
                    <a:gd name="connsiteY485" fmla="*/ 150321 h 694251"/>
                    <a:gd name="connsiteX486" fmla="*/ 524613 w 700288"/>
                    <a:gd name="connsiteY486" fmla="*/ 149113 h 694251"/>
                    <a:gd name="connsiteX487" fmla="*/ 525217 w 700288"/>
                    <a:gd name="connsiteY487" fmla="*/ 148509 h 694251"/>
                    <a:gd name="connsiteX488" fmla="*/ 527028 w 700288"/>
                    <a:gd name="connsiteY488" fmla="*/ 143680 h 694251"/>
                    <a:gd name="connsiteX489" fmla="*/ 530650 w 700288"/>
                    <a:gd name="connsiteY489" fmla="*/ 141265 h 694251"/>
                    <a:gd name="connsiteX490" fmla="*/ 534272 w 700288"/>
                    <a:gd name="connsiteY490" fmla="*/ 141869 h 694251"/>
                    <a:gd name="connsiteX491" fmla="*/ 534876 w 700288"/>
                    <a:gd name="connsiteY491" fmla="*/ 142472 h 694251"/>
                    <a:gd name="connsiteX492" fmla="*/ 536083 w 700288"/>
                    <a:gd name="connsiteY492" fmla="*/ 143680 h 694251"/>
                    <a:gd name="connsiteX493" fmla="*/ 537291 w 700288"/>
                    <a:gd name="connsiteY493" fmla="*/ 144887 h 694251"/>
                    <a:gd name="connsiteX494" fmla="*/ 539102 w 700288"/>
                    <a:gd name="connsiteY494" fmla="*/ 144284 h 694251"/>
                    <a:gd name="connsiteX495" fmla="*/ 539705 w 700288"/>
                    <a:gd name="connsiteY495" fmla="*/ 144284 h 694251"/>
                    <a:gd name="connsiteX496" fmla="*/ 540913 w 700288"/>
                    <a:gd name="connsiteY496" fmla="*/ 144887 h 694251"/>
                    <a:gd name="connsiteX497" fmla="*/ 545742 w 700288"/>
                    <a:gd name="connsiteY497" fmla="*/ 142472 h 694251"/>
                    <a:gd name="connsiteX498" fmla="*/ 548157 w 700288"/>
                    <a:gd name="connsiteY498" fmla="*/ 137643 h 694251"/>
                    <a:gd name="connsiteX499" fmla="*/ 555401 w 700288"/>
                    <a:gd name="connsiteY499" fmla="*/ 135832 h 694251"/>
                    <a:gd name="connsiteX500" fmla="*/ 560231 w 700288"/>
                    <a:gd name="connsiteY500" fmla="*/ 133417 h 694251"/>
                    <a:gd name="connsiteX501" fmla="*/ 558420 w 700288"/>
                    <a:gd name="connsiteY501" fmla="*/ 126776 h 694251"/>
                    <a:gd name="connsiteX502" fmla="*/ 570494 w 700288"/>
                    <a:gd name="connsiteY502" fmla="*/ 120739 h 694251"/>
                    <a:gd name="connsiteX503" fmla="*/ 574116 w 700288"/>
                    <a:gd name="connsiteY503" fmla="*/ 120739 h 694251"/>
                    <a:gd name="connsiteX504" fmla="*/ 575927 w 700288"/>
                    <a:gd name="connsiteY504" fmla="*/ 121343 h 694251"/>
                    <a:gd name="connsiteX505" fmla="*/ 575927 w 700288"/>
                    <a:gd name="connsiteY505" fmla="*/ 127984 h 694251"/>
                    <a:gd name="connsiteX506" fmla="*/ 577135 w 700288"/>
                    <a:gd name="connsiteY506" fmla="*/ 131606 h 694251"/>
                    <a:gd name="connsiteX507" fmla="*/ 574720 w 700288"/>
                    <a:gd name="connsiteY507" fmla="*/ 136436 h 694251"/>
                    <a:gd name="connsiteX508" fmla="*/ 574116 w 700288"/>
                    <a:gd name="connsiteY508" fmla="*/ 143076 h 694251"/>
                    <a:gd name="connsiteX509" fmla="*/ 575324 w 700288"/>
                    <a:gd name="connsiteY509" fmla="*/ 151528 h 694251"/>
                    <a:gd name="connsiteX510" fmla="*/ 579549 w 700288"/>
                    <a:gd name="connsiteY510" fmla="*/ 155150 h 694251"/>
                    <a:gd name="connsiteX511" fmla="*/ 567475 w 700288"/>
                    <a:gd name="connsiteY511" fmla="*/ 164206 h 694251"/>
                    <a:gd name="connsiteX512" fmla="*/ 560231 w 700288"/>
                    <a:gd name="connsiteY512" fmla="*/ 166017 h 694251"/>
                    <a:gd name="connsiteX513" fmla="*/ 560835 w 700288"/>
                    <a:gd name="connsiteY513" fmla="*/ 178091 h 694251"/>
                    <a:gd name="connsiteX514" fmla="*/ 556609 w 700288"/>
                    <a:gd name="connsiteY514" fmla="*/ 183524 h 694251"/>
                    <a:gd name="connsiteX515" fmla="*/ 563250 w 700288"/>
                    <a:gd name="connsiteY515" fmla="*/ 191372 h 694251"/>
                    <a:gd name="connsiteX516" fmla="*/ 564457 w 700288"/>
                    <a:gd name="connsiteY516" fmla="*/ 190165 h 694251"/>
                    <a:gd name="connsiteX517" fmla="*/ 572305 w 700288"/>
                    <a:gd name="connsiteY517" fmla="*/ 182317 h 694251"/>
                    <a:gd name="connsiteX518" fmla="*/ 577738 w 700288"/>
                    <a:gd name="connsiteY518" fmla="*/ 178091 h 694251"/>
                    <a:gd name="connsiteX519" fmla="*/ 581361 w 700288"/>
                    <a:gd name="connsiteY519" fmla="*/ 178694 h 694251"/>
                    <a:gd name="connsiteX520" fmla="*/ 581361 w 700288"/>
                    <a:gd name="connsiteY520" fmla="*/ 179298 h 694251"/>
                    <a:gd name="connsiteX521" fmla="*/ 581964 w 700288"/>
                    <a:gd name="connsiteY521" fmla="*/ 180505 h 694251"/>
                    <a:gd name="connsiteX522" fmla="*/ 583775 w 700288"/>
                    <a:gd name="connsiteY522" fmla="*/ 182317 h 694251"/>
                    <a:gd name="connsiteX523" fmla="*/ 588001 w 700288"/>
                    <a:gd name="connsiteY523" fmla="*/ 182920 h 694251"/>
                    <a:gd name="connsiteX524" fmla="*/ 591623 w 700288"/>
                    <a:gd name="connsiteY524" fmla="*/ 187750 h 694251"/>
                    <a:gd name="connsiteX525" fmla="*/ 589209 w 700288"/>
                    <a:gd name="connsiteY525" fmla="*/ 192579 h 694251"/>
                    <a:gd name="connsiteX526" fmla="*/ 589209 w 700288"/>
                    <a:gd name="connsiteY526" fmla="*/ 195598 h 694251"/>
                    <a:gd name="connsiteX527" fmla="*/ 594642 w 700288"/>
                    <a:gd name="connsiteY527" fmla="*/ 198013 h 694251"/>
                    <a:gd name="connsiteX528" fmla="*/ 597660 w 700288"/>
                    <a:gd name="connsiteY528" fmla="*/ 203446 h 694251"/>
                    <a:gd name="connsiteX529" fmla="*/ 602490 w 700288"/>
                    <a:gd name="connsiteY529" fmla="*/ 203446 h 694251"/>
                    <a:gd name="connsiteX530" fmla="*/ 606112 w 700288"/>
                    <a:gd name="connsiteY530" fmla="*/ 205257 h 694251"/>
                    <a:gd name="connsiteX531" fmla="*/ 601282 w 700288"/>
                    <a:gd name="connsiteY531" fmla="*/ 211898 h 694251"/>
                    <a:gd name="connsiteX532" fmla="*/ 600679 w 700288"/>
                    <a:gd name="connsiteY532" fmla="*/ 214916 h 694251"/>
                    <a:gd name="connsiteX533" fmla="*/ 595849 w 700288"/>
                    <a:gd name="connsiteY533" fmla="*/ 219746 h 694251"/>
                    <a:gd name="connsiteX534" fmla="*/ 594038 w 700288"/>
                    <a:gd name="connsiteY534" fmla="*/ 225179 h 694251"/>
                    <a:gd name="connsiteX535" fmla="*/ 595246 w 700288"/>
                    <a:gd name="connsiteY535" fmla="*/ 236046 h 694251"/>
                    <a:gd name="connsiteX536" fmla="*/ 594642 w 700288"/>
                    <a:gd name="connsiteY536" fmla="*/ 239668 h 694251"/>
                    <a:gd name="connsiteX537" fmla="*/ 589812 w 700288"/>
                    <a:gd name="connsiteY537" fmla="*/ 246912 h 694251"/>
                    <a:gd name="connsiteX538" fmla="*/ 598868 w 700288"/>
                    <a:gd name="connsiteY538" fmla="*/ 248119 h 694251"/>
                    <a:gd name="connsiteX539" fmla="*/ 607319 w 700288"/>
                    <a:gd name="connsiteY539" fmla="*/ 246308 h 694251"/>
                    <a:gd name="connsiteX540" fmla="*/ 610942 w 700288"/>
                    <a:gd name="connsiteY540" fmla="*/ 246308 h 694251"/>
                    <a:gd name="connsiteX541" fmla="*/ 621204 w 700288"/>
                    <a:gd name="connsiteY541" fmla="*/ 254156 h 694251"/>
                    <a:gd name="connsiteX542" fmla="*/ 621808 w 700288"/>
                    <a:gd name="connsiteY542" fmla="*/ 261401 h 694251"/>
                    <a:gd name="connsiteX543" fmla="*/ 620601 w 700288"/>
                    <a:gd name="connsiteY543" fmla="*/ 265627 h 694251"/>
                    <a:gd name="connsiteX544" fmla="*/ 617582 w 700288"/>
                    <a:gd name="connsiteY544" fmla="*/ 268645 h 694251"/>
                    <a:gd name="connsiteX545" fmla="*/ 620601 w 700288"/>
                    <a:gd name="connsiteY545" fmla="*/ 271060 h 694251"/>
                    <a:gd name="connsiteX546" fmla="*/ 621808 w 700288"/>
                    <a:gd name="connsiteY546" fmla="*/ 277097 h 694251"/>
                    <a:gd name="connsiteX547" fmla="*/ 632675 w 700288"/>
                    <a:gd name="connsiteY547" fmla="*/ 281323 h 694251"/>
                    <a:gd name="connsiteX548" fmla="*/ 633882 w 700288"/>
                    <a:gd name="connsiteY548" fmla="*/ 285549 h 694251"/>
                    <a:gd name="connsiteX549" fmla="*/ 640523 w 700288"/>
                    <a:gd name="connsiteY549" fmla="*/ 293397 h 694251"/>
                    <a:gd name="connsiteX550" fmla="*/ 641127 w 700288"/>
                    <a:gd name="connsiteY550" fmla="*/ 295812 h 694251"/>
                    <a:gd name="connsiteX551" fmla="*/ 651389 w 700288"/>
                    <a:gd name="connsiteY551" fmla="*/ 306074 h 694251"/>
                    <a:gd name="connsiteX552" fmla="*/ 658030 w 700288"/>
                    <a:gd name="connsiteY552" fmla="*/ 307282 h 694251"/>
                    <a:gd name="connsiteX553" fmla="*/ 656219 w 700288"/>
                    <a:gd name="connsiteY553" fmla="*/ 315734 h 694251"/>
                    <a:gd name="connsiteX554" fmla="*/ 652597 w 700288"/>
                    <a:gd name="connsiteY554" fmla="*/ 325393 h 694251"/>
                    <a:gd name="connsiteX555" fmla="*/ 650182 w 700288"/>
                    <a:gd name="connsiteY555" fmla="*/ 328411 h 694251"/>
                    <a:gd name="connsiteX556" fmla="*/ 648371 w 700288"/>
                    <a:gd name="connsiteY556" fmla="*/ 335052 h 694251"/>
                    <a:gd name="connsiteX557" fmla="*/ 647767 w 700288"/>
                    <a:gd name="connsiteY557" fmla="*/ 347126 h 694251"/>
                    <a:gd name="connsiteX558" fmla="*/ 641730 w 700288"/>
                    <a:gd name="connsiteY558" fmla="*/ 351955 h 694251"/>
                    <a:gd name="connsiteX559" fmla="*/ 641730 w 700288"/>
                    <a:gd name="connsiteY559" fmla="*/ 357389 h 694251"/>
                    <a:gd name="connsiteX560" fmla="*/ 644145 w 700288"/>
                    <a:gd name="connsiteY560" fmla="*/ 362822 h 694251"/>
                    <a:gd name="connsiteX561" fmla="*/ 648371 w 700288"/>
                    <a:gd name="connsiteY561" fmla="*/ 364633 h 694251"/>
                    <a:gd name="connsiteX562" fmla="*/ 645956 w 700288"/>
                    <a:gd name="connsiteY562" fmla="*/ 368859 h 694251"/>
                    <a:gd name="connsiteX563" fmla="*/ 647767 w 700288"/>
                    <a:gd name="connsiteY563" fmla="*/ 372481 h 694251"/>
                    <a:gd name="connsiteX564" fmla="*/ 650786 w 700288"/>
                    <a:gd name="connsiteY564" fmla="*/ 382140 h 694251"/>
                    <a:gd name="connsiteX565" fmla="*/ 653200 w 700288"/>
                    <a:gd name="connsiteY565" fmla="*/ 383348 h 694251"/>
                    <a:gd name="connsiteX566" fmla="*/ 659841 w 700288"/>
                    <a:gd name="connsiteY566" fmla="*/ 382140 h 694251"/>
                    <a:gd name="connsiteX567" fmla="*/ 661048 w 700288"/>
                    <a:gd name="connsiteY567" fmla="*/ 389385 h 694251"/>
                    <a:gd name="connsiteX568" fmla="*/ 669500 w 700288"/>
                    <a:gd name="connsiteY568" fmla="*/ 397233 h 694251"/>
                    <a:gd name="connsiteX569" fmla="*/ 670708 w 700288"/>
                    <a:gd name="connsiteY569" fmla="*/ 400251 h 694251"/>
                    <a:gd name="connsiteX570" fmla="*/ 668897 w 700288"/>
                    <a:gd name="connsiteY570" fmla="*/ 403873 h 694251"/>
                    <a:gd name="connsiteX571" fmla="*/ 663463 w 700288"/>
                    <a:gd name="connsiteY571" fmla="*/ 409910 h 694251"/>
                    <a:gd name="connsiteX572" fmla="*/ 657426 w 700288"/>
                    <a:gd name="connsiteY572" fmla="*/ 412325 h 694251"/>
                    <a:gd name="connsiteX573" fmla="*/ 653804 w 700288"/>
                    <a:gd name="connsiteY573" fmla="*/ 416551 h 694251"/>
                    <a:gd name="connsiteX574" fmla="*/ 647767 w 700288"/>
                    <a:gd name="connsiteY574" fmla="*/ 418362 h 694251"/>
                    <a:gd name="connsiteX575" fmla="*/ 644749 w 700288"/>
                    <a:gd name="connsiteY575" fmla="*/ 423192 h 694251"/>
                    <a:gd name="connsiteX576" fmla="*/ 646560 w 700288"/>
                    <a:gd name="connsiteY576" fmla="*/ 426210 h 694251"/>
                    <a:gd name="connsiteX577" fmla="*/ 646560 w 700288"/>
                    <a:gd name="connsiteY577" fmla="*/ 431644 h 694251"/>
                    <a:gd name="connsiteX578" fmla="*/ 652597 w 700288"/>
                    <a:gd name="connsiteY578" fmla="*/ 430436 h 694251"/>
                    <a:gd name="connsiteX579" fmla="*/ 662860 w 700288"/>
                    <a:gd name="connsiteY579" fmla="*/ 439492 h 694251"/>
                    <a:gd name="connsiteX580" fmla="*/ 662256 w 700288"/>
                    <a:gd name="connsiteY580" fmla="*/ 447943 h 694251"/>
                    <a:gd name="connsiteX581" fmla="*/ 659237 w 700288"/>
                    <a:gd name="connsiteY581" fmla="*/ 452169 h 694251"/>
                    <a:gd name="connsiteX582" fmla="*/ 665878 w 700288"/>
                    <a:gd name="connsiteY582" fmla="*/ 454584 h 694251"/>
                    <a:gd name="connsiteX583" fmla="*/ 669500 w 700288"/>
                    <a:gd name="connsiteY583" fmla="*/ 456999 h 694251"/>
                    <a:gd name="connsiteX584" fmla="*/ 672519 w 700288"/>
                    <a:gd name="connsiteY584" fmla="*/ 463639 h 694251"/>
                    <a:gd name="connsiteX585" fmla="*/ 670104 w 700288"/>
                    <a:gd name="connsiteY585" fmla="*/ 469073 h 694251"/>
                    <a:gd name="connsiteX586" fmla="*/ 674330 w 700288"/>
                    <a:gd name="connsiteY586" fmla="*/ 471487 h 694251"/>
                    <a:gd name="connsiteX587" fmla="*/ 677952 w 700288"/>
                    <a:gd name="connsiteY587" fmla="*/ 476317 h 694251"/>
                    <a:gd name="connsiteX588" fmla="*/ 680367 w 700288"/>
                    <a:gd name="connsiteY588" fmla="*/ 483561 h 694251"/>
                    <a:gd name="connsiteX589" fmla="*/ 686404 w 700288"/>
                    <a:gd name="connsiteY589" fmla="*/ 486580 h 694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Lst>
                  <a:rect l="l" t="t" r="r" b="b"/>
                  <a:pathLst>
                    <a:path w="700288" h="694251">
                      <a:moveTo>
                        <a:pt x="686404" y="486580"/>
                      </a:moveTo>
                      <a:lnTo>
                        <a:pt x="687008" y="492617"/>
                      </a:lnTo>
                      <a:lnTo>
                        <a:pt x="691837" y="495635"/>
                      </a:lnTo>
                      <a:lnTo>
                        <a:pt x="691837" y="499258"/>
                      </a:lnTo>
                      <a:lnTo>
                        <a:pt x="694252" y="502276"/>
                      </a:lnTo>
                      <a:lnTo>
                        <a:pt x="699685" y="505295"/>
                      </a:lnTo>
                      <a:lnTo>
                        <a:pt x="700893" y="513746"/>
                      </a:lnTo>
                      <a:lnTo>
                        <a:pt x="704515" y="520387"/>
                      </a:lnTo>
                      <a:lnTo>
                        <a:pt x="698478" y="520991"/>
                      </a:lnTo>
                      <a:lnTo>
                        <a:pt x="693648" y="523405"/>
                      </a:lnTo>
                      <a:lnTo>
                        <a:pt x="685196" y="520991"/>
                      </a:lnTo>
                      <a:lnTo>
                        <a:pt x="680367" y="524009"/>
                      </a:lnTo>
                      <a:lnTo>
                        <a:pt x="676745" y="521594"/>
                      </a:lnTo>
                      <a:lnTo>
                        <a:pt x="667689" y="513746"/>
                      </a:lnTo>
                      <a:lnTo>
                        <a:pt x="664067" y="505898"/>
                      </a:lnTo>
                      <a:lnTo>
                        <a:pt x="664671" y="501069"/>
                      </a:lnTo>
                      <a:lnTo>
                        <a:pt x="662860" y="499258"/>
                      </a:lnTo>
                      <a:lnTo>
                        <a:pt x="653804" y="502276"/>
                      </a:lnTo>
                      <a:lnTo>
                        <a:pt x="642334" y="501672"/>
                      </a:lnTo>
                      <a:lnTo>
                        <a:pt x="638712" y="499861"/>
                      </a:lnTo>
                      <a:lnTo>
                        <a:pt x="633278" y="501069"/>
                      </a:lnTo>
                      <a:lnTo>
                        <a:pt x="630260" y="496239"/>
                      </a:lnTo>
                      <a:lnTo>
                        <a:pt x="623016" y="492013"/>
                      </a:lnTo>
                      <a:lnTo>
                        <a:pt x="615771" y="492617"/>
                      </a:lnTo>
                      <a:lnTo>
                        <a:pt x="609734" y="499258"/>
                      </a:lnTo>
                      <a:lnTo>
                        <a:pt x="595849" y="499861"/>
                      </a:lnTo>
                      <a:lnTo>
                        <a:pt x="595246" y="495635"/>
                      </a:lnTo>
                      <a:lnTo>
                        <a:pt x="590416" y="490202"/>
                      </a:lnTo>
                      <a:lnTo>
                        <a:pt x="585586" y="486580"/>
                      </a:lnTo>
                      <a:lnTo>
                        <a:pt x="581361" y="488995"/>
                      </a:lnTo>
                      <a:lnTo>
                        <a:pt x="580153" y="485976"/>
                      </a:lnTo>
                      <a:lnTo>
                        <a:pt x="575324" y="479336"/>
                      </a:lnTo>
                      <a:lnTo>
                        <a:pt x="572305" y="478732"/>
                      </a:lnTo>
                      <a:lnTo>
                        <a:pt x="564457" y="480543"/>
                      </a:lnTo>
                      <a:lnTo>
                        <a:pt x="560835" y="479336"/>
                      </a:lnTo>
                      <a:lnTo>
                        <a:pt x="559627" y="484769"/>
                      </a:lnTo>
                      <a:lnTo>
                        <a:pt x="554798" y="483561"/>
                      </a:lnTo>
                      <a:lnTo>
                        <a:pt x="546950" y="492617"/>
                      </a:lnTo>
                      <a:lnTo>
                        <a:pt x="541516" y="492013"/>
                      </a:lnTo>
                      <a:lnTo>
                        <a:pt x="537291" y="495032"/>
                      </a:lnTo>
                      <a:lnTo>
                        <a:pt x="534272" y="493221"/>
                      </a:lnTo>
                      <a:lnTo>
                        <a:pt x="529443" y="493221"/>
                      </a:lnTo>
                      <a:lnTo>
                        <a:pt x="527028" y="496843"/>
                      </a:lnTo>
                      <a:lnTo>
                        <a:pt x="523406" y="497446"/>
                      </a:lnTo>
                      <a:lnTo>
                        <a:pt x="517972" y="502276"/>
                      </a:lnTo>
                      <a:lnTo>
                        <a:pt x="510124" y="502276"/>
                      </a:lnTo>
                      <a:lnTo>
                        <a:pt x="505295" y="504087"/>
                      </a:lnTo>
                      <a:lnTo>
                        <a:pt x="500465" y="511332"/>
                      </a:lnTo>
                      <a:lnTo>
                        <a:pt x="497446" y="508917"/>
                      </a:lnTo>
                      <a:lnTo>
                        <a:pt x="492617" y="508917"/>
                      </a:lnTo>
                      <a:lnTo>
                        <a:pt x="489598" y="505898"/>
                      </a:lnTo>
                      <a:lnTo>
                        <a:pt x="481750" y="511332"/>
                      </a:lnTo>
                      <a:lnTo>
                        <a:pt x="478732" y="510728"/>
                      </a:lnTo>
                      <a:lnTo>
                        <a:pt x="474506" y="515557"/>
                      </a:lnTo>
                      <a:lnTo>
                        <a:pt x="473902" y="519180"/>
                      </a:lnTo>
                      <a:lnTo>
                        <a:pt x="468469" y="522198"/>
                      </a:lnTo>
                      <a:lnTo>
                        <a:pt x="466658" y="529442"/>
                      </a:lnTo>
                      <a:lnTo>
                        <a:pt x="463036" y="531254"/>
                      </a:lnTo>
                      <a:lnTo>
                        <a:pt x="458810" y="536083"/>
                      </a:lnTo>
                      <a:lnTo>
                        <a:pt x="463036" y="547553"/>
                      </a:lnTo>
                      <a:lnTo>
                        <a:pt x="459414" y="550572"/>
                      </a:lnTo>
                      <a:lnTo>
                        <a:pt x="456999" y="556005"/>
                      </a:lnTo>
                      <a:lnTo>
                        <a:pt x="448547" y="554194"/>
                      </a:lnTo>
                      <a:lnTo>
                        <a:pt x="444925" y="557816"/>
                      </a:lnTo>
                      <a:lnTo>
                        <a:pt x="444321" y="560835"/>
                      </a:lnTo>
                      <a:lnTo>
                        <a:pt x="446736" y="565061"/>
                      </a:lnTo>
                      <a:lnTo>
                        <a:pt x="446736" y="567475"/>
                      </a:lnTo>
                      <a:lnTo>
                        <a:pt x="450962" y="568079"/>
                      </a:lnTo>
                      <a:lnTo>
                        <a:pt x="456395" y="566872"/>
                      </a:lnTo>
                      <a:lnTo>
                        <a:pt x="458206" y="569890"/>
                      </a:lnTo>
                      <a:lnTo>
                        <a:pt x="455188" y="574116"/>
                      </a:lnTo>
                      <a:lnTo>
                        <a:pt x="454584" y="579549"/>
                      </a:lnTo>
                      <a:lnTo>
                        <a:pt x="450962" y="581360"/>
                      </a:lnTo>
                      <a:lnTo>
                        <a:pt x="449151" y="577738"/>
                      </a:lnTo>
                      <a:lnTo>
                        <a:pt x="446736" y="577738"/>
                      </a:lnTo>
                      <a:lnTo>
                        <a:pt x="443717" y="584983"/>
                      </a:lnTo>
                      <a:lnTo>
                        <a:pt x="446132" y="588001"/>
                      </a:lnTo>
                      <a:lnTo>
                        <a:pt x="441303" y="595245"/>
                      </a:lnTo>
                      <a:lnTo>
                        <a:pt x="438284" y="601886"/>
                      </a:lnTo>
                      <a:lnTo>
                        <a:pt x="434662" y="604301"/>
                      </a:lnTo>
                      <a:lnTo>
                        <a:pt x="435869" y="609734"/>
                      </a:lnTo>
                      <a:lnTo>
                        <a:pt x="438888" y="610338"/>
                      </a:lnTo>
                      <a:lnTo>
                        <a:pt x="445529" y="618186"/>
                      </a:lnTo>
                      <a:lnTo>
                        <a:pt x="444321" y="624223"/>
                      </a:lnTo>
                      <a:lnTo>
                        <a:pt x="450962" y="629052"/>
                      </a:lnTo>
                      <a:lnTo>
                        <a:pt x="452773" y="635089"/>
                      </a:lnTo>
                      <a:lnTo>
                        <a:pt x="449151" y="639919"/>
                      </a:lnTo>
                      <a:lnTo>
                        <a:pt x="449151" y="643541"/>
                      </a:lnTo>
                      <a:lnTo>
                        <a:pt x="443717" y="642937"/>
                      </a:lnTo>
                      <a:lnTo>
                        <a:pt x="448547" y="651993"/>
                      </a:lnTo>
                      <a:lnTo>
                        <a:pt x="453377" y="655011"/>
                      </a:lnTo>
                      <a:lnTo>
                        <a:pt x="458810" y="654408"/>
                      </a:lnTo>
                      <a:lnTo>
                        <a:pt x="460621" y="659841"/>
                      </a:lnTo>
                      <a:lnTo>
                        <a:pt x="457603" y="665878"/>
                      </a:lnTo>
                      <a:lnTo>
                        <a:pt x="450962" y="667689"/>
                      </a:lnTo>
                      <a:lnTo>
                        <a:pt x="441906" y="674330"/>
                      </a:lnTo>
                      <a:lnTo>
                        <a:pt x="439492" y="674330"/>
                      </a:lnTo>
                      <a:lnTo>
                        <a:pt x="429229" y="680970"/>
                      </a:lnTo>
                      <a:lnTo>
                        <a:pt x="425003" y="680367"/>
                      </a:lnTo>
                      <a:lnTo>
                        <a:pt x="423192" y="683989"/>
                      </a:lnTo>
                      <a:lnTo>
                        <a:pt x="417155" y="683989"/>
                      </a:lnTo>
                      <a:lnTo>
                        <a:pt x="412929" y="685800"/>
                      </a:lnTo>
                      <a:lnTo>
                        <a:pt x="409307" y="688818"/>
                      </a:lnTo>
                      <a:lnTo>
                        <a:pt x="409307" y="691837"/>
                      </a:lnTo>
                      <a:lnTo>
                        <a:pt x="411722" y="696667"/>
                      </a:lnTo>
                      <a:lnTo>
                        <a:pt x="405081" y="693648"/>
                      </a:lnTo>
                      <a:lnTo>
                        <a:pt x="401459" y="688818"/>
                      </a:lnTo>
                      <a:lnTo>
                        <a:pt x="397836" y="680970"/>
                      </a:lnTo>
                      <a:lnTo>
                        <a:pt x="394818" y="684593"/>
                      </a:lnTo>
                      <a:lnTo>
                        <a:pt x="394214" y="688818"/>
                      </a:lnTo>
                      <a:lnTo>
                        <a:pt x="388177" y="691233"/>
                      </a:lnTo>
                      <a:lnTo>
                        <a:pt x="382744" y="691837"/>
                      </a:lnTo>
                      <a:lnTo>
                        <a:pt x="383348" y="687007"/>
                      </a:lnTo>
                      <a:lnTo>
                        <a:pt x="386366" y="683385"/>
                      </a:lnTo>
                      <a:lnTo>
                        <a:pt x="386970" y="679159"/>
                      </a:lnTo>
                      <a:lnTo>
                        <a:pt x="384555" y="677348"/>
                      </a:lnTo>
                      <a:lnTo>
                        <a:pt x="380933" y="682781"/>
                      </a:lnTo>
                      <a:lnTo>
                        <a:pt x="374292" y="687611"/>
                      </a:lnTo>
                      <a:lnTo>
                        <a:pt x="371274" y="681574"/>
                      </a:lnTo>
                      <a:lnTo>
                        <a:pt x="366444" y="682781"/>
                      </a:lnTo>
                      <a:lnTo>
                        <a:pt x="364030" y="677952"/>
                      </a:lnTo>
                      <a:lnTo>
                        <a:pt x="359200" y="677952"/>
                      </a:lnTo>
                      <a:lnTo>
                        <a:pt x="356785" y="679763"/>
                      </a:lnTo>
                      <a:lnTo>
                        <a:pt x="347126" y="676745"/>
                      </a:lnTo>
                      <a:lnTo>
                        <a:pt x="344711" y="672519"/>
                      </a:lnTo>
                      <a:lnTo>
                        <a:pt x="339882" y="671311"/>
                      </a:lnTo>
                      <a:lnTo>
                        <a:pt x="334448" y="673726"/>
                      </a:lnTo>
                      <a:lnTo>
                        <a:pt x="333845" y="667085"/>
                      </a:lnTo>
                      <a:lnTo>
                        <a:pt x="331430" y="662860"/>
                      </a:lnTo>
                      <a:lnTo>
                        <a:pt x="321167" y="659841"/>
                      </a:lnTo>
                      <a:lnTo>
                        <a:pt x="318149" y="657426"/>
                      </a:lnTo>
                      <a:lnTo>
                        <a:pt x="315734" y="652597"/>
                      </a:lnTo>
                      <a:lnTo>
                        <a:pt x="321771" y="648974"/>
                      </a:lnTo>
                      <a:lnTo>
                        <a:pt x="325393" y="644749"/>
                      </a:lnTo>
                      <a:lnTo>
                        <a:pt x="326600" y="635693"/>
                      </a:lnTo>
                      <a:lnTo>
                        <a:pt x="324185" y="632071"/>
                      </a:lnTo>
                      <a:lnTo>
                        <a:pt x="324789" y="623619"/>
                      </a:lnTo>
                      <a:lnTo>
                        <a:pt x="318752" y="619393"/>
                      </a:lnTo>
                      <a:lnTo>
                        <a:pt x="313923" y="613356"/>
                      </a:lnTo>
                      <a:lnTo>
                        <a:pt x="309093" y="610338"/>
                      </a:lnTo>
                      <a:lnTo>
                        <a:pt x="302452" y="609131"/>
                      </a:lnTo>
                      <a:lnTo>
                        <a:pt x="295812" y="610942"/>
                      </a:lnTo>
                      <a:lnTo>
                        <a:pt x="294001" y="604905"/>
                      </a:lnTo>
                      <a:lnTo>
                        <a:pt x="290378" y="602490"/>
                      </a:lnTo>
                      <a:lnTo>
                        <a:pt x="292793" y="599471"/>
                      </a:lnTo>
                      <a:lnTo>
                        <a:pt x="292793" y="593434"/>
                      </a:lnTo>
                      <a:lnTo>
                        <a:pt x="286756" y="595245"/>
                      </a:lnTo>
                      <a:lnTo>
                        <a:pt x="283134" y="594038"/>
                      </a:lnTo>
                      <a:lnTo>
                        <a:pt x="281323" y="589812"/>
                      </a:lnTo>
                      <a:lnTo>
                        <a:pt x="278304" y="588001"/>
                      </a:lnTo>
                      <a:lnTo>
                        <a:pt x="277701" y="583775"/>
                      </a:lnTo>
                      <a:lnTo>
                        <a:pt x="272871" y="573512"/>
                      </a:lnTo>
                      <a:lnTo>
                        <a:pt x="262608" y="580153"/>
                      </a:lnTo>
                      <a:lnTo>
                        <a:pt x="256571" y="575927"/>
                      </a:lnTo>
                      <a:lnTo>
                        <a:pt x="253553" y="571098"/>
                      </a:lnTo>
                      <a:lnTo>
                        <a:pt x="253553" y="565664"/>
                      </a:lnTo>
                      <a:lnTo>
                        <a:pt x="245705" y="571701"/>
                      </a:lnTo>
                      <a:lnTo>
                        <a:pt x="240875" y="565664"/>
                      </a:lnTo>
                      <a:lnTo>
                        <a:pt x="236649" y="563250"/>
                      </a:lnTo>
                      <a:lnTo>
                        <a:pt x="233631" y="557816"/>
                      </a:lnTo>
                      <a:lnTo>
                        <a:pt x="230009" y="555401"/>
                      </a:lnTo>
                      <a:lnTo>
                        <a:pt x="224575" y="556005"/>
                      </a:lnTo>
                      <a:lnTo>
                        <a:pt x="221557" y="553590"/>
                      </a:lnTo>
                      <a:lnTo>
                        <a:pt x="212501" y="548157"/>
                      </a:lnTo>
                      <a:lnTo>
                        <a:pt x="213105" y="543931"/>
                      </a:lnTo>
                      <a:lnTo>
                        <a:pt x="210087" y="536083"/>
                      </a:lnTo>
                      <a:lnTo>
                        <a:pt x="212501" y="534272"/>
                      </a:lnTo>
                      <a:lnTo>
                        <a:pt x="211294" y="530046"/>
                      </a:lnTo>
                      <a:lnTo>
                        <a:pt x="215520" y="522198"/>
                      </a:lnTo>
                      <a:lnTo>
                        <a:pt x="208276" y="517972"/>
                      </a:lnTo>
                      <a:lnTo>
                        <a:pt x="210087" y="512539"/>
                      </a:lnTo>
                      <a:lnTo>
                        <a:pt x="208276" y="511332"/>
                      </a:lnTo>
                      <a:lnTo>
                        <a:pt x="208276" y="504691"/>
                      </a:lnTo>
                      <a:lnTo>
                        <a:pt x="213105" y="499861"/>
                      </a:lnTo>
                      <a:lnTo>
                        <a:pt x="217935" y="497446"/>
                      </a:lnTo>
                      <a:lnTo>
                        <a:pt x="213709" y="493824"/>
                      </a:lnTo>
                      <a:lnTo>
                        <a:pt x="207672" y="496843"/>
                      </a:lnTo>
                      <a:lnTo>
                        <a:pt x="205257" y="494428"/>
                      </a:lnTo>
                      <a:lnTo>
                        <a:pt x="210690" y="488391"/>
                      </a:lnTo>
                      <a:lnTo>
                        <a:pt x="204653" y="481147"/>
                      </a:lnTo>
                      <a:lnTo>
                        <a:pt x="199220" y="487184"/>
                      </a:lnTo>
                      <a:lnTo>
                        <a:pt x="191976" y="481147"/>
                      </a:lnTo>
                      <a:lnTo>
                        <a:pt x="187750" y="482958"/>
                      </a:lnTo>
                      <a:lnTo>
                        <a:pt x="182920" y="473902"/>
                      </a:lnTo>
                      <a:lnTo>
                        <a:pt x="179298" y="475110"/>
                      </a:lnTo>
                      <a:lnTo>
                        <a:pt x="175072" y="470280"/>
                      </a:lnTo>
                      <a:lnTo>
                        <a:pt x="167224" y="457602"/>
                      </a:lnTo>
                      <a:lnTo>
                        <a:pt x="167224" y="453377"/>
                      </a:lnTo>
                      <a:lnTo>
                        <a:pt x="161791" y="442510"/>
                      </a:lnTo>
                      <a:lnTo>
                        <a:pt x="160583" y="448547"/>
                      </a:lnTo>
                      <a:lnTo>
                        <a:pt x="158169" y="450962"/>
                      </a:lnTo>
                      <a:lnTo>
                        <a:pt x="152132" y="452169"/>
                      </a:lnTo>
                      <a:lnTo>
                        <a:pt x="152132" y="456999"/>
                      </a:lnTo>
                      <a:lnTo>
                        <a:pt x="154547" y="457602"/>
                      </a:lnTo>
                      <a:lnTo>
                        <a:pt x="155150" y="465450"/>
                      </a:lnTo>
                      <a:lnTo>
                        <a:pt x="147906" y="466658"/>
                      </a:lnTo>
                      <a:lnTo>
                        <a:pt x="149113" y="470280"/>
                      </a:lnTo>
                      <a:lnTo>
                        <a:pt x="146699" y="472695"/>
                      </a:lnTo>
                      <a:lnTo>
                        <a:pt x="140662" y="475110"/>
                      </a:lnTo>
                      <a:lnTo>
                        <a:pt x="139454" y="473299"/>
                      </a:lnTo>
                      <a:lnTo>
                        <a:pt x="132813" y="473299"/>
                      </a:lnTo>
                      <a:lnTo>
                        <a:pt x="129191" y="475110"/>
                      </a:lnTo>
                      <a:lnTo>
                        <a:pt x="122551" y="475110"/>
                      </a:lnTo>
                      <a:lnTo>
                        <a:pt x="121343" y="466658"/>
                      </a:lnTo>
                      <a:lnTo>
                        <a:pt x="115306" y="463639"/>
                      </a:lnTo>
                      <a:lnTo>
                        <a:pt x="114702" y="456999"/>
                      </a:lnTo>
                      <a:lnTo>
                        <a:pt x="118928" y="451566"/>
                      </a:lnTo>
                      <a:lnTo>
                        <a:pt x="116514" y="444925"/>
                      </a:lnTo>
                      <a:lnTo>
                        <a:pt x="113495" y="441906"/>
                      </a:lnTo>
                      <a:lnTo>
                        <a:pt x="109269" y="429229"/>
                      </a:lnTo>
                      <a:lnTo>
                        <a:pt x="105647" y="423795"/>
                      </a:lnTo>
                      <a:lnTo>
                        <a:pt x="103836" y="419570"/>
                      </a:lnTo>
                      <a:lnTo>
                        <a:pt x="95988" y="406288"/>
                      </a:lnTo>
                      <a:lnTo>
                        <a:pt x="95988" y="403270"/>
                      </a:lnTo>
                      <a:lnTo>
                        <a:pt x="91762" y="400251"/>
                      </a:lnTo>
                      <a:lnTo>
                        <a:pt x="87536" y="393007"/>
                      </a:lnTo>
                      <a:lnTo>
                        <a:pt x="87536" y="388781"/>
                      </a:lnTo>
                      <a:lnTo>
                        <a:pt x="85725" y="384555"/>
                      </a:lnTo>
                      <a:lnTo>
                        <a:pt x="82103" y="380933"/>
                      </a:lnTo>
                      <a:lnTo>
                        <a:pt x="82103" y="378518"/>
                      </a:lnTo>
                      <a:lnTo>
                        <a:pt x="75462" y="360407"/>
                      </a:lnTo>
                      <a:lnTo>
                        <a:pt x="73651" y="359200"/>
                      </a:lnTo>
                      <a:lnTo>
                        <a:pt x="70633" y="351352"/>
                      </a:lnTo>
                      <a:lnTo>
                        <a:pt x="77273" y="350144"/>
                      </a:lnTo>
                      <a:lnTo>
                        <a:pt x="76670" y="344107"/>
                      </a:lnTo>
                      <a:lnTo>
                        <a:pt x="65199" y="319356"/>
                      </a:lnTo>
                      <a:lnTo>
                        <a:pt x="59162" y="314526"/>
                      </a:lnTo>
                      <a:lnTo>
                        <a:pt x="53125" y="311508"/>
                      </a:lnTo>
                      <a:lnTo>
                        <a:pt x="44674" y="309697"/>
                      </a:lnTo>
                      <a:lnTo>
                        <a:pt x="40448" y="306678"/>
                      </a:lnTo>
                      <a:lnTo>
                        <a:pt x="31996" y="298226"/>
                      </a:lnTo>
                      <a:lnTo>
                        <a:pt x="27166" y="298226"/>
                      </a:lnTo>
                      <a:lnTo>
                        <a:pt x="23544" y="292793"/>
                      </a:lnTo>
                      <a:lnTo>
                        <a:pt x="14489" y="288567"/>
                      </a:lnTo>
                      <a:lnTo>
                        <a:pt x="4226" y="290982"/>
                      </a:lnTo>
                      <a:lnTo>
                        <a:pt x="0" y="287360"/>
                      </a:lnTo>
                      <a:lnTo>
                        <a:pt x="6641" y="283134"/>
                      </a:lnTo>
                      <a:lnTo>
                        <a:pt x="15696" y="271664"/>
                      </a:lnTo>
                      <a:lnTo>
                        <a:pt x="16904" y="266834"/>
                      </a:lnTo>
                      <a:lnTo>
                        <a:pt x="15696" y="264419"/>
                      </a:lnTo>
                      <a:lnTo>
                        <a:pt x="8452" y="262005"/>
                      </a:lnTo>
                      <a:lnTo>
                        <a:pt x="9055" y="249931"/>
                      </a:lnTo>
                      <a:lnTo>
                        <a:pt x="15092" y="245101"/>
                      </a:lnTo>
                      <a:lnTo>
                        <a:pt x="19922" y="242686"/>
                      </a:lnTo>
                      <a:lnTo>
                        <a:pt x="32600" y="240272"/>
                      </a:lnTo>
                      <a:lnTo>
                        <a:pt x="36222" y="237253"/>
                      </a:lnTo>
                      <a:lnTo>
                        <a:pt x="38033" y="233631"/>
                      </a:lnTo>
                      <a:lnTo>
                        <a:pt x="54333" y="214916"/>
                      </a:lnTo>
                      <a:lnTo>
                        <a:pt x="60370" y="210087"/>
                      </a:lnTo>
                      <a:lnTo>
                        <a:pt x="71236" y="207068"/>
                      </a:lnTo>
                      <a:lnTo>
                        <a:pt x="73047" y="203446"/>
                      </a:lnTo>
                      <a:lnTo>
                        <a:pt x="69425" y="198013"/>
                      </a:lnTo>
                      <a:lnTo>
                        <a:pt x="56748" y="185335"/>
                      </a:lnTo>
                      <a:lnTo>
                        <a:pt x="56144" y="179902"/>
                      </a:lnTo>
                      <a:lnTo>
                        <a:pt x="57351" y="176280"/>
                      </a:lnTo>
                      <a:lnTo>
                        <a:pt x="57955" y="174468"/>
                      </a:lnTo>
                      <a:lnTo>
                        <a:pt x="59766" y="170846"/>
                      </a:lnTo>
                      <a:lnTo>
                        <a:pt x="60370" y="166620"/>
                      </a:lnTo>
                      <a:lnTo>
                        <a:pt x="67614" y="156358"/>
                      </a:lnTo>
                      <a:lnTo>
                        <a:pt x="71236" y="150321"/>
                      </a:lnTo>
                      <a:lnTo>
                        <a:pt x="71236" y="146698"/>
                      </a:lnTo>
                      <a:lnTo>
                        <a:pt x="65803" y="141265"/>
                      </a:lnTo>
                      <a:lnTo>
                        <a:pt x="65803" y="136436"/>
                      </a:lnTo>
                      <a:lnTo>
                        <a:pt x="68218" y="131002"/>
                      </a:lnTo>
                      <a:lnTo>
                        <a:pt x="68821" y="122551"/>
                      </a:lnTo>
                      <a:lnTo>
                        <a:pt x="66407" y="118928"/>
                      </a:lnTo>
                      <a:lnTo>
                        <a:pt x="60973" y="108665"/>
                      </a:lnTo>
                      <a:lnTo>
                        <a:pt x="53125" y="102629"/>
                      </a:lnTo>
                      <a:lnTo>
                        <a:pt x="50107" y="101421"/>
                      </a:lnTo>
                      <a:lnTo>
                        <a:pt x="44674" y="94780"/>
                      </a:lnTo>
                      <a:lnTo>
                        <a:pt x="42863" y="88743"/>
                      </a:lnTo>
                      <a:lnTo>
                        <a:pt x="45277" y="86329"/>
                      </a:lnTo>
                      <a:lnTo>
                        <a:pt x="45277" y="82706"/>
                      </a:lnTo>
                      <a:lnTo>
                        <a:pt x="47088" y="79688"/>
                      </a:lnTo>
                      <a:lnTo>
                        <a:pt x="52522" y="78481"/>
                      </a:lnTo>
                      <a:lnTo>
                        <a:pt x="54333" y="79084"/>
                      </a:lnTo>
                      <a:lnTo>
                        <a:pt x="56144" y="79688"/>
                      </a:lnTo>
                      <a:lnTo>
                        <a:pt x="59162" y="79688"/>
                      </a:lnTo>
                      <a:lnTo>
                        <a:pt x="66407" y="83310"/>
                      </a:lnTo>
                      <a:lnTo>
                        <a:pt x="73047" y="91158"/>
                      </a:lnTo>
                      <a:lnTo>
                        <a:pt x="75462" y="91158"/>
                      </a:lnTo>
                      <a:lnTo>
                        <a:pt x="76066" y="90555"/>
                      </a:lnTo>
                      <a:lnTo>
                        <a:pt x="83310" y="86932"/>
                      </a:lnTo>
                      <a:lnTo>
                        <a:pt x="90555" y="82706"/>
                      </a:lnTo>
                      <a:lnTo>
                        <a:pt x="92366" y="77877"/>
                      </a:lnTo>
                      <a:lnTo>
                        <a:pt x="95384" y="77273"/>
                      </a:lnTo>
                      <a:lnTo>
                        <a:pt x="103836" y="70029"/>
                      </a:lnTo>
                      <a:lnTo>
                        <a:pt x="106251" y="61577"/>
                      </a:lnTo>
                      <a:lnTo>
                        <a:pt x="113495" y="60370"/>
                      </a:lnTo>
                      <a:lnTo>
                        <a:pt x="118325" y="56748"/>
                      </a:lnTo>
                      <a:lnTo>
                        <a:pt x="135832" y="54936"/>
                      </a:lnTo>
                      <a:lnTo>
                        <a:pt x="139454" y="49503"/>
                      </a:lnTo>
                      <a:lnTo>
                        <a:pt x="143680" y="36825"/>
                      </a:lnTo>
                      <a:lnTo>
                        <a:pt x="146699" y="33203"/>
                      </a:lnTo>
                      <a:lnTo>
                        <a:pt x="152132" y="30789"/>
                      </a:lnTo>
                      <a:lnTo>
                        <a:pt x="155754" y="26563"/>
                      </a:lnTo>
                      <a:lnTo>
                        <a:pt x="160583" y="24148"/>
                      </a:lnTo>
                      <a:lnTo>
                        <a:pt x="166017" y="17507"/>
                      </a:lnTo>
                      <a:lnTo>
                        <a:pt x="170846" y="16300"/>
                      </a:lnTo>
                      <a:lnTo>
                        <a:pt x="172054" y="16904"/>
                      </a:lnTo>
                      <a:lnTo>
                        <a:pt x="173865" y="18111"/>
                      </a:lnTo>
                      <a:lnTo>
                        <a:pt x="177487" y="18111"/>
                      </a:lnTo>
                      <a:lnTo>
                        <a:pt x="178091" y="18111"/>
                      </a:lnTo>
                      <a:lnTo>
                        <a:pt x="179902" y="17507"/>
                      </a:lnTo>
                      <a:lnTo>
                        <a:pt x="180505" y="17507"/>
                      </a:lnTo>
                      <a:lnTo>
                        <a:pt x="183524" y="18111"/>
                      </a:lnTo>
                      <a:lnTo>
                        <a:pt x="188957" y="14489"/>
                      </a:lnTo>
                      <a:lnTo>
                        <a:pt x="192579" y="14489"/>
                      </a:lnTo>
                      <a:lnTo>
                        <a:pt x="196805" y="13885"/>
                      </a:lnTo>
                      <a:lnTo>
                        <a:pt x="197409" y="13281"/>
                      </a:lnTo>
                      <a:lnTo>
                        <a:pt x="199824" y="10867"/>
                      </a:lnTo>
                      <a:lnTo>
                        <a:pt x="201635" y="11470"/>
                      </a:lnTo>
                      <a:lnTo>
                        <a:pt x="202239" y="12074"/>
                      </a:lnTo>
                      <a:lnTo>
                        <a:pt x="202842" y="12074"/>
                      </a:lnTo>
                      <a:lnTo>
                        <a:pt x="204050" y="11470"/>
                      </a:lnTo>
                      <a:lnTo>
                        <a:pt x="207672" y="12678"/>
                      </a:lnTo>
                      <a:lnTo>
                        <a:pt x="210690" y="19922"/>
                      </a:lnTo>
                      <a:lnTo>
                        <a:pt x="216124" y="22941"/>
                      </a:lnTo>
                      <a:lnTo>
                        <a:pt x="217935" y="22337"/>
                      </a:lnTo>
                      <a:lnTo>
                        <a:pt x="219142" y="22337"/>
                      </a:lnTo>
                      <a:lnTo>
                        <a:pt x="220953" y="20526"/>
                      </a:lnTo>
                      <a:lnTo>
                        <a:pt x="228198" y="19922"/>
                      </a:lnTo>
                      <a:lnTo>
                        <a:pt x="230612" y="18111"/>
                      </a:lnTo>
                      <a:lnTo>
                        <a:pt x="233027" y="18111"/>
                      </a:lnTo>
                      <a:lnTo>
                        <a:pt x="233631" y="18111"/>
                      </a:lnTo>
                      <a:lnTo>
                        <a:pt x="234235" y="18715"/>
                      </a:lnTo>
                      <a:lnTo>
                        <a:pt x="236046" y="18715"/>
                      </a:lnTo>
                      <a:lnTo>
                        <a:pt x="237253" y="18715"/>
                      </a:lnTo>
                      <a:lnTo>
                        <a:pt x="243290" y="7244"/>
                      </a:lnTo>
                      <a:lnTo>
                        <a:pt x="244497" y="0"/>
                      </a:lnTo>
                      <a:lnTo>
                        <a:pt x="247516" y="0"/>
                      </a:lnTo>
                      <a:lnTo>
                        <a:pt x="248723" y="0"/>
                      </a:lnTo>
                      <a:lnTo>
                        <a:pt x="251138" y="3018"/>
                      </a:lnTo>
                      <a:lnTo>
                        <a:pt x="252949" y="4226"/>
                      </a:lnTo>
                      <a:lnTo>
                        <a:pt x="253553" y="2415"/>
                      </a:lnTo>
                      <a:lnTo>
                        <a:pt x="253553" y="2415"/>
                      </a:lnTo>
                      <a:lnTo>
                        <a:pt x="254760" y="1811"/>
                      </a:lnTo>
                      <a:lnTo>
                        <a:pt x="255968" y="1811"/>
                      </a:lnTo>
                      <a:lnTo>
                        <a:pt x="257779" y="1811"/>
                      </a:lnTo>
                      <a:lnTo>
                        <a:pt x="257779" y="2415"/>
                      </a:lnTo>
                      <a:lnTo>
                        <a:pt x="257779" y="3018"/>
                      </a:lnTo>
                      <a:lnTo>
                        <a:pt x="256571" y="4226"/>
                      </a:lnTo>
                      <a:lnTo>
                        <a:pt x="255364" y="6037"/>
                      </a:lnTo>
                      <a:lnTo>
                        <a:pt x="254157" y="9659"/>
                      </a:lnTo>
                      <a:lnTo>
                        <a:pt x="255364" y="12074"/>
                      </a:lnTo>
                      <a:lnTo>
                        <a:pt x="252346" y="15092"/>
                      </a:lnTo>
                      <a:lnTo>
                        <a:pt x="251138" y="19922"/>
                      </a:lnTo>
                      <a:lnTo>
                        <a:pt x="252346" y="24148"/>
                      </a:lnTo>
                      <a:lnTo>
                        <a:pt x="257779" y="28977"/>
                      </a:lnTo>
                      <a:lnTo>
                        <a:pt x="258986" y="33203"/>
                      </a:lnTo>
                      <a:lnTo>
                        <a:pt x="262608" y="35014"/>
                      </a:lnTo>
                      <a:lnTo>
                        <a:pt x="263212" y="34411"/>
                      </a:lnTo>
                      <a:lnTo>
                        <a:pt x="264419" y="33807"/>
                      </a:lnTo>
                      <a:lnTo>
                        <a:pt x="265627" y="33203"/>
                      </a:lnTo>
                      <a:lnTo>
                        <a:pt x="267438" y="34411"/>
                      </a:lnTo>
                      <a:lnTo>
                        <a:pt x="267438" y="36222"/>
                      </a:lnTo>
                      <a:lnTo>
                        <a:pt x="269249" y="38637"/>
                      </a:lnTo>
                      <a:lnTo>
                        <a:pt x="271060" y="39240"/>
                      </a:lnTo>
                      <a:lnTo>
                        <a:pt x="270456" y="42862"/>
                      </a:lnTo>
                      <a:lnTo>
                        <a:pt x="275890" y="54333"/>
                      </a:lnTo>
                      <a:lnTo>
                        <a:pt x="284945" y="59162"/>
                      </a:lnTo>
                      <a:lnTo>
                        <a:pt x="292793" y="65199"/>
                      </a:lnTo>
                      <a:lnTo>
                        <a:pt x="294604" y="64596"/>
                      </a:lnTo>
                      <a:lnTo>
                        <a:pt x="295208" y="64596"/>
                      </a:lnTo>
                      <a:lnTo>
                        <a:pt x="297019" y="64596"/>
                      </a:lnTo>
                      <a:lnTo>
                        <a:pt x="298226" y="63388"/>
                      </a:lnTo>
                      <a:lnTo>
                        <a:pt x="300038" y="62784"/>
                      </a:lnTo>
                      <a:lnTo>
                        <a:pt x="301849" y="63992"/>
                      </a:lnTo>
                      <a:lnTo>
                        <a:pt x="303660" y="65199"/>
                      </a:lnTo>
                      <a:lnTo>
                        <a:pt x="304867" y="65803"/>
                      </a:lnTo>
                      <a:lnTo>
                        <a:pt x="306678" y="66407"/>
                      </a:lnTo>
                      <a:lnTo>
                        <a:pt x="308489" y="69425"/>
                      </a:lnTo>
                      <a:lnTo>
                        <a:pt x="310300" y="69425"/>
                      </a:lnTo>
                      <a:lnTo>
                        <a:pt x="311508" y="68821"/>
                      </a:lnTo>
                      <a:lnTo>
                        <a:pt x="312715" y="68218"/>
                      </a:lnTo>
                      <a:lnTo>
                        <a:pt x="314526" y="65803"/>
                      </a:lnTo>
                      <a:lnTo>
                        <a:pt x="316337" y="66407"/>
                      </a:lnTo>
                      <a:lnTo>
                        <a:pt x="317545" y="67010"/>
                      </a:lnTo>
                      <a:lnTo>
                        <a:pt x="317545" y="67010"/>
                      </a:lnTo>
                      <a:lnTo>
                        <a:pt x="321167" y="67614"/>
                      </a:lnTo>
                      <a:lnTo>
                        <a:pt x="321167" y="73047"/>
                      </a:lnTo>
                      <a:lnTo>
                        <a:pt x="325393" y="83914"/>
                      </a:lnTo>
                      <a:lnTo>
                        <a:pt x="325997" y="83310"/>
                      </a:lnTo>
                      <a:lnTo>
                        <a:pt x="325997" y="82103"/>
                      </a:lnTo>
                      <a:lnTo>
                        <a:pt x="326600" y="80895"/>
                      </a:lnTo>
                      <a:lnTo>
                        <a:pt x="327204" y="80292"/>
                      </a:lnTo>
                      <a:lnTo>
                        <a:pt x="327204" y="80292"/>
                      </a:lnTo>
                      <a:lnTo>
                        <a:pt x="329015" y="79688"/>
                      </a:lnTo>
                      <a:lnTo>
                        <a:pt x="329619" y="82103"/>
                      </a:lnTo>
                      <a:lnTo>
                        <a:pt x="330222" y="83310"/>
                      </a:lnTo>
                      <a:lnTo>
                        <a:pt x="339882" y="88140"/>
                      </a:lnTo>
                      <a:lnTo>
                        <a:pt x="339278" y="91762"/>
                      </a:lnTo>
                      <a:lnTo>
                        <a:pt x="344107" y="95988"/>
                      </a:lnTo>
                      <a:lnTo>
                        <a:pt x="345315" y="94780"/>
                      </a:lnTo>
                      <a:lnTo>
                        <a:pt x="346522" y="92969"/>
                      </a:lnTo>
                      <a:lnTo>
                        <a:pt x="348333" y="94780"/>
                      </a:lnTo>
                      <a:lnTo>
                        <a:pt x="348937" y="95384"/>
                      </a:lnTo>
                      <a:lnTo>
                        <a:pt x="349541" y="97195"/>
                      </a:lnTo>
                      <a:lnTo>
                        <a:pt x="352559" y="99006"/>
                      </a:lnTo>
                      <a:lnTo>
                        <a:pt x="356181" y="98403"/>
                      </a:lnTo>
                      <a:lnTo>
                        <a:pt x="359200" y="106251"/>
                      </a:lnTo>
                      <a:lnTo>
                        <a:pt x="362218" y="106854"/>
                      </a:lnTo>
                      <a:lnTo>
                        <a:pt x="362822" y="106854"/>
                      </a:lnTo>
                      <a:lnTo>
                        <a:pt x="363426" y="106854"/>
                      </a:lnTo>
                      <a:lnTo>
                        <a:pt x="364633" y="106854"/>
                      </a:lnTo>
                      <a:lnTo>
                        <a:pt x="366444" y="105647"/>
                      </a:lnTo>
                      <a:lnTo>
                        <a:pt x="367048" y="97799"/>
                      </a:lnTo>
                      <a:lnTo>
                        <a:pt x="371274" y="91762"/>
                      </a:lnTo>
                      <a:lnTo>
                        <a:pt x="374292" y="90555"/>
                      </a:lnTo>
                      <a:lnTo>
                        <a:pt x="376103" y="91762"/>
                      </a:lnTo>
                      <a:lnTo>
                        <a:pt x="376103" y="91762"/>
                      </a:lnTo>
                      <a:lnTo>
                        <a:pt x="377311" y="92366"/>
                      </a:lnTo>
                      <a:lnTo>
                        <a:pt x="379122" y="92366"/>
                      </a:lnTo>
                      <a:lnTo>
                        <a:pt x="379726" y="92366"/>
                      </a:lnTo>
                      <a:lnTo>
                        <a:pt x="380933" y="91158"/>
                      </a:lnTo>
                      <a:lnTo>
                        <a:pt x="382140" y="92969"/>
                      </a:lnTo>
                      <a:lnTo>
                        <a:pt x="382140" y="94780"/>
                      </a:lnTo>
                      <a:lnTo>
                        <a:pt x="382744" y="95384"/>
                      </a:lnTo>
                      <a:lnTo>
                        <a:pt x="386970" y="96592"/>
                      </a:lnTo>
                      <a:lnTo>
                        <a:pt x="387574" y="95988"/>
                      </a:lnTo>
                      <a:lnTo>
                        <a:pt x="390592" y="92366"/>
                      </a:lnTo>
                      <a:lnTo>
                        <a:pt x="393007" y="90555"/>
                      </a:lnTo>
                      <a:lnTo>
                        <a:pt x="394818" y="91762"/>
                      </a:lnTo>
                      <a:lnTo>
                        <a:pt x="396025" y="91158"/>
                      </a:lnTo>
                      <a:lnTo>
                        <a:pt x="396629" y="91158"/>
                      </a:lnTo>
                      <a:lnTo>
                        <a:pt x="397233" y="91158"/>
                      </a:lnTo>
                      <a:lnTo>
                        <a:pt x="400251" y="90555"/>
                      </a:lnTo>
                      <a:lnTo>
                        <a:pt x="405081" y="84518"/>
                      </a:lnTo>
                      <a:lnTo>
                        <a:pt x="410514" y="82103"/>
                      </a:lnTo>
                      <a:lnTo>
                        <a:pt x="412929" y="77877"/>
                      </a:lnTo>
                      <a:lnTo>
                        <a:pt x="418966" y="77273"/>
                      </a:lnTo>
                      <a:lnTo>
                        <a:pt x="419570" y="77273"/>
                      </a:lnTo>
                      <a:lnTo>
                        <a:pt x="419570" y="77273"/>
                      </a:lnTo>
                      <a:lnTo>
                        <a:pt x="427418" y="72444"/>
                      </a:lnTo>
                      <a:lnTo>
                        <a:pt x="429832" y="65803"/>
                      </a:lnTo>
                      <a:lnTo>
                        <a:pt x="432851" y="68218"/>
                      </a:lnTo>
                      <a:lnTo>
                        <a:pt x="433455" y="68218"/>
                      </a:lnTo>
                      <a:lnTo>
                        <a:pt x="435266" y="67614"/>
                      </a:lnTo>
                      <a:lnTo>
                        <a:pt x="435869" y="68218"/>
                      </a:lnTo>
                      <a:lnTo>
                        <a:pt x="436473" y="68218"/>
                      </a:lnTo>
                      <a:lnTo>
                        <a:pt x="436473" y="68218"/>
                      </a:lnTo>
                      <a:lnTo>
                        <a:pt x="437077" y="70029"/>
                      </a:lnTo>
                      <a:lnTo>
                        <a:pt x="440095" y="69425"/>
                      </a:lnTo>
                      <a:lnTo>
                        <a:pt x="449754" y="80292"/>
                      </a:lnTo>
                      <a:lnTo>
                        <a:pt x="455791" y="85725"/>
                      </a:lnTo>
                      <a:lnTo>
                        <a:pt x="452169" y="89347"/>
                      </a:lnTo>
                      <a:lnTo>
                        <a:pt x="449754" y="95988"/>
                      </a:lnTo>
                      <a:lnTo>
                        <a:pt x="457603" y="100817"/>
                      </a:lnTo>
                      <a:lnTo>
                        <a:pt x="459414" y="102629"/>
                      </a:lnTo>
                      <a:lnTo>
                        <a:pt x="460621" y="102629"/>
                      </a:lnTo>
                      <a:lnTo>
                        <a:pt x="461828" y="102025"/>
                      </a:lnTo>
                      <a:lnTo>
                        <a:pt x="462432" y="102025"/>
                      </a:lnTo>
                      <a:lnTo>
                        <a:pt x="463036" y="102025"/>
                      </a:lnTo>
                      <a:lnTo>
                        <a:pt x="464243" y="103232"/>
                      </a:lnTo>
                      <a:lnTo>
                        <a:pt x="464847" y="103836"/>
                      </a:lnTo>
                      <a:lnTo>
                        <a:pt x="467865" y="105043"/>
                      </a:lnTo>
                      <a:lnTo>
                        <a:pt x="470280" y="108062"/>
                      </a:lnTo>
                      <a:lnTo>
                        <a:pt x="471488" y="114099"/>
                      </a:lnTo>
                      <a:lnTo>
                        <a:pt x="474506" y="117721"/>
                      </a:lnTo>
                      <a:lnTo>
                        <a:pt x="476921" y="117721"/>
                      </a:lnTo>
                      <a:lnTo>
                        <a:pt x="477525" y="117721"/>
                      </a:lnTo>
                      <a:lnTo>
                        <a:pt x="478128" y="117721"/>
                      </a:lnTo>
                      <a:lnTo>
                        <a:pt x="479336" y="118325"/>
                      </a:lnTo>
                      <a:lnTo>
                        <a:pt x="480543" y="118325"/>
                      </a:lnTo>
                      <a:lnTo>
                        <a:pt x="481750" y="120136"/>
                      </a:lnTo>
                      <a:lnTo>
                        <a:pt x="482354" y="122551"/>
                      </a:lnTo>
                      <a:lnTo>
                        <a:pt x="479336" y="138247"/>
                      </a:lnTo>
                      <a:lnTo>
                        <a:pt x="482958" y="141265"/>
                      </a:lnTo>
                      <a:lnTo>
                        <a:pt x="486580" y="149113"/>
                      </a:lnTo>
                      <a:lnTo>
                        <a:pt x="489598" y="150924"/>
                      </a:lnTo>
                      <a:lnTo>
                        <a:pt x="489598" y="154546"/>
                      </a:lnTo>
                      <a:lnTo>
                        <a:pt x="494428" y="162998"/>
                      </a:lnTo>
                      <a:lnTo>
                        <a:pt x="496239" y="163602"/>
                      </a:lnTo>
                      <a:lnTo>
                        <a:pt x="498050" y="163602"/>
                      </a:lnTo>
                      <a:lnTo>
                        <a:pt x="502880" y="164206"/>
                      </a:lnTo>
                      <a:lnTo>
                        <a:pt x="506502" y="162998"/>
                      </a:lnTo>
                      <a:lnTo>
                        <a:pt x="506502" y="156961"/>
                      </a:lnTo>
                      <a:lnTo>
                        <a:pt x="508313" y="153943"/>
                      </a:lnTo>
                      <a:lnTo>
                        <a:pt x="513143" y="154546"/>
                      </a:lnTo>
                      <a:lnTo>
                        <a:pt x="514350" y="149717"/>
                      </a:lnTo>
                      <a:lnTo>
                        <a:pt x="518576" y="145491"/>
                      </a:lnTo>
                      <a:lnTo>
                        <a:pt x="519783" y="146095"/>
                      </a:lnTo>
                      <a:lnTo>
                        <a:pt x="520387" y="147906"/>
                      </a:lnTo>
                      <a:lnTo>
                        <a:pt x="520991" y="148509"/>
                      </a:lnTo>
                      <a:lnTo>
                        <a:pt x="522802" y="150321"/>
                      </a:lnTo>
                      <a:lnTo>
                        <a:pt x="524009" y="150321"/>
                      </a:lnTo>
                      <a:lnTo>
                        <a:pt x="524613" y="149113"/>
                      </a:lnTo>
                      <a:lnTo>
                        <a:pt x="525217" y="148509"/>
                      </a:lnTo>
                      <a:lnTo>
                        <a:pt x="527028" y="143680"/>
                      </a:lnTo>
                      <a:lnTo>
                        <a:pt x="530650" y="141265"/>
                      </a:lnTo>
                      <a:lnTo>
                        <a:pt x="534272" y="141869"/>
                      </a:lnTo>
                      <a:lnTo>
                        <a:pt x="534876" y="142472"/>
                      </a:lnTo>
                      <a:lnTo>
                        <a:pt x="536083" y="143680"/>
                      </a:lnTo>
                      <a:lnTo>
                        <a:pt x="537291" y="144887"/>
                      </a:lnTo>
                      <a:lnTo>
                        <a:pt x="539102" y="144284"/>
                      </a:lnTo>
                      <a:lnTo>
                        <a:pt x="539705" y="144284"/>
                      </a:lnTo>
                      <a:lnTo>
                        <a:pt x="540913" y="144887"/>
                      </a:lnTo>
                      <a:lnTo>
                        <a:pt x="545742" y="142472"/>
                      </a:lnTo>
                      <a:lnTo>
                        <a:pt x="548157" y="137643"/>
                      </a:lnTo>
                      <a:lnTo>
                        <a:pt x="555401" y="135832"/>
                      </a:lnTo>
                      <a:lnTo>
                        <a:pt x="560231" y="133417"/>
                      </a:lnTo>
                      <a:lnTo>
                        <a:pt x="558420" y="126776"/>
                      </a:lnTo>
                      <a:lnTo>
                        <a:pt x="570494" y="120739"/>
                      </a:lnTo>
                      <a:lnTo>
                        <a:pt x="574116" y="120739"/>
                      </a:lnTo>
                      <a:lnTo>
                        <a:pt x="575927" y="121343"/>
                      </a:lnTo>
                      <a:lnTo>
                        <a:pt x="575927" y="127984"/>
                      </a:lnTo>
                      <a:lnTo>
                        <a:pt x="577135" y="131606"/>
                      </a:lnTo>
                      <a:lnTo>
                        <a:pt x="574720" y="136436"/>
                      </a:lnTo>
                      <a:lnTo>
                        <a:pt x="574116" y="143076"/>
                      </a:lnTo>
                      <a:lnTo>
                        <a:pt x="575324" y="151528"/>
                      </a:lnTo>
                      <a:lnTo>
                        <a:pt x="579549" y="155150"/>
                      </a:lnTo>
                      <a:lnTo>
                        <a:pt x="567475" y="164206"/>
                      </a:lnTo>
                      <a:lnTo>
                        <a:pt x="560231" y="166017"/>
                      </a:lnTo>
                      <a:lnTo>
                        <a:pt x="560835" y="178091"/>
                      </a:lnTo>
                      <a:lnTo>
                        <a:pt x="556609" y="183524"/>
                      </a:lnTo>
                      <a:lnTo>
                        <a:pt x="563250" y="191372"/>
                      </a:lnTo>
                      <a:lnTo>
                        <a:pt x="564457" y="190165"/>
                      </a:lnTo>
                      <a:lnTo>
                        <a:pt x="572305" y="182317"/>
                      </a:lnTo>
                      <a:lnTo>
                        <a:pt x="577738" y="178091"/>
                      </a:lnTo>
                      <a:lnTo>
                        <a:pt x="581361" y="178694"/>
                      </a:lnTo>
                      <a:lnTo>
                        <a:pt x="581361" y="179298"/>
                      </a:lnTo>
                      <a:lnTo>
                        <a:pt x="581964" y="180505"/>
                      </a:lnTo>
                      <a:lnTo>
                        <a:pt x="583775" y="182317"/>
                      </a:lnTo>
                      <a:lnTo>
                        <a:pt x="588001" y="182920"/>
                      </a:lnTo>
                      <a:lnTo>
                        <a:pt x="591623" y="187750"/>
                      </a:lnTo>
                      <a:lnTo>
                        <a:pt x="589209" y="192579"/>
                      </a:lnTo>
                      <a:lnTo>
                        <a:pt x="589209" y="195598"/>
                      </a:lnTo>
                      <a:lnTo>
                        <a:pt x="594642" y="198013"/>
                      </a:lnTo>
                      <a:lnTo>
                        <a:pt x="597660" y="203446"/>
                      </a:lnTo>
                      <a:lnTo>
                        <a:pt x="602490" y="203446"/>
                      </a:lnTo>
                      <a:lnTo>
                        <a:pt x="606112" y="205257"/>
                      </a:lnTo>
                      <a:lnTo>
                        <a:pt x="601282" y="211898"/>
                      </a:lnTo>
                      <a:lnTo>
                        <a:pt x="600679" y="214916"/>
                      </a:lnTo>
                      <a:lnTo>
                        <a:pt x="595849" y="219746"/>
                      </a:lnTo>
                      <a:lnTo>
                        <a:pt x="594038" y="225179"/>
                      </a:lnTo>
                      <a:lnTo>
                        <a:pt x="595246" y="236046"/>
                      </a:lnTo>
                      <a:lnTo>
                        <a:pt x="594642" y="239668"/>
                      </a:lnTo>
                      <a:lnTo>
                        <a:pt x="589812" y="246912"/>
                      </a:lnTo>
                      <a:lnTo>
                        <a:pt x="598868" y="248119"/>
                      </a:lnTo>
                      <a:lnTo>
                        <a:pt x="607319" y="246308"/>
                      </a:lnTo>
                      <a:lnTo>
                        <a:pt x="610942" y="246308"/>
                      </a:lnTo>
                      <a:lnTo>
                        <a:pt x="621204" y="254156"/>
                      </a:lnTo>
                      <a:lnTo>
                        <a:pt x="621808" y="261401"/>
                      </a:lnTo>
                      <a:lnTo>
                        <a:pt x="620601" y="265627"/>
                      </a:lnTo>
                      <a:lnTo>
                        <a:pt x="617582" y="268645"/>
                      </a:lnTo>
                      <a:lnTo>
                        <a:pt x="620601" y="271060"/>
                      </a:lnTo>
                      <a:lnTo>
                        <a:pt x="621808" y="277097"/>
                      </a:lnTo>
                      <a:lnTo>
                        <a:pt x="632675" y="281323"/>
                      </a:lnTo>
                      <a:lnTo>
                        <a:pt x="633882" y="285549"/>
                      </a:lnTo>
                      <a:lnTo>
                        <a:pt x="640523" y="293397"/>
                      </a:lnTo>
                      <a:lnTo>
                        <a:pt x="641127" y="295812"/>
                      </a:lnTo>
                      <a:lnTo>
                        <a:pt x="651389" y="306074"/>
                      </a:lnTo>
                      <a:lnTo>
                        <a:pt x="658030" y="307282"/>
                      </a:lnTo>
                      <a:lnTo>
                        <a:pt x="656219" y="315734"/>
                      </a:lnTo>
                      <a:lnTo>
                        <a:pt x="652597" y="325393"/>
                      </a:lnTo>
                      <a:lnTo>
                        <a:pt x="650182" y="328411"/>
                      </a:lnTo>
                      <a:lnTo>
                        <a:pt x="648371" y="335052"/>
                      </a:lnTo>
                      <a:lnTo>
                        <a:pt x="647767" y="347126"/>
                      </a:lnTo>
                      <a:lnTo>
                        <a:pt x="641730" y="351955"/>
                      </a:lnTo>
                      <a:lnTo>
                        <a:pt x="641730" y="357389"/>
                      </a:lnTo>
                      <a:lnTo>
                        <a:pt x="644145" y="362822"/>
                      </a:lnTo>
                      <a:lnTo>
                        <a:pt x="648371" y="364633"/>
                      </a:lnTo>
                      <a:lnTo>
                        <a:pt x="645956" y="368859"/>
                      </a:lnTo>
                      <a:lnTo>
                        <a:pt x="647767" y="372481"/>
                      </a:lnTo>
                      <a:lnTo>
                        <a:pt x="650786" y="382140"/>
                      </a:lnTo>
                      <a:lnTo>
                        <a:pt x="653200" y="383348"/>
                      </a:lnTo>
                      <a:lnTo>
                        <a:pt x="659841" y="382140"/>
                      </a:lnTo>
                      <a:lnTo>
                        <a:pt x="661048" y="389385"/>
                      </a:lnTo>
                      <a:lnTo>
                        <a:pt x="669500" y="397233"/>
                      </a:lnTo>
                      <a:lnTo>
                        <a:pt x="670708" y="400251"/>
                      </a:lnTo>
                      <a:lnTo>
                        <a:pt x="668897" y="403873"/>
                      </a:lnTo>
                      <a:lnTo>
                        <a:pt x="663463" y="409910"/>
                      </a:lnTo>
                      <a:lnTo>
                        <a:pt x="657426" y="412325"/>
                      </a:lnTo>
                      <a:lnTo>
                        <a:pt x="653804" y="416551"/>
                      </a:lnTo>
                      <a:lnTo>
                        <a:pt x="647767" y="418362"/>
                      </a:lnTo>
                      <a:lnTo>
                        <a:pt x="644749" y="423192"/>
                      </a:lnTo>
                      <a:lnTo>
                        <a:pt x="646560" y="426210"/>
                      </a:lnTo>
                      <a:lnTo>
                        <a:pt x="646560" y="431644"/>
                      </a:lnTo>
                      <a:lnTo>
                        <a:pt x="652597" y="430436"/>
                      </a:lnTo>
                      <a:lnTo>
                        <a:pt x="662860" y="439492"/>
                      </a:lnTo>
                      <a:lnTo>
                        <a:pt x="662256" y="447943"/>
                      </a:lnTo>
                      <a:lnTo>
                        <a:pt x="659237" y="452169"/>
                      </a:lnTo>
                      <a:lnTo>
                        <a:pt x="665878" y="454584"/>
                      </a:lnTo>
                      <a:lnTo>
                        <a:pt x="669500" y="456999"/>
                      </a:lnTo>
                      <a:lnTo>
                        <a:pt x="672519" y="463639"/>
                      </a:lnTo>
                      <a:lnTo>
                        <a:pt x="670104" y="469073"/>
                      </a:lnTo>
                      <a:lnTo>
                        <a:pt x="674330" y="471487"/>
                      </a:lnTo>
                      <a:lnTo>
                        <a:pt x="677952" y="476317"/>
                      </a:lnTo>
                      <a:lnTo>
                        <a:pt x="680367" y="483561"/>
                      </a:lnTo>
                      <a:lnTo>
                        <a:pt x="686404" y="486580"/>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5" name="Jharkhand" descr="{&quot;Key&quot;:&quot;jharkhand&quot;,&quot;Name&quot;:&quot;Jharkhand&quot;,&quot;Value&quot;:1.0,&quot;Formula&quot;:&quot;&quot;,&quot;Text&quot;:&quot;&quot;,&quot;OfficeApplication&quot;:1,&quot;HasValue&quot;:true}">
                  <a:extLst>
                    <a:ext uri="{FF2B5EF4-FFF2-40B4-BE49-F238E27FC236}">
                      <a16:creationId xmlns:a16="http://schemas.microsoft.com/office/drawing/2014/main" id="{487DE9CF-8D28-4D7F-89DA-7E7C00D58F69}"/>
                    </a:ext>
                  </a:extLst>
                </p:cNvPr>
                <p:cNvSpPr/>
                <p:nvPr/>
              </p:nvSpPr>
              <p:spPr>
                <a:xfrm>
                  <a:off x="6204062" y="2845828"/>
                  <a:ext cx="953842" cy="754621"/>
                </a:xfrm>
                <a:custGeom>
                  <a:avLst/>
                  <a:gdLst>
                    <a:gd name="connsiteX0" fmla="*/ 920034 w 953841"/>
                    <a:gd name="connsiteY0" fmla="*/ 25355 h 754621"/>
                    <a:gd name="connsiteX1" fmla="*/ 917016 w 953841"/>
                    <a:gd name="connsiteY1" fmla="*/ 41052 h 754621"/>
                    <a:gd name="connsiteX2" fmla="*/ 917016 w 953841"/>
                    <a:gd name="connsiteY2" fmla="*/ 53125 h 754621"/>
                    <a:gd name="connsiteX3" fmla="*/ 921242 w 953841"/>
                    <a:gd name="connsiteY3" fmla="*/ 58559 h 754621"/>
                    <a:gd name="connsiteX4" fmla="*/ 929694 w 953841"/>
                    <a:gd name="connsiteY4" fmla="*/ 62784 h 754621"/>
                    <a:gd name="connsiteX5" fmla="*/ 936334 w 953841"/>
                    <a:gd name="connsiteY5" fmla="*/ 67010 h 754621"/>
                    <a:gd name="connsiteX6" fmla="*/ 944182 w 953841"/>
                    <a:gd name="connsiteY6" fmla="*/ 76066 h 754621"/>
                    <a:gd name="connsiteX7" fmla="*/ 944786 w 953841"/>
                    <a:gd name="connsiteY7" fmla="*/ 79084 h 754621"/>
                    <a:gd name="connsiteX8" fmla="*/ 956256 w 953841"/>
                    <a:gd name="connsiteY8" fmla="*/ 90555 h 754621"/>
                    <a:gd name="connsiteX9" fmla="*/ 958067 w 953841"/>
                    <a:gd name="connsiteY9" fmla="*/ 92969 h 754621"/>
                    <a:gd name="connsiteX10" fmla="*/ 958671 w 953841"/>
                    <a:gd name="connsiteY10" fmla="*/ 99610 h 754621"/>
                    <a:gd name="connsiteX11" fmla="*/ 956860 w 953841"/>
                    <a:gd name="connsiteY11" fmla="*/ 102629 h 754621"/>
                    <a:gd name="connsiteX12" fmla="*/ 945993 w 953841"/>
                    <a:gd name="connsiteY12" fmla="*/ 108665 h 754621"/>
                    <a:gd name="connsiteX13" fmla="*/ 942975 w 953841"/>
                    <a:gd name="connsiteY13" fmla="*/ 111684 h 754621"/>
                    <a:gd name="connsiteX14" fmla="*/ 936334 w 953841"/>
                    <a:gd name="connsiteY14" fmla="*/ 127380 h 754621"/>
                    <a:gd name="connsiteX15" fmla="*/ 933316 w 953841"/>
                    <a:gd name="connsiteY15" fmla="*/ 130399 h 754621"/>
                    <a:gd name="connsiteX16" fmla="*/ 926675 w 953841"/>
                    <a:gd name="connsiteY16" fmla="*/ 129191 h 754621"/>
                    <a:gd name="connsiteX17" fmla="*/ 930901 w 953841"/>
                    <a:gd name="connsiteY17" fmla="*/ 135228 h 754621"/>
                    <a:gd name="connsiteX18" fmla="*/ 943579 w 953841"/>
                    <a:gd name="connsiteY18" fmla="*/ 138850 h 754621"/>
                    <a:gd name="connsiteX19" fmla="*/ 942975 w 953841"/>
                    <a:gd name="connsiteY19" fmla="*/ 146095 h 754621"/>
                    <a:gd name="connsiteX20" fmla="*/ 940560 w 953841"/>
                    <a:gd name="connsiteY20" fmla="*/ 149113 h 754621"/>
                    <a:gd name="connsiteX21" fmla="*/ 945993 w 953841"/>
                    <a:gd name="connsiteY21" fmla="*/ 152736 h 754621"/>
                    <a:gd name="connsiteX22" fmla="*/ 943579 w 953841"/>
                    <a:gd name="connsiteY22" fmla="*/ 163602 h 754621"/>
                    <a:gd name="connsiteX23" fmla="*/ 945390 w 953841"/>
                    <a:gd name="connsiteY23" fmla="*/ 167828 h 754621"/>
                    <a:gd name="connsiteX24" fmla="*/ 941768 w 953841"/>
                    <a:gd name="connsiteY24" fmla="*/ 171450 h 754621"/>
                    <a:gd name="connsiteX25" fmla="*/ 940560 w 953841"/>
                    <a:gd name="connsiteY25" fmla="*/ 175072 h 754621"/>
                    <a:gd name="connsiteX26" fmla="*/ 936334 w 953841"/>
                    <a:gd name="connsiteY26" fmla="*/ 175676 h 754621"/>
                    <a:gd name="connsiteX27" fmla="*/ 932712 w 953841"/>
                    <a:gd name="connsiteY27" fmla="*/ 178091 h 754621"/>
                    <a:gd name="connsiteX28" fmla="*/ 927882 w 953841"/>
                    <a:gd name="connsiteY28" fmla="*/ 175676 h 754621"/>
                    <a:gd name="connsiteX29" fmla="*/ 924864 w 953841"/>
                    <a:gd name="connsiteY29" fmla="*/ 172054 h 754621"/>
                    <a:gd name="connsiteX30" fmla="*/ 921845 w 953841"/>
                    <a:gd name="connsiteY30" fmla="*/ 175072 h 754621"/>
                    <a:gd name="connsiteX31" fmla="*/ 923053 w 953841"/>
                    <a:gd name="connsiteY31" fmla="*/ 185335 h 754621"/>
                    <a:gd name="connsiteX32" fmla="*/ 922449 w 953841"/>
                    <a:gd name="connsiteY32" fmla="*/ 191372 h 754621"/>
                    <a:gd name="connsiteX33" fmla="*/ 926675 w 953841"/>
                    <a:gd name="connsiteY33" fmla="*/ 196805 h 754621"/>
                    <a:gd name="connsiteX34" fmla="*/ 920638 w 953841"/>
                    <a:gd name="connsiteY34" fmla="*/ 204653 h 754621"/>
                    <a:gd name="connsiteX35" fmla="*/ 920034 w 953841"/>
                    <a:gd name="connsiteY35" fmla="*/ 209483 h 754621"/>
                    <a:gd name="connsiteX36" fmla="*/ 922449 w 953841"/>
                    <a:gd name="connsiteY36" fmla="*/ 211898 h 754621"/>
                    <a:gd name="connsiteX37" fmla="*/ 922449 w 953841"/>
                    <a:gd name="connsiteY37" fmla="*/ 216124 h 754621"/>
                    <a:gd name="connsiteX38" fmla="*/ 914601 w 953841"/>
                    <a:gd name="connsiteY38" fmla="*/ 226990 h 754621"/>
                    <a:gd name="connsiteX39" fmla="*/ 913997 w 953841"/>
                    <a:gd name="connsiteY39" fmla="*/ 233631 h 754621"/>
                    <a:gd name="connsiteX40" fmla="*/ 907960 w 953841"/>
                    <a:gd name="connsiteY40" fmla="*/ 237857 h 754621"/>
                    <a:gd name="connsiteX41" fmla="*/ 904338 w 953841"/>
                    <a:gd name="connsiteY41" fmla="*/ 236649 h 754621"/>
                    <a:gd name="connsiteX42" fmla="*/ 903131 w 953841"/>
                    <a:gd name="connsiteY42" fmla="*/ 242083 h 754621"/>
                    <a:gd name="connsiteX43" fmla="*/ 898301 w 953841"/>
                    <a:gd name="connsiteY43" fmla="*/ 246912 h 754621"/>
                    <a:gd name="connsiteX44" fmla="*/ 891057 w 953841"/>
                    <a:gd name="connsiteY44" fmla="*/ 246309 h 754621"/>
                    <a:gd name="connsiteX45" fmla="*/ 889246 w 953841"/>
                    <a:gd name="connsiteY45" fmla="*/ 254760 h 754621"/>
                    <a:gd name="connsiteX46" fmla="*/ 895886 w 953841"/>
                    <a:gd name="connsiteY46" fmla="*/ 255968 h 754621"/>
                    <a:gd name="connsiteX47" fmla="*/ 901320 w 953841"/>
                    <a:gd name="connsiteY47" fmla="*/ 262608 h 754621"/>
                    <a:gd name="connsiteX48" fmla="*/ 900112 w 953841"/>
                    <a:gd name="connsiteY48" fmla="*/ 268645 h 754621"/>
                    <a:gd name="connsiteX49" fmla="*/ 889849 w 953841"/>
                    <a:gd name="connsiteY49" fmla="*/ 267438 h 754621"/>
                    <a:gd name="connsiteX50" fmla="*/ 887435 w 953841"/>
                    <a:gd name="connsiteY50" fmla="*/ 265627 h 754621"/>
                    <a:gd name="connsiteX51" fmla="*/ 877172 w 953841"/>
                    <a:gd name="connsiteY51" fmla="*/ 266231 h 754621"/>
                    <a:gd name="connsiteX52" fmla="*/ 878379 w 953841"/>
                    <a:gd name="connsiteY52" fmla="*/ 269249 h 754621"/>
                    <a:gd name="connsiteX53" fmla="*/ 882605 w 953841"/>
                    <a:gd name="connsiteY53" fmla="*/ 272871 h 754621"/>
                    <a:gd name="connsiteX54" fmla="*/ 877776 w 953841"/>
                    <a:gd name="connsiteY54" fmla="*/ 274682 h 754621"/>
                    <a:gd name="connsiteX55" fmla="*/ 875361 w 953841"/>
                    <a:gd name="connsiteY55" fmla="*/ 278304 h 754621"/>
                    <a:gd name="connsiteX56" fmla="*/ 875361 w 953841"/>
                    <a:gd name="connsiteY56" fmla="*/ 282530 h 754621"/>
                    <a:gd name="connsiteX57" fmla="*/ 868720 w 953841"/>
                    <a:gd name="connsiteY57" fmla="*/ 282530 h 754621"/>
                    <a:gd name="connsiteX58" fmla="*/ 865098 w 953841"/>
                    <a:gd name="connsiteY58" fmla="*/ 278908 h 754621"/>
                    <a:gd name="connsiteX59" fmla="*/ 860269 w 953841"/>
                    <a:gd name="connsiteY59" fmla="*/ 276493 h 754621"/>
                    <a:gd name="connsiteX60" fmla="*/ 859061 w 953841"/>
                    <a:gd name="connsiteY60" fmla="*/ 283134 h 754621"/>
                    <a:gd name="connsiteX61" fmla="*/ 862080 w 953841"/>
                    <a:gd name="connsiteY61" fmla="*/ 283738 h 754621"/>
                    <a:gd name="connsiteX62" fmla="*/ 859061 w 953841"/>
                    <a:gd name="connsiteY62" fmla="*/ 290982 h 754621"/>
                    <a:gd name="connsiteX63" fmla="*/ 862683 w 953841"/>
                    <a:gd name="connsiteY63" fmla="*/ 292189 h 754621"/>
                    <a:gd name="connsiteX64" fmla="*/ 861476 w 953841"/>
                    <a:gd name="connsiteY64" fmla="*/ 297623 h 754621"/>
                    <a:gd name="connsiteX65" fmla="*/ 854835 w 953841"/>
                    <a:gd name="connsiteY65" fmla="*/ 300037 h 754621"/>
                    <a:gd name="connsiteX66" fmla="*/ 850609 w 953841"/>
                    <a:gd name="connsiteY66" fmla="*/ 298830 h 754621"/>
                    <a:gd name="connsiteX67" fmla="*/ 848798 w 953841"/>
                    <a:gd name="connsiteY67" fmla="*/ 301849 h 754621"/>
                    <a:gd name="connsiteX68" fmla="*/ 852420 w 953841"/>
                    <a:gd name="connsiteY68" fmla="*/ 303660 h 754621"/>
                    <a:gd name="connsiteX69" fmla="*/ 848195 w 953841"/>
                    <a:gd name="connsiteY69" fmla="*/ 307282 h 754621"/>
                    <a:gd name="connsiteX70" fmla="*/ 837932 w 953841"/>
                    <a:gd name="connsiteY70" fmla="*/ 301849 h 754621"/>
                    <a:gd name="connsiteX71" fmla="*/ 831291 w 953841"/>
                    <a:gd name="connsiteY71" fmla="*/ 300641 h 754621"/>
                    <a:gd name="connsiteX72" fmla="*/ 827669 w 953841"/>
                    <a:gd name="connsiteY72" fmla="*/ 303660 h 754621"/>
                    <a:gd name="connsiteX73" fmla="*/ 822839 w 953841"/>
                    <a:gd name="connsiteY73" fmla="*/ 301245 h 754621"/>
                    <a:gd name="connsiteX74" fmla="*/ 826461 w 953841"/>
                    <a:gd name="connsiteY74" fmla="*/ 295208 h 754621"/>
                    <a:gd name="connsiteX75" fmla="*/ 814387 w 953841"/>
                    <a:gd name="connsiteY75" fmla="*/ 295208 h 754621"/>
                    <a:gd name="connsiteX76" fmla="*/ 808350 w 953841"/>
                    <a:gd name="connsiteY76" fmla="*/ 292793 h 754621"/>
                    <a:gd name="connsiteX77" fmla="*/ 805936 w 953841"/>
                    <a:gd name="connsiteY77" fmla="*/ 297019 h 754621"/>
                    <a:gd name="connsiteX78" fmla="*/ 808954 w 953841"/>
                    <a:gd name="connsiteY78" fmla="*/ 303056 h 754621"/>
                    <a:gd name="connsiteX79" fmla="*/ 813180 w 953841"/>
                    <a:gd name="connsiteY79" fmla="*/ 306074 h 754621"/>
                    <a:gd name="connsiteX80" fmla="*/ 811369 w 953841"/>
                    <a:gd name="connsiteY80" fmla="*/ 309093 h 754621"/>
                    <a:gd name="connsiteX81" fmla="*/ 818010 w 953841"/>
                    <a:gd name="connsiteY81" fmla="*/ 312715 h 754621"/>
                    <a:gd name="connsiteX82" fmla="*/ 816802 w 953841"/>
                    <a:gd name="connsiteY82" fmla="*/ 317545 h 754621"/>
                    <a:gd name="connsiteX83" fmla="*/ 818010 w 953841"/>
                    <a:gd name="connsiteY83" fmla="*/ 327204 h 754621"/>
                    <a:gd name="connsiteX84" fmla="*/ 812576 w 953841"/>
                    <a:gd name="connsiteY84" fmla="*/ 330826 h 754621"/>
                    <a:gd name="connsiteX85" fmla="*/ 811369 w 953841"/>
                    <a:gd name="connsiteY85" fmla="*/ 324789 h 754621"/>
                    <a:gd name="connsiteX86" fmla="*/ 808350 w 953841"/>
                    <a:gd name="connsiteY86" fmla="*/ 324789 h 754621"/>
                    <a:gd name="connsiteX87" fmla="*/ 808350 w 953841"/>
                    <a:gd name="connsiteY87" fmla="*/ 335052 h 754621"/>
                    <a:gd name="connsiteX88" fmla="*/ 810765 w 953841"/>
                    <a:gd name="connsiteY88" fmla="*/ 338674 h 754621"/>
                    <a:gd name="connsiteX89" fmla="*/ 808350 w 953841"/>
                    <a:gd name="connsiteY89" fmla="*/ 341089 h 754621"/>
                    <a:gd name="connsiteX90" fmla="*/ 802917 w 953841"/>
                    <a:gd name="connsiteY90" fmla="*/ 341693 h 754621"/>
                    <a:gd name="connsiteX91" fmla="*/ 803521 w 953841"/>
                    <a:gd name="connsiteY91" fmla="*/ 334448 h 754621"/>
                    <a:gd name="connsiteX92" fmla="*/ 798087 w 953841"/>
                    <a:gd name="connsiteY92" fmla="*/ 338071 h 754621"/>
                    <a:gd name="connsiteX93" fmla="*/ 796276 w 953841"/>
                    <a:gd name="connsiteY93" fmla="*/ 334448 h 754621"/>
                    <a:gd name="connsiteX94" fmla="*/ 786013 w 953841"/>
                    <a:gd name="connsiteY94" fmla="*/ 332034 h 754621"/>
                    <a:gd name="connsiteX95" fmla="*/ 784806 w 953841"/>
                    <a:gd name="connsiteY95" fmla="*/ 336259 h 754621"/>
                    <a:gd name="connsiteX96" fmla="*/ 789636 w 953841"/>
                    <a:gd name="connsiteY96" fmla="*/ 341693 h 754621"/>
                    <a:gd name="connsiteX97" fmla="*/ 792050 w 953841"/>
                    <a:gd name="connsiteY97" fmla="*/ 342900 h 754621"/>
                    <a:gd name="connsiteX98" fmla="*/ 788428 w 953841"/>
                    <a:gd name="connsiteY98" fmla="*/ 348937 h 754621"/>
                    <a:gd name="connsiteX99" fmla="*/ 779977 w 953841"/>
                    <a:gd name="connsiteY99" fmla="*/ 347730 h 754621"/>
                    <a:gd name="connsiteX100" fmla="*/ 769714 w 953841"/>
                    <a:gd name="connsiteY100" fmla="*/ 344108 h 754621"/>
                    <a:gd name="connsiteX101" fmla="*/ 764884 w 953841"/>
                    <a:gd name="connsiteY101" fmla="*/ 339278 h 754621"/>
                    <a:gd name="connsiteX102" fmla="*/ 758244 w 953841"/>
                    <a:gd name="connsiteY102" fmla="*/ 335656 h 754621"/>
                    <a:gd name="connsiteX103" fmla="*/ 750396 w 953841"/>
                    <a:gd name="connsiteY103" fmla="*/ 332637 h 754621"/>
                    <a:gd name="connsiteX104" fmla="*/ 746170 w 953841"/>
                    <a:gd name="connsiteY104" fmla="*/ 338071 h 754621"/>
                    <a:gd name="connsiteX105" fmla="*/ 742548 w 953841"/>
                    <a:gd name="connsiteY105" fmla="*/ 335656 h 754621"/>
                    <a:gd name="connsiteX106" fmla="*/ 741944 w 953841"/>
                    <a:gd name="connsiteY106" fmla="*/ 332637 h 754621"/>
                    <a:gd name="connsiteX107" fmla="*/ 736511 w 953841"/>
                    <a:gd name="connsiteY107" fmla="*/ 329619 h 754621"/>
                    <a:gd name="connsiteX108" fmla="*/ 732285 w 953841"/>
                    <a:gd name="connsiteY108" fmla="*/ 333241 h 754621"/>
                    <a:gd name="connsiteX109" fmla="*/ 732888 w 953841"/>
                    <a:gd name="connsiteY109" fmla="*/ 338071 h 754621"/>
                    <a:gd name="connsiteX110" fmla="*/ 729266 w 953841"/>
                    <a:gd name="connsiteY110" fmla="*/ 338071 h 754621"/>
                    <a:gd name="connsiteX111" fmla="*/ 725644 w 953841"/>
                    <a:gd name="connsiteY111" fmla="*/ 342900 h 754621"/>
                    <a:gd name="connsiteX112" fmla="*/ 720814 w 953841"/>
                    <a:gd name="connsiteY112" fmla="*/ 344711 h 754621"/>
                    <a:gd name="connsiteX113" fmla="*/ 716588 w 953841"/>
                    <a:gd name="connsiteY113" fmla="*/ 344711 h 754621"/>
                    <a:gd name="connsiteX114" fmla="*/ 715985 w 953841"/>
                    <a:gd name="connsiteY114" fmla="*/ 348333 h 754621"/>
                    <a:gd name="connsiteX115" fmla="*/ 720211 w 953841"/>
                    <a:gd name="connsiteY115" fmla="*/ 353163 h 754621"/>
                    <a:gd name="connsiteX116" fmla="*/ 720211 w 953841"/>
                    <a:gd name="connsiteY116" fmla="*/ 359804 h 754621"/>
                    <a:gd name="connsiteX117" fmla="*/ 717796 w 953841"/>
                    <a:gd name="connsiteY117" fmla="*/ 361011 h 754621"/>
                    <a:gd name="connsiteX118" fmla="*/ 714777 w 953841"/>
                    <a:gd name="connsiteY118" fmla="*/ 370670 h 754621"/>
                    <a:gd name="connsiteX119" fmla="*/ 714777 w 953841"/>
                    <a:gd name="connsiteY119" fmla="*/ 373085 h 754621"/>
                    <a:gd name="connsiteX120" fmla="*/ 703911 w 953841"/>
                    <a:gd name="connsiteY120" fmla="*/ 374896 h 754621"/>
                    <a:gd name="connsiteX121" fmla="*/ 702703 w 953841"/>
                    <a:gd name="connsiteY121" fmla="*/ 371274 h 754621"/>
                    <a:gd name="connsiteX122" fmla="*/ 698477 w 953841"/>
                    <a:gd name="connsiteY122" fmla="*/ 370670 h 754621"/>
                    <a:gd name="connsiteX123" fmla="*/ 685196 w 953841"/>
                    <a:gd name="connsiteY123" fmla="*/ 373689 h 754621"/>
                    <a:gd name="connsiteX124" fmla="*/ 673726 w 953841"/>
                    <a:gd name="connsiteY124" fmla="*/ 378518 h 754621"/>
                    <a:gd name="connsiteX125" fmla="*/ 660445 w 953841"/>
                    <a:gd name="connsiteY125" fmla="*/ 385762 h 754621"/>
                    <a:gd name="connsiteX126" fmla="*/ 650786 w 953841"/>
                    <a:gd name="connsiteY126" fmla="*/ 384555 h 754621"/>
                    <a:gd name="connsiteX127" fmla="*/ 643541 w 953841"/>
                    <a:gd name="connsiteY127" fmla="*/ 385762 h 754621"/>
                    <a:gd name="connsiteX128" fmla="*/ 635693 w 953841"/>
                    <a:gd name="connsiteY128" fmla="*/ 395422 h 754621"/>
                    <a:gd name="connsiteX129" fmla="*/ 630260 w 953841"/>
                    <a:gd name="connsiteY129" fmla="*/ 396025 h 754621"/>
                    <a:gd name="connsiteX130" fmla="*/ 630864 w 953841"/>
                    <a:gd name="connsiteY130" fmla="*/ 399044 h 754621"/>
                    <a:gd name="connsiteX131" fmla="*/ 625430 w 953841"/>
                    <a:gd name="connsiteY131" fmla="*/ 405081 h 754621"/>
                    <a:gd name="connsiteX132" fmla="*/ 627241 w 953841"/>
                    <a:gd name="connsiteY132" fmla="*/ 409910 h 754621"/>
                    <a:gd name="connsiteX133" fmla="*/ 625430 w 953841"/>
                    <a:gd name="connsiteY133" fmla="*/ 412325 h 754621"/>
                    <a:gd name="connsiteX134" fmla="*/ 624223 w 953841"/>
                    <a:gd name="connsiteY134" fmla="*/ 423192 h 754621"/>
                    <a:gd name="connsiteX135" fmla="*/ 618790 w 953841"/>
                    <a:gd name="connsiteY135" fmla="*/ 424399 h 754621"/>
                    <a:gd name="connsiteX136" fmla="*/ 613356 w 953841"/>
                    <a:gd name="connsiteY136" fmla="*/ 427418 h 754621"/>
                    <a:gd name="connsiteX137" fmla="*/ 616375 w 953841"/>
                    <a:gd name="connsiteY137" fmla="*/ 431644 h 754621"/>
                    <a:gd name="connsiteX138" fmla="*/ 613356 w 953841"/>
                    <a:gd name="connsiteY138" fmla="*/ 432851 h 754621"/>
                    <a:gd name="connsiteX139" fmla="*/ 609734 w 953841"/>
                    <a:gd name="connsiteY139" fmla="*/ 431644 h 754621"/>
                    <a:gd name="connsiteX140" fmla="*/ 609734 w 953841"/>
                    <a:gd name="connsiteY140" fmla="*/ 428625 h 754621"/>
                    <a:gd name="connsiteX141" fmla="*/ 602490 w 953841"/>
                    <a:gd name="connsiteY141" fmla="*/ 429832 h 754621"/>
                    <a:gd name="connsiteX142" fmla="*/ 598264 w 953841"/>
                    <a:gd name="connsiteY142" fmla="*/ 429229 h 754621"/>
                    <a:gd name="connsiteX143" fmla="*/ 597056 w 953841"/>
                    <a:gd name="connsiteY143" fmla="*/ 425003 h 754621"/>
                    <a:gd name="connsiteX144" fmla="*/ 593434 w 953841"/>
                    <a:gd name="connsiteY144" fmla="*/ 424399 h 754621"/>
                    <a:gd name="connsiteX145" fmla="*/ 588605 w 953841"/>
                    <a:gd name="connsiteY145" fmla="*/ 420777 h 754621"/>
                    <a:gd name="connsiteX146" fmla="*/ 581360 w 953841"/>
                    <a:gd name="connsiteY146" fmla="*/ 420173 h 754621"/>
                    <a:gd name="connsiteX147" fmla="*/ 583775 w 953841"/>
                    <a:gd name="connsiteY147" fmla="*/ 414136 h 754621"/>
                    <a:gd name="connsiteX148" fmla="*/ 581360 w 953841"/>
                    <a:gd name="connsiteY148" fmla="*/ 408703 h 754621"/>
                    <a:gd name="connsiteX149" fmla="*/ 583171 w 953841"/>
                    <a:gd name="connsiteY149" fmla="*/ 403270 h 754621"/>
                    <a:gd name="connsiteX150" fmla="*/ 580153 w 953841"/>
                    <a:gd name="connsiteY150" fmla="*/ 399044 h 754621"/>
                    <a:gd name="connsiteX151" fmla="*/ 572908 w 953841"/>
                    <a:gd name="connsiteY151" fmla="*/ 398440 h 754621"/>
                    <a:gd name="connsiteX152" fmla="*/ 566871 w 953841"/>
                    <a:gd name="connsiteY152" fmla="*/ 399647 h 754621"/>
                    <a:gd name="connsiteX153" fmla="*/ 566268 w 953841"/>
                    <a:gd name="connsiteY153" fmla="*/ 397233 h 754621"/>
                    <a:gd name="connsiteX154" fmla="*/ 559627 w 953841"/>
                    <a:gd name="connsiteY154" fmla="*/ 396025 h 754621"/>
                    <a:gd name="connsiteX155" fmla="*/ 554194 w 953841"/>
                    <a:gd name="connsiteY155" fmla="*/ 401459 h 754621"/>
                    <a:gd name="connsiteX156" fmla="*/ 554194 w 953841"/>
                    <a:gd name="connsiteY156" fmla="*/ 403270 h 754621"/>
                    <a:gd name="connsiteX157" fmla="*/ 558420 w 953841"/>
                    <a:gd name="connsiteY157" fmla="*/ 411118 h 754621"/>
                    <a:gd name="connsiteX158" fmla="*/ 560231 w 953841"/>
                    <a:gd name="connsiteY158" fmla="*/ 417155 h 754621"/>
                    <a:gd name="connsiteX159" fmla="*/ 556005 w 953841"/>
                    <a:gd name="connsiteY159" fmla="*/ 417758 h 754621"/>
                    <a:gd name="connsiteX160" fmla="*/ 539102 w 953841"/>
                    <a:gd name="connsiteY160" fmla="*/ 425003 h 754621"/>
                    <a:gd name="connsiteX161" fmla="*/ 532461 w 953841"/>
                    <a:gd name="connsiteY161" fmla="*/ 421381 h 754621"/>
                    <a:gd name="connsiteX162" fmla="*/ 525820 w 953841"/>
                    <a:gd name="connsiteY162" fmla="*/ 420173 h 754621"/>
                    <a:gd name="connsiteX163" fmla="*/ 522802 w 953841"/>
                    <a:gd name="connsiteY163" fmla="*/ 426210 h 754621"/>
                    <a:gd name="connsiteX164" fmla="*/ 523405 w 953841"/>
                    <a:gd name="connsiteY164" fmla="*/ 435266 h 754621"/>
                    <a:gd name="connsiteX165" fmla="*/ 526424 w 953841"/>
                    <a:gd name="connsiteY165" fmla="*/ 435869 h 754621"/>
                    <a:gd name="connsiteX166" fmla="*/ 530046 w 953841"/>
                    <a:gd name="connsiteY166" fmla="*/ 442510 h 754621"/>
                    <a:gd name="connsiteX167" fmla="*/ 524009 w 953841"/>
                    <a:gd name="connsiteY167" fmla="*/ 445529 h 754621"/>
                    <a:gd name="connsiteX168" fmla="*/ 525217 w 953841"/>
                    <a:gd name="connsiteY168" fmla="*/ 453377 h 754621"/>
                    <a:gd name="connsiteX169" fmla="*/ 523405 w 953841"/>
                    <a:gd name="connsiteY169" fmla="*/ 459414 h 754621"/>
                    <a:gd name="connsiteX170" fmla="*/ 517368 w 953841"/>
                    <a:gd name="connsiteY170" fmla="*/ 464243 h 754621"/>
                    <a:gd name="connsiteX171" fmla="*/ 516161 w 953841"/>
                    <a:gd name="connsiteY171" fmla="*/ 468469 h 754621"/>
                    <a:gd name="connsiteX172" fmla="*/ 517972 w 953841"/>
                    <a:gd name="connsiteY172" fmla="*/ 484165 h 754621"/>
                    <a:gd name="connsiteX173" fmla="*/ 522198 w 953841"/>
                    <a:gd name="connsiteY173" fmla="*/ 483561 h 754621"/>
                    <a:gd name="connsiteX174" fmla="*/ 526424 w 953841"/>
                    <a:gd name="connsiteY174" fmla="*/ 488391 h 754621"/>
                    <a:gd name="connsiteX175" fmla="*/ 526424 w 953841"/>
                    <a:gd name="connsiteY175" fmla="*/ 491409 h 754621"/>
                    <a:gd name="connsiteX176" fmla="*/ 531254 w 953841"/>
                    <a:gd name="connsiteY176" fmla="*/ 493824 h 754621"/>
                    <a:gd name="connsiteX177" fmla="*/ 534272 w 953841"/>
                    <a:gd name="connsiteY177" fmla="*/ 498050 h 754621"/>
                    <a:gd name="connsiteX178" fmla="*/ 540309 w 953841"/>
                    <a:gd name="connsiteY178" fmla="*/ 498050 h 754621"/>
                    <a:gd name="connsiteX179" fmla="*/ 541516 w 953841"/>
                    <a:gd name="connsiteY179" fmla="*/ 496239 h 754621"/>
                    <a:gd name="connsiteX180" fmla="*/ 548157 w 953841"/>
                    <a:gd name="connsiteY180" fmla="*/ 494428 h 754621"/>
                    <a:gd name="connsiteX181" fmla="*/ 559023 w 953841"/>
                    <a:gd name="connsiteY181" fmla="*/ 495032 h 754621"/>
                    <a:gd name="connsiteX182" fmla="*/ 561438 w 953841"/>
                    <a:gd name="connsiteY182" fmla="*/ 498050 h 754621"/>
                    <a:gd name="connsiteX183" fmla="*/ 560835 w 953841"/>
                    <a:gd name="connsiteY183" fmla="*/ 502276 h 754621"/>
                    <a:gd name="connsiteX184" fmla="*/ 570494 w 953841"/>
                    <a:gd name="connsiteY184" fmla="*/ 507106 h 754621"/>
                    <a:gd name="connsiteX185" fmla="*/ 575323 w 953841"/>
                    <a:gd name="connsiteY185" fmla="*/ 506502 h 754621"/>
                    <a:gd name="connsiteX186" fmla="*/ 580153 w 953841"/>
                    <a:gd name="connsiteY186" fmla="*/ 509520 h 754621"/>
                    <a:gd name="connsiteX187" fmla="*/ 579549 w 953841"/>
                    <a:gd name="connsiteY187" fmla="*/ 513143 h 754621"/>
                    <a:gd name="connsiteX188" fmla="*/ 584982 w 953841"/>
                    <a:gd name="connsiteY188" fmla="*/ 518576 h 754621"/>
                    <a:gd name="connsiteX189" fmla="*/ 588001 w 953841"/>
                    <a:gd name="connsiteY189" fmla="*/ 524613 h 754621"/>
                    <a:gd name="connsiteX190" fmla="*/ 592830 w 953841"/>
                    <a:gd name="connsiteY190" fmla="*/ 524009 h 754621"/>
                    <a:gd name="connsiteX191" fmla="*/ 595245 w 953841"/>
                    <a:gd name="connsiteY191" fmla="*/ 528839 h 754621"/>
                    <a:gd name="connsiteX192" fmla="*/ 605508 w 953841"/>
                    <a:gd name="connsiteY192" fmla="*/ 528235 h 754621"/>
                    <a:gd name="connsiteX193" fmla="*/ 609130 w 953841"/>
                    <a:gd name="connsiteY193" fmla="*/ 524613 h 754621"/>
                    <a:gd name="connsiteX194" fmla="*/ 619997 w 953841"/>
                    <a:gd name="connsiteY194" fmla="*/ 529442 h 754621"/>
                    <a:gd name="connsiteX195" fmla="*/ 626034 w 953841"/>
                    <a:gd name="connsiteY195" fmla="*/ 528235 h 754621"/>
                    <a:gd name="connsiteX196" fmla="*/ 630260 w 953841"/>
                    <a:gd name="connsiteY196" fmla="*/ 529442 h 754621"/>
                    <a:gd name="connsiteX197" fmla="*/ 632675 w 953841"/>
                    <a:gd name="connsiteY197" fmla="*/ 533065 h 754621"/>
                    <a:gd name="connsiteX198" fmla="*/ 637504 w 953841"/>
                    <a:gd name="connsiteY198" fmla="*/ 528235 h 754621"/>
                    <a:gd name="connsiteX199" fmla="*/ 647163 w 953841"/>
                    <a:gd name="connsiteY199" fmla="*/ 530650 h 754621"/>
                    <a:gd name="connsiteX200" fmla="*/ 654408 w 953841"/>
                    <a:gd name="connsiteY200" fmla="*/ 529442 h 754621"/>
                    <a:gd name="connsiteX201" fmla="*/ 657426 w 953841"/>
                    <a:gd name="connsiteY201" fmla="*/ 534876 h 754621"/>
                    <a:gd name="connsiteX202" fmla="*/ 661652 w 953841"/>
                    <a:gd name="connsiteY202" fmla="*/ 531254 h 754621"/>
                    <a:gd name="connsiteX203" fmla="*/ 662859 w 953841"/>
                    <a:gd name="connsiteY203" fmla="*/ 536083 h 754621"/>
                    <a:gd name="connsiteX204" fmla="*/ 658634 w 953841"/>
                    <a:gd name="connsiteY204" fmla="*/ 539705 h 754621"/>
                    <a:gd name="connsiteX205" fmla="*/ 654408 w 953841"/>
                    <a:gd name="connsiteY205" fmla="*/ 539102 h 754621"/>
                    <a:gd name="connsiteX206" fmla="*/ 651993 w 953841"/>
                    <a:gd name="connsiteY206" fmla="*/ 541516 h 754621"/>
                    <a:gd name="connsiteX207" fmla="*/ 648371 w 953841"/>
                    <a:gd name="connsiteY207" fmla="*/ 539102 h 754621"/>
                    <a:gd name="connsiteX208" fmla="*/ 645956 w 953841"/>
                    <a:gd name="connsiteY208" fmla="*/ 542120 h 754621"/>
                    <a:gd name="connsiteX209" fmla="*/ 641730 w 953841"/>
                    <a:gd name="connsiteY209" fmla="*/ 543328 h 754621"/>
                    <a:gd name="connsiteX210" fmla="*/ 641126 w 953841"/>
                    <a:gd name="connsiteY210" fmla="*/ 546346 h 754621"/>
                    <a:gd name="connsiteX211" fmla="*/ 647163 w 953841"/>
                    <a:gd name="connsiteY211" fmla="*/ 550572 h 754621"/>
                    <a:gd name="connsiteX212" fmla="*/ 644749 w 953841"/>
                    <a:gd name="connsiteY212" fmla="*/ 553590 h 754621"/>
                    <a:gd name="connsiteX213" fmla="*/ 643541 w 953841"/>
                    <a:gd name="connsiteY213" fmla="*/ 559024 h 754621"/>
                    <a:gd name="connsiteX214" fmla="*/ 641126 w 953841"/>
                    <a:gd name="connsiteY214" fmla="*/ 558420 h 754621"/>
                    <a:gd name="connsiteX215" fmla="*/ 641126 w 953841"/>
                    <a:gd name="connsiteY215" fmla="*/ 565664 h 754621"/>
                    <a:gd name="connsiteX216" fmla="*/ 638712 w 953841"/>
                    <a:gd name="connsiteY216" fmla="*/ 569890 h 754621"/>
                    <a:gd name="connsiteX217" fmla="*/ 637504 w 953841"/>
                    <a:gd name="connsiteY217" fmla="*/ 577135 h 754621"/>
                    <a:gd name="connsiteX218" fmla="*/ 645352 w 953841"/>
                    <a:gd name="connsiteY218" fmla="*/ 580757 h 754621"/>
                    <a:gd name="connsiteX219" fmla="*/ 650182 w 953841"/>
                    <a:gd name="connsiteY219" fmla="*/ 589209 h 754621"/>
                    <a:gd name="connsiteX220" fmla="*/ 665274 w 953841"/>
                    <a:gd name="connsiteY220" fmla="*/ 592227 h 754621"/>
                    <a:gd name="connsiteX221" fmla="*/ 671311 w 953841"/>
                    <a:gd name="connsiteY221" fmla="*/ 597057 h 754621"/>
                    <a:gd name="connsiteX222" fmla="*/ 679159 w 953841"/>
                    <a:gd name="connsiteY222" fmla="*/ 600075 h 754621"/>
                    <a:gd name="connsiteX223" fmla="*/ 682781 w 953841"/>
                    <a:gd name="connsiteY223" fmla="*/ 604301 h 754621"/>
                    <a:gd name="connsiteX224" fmla="*/ 682178 w 953841"/>
                    <a:gd name="connsiteY224" fmla="*/ 617582 h 754621"/>
                    <a:gd name="connsiteX225" fmla="*/ 685196 w 953841"/>
                    <a:gd name="connsiteY225" fmla="*/ 618790 h 754621"/>
                    <a:gd name="connsiteX226" fmla="*/ 685800 w 953841"/>
                    <a:gd name="connsiteY226" fmla="*/ 622412 h 754621"/>
                    <a:gd name="connsiteX227" fmla="*/ 690629 w 953841"/>
                    <a:gd name="connsiteY227" fmla="*/ 623015 h 754621"/>
                    <a:gd name="connsiteX228" fmla="*/ 697270 w 953841"/>
                    <a:gd name="connsiteY228" fmla="*/ 621204 h 754621"/>
                    <a:gd name="connsiteX229" fmla="*/ 707533 w 953841"/>
                    <a:gd name="connsiteY229" fmla="*/ 622412 h 754621"/>
                    <a:gd name="connsiteX230" fmla="*/ 709344 w 953841"/>
                    <a:gd name="connsiteY230" fmla="*/ 627845 h 754621"/>
                    <a:gd name="connsiteX231" fmla="*/ 713570 w 953841"/>
                    <a:gd name="connsiteY231" fmla="*/ 629052 h 754621"/>
                    <a:gd name="connsiteX232" fmla="*/ 714777 w 953841"/>
                    <a:gd name="connsiteY232" fmla="*/ 634486 h 754621"/>
                    <a:gd name="connsiteX233" fmla="*/ 714174 w 953841"/>
                    <a:gd name="connsiteY233" fmla="*/ 644749 h 754621"/>
                    <a:gd name="connsiteX234" fmla="*/ 706929 w 953841"/>
                    <a:gd name="connsiteY234" fmla="*/ 643541 h 754621"/>
                    <a:gd name="connsiteX235" fmla="*/ 705118 w 953841"/>
                    <a:gd name="connsiteY235" fmla="*/ 645352 h 754621"/>
                    <a:gd name="connsiteX236" fmla="*/ 709344 w 953841"/>
                    <a:gd name="connsiteY236" fmla="*/ 656219 h 754621"/>
                    <a:gd name="connsiteX237" fmla="*/ 717796 w 953841"/>
                    <a:gd name="connsiteY237" fmla="*/ 657426 h 754621"/>
                    <a:gd name="connsiteX238" fmla="*/ 725644 w 953841"/>
                    <a:gd name="connsiteY238" fmla="*/ 662256 h 754621"/>
                    <a:gd name="connsiteX239" fmla="*/ 725040 w 953841"/>
                    <a:gd name="connsiteY239" fmla="*/ 668293 h 754621"/>
                    <a:gd name="connsiteX240" fmla="*/ 722625 w 953841"/>
                    <a:gd name="connsiteY240" fmla="*/ 674330 h 754621"/>
                    <a:gd name="connsiteX241" fmla="*/ 722625 w 953841"/>
                    <a:gd name="connsiteY241" fmla="*/ 677952 h 754621"/>
                    <a:gd name="connsiteX242" fmla="*/ 731681 w 953841"/>
                    <a:gd name="connsiteY242" fmla="*/ 683989 h 754621"/>
                    <a:gd name="connsiteX243" fmla="*/ 734699 w 953841"/>
                    <a:gd name="connsiteY243" fmla="*/ 687611 h 754621"/>
                    <a:gd name="connsiteX244" fmla="*/ 734096 w 953841"/>
                    <a:gd name="connsiteY244" fmla="*/ 694252 h 754621"/>
                    <a:gd name="connsiteX245" fmla="*/ 726851 w 953841"/>
                    <a:gd name="connsiteY245" fmla="*/ 692441 h 754621"/>
                    <a:gd name="connsiteX246" fmla="*/ 720814 w 953841"/>
                    <a:gd name="connsiteY246" fmla="*/ 692441 h 754621"/>
                    <a:gd name="connsiteX247" fmla="*/ 715985 w 953841"/>
                    <a:gd name="connsiteY247" fmla="*/ 694856 h 754621"/>
                    <a:gd name="connsiteX248" fmla="*/ 718400 w 953841"/>
                    <a:gd name="connsiteY248" fmla="*/ 697270 h 754621"/>
                    <a:gd name="connsiteX249" fmla="*/ 714777 w 953841"/>
                    <a:gd name="connsiteY249" fmla="*/ 702100 h 754621"/>
                    <a:gd name="connsiteX250" fmla="*/ 705722 w 953841"/>
                    <a:gd name="connsiteY250" fmla="*/ 703911 h 754621"/>
                    <a:gd name="connsiteX251" fmla="*/ 700892 w 953841"/>
                    <a:gd name="connsiteY251" fmla="*/ 702704 h 754621"/>
                    <a:gd name="connsiteX252" fmla="*/ 692440 w 953841"/>
                    <a:gd name="connsiteY252" fmla="*/ 701496 h 754621"/>
                    <a:gd name="connsiteX253" fmla="*/ 690026 w 953841"/>
                    <a:gd name="connsiteY253" fmla="*/ 697874 h 754621"/>
                    <a:gd name="connsiteX254" fmla="*/ 685196 w 953841"/>
                    <a:gd name="connsiteY254" fmla="*/ 697874 h 754621"/>
                    <a:gd name="connsiteX255" fmla="*/ 684592 w 953841"/>
                    <a:gd name="connsiteY255" fmla="*/ 692441 h 754621"/>
                    <a:gd name="connsiteX256" fmla="*/ 678555 w 953841"/>
                    <a:gd name="connsiteY256" fmla="*/ 688819 h 754621"/>
                    <a:gd name="connsiteX257" fmla="*/ 673122 w 953841"/>
                    <a:gd name="connsiteY257" fmla="*/ 687611 h 754621"/>
                    <a:gd name="connsiteX258" fmla="*/ 670707 w 953841"/>
                    <a:gd name="connsiteY258" fmla="*/ 683989 h 754621"/>
                    <a:gd name="connsiteX259" fmla="*/ 665274 w 953841"/>
                    <a:gd name="connsiteY259" fmla="*/ 684593 h 754621"/>
                    <a:gd name="connsiteX260" fmla="*/ 659841 w 953841"/>
                    <a:gd name="connsiteY260" fmla="*/ 682782 h 754621"/>
                    <a:gd name="connsiteX261" fmla="*/ 659841 w 953841"/>
                    <a:gd name="connsiteY261" fmla="*/ 679763 h 754621"/>
                    <a:gd name="connsiteX262" fmla="*/ 656219 w 953841"/>
                    <a:gd name="connsiteY262" fmla="*/ 678556 h 754621"/>
                    <a:gd name="connsiteX263" fmla="*/ 655011 w 953841"/>
                    <a:gd name="connsiteY263" fmla="*/ 674330 h 754621"/>
                    <a:gd name="connsiteX264" fmla="*/ 645956 w 953841"/>
                    <a:gd name="connsiteY264" fmla="*/ 678556 h 754621"/>
                    <a:gd name="connsiteX265" fmla="*/ 642334 w 953841"/>
                    <a:gd name="connsiteY265" fmla="*/ 678556 h 754621"/>
                    <a:gd name="connsiteX266" fmla="*/ 639315 w 953841"/>
                    <a:gd name="connsiteY266" fmla="*/ 682178 h 754621"/>
                    <a:gd name="connsiteX267" fmla="*/ 629052 w 953841"/>
                    <a:gd name="connsiteY267" fmla="*/ 675537 h 754621"/>
                    <a:gd name="connsiteX268" fmla="*/ 624223 w 953841"/>
                    <a:gd name="connsiteY268" fmla="*/ 673726 h 754621"/>
                    <a:gd name="connsiteX269" fmla="*/ 621808 w 953841"/>
                    <a:gd name="connsiteY269" fmla="*/ 668897 h 754621"/>
                    <a:gd name="connsiteX270" fmla="*/ 618790 w 953841"/>
                    <a:gd name="connsiteY270" fmla="*/ 667086 h 754621"/>
                    <a:gd name="connsiteX271" fmla="*/ 616978 w 953841"/>
                    <a:gd name="connsiteY271" fmla="*/ 663463 h 754621"/>
                    <a:gd name="connsiteX272" fmla="*/ 610941 w 953841"/>
                    <a:gd name="connsiteY272" fmla="*/ 655615 h 754621"/>
                    <a:gd name="connsiteX273" fmla="*/ 609130 w 953841"/>
                    <a:gd name="connsiteY273" fmla="*/ 651389 h 754621"/>
                    <a:gd name="connsiteX274" fmla="*/ 606112 w 953841"/>
                    <a:gd name="connsiteY274" fmla="*/ 652597 h 754621"/>
                    <a:gd name="connsiteX275" fmla="*/ 597056 w 953841"/>
                    <a:gd name="connsiteY275" fmla="*/ 650182 h 754621"/>
                    <a:gd name="connsiteX276" fmla="*/ 593434 w 953841"/>
                    <a:gd name="connsiteY276" fmla="*/ 645956 h 754621"/>
                    <a:gd name="connsiteX277" fmla="*/ 581964 w 953841"/>
                    <a:gd name="connsiteY277" fmla="*/ 643541 h 754621"/>
                    <a:gd name="connsiteX278" fmla="*/ 572305 w 953841"/>
                    <a:gd name="connsiteY278" fmla="*/ 641126 h 754621"/>
                    <a:gd name="connsiteX279" fmla="*/ 565664 w 953841"/>
                    <a:gd name="connsiteY279" fmla="*/ 629656 h 754621"/>
                    <a:gd name="connsiteX280" fmla="*/ 559627 w 953841"/>
                    <a:gd name="connsiteY280" fmla="*/ 624827 h 754621"/>
                    <a:gd name="connsiteX281" fmla="*/ 555401 w 953841"/>
                    <a:gd name="connsiteY281" fmla="*/ 629052 h 754621"/>
                    <a:gd name="connsiteX282" fmla="*/ 557816 w 953841"/>
                    <a:gd name="connsiteY282" fmla="*/ 631467 h 754621"/>
                    <a:gd name="connsiteX283" fmla="*/ 550572 w 953841"/>
                    <a:gd name="connsiteY283" fmla="*/ 636901 h 754621"/>
                    <a:gd name="connsiteX284" fmla="*/ 545139 w 953841"/>
                    <a:gd name="connsiteY284" fmla="*/ 639315 h 754621"/>
                    <a:gd name="connsiteX285" fmla="*/ 544535 w 953841"/>
                    <a:gd name="connsiteY285" fmla="*/ 642938 h 754621"/>
                    <a:gd name="connsiteX286" fmla="*/ 542120 w 953841"/>
                    <a:gd name="connsiteY286" fmla="*/ 648975 h 754621"/>
                    <a:gd name="connsiteX287" fmla="*/ 549968 w 953841"/>
                    <a:gd name="connsiteY287" fmla="*/ 656219 h 754621"/>
                    <a:gd name="connsiteX288" fmla="*/ 553590 w 953841"/>
                    <a:gd name="connsiteY288" fmla="*/ 655615 h 754621"/>
                    <a:gd name="connsiteX289" fmla="*/ 556005 w 953841"/>
                    <a:gd name="connsiteY289" fmla="*/ 665274 h 754621"/>
                    <a:gd name="connsiteX290" fmla="*/ 555401 w 953841"/>
                    <a:gd name="connsiteY290" fmla="*/ 669500 h 754621"/>
                    <a:gd name="connsiteX291" fmla="*/ 549968 w 953841"/>
                    <a:gd name="connsiteY291" fmla="*/ 674934 h 754621"/>
                    <a:gd name="connsiteX292" fmla="*/ 556005 w 953841"/>
                    <a:gd name="connsiteY292" fmla="*/ 677348 h 754621"/>
                    <a:gd name="connsiteX293" fmla="*/ 552987 w 953841"/>
                    <a:gd name="connsiteY293" fmla="*/ 680367 h 754621"/>
                    <a:gd name="connsiteX294" fmla="*/ 555401 w 953841"/>
                    <a:gd name="connsiteY294" fmla="*/ 682782 h 754621"/>
                    <a:gd name="connsiteX295" fmla="*/ 548761 w 953841"/>
                    <a:gd name="connsiteY295" fmla="*/ 691233 h 754621"/>
                    <a:gd name="connsiteX296" fmla="*/ 545742 w 953841"/>
                    <a:gd name="connsiteY296" fmla="*/ 696063 h 754621"/>
                    <a:gd name="connsiteX297" fmla="*/ 549968 w 953841"/>
                    <a:gd name="connsiteY297" fmla="*/ 702704 h 754621"/>
                    <a:gd name="connsiteX298" fmla="*/ 555401 w 953841"/>
                    <a:gd name="connsiteY298" fmla="*/ 706326 h 754621"/>
                    <a:gd name="connsiteX299" fmla="*/ 557212 w 953841"/>
                    <a:gd name="connsiteY299" fmla="*/ 709344 h 754621"/>
                    <a:gd name="connsiteX300" fmla="*/ 550572 w 953841"/>
                    <a:gd name="connsiteY300" fmla="*/ 720814 h 754621"/>
                    <a:gd name="connsiteX301" fmla="*/ 552383 w 953841"/>
                    <a:gd name="connsiteY301" fmla="*/ 725040 h 754621"/>
                    <a:gd name="connsiteX302" fmla="*/ 539705 w 953841"/>
                    <a:gd name="connsiteY302" fmla="*/ 746170 h 754621"/>
                    <a:gd name="connsiteX303" fmla="*/ 537291 w 953841"/>
                    <a:gd name="connsiteY303" fmla="*/ 746170 h 754621"/>
                    <a:gd name="connsiteX304" fmla="*/ 533668 w 953841"/>
                    <a:gd name="connsiteY304" fmla="*/ 749188 h 754621"/>
                    <a:gd name="connsiteX305" fmla="*/ 530046 w 953841"/>
                    <a:gd name="connsiteY305" fmla="*/ 755225 h 754621"/>
                    <a:gd name="connsiteX306" fmla="*/ 518576 w 953841"/>
                    <a:gd name="connsiteY306" fmla="*/ 755829 h 754621"/>
                    <a:gd name="connsiteX307" fmla="*/ 507106 w 953841"/>
                    <a:gd name="connsiteY307" fmla="*/ 755225 h 754621"/>
                    <a:gd name="connsiteX308" fmla="*/ 502276 w 953841"/>
                    <a:gd name="connsiteY308" fmla="*/ 752810 h 754621"/>
                    <a:gd name="connsiteX309" fmla="*/ 501672 w 953841"/>
                    <a:gd name="connsiteY309" fmla="*/ 748585 h 754621"/>
                    <a:gd name="connsiteX310" fmla="*/ 505898 w 953841"/>
                    <a:gd name="connsiteY310" fmla="*/ 742548 h 754621"/>
                    <a:gd name="connsiteX311" fmla="*/ 504087 w 953841"/>
                    <a:gd name="connsiteY311" fmla="*/ 738925 h 754621"/>
                    <a:gd name="connsiteX312" fmla="*/ 507709 w 953841"/>
                    <a:gd name="connsiteY312" fmla="*/ 733492 h 754621"/>
                    <a:gd name="connsiteX313" fmla="*/ 513143 w 953841"/>
                    <a:gd name="connsiteY313" fmla="*/ 734699 h 754621"/>
                    <a:gd name="connsiteX314" fmla="*/ 516765 w 953841"/>
                    <a:gd name="connsiteY314" fmla="*/ 733492 h 754621"/>
                    <a:gd name="connsiteX315" fmla="*/ 510728 w 953841"/>
                    <a:gd name="connsiteY315" fmla="*/ 725644 h 754621"/>
                    <a:gd name="connsiteX316" fmla="*/ 508313 w 953841"/>
                    <a:gd name="connsiteY316" fmla="*/ 728059 h 754621"/>
                    <a:gd name="connsiteX317" fmla="*/ 501672 w 953841"/>
                    <a:gd name="connsiteY317" fmla="*/ 731681 h 754621"/>
                    <a:gd name="connsiteX318" fmla="*/ 499257 w 953841"/>
                    <a:gd name="connsiteY318" fmla="*/ 734699 h 754621"/>
                    <a:gd name="connsiteX319" fmla="*/ 494428 w 953841"/>
                    <a:gd name="connsiteY319" fmla="*/ 737718 h 754621"/>
                    <a:gd name="connsiteX320" fmla="*/ 487183 w 953841"/>
                    <a:gd name="connsiteY320" fmla="*/ 737718 h 754621"/>
                    <a:gd name="connsiteX321" fmla="*/ 485976 w 953841"/>
                    <a:gd name="connsiteY321" fmla="*/ 739529 h 754621"/>
                    <a:gd name="connsiteX322" fmla="*/ 478128 w 953841"/>
                    <a:gd name="connsiteY322" fmla="*/ 730474 h 754621"/>
                    <a:gd name="connsiteX323" fmla="*/ 475713 w 953841"/>
                    <a:gd name="connsiteY323" fmla="*/ 732285 h 754621"/>
                    <a:gd name="connsiteX324" fmla="*/ 467261 w 953841"/>
                    <a:gd name="connsiteY324" fmla="*/ 734096 h 754621"/>
                    <a:gd name="connsiteX325" fmla="*/ 465450 w 953841"/>
                    <a:gd name="connsiteY325" fmla="*/ 732285 h 754621"/>
                    <a:gd name="connsiteX326" fmla="*/ 455791 w 953841"/>
                    <a:gd name="connsiteY326" fmla="*/ 729266 h 754621"/>
                    <a:gd name="connsiteX327" fmla="*/ 449754 w 953841"/>
                    <a:gd name="connsiteY327" fmla="*/ 725644 h 754621"/>
                    <a:gd name="connsiteX328" fmla="*/ 445528 w 953841"/>
                    <a:gd name="connsiteY328" fmla="*/ 724437 h 754621"/>
                    <a:gd name="connsiteX329" fmla="*/ 439492 w 953841"/>
                    <a:gd name="connsiteY329" fmla="*/ 720211 h 754621"/>
                    <a:gd name="connsiteX330" fmla="*/ 429832 w 953841"/>
                    <a:gd name="connsiteY330" fmla="*/ 715985 h 754621"/>
                    <a:gd name="connsiteX331" fmla="*/ 420173 w 953841"/>
                    <a:gd name="connsiteY331" fmla="*/ 715985 h 754621"/>
                    <a:gd name="connsiteX332" fmla="*/ 420173 w 953841"/>
                    <a:gd name="connsiteY332" fmla="*/ 722625 h 754621"/>
                    <a:gd name="connsiteX333" fmla="*/ 412325 w 953841"/>
                    <a:gd name="connsiteY333" fmla="*/ 722625 h 754621"/>
                    <a:gd name="connsiteX334" fmla="*/ 402062 w 953841"/>
                    <a:gd name="connsiteY334" fmla="*/ 732888 h 754621"/>
                    <a:gd name="connsiteX335" fmla="*/ 395422 w 953841"/>
                    <a:gd name="connsiteY335" fmla="*/ 747377 h 754621"/>
                    <a:gd name="connsiteX336" fmla="*/ 393007 w 953841"/>
                    <a:gd name="connsiteY336" fmla="*/ 750396 h 754621"/>
                    <a:gd name="connsiteX337" fmla="*/ 389988 w 953841"/>
                    <a:gd name="connsiteY337" fmla="*/ 747981 h 754621"/>
                    <a:gd name="connsiteX338" fmla="*/ 388781 w 953841"/>
                    <a:gd name="connsiteY338" fmla="*/ 740736 h 754621"/>
                    <a:gd name="connsiteX339" fmla="*/ 374292 w 953841"/>
                    <a:gd name="connsiteY339" fmla="*/ 734096 h 754621"/>
                    <a:gd name="connsiteX340" fmla="*/ 370066 w 953841"/>
                    <a:gd name="connsiteY340" fmla="*/ 735907 h 754621"/>
                    <a:gd name="connsiteX341" fmla="*/ 365840 w 953841"/>
                    <a:gd name="connsiteY341" fmla="*/ 731681 h 754621"/>
                    <a:gd name="connsiteX342" fmla="*/ 365840 w 953841"/>
                    <a:gd name="connsiteY342" fmla="*/ 729266 h 754621"/>
                    <a:gd name="connsiteX343" fmla="*/ 359803 w 953841"/>
                    <a:gd name="connsiteY343" fmla="*/ 726851 h 754621"/>
                    <a:gd name="connsiteX344" fmla="*/ 354370 w 953841"/>
                    <a:gd name="connsiteY344" fmla="*/ 725644 h 754621"/>
                    <a:gd name="connsiteX345" fmla="*/ 349540 w 953841"/>
                    <a:gd name="connsiteY345" fmla="*/ 727455 h 754621"/>
                    <a:gd name="connsiteX346" fmla="*/ 345918 w 953841"/>
                    <a:gd name="connsiteY346" fmla="*/ 732888 h 754621"/>
                    <a:gd name="connsiteX347" fmla="*/ 341692 w 953841"/>
                    <a:gd name="connsiteY347" fmla="*/ 729870 h 754621"/>
                    <a:gd name="connsiteX348" fmla="*/ 350144 w 953841"/>
                    <a:gd name="connsiteY348" fmla="*/ 725644 h 754621"/>
                    <a:gd name="connsiteX349" fmla="*/ 351955 w 953841"/>
                    <a:gd name="connsiteY349" fmla="*/ 719607 h 754621"/>
                    <a:gd name="connsiteX350" fmla="*/ 350748 w 953841"/>
                    <a:gd name="connsiteY350" fmla="*/ 715985 h 754621"/>
                    <a:gd name="connsiteX351" fmla="*/ 355577 w 953841"/>
                    <a:gd name="connsiteY351" fmla="*/ 710552 h 754621"/>
                    <a:gd name="connsiteX352" fmla="*/ 354974 w 953841"/>
                    <a:gd name="connsiteY352" fmla="*/ 709344 h 754621"/>
                    <a:gd name="connsiteX353" fmla="*/ 359803 w 953841"/>
                    <a:gd name="connsiteY353" fmla="*/ 699081 h 754621"/>
                    <a:gd name="connsiteX354" fmla="*/ 361011 w 953841"/>
                    <a:gd name="connsiteY354" fmla="*/ 694856 h 754621"/>
                    <a:gd name="connsiteX355" fmla="*/ 359803 w 953841"/>
                    <a:gd name="connsiteY355" fmla="*/ 690026 h 754621"/>
                    <a:gd name="connsiteX356" fmla="*/ 367048 w 953841"/>
                    <a:gd name="connsiteY356" fmla="*/ 685800 h 754621"/>
                    <a:gd name="connsiteX357" fmla="*/ 368859 w 953841"/>
                    <a:gd name="connsiteY357" fmla="*/ 680367 h 754621"/>
                    <a:gd name="connsiteX358" fmla="*/ 363425 w 953841"/>
                    <a:gd name="connsiteY358" fmla="*/ 679763 h 754621"/>
                    <a:gd name="connsiteX359" fmla="*/ 364633 w 953841"/>
                    <a:gd name="connsiteY359" fmla="*/ 674330 h 754621"/>
                    <a:gd name="connsiteX360" fmla="*/ 361011 w 953841"/>
                    <a:gd name="connsiteY360" fmla="*/ 672519 h 754621"/>
                    <a:gd name="connsiteX361" fmla="*/ 362822 w 953841"/>
                    <a:gd name="connsiteY361" fmla="*/ 665878 h 754621"/>
                    <a:gd name="connsiteX362" fmla="*/ 361011 w 953841"/>
                    <a:gd name="connsiteY362" fmla="*/ 658634 h 754621"/>
                    <a:gd name="connsiteX363" fmla="*/ 357388 w 953841"/>
                    <a:gd name="connsiteY363" fmla="*/ 651389 h 754621"/>
                    <a:gd name="connsiteX364" fmla="*/ 360407 w 953841"/>
                    <a:gd name="connsiteY364" fmla="*/ 648975 h 754621"/>
                    <a:gd name="connsiteX365" fmla="*/ 360407 w 953841"/>
                    <a:gd name="connsiteY365" fmla="*/ 645352 h 754621"/>
                    <a:gd name="connsiteX366" fmla="*/ 356181 w 953841"/>
                    <a:gd name="connsiteY366" fmla="*/ 643541 h 754621"/>
                    <a:gd name="connsiteX367" fmla="*/ 337467 w 953841"/>
                    <a:gd name="connsiteY367" fmla="*/ 651389 h 754621"/>
                    <a:gd name="connsiteX368" fmla="*/ 335656 w 953841"/>
                    <a:gd name="connsiteY368" fmla="*/ 649578 h 754621"/>
                    <a:gd name="connsiteX369" fmla="*/ 328411 w 953841"/>
                    <a:gd name="connsiteY369" fmla="*/ 653804 h 754621"/>
                    <a:gd name="connsiteX370" fmla="*/ 326600 w 953841"/>
                    <a:gd name="connsiteY370" fmla="*/ 656823 h 754621"/>
                    <a:gd name="connsiteX371" fmla="*/ 320563 w 953841"/>
                    <a:gd name="connsiteY371" fmla="*/ 657426 h 754621"/>
                    <a:gd name="connsiteX372" fmla="*/ 320563 w 953841"/>
                    <a:gd name="connsiteY372" fmla="*/ 651993 h 754621"/>
                    <a:gd name="connsiteX373" fmla="*/ 311508 w 953841"/>
                    <a:gd name="connsiteY373" fmla="*/ 655012 h 754621"/>
                    <a:gd name="connsiteX374" fmla="*/ 306678 w 953841"/>
                    <a:gd name="connsiteY374" fmla="*/ 654408 h 754621"/>
                    <a:gd name="connsiteX375" fmla="*/ 304263 w 953841"/>
                    <a:gd name="connsiteY375" fmla="*/ 651389 h 754621"/>
                    <a:gd name="connsiteX376" fmla="*/ 294604 w 953841"/>
                    <a:gd name="connsiteY376" fmla="*/ 651993 h 754621"/>
                    <a:gd name="connsiteX377" fmla="*/ 292793 w 953841"/>
                    <a:gd name="connsiteY377" fmla="*/ 658030 h 754621"/>
                    <a:gd name="connsiteX378" fmla="*/ 275889 w 953841"/>
                    <a:gd name="connsiteY378" fmla="*/ 658030 h 754621"/>
                    <a:gd name="connsiteX379" fmla="*/ 269852 w 953841"/>
                    <a:gd name="connsiteY379" fmla="*/ 655012 h 754621"/>
                    <a:gd name="connsiteX380" fmla="*/ 257175 w 953841"/>
                    <a:gd name="connsiteY380" fmla="*/ 656219 h 754621"/>
                    <a:gd name="connsiteX381" fmla="*/ 251138 w 953841"/>
                    <a:gd name="connsiteY381" fmla="*/ 657426 h 754621"/>
                    <a:gd name="connsiteX382" fmla="*/ 242686 w 953841"/>
                    <a:gd name="connsiteY382" fmla="*/ 658030 h 754621"/>
                    <a:gd name="connsiteX383" fmla="*/ 237253 w 953841"/>
                    <a:gd name="connsiteY383" fmla="*/ 661049 h 754621"/>
                    <a:gd name="connsiteX384" fmla="*/ 236649 w 953841"/>
                    <a:gd name="connsiteY384" fmla="*/ 665274 h 754621"/>
                    <a:gd name="connsiteX385" fmla="*/ 231820 w 953841"/>
                    <a:gd name="connsiteY385" fmla="*/ 665878 h 754621"/>
                    <a:gd name="connsiteX386" fmla="*/ 227594 w 953841"/>
                    <a:gd name="connsiteY386" fmla="*/ 669500 h 754621"/>
                    <a:gd name="connsiteX387" fmla="*/ 226990 w 953841"/>
                    <a:gd name="connsiteY387" fmla="*/ 671915 h 754621"/>
                    <a:gd name="connsiteX388" fmla="*/ 220953 w 953841"/>
                    <a:gd name="connsiteY388" fmla="*/ 673726 h 754621"/>
                    <a:gd name="connsiteX389" fmla="*/ 216124 w 953841"/>
                    <a:gd name="connsiteY389" fmla="*/ 672519 h 754621"/>
                    <a:gd name="connsiteX390" fmla="*/ 205861 w 953841"/>
                    <a:gd name="connsiteY390" fmla="*/ 674934 h 754621"/>
                    <a:gd name="connsiteX391" fmla="*/ 199220 w 953841"/>
                    <a:gd name="connsiteY391" fmla="*/ 675537 h 754621"/>
                    <a:gd name="connsiteX392" fmla="*/ 194390 w 953841"/>
                    <a:gd name="connsiteY392" fmla="*/ 673123 h 754621"/>
                    <a:gd name="connsiteX393" fmla="*/ 190165 w 953841"/>
                    <a:gd name="connsiteY393" fmla="*/ 667086 h 754621"/>
                    <a:gd name="connsiteX394" fmla="*/ 179298 w 953841"/>
                    <a:gd name="connsiteY394" fmla="*/ 667689 h 754621"/>
                    <a:gd name="connsiteX395" fmla="*/ 176883 w 953841"/>
                    <a:gd name="connsiteY395" fmla="*/ 665274 h 754621"/>
                    <a:gd name="connsiteX396" fmla="*/ 170846 w 953841"/>
                    <a:gd name="connsiteY396" fmla="*/ 661049 h 754621"/>
                    <a:gd name="connsiteX397" fmla="*/ 167224 w 953841"/>
                    <a:gd name="connsiteY397" fmla="*/ 656823 h 754621"/>
                    <a:gd name="connsiteX398" fmla="*/ 166620 w 953841"/>
                    <a:gd name="connsiteY398" fmla="*/ 651389 h 754621"/>
                    <a:gd name="connsiteX399" fmla="*/ 167828 w 953841"/>
                    <a:gd name="connsiteY399" fmla="*/ 646560 h 754621"/>
                    <a:gd name="connsiteX400" fmla="*/ 161187 w 953841"/>
                    <a:gd name="connsiteY400" fmla="*/ 644749 h 754621"/>
                    <a:gd name="connsiteX401" fmla="*/ 155754 w 953841"/>
                    <a:gd name="connsiteY401" fmla="*/ 641730 h 754621"/>
                    <a:gd name="connsiteX402" fmla="*/ 151528 w 953841"/>
                    <a:gd name="connsiteY402" fmla="*/ 636901 h 754621"/>
                    <a:gd name="connsiteX403" fmla="*/ 140057 w 953841"/>
                    <a:gd name="connsiteY403" fmla="*/ 634486 h 754621"/>
                    <a:gd name="connsiteX404" fmla="*/ 139454 w 953841"/>
                    <a:gd name="connsiteY404" fmla="*/ 630260 h 754621"/>
                    <a:gd name="connsiteX405" fmla="*/ 140661 w 953841"/>
                    <a:gd name="connsiteY405" fmla="*/ 623619 h 754621"/>
                    <a:gd name="connsiteX406" fmla="*/ 143680 w 953841"/>
                    <a:gd name="connsiteY406" fmla="*/ 619393 h 754621"/>
                    <a:gd name="connsiteX407" fmla="*/ 149113 w 953841"/>
                    <a:gd name="connsiteY407" fmla="*/ 618186 h 754621"/>
                    <a:gd name="connsiteX408" fmla="*/ 155754 w 953841"/>
                    <a:gd name="connsiteY408" fmla="*/ 608527 h 754621"/>
                    <a:gd name="connsiteX409" fmla="*/ 170242 w 953841"/>
                    <a:gd name="connsiteY409" fmla="*/ 609130 h 754621"/>
                    <a:gd name="connsiteX410" fmla="*/ 176279 w 953841"/>
                    <a:gd name="connsiteY410" fmla="*/ 605508 h 754621"/>
                    <a:gd name="connsiteX411" fmla="*/ 179902 w 953841"/>
                    <a:gd name="connsiteY411" fmla="*/ 602490 h 754621"/>
                    <a:gd name="connsiteX412" fmla="*/ 183524 w 953841"/>
                    <a:gd name="connsiteY412" fmla="*/ 602490 h 754621"/>
                    <a:gd name="connsiteX413" fmla="*/ 187146 w 953841"/>
                    <a:gd name="connsiteY413" fmla="*/ 597057 h 754621"/>
                    <a:gd name="connsiteX414" fmla="*/ 185939 w 953841"/>
                    <a:gd name="connsiteY414" fmla="*/ 586794 h 754621"/>
                    <a:gd name="connsiteX415" fmla="*/ 193183 w 953841"/>
                    <a:gd name="connsiteY415" fmla="*/ 580153 h 754621"/>
                    <a:gd name="connsiteX416" fmla="*/ 198013 w 953841"/>
                    <a:gd name="connsiteY416" fmla="*/ 580153 h 754621"/>
                    <a:gd name="connsiteX417" fmla="*/ 199220 w 953841"/>
                    <a:gd name="connsiteY417" fmla="*/ 574720 h 754621"/>
                    <a:gd name="connsiteX418" fmla="*/ 203446 w 953841"/>
                    <a:gd name="connsiteY418" fmla="*/ 572305 h 754621"/>
                    <a:gd name="connsiteX419" fmla="*/ 204653 w 953841"/>
                    <a:gd name="connsiteY419" fmla="*/ 568079 h 754621"/>
                    <a:gd name="connsiteX420" fmla="*/ 205257 w 953841"/>
                    <a:gd name="connsiteY420" fmla="*/ 560835 h 754621"/>
                    <a:gd name="connsiteX421" fmla="*/ 207068 w 953841"/>
                    <a:gd name="connsiteY421" fmla="*/ 558420 h 754621"/>
                    <a:gd name="connsiteX422" fmla="*/ 213105 w 953841"/>
                    <a:gd name="connsiteY422" fmla="*/ 558420 h 754621"/>
                    <a:gd name="connsiteX423" fmla="*/ 216727 w 953841"/>
                    <a:gd name="connsiteY423" fmla="*/ 555402 h 754621"/>
                    <a:gd name="connsiteX424" fmla="*/ 216727 w 953841"/>
                    <a:gd name="connsiteY424" fmla="*/ 549968 h 754621"/>
                    <a:gd name="connsiteX425" fmla="*/ 219746 w 953841"/>
                    <a:gd name="connsiteY425" fmla="*/ 540913 h 754621"/>
                    <a:gd name="connsiteX426" fmla="*/ 215520 w 953841"/>
                    <a:gd name="connsiteY426" fmla="*/ 533065 h 754621"/>
                    <a:gd name="connsiteX427" fmla="*/ 207672 w 953841"/>
                    <a:gd name="connsiteY427" fmla="*/ 531857 h 754621"/>
                    <a:gd name="connsiteX428" fmla="*/ 202842 w 953841"/>
                    <a:gd name="connsiteY428" fmla="*/ 534272 h 754621"/>
                    <a:gd name="connsiteX429" fmla="*/ 196805 w 953841"/>
                    <a:gd name="connsiteY429" fmla="*/ 536083 h 754621"/>
                    <a:gd name="connsiteX430" fmla="*/ 194994 w 953841"/>
                    <a:gd name="connsiteY430" fmla="*/ 531857 h 754621"/>
                    <a:gd name="connsiteX431" fmla="*/ 191372 w 953841"/>
                    <a:gd name="connsiteY431" fmla="*/ 533668 h 754621"/>
                    <a:gd name="connsiteX432" fmla="*/ 188353 w 953841"/>
                    <a:gd name="connsiteY432" fmla="*/ 531857 h 754621"/>
                    <a:gd name="connsiteX433" fmla="*/ 184128 w 953841"/>
                    <a:gd name="connsiteY433" fmla="*/ 532461 h 754621"/>
                    <a:gd name="connsiteX434" fmla="*/ 176279 w 953841"/>
                    <a:gd name="connsiteY434" fmla="*/ 522198 h 754621"/>
                    <a:gd name="connsiteX435" fmla="*/ 173865 w 953841"/>
                    <a:gd name="connsiteY435" fmla="*/ 528235 h 754621"/>
                    <a:gd name="connsiteX436" fmla="*/ 173865 w 953841"/>
                    <a:gd name="connsiteY436" fmla="*/ 533668 h 754621"/>
                    <a:gd name="connsiteX437" fmla="*/ 169639 w 953841"/>
                    <a:gd name="connsiteY437" fmla="*/ 535479 h 754621"/>
                    <a:gd name="connsiteX438" fmla="*/ 169035 w 953841"/>
                    <a:gd name="connsiteY438" fmla="*/ 530046 h 754621"/>
                    <a:gd name="connsiteX439" fmla="*/ 164809 w 953841"/>
                    <a:gd name="connsiteY439" fmla="*/ 520387 h 754621"/>
                    <a:gd name="connsiteX440" fmla="*/ 166017 w 953841"/>
                    <a:gd name="connsiteY440" fmla="*/ 513143 h 754621"/>
                    <a:gd name="connsiteX441" fmla="*/ 165413 w 953841"/>
                    <a:gd name="connsiteY441" fmla="*/ 508313 h 754621"/>
                    <a:gd name="connsiteX442" fmla="*/ 162394 w 953841"/>
                    <a:gd name="connsiteY442" fmla="*/ 507709 h 754621"/>
                    <a:gd name="connsiteX443" fmla="*/ 157565 w 953841"/>
                    <a:gd name="connsiteY443" fmla="*/ 502880 h 754621"/>
                    <a:gd name="connsiteX444" fmla="*/ 153339 w 953841"/>
                    <a:gd name="connsiteY444" fmla="*/ 503483 h 754621"/>
                    <a:gd name="connsiteX445" fmla="*/ 146094 w 953841"/>
                    <a:gd name="connsiteY445" fmla="*/ 496239 h 754621"/>
                    <a:gd name="connsiteX446" fmla="*/ 145491 w 953841"/>
                    <a:gd name="connsiteY446" fmla="*/ 492617 h 754621"/>
                    <a:gd name="connsiteX447" fmla="*/ 148509 w 953841"/>
                    <a:gd name="connsiteY447" fmla="*/ 485976 h 754621"/>
                    <a:gd name="connsiteX448" fmla="*/ 150924 w 953841"/>
                    <a:gd name="connsiteY448" fmla="*/ 482958 h 754621"/>
                    <a:gd name="connsiteX449" fmla="*/ 149717 w 953841"/>
                    <a:gd name="connsiteY449" fmla="*/ 473299 h 754621"/>
                    <a:gd name="connsiteX450" fmla="*/ 152735 w 953841"/>
                    <a:gd name="connsiteY450" fmla="*/ 461829 h 754621"/>
                    <a:gd name="connsiteX451" fmla="*/ 151528 w 953841"/>
                    <a:gd name="connsiteY451" fmla="*/ 458206 h 754621"/>
                    <a:gd name="connsiteX452" fmla="*/ 153943 w 953841"/>
                    <a:gd name="connsiteY452" fmla="*/ 453377 h 754621"/>
                    <a:gd name="connsiteX453" fmla="*/ 149717 w 953841"/>
                    <a:gd name="connsiteY453" fmla="*/ 448547 h 754621"/>
                    <a:gd name="connsiteX454" fmla="*/ 148509 w 953841"/>
                    <a:gd name="connsiteY454" fmla="*/ 443114 h 754621"/>
                    <a:gd name="connsiteX455" fmla="*/ 143680 w 953841"/>
                    <a:gd name="connsiteY455" fmla="*/ 443114 h 754621"/>
                    <a:gd name="connsiteX456" fmla="*/ 140661 w 953841"/>
                    <a:gd name="connsiteY456" fmla="*/ 447943 h 754621"/>
                    <a:gd name="connsiteX457" fmla="*/ 135832 w 953841"/>
                    <a:gd name="connsiteY457" fmla="*/ 446736 h 754621"/>
                    <a:gd name="connsiteX458" fmla="*/ 132813 w 953841"/>
                    <a:gd name="connsiteY458" fmla="*/ 443114 h 754621"/>
                    <a:gd name="connsiteX459" fmla="*/ 132813 w 953841"/>
                    <a:gd name="connsiteY459" fmla="*/ 438888 h 754621"/>
                    <a:gd name="connsiteX460" fmla="*/ 135228 w 953841"/>
                    <a:gd name="connsiteY460" fmla="*/ 431644 h 754621"/>
                    <a:gd name="connsiteX461" fmla="*/ 132813 w 953841"/>
                    <a:gd name="connsiteY461" fmla="*/ 426814 h 754621"/>
                    <a:gd name="connsiteX462" fmla="*/ 138850 w 953841"/>
                    <a:gd name="connsiteY462" fmla="*/ 416551 h 754621"/>
                    <a:gd name="connsiteX463" fmla="*/ 141265 w 953841"/>
                    <a:gd name="connsiteY463" fmla="*/ 415344 h 754621"/>
                    <a:gd name="connsiteX464" fmla="*/ 144283 w 953841"/>
                    <a:gd name="connsiteY464" fmla="*/ 405081 h 754621"/>
                    <a:gd name="connsiteX465" fmla="*/ 144283 w 953841"/>
                    <a:gd name="connsiteY465" fmla="*/ 400251 h 754621"/>
                    <a:gd name="connsiteX466" fmla="*/ 143680 w 953841"/>
                    <a:gd name="connsiteY466" fmla="*/ 392403 h 754621"/>
                    <a:gd name="connsiteX467" fmla="*/ 139454 w 953841"/>
                    <a:gd name="connsiteY467" fmla="*/ 388177 h 754621"/>
                    <a:gd name="connsiteX468" fmla="*/ 134020 w 953841"/>
                    <a:gd name="connsiteY468" fmla="*/ 385762 h 754621"/>
                    <a:gd name="connsiteX469" fmla="*/ 126776 w 953841"/>
                    <a:gd name="connsiteY469" fmla="*/ 387573 h 754621"/>
                    <a:gd name="connsiteX470" fmla="*/ 124965 w 953841"/>
                    <a:gd name="connsiteY470" fmla="*/ 394214 h 754621"/>
                    <a:gd name="connsiteX471" fmla="*/ 126172 w 953841"/>
                    <a:gd name="connsiteY471" fmla="*/ 400855 h 754621"/>
                    <a:gd name="connsiteX472" fmla="*/ 102629 w 953841"/>
                    <a:gd name="connsiteY472" fmla="*/ 396025 h 754621"/>
                    <a:gd name="connsiteX473" fmla="*/ 99610 w 953841"/>
                    <a:gd name="connsiteY473" fmla="*/ 396629 h 754621"/>
                    <a:gd name="connsiteX474" fmla="*/ 92969 w 953841"/>
                    <a:gd name="connsiteY474" fmla="*/ 392403 h 754621"/>
                    <a:gd name="connsiteX475" fmla="*/ 91158 w 953841"/>
                    <a:gd name="connsiteY475" fmla="*/ 387573 h 754621"/>
                    <a:gd name="connsiteX476" fmla="*/ 87536 w 953841"/>
                    <a:gd name="connsiteY476" fmla="*/ 386366 h 754621"/>
                    <a:gd name="connsiteX477" fmla="*/ 88140 w 953841"/>
                    <a:gd name="connsiteY477" fmla="*/ 381537 h 754621"/>
                    <a:gd name="connsiteX478" fmla="*/ 80292 w 953841"/>
                    <a:gd name="connsiteY478" fmla="*/ 373689 h 754621"/>
                    <a:gd name="connsiteX479" fmla="*/ 83914 w 953841"/>
                    <a:gd name="connsiteY479" fmla="*/ 368859 h 754621"/>
                    <a:gd name="connsiteX480" fmla="*/ 83310 w 953841"/>
                    <a:gd name="connsiteY480" fmla="*/ 357993 h 754621"/>
                    <a:gd name="connsiteX481" fmla="*/ 80292 w 953841"/>
                    <a:gd name="connsiteY481" fmla="*/ 353767 h 754621"/>
                    <a:gd name="connsiteX482" fmla="*/ 79688 w 953841"/>
                    <a:gd name="connsiteY482" fmla="*/ 350145 h 754621"/>
                    <a:gd name="connsiteX483" fmla="*/ 76669 w 953841"/>
                    <a:gd name="connsiteY483" fmla="*/ 345919 h 754621"/>
                    <a:gd name="connsiteX484" fmla="*/ 76669 w 953841"/>
                    <a:gd name="connsiteY484" fmla="*/ 342900 h 754621"/>
                    <a:gd name="connsiteX485" fmla="*/ 71840 w 953841"/>
                    <a:gd name="connsiteY485" fmla="*/ 342900 h 754621"/>
                    <a:gd name="connsiteX486" fmla="*/ 68821 w 953841"/>
                    <a:gd name="connsiteY486" fmla="*/ 341089 h 754621"/>
                    <a:gd name="connsiteX487" fmla="*/ 68218 w 953841"/>
                    <a:gd name="connsiteY487" fmla="*/ 337467 h 754621"/>
                    <a:gd name="connsiteX488" fmla="*/ 56747 w 953841"/>
                    <a:gd name="connsiteY488" fmla="*/ 335656 h 754621"/>
                    <a:gd name="connsiteX489" fmla="*/ 53125 w 953841"/>
                    <a:gd name="connsiteY489" fmla="*/ 333845 h 754621"/>
                    <a:gd name="connsiteX490" fmla="*/ 50710 w 953841"/>
                    <a:gd name="connsiteY490" fmla="*/ 327204 h 754621"/>
                    <a:gd name="connsiteX491" fmla="*/ 46484 w 953841"/>
                    <a:gd name="connsiteY491" fmla="*/ 326600 h 754621"/>
                    <a:gd name="connsiteX492" fmla="*/ 44070 w 953841"/>
                    <a:gd name="connsiteY492" fmla="*/ 321771 h 754621"/>
                    <a:gd name="connsiteX493" fmla="*/ 44070 w 953841"/>
                    <a:gd name="connsiteY493" fmla="*/ 317545 h 754621"/>
                    <a:gd name="connsiteX494" fmla="*/ 38636 w 953841"/>
                    <a:gd name="connsiteY494" fmla="*/ 309697 h 754621"/>
                    <a:gd name="connsiteX495" fmla="*/ 38033 w 953841"/>
                    <a:gd name="connsiteY495" fmla="*/ 301849 h 754621"/>
                    <a:gd name="connsiteX496" fmla="*/ 38033 w 953841"/>
                    <a:gd name="connsiteY496" fmla="*/ 296415 h 754621"/>
                    <a:gd name="connsiteX497" fmla="*/ 31996 w 953841"/>
                    <a:gd name="connsiteY497" fmla="*/ 294000 h 754621"/>
                    <a:gd name="connsiteX498" fmla="*/ 25355 w 953841"/>
                    <a:gd name="connsiteY498" fmla="*/ 292793 h 754621"/>
                    <a:gd name="connsiteX499" fmla="*/ 22337 w 953841"/>
                    <a:gd name="connsiteY499" fmla="*/ 290378 h 754621"/>
                    <a:gd name="connsiteX500" fmla="*/ 21129 w 953841"/>
                    <a:gd name="connsiteY500" fmla="*/ 283738 h 754621"/>
                    <a:gd name="connsiteX501" fmla="*/ 15696 w 953841"/>
                    <a:gd name="connsiteY501" fmla="*/ 283738 h 754621"/>
                    <a:gd name="connsiteX502" fmla="*/ 12074 w 953841"/>
                    <a:gd name="connsiteY502" fmla="*/ 280115 h 754621"/>
                    <a:gd name="connsiteX503" fmla="*/ 4226 w 953841"/>
                    <a:gd name="connsiteY503" fmla="*/ 280719 h 754621"/>
                    <a:gd name="connsiteX504" fmla="*/ 0 w 953841"/>
                    <a:gd name="connsiteY504" fmla="*/ 279512 h 754621"/>
                    <a:gd name="connsiteX505" fmla="*/ 5433 w 953841"/>
                    <a:gd name="connsiteY505" fmla="*/ 274078 h 754621"/>
                    <a:gd name="connsiteX506" fmla="*/ 6641 w 953841"/>
                    <a:gd name="connsiteY506" fmla="*/ 266834 h 754621"/>
                    <a:gd name="connsiteX507" fmla="*/ 11470 w 953841"/>
                    <a:gd name="connsiteY507" fmla="*/ 257175 h 754621"/>
                    <a:gd name="connsiteX508" fmla="*/ 10866 w 953841"/>
                    <a:gd name="connsiteY508" fmla="*/ 250535 h 754621"/>
                    <a:gd name="connsiteX509" fmla="*/ 16300 w 953841"/>
                    <a:gd name="connsiteY509" fmla="*/ 242083 h 754621"/>
                    <a:gd name="connsiteX510" fmla="*/ 15092 w 953841"/>
                    <a:gd name="connsiteY510" fmla="*/ 236046 h 754621"/>
                    <a:gd name="connsiteX511" fmla="*/ 10866 w 953841"/>
                    <a:gd name="connsiteY511" fmla="*/ 231820 h 754621"/>
                    <a:gd name="connsiteX512" fmla="*/ 16300 w 953841"/>
                    <a:gd name="connsiteY512" fmla="*/ 226386 h 754621"/>
                    <a:gd name="connsiteX513" fmla="*/ 22940 w 953841"/>
                    <a:gd name="connsiteY513" fmla="*/ 223972 h 754621"/>
                    <a:gd name="connsiteX514" fmla="*/ 24751 w 953841"/>
                    <a:gd name="connsiteY514" fmla="*/ 217935 h 754621"/>
                    <a:gd name="connsiteX515" fmla="*/ 21733 w 953841"/>
                    <a:gd name="connsiteY515" fmla="*/ 211294 h 754621"/>
                    <a:gd name="connsiteX516" fmla="*/ 15696 w 953841"/>
                    <a:gd name="connsiteY516" fmla="*/ 209483 h 754621"/>
                    <a:gd name="connsiteX517" fmla="*/ 15696 w 953841"/>
                    <a:gd name="connsiteY517" fmla="*/ 203446 h 754621"/>
                    <a:gd name="connsiteX518" fmla="*/ 12074 w 953841"/>
                    <a:gd name="connsiteY518" fmla="*/ 199220 h 754621"/>
                    <a:gd name="connsiteX519" fmla="*/ 13885 w 953841"/>
                    <a:gd name="connsiteY519" fmla="*/ 193787 h 754621"/>
                    <a:gd name="connsiteX520" fmla="*/ 14489 w 953841"/>
                    <a:gd name="connsiteY520" fmla="*/ 188957 h 754621"/>
                    <a:gd name="connsiteX521" fmla="*/ 21129 w 953841"/>
                    <a:gd name="connsiteY521" fmla="*/ 186542 h 754621"/>
                    <a:gd name="connsiteX522" fmla="*/ 35618 w 953841"/>
                    <a:gd name="connsiteY522" fmla="*/ 183524 h 754621"/>
                    <a:gd name="connsiteX523" fmla="*/ 45277 w 953841"/>
                    <a:gd name="connsiteY523" fmla="*/ 183524 h 754621"/>
                    <a:gd name="connsiteX524" fmla="*/ 56747 w 953841"/>
                    <a:gd name="connsiteY524" fmla="*/ 186542 h 754621"/>
                    <a:gd name="connsiteX525" fmla="*/ 73651 w 953841"/>
                    <a:gd name="connsiteY525" fmla="*/ 185939 h 754621"/>
                    <a:gd name="connsiteX526" fmla="*/ 80895 w 953841"/>
                    <a:gd name="connsiteY526" fmla="*/ 188354 h 754621"/>
                    <a:gd name="connsiteX527" fmla="*/ 87536 w 953841"/>
                    <a:gd name="connsiteY527" fmla="*/ 187146 h 754621"/>
                    <a:gd name="connsiteX528" fmla="*/ 97799 w 953841"/>
                    <a:gd name="connsiteY528" fmla="*/ 182317 h 754621"/>
                    <a:gd name="connsiteX529" fmla="*/ 109873 w 953841"/>
                    <a:gd name="connsiteY529" fmla="*/ 181109 h 754621"/>
                    <a:gd name="connsiteX530" fmla="*/ 112288 w 953841"/>
                    <a:gd name="connsiteY530" fmla="*/ 181713 h 754621"/>
                    <a:gd name="connsiteX531" fmla="*/ 124361 w 953841"/>
                    <a:gd name="connsiteY531" fmla="*/ 178694 h 754621"/>
                    <a:gd name="connsiteX532" fmla="*/ 130398 w 953841"/>
                    <a:gd name="connsiteY532" fmla="*/ 172054 h 754621"/>
                    <a:gd name="connsiteX533" fmla="*/ 133417 w 953841"/>
                    <a:gd name="connsiteY533" fmla="*/ 167224 h 754621"/>
                    <a:gd name="connsiteX534" fmla="*/ 137643 w 953841"/>
                    <a:gd name="connsiteY534" fmla="*/ 158169 h 754621"/>
                    <a:gd name="connsiteX535" fmla="*/ 144283 w 953841"/>
                    <a:gd name="connsiteY535" fmla="*/ 159980 h 754621"/>
                    <a:gd name="connsiteX536" fmla="*/ 149113 w 953841"/>
                    <a:gd name="connsiteY536" fmla="*/ 164206 h 754621"/>
                    <a:gd name="connsiteX537" fmla="*/ 151528 w 953841"/>
                    <a:gd name="connsiteY537" fmla="*/ 172054 h 754621"/>
                    <a:gd name="connsiteX538" fmla="*/ 154546 w 953841"/>
                    <a:gd name="connsiteY538" fmla="*/ 173865 h 754621"/>
                    <a:gd name="connsiteX539" fmla="*/ 155754 w 953841"/>
                    <a:gd name="connsiteY539" fmla="*/ 179298 h 754621"/>
                    <a:gd name="connsiteX540" fmla="*/ 157565 w 953841"/>
                    <a:gd name="connsiteY540" fmla="*/ 181713 h 754621"/>
                    <a:gd name="connsiteX541" fmla="*/ 157565 w 953841"/>
                    <a:gd name="connsiteY541" fmla="*/ 188354 h 754621"/>
                    <a:gd name="connsiteX542" fmla="*/ 161791 w 953841"/>
                    <a:gd name="connsiteY542" fmla="*/ 193787 h 754621"/>
                    <a:gd name="connsiteX543" fmla="*/ 168431 w 953841"/>
                    <a:gd name="connsiteY543" fmla="*/ 188354 h 754621"/>
                    <a:gd name="connsiteX544" fmla="*/ 167224 w 953841"/>
                    <a:gd name="connsiteY544" fmla="*/ 182920 h 754621"/>
                    <a:gd name="connsiteX545" fmla="*/ 169639 w 953841"/>
                    <a:gd name="connsiteY545" fmla="*/ 180505 h 754621"/>
                    <a:gd name="connsiteX546" fmla="*/ 173261 w 953841"/>
                    <a:gd name="connsiteY546" fmla="*/ 181713 h 754621"/>
                    <a:gd name="connsiteX547" fmla="*/ 170846 w 953841"/>
                    <a:gd name="connsiteY547" fmla="*/ 185335 h 754621"/>
                    <a:gd name="connsiteX548" fmla="*/ 176279 w 953841"/>
                    <a:gd name="connsiteY548" fmla="*/ 187146 h 754621"/>
                    <a:gd name="connsiteX549" fmla="*/ 176883 w 953841"/>
                    <a:gd name="connsiteY549" fmla="*/ 184128 h 754621"/>
                    <a:gd name="connsiteX550" fmla="*/ 175072 w 953841"/>
                    <a:gd name="connsiteY550" fmla="*/ 179902 h 754621"/>
                    <a:gd name="connsiteX551" fmla="*/ 184731 w 953841"/>
                    <a:gd name="connsiteY551" fmla="*/ 178091 h 754621"/>
                    <a:gd name="connsiteX552" fmla="*/ 192579 w 953841"/>
                    <a:gd name="connsiteY552" fmla="*/ 181109 h 754621"/>
                    <a:gd name="connsiteX553" fmla="*/ 194994 w 953841"/>
                    <a:gd name="connsiteY553" fmla="*/ 179902 h 754621"/>
                    <a:gd name="connsiteX554" fmla="*/ 194994 w 953841"/>
                    <a:gd name="connsiteY554" fmla="*/ 175072 h 754621"/>
                    <a:gd name="connsiteX555" fmla="*/ 199824 w 953841"/>
                    <a:gd name="connsiteY555" fmla="*/ 174468 h 754621"/>
                    <a:gd name="connsiteX556" fmla="*/ 205257 w 953841"/>
                    <a:gd name="connsiteY556" fmla="*/ 184128 h 754621"/>
                    <a:gd name="connsiteX557" fmla="*/ 206464 w 953841"/>
                    <a:gd name="connsiteY557" fmla="*/ 188957 h 754621"/>
                    <a:gd name="connsiteX558" fmla="*/ 205861 w 953841"/>
                    <a:gd name="connsiteY558" fmla="*/ 191976 h 754621"/>
                    <a:gd name="connsiteX559" fmla="*/ 199824 w 953841"/>
                    <a:gd name="connsiteY559" fmla="*/ 193787 h 754621"/>
                    <a:gd name="connsiteX560" fmla="*/ 198013 w 953841"/>
                    <a:gd name="connsiteY560" fmla="*/ 196805 h 754621"/>
                    <a:gd name="connsiteX561" fmla="*/ 199824 w 953841"/>
                    <a:gd name="connsiteY561" fmla="*/ 200428 h 754621"/>
                    <a:gd name="connsiteX562" fmla="*/ 204050 w 953841"/>
                    <a:gd name="connsiteY562" fmla="*/ 201031 h 754621"/>
                    <a:gd name="connsiteX563" fmla="*/ 207672 w 953841"/>
                    <a:gd name="connsiteY563" fmla="*/ 205257 h 754621"/>
                    <a:gd name="connsiteX564" fmla="*/ 206464 w 953841"/>
                    <a:gd name="connsiteY564" fmla="*/ 209483 h 754621"/>
                    <a:gd name="connsiteX565" fmla="*/ 208879 w 953841"/>
                    <a:gd name="connsiteY565" fmla="*/ 213105 h 754621"/>
                    <a:gd name="connsiteX566" fmla="*/ 213709 w 953841"/>
                    <a:gd name="connsiteY566" fmla="*/ 214916 h 754621"/>
                    <a:gd name="connsiteX567" fmla="*/ 217935 w 953841"/>
                    <a:gd name="connsiteY567" fmla="*/ 214313 h 754621"/>
                    <a:gd name="connsiteX568" fmla="*/ 220953 w 953841"/>
                    <a:gd name="connsiteY568" fmla="*/ 219142 h 754621"/>
                    <a:gd name="connsiteX569" fmla="*/ 226386 w 953841"/>
                    <a:gd name="connsiteY569" fmla="*/ 221557 h 754621"/>
                    <a:gd name="connsiteX570" fmla="*/ 225179 w 953841"/>
                    <a:gd name="connsiteY570" fmla="*/ 227594 h 754621"/>
                    <a:gd name="connsiteX571" fmla="*/ 233027 w 953841"/>
                    <a:gd name="connsiteY571" fmla="*/ 225783 h 754621"/>
                    <a:gd name="connsiteX572" fmla="*/ 235442 w 953841"/>
                    <a:gd name="connsiteY572" fmla="*/ 233027 h 754621"/>
                    <a:gd name="connsiteX573" fmla="*/ 240875 w 953841"/>
                    <a:gd name="connsiteY573" fmla="*/ 237857 h 754621"/>
                    <a:gd name="connsiteX574" fmla="*/ 246308 w 953841"/>
                    <a:gd name="connsiteY574" fmla="*/ 226990 h 754621"/>
                    <a:gd name="connsiteX575" fmla="*/ 246912 w 953841"/>
                    <a:gd name="connsiteY575" fmla="*/ 217331 h 754621"/>
                    <a:gd name="connsiteX576" fmla="*/ 251741 w 953841"/>
                    <a:gd name="connsiteY576" fmla="*/ 217935 h 754621"/>
                    <a:gd name="connsiteX577" fmla="*/ 255967 w 953841"/>
                    <a:gd name="connsiteY577" fmla="*/ 215520 h 754621"/>
                    <a:gd name="connsiteX578" fmla="*/ 254760 w 953841"/>
                    <a:gd name="connsiteY578" fmla="*/ 212501 h 754621"/>
                    <a:gd name="connsiteX579" fmla="*/ 257175 w 953841"/>
                    <a:gd name="connsiteY579" fmla="*/ 209483 h 754621"/>
                    <a:gd name="connsiteX580" fmla="*/ 263212 w 953841"/>
                    <a:gd name="connsiteY580" fmla="*/ 211898 h 754621"/>
                    <a:gd name="connsiteX581" fmla="*/ 266834 w 953841"/>
                    <a:gd name="connsiteY581" fmla="*/ 211294 h 754621"/>
                    <a:gd name="connsiteX582" fmla="*/ 275286 w 953841"/>
                    <a:gd name="connsiteY582" fmla="*/ 213709 h 754621"/>
                    <a:gd name="connsiteX583" fmla="*/ 277097 w 953841"/>
                    <a:gd name="connsiteY583" fmla="*/ 208879 h 754621"/>
                    <a:gd name="connsiteX584" fmla="*/ 276493 w 953841"/>
                    <a:gd name="connsiteY584" fmla="*/ 205257 h 754621"/>
                    <a:gd name="connsiteX585" fmla="*/ 279512 w 953841"/>
                    <a:gd name="connsiteY585" fmla="*/ 199220 h 754621"/>
                    <a:gd name="connsiteX586" fmla="*/ 284945 w 953841"/>
                    <a:gd name="connsiteY586" fmla="*/ 195598 h 754621"/>
                    <a:gd name="connsiteX587" fmla="*/ 288567 w 953841"/>
                    <a:gd name="connsiteY587" fmla="*/ 195598 h 754621"/>
                    <a:gd name="connsiteX588" fmla="*/ 292189 w 953841"/>
                    <a:gd name="connsiteY588" fmla="*/ 190165 h 754621"/>
                    <a:gd name="connsiteX589" fmla="*/ 300037 w 953841"/>
                    <a:gd name="connsiteY589" fmla="*/ 188354 h 754621"/>
                    <a:gd name="connsiteX590" fmla="*/ 300641 w 953841"/>
                    <a:gd name="connsiteY590" fmla="*/ 185335 h 754621"/>
                    <a:gd name="connsiteX591" fmla="*/ 308489 w 953841"/>
                    <a:gd name="connsiteY591" fmla="*/ 183524 h 754621"/>
                    <a:gd name="connsiteX592" fmla="*/ 310904 w 953841"/>
                    <a:gd name="connsiteY592" fmla="*/ 186542 h 754621"/>
                    <a:gd name="connsiteX593" fmla="*/ 309697 w 953841"/>
                    <a:gd name="connsiteY593" fmla="*/ 196202 h 754621"/>
                    <a:gd name="connsiteX594" fmla="*/ 317545 w 953841"/>
                    <a:gd name="connsiteY594" fmla="*/ 199220 h 754621"/>
                    <a:gd name="connsiteX595" fmla="*/ 320563 w 953841"/>
                    <a:gd name="connsiteY595" fmla="*/ 198013 h 754621"/>
                    <a:gd name="connsiteX596" fmla="*/ 320563 w 953841"/>
                    <a:gd name="connsiteY596" fmla="*/ 207068 h 754621"/>
                    <a:gd name="connsiteX597" fmla="*/ 324789 w 953841"/>
                    <a:gd name="connsiteY597" fmla="*/ 213709 h 754621"/>
                    <a:gd name="connsiteX598" fmla="*/ 325393 w 953841"/>
                    <a:gd name="connsiteY598" fmla="*/ 218538 h 754621"/>
                    <a:gd name="connsiteX599" fmla="*/ 330222 w 953841"/>
                    <a:gd name="connsiteY599" fmla="*/ 216727 h 754621"/>
                    <a:gd name="connsiteX600" fmla="*/ 335052 w 953841"/>
                    <a:gd name="connsiteY600" fmla="*/ 218538 h 754621"/>
                    <a:gd name="connsiteX601" fmla="*/ 339278 w 953841"/>
                    <a:gd name="connsiteY601" fmla="*/ 217331 h 754621"/>
                    <a:gd name="connsiteX602" fmla="*/ 343504 w 953841"/>
                    <a:gd name="connsiteY602" fmla="*/ 209483 h 754621"/>
                    <a:gd name="connsiteX603" fmla="*/ 351955 w 953841"/>
                    <a:gd name="connsiteY603" fmla="*/ 206465 h 754621"/>
                    <a:gd name="connsiteX604" fmla="*/ 356785 w 953841"/>
                    <a:gd name="connsiteY604" fmla="*/ 208879 h 754621"/>
                    <a:gd name="connsiteX605" fmla="*/ 359803 w 953841"/>
                    <a:gd name="connsiteY605" fmla="*/ 204050 h 754621"/>
                    <a:gd name="connsiteX606" fmla="*/ 361011 w 953841"/>
                    <a:gd name="connsiteY606" fmla="*/ 210087 h 754621"/>
                    <a:gd name="connsiteX607" fmla="*/ 359200 w 953841"/>
                    <a:gd name="connsiteY607" fmla="*/ 214916 h 754621"/>
                    <a:gd name="connsiteX608" fmla="*/ 364633 w 953841"/>
                    <a:gd name="connsiteY608" fmla="*/ 216124 h 754621"/>
                    <a:gd name="connsiteX609" fmla="*/ 369462 w 953841"/>
                    <a:gd name="connsiteY609" fmla="*/ 210087 h 754621"/>
                    <a:gd name="connsiteX610" fmla="*/ 376103 w 953841"/>
                    <a:gd name="connsiteY610" fmla="*/ 207672 h 754621"/>
                    <a:gd name="connsiteX611" fmla="*/ 380329 w 953841"/>
                    <a:gd name="connsiteY611" fmla="*/ 205257 h 754621"/>
                    <a:gd name="connsiteX612" fmla="*/ 377311 w 953841"/>
                    <a:gd name="connsiteY612" fmla="*/ 197409 h 754621"/>
                    <a:gd name="connsiteX613" fmla="*/ 387573 w 953841"/>
                    <a:gd name="connsiteY613" fmla="*/ 195598 h 754621"/>
                    <a:gd name="connsiteX614" fmla="*/ 391799 w 953841"/>
                    <a:gd name="connsiteY614" fmla="*/ 195598 h 754621"/>
                    <a:gd name="connsiteX615" fmla="*/ 397836 w 953841"/>
                    <a:gd name="connsiteY615" fmla="*/ 189561 h 754621"/>
                    <a:gd name="connsiteX616" fmla="*/ 403873 w 953841"/>
                    <a:gd name="connsiteY616" fmla="*/ 190165 h 754621"/>
                    <a:gd name="connsiteX617" fmla="*/ 403270 w 953841"/>
                    <a:gd name="connsiteY617" fmla="*/ 185335 h 754621"/>
                    <a:gd name="connsiteX618" fmla="*/ 406892 w 953841"/>
                    <a:gd name="connsiteY618" fmla="*/ 182920 h 754621"/>
                    <a:gd name="connsiteX619" fmla="*/ 411118 w 953841"/>
                    <a:gd name="connsiteY619" fmla="*/ 183524 h 754621"/>
                    <a:gd name="connsiteX620" fmla="*/ 424399 w 953841"/>
                    <a:gd name="connsiteY620" fmla="*/ 181713 h 754621"/>
                    <a:gd name="connsiteX621" fmla="*/ 428625 w 953841"/>
                    <a:gd name="connsiteY621" fmla="*/ 179298 h 754621"/>
                    <a:gd name="connsiteX622" fmla="*/ 434662 w 953841"/>
                    <a:gd name="connsiteY622" fmla="*/ 181109 h 754621"/>
                    <a:gd name="connsiteX623" fmla="*/ 447339 w 953841"/>
                    <a:gd name="connsiteY623" fmla="*/ 178091 h 754621"/>
                    <a:gd name="connsiteX624" fmla="*/ 449754 w 953841"/>
                    <a:gd name="connsiteY624" fmla="*/ 182920 h 754621"/>
                    <a:gd name="connsiteX625" fmla="*/ 452169 w 953841"/>
                    <a:gd name="connsiteY625" fmla="*/ 183524 h 754621"/>
                    <a:gd name="connsiteX626" fmla="*/ 455791 w 953841"/>
                    <a:gd name="connsiteY626" fmla="*/ 182317 h 754621"/>
                    <a:gd name="connsiteX627" fmla="*/ 456999 w 953841"/>
                    <a:gd name="connsiteY627" fmla="*/ 178091 h 754621"/>
                    <a:gd name="connsiteX628" fmla="*/ 462432 w 953841"/>
                    <a:gd name="connsiteY628" fmla="*/ 174468 h 754621"/>
                    <a:gd name="connsiteX629" fmla="*/ 461224 w 953841"/>
                    <a:gd name="connsiteY629" fmla="*/ 170243 h 754621"/>
                    <a:gd name="connsiteX630" fmla="*/ 464243 w 953841"/>
                    <a:gd name="connsiteY630" fmla="*/ 166017 h 754621"/>
                    <a:gd name="connsiteX631" fmla="*/ 469072 w 953841"/>
                    <a:gd name="connsiteY631" fmla="*/ 167224 h 754621"/>
                    <a:gd name="connsiteX632" fmla="*/ 470884 w 953841"/>
                    <a:gd name="connsiteY632" fmla="*/ 170243 h 754621"/>
                    <a:gd name="connsiteX633" fmla="*/ 478128 w 953841"/>
                    <a:gd name="connsiteY633" fmla="*/ 171450 h 754621"/>
                    <a:gd name="connsiteX634" fmla="*/ 482354 w 953841"/>
                    <a:gd name="connsiteY634" fmla="*/ 170846 h 754621"/>
                    <a:gd name="connsiteX635" fmla="*/ 484165 w 953841"/>
                    <a:gd name="connsiteY635" fmla="*/ 162395 h 754621"/>
                    <a:gd name="connsiteX636" fmla="*/ 481750 w 953841"/>
                    <a:gd name="connsiteY636" fmla="*/ 155150 h 754621"/>
                    <a:gd name="connsiteX637" fmla="*/ 481750 w 953841"/>
                    <a:gd name="connsiteY637" fmla="*/ 149717 h 754621"/>
                    <a:gd name="connsiteX638" fmla="*/ 479335 w 953841"/>
                    <a:gd name="connsiteY638" fmla="*/ 146699 h 754621"/>
                    <a:gd name="connsiteX639" fmla="*/ 485372 w 953841"/>
                    <a:gd name="connsiteY639" fmla="*/ 145491 h 754621"/>
                    <a:gd name="connsiteX640" fmla="*/ 490806 w 953841"/>
                    <a:gd name="connsiteY640" fmla="*/ 137643 h 754621"/>
                    <a:gd name="connsiteX641" fmla="*/ 490806 w 953841"/>
                    <a:gd name="connsiteY641" fmla="*/ 131002 h 754621"/>
                    <a:gd name="connsiteX642" fmla="*/ 492013 w 953841"/>
                    <a:gd name="connsiteY642" fmla="*/ 125569 h 754621"/>
                    <a:gd name="connsiteX643" fmla="*/ 494428 w 953841"/>
                    <a:gd name="connsiteY643" fmla="*/ 124362 h 754621"/>
                    <a:gd name="connsiteX644" fmla="*/ 497446 w 953841"/>
                    <a:gd name="connsiteY644" fmla="*/ 115910 h 754621"/>
                    <a:gd name="connsiteX645" fmla="*/ 503483 w 953841"/>
                    <a:gd name="connsiteY645" fmla="*/ 118325 h 754621"/>
                    <a:gd name="connsiteX646" fmla="*/ 505898 w 953841"/>
                    <a:gd name="connsiteY646" fmla="*/ 121343 h 754621"/>
                    <a:gd name="connsiteX647" fmla="*/ 512539 w 953841"/>
                    <a:gd name="connsiteY647" fmla="*/ 122551 h 754621"/>
                    <a:gd name="connsiteX648" fmla="*/ 516161 w 953841"/>
                    <a:gd name="connsiteY648" fmla="*/ 118928 h 754621"/>
                    <a:gd name="connsiteX649" fmla="*/ 526424 w 953841"/>
                    <a:gd name="connsiteY649" fmla="*/ 121343 h 754621"/>
                    <a:gd name="connsiteX650" fmla="*/ 533065 w 953841"/>
                    <a:gd name="connsiteY650" fmla="*/ 131606 h 754621"/>
                    <a:gd name="connsiteX651" fmla="*/ 541516 w 953841"/>
                    <a:gd name="connsiteY651" fmla="*/ 136436 h 754621"/>
                    <a:gd name="connsiteX652" fmla="*/ 545742 w 953841"/>
                    <a:gd name="connsiteY652" fmla="*/ 136436 h 754621"/>
                    <a:gd name="connsiteX653" fmla="*/ 546950 w 953841"/>
                    <a:gd name="connsiteY653" fmla="*/ 133417 h 754621"/>
                    <a:gd name="connsiteX654" fmla="*/ 551779 w 953841"/>
                    <a:gd name="connsiteY654" fmla="*/ 132210 h 754621"/>
                    <a:gd name="connsiteX655" fmla="*/ 552987 w 953841"/>
                    <a:gd name="connsiteY655" fmla="*/ 129191 h 754621"/>
                    <a:gd name="connsiteX656" fmla="*/ 561438 w 953841"/>
                    <a:gd name="connsiteY656" fmla="*/ 126173 h 754621"/>
                    <a:gd name="connsiteX657" fmla="*/ 564457 w 953841"/>
                    <a:gd name="connsiteY657" fmla="*/ 132210 h 754621"/>
                    <a:gd name="connsiteX658" fmla="*/ 573512 w 953841"/>
                    <a:gd name="connsiteY658" fmla="*/ 135832 h 754621"/>
                    <a:gd name="connsiteX659" fmla="*/ 577134 w 953841"/>
                    <a:gd name="connsiteY659" fmla="*/ 143076 h 754621"/>
                    <a:gd name="connsiteX660" fmla="*/ 578945 w 953841"/>
                    <a:gd name="connsiteY660" fmla="*/ 149717 h 754621"/>
                    <a:gd name="connsiteX661" fmla="*/ 575927 w 953841"/>
                    <a:gd name="connsiteY661" fmla="*/ 156961 h 754621"/>
                    <a:gd name="connsiteX662" fmla="*/ 577738 w 953841"/>
                    <a:gd name="connsiteY662" fmla="*/ 164206 h 754621"/>
                    <a:gd name="connsiteX663" fmla="*/ 583171 w 953841"/>
                    <a:gd name="connsiteY663" fmla="*/ 166620 h 754621"/>
                    <a:gd name="connsiteX664" fmla="*/ 585586 w 953841"/>
                    <a:gd name="connsiteY664" fmla="*/ 170243 h 754621"/>
                    <a:gd name="connsiteX665" fmla="*/ 596453 w 953841"/>
                    <a:gd name="connsiteY665" fmla="*/ 168431 h 754621"/>
                    <a:gd name="connsiteX666" fmla="*/ 596453 w 953841"/>
                    <a:gd name="connsiteY666" fmla="*/ 164206 h 754621"/>
                    <a:gd name="connsiteX667" fmla="*/ 603093 w 953841"/>
                    <a:gd name="connsiteY667" fmla="*/ 170243 h 754621"/>
                    <a:gd name="connsiteX668" fmla="*/ 612149 w 953841"/>
                    <a:gd name="connsiteY668" fmla="*/ 169639 h 754621"/>
                    <a:gd name="connsiteX669" fmla="*/ 617582 w 953841"/>
                    <a:gd name="connsiteY669" fmla="*/ 172657 h 754621"/>
                    <a:gd name="connsiteX670" fmla="*/ 614564 w 953841"/>
                    <a:gd name="connsiteY670" fmla="*/ 176280 h 754621"/>
                    <a:gd name="connsiteX671" fmla="*/ 613960 w 953841"/>
                    <a:gd name="connsiteY671" fmla="*/ 182317 h 754621"/>
                    <a:gd name="connsiteX672" fmla="*/ 616375 w 953841"/>
                    <a:gd name="connsiteY672" fmla="*/ 187750 h 754621"/>
                    <a:gd name="connsiteX673" fmla="*/ 612149 w 953841"/>
                    <a:gd name="connsiteY673" fmla="*/ 194994 h 754621"/>
                    <a:gd name="connsiteX674" fmla="*/ 613960 w 953841"/>
                    <a:gd name="connsiteY674" fmla="*/ 199220 h 754621"/>
                    <a:gd name="connsiteX675" fmla="*/ 617582 w 953841"/>
                    <a:gd name="connsiteY675" fmla="*/ 202842 h 754621"/>
                    <a:gd name="connsiteX676" fmla="*/ 624827 w 953841"/>
                    <a:gd name="connsiteY676" fmla="*/ 202239 h 754621"/>
                    <a:gd name="connsiteX677" fmla="*/ 628449 w 953841"/>
                    <a:gd name="connsiteY677" fmla="*/ 208276 h 754621"/>
                    <a:gd name="connsiteX678" fmla="*/ 633882 w 953841"/>
                    <a:gd name="connsiteY678" fmla="*/ 211898 h 754621"/>
                    <a:gd name="connsiteX679" fmla="*/ 637504 w 953841"/>
                    <a:gd name="connsiteY679" fmla="*/ 216727 h 754621"/>
                    <a:gd name="connsiteX680" fmla="*/ 643541 w 953841"/>
                    <a:gd name="connsiteY680" fmla="*/ 219142 h 754621"/>
                    <a:gd name="connsiteX681" fmla="*/ 647163 w 953841"/>
                    <a:gd name="connsiteY681" fmla="*/ 217331 h 754621"/>
                    <a:gd name="connsiteX682" fmla="*/ 647767 w 953841"/>
                    <a:gd name="connsiteY682" fmla="*/ 213105 h 754621"/>
                    <a:gd name="connsiteX683" fmla="*/ 647767 w 953841"/>
                    <a:gd name="connsiteY683" fmla="*/ 207068 h 754621"/>
                    <a:gd name="connsiteX684" fmla="*/ 652597 w 953841"/>
                    <a:gd name="connsiteY684" fmla="*/ 206465 h 754621"/>
                    <a:gd name="connsiteX685" fmla="*/ 653200 w 953841"/>
                    <a:gd name="connsiteY685" fmla="*/ 202842 h 754621"/>
                    <a:gd name="connsiteX686" fmla="*/ 652597 w 953841"/>
                    <a:gd name="connsiteY686" fmla="*/ 193183 h 754621"/>
                    <a:gd name="connsiteX687" fmla="*/ 656219 w 953841"/>
                    <a:gd name="connsiteY687" fmla="*/ 185335 h 754621"/>
                    <a:gd name="connsiteX688" fmla="*/ 659841 w 953841"/>
                    <a:gd name="connsiteY688" fmla="*/ 181109 h 754621"/>
                    <a:gd name="connsiteX689" fmla="*/ 664671 w 953841"/>
                    <a:gd name="connsiteY689" fmla="*/ 181713 h 754621"/>
                    <a:gd name="connsiteX690" fmla="*/ 665878 w 953841"/>
                    <a:gd name="connsiteY690" fmla="*/ 175676 h 754621"/>
                    <a:gd name="connsiteX691" fmla="*/ 671915 w 953841"/>
                    <a:gd name="connsiteY691" fmla="*/ 172657 h 754621"/>
                    <a:gd name="connsiteX692" fmla="*/ 671915 w 953841"/>
                    <a:gd name="connsiteY692" fmla="*/ 170243 h 754621"/>
                    <a:gd name="connsiteX693" fmla="*/ 675537 w 953841"/>
                    <a:gd name="connsiteY693" fmla="*/ 166620 h 754621"/>
                    <a:gd name="connsiteX694" fmla="*/ 684592 w 953841"/>
                    <a:gd name="connsiteY694" fmla="*/ 173865 h 754621"/>
                    <a:gd name="connsiteX695" fmla="*/ 689422 w 953841"/>
                    <a:gd name="connsiteY695" fmla="*/ 175676 h 754621"/>
                    <a:gd name="connsiteX696" fmla="*/ 699685 w 953841"/>
                    <a:gd name="connsiteY696" fmla="*/ 171450 h 754621"/>
                    <a:gd name="connsiteX697" fmla="*/ 702703 w 953841"/>
                    <a:gd name="connsiteY697" fmla="*/ 172054 h 754621"/>
                    <a:gd name="connsiteX698" fmla="*/ 705118 w 953841"/>
                    <a:gd name="connsiteY698" fmla="*/ 169035 h 754621"/>
                    <a:gd name="connsiteX699" fmla="*/ 706929 w 953841"/>
                    <a:gd name="connsiteY699" fmla="*/ 163602 h 754621"/>
                    <a:gd name="connsiteX700" fmla="*/ 714777 w 953841"/>
                    <a:gd name="connsiteY700" fmla="*/ 162998 h 754621"/>
                    <a:gd name="connsiteX701" fmla="*/ 717796 w 953841"/>
                    <a:gd name="connsiteY701" fmla="*/ 167828 h 754621"/>
                    <a:gd name="connsiteX702" fmla="*/ 718400 w 953841"/>
                    <a:gd name="connsiteY702" fmla="*/ 175072 h 754621"/>
                    <a:gd name="connsiteX703" fmla="*/ 724437 w 953841"/>
                    <a:gd name="connsiteY703" fmla="*/ 173865 h 754621"/>
                    <a:gd name="connsiteX704" fmla="*/ 724437 w 953841"/>
                    <a:gd name="connsiteY704" fmla="*/ 176883 h 754621"/>
                    <a:gd name="connsiteX705" fmla="*/ 728059 w 953841"/>
                    <a:gd name="connsiteY705" fmla="*/ 178091 h 754621"/>
                    <a:gd name="connsiteX706" fmla="*/ 732285 w 953841"/>
                    <a:gd name="connsiteY706" fmla="*/ 173865 h 754621"/>
                    <a:gd name="connsiteX707" fmla="*/ 738925 w 953841"/>
                    <a:gd name="connsiteY707" fmla="*/ 179298 h 754621"/>
                    <a:gd name="connsiteX708" fmla="*/ 737114 w 953841"/>
                    <a:gd name="connsiteY708" fmla="*/ 169639 h 754621"/>
                    <a:gd name="connsiteX709" fmla="*/ 744962 w 953841"/>
                    <a:gd name="connsiteY709" fmla="*/ 159980 h 754621"/>
                    <a:gd name="connsiteX710" fmla="*/ 750999 w 953841"/>
                    <a:gd name="connsiteY710" fmla="*/ 159376 h 754621"/>
                    <a:gd name="connsiteX711" fmla="*/ 760055 w 953841"/>
                    <a:gd name="connsiteY711" fmla="*/ 165413 h 754621"/>
                    <a:gd name="connsiteX712" fmla="*/ 768506 w 953841"/>
                    <a:gd name="connsiteY712" fmla="*/ 165413 h 754621"/>
                    <a:gd name="connsiteX713" fmla="*/ 767299 w 953841"/>
                    <a:gd name="connsiteY713" fmla="*/ 161187 h 754621"/>
                    <a:gd name="connsiteX714" fmla="*/ 769110 w 953841"/>
                    <a:gd name="connsiteY714" fmla="*/ 150924 h 754621"/>
                    <a:gd name="connsiteX715" fmla="*/ 772129 w 953841"/>
                    <a:gd name="connsiteY715" fmla="*/ 145491 h 754621"/>
                    <a:gd name="connsiteX716" fmla="*/ 774543 w 953841"/>
                    <a:gd name="connsiteY716" fmla="*/ 138247 h 754621"/>
                    <a:gd name="connsiteX717" fmla="*/ 773336 w 953841"/>
                    <a:gd name="connsiteY717" fmla="*/ 134021 h 754621"/>
                    <a:gd name="connsiteX718" fmla="*/ 775751 w 953841"/>
                    <a:gd name="connsiteY718" fmla="*/ 131002 h 754621"/>
                    <a:gd name="connsiteX719" fmla="*/ 775147 w 953841"/>
                    <a:gd name="connsiteY719" fmla="*/ 126173 h 754621"/>
                    <a:gd name="connsiteX720" fmla="*/ 777562 w 953841"/>
                    <a:gd name="connsiteY720" fmla="*/ 121947 h 754621"/>
                    <a:gd name="connsiteX721" fmla="*/ 773940 w 953841"/>
                    <a:gd name="connsiteY721" fmla="*/ 119532 h 754621"/>
                    <a:gd name="connsiteX722" fmla="*/ 779977 w 953841"/>
                    <a:gd name="connsiteY722" fmla="*/ 110477 h 754621"/>
                    <a:gd name="connsiteX723" fmla="*/ 788428 w 953841"/>
                    <a:gd name="connsiteY723" fmla="*/ 106854 h 754621"/>
                    <a:gd name="connsiteX724" fmla="*/ 790239 w 953841"/>
                    <a:gd name="connsiteY724" fmla="*/ 102025 h 754621"/>
                    <a:gd name="connsiteX725" fmla="*/ 788428 w 953841"/>
                    <a:gd name="connsiteY725" fmla="*/ 94781 h 754621"/>
                    <a:gd name="connsiteX726" fmla="*/ 789636 w 953841"/>
                    <a:gd name="connsiteY726" fmla="*/ 77877 h 754621"/>
                    <a:gd name="connsiteX727" fmla="*/ 787221 w 953841"/>
                    <a:gd name="connsiteY727" fmla="*/ 73651 h 754621"/>
                    <a:gd name="connsiteX728" fmla="*/ 794465 w 953841"/>
                    <a:gd name="connsiteY728" fmla="*/ 61577 h 754621"/>
                    <a:gd name="connsiteX729" fmla="*/ 796276 w 953841"/>
                    <a:gd name="connsiteY729" fmla="*/ 60370 h 754621"/>
                    <a:gd name="connsiteX730" fmla="*/ 801710 w 953841"/>
                    <a:gd name="connsiteY730" fmla="*/ 55540 h 754621"/>
                    <a:gd name="connsiteX731" fmla="*/ 805936 w 953841"/>
                    <a:gd name="connsiteY731" fmla="*/ 56144 h 754621"/>
                    <a:gd name="connsiteX732" fmla="*/ 807143 w 953841"/>
                    <a:gd name="connsiteY732" fmla="*/ 53125 h 754621"/>
                    <a:gd name="connsiteX733" fmla="*/ 811369 w 953841"/>
                    <a:gd name="connsiteY733" fmla="*/ 51918 h 754621"/>
                    <a:gd name="connsiteX734" fmla="*/ 813784 w 953841"/>
                    <a:gd name="connsiteY734" fmla="*/ 54333 h 754621"/>
                    <a:gd name="connsiteX735" fmla="*/ 818010 w 953841"/>
                    <a:gd name="connsiteY735" fmla="*/ 55540 h 754621"/>
                    <a:gd name="connsiteX736" fmla="*/ 819217 w 953841"/>
                    <a:gd name="connsiteY736" fmla="*/ 45277 h 754621"/>
                    <a:gd name="connsiteX737" fmla="*/ 821632 w 953841"/>
                    <a:gd name="connsiteY737" fmla="*/ 41655 h 754621"/>
                    <a:gd name="connsiteX738" fmla="*/ 824650 w 953841"/>
                    <a:gd name="connsiteY738" fmla="*/ 25355 h 754621"/>
                    <a:gd name="connsiteX739" fmla="*/ 833706 w 953841"/>
                    <a:gd name="connsiteY739" fmla="*/ 28978 h 754621"/>
                    <a:gd name="connsiteX740" fmla="*/ 835517 w 953841"/>
                    <a:gd name="connsiteY740" fmla="*/ 25355 h 754621"/>
                    <a:gd name="connsiteX741" fmla="*/ 838535 w 953841"/>
                    <a:gd name="connsiteY741" fmla="*/ 24148 h 754621"/>
                    <a:gd name="connsiteX742" fmla="*/ 851817 w 953841"/>
                    <a:gd name="connsiteY742" fmla="*/ 30789 h 754621"/>
                    <a:gd name="connsiteX743" fmla="*/ 855439 w 953841"/>
                    <a:gd name="connsiteY743" fmla="*/ 31392 h 754621"/>
                    <a:gd name="connsiteX744" fmla="*/ 855439 w 953841"/>
                    <a:gd name="connsiteY744" fmla="*/ 21129 h 754621"/>
                    <a:gd name="connsiteX745" fmla="*/ 860269 w 953841"/>
                    <a:gd name="connsiteY745" fmla="*/ 15696 h 754621"/>
                    <a:gd name="connsiteX746" fmla="*/ 857250 w 953841"/>
                    <a:gd name="connsiteY746" fmla="*/ 8452 h 754621"/>
                    <a:gd name="connsiteX747" fmla="*/ 863891 w 953841"/>
                    <a:gd name="connsiteY747" fmla="*/ 9055 h 754621"/>
                    <a:gd name="connsiteX748" fmla="*/ 866306 w 953841"/>
                    <a:gd name="connsiteY748" fmla="*/ 12074 h 754621"/>
                    <a:gd name="connsiteX749" fmla="*/ 868720 w 953841"/>
                    <a:gd name="connsiteY749" fmla="*/ 8452 h 754621"/>
                    <a:gd name="connsiteX750" fmla="*/ 870531 w 953841"/>
                    <a:gd name="connsiteY750" fmla="*/ 604 h 754621"/>
                    <a:gd name="connsiteX751" fmla="*/ 874757 w 953841"/>
                    <a:gd name="connsiteY751" fmla="*/ 0 h 754621"/>
                    <a:gd name="connsiteX752" fmla="*/ 883209 w 953841"/>
                    <a:gd name="connsiteY752" fmla="*/ 4830 h 754621"/>
                    <a:gd name="connsiteX753" fmla="*/ 886831 w 953841"/>
                    <a:gd name="connsiteY753" fmla="*/ 4226 h 754621"/>
                    <a:gd name="connsiteX754" fmla="*/ 892264 w 953841"/>
                    <a:gd name="connsiteY754" fmla="*/ 6037 h 754621"/>
                    <a:gd name="connsiteX755" fmla="*/ 898905 w 953841"/>
                    <a:gd name="connsiteY755" fmla="*/ 5433 h 754621"/>
                    <a:gd name="connsiteX756" fmla="*/ 900716 w 953841"/>
                    <a:gd name="connsiteY756" fmla="*/ 6641 h 754621"/>
                    <a:gd name="connsiteX757" fmla="*/ 900112 w 953841"/>
                    <a:gd name="connsiteY757" fmla="*/ 11470 h 754621"/>
                    <a:gd name="connsiteX758" fmla="*/ 903734 w 953841"/>
                    <a:gd name="connsiteY758" fmla="*/ 13885 h 754621"/>
                    <a:gd name="connsiteX759" fmla="*/ 903734 w 953841"/>
                    <a:gd name="connsiteY759" fmla="*/ 17507 h 754621"/>
                    <a:gd name="connsiteX760" fmla="*/ 919431 w 953841"/>
                    <a:gd name="connsiteY760" fmla="*/ 19922 h 754621"/>
                    <a:gd name="connsiteX761" fmla="*/ 920034 w 953841"/>
                    <a:gd name="connsiteY761" fmla="*/ 25355 h 75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Lst>
                  <a:rect l="l" t="t" r="r" b="b"/>
                  <a:pathLst>
                    <a:path w="953841" h="754621">
                      <a:moveTo>
                        <a:pt x="920034" y="25355"/>
                      </a:moveTo>
                      <a:lnTo>
                        <a:pt x="917016" y="41052"/>
                      </a:lnTo>
                      <a:lnTo>
                        <a:pt x="917016" y="53125"/>
                      </a:lnTo>
                      <a:lnTo>
                        <a:pt x="921242" y="58559"/>
                      </a:lnTo>
                      <a:lnTo>
                        <a:pt x="929694" y="62784"/>
                      </a:lnTo>
                      <a:lnTo>
                        <a:pt x="936334" y="67010"/>
                      </a:lnTo>
                      <a:lnTo>
                        <a:pt x="944182" y="76066"/>
                      </a:lnTo>
                      <a:lnTo>
                        <a:pt x="944786" y="79084"/>
                      </a:lnTo>
                      <a:lnTo>
                        <a:pt x="956256" y="90555"/>
                      </a:lnTo>
                      <a:lnTo>
                        <a:pt x="958067" y="92969"/>
                      </a:lnTo>
                      <a:lnTo>
                        <a:pt x="958671" y="99610"/>
                      </a:lnTo>
                      <a:lnTo>
                        <a:pt x="956860" y="102629"/>
                      </a:lnTo>
                      <a:lnTo>
                        <a:pt x="945993" y="108665"/>
                      </a:lnTo>
                      <a:lnTo>
                        <a:pt x="942975" y="111684"/>
                      </a:lnTo>
                      <a:lnTo>
                        <a:pt x="936334" y="127380"/>
                      </a:lnTo>
                      <a:lnTo>
                        <a:pt x="933316" y="130399"/>
                      </a:lnTo>
                      <a:lnTo>
                        <a:pt x="926675" y="129191"/>
                      </a:lnTo>
                      <a:lnTo>
                        <a:pt x="930901" y="135228"/>
                      </a:lnTo>
                      <a:lnTo>
                        <a:pt x="943579" y="138850"/>
                      </a:lnTo>
                      <a:lnTo>
                        <a:pt x="942975" y="146095"/>
                      </a:lnTo>
                      <a:lnTo>
                        <a:pt x="940560" y="149113"/>
                      </a:lnTo>
                      <a:lnTo>
                        <a:pt x="945993" y="152736"/>
                      </a:lnTo>
                      <a:lnTo>
                        <a:pt x="943579" y="163602"/>
                      </a:lnTo>
                      <a:lnTo>
                        <a:pt x="945390" y="167828"/>
                      </a:lnTo>
                      <a:lnTo>
                        <a:pt x="941768" y="171450"/>
                      </a:lnTo>
                      <a:lnTo>
                        <a:pt x="940560" y="175072"/>
                      </a:lnTo>
                      <a:lnTo>
                        <a:pt x="936334" y="175676"/>
                      </a:lnTo>
                      <a:lnTo>
                        <a:pt x="932712" y="178091"/>
                      </a:lnTo>
                      <a:lnTo>
                        <a:pt x="927882" y="175676"/>
                      </a:lnTo>
                      <a:lnTo>
                        <a:pt x="924864" y="172054"/>
                      </a:lnTo>
                      <a:lnTo>
                        <a:pt x="921845" y="175072"/>
                      </a:lnTo>
                      <a:lnTo>
                        <a:pt x="923053" y="185335"/>
                      </a:lnTo>
                      <a:lnTo>
                        <a:pt x="922449" y="191372"/>
                      </a:lnTo>
                      <a:lnTo>
                        <a:pt x="926675" y="196805"/>
                      </a:lnTo>
                      <a:lnTo>
                        <a:pt x="920638" y="204653"/>
                      </a:lnTo>
                      <a:lnTo>
                        <a:pt x="920034" y="209483"/>
                      </a:lnTo>
                      <a:lnTo>
                        <a:pt x="922449" y="211898"/>
                      </a:lnTo>
                      <a:lnTo>
                        <a:pt x="922449" y="216124"/>
                      </a:lnTo>
                      <a:lnTo>
                        <a:pt x="914601" y="226990"/>
                      </a:lnTo>
                      <a:lnTo>
                        <a:pt x="913997" y="233631"/>
                      </a:lnTo>
                      <a:lnTo>
                        <a:pt x="907960" y="237857"/>
                      </a:lnTo>
                      <a:lnTo>
                        <a:pt x="904338" y="236649"/>
                      </a:lnTo>
                      <a:lnTo>
                        <a:pt x="903131" y="242083"/>
                      </a:lnTo>
                      <a:lnTo>
                        <a:pt x="898301" y="246912"/>
                      </a:lnTo>
                      <a:lnTo>
                        <a:pt x="891057" y="246309"/>
                      </a:lnTo>
                      <a:lnTo>
                        <a:pt x="889246" y="254760"/>
                      </a:lnTo>
                      <a:lnTo>
                        <a:pt x="895886" y="255968"/>
                      </a:lnTo>
                      <a:lnTo>
                        <a:pt x="901320" y="262608"/>
                      </a:lnTo>
                      <a:lnTo>
                        <a:pt x="900112" y="268645"/>
                      </a:lnTo>
                      <a:lnTo>
                        <a:pt x="889849" y="267438"/>
                      </a:lnTo>
                      <a:lnTo>
                        <a:pt x="887435" y="265627"/>
                      </a:lnTo>
                      <a:lnTo>
                        <a:pt x="877172" y="266231"/>
                      </a:lnTo>
                      <a:lnTo>
                        <a:pt x="878379" y="269249"/>
                      </a:lnTo>
                      <a:lnTo>
                        <a:pt x="882605" y="272871"/>
                      </a:lnTo>
                      <a:lnTo>
                        <a:pt x="877776" y="274682"/>
                      </a:lnTo>
                      <a:lnTo>
                        <a:pt x="875361" y="278304"/>
                      </a:lnTo>
                      <a:lnTo>
                        <a:pt x="875361" y="282530"/>
                      </a:lnTo>
                      <a:lnTo>
                        <a:pt x="868720" y="282530"/>
                      </a:lnTo>
                      <a:lnTo>
                        <a:pt x="865098" y="278908"/>
                      </a:lnTo>
                      <a:lnTo>
                        <a:pt x="860269" y="276493"/>
                      </a:lnTo>
                      <a:lnTo>
                        <a:pt x="859061" y="283134"/>
                      </a:lnTo>
                      <a:lnTo>
                        <a:pt x="862080" y="283738"/>
                      </a:lnTo>
                      <a:lnTo>
                        <a:pt x="859061" y="290982"/>
                      </a:lnTo>
                      <a:lnTo>
                        <a:pt x="862683" y="292189"/>
                      </a:lnTo>
                      <a:lnTo>
                        <a:pt x="861476" y="297623"/>
                      </a:lnTo>
                      <a:lnTo>
                        <a:pt x="854835" y="300037"/>
                      </a:lnTo>
                      <a:lnTo>
                        <a:pt x="850609" y="298830"/>
                      </a:lnTo>
                      <a:lnTo>
                        <a:pt x="848798" y="301849"/>
                      </a:lnTo>
                      <a:lnTo>
                        <a:pt x="852420" y="303660"/>
                      </a:lnTo>
                      <a:lnTo>
                        <a:pt x="848195" y="307282"/>
                      </a:lnTo>
                      <a:lnTo>
                        <a:pt x="837932" y="301849"/>
                      </a:lnTo>
                      <a:lnTo>
                        <a:pt x="831291" y="300641"/>
                      </a:lnTo>
                      <a:lnTo>
                        <a:pt x="827669" y="303660"/>
                      </a:lnTo>
                      <a:lnTo>
                        <a:pt x="822839" y="301245"/>
                      </a:lnTo>
                      <a:lnTo>
                        <a:pt x="826461" y="295208"/>
                      </a:lnTo>
                      <a:lnTo>
                        <a:pt x="814387" y="295208"/>
                      </a:lnTo>
                      <a:lnTo>
                        <a:pt x="808350" y="292793"/>
                      </a:lnTo>
                      <a:lnTo>
                        <a:pt x="805936" y="297019"/>
                      </a:lnTo>
                      <a:lnTo>
                        <a:pt x="808954" y="303056"/>
                      </a:lnTo>
                      <a:lnTo>
                        <a:pt x="813180" y="306074"/>
                      </a:lnTo>
                      <a:lnTo>
                        <a:pt x="811369" y="309093"/>
                      </a:lnTo>
                      <a:lnTo>
                        <a:pt x="818010" y="312715"/>
                      </a:lnTo>
                      <a:lnTo>
                        <a:pt x="816802" y="317545"/>
                      </a:lnTo>
                      <a:lnTo>
                        <a:pt x="818010" y="327204"/>
                      </a:lnTo>
                      <a:lnTo>
                        <a:pt x="812576" y="330826"/>
                      </a:lnTo>
                      <a:lnTo>
                        <a:pt x="811369" y="324789"/>
                      </a:lnTo>
                      <a:lnTo>
                        <a:pt x="808350" y="324789"/>
                      </a:lnTo>
                      <a:lnTo>
                        <a:pt x="808350" y="335052"/>
                      </a:lnTo>
                      <a:lnTo>
                        <a:pt x="810765" y="338674"/>
                      </a:lnTo>
                      <a:lnTo>
                        <a:pt x="808350" y="341089"/>
                      </a:lnTo>
                      <a:lnTo>
                        <a:pt x="802917" y="341693"/>
                      </a:lnTo>
                      <a:lnTo>
                        <a:pt x="803521" y="334448"/>
                      </a:lnTo>
                      <a:lnTo>
                        <a:pt x="798087" y="338071"/>
                      </a:lnTo>
                      <a:lnTo>
                        <a:pt x="796276" y="334448"/>
                      </a:lnTo>
                      <a:lnTo>
                        <a:pt x="786013" y="332034"/>
                      </a:lnTo>
                      <a:lnTo>
                        <a:pt x="784806" y="336259"/>
                      </a:lnTo>
                      <a:lnTo>
                        <a:pt x="789636" y="341693"/>
                      </a:lnTo>
                      <a:lnTo>
                        <a:pt x="792050" y="342900"/>
                      </a:lnTo>
                      <a:lnTo>
                        <a:pt x="788428" y="348937"/>
                      </a:lnTo>
                      <a:lnTo>
                        <a:pt x="779977" y="347730"/>
                      </a:lnTo>
                      <a:lnTo>
                        <a:pt x="769714" y="344108"/>
                      </a:lnTo>
                      <a:lnTo>
                        <a:pt x="764884" y="339278"/>
                      </a:lnTo>
                      <a:lnTo>
                        <a:pt x="758244" y="335656"/>
                      </a:lnTo>
                      <a:lnTo>
                        <a:pt x="750396" y="332637"/>
                      </a:lnTo>
                      <a:lnTo>
                        <a:pt x="746170" y="338071"/>
                      </a:lnTo>
                      <a:lnTo>
                        <a:pt x="742548" y="335656"/>
                      </a:lnTo>
                      <a:lnTo>
                        <a:pt x="741944" y="332637"/>
                      </a:lnTo>
                      <a:lnTo>
                        <a:pt x="736511" y="329619"/>
                      </a:lnTo>
                      <a:lnTo>
                        <a:pt x="732285" y="333241"/>
                      </a:lnTo>
                      <a:lnTo>
                        <a:pt x="732888" y="338071"/>
                      </a:lnTo>
                      <a:lnTo>
                        <a:pt x="729266" y="338071"/>
                      </a:lnTo>
                      <a:lnTo>
                        <a:pt x="725644" y="342900"/>
                      </a:lnTo>
                      <a:lnTo>
                        <a:pt x="720814" y="344711"/>
                      </a:lnTo>
                      <a:lnTo>
                        <a:pt x="716588" y="344711"/>
                      </a:lnTo>
                      <a:lnTo>
                        <a:pt x="715985" y="348333"/>
                      </a:lnTo>
                      <a:lnTo>
                        <a:pt x="720211" y="353163"/>
                      </a:lnTo>
                      <a:lnTo>
                        <a:pt x="720211" y="359804"/>
                      </a:lnTo>
                      <a:lnTo>
                        <a:pt x="717796" y="361011"/>
                      </a:lnTo>
                      <a:lnTo>
                        <a:pt x="714777" y="370670"/>
                      </a:lnTo>
                      <a:lnTo>
                        <a:pt x="714777" y="373085"/>
                      </a:lnTo>
                      <a:lnTo>
                        <a:pt x="703911" y="374896"/>
                      </a:lnTo>
                      <a:lnTo>
                        <a:pt x="702703" y="371274"/>
                      </a:lnTo>
                      <a:lnTo>
                        <a:pt x="698477" y="370670"/>
                      </a:lnTo>
                      <a:lnTo>
                        <a:pt x="685196" y="373689"/>
                      </a:lnTo>
                      <a:lnTo>
                        <a:pt x="673726" y="378518"/>
                      </a:lnTo>
                      <a:lnTo>
                        <a:pt x="660445" y="385762"/>
                      </a:lnTo>
                      <a:lnTo>
                        <a:pt x="650786" y="384555"/>
                      </a:lnTo>
                      <a:lnTo>
                        <a:pt x="643541" y="385762"/>
                      </a:lnTo>
                      <a:lnTo>
                        <a:pt x="635693" y="395422"/>
                      </a:lnTo>
                      <a:lnTo>
                        <a:pt x="630260" y="396025"/>
                      </a:lnTo>
                      <a:lnTo>
                        <a:pt x="630864" y="399044"/>
                      </a:lnTo>
                      <a:lnTo>
                        <a:pt x="625430" y="405081"/>
                      </a:lnTo>
                      <a:lnTo>
                        <a:pt x="627241" y="409910"/>
                      </a:lnTo>
                      <a:lnTo>
                        <a:pt x="625430" y="412325"/>
                      </a:lnTo>
                      <a:lnTo>
                        <a:pt x="624223" y="423192"/>
                      </a:lnTo>
                      <a:lnTo>
                        <a:pt x="618790" y="424399"/>
                      </a:lnTo>
                      <a:lnTo>
                        <a:pt x="613356" y="427418"/>
                      </a:lnTo>
                      <a:lnTo>
                        <a:pt x="616375" y="431644"/>
                      </a:lnTo>
                      <a:lnTo>
                        <a:pt x="613356" y="432851"/>
                      </a:lnTo>
                      <a:lnTo>
                        <a:pt x="609734" y="431644"/>
                      </a:lnTo>
                      <a:lnTo>
                        <a:pt x="609734" y="428625"/>
                      </a:lnTo>
                      <a:lnTo>
                        <a:pt x="602490" y="429832"/>
                      </a:lnTo>
                      <a:lnTo>
                        <a:pt x="598264" y="429229"/>
                      </a:lnTo>
                      <a:lnTo>
                        <a:pt x="597056" y="425003"/>
                      </a:lnTo>
                      <a:lnTo>
                        <a:pt x="593434" y="424399"/>
                      </a:lnTo>
                      <a:lnTo>
                        <a:pt x="588605" y="420777"/>
                      </a:lnTo>
                      <a:lnTo>
                        <a:pt x="581360" y="420173"/>
                      </a:lnTo>
                      <a:lnTo>
                        <a:pt x="583775" y="414136"/>
                      </a:lnTo>
                      <a:lnTo>
                        <a:pt x="581360" y="408703"/>
                      </a:lnTo>
                      <a:lnTo>
                        <a:pt x="583171" y="403270"/>
                      </a:lnTo>
                      <a:lnTo>
                        <a:pt x="580153" y="399044"/>
                      </a:lnTo>
                      <a:lnTo>
                        <a:pt x="572908" y="398440"/>
                      </a:lnTo>
                      <a:lnTo>
                        <a:pt x="566871" y="399647"/>
                      </a:lnTo>
                      <a:lnTo>
                        <a:pt x="566268" y="397233"/>
                      </a:lnTo>
                      <a:lnTo>
                        <a:pt x="559627" y="396025"/>
                      </a:lnTo>
                      <a:lnTo>
                        <a:pt x="554194" y="401459"/>
                      </a:lnTo>
                      <a:lnTo>
                        <a:pt x="554194" y="403270"/>
                      </a:lnTo>
                      <a:lnTo>
                        <a:pt x="558420" y="411118"/>
                      </a:lnTo>
                      <a:lnTo>
                        <a:pt x="560231" y="417155"/>
                      </a:lnTo>
                      <a:lnTo>
                        <a:pt x="556005" y="417758"/>
                      </a:lnTo>
                      <a:lnTo>
                        <a:pt x="539102" y="425003"/>
                      </a:lnTo>
                      <a:lnTo>
                        <a:pt x="532461" y="421381"/>
                      </a:lnTo>
                      <a:lnTo>
                        <a:pt x="525820" y="420173"/>
                      </a:lnTo>
                      <a:lnTo>
                        <a:pt x="522802" y="426210"/>
                      </a:lnTo>
                      <a:lnTo>
                        <a:pt x="523405" y="435266"/>
                      </a:lnTo>
                      <a:lnTo>
                        <a:pt x="526424" y="435869"/>
                      </a:lnTo>
                      <a:lnTo>
                        <a:pt x="530046" y="442510"/>
                      </a:lnTo>
                      <a:lnTo>
                        <a:pt x="524009" y="445529"/>
                      </a:lnTo>
                      <a:lnTo>
                        <a:pt x="525217" y="453377"/>
                      </a:lnTo>
                      <a:lnTo>
                        <a:pt x="523405" y="459414"/>
                      </a:lnTo>
                      <a:lnTo>
                        <a:pt x="517368" y="464243"/>
                      </a:lnTo>
                      <a:lnTo>
                        <a:pt x="516161" y="468469"/>
                      </a:lnTo>
                      <a:lnTo>
                        <a:pt x="517972" y="484165"/>
                      </a:lnTo>
                      <a:lnTo>
                        <a:pt x="522198" y="483561"/>
                      </a:lnTo>
                      <a:lnTo>
                        <a:pt x="526424" y="488391"/>
                      </a:lnTo>
                      <a:lnTo>
                        <a:pt x="526424" y="491409"/>
                      </a:lnTo>
                      <a:lnTo>
                        <a:pt x="531254" y="493824"/>
                      </a:lnTo>
                      <a:lnTo>
                        <a:pt x="534272" y="498050"/>
                      </a:lnTo>
                      <a:lnTo>
                        <a:pt x="540309" y="498050"/>
                      </a:lnTo>
                      <a:lnTo>
                        <a:pt x="541516" y="496239"/>
                      </a:lnTo>
                      <a:lnTo>
                        <a:pt x="548157" y="494428"/>
                      </a:lnTo>
                      <a:lnTo>
                        <a:pt x="559023" y="495032"/>
                      </a:lnTo>
                      <a:lnTo>
                        <a:pt x="561438" y="498050"/>
                      </a:lnTo>
                      <a:lnTo>
                        <a:pt x="560835" y="502276"/>
                      </a:lnTo>
                      <a:lnTo>
                        <a:pt x="570494" y="507106"/>
                      </a:lnTo>
                      <a:lnTo>
                        <a:pt x="575323" y="506502"/>
                      </a:lnTo>
                      <a:lnTo>
                        <a:pt x="580153" y="509520"/>
                      </a:lnTo>
                      <a:lnTo>
                        <a:pt x="579549" y="513143"/>
                      </a:lnTo>
                      <a:lnTo>
                        <a:pt x="584982" y="518576"/>
                      </a:lnTo>
                      <a:lnTo>
                        <a:pt x="588001" y="524613"/>
                      </a:lnTo>
                      <a:lnTo>
                        <a:pt x="592830" y="524009"/>
                      </a:lnTo>
                      <a:lnTo>
                        <a:pt x="595245" y="528839"/>
                      </a:lnTo>
                      <a:lnTo>
                        <a:pt x="605508" y="528235"/>
                      </a:lnTo>
                      <a:lnTo>
                        <a:pt x="609130" y="524613"/>
                      </a:lnTo>
                      <a:lnTo>
                        <a:pt x="619997" y="529442"/>
                      </a:lnTo>
                      <a:lnTo>
                        <a:pt x="626034" y="528235"/>
                      </a:lnTo>
                      <a:lnTo>
                        <a:pt x="630260" y="529442"/>
                      </a:lnTo>
                      <a:lnTo>
                        <a:pt x="632675" y="533065"/>
                      </a:lnTo>
                      <a:lnTo>
                        <a:pt x="637504" y="528235"/>
                      </a:lnTo>
                      <a:lnTo>
                        <a:pt x="647163" y="530650"/>
                      </a:lnTo>
                      <a:lnTo>
                        <a:pt x="654408" y="529442"/>
                      </a:lnTo>
                      <a:lnTo>
                        <a:pt x="657426" y="534876"/>
                      </a:lnTo>
                      <a:lnTo>
                        <a:pt x="661652" y="531254"/>
                      </a:lnTo>
                      <a:lnTo>
                        <a:pt x="662859" y="536083"/>
                      </a:lnTo>
                      <a:lnTo>
                        <a:pt x="658634" y="539705"/>
                      </a:lnTo>
                      <a:lnTo>
                        <a:pt x="654408" y="539102"/>
                      </a:lnTo>
                      <a:lnTo>
                        <a:pt x="651993" y="541516"/>
                      </a:lnTo>
                      <a:lnTo>
                        <a:pt x="648371" y="539102"/>
                      </a:lnTo>
                      <a:lnTo>
                        <a:pt x="645956" y="542120"/>
                      </a:lnTo>
                      <a:lnTo>
                        <a:pt x="641730" y="543328"/>
                      </a:lnTo>
                      <a:lnTo>
                        <a:pt x="641126" y="546346"/>
                      </a:lnTo>
                      <a:lnTo>
                        <a:pt x="647163" y="550572"/>
                      </a:lnTo>
                      <a:lnTo>
                        <a:pt x="644749" y="553590"/>
                      </a:lnTo>
                      <a:lnTo>
                        <a:pt x="643541" y="559024"/>
                      </a:lnTo>
                      <a:lnTo>
                        <a:pt x="641126" y="558420"/>
                      </a:lnTo>
                      <a:lnTo>
                        <a:pt x="641126" y="565664"/>
                      </a:lnTo>
                      <a:lnTo>
                        <a:pt x="638712" y="569890"/>
                      </a:lnTo>
                      <a:lnTo>
                        <a:pt x="637504" y="577135"/>
                      </a:lnTo>
                      <a:lnTo>
                        <a:pt x="645352" y="580757"/>
                      </a:lnTo>
                      <a:lnTo>
                        <a:pt x="650182" y="589209"/>
                      </a:lnTo>
                      <a:lnTo>
                        <a:pt x="665274" y="592227"/>
                      </a:lnTo>
                      <a:lnTo>
                        <a:pt x="671311" y="597057"/>
                      </a:lnTo>
                      <a:lnTo>
                        <a:pt x="679159" y="600075"/>
                      </a:lnTo>
                      <a:lnTo>
                        <a:pt x="682781" y="604301"/>
                      </a:lnTo>
                      <a:lnTo>
                        <a:pt x="682178" y="617582"/>
                      </a:lnTo>
                      <a:lnTo>
                        <a:pt x="685196" y="618790"/>
                      </a:lnTo>
                      <a:lnTo>
                        <a:pt x="685800" y="622412"/>
                      </a:lnTo>
                      <a:lnTo>
                        <a:pt x="690629" y="623015"/>
                      </a:lnTo>
                      <a:lnTo>
                        <a:pt x="697270" y="621204"/>
                      </a:lnTo>
                      <a:lnTo>
                        <a:pt x="707533" y="622412"/>
                      </a:lnTo>
                      <a:lnTo>
                        <a:pt x="709344" y="627845"/>
                      </a:lnTo>
                      <a:lnTo>
                        <a:pt x="713570" y="629052"/>
                      </a:lnTo>
                      <a:lnTo>
                        <a:pt x="714777" y="634486"/>
                      </a:lnTo>
                      <a:lnTo>
                        <a:pt x="714174" y="644749"/>
                      </a:lnTo>
                      <a:lnTo>
                        <a:pt x="706929" y="643541"/>
                      </a:lnTo>
                      <a:lnTo>
                        <a:pt x="705118" y="645352"/>
                      </a:lnTo>
                      <a:lnTo>
                        <a:pt x="709344" y="656219"/>
                      </a:lnTo>
                      <a:lnTo>
                        <a:pt x="717796" y="657426"/>
                      </a:lnTo>
                      <a:lnTo>
                        <a:pt x="725644" y="662256"/>
                      </a:lnTo>
                      <a:lnTo>
                        <a:pt x="725040" y="668293"/>
                      </a:lnTo>
                      <a:lnTo>
                        <a:pt x="722625" y="674330"/>
                      </a:lnTo>
                      <a:lnTo>
                        <a:pt x="722625" y="677952"/>
                      </a:lnTo>
                      <a:lnTo>
                        <a:pt x="731681" y="683989"/>
                      </a:lnTo>
                      <a:lnTo>
                        <a:pt x="734699" y="687611"/>
                      </a:lnTo>
                      <a:lnTo>
                        <a:pt x="734096" y="694252"/>
                      </a:lnTo>
                      <a:lnTo>
                        <a:pt x="726851" y="692441"/>
                      </a:lnTo>
                      <a:lnTo>
                        <a:pt x="720814" y="692441"/>
                      </a:lnTo>
                      <a:lnTo>
                        <a:pt x="715985" y="694856"/>
                      </a:lnTo>
                      <a:lnTo>
                        <a:pt x="718400" y="697270"/>
                      </a:lnTo>
                      <a:lnTo>
                        <a:pt x="714777" y="702100"/>
                      </a:lnTo>
                      <a:lnTo>
                        <a:pt x="705722" y="703911"/>
                      </a:lnTo>
                      <a:lnTo>
                        <a:pt x="700892" y="702704"/>
                      </a:lnTo>
                      <a:lnTo>
                        <a:pt x="692440" y="701496"/>
                      </a:lnTo>
                      <a:lnTo>
                        <a:pt x="690026" y="697874"/>
                      </a:lnTo>
                      <a:lnTo>
                        <a:pt x="685196" y="697874"/>
                      </a:lnTo>
                      <a:lnTo>
                        <a:pt x="684592" y="692441"/>
                      </a:lnTo>
                      <a:lnTo>
                        <a:pt x="678555" y="688819"/>
                      </a:lnTo>
                      <a:lnTo>
                        <a:pt x="673122" y="687611"/>
                      </a:lnTo>
                      <a:lnTo>
                        <a:pt x="670707" y="683989"/>
                      </a:lnTo>
                      <a:lnTo>
                        <a:pt x="665274" y="684593"/>
                      </a:lnTo>
                      <a:lnTo>
                        <a:pt x="659841" y="682782"/>
                      </a:lnTo>
                      <a:lnTo>
                        <a:pt x="659841" y="679763"/>
                      </a:lnTo>
                      <a:lnTo>
                        <a:pt x="656219" y="678556"/>
                      </a:lnTo>
                      <a:lnTo>
                        <a:pt x="655011" y="674330"/>
                      </a:lnTo>
                      <a:lnTo>
                        <a:pt x="645956" y="678556"/>
                      </a:lnTo>
                      <a:lnTo>
                        <a:pt x="642334" y="678556"/>
                      </a:lnTo>
                      <a:lnTo>
                        <a:pt x="639315" y="682178"/>
                      </a:lnTo>
                      <a:lnTo>
                        <a:pt x="629052" y="675537"/>
                      </a:lnTo>
                      <a:lnTo>
                        <a:pt x="624223" y="673726"/>
                      </a:lnTo>
                      <a:lnTo>
                        <a:pt x="621808" y="668897"/>
                      </a:lnTo>
                      <a:lnTo>
                        <a:pt x="618790" y="667086"/>
                      </a:lnTo>
                      <a:lnTo>
                        <a:pt x="616978" y="663463"/>
                      </a:lnTo>
                      <a:lnTo>
                        <a:pt x="610941" y="655615"/>
                      </a:lnTo>
                      <a:lnTo>
                        <a:pt x="609130" y="651389"/>
                      </a:lnTo>
                      <a:lnTo>
                        <a:pt x="606112" y="652597"/>
                      </a:lnTo>
                      <a:lnTo>
                        <a:pt x="597056" y="650182"/>
                      </a:lnTo>
                      <a:lnTo>
                        <a:pt x="593434" y="645956"/>
                      </a:lnTo>
                      <a:lnTo>
                        <a:pt x="581964" y="643541"/>
                      </a:lnTo>
                      <a:lnTo>
                        <a:pt x="572305" y="641126"/>
                      </a:lnTo>
                      <a:lnTo>
                        <a:pt x="565664" y="629656"/>
                      </a:lnTo>
                      <a:lnTo>
                        <a:pt x="559627" y="624827"/>
                      </a:lnTo>
                      <a:lnTo>
                        <a:pt x="555401" y="629052"/>
                      </a:lnTo>
                      <a:lnTo>
                        <a:pt x="557816" y="631467"/>
                      </a:lnTo>
                      <a:lnTo>
                        <a:pt x="550572" y="636901"/>
                      </a:lnTo>
                      <a:lnTo>
                        <a:pt x="545139" y="639315"/>
                      </a:lnTo>
                      <a:lnTo>
                        <a:pt x="544535" y="642938"/>
                      </a:lnTo>
                      <a:lnTo>
                        <a:pt x="542120" y="648975"/>
                      </a:lnTo>
                      <a:lnTo>
                        <a:pt x="549968" y="656219"/>
                      </a:lnTo>
                      <a:lnTo>
                        <a:pt x="553590" y="655615"/>
                      </a:lnTo>
                      <a:lnTo>
                        <a:pt x="556005" y="665274"/>
                      </a:lnTo>
                      <a:lnTo>
                        <a:pt x="555401" y="669500"/>
                      </a:lnTo>
                      <a:lnTo>
                        <a:pt x="549968" y="674934"/>
                      </a:lnTo>
                      <a:lnTo>
                        <a:pt x="556005" y="677348"/>
                      </a:lnTo>
                      <a:lnTo>
                        <a:pt x="552987" y="680367"/>
                      </a:lnTo>
                      <a:lnTo>
                        <a:pt x="555401" y="682782"/>
                      </a:lnTo>
                      <a:lnTo>
                        <a:pt x="548761" y="691233"/>
                      </a:lnTo>
                      <a:lnTo>
                        <a:pt x="545742" y="696063"/>
                      </a:lnTo>
                      <a:lnTo>
                        <a:pt x="549968" y="702704"/>
                      </a:lnTo>
                      <a:lnTo>
                        <a:pt x="555401" y="706326"/>
                      </a:lnTo>
                      <a:lnTo>
                        <a:pt x="557212" y="709344"/>
                      </a:lnTo>
                      <a:lnTo>
                        <a:pt x="550572" y="720814"/>
                      </a:lnTo>
                      <a:lnTo>
                        <a:pt x="552383" y="725040"/>
                      </a:lnTo>
                      <a:lnTo>
                        <a:pt x="539705" y="746170"/>
                      </a:lnTo>
                      <a:lnTo>
                        <a:pt x="537291" y="746170"/>
                      </a:lnTo>
                      <a:lnTo>
                        <a:pt x="533668" y="749188"/>
                      </a:lnTo>
                      <a:lnTo>
                        <a:pt x="530046" y="755225"/>
                      </a:lnTo>
                      <a:lnTo>
                        <a:pt x="518576" y="755829"/>
                      </a:lnTo>
                      <a:lnTo>
                        <a:pt x="507106" y="755225"/>
                      </a:lnTo>
                      <a:lnTo>
                        <a:pt x="502276" y="752810"/>
                      </a:lnTo>
                      <a:lnTo>
                        <a:pt x="501672" y="748585"/>
                      </a:lnTo>
                      <a:lnTo>
                        <a:pt x="505898" y="742548"/>
                      </a:lnTo>
                      <a:lnTo>
                        <a:pt x="504087" y="738925"/>
                      </a:lnTo>
                      <a:lnTo>
                        <a:pt x="507709" y="733492"/>
                      </a:lnTo>
                      <a:lnTo>
                        <a:pt x="513143" y="734699"/>
                      </a:lnTo>
                      <a:lnTo>
                        <a:pt x="516765" y="733492"/>
                      </a:lnTo>
                      <a:lnTo>
                        <a:pt x="510728" y="725644"/>
                      </a:lnTo>
                      <a:lnTo>
                        <a:pt x="508313" y="728059"/>
                      </a:lnTo>
                      <a:lnTo>
                        <a:pt x="501672" y="731681"/>
                      </a:lnTo>
                      <a:lnTo>
                        <a:pt x="499257" y="734699"/>
                      </a:lnTo>
                      <a:lnTo>
                        <a:pt x="494428" y="737718"/>
                      </a:lnTo>
                      <a:lnTo>
                        <a:pt x="487183" y="737718"/>
                      </a:lnTo>
                      <a:lnTo>
                        <a:pt x="485976" y="739529"/>
                      </a:lnTo>
                      <a:lnTo>
                        <a:pt x="478128" y="730474"/>
                      </a:lnTo>
                      <a:lnTo>
                        <a:pt x="475713" y="732285"/>
                      </a:lnTo>
                      <a:lnTo>
                        <a:pt x="467261" y="734096"/>
                      </a:lnTo>
                      <a:lnTo>
                        <a:pt x="465450" y="732285"/>
                      </a:lnTo>
                      <a:lnTo>
                        <a:pt x="455791" y="729266"/>
                      </a:lnTo>
                      <a:lnTo>
                        <a:pt x="449754" y="725644"/>
                      </a:lnTo>
                      <a:lnTo>
                        <a:pt x="445528" y="724437"/>
                      </a:lnTo>
                      <a:lnTo>
                        <a:pt x="439492" y="720211"/>
                      </a:lnTo>
                      <a:lnTo>
                        <a:pt x="429832" y="715985"/>
                      </a:lnTo>
                      <a:lnTo>
                        <a:pt x="420173" y="715985"/>
                      </a:lnTo>
                      <a:lnTo>
                        <a:pt x="420173" y="722625"/>
                      </a:lnTo>
                      <a:lnTo>
                        <a:pt x="412325" y="722625"/>
                      </a:lnTo>
                      <a:lnTo>
                        <a:pt x="402062" y="732888"/>
                      </a:lnTo>
                      <a:lnTo>
                        <a:pt x="395422" y="747377"/>
                      </a:lnTo>
                      <a:lnTo>
                        <a:pt x="393007" y="750396"/>
                      </a:lnTo>
                      <a:lnTo>
                        <a:pt x="389988" y="747981"/>
                      </a:lnTo>
                      <a:lnTo>
                        <a:pt x="388781" y="740736"/>
                      </a:lnTo>
                      <a:lnTo>
                        <a:pt x="374292" y="734096"/>
                      </a:lnTo>
                      <a:lnTo>
                        <a:pt x="370066" y="735907"/>
                      </a:lnTo>
                      <a:lnTo>
                        <a:pt x="365840" y="731681"/>
                      </a:lnTo>
                      <a:lnTo>
                        <a:pt x="365840" y="729266"/>
                      </a:lnTo>
                      <a:lnTo>
                        <a:pt x="359803" y="726851"/>
                      </a:lnTo>
                      <a:lnTo>
                        <a:pt x="354370" y="725644"/>
                      </a:lnTo>
                      <a:lnTo>
                        <a:pt x="349540" y="727455"/>
                      </a:lnTo>
                      <a:lnTo>
                        <a:pt x="345918" y="732888"/>
                      </a:lnTo>
                      <a:lnTo>
                        <a:pt x="341692" y="729870"/>
                      </a:lnTo>
                      <a:lnTo>
                        <a:pt x="350144" y="725644"/>
                      </a:lnTo>
                      <a:lnTo>
                        <a:pt x="351955" y="719607"/>
                      </a:lnTo>
                      <a:lnTo>
                        <a:pt x="350748" y="715985"/>
                      </a:lnTo>
                      <a:lnTo>
                        <a:pt x="355577" y="710552"/>
                      </a:lnTo>
                      <a:lnTo>
                        <a:pt x="354974" y="709344"/>
                      </a:lnTo>
                      <a:lnTo>
                        <a:pt x="359803" y="699081"/>
                      </a:lnTo>
                      <a:lnTo>
                        <a:pt x="361011" y="694856"/>
                      </a:lnTo>
                      <a:lnTo>
                        <a:pt x="359803" y="690026"/>
                      </a:lnTo>
                      <a:lnTo>
                        <a:pt x="367048" y="685800"/>
                      </a:lnTo>
                      <a:lnTo>
                        <a:pt x="368859" y="680367"/>
                      </a:lnTo>
                      <a:lnTo>
                        <a:pt x="363425" y="679763"/>
                      </a:lnTo>
                      <a:lnTo>
                        <a:pt x="364633" y="674330"/>
                      </a:lnTo>
                      <a:lnTo>
                        <a:pt x="361011" y="672519"/>
                      </a:lnTo>
                      <a:lnTo>
                        <a:pt x="362822" y="665878"/>
                      </a:lnTo>
                      <a:lnTo>
                        <a:pt x="361011" y="658634"/>
                      </a:lnTo>
                      <a:lnTo>
                        <a:pt x="357388" y="651389"/>
                      </a:lnTo>
                      <a:lnTo>
                        <a:pt x="360407" y="648975"/>
                      </a:lnTo>
                      <a:lnTo>
                        <a:pt x="360407" y="645352"/>
                      </a:lnTo>
                      <a:lnTo>
                        <a:pt x="356181" y="643541"/>
                      </a:lnTo>
                      <a:lnTo>
                        <a:pt x="337467" y="651389"/>
                      </a:lnTo>
                      <a:lnTo>
                        <a:pt x="335656" y="649578"/>
                      </a:lnTo>
                      <a:lnTo>
                        <a:pt x="328411" y="653804"/>
                      </a:lnTo>
                      <a:lnTo>
                        <a:pt x="326600" y="656823"/>
                      </a:lnTo>
                      <a:lnTo>
                        <a:pt x="320563" y="657426"/>
                      </a:lnTo>
                      <a:lnTo>
                        <a:pt x="320563" y="651993"/>
                      </a:lnTo>
                      <a:lnTo>
                        <a:pt x="311508" y="655012"/>
                      </a:lnTo>
                      <a:lnTo>
                        <a:pt x="306678" y="654408"/>
                      </a:lnTo>
                      <a:lnTo>
                        <a:pt x="304263" y="651389"/>
                      </a:lnTo>
                      <a:lnTo>
                        <a:pt x="294604" y="651993"/>
                      </a:lnTo>
                      <a:lnTo>
                        <a:pt x="292793" y="658030"/>
                      </a:lnTo>
                      <a:lnTo>
                        <a:pt x="275889" y="658030"/>
                      </a:lnTo>
                      <a:lnTo>
                        <a:pt x="269852" y="655012"/>
                      </a:lnTo>
                      <a:lnTo>
                        <a:pt x="257175" y="656219"/>
                      </a:lnTo>
                      <a:lnTo>
                        <a:pt x="251138" y="657426"/>
                      </a:lnTo>
                      <a:lnTo>
                        <a:pt x="242686" y="658030"/>
                      </a:lnTo>
                      <a:lnTo>
                        <a:pt x="237253" y="661049"/>
                      </a:lnTo>
                      <a:lnTo>
                        <a:pt x="236649" y="665274"/>
                      </a:lnTo>
                      <a:lnTo>
                        <a:pt x="231820" y="665878"/>
                      </a:lnTo>
                      <a:lnTo>
                        <a:pt x="227594" y="669500"/>
                      </a:lnTo>
                      <a:lnTo>
                        <a:pt x="226990" y="671915"/>
                      </a:lnTo>
                      <a:lnTo>
                        <a:pt x="220953" y="673726"/>
                      </a:lnTo>
                      <a:lnTo>
                        <a:pt x="216124" y="672519"/>
                      </a:lnTo>
                      <a:lnTo>
                        <a:pt x="205861" y="674934"/>
                      </a:lnTo>
                      <a:lnTo>
                        <a:pt x="199220" y="675537"/>
                      </a:lnTo>
                      <a:lnTo>
                        <a:pt x="194390" y="673123"/>
                      </a:lnTo>
                      <a:lnTo>
                        <a:pt x="190165" y="667086"/>
                      </a:lnTo>
                      <a:lnTo>
                        <a:pt x="179298" y="667689"/>
                      </a:lnTo>
                      <a:lnTo>
                        <a:pt x="176883" y="665274"/>
                      </a:lnTo>
                      <a:lnTo>
                        <a:pt x="170846" y="661049"/>
                      </a:lnTo>
                      <a:lnTo>
                        <a:pt x="167224" y="656823"/>
                      </a:lnTo>
                      <a:lnTo>
                        <a:pt x="166620" y="651389"/>
                      </a:lnTo>
                      <a:lnTo>
                        <a:pt x="167828" y="646560"/>
                      </a:lnTo>
                      <a:lnTo>
                        <a:pt x="161187" y="644749"/>
                      </a:lnTo>
                      <a:lnTo>
                        <a:pt x="155754" y="641730"/>
                      </a:lnTo>
                      <a:lnTo>
                        <a:pt x="151528" y="636901"/>
                      </a:lnTo>
                      <a:lnTo>
                        <a:pt x="140057" y="634486"/>
                      </a:lnTo>
                      <a:lnTo>
                        <a:pt x="139454" y="630260"/>
                      </a:lnTo>
                      <a:lnTo>
                        <a:pt x="140661" y="623619"/>
                      </a:lnTo>
                      <a:lnTo>
                        <a:pt x="143680" y="619393"/>
                      </a:lnTo>
                      <a:lnTo>
                        <a:pt x="149113" y="618186"/>
                      </a:lnTo>
                      <a:lnTo>
                        <a:pt x="155754" y="608527"/>
                      </a:lnTo>
                      <a:lnTo>
                        <a:pt x="170242" y="609130"/>
                      </a:lnTo>
                      <a:lnTo>
                        <a:pt x="176279" y="605508"/>
                      </a:lnTo>
                      <a:lnTo>
                        <a:pt x="179902" y="602490"/>
                      </a:lnTo>
                      <a:lnTo>
                        <a:pt x="183524" y="602490"/>
                      </a:lnTo>
                      <a:lnTo>
                        <a:pt x="187146" y="597057"/>
                      </a:lnTo>
                      <a:lnTo>
                        <a:pt x="185939" y="586794"/>
                      </a:lnTo>
                      <a:lnTo>
                        <a:pt x="193183" y="580153"/>
                      </a:lnTo>
                      <a:lnTo>
                        <a:pt x="198013" y="580153"/>
                      </a:lnTo>
                      <a:lnTo>
                        <a:pt x="199220" y="574720"/>
                      </a:lnTo>
                      <a:lnTo>
                        <a:pt x="203446" y="572305"/>
                      </a:lnTo>
                      <a:lnTo>
                        <a:pt x="204653" y="568079"/>
                      </a:lnTo>
                      <a:lnTo>
                        <a:pt x="205257" y="560835"/>
                      </a:lnTo>
                      <a:lnTo>
                        <a:pt x="207068" y="558420"/>
                      </a:lnTo>
                      <a:lnTo>
                        <a:pt x="213105" y="558420"/>
                      </a:lnTo>
                      <a:lnTo>
                        <a:pt x="216727" y="555402"/>
                      </a:lnTo>
                      <a:lnTo>
                        <a:pt x="216727" y="549968"/>
                      </a:lnTo>
                      <a:lnTo>
                        <a:pt x="219746" y="540913"/>
                      </a:lnTo>
                      <a:lnTo>
                        <a:pt x="215520" y="533065"/>
                      </a:lnTo>
                      <a:lnTo>
                        <a:pt x="207672" y="531857"/>
                      </a:lnTo>
                      <a:lnTo>
                        <a:pt x="202842" y="534272"/>
                      </a:lnTo>
                      <a:lnTo>
                        <a:pt x="196805" y="536083"/>
                      </a:lnTo>
                      <a:lnTo>
                        <a:pt x="194994" y="531857"/>
                      </a:lnTo>
                      <a:lnTo>
                        <a:pt x="191372" y="533668"/>
                      </a:lnTo>
                      <a:lnTo>
                        <a:pt x="188353" y="531857"/>
                      </a:lnTo>
                      <a:lnTo>
                        <a:pt x="184128" y="532461"/>
                      </a:lnTo>
                      <a:lnTo>
                        <a:pt x="176279" y="522198"/>
                      </a:lnTo>
                      <a:lnTo>
                        <a:pt x="173865" y="528235"/>
                      </a:lnTo>
                      <a:lnTo>
                        <a:pt x="173865" y="533668"/>
                      </a:lnTo>
                      <a:lnTo>
                        <a:pt x="169639" y="535479"/>
                      </a:lnTo>
                      <a:lnTo>
                        <a:pt x="169035" y="530046"/>
                      </a:lnTo>
                      <a:lnTo>
                        <a:pt x="164809" y="520387"/>
                      </a:lnTo>
                      <a:lnTo>
                        <a:pt x="166017" y="513143"/>
                      </a:lnTo>
                      <a:lnTo>
                        <a:pt x="165413" y="508313"/>
                      </a:lnTo>
                      <a:lnTo>
                        <a:pt x="162394" y="507709"/>
                      </a:lnTo>
                      <a:lnTo>
                        <a:pt x="157565" y="502880"/>
                      </a:lnTo>
                      <a:lnTo>
                        <a:pt x="153339" y="503483"/>
                      </a:lnTo>
                      <a:lnTo>
                        <a:pt x="146094" y="496239"/>
                      </a:lnTo>
                      <a:lnTo>
                        <a:pt x="145491" y="492617"/>
                      </a:lnTo>
                      <a:lnTo>
                        <a:pt x="148509" y="485976"/>
                      </a:lnTo>
                      <a:lnTo>
                        <a:pt x="150924" y="482958"/>
                      </a:lnTo>
                      <a:lnTo>
                        <a:pt x="149717" y="473299"/>
                      </a:lnTo>
                      <a:lnTo>
                        <a:pt x="152735" y="461829"/>
                      </a:lnTo>
                      <a:lnTo>
                        <a:pt x="151528" y="458206"/>
                      </a:lnTo>
                      <a:lnTo>
                        <a:pt x="153943" y="453377"/>
                      </a:lnTo>
                      <a:lnTo>
                        <a:pt x="149717" y="448547"/>
                      </a:lnTo>
                      <a:lnTo>
                        <a:pt x="148509" y="443114"/>
                      </a:lnTo>
                      <a:lnTo>
                        <a:pt x="143680" y="443114"/>
                      </a:lnTo>
                      <a:lnTo>
                        <a:pt x="140661" y="447943"/>
                      </a:lnTo>
                      <a:lnTo>
                        <a:pt x="135832" y="446736"/>
                      </a:lnTo>
                      <a:lnTo>
                        <a:pt x="132813" y="443114"/>
                      </a:lnTo>
                      <a:lnTo>
                        <a:pt x="132813" y="438888"/>
                      </a:lnTo>
                      <a:lnTo>
                        <a:pt x="135228" y="431644"/>
                      </a:lnTo>
                      <a:lnTo>
                        <a:pt x="132813" y="426814"/>
                      </a:lnTo>
                      <a:lnTo>
                        <a:pt x="138850" y="416551"/>
                      </a:lnTo>
                      <a:lnTo>
                        <a:pt x="141265" y="415344"/>
                      </a:lnTo>
                      <a:lnTo>
                        <a:pt x="144283" y="405081"/>
                      </a:lnTo>
                      <a:lnTo>
                        <a:pt x="144283" y="400251"/>
                      </a:lnTo>
                      <a:lnTo>
                        <a:pt x="143680" y="392403"/>
                      </a:lnTo>
                      <a:lnTo>
                        <a:pt x="139454" y="388177"/>
                      </a:lnTo>
                      <a:lnTo>
                        <a:pt x="134020" y="385762"/>
                      </a:lnTo>
                      <a:lnTo>
                        <a:pt x="126776" y="387573"/>
                      </a:lnTo>
                      <a:lnTo>
                        <a:pt x="124965" y="394214"/>
                      </a:lnTo>
                      <a:lnTo>
                        <a:pt x="126172" y="400855"/>
                      </a:lnTo>
                      <a:lnTo>
                        <a:pt x="102629" y="396025"/>
                      </a:lnTo>
                      <a:lnTo>
                        <a:pt x="99610" y="396629"/>
                      </a:lnTo>
                      <a:lnTo>
                        <a:pt x="92969" y="392403"/>
                      </a:lnTo>
                      <a:lnTo>
                        <a:pt x="91158" y="387573"/>
                      </a:lnTo>
                      <a:lnTo>
                        <a:pt x="87536" y="386366"/>
                      </a:lnTo>
                      <a:lnTo>
                        <a:pt x="88140" y="381537"/>
                      </a:lnTo>
                      <a:lnTo>
                        <a:pt x="80292" y="373689"/>
                      </a:lnTo>
                      <a:lnTo>
                        <a:pt x="83914" y="368859"/>
                      </a:lnTo>
                      <a:lnTo>
                        <a:pt x="83310" y="357993"/>
                      </a:lnTo>
                      <a:lnTo>
                        <a:pt x="80292" y="353767"/>
                      </a:lnTo>
                      <a:lnTo>
                        <a:pt x="79688" y="350145"/>
                      </a:lnTo>
                      <a:lnTo>
                        <a:pt x="76669" y="345919"/>
                      </a:lnTo>
                      <a:lnTo>
                        <a:pt x="76669" y="342900"/>
                      </a:lnTo>
                      <a:lnTo>
                        <a:pt x="71840" y="342900"/>
                      </a:lnTo>
                      <a:lnTo>
                        <a:pt x="68821" y="341089"/>
                      </a:lnTo>
                      <a:lnTo>
                        <a:pt x="68218" y="337467"/>
                      </a:lnTo>
                      <a:lnTo>
                        <a:pt x="56747" y="335656"/>
                      </a:lnTo>
                      <a:lnTo>
                        <a:pt x="53125" y="333845"/>
                      </a:lnTo>
                      <a:lnTo>
                        <a:pt x="50710" y="327204"/>
                      </a:lnTo>
                      <a:lnTo>
                        <a:pt x="46484" y="326600"/>
                      </a:lnTo>
                      <a:lnTo>
                        <a:pt x="44070" y="321771"/>
                      </a:lnTo>
                      <a:lnTo>
                        <a:pt x="44070" y="317545"/>
                      </a:lnTo>
                      <a:lnTo>
                        <a:pt x="38636" y="309697"/>
                      </a:lnTo>
                      <a:lnTo>
                        <a:pt x="38033" y="301849"/>
                      </a:lnTo>
                      <a:lnTo>
                        <a:pt x="38033" y="296415"/>
                      </a:lnTo>
                      <a:lnTo>
                        <a:pt x="31996" y="294000"/>
                      </a:lnTo>
                      <a:lnTo>
                        <a:pt x="25355" y="292793"/>
                      </a:lnTo>
                      <a:lnTo>
                        <a:pt x="22337" y="290378"/>
                      </a:lnTo>
                      <a:lnTo>
                        <a:pt x="21129" y="283738"/>
                      </a:lnTo>
                      <a:lnTo>
                        <a:pt x="15696" y="283738"/>
                      </a:lnTo>
                      <a:lnTo>
                        <a:pt x="12074" y="280115"/>
                      </a:lnTo>
                      <a:lnTo>
                        <a:pt x="4226" y="280719"/>
                      </a:lnTo>
                      <a:lnTo>
                        <a:pt x="0" y="279512"/>
                      </a:lnTo>
                      <a:lnTo>
                        <a:pt x="5433" y="274078"/>
                      </a:lnTo>
                      <a:lnTo>
                        <a:pt x="6641" y="266834"/>
                      </a:lnTo>
                      <a:lnTo>
                        <a:pt x="11470" y="257175"/>
                      </a:lnTo>
                      <a:lnTo>
                        <a:pt x="10866" y="250535"/>
                      </a:lnTo>
                      <a:lnTo>
                        <a:pt x="16300" y="242083"/>
                      </a:lnTo>
                      <a:lnTo>
                        <a:pt x="15092" y="236046"/>
                      </a:lnTo>
                      <a:lnTo>
                        <a:pt x="10866" y="231820"/>
                      </a:lnTo>
                      <a:lnTo>
                        <a:pt x="16300" y="226386"/>
                      </a:lnTo>
                      <a:lnTo>
                        <a:pt x="22940" y="223972"/>
                      </a:lnTo>
                      <a:lnTo>
                        <a:pt x="24751" y="217935"/>
                      </a:lnTo>
                      <a:lnTo>
                        <a:pt x="21733" y="211294"/>
                      </a:lnTo>
                      <a:lnTo>
                        <a:pt x="15696" y="209483"/>
                      </a:lnTo>
                      <a:lnTo>
                        <a:pt x="15696" y="203446"/>
                      </a:lnTo>
                      <a:lnTo>
                        <a:pt x="12074" y="199220"/>
                      </a:lnTo>
                      <a:lnTo>
                        <a:pt x="13885" y="193787"/>
                      </a:lnTo>
                      <a:lnTo>
                        <a:pt x="14489" y="188957"/>
                      </a:lnTo>
                      <a:lnTo>
                        <a:pt x="21129" y="186542"/>
                      </a:lnTo>
                      <a:lnTo>
                        <a:pt x="35618" y="183524"/>
                      </a:lnTo>
                      <a:lnTo>
                        <a:pt x="45277" y="183524"/>
                      </a:lnTo>
                      <a:lnTo>
                        <a:pt x="56747" y="186542"/>
                      </a:lnTo>
                      <a:lnTo>
                        <a:pt x="73651" y="185939"/>
                      </a:lnTo>
                      <a:lnTo>
                        <a:pt x="80895" y="188354"/>
                      </a:lnTo>
                      <a:lnTo>
                        <a:pt x="87536" y="187146"/>
                      </a:lnTo>
                      <a:lnTo>
                        <a:pt x="97799" y="182317"/>
                      </a:lnTo>
                      <a:lnTo>
                        <a:pt x="109873" y="181109"/>
                      </a:lnTo>
                      <a:lnTo>
                        <a:pt x="112288" y="181713"/>
                      </a:lnTo>
                      <a:lnTo>
                        <a:pt x="124361" y="178694"/>
                      </a:lnTo>
                      <a:lnTo>
                        <a:pt x="130398" y="172054"/>
                      </a:lnTo>
                      <a:lnTo>
                        <a:pt x="133417" y="167224"/>
                      </a:lnTo>
                      <a:lnTo>
                        <a:pt x="137643" y="158169"/>
                      </a:lnTo>
                      <a:lnTo>
                        <a:pt x="144283" y="159980"/>
                      </a:lnTo>
                      <a:lnTo>
                        <a:pt x="149113" y="164206"/>
                      </a:lnTo>
                      <a:lnTo>
                        <a:pt x="151528" y="172054"/>
                      </a:lnTo>
                      <a:lnTo>
                        <a:pt x="154546" y="173865"/>
                      </a:lnTo>
                      <a:lnTo>
                        <a:pt x="155754" y="179298"/>
                      </a:lnTo>
                      <a:lnTo>
                        <a:pt x="157565" y="181713"/>
                      </a:lnTo>
                      <a:lnTo>
                        <a:pt x="157565" y="188354"/>
                      </a:lnTo>
                      <a:lnTo>
                        <a:pt x="161791" y="193787"/>
                      </a:lnTo>
                      <a:lnTo>
                        <a:pt x="168431" y="188354"/>
                      </a:lnTo>
                      <a:lnTo>
                        <a:pt x="167224" y="182920"/>
                      </a:lnTo>
                      <a:lnTo>
                        <a:pt x="169639" y="180505"/>
                      </a:lnTo>
                      <a:lnTo>
                        <a:pt x="173261" y="181713"/>
                      </a:lnTo>
                      <a:lnTo>
                        <a:pt x="170846" y="185335"/>
                      </a:lnTo>
                      <a:lnTo>
                        <a:pt x="176279" y="187146"/>
                      </a:lnTo>
                      <a:lnTo>
                        <a:pt x="176883" y="184128"/>
                      </a:lnTo>
                      <a:lnTo>
                        <a:pt x="175072" y="179902"/>
                      </a:lnTo>
                      <a:lnTo>
                        <a:pt x="184731" y="178091"/>
                      </a:lnTo>
                      <a:lnTo>
                        <a:pt x="192579" y="181109"/>
                      </a:lnTo>
                      <a:lnTo>
                        <a:pt x="194994" y="179902"/>
                      </a:lnTo>
                      <a:lnTo>
                        <a:pt x="194994" y="175072"/>
                      </a:lnTo>
                      <a:lnTo>
                        <a:pt x="199824" y="174468"/>
                      </a:lnTo>
                      <a:lnTo>
                        <a:pt x="205257" y="184128"/>
                      </a:lnTo>
                      <a:lnTo>
                        <a:pt x="206464" y="188957"/>
                      </a:lnTo>
                      <a:lnTo>
                        <a:pt x="205861" y="191976"/>
                      </a:lnTo>
                      <a:lnTo>
                        <a:pt x="199824" y="193787"/>
                      </a:lnTo>
                      <a:lnTo>
                        <a:pt x="198013" y="196805"/>
                      </a:lnTo>
                      <a:lnTo>
                        <a:pt x="199824" y="200428"/>
                      </a:lnTo>
                      <a:lnTo>
                        <a:pt x="204050" y="201031"/>
                      </a:lnTo>
                      <a:lnTo>
                        <a:pt x="207672" y="205257"/>
                      </a:lnTo>
                      <a:lnTo>
                        <a:pt x="206464" y="209483"/>
                      </a:lnTo>
                      <a:lnTo>
                        <a:pt x="208879" y="213105"/>
                      </a:lnTo>
                      <a:lnTo>
                        <a:pt x="213709" y="214916"/>
                      </a:lnTo>
                      <a:lnTo>
                        <a:pt x="217935" y="214313"/>
                      </a:lnTo>
                      <a:lnTo>
                        <a:pt x="220953" y="219142"/>
                      </a:lnTo>
                      <a:lnTo>
                        <a:pt x="226386" y="221557"/>
                      </a:lnTo>
                      <a:lnTo>
                        <a:pt x="225179" y="227594"/>
                      </a:lnTo>
                      <a:lnTo>
                        <a:pt x="233027" y="225783"/>
                      </a:lnTo>
                      <a:lnTo>
                        <a:pt x="235442" y="233027"/>
                      </a:lnTo>
                      <a:lnTo>
                        <a:pt x="240875" y="237857"/>
                      </a:lnTo>
                      <a:lnTo>
                        <a:pt x="246308" y="226990"/>
                      </a:lnTo>
                      <a:lnTo>
                        <a:pt x="246912" y="217331"/>
                      </a:lnTo>
                      <a:lnTo>
                        <a:pt x="251741" y="217935"/>
                      </a:lnTo>
                      <a:lnTo>
                        <a:pt x="255967" y="215520"/>
                      </a:lnTo>
                      <a:lnTo>
                        <a:pt x="254760" y="212501"/>
                      </a:lnTo>
                      <a:lnTo>
                        <a:pt x="257175" y="209483"/>
                      </a:lnTo>
                      <a:lnTo>
                        <a:pt x="263212" y="211898"/>
                      </a:lnTo>
                      <a:lnTo>
                        <a:pt x="266834" y="211294"/>
                      </a:lnTo>
                      <a:lnTo>
                        <a:pt x="275286" y="213709"/>
                      </a:lnTo>
                      <a:lnTo>
                        <a:pt x="277097" y="208879"/>
                      </a:lnTo>
                      <a:lnTo>
                        <a:pt x="276493" y="205257"/>
                      </a:lnTo>
                      <a:lnTo>
                        <a:pt x="279512" y="199220"/>
                      </a:lnTo>
                      <a:lnTo>
                        <a:pt x="284945" y="195598"/>
                      </a:lnTo>
                      <a:lnTo>
                        <a:pt x="288567" y="195598"/>
                      </a:lnTo>
                      <a:lnTo>
                        <a:pt x="292189" y="190165"/>
                      </a:lnTo>
                      <a:lnTo>
                        <a:pt x="300037" y="188354"/>
                      </a:lnTo>
                      <a:lnTo>
                        <a:pt x="300641" y="185335"/>
                      </a:lnTo>
                      <a:lnTo>
                        <a:pt x="308489" y="183524"/>
                      </a:lnTo>
                      <a:lnTo>
                        <a:pt x="310904" y="186542"/>
                      </a:lnTo>
                      <a:lnTo>
                        <a:pt x="309697" y="196202"/>
                      </a:lnTo>
                      <a:lnTo>
                        <a:pt x="317545" y="199220"/>
                      </a:lnTo>
                      <a:lnTo>
                        <a:pt x="320563" y="198013"/>
                      </a:lnTo>
                      <a:lnTo>
                        <a:pt x="320563" y="207068"/>
                      </a:lnTo>
                      <a:lnTo>
                        <a:pt x="324789" y="213709"/>
                      </a:lnTo>
                      <a:lnTo>
                        <a:pt x="325393" y="218538"/>
                      </a:lnTo>
                      <a:lnTo>
                        <a:pt x="330222" y="216727"/>
                      </a:lnTo>
                      <a:lnTo>
                        <a:pt x="335052" y="218538"/>
                      </a:lnTo>
                      <a:lnTo>
                        <a:pt x="339278" y="217331"/>
                      </a:lnTo>
                      <a:lnTo>
                        <a:pt x="343504" y="209483"/>
                      </a:lnTo>
                      <a:lnTo>
                        <a:pt x="351955" y="206465"/>
                      </a:lnTo>
                      <a:lnTo>
                        <a:pt x="356785" y="208879"/>
                      </a:lnTo>
                      <a:lnTo>
                        <a:pt x="359803" y="204050"/>
                      </a:lnTo>
                      <a:lnTo>
                        <a:pt x="361011" y="210087"/>
                      </a:lnTo>
                      <a:lnTo>
                        <a:pt x="359200" y="214916"/>
                      </a:lnTo>
                      <a:lnTo>
                        <a:pt x="364633" y="216124"/>
                      </a:lnTo>
                      <a:lnTo>
                        <a:pt x="369462" y="210087"/>
                      </a:lnTo>
                      <a:lnTo>
                        <a:pt x="376103" y="207672"/>
                      </a:lnTo>
                      <a:lnTo>
                        <a:pt x="380329" y="205257"/>
                      </a:lnTo>
                      <a:lnTo>
                        <a:pt x="377311" y="197409"/>
                      </a:lnTo>
                      <a:lnTo>
                        <a:pt x="387573" y="195598"/>
                      </a:lnTo>
                      <a:lnTo>
                        <a:pt x="391799" y="195598"/>
                      </a:lnTo>
                      <a:lnTo>
                        <a:pt x="397836" y="189561"/>
                      </a:lnTo>
                      <a:lnTo>
                        <a:pt x="403873" y="190165"/>
                      </a:lnTo>
                      <a:lnTo>
                        <a:pt x="403270" y="185335"/>
                      </a:lnTo>
                      <a:lnTo>
                        <a:pt x="406892" y="182920"/>
                      </a:lnTo>
                      <a:lnTo>
                        <a:pt x="411118" y="183524"/>
                      </a:lnTo>
                      <a:lnTo>
                        <a:pt x="424399" y="181713"/>
                      </a:lnTo>
                      <a:lnTo>
                        <a:pt x="428625" y="179298"/>
                      </a:lnTo>
                      <a:lnTo>
                        <a:pt x="434662" y="181109"/>
                      </a:lnTo>
                      <a:lnTo>
                        <a:pt x="447339" y="178091"/>
                      </a:lnTo>
                      <a:lnTo>
                        <a:pt x="449754" y="182920"/>
                      </a:lnTo>
                      <a:lnTo>
                        <a:pt x="452169" y="183524"/>
                      </a:lnTo>
                      <a:lnTo>
                        <a:pt x="455791" y="182317"/>
                      </a:lnTo>
                      <a:lnTo>
                        <a:pt x="456999" y="178091"/>
                      </a:lnTo>
                      <a:lnTo>
                        <a:pt x="462432" y="174468"/>
                      </a:lnTo>
                      <a:lnTo>
                        <a:pt x="461224" y="170243"/>
                      </a:lnTo>
                      <a:lnTo>
                        <a:pt x="464243" y="166017"/>
                      </a:lnTo>
                      <a:lnTo>
                        <a:pt x="469072" y="167224"/>
                      </a:lnTo>
                      <a:lnTo>
                        <a:pt x="470884" y="170243"/>
                      </a:lnTo>
                      <a:lnTo>
                        <a:pt x="478128" y="171450"/>
                      </a:lnTo>
                      <a:lnTo>
                        <a:pt x="482354" y="170846"/>
                      </a:lnTo>
                      <a:lnTo>
                        <a:pt x="484165" y="162395"/>
                      </a:lnTo>
                      <a:lnTo>
                        <a:pt x="481750" y="155150"/>
                      </a:lnTo>
                      <a:lnTo>
                        <a:pt x="481750" y="149717"/>
                      </a:lnTo>
                      <a:lnTo>
                        <a:pt x="479335" y="146699"/>
                      </a:lnTo>
                      <a:lnTo>
                        <a:pt x="485372" y="145491"/>
                      </a:lnTo>
                      <a:lnTo>
                        <a:pt x="490806" y="137643"/>
                      </a:lnTo>
                      <a:lnTo>
                        <a:pt x="490806" y="131002"/>
                      </a:lnTo>
                      <a:lnTo>
                        <a:pt x="492013" y="125569"/>
                      </a:lnTo>
                      <a:lnTo>
                        <a:pt x="494428" y="124362"/>
                      </a:lnTo>
                      <a:lnTo>
                        <a:pt x="497446" y="115910"/>
                      </a:lnTo>
                      <a:lnTo>
                        <a:pt x="503483" y="118325"/>
                      </a:lnTo>
                      <a:lnTo>
                        <a:pt x="505898" y="121343"/>
                      </a:lnTo>
                      <a:lnTo>
                        <a:pt x="512539" y="122551"/>
                      </a:lnTo>
                      <a:lnTo>
                        <a:pt x="516161" y="118928"/>
                      </a:lnTo>
                      <a:lnTo>
                        <a:pt x="526424" y="121343"/>
                      </a:lnTo>
                      <a:lnTo>
                        <a:pt x="533065" y="131606"/>
                      </a:lnTo>
                      <a:lnTo>
                        <a:pt x="541516" y="136436"/>
                      </a:lnTo>
                      <a:lnTo>
                        <a:pt x="545742" y="136436"/>
                      </a:lnTo>
                      <a:lnTo>
                        <a:pt x="546950" y="133417"/>
                      </a:lnTo>
                      <a:lnTo>
                        <a:pt x="551779" y="132210"/>
                      </a:lnTo>
                      <a:lnTo>
                        <a:pt x="552987" y="129191"/>
                      </a:lnTo>
                      <a:lnTo>
                        <a:pt x="561438" y="126173"/>
                      </a:lnTo>
                      <a:lnTo>
                        <a:pt x="564457" y="132210"/>
                      </a:lnTo>
                      <a:lnTo>
                        <a:pt x="573512" y="135832"/>
                      </a:lnTo>
                      <a:lnTo>
                        <a:pt x="577134" y="143076"/>
                      </a:lnTo>
                      <a:lnTo>
                        <a:pt x="578945" y="149717"/>
                      </a:lnTo>
                      <a:lnTo>
                        <a:pt x="575927" y="156961"/>
                      </a:lnTo>
                      <a:lnTo>
                        <a:pt x="577738" y="164206"/>
                      </a:lnTo>
                      <a:lnTo>
                        <a:pt x="583171" y="166620"/>
                      </a:lnTo>
                      <a:lnTo>
                        <a:pt x="585586" y="170243"/>
                      </a:lnTo>
                      <a:lnTo>
                        <a:pt x="596453" y="168431"/>
                      </a:lnTo>
                      <a:lnTo>
                        <a:pt x="596453" y="164206"/>
                      </a:lnTo>
                      <a:lnTo>
                        <a:pt x="603093" y="170243"/>
                      </a:lnTo>
                      <a:lnTo>
                        <a:pt x="612149" y="169639"/>
                      </a:lnTo>
                      <a:lnTo>
                        <a:pt x="617582" y="172657"/>
                      </a:lnTo>
                      <a:lnTo>
                        <a:pt x="614564" y="176280"/>
                      </a:lnTo>
                      <a:lnTo>
                        <a:pt x="613960" y="182317"/>
                      </a:lnTo>
                      <a:lnTo>
                        <a:pt x="616375" y="187750"/>
                      </a:lnTo>
                      <a:lnTo>
                        <a:pt x="612149" y="194994"/>
                      </a:lnTo>
                      <a:lnTo>
                        <a:pt x="613960" y="199220"/>
                      </a:lnTo>
                      <a:lnTo>
                        <a:pt x="617582" y="202842"/>
                      </a:lnTo>
                      <a:lnTo>
                        <a:pt x="624827" y="202239"/>
                      </a:lnTo>
                      <a:lnTo>
                        <a:pt x="628449" y="208276"/>
                      </a:lnTo>
                      <a:lnTo>
                        <a:pt x="633882" y="211898"/>
                      </a:lnTo>
                      <a:lnTo>
                        <a:pt x="637504" y="216727"/>
                      </a:lnTo>
                      <a:lnTo>
                        <a:pt x="643541" y="219142"/>
                      </a:lnTo>
                      <a:lnTo>
                        <a:pt x="647163" y="217331"/>
                      </a:lnTo>
                      <a:lnTo>
                        <a:pt x="647767" y="213105"/>
                      </a:lnTo>
                      <a:lnTo>
                        <a:pt x="647767" y="207068"/>
                      </a:lnTo>
                      <a:lnTo>
                        <a:pt x="652597" y="206465"/>
                      </a:lnTo>
                      <a:lnTo>
                        <a:pt x="653200" y="202842"/>
                      </a:lnTo>
                      <a:lnTo>
                        <a:pt x="652597" y="193183"/>
                      </a:lnTo>
                      <a:lnTo>
                        <a:pt x="656219" y="185335"/>
                      </a:lnTo>
                      <a:lnTo>
                        <a:pt x="659841" y="181109"/>
                      </a:lnTo>
                      <a:lnTo>
                        <a:pt x="664671" y="181713"/>
                      </a:lnTo>
                      <a:lnTo>
                        <a:pt x="665878" y="175676"/>
                      </a:lnTo>
                      <a:lnTo>
                        <a:pt x="671915" y="172657"/>
                      </a:lnTo>
                      <a:lnTo>
                        <a:pt x="671915" y="170243"/>
                      </a:lnTo>
                      <a:lnTo>
                        <a:pt x="675537" y="166620"/>
                      </a:lnTo>
                      <a:lnTo>
                        <a:pt x="684592" y="173865"/>
                      </a:lnTo>
                      <a:lnTo>
                        <a:pt x="689422" y="175676"/>
                      </a:lnTo>
                      <a:lnTo>
                        <a:pt x="699685" y="171450"/>
                      </a:lnTo>
                      <a:lnTo>
                        <a:pt x="702703" y="172054"/>
                      </a:lnTo>
                      <a:lnTo>
                        <a:pt x="705118" y="169035"/>
                      </a:lnTo>
                      <a:lnTo>
                        <a:pt x="706929" y="163602"/>
                      </a:lnTo>
                      <a:lnTo>
                        <a:pt x="714777" y="162998"/>
                      </a:lnTo>
                      <a:lnTo>
                        <a:pt x="717796" y="167828"/>
                      </a:lnTo>
                      <a:lnTo>
                        <a:pt x="718400" y="175072"/>
                      </a:lnTo>
                      <a:lnTo>
                        <a:pt x="724437" y="173865"/>
                      </a:lnTo>
                      <a:lnTo>
                        <a:pt x="724437" y="176883"/>
                      </a:lnTo>
                      <a:lnTo>
                        <a:pt x="728059" y="178091"/>
                      </a:lnTo>
                      <a:lnTo>
                        <a:pt x="732285" y="173865"/>
                      </a:lnTo>
                      <a:lnTo>
                        <a:pt x="738925" y="179298"/>
                      </a:lnTo>
                      <a:lnTo>
                        <a:pt x="737114" y="169639"/>
                      </a:lnTo>
                      <a:lnTo>
                        <a:pt x="744962" y="159980"/>
                      </a:lnTo>
                      <a:lnTo>
                        <a:pt x="750999" y="159376"/>
                      </a:lnTo>
                      <a:lnTo>
                        <a:pt x="760055" y="165413"/>
                      </a:lnTo>
                      <a:lnTo>
                        <a:pt x="768506" y="165413"/>
                      </a:lnTo>
                      <a:lnTo>
                        <a:pt x="767299" y="161187"/>
                      </a:lnTo>
                      <a:lnTo>
                        <a:pt x="769110" y="150924"/>
                      </a:lnTo>
                      <a:lnTo>
                        <a:pt x="772129" y="145491"/>
                      </a:lnTo>
                      <a:lnTo>
                        <a:pt x="774543" y="138247"/>
                      </a:lnTo>
                      <a:lnTo>
                        <a:pt x="773336" y="134021"/>
                      </a:lnTo>
                      <a:lnTo>
                        <a:pt x="775751" y="131002"/>
                      </a:lnTo>
                      <a:lnTo>
                        <a:pt x="775147" y="126173"/>
                      </a:lnTo>
                      <a:lnTo>
                        <a:pt x="777562" y="121947"/>
                      </a:lnTo>
                      <a:lnTo>
                        <a:pt x="773940" y="119532"/>
                      </a:lnTo>
                      <a:lnTo>
                        <a:pt x="779977" y="110477"/>
                      </a:lnTo>
                      <a:lnTo>
                        <a:pt x="788428" y="106854"/>
                      </a:lnTo>
                      <a:lnTo>
                        <a:pt x="790239" y="102025"/>
                      </a:lnTo>
                      <a:lnTo>
                        <a:pt x="788428" y="94781"/>
                      </a:lnTo>
                      <a:lnTo>
                        <a:pt x="789636" y="77877"/>
                      </a:lnTo>
                      <a:lnTo>
                        <a:pt x="787221" y="73651"/>
                      </a:lnTo>
                      <a:lnTo>
                        <a:pt x="794465" y="61577"/>
                      </a:lnTo>
                      <a:lnTo>
                        <a:pt x="796276" y="60370"/>
                      </a:lnTo>
                      <a:lnTo>
                        <a:pt x="801710" y="55540"/>
                      </a:lnTo>
                      <a:lnTo>
                        <a:pt x="805936" y="56144"/>
                      </a:lnTo>
                      <a:lnTo>
                        <a:pt x="807143" y="53125"/>
                      </a:lnTo>
                      <a:lnTo>
                        <a:pt x="811369" y="51918"/>
                      </a:lnTo>
                      <a:lnTo>
                        <a:pt x="813784" y="54333"/>
                      </a:lnTo>
                      <a:lnTo>
                        <a:pt x="818010" y="55540"/>
                      </a:lnTo>
                      <a:lnTo>
                        <a:pt x="819217" y="45277"/>
                      </a:lnTo>
                      <a:lnTo>
                        <a:pt x="821632" y="41655"/>
                      </a:lnTo>
                      <a:lnTo>
                        <a:pt x="824650" y="25355"/>
                      </a:lnTo>
                      <a:lnTo>
                        <a:pt x="833706" y="28978"/>
                      </a:lnTo>
                      <a:lnTo>
                        <a:pt x="835517" y="25355"/>
                      </a:lnTo>
                      <a:lnTo>
                        <a:pt x="838535" y="24148"/>
                      </a:lnTo>
                      <a:lnTo>
                        <a:pt x="851817" y="30789"/>
                      </a:lnTo>
                      <a:lnTo>
                        <a:pt x="855439" y="31392"/>
                      </a:lnTo>
                      <a:lnTo>
                        <a:pt x="855439" y="21129"/>
                      </a:lnTo>
                      <a:lnTo>
                        <a:pt x="860269" y="15696"/>
                      </a:lnTo>
                      <a:lnTo>
                        <a:pt x="857250" y="8452"/>
                      </a:lnTo>
                      <a:lnTo>
                        <a:pt x="863891" y="9055"/>
                      </a:lnTo>
                      <a:lnTo>
                        <a:pt x="866306" y="12074"/>
                      </a:lnTo>
                      <a:lnTo>
                        <a:pt x="868720" y="8452"/>
                      </a:lnTo>
                      <a:lnTo>
                        <a:pt x="870531" y="604"/>
                      </a:lnTo>
                      <a:lnTo>
                        <a:pt x="874757" y="0"/>
                      </a:lnTo>
                      <a:lnTo>
                        <a:pt x="883209" y="4830"/>
                      </a:lnTo>
                      <a:lnTo>
                        <a:pt x="886831" y="4226"/>
                      </a:lnTo>
                      <a:lnTo>
                        <a:pt x="892264" y="6037"/>
                      </a:lnTo>
                      <a:lnTo>
                        <a:pt x="898905" y="5433"/>
                      </a:lnTo>
                      <a:lnTo>
                        <a:pt x="900716" y="6641"/>
                      </a:lnTo>
                      <a:lnTo>
                        <a:pt x="900112" y="11470"/>
                      </a:lnTo>
                      <a:lnTo>
                        <a:pt x="903734" y="13885"/>
                      </a:lnTo>
                      <a:lnTo>
                        <a:pt x="903734" y="17507"/>
                      </a:lnTo>
                      <a:lnTo>
                        <a:pt x="919431" y="19922"/>
                      </a:lnTo>
                      <a:lnTo>
                        <a:pt x="920034" y="25355"/>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6" name="Karnataka" descr="{&quot;Key&quot;:&quot;karnataka&quot;,&quot;Name&quot;:&quot;Karnataka&quot;,&quot;Value&quot;:1.0,&quot;Formula&quot;:&quot;&quot;,&quot;Text&quot;:&quot;&quot;,&quot;OfficeApplication&quot;:1,&quot;HasValue&quot;:true}">
                  <a:extLst>
                    <a:ext uri="{FF2B5EF4-FFF2-40B4-BE49-F238E27FC236}">
                      <a16:creationId xmlns:a16="http://schemas.microsoft.com/office/drawing/2014/main" id="{BD04C86D-7B4A-4425-9034-B59D81B22925}"/>
                    </a:ext>
                  </a:extLst>
                </p:cNvPr>
                <p:cNvSpPr/>
                <p:nvPr/>
              </p:nvSpPr>
              <p:spPr>
                <a:xfrm>
                  <a:off x="4300605" y="4374994"/>
                  <a:ext cx="923657" cy="1466984"/>
                </a:xfrm>
                <a:custGeom>
                  <a:avLst/>
                  <a:gdLst>
                    <a:gd name="connsiteX0" fmla="*/ 712966 w 923656"/>
                    <a:gd name="connsiteY0" fmla="*/ 35618 h 1466984"/>
                    <a:gd name="connsiteX1" fmla="*/ 717192 w 923656"/>
                    <a:gd name="connsiteY1" fmla="*/ 36222 h 1466984"/>
                    <a:gd name="connsiteX2" fmla="*/ 723833 w 923656"/>
                    <a:gd name="connsiteY2" fmla="*/ 38636 h 1466984"/>
                    <a:gd name="connsiteX3" fmla="*/ 717796 w 923656"/>
                    <a:gd name="connsiteY3" fmla="*/ 47088 h 1466984"/>
                    <a:gd name="connsiteX4" fmla="*/ 720211 w 923656"/>
                    <a:gd name="connsiteY4" fmla="*/ 51918 h 1466984"/>
                    <a:gd name="connsiteX5" fmla="*/ 717192 w 923656"/>
                    <a:gd name="connsiteY5" fmla="*/ 57955 h 1466984"/>
                    <a:gd name="connsiteX6" fmla="*/ 719003 w 923656"/>
                    <a:gd name="connsiteY6" fmla="*/ 63992 h 1466984"/>
                    <a:gd name="connsiteX7" fmla="*/ 722625 w 923656"/>
                    <a:gd name="connsiteY7" fmla="*/ 66407 h 1466984"/>
                    <a:gd name="connsiteX8" fmla="*/ 722022 w 923656"/>
                    <a:gd name="connsiteY8" fmla="*/ 71236 h 1466984"/>
                    <a:gd name="connsiteX9" fmla="*/ 723229 w 923656"/>
                    <a:gd name="connsiteY9" fmla="*/ 77273 h 1466984"/>
                    <a:gd name="connsiteX10" fmla="*/ 722625 w 923656"/>
                    <a:gd name="connsiteY10" fmla="*/ 80895 h 1466984"/>
                    <a:gd name="connsiteX11" fmla="*/ 716588 w 923656"/>
                    <a:gd name="connsiteY11" fmla="*/ 82707 h 1466984"/>
                    <a:gd name="connsiteX12" fmla="*/ 712363 w 923656"/>
                    <a:gd name="connsiteY12" fmla="*/ 87536 h 1466984"/>
                    <a:gd name="connsiteX13" fmla="*/ 713570 w 923656"/>
                    <a:gd name="connsiteY13" fmla="*/ 91762 h 1466984"/>
                    <a:gd name="connsiteX14" fmla="*/ 724437 w 923656"/>
                    <a:gd name="connsiteY14" fmla="*/ 95384 h 1466984"/>
                    <a:gd name="connsiteX15" fmla="*/ 729266 w 923656"/>
                    <a:gd name="connsiteY15" fmla="*/ 100818 h 1466984"/>
                    <a:gd name="connsiteX16" fmla="*/ 732888 w 923656"/>
                    <a:gd name="connsiteY16" fmla="*/ 100818 h 1466984"/>
                    <a:gd name="connsiteX17" fmla="*/ 734096 w 923656"/>
                    <a:gd name="connsiteY17" fmla="*/ 105647 h 1466984"/>
                    <a:gd name="connsiteX18" fmla="*/ 732285 w 923656"/>
                    <a:gd name="connsiteY18" fmla="*/ 110477 h 1466984"/>
                    <a:gd name="connsiteX19" fmla="*/ 727455 w 923656"/>
                    <a:gd name="connsiteY19" fmla="*/ 111080 h 1466984"/>
                    <a:gd name="connsiteX20" fmla="*/ 726851 w 923656"/>
                    <a:gd name="connsiteY20" fmla="*/ 120136 h 1466984"/>
                    <a:gd name="connsiteX21" fmla="*/ 720211 w 923656"/>
                    <a:gd name="connsiteY21" fmla="*/ 118928 h 1466984"/>
                    <a:gd name="connsiteX22" fmla="*/ 722022 w 923656"/>
                    <a:gd name="connsiteY22" fmla="*/ 124965 h 1466984"/>
                    <a:gd name="connsiteX23" fmla="*/ 716588 w 923656"/>
                    <a:gd name="connsiteY23" fmla="*/ 127984 h 1466984"/>
                    <a:gd name="connsiteX24" fmla="*/ 714174 w 923656"/>
                    <a:gd name="connsiteY24" fmla="*/ 135832 h 1466984"/>
                    <a:gd name="connsiteX25" fmla="*/ 708137 w 923656"/>
                    <a:gd name="connsiteY25" fmla="*/ 136435 h 1466984"/>
                    <a:gd name="connsiteX26" fmla="*/ 708137 w 923656"/>
                    <a:gd name="connsiteY26" fmla="*/ 140058 h 1466984"/>
                    <a:gd name="connsiteX27" fmla="*/ 705118 w 923656"/>
                    <a:gd name="connsiteY27" fmla="*/ 141869 h 1466984"/>
                    <a:gd name="connsiteX28" fmla="*/ 703911 w 923656"/>
                    <a:gd name="connsiteY28" fmla="*/ 146095 h 1466984"/>
                    <a:gd name="connsiteX29" fmla="*/ 707533 w 923656"/>
                    <a:gd name="connsiteY29" fmla="*/ 146698 h 1466984"/>
                    <a:gd name="connsiteX30" fmla="*/ 714174 w 923656"/>
                    <a:gd name="connsiteY30" fmla="*/ 150924 h 1466984"/>
                    <a:gd name="connsiteX31" fmla="*/ 715381 w 923656"/>
                    <a:gd name="connsiteY31" fmla="*/ 153943 h 1466984"/>
                    <a:gd name="connsiteX32" fmla="*/ 710552 w 923656"/>
                    <a:gd name="connsiteY32" fmla="*/ 158772 h 1466984"/>
                    <a:gd name="connsiteX33" fmla="*/ 708137 w 923656"/>
                    <a:gd name="connsiteY33" fmla="*/ 158169 h 1466984"/>
                    <a:gd name="connsiteX34" fmla="*/ 701496 w 923656"/>
                    <a:gd name="connsiteY34" fmla="*/ 160583 h 1466984"/>
                    <a:gd name="connsiteX35" fmla="*/ 700289 w 923656"/>
                    <a:gd name="connsiteY35" fmla="*/ 162394 h 1466984"/>
                    <a:gd name="connsiteX36" fmla="*/ 694252 w 923656"/>
                    <a:gd name="connsiteY36" fmla="*/ 164206 h 1466984"/>
                    <a:gd name="connsiteX37" fmla="*/ 691233 w 923656"/>
                    <a:gd name="connsiteY37" fmla="*/ 173261 h 1466984"/>
                    <a:gd name="connsiteX38" fmla="*/ 692441 w 923656"/>
                    <a:gd name="connsiteY38" fmla="*/ 178694 h 1466984"/>
                    <a:gd name="connsiteX39" fmla="*/ 690630 w 923656"/>
                    <a:gd name="connsiteY39" fmla="*/ 184731 h 1466984"/>
                    <a:gd name="connsiteX40" fmla="*/ 690630 w 923656"/>
                    <a:gd name="connsiteY40" fmla="*/ 189561 h 1466984"/>
                    <a:gd name="connsiteX41" fmla="*/ 694856 w 923656"/>
                    <a:gd name="connsiteY41" fmla="*/ 190768 h 1466984"/>
                    <a:gd name="connsiteX42" fmla="*/ 697270 w 923656"/>
                    <a:gd name="connsiteY42" fmla="*/ 193183 h 1466984"/>
                    <a:gd name="connsiteX43" fmla="*/ 700893 w 923656"/>
                    <a:gd name="connsiteY43" fmla="*/ 193183 h 1466984"/>
                    <a:gd name="connsiteX44" fmla="*/ 703307 w 923656"/>
                    <a:gd name="connsiteY44" fmla="*/ 198616 h 1466984"/>
                    <a:gd name="connsiteX45" fmla="*/ 708137 w 923656"/>
                    <a:gd name="connsiteY45" fmla="*/ 191372 h 1466984"/>
                    <a:gd name="connsiteX46" fmla="*/ 712966 w 923656"/>
                    <a:gd name="connsiteY46" fmla="*/ 196805 h 1466984"/>
                    <a:gd name="connsiteX47" fmla="*/ 720211 w 923656"/>
                    <a:gd name="connsiteY47" fmla="*/ 194994 h 1466984"/>
                    <a:gd name="connsiteX48" fmla="*/ 721418 w 923656"/>
                    <a:gd name="connsiteY48" fmla="*/ 200428 h 1466984"/>
                    <a:gd name="connsiteX49" fmla="*/ 727455 w 923656"/>
                    <a:gd name="connsiteY49" fmla="*/ 202239 h 1466984"/>
                    <a:gd name="connsiteX50" fmla="*/ 735303 w 923656"/>
                    <a:gd name="connsiteY50" fmla="*/ 202842 h 1466984"/>
                    <a:gd name="connsiteX51" fmla="*/ 741340 w 923656"/>
                    <a:gd name="connsiteY51" fmla="*/ 207672 h 1466984"/>
                    <a:gd name="connsiteX52" fmla="*/ 740736 w 923656"/>
                    <a:gd name="connsiteY52" fmla="*/ 213105 h 1466984"/>
                    <a:gd name="connsiteX53" fmla="*/ 733492 w 923656"/>
                    <a:gd name="connsiteY53" fmla="*/ 211294 h 1466984"/>
                    <a:gd name="connsiteX54" fmla="*/ 725644 w 923656"/>
                    <a:gd name="connsiteY54" fmla="*/ 213709 h 1466984"/>
                    <a:gd name="connsiteX55" fmla="*/ 725644 w 923656"/>
                    <a:gd name="connsiteY55" fmla="*/ 219142 h 1466984"/>
                    <a:gd name="connsiteX56" fmla="*/ 722625 w 923656"/>
                    <a:gd name="connsiteY56" fmla="*/ 219746 h 1466984"/>
                    <a:gd name="connsiteX57" fmla="*/ 717796 w 923656"/>
                    <a:gd name="connsiteY57" fmla="*/ 217331 h 1466984"/>
                    <a:gd name="connsiteX58" fmla="*/ 717796 w 923656"/>
                    <a:gd name="connsiteY58" fmla="*/ 222764 h 1466984"/>
                    <a:gd name="connsiteX59" fmla="*/ 709344 w 923656"/>
                    <a:gd name="connsiteY59" fmla="*/ 220349 h 1466984"/>
                    <a:gd name="connsiteX60" fmla="*/ 705118 w 923656"/>
                    <a:gd name="connsiteY60" fmla="*/ 222764 h 1466984"/>
                    <a:gd name="connsiteX61" fmla="*/ 705118 w 923656"/>
                    <a:gd name="connsiteY61" fmla="*/ 226386 h 1466984"/>
                    <a:gd name="connsiteX62" fmla="*/ 709948 w 923656"/>
                    <a:gd name="connsiteY62" fmla="*/ 229405 h 1466984"/>
                    <a:gd name="connsiteX63" fmla="*/ 706929 w 923656"/>
                    <a:gd name="connsiteY63" fmla="*/ 231820 h 1466984"/>
                    <a:gd name="connsiteX64" fmla="*/ 706929 w 923656"/>
                    <a:gd name="connsiteY64" fmla="*/ 237253 h 1466984"/>
                    <a:gd name="connsiteX65" fmla="*/ 699081 w 923656"/>
                    <a:gd name="connsiteY65" fmla="*/ 239064 h 1466984"/>
                    <a:gd name="connsiteX66" fmla="*/ 697874 w 923656"/>
                    <a:gd name="connsiteY66" fmla="*/ 236045 h 1466984"/>
                    <a:gd name="connsiteX67" fmla="*/ 693044 w 923656"/>
                    <a:gd name="connsiteY67" fmla="*/ 235442 h 1466984"/>
                    <a:gd name="connsiteX68" fmla="*/ 693648 w 923656"/>
                    <a:gd name="connsiteY68" fmla="*/ 240875 h 1466984"/>
                    <a:gd name="connsiteX69" fmla="*/ 692441 w 923656"/>
                    <a:gd name="connsiteY69" fmla="*/ 247516 h 1466984"/>
                    <a:gd name="connsiteX70" fmla="*/ 689422 w 923656"/>
                    <a:gd name="connsiteY70" fmla="*/ 252949 h 1466984"/>
                    <a:gd name="connsiteX71" fmla="*/ 693648 w 923656"/>
                    <a:gd name="connsiteY71" fmla="*/ 255967 h 1466984"/>
                    <a:gd name="connsiteX72" fmla="*/ 677952 w 923656"/>
                    <a:gd name="connsiteY72" fmla="*/ 268041 h 1466984"/>
                    <a:gd name="connsiteX73" fmla="*/ 680970 w 923656"/>
                    <a:gd name="connsiteY73" fmla="*/ 269853 h 1466984"/>
                    <a:gd name="connsiteX74" fmla="*/ 680367 w 923656"/>
                    <a:gd name="connsiteY74" fmla="*/ 273475 h 1466984"/>
                    <a:gd name="connsiteX75" fmla="*/ 676141 w 923656"/>
                    <a:gd name="connsiteY75" fmla="*/ 274078 h 1466984"/>
                    <a:gd name="connsiteX76" fmla="*/ 673726 w 923656"/>
                    <a:gd name="connsiteY76" fmla="*/ 280115 h 1466984"/>
                    <a:gd name="connsiteX77" fmla="*/ 677348 w 923656"/>
                    <a:gd name="connsiteY77" fmla="*/ 285549 h 1466984"/>
                    <a:gd name="connsiteX78" fmla="*/ 682782 w 923656"/>
                    <a:gd name="connsiteY78" fmla="*/ 288567 h 1466984"/>
                    <a:gd name="connsiteX79" fmla="*/ 694856 w 923656"/>
                    <a:gd name="connsiteY79" fmla="*/ 292793 h 1466984"/>
                    <a:gd name="connsiteX80" fmla="*/ 694252 w 923656"/>
                    <a:gd name="connsiteY80" fmla="*/ 295208 h 1466984"/>
                    <a:gd name="connsiteX81" fmla="*/ 697874 w 923656"/>
                    <a:gd name="connsiteY81" fmla="*/ 298830 h 1466984"/>
                    <a:gd name="connsiteX82" fmla="*/ 698478 w 923656"/>
                    <a:gd name="connsiteY82" fmla="*/ 301849 h 1466984"/>
                    <a:gd name="connsiteX83" fmla="*/ 701496 w 923656"/>
                    <a:gd name="connsiteY83" fmla="*/ 307886 h 1466984"/>
                    <a:gd name="connsiteX84" fmla="*/ 702704 w 923656"/>
                    <a:gd name="connsiteY84" fmla="*/ 313923 h 1466984"/>
                    <a:gd name="connsiteX85" fmla="*/ 698478 w 923656"/>
                    <a:gd name="connsiteY85" fmla="*/ 317545 h 1466984"/>
                    <a:gd name="connsiteX86" fmla="*/ 698478 w 923656"/>
                    <a:gd name="connsiteY86" fmla="*/ 322374 h 1466984"/>
                    <a:gd name="connsiteX87" fmla="*/ 695459 w 923656"/>
                    <a:gd name="connsiteY87" fmla="*/ 325393 h 1466984"/>
                    <a:gd name="connsiteX88" fmla="*/ 696063 w 923656"/>
                    <a:gd name="connsiteY88" fmla="*/ 333241 h 1466984"/>
                    <a:gd name="connsiteX89" fmla="*/ 693044 w 923656"/>
                    <a:gd name="connsiteY89" fmla="*/ 335052 h 1466984"/>
                    <a:gd name="connsiteX90" fmla="*/ 694856 w 923656"/>
                    <a:gd name="connsiteY90" fmla="*/ 348937 h 1466984"/>
                    <a:gd name="connsiteX91" fmla="*/ 693648 w 923656"/>
                    <a:gd name="connsiteY91" fmla="*/ 353163 h 1466984"/>
                    <a:gd name="connsiteX92" fmla="*/ 696667 w 923656"/>
                    <a:gd name="connsiteY92" fmla="*/ 359200 h 1466984"/>
                    <a:gd name="connsiteX93" fmla="*/ 696063 w 923656"/>
                    <a:gd name="connsiteY93" fmla="*/ 363426 h 1466984"/>
                    <a:gd name="connsiteX94" fmla="*/ 689422 w 923656"/>
                    <a:gd name="connsiteY94" fmla="*/ 363426 h 1466984"/>
                    <a:gd name="connsiteX95" fmla="*/ 690026 w 923656"/>
                    <a:gd name="connsiteY95" fmla="*/ 366444 h 1466984"/>
                    <a:gd name="connsiteX96" fmla="*/ 687007 w 923656"/>
                    <a:gd name="connsiteY96" fmla="*/ 376707 h 1466984"/>
                    <a:gd name="connsiteX97" fmla="*/ 696063 w 923656"/>
                    <a:gd name="connsiteY97" fmla="*/ 377914 h 1466984"/>
                    <a:gd name="connsiteX98" fmla="*/ 695459 w 923656"/>
                    <a:gd name="connsiteY98" fmla="*/ 384555 h 1466984"/>
                    <a:gd name="connsiteX99" fmla="*/ 685800 w 923656"/>
                    <a:gd name="connsiteY99" fmla="*/ 388177 h 1466984"/>
                    <a:gd name="connsiteX100" fmla="*/ 688819 w 923656"/>
                    <a:gd name="connsiteY100" fmla="*/ 393007 h 1466984"/>
                    <a:gd name="connsiteX101" fmla="*/ 694856 w 923656"/>
                    <a:gd name="connsiteY101" fmla="*/ 391196 h 1466984"/>
                    <a:gd name="connsiteX102" fmla="*/ 696667 w 923656"/>
                    <a:gd name="connsiteY102" fmla="*/ 391799 h 1466984"/>
                    <a:gd name="connsiteX103" fmla="*/ 693044 w 923656"/>
                    <a:gd name="connsiteY103" fmla="*/ 399648 h 1466984"/>
                    <a:gd name="connsiteX104" fmla="*/ 693648 w 923656"/>
                    <a:gd name="connsiteY104" fmla="*/ 405685 h 1466984"/>
                    <a:gd name="connsiteX105" fmla="*/ 689422 w 923656"/>
                    <a:gd name="connsiteY105" fmla="*/ 405685 h 1466984"/>
                    <a:gd name="connsiteX106" fmla="*/ 686404 w 923656"/>
                    <a:gd name="connsiteY106" fmla="*/ 408703 h 1466984"/>
                    <a:gd name="connsiteX107" fmla="*/ 680367 w 923656"/>
                    <a:gd name="connsiteY107" fmla="*/ 408703 h 1466984"/>
                    <a:gd name="connsiteX108" fmla="*/ 682178 w 923656"/>
                    <a:gd name="connsiteY108" fmla="*/ 412929 h 1466984"/>
                    <a:gd name="connsiteX109" fmla="*/ 685196 w 923656"/>
                    <a:gd name="connsiteY109" fmla="*/ 413533 h 1466984"/>
                    <a:gd name="connsiteX110" fmla="*/ 685196 w 923656"/>
                    <a:gd name="connsiteY110" fmla="*/ 418966 h 1466984"/>
                    <a:gd name="connsiteX111" fmla="*/ 677952 w 923656"/>
                    <a:gd name="connsiteY111" fmla="*/ 420173 h 1466984"/>
                    <a:gd name="connsiteX112" fmla="*/ 675537 w 923656"/>
                    <a:gd name="connsiteY112" fmla="*/ 422588 h 1466984"/>
                    <a:gd name="connsiteX113" fmla="*/ 674933 w 923656"/>
                    <a:gd name="connsiteY113" fmla="*/ 426210 h 1466984"/>
                    <a:gd name="connsiteX114" fmla="*/ 666482 w 923656"/>
                    <a:gd name="connsiteY114" fmla="*/ 426814 h 1466984"/>
                    <a:gd name="connsiteX115" fmla="*/ 661048 w 923656"/>
                    <a:gd name="connsiteY115" fmla="*/ 425003 h 1466984"/>
                    <a:gd name="connsiteX116" fmla="*/ 659841 w 923656"/>
                    <a:gd name="connsiteY116" fmla="*/ 428625 h 1466984"/>
                    <a:gd name="connsiteX117" fmla="*/ 651389 w 923656"/>
                    <a:gd name="connsiteY117" fmla="*/ 429832 h 1466984"/>
                    <a:gd name="connsiteX118" fmla="*/ 654408 w 923656"/>
                    <a:gd name="connsiteY118" fmla="*/ 437680 h 1466984"/>
                    <a:gd name="connsiteX119" fmla="*/ 658634 w 923656"/>
                    <a:gd name="connsiteY119" fmla="*/ 443717 h 1466984"/>
                    <a:gd name="connsiteX120" fmla="*/ 668293 w 923656"/>
                    <a:gd name="connsiteY120" fmla="*/ 446736 h 1466984"/>
                    <a:gd name="connsiteX121" fmla="*/ 672519 w 923656"/>
                    <a:gd name="connsiteY121" fmla="*/ 449150 h 1466984"/>
                    <a:gd name="connsiteX122" fmla="*/ 676745 w 923656"/>
                    <a:gd name="connsiteY122" fmla="*/ 448547 h 1466984"/>
                    <a:gd name="connsiteX123" fmla="*/ 684593 w 923656"/>
                    <a:gd name="connsiteY123" fmla="*/ 452169 h 1466984"/>
                    <a:gd name="connsiteX124" fmla="*/ 690026 w 923656"/>
                    <a:gd name="connsiteY124" fmla="*/ 449754 h 1466984"/>
                    <a:gd name="connsiteX125" fmla="*/ 699081 w 923656"/>
                    <a:gd name="connsiteY125" fmla="*/ 449150 h 1466984"/>
                    <a:gd name="connsiteX126" fmla="*/ 706326 w 923656"/>
                    <a:gd name="connsiteY126" fmla="*/ 450962 h 1466984"/>
                    <a:gd name="connsiteX127" fmla="*/ 709948 w 923656"/>
                    <a:gd name="connsiteY127" fmla="*/ 454584 h 1466984"/>
                    <a:gd name="connsiteX128" fmla="*/ 720211 w 923656"/>
                    <a:gd name="connsiteY128" fmla="*/ 460017 h 1466984"/>
                    <a:gd name="connsiteX129" fmla="*/ 721418 w 923656"/>
                    <a:gd name="connsiteY129" fmla="*/ 463036 h 1466984"/>
                    <a:gd name="connsiteX130" fmla="*/ 719607 w 923656"/>
                    <a:gd name="connsiteY130" fmla="*/ 469073 h 1466984"/>
                    <a:gd name="connsiteX131" fmla="*/ 715985 w 923656"/>
                    <a:gd name="connsiteY131" fmla="*/ 466658 h 1466984"/>
                    <a:gd name="connsiteX132" fmla="*/ 711759 w 923656"/>
                    <a:gd name="connsiteY132" fmla="*/ 468469 h 1466984"/>
                    <a:gd name="connsiteX133" fmla="*/ 707533 w 923656"/>
                    <a:gd name="connsiteY133" fmla="*/ 472091 h 1466984"/>
                    <a:gd name="connsiteX134" fmla="*/ 702704 w 923656"/>
                    <a:gd name="connsiteY134" fmla="*/ 472695 h 1466984"/>
                    <a:gd name="connsiteX135" fmla="*/ 700289 w 923656"/>
                    <a:gd name="connsiteY135" fmla="*/ 476921 h 1466984"/>
                    <a:gd name="connsiteX136" fmla="*/ 701496 w 923656"/>
                    <a:gd name="connsiteY136" fmla="*/ 484769 h 1466984"/>
                    <a:gd name="connsiteX137" fmla="*/ 701496 w 923656"/>
                    <a:gd name="connsiteY137" fmla="*/ 490202 h 1466984"/>
                    <a:gd name="connsiteX138" fmla="*/ 699081 w 923656"/>
                    <a:gd name="connsiteY138" fmla="*/ 496239 h 1466984"/>
                    <a:gd name="connsiteX139" fmla="*/ 699685 w 923656"/>
                    <a:gd name="connsiteY139" fmla="*/ 505295 h 1466984"/>
                    <a:gd name="connsiteX140" fmla="*/ 702100 w 923656"/>
                    <a:gd name="connsiteY140" fmla="*/ 509520 h 1466984"/>
                    <a:gd name="connsiteX141" fmla="*/ 703307 w 923656"/>
                    <a:gd name="connsiteY141" fmla="*/ 514350 h 1466984"/>
                    <a:gd name="connsiteX142" fmla="*/ 700893 w 923656"/>
                    <a:gd name="connsiteY142" fmla="*/ 524009 h 1466984"/>
                    <a:gd name="connsiteX143" fmla="*/ 704515 w 923656"/>
                    <a:gd name="connsiteY143" fmla="*/ 530046 h 1466984"/>
                    <a:gd name="connsiteX144" fmla="*/ 703911 w 923656"/>
                    <a:gd name="connsiteY144" fmla="*/ 536083 h 1466984"/>
                    <a:gd name="connsiteX145" fmla="*/ 705722 w 923656"/>
                    <a:gd name="connsiteY145" fmla="*/ 537894 h 1466984"/>
                    <a:gd name="connsiteX146" fmla="*/ 704515 w 923656"/>
                    <a:gd name="connsiteY146" fmla="*/ 547553 h 1466984"/>
                    <a:gd name="connsiteX147" fmla="*/ 696063 w 923656"/>
                    <a:gd name="connsiteY147" fmla="*/ 545742 h 1466984"/>
                    <a:gd name="connsiteX148" fmla="*/ 687611 w 923656"/>
                    <a:gd name="connsiteY148" fmla="*/ 542724 h 1466984"/>
                    <a:gd name="connsiteX149" fmla="*/ 677348 w 923656"/>
                    <a:gd name="connsiteY149" fmla="*/ 544535 h 1466984"/>
                    <a:gd name="connsiteX150" fmla="*/ 672519 w 923656"/>
                    <a:gd name="connsiteY150" fmla="*/ 542120 h 1466984"/>
                    <a:gd name="connsiteX151" fmla="*/ 658030 w 923656"/>
                    <a:gd name="connsiteY151" fmla="*/ 541516 h 1466984"/>
                    <a:gd name="connsiteX152" fmla="*/ 650786 w 923656"/>
                    <a:gd name="connsiteY152" fmla="*/ 539102 h 1466984"/>
                    <a:gd name="connsiteX153" fmla="*/ 648371 w 923656"/>
                    <a:gd name="connsiteY153" fmla="*/ 540309 h 1466984"/>
                    <a:gd name="connsiteX154" fmla="*/ 636901 w 923656"/>
                    <a:gd name="connsiteY154" fmla="*/ 540913 h 1466984"/>
                    <a:gd name="connsiteX155" fmla="*/ 629052 w 923656"/>
                    <a:gd name="connsiteY155" fmla="*/ 542724 h 1466984"/>
                    <a:gd name="connsiteX156" fmla="*/ 626638 w 923656"/>
                    <a:gd name="connsiteY156" fmla="*/ 545139 h 1466984"/>
                    <a:gd name="connsiteX157" fmla="*/ 621204 w 923656"/>
                    <a:gd name="connsiteY157" fmla="*/ 546346 h 1466984"/>
                    <a:gd name="connsiteX158" fmla="*/ 615771 w 923656"/>
                    <a:gd name="connsiteY158" fmla="*/ 549364 h 1466984"/>
                    <a:gd name="connsiteX159" fmla="*/ 606716 w 923656"/>
                    <a:gd name="connsiteY159" fmla="*/ 562042 h 1466984"/>
                    <a:gd name="connsiteX160" fmla="*/ 605508 w 923656"/>
                    <a:gd name="connsiteY160" fmla="*/ 567475 h 1466984"/>
                    <a:gd name="connsiteX161" fmla="*/ 612753 w 923656"/>
                    <a:gd name="connsiteY161" fmla="*/ 568079 h 1466984"/>
                    <a:gd name="connsiteX162" fmla="*/ 612753 w 923656"/>
                    <a:gd name="connsiteY162" fmla="*/ 577738 h 1466984"/>
                    <a:gd name="connsiteX163" fmla="*/ 609130 w 923656"/>
                    <a:gd name="connsiteY163" fmla="*/ 583775 h 1466984"/>
                    <a:gd name="connsiteX164" fmla="*/ 609130 w 923656"/>
                    <a:gd name="connsiteY164" fmla="*/ 589208 h 1466984"/>
                    <a:gd name="connsiteX165" fmla="*/ 615167 w 923656"/>
                    <a:gd name="connsiteY165" fmla="*/ 589812 h 1466984"/>
                    <a:gd name="connsiteX166" fmla="*/ 616978 w 923656"/>
                    <a:gd name="connsiteY166" fmla="*/ 592831 h 1466984"/>
                    <a:gd name="connsiteX167" fmla="*/ 615167 w 923656"/>
                    <a:gd name="connsiteY167" fmla="*/ 596453 h 1466984"/>
                    <a:gd name="connsiteX168" fmla="*/ 620601 w 923656"/>
                    <a:gd name="connsiteY168" fmla="*/ 598868 h 1466984"/>
                    <a:gd name="connsiteX169" fmla="*/ 625430 w 923656"/>
                    <a:gd name="connsiteY169" fmla="*/ 603093 h 1466984"/>
                    <a:gd name="connsiteX170" fmla="*/ 623619 w 923656"/>
                    <a:gd name="connsiteY170" fmla="*/ 610338 h 1466984"/>
                    <a:gd name="connsiteX171" fmla="*/ 616375 w 923656"/>
                    <a:gd name="connsiteY171" fmla="*/ 604905 h 1466984"/>
                    <a:gd name="connsiteX172" fmla="*/ 613960 w 923656"/>
                    <a:gd name="connsiteY172" fmla="*/ 607319 h 1466984"/>
                    <a:gd name="connsiteX173" fmla="*/ 605508 w 923656"/>
                    <a:gd name="connsiteY173" fmla="*/ 609734 h 1466984"/>
                    <a:gd name="connsiteX174" fmla="*/ 605508 w 923656"/>
                    <a:gd name="connsiteY174" fmla="*/ 616375 h 1466984"/>
                    <a:gd name="connsiteX175" fmla="*/ 604301 w 923656"/>
                    <a:gd name="connsiteY175" fmla="*/ 621204 h 1466984"/>
                    <a:gd name="connsiteX176" fmla="*/ 605508 w 923656"/>
                    <a:gd name="connsiteY176" fmla="*/ 632071 h 1466984"/>
                    <a:gd name="connsiteX177" fmla="*/ 604905 w 923656"/>
                    <a:gd name="connsiteY177" fmla="*/ 637504 h 1466984"/>
                    <a:gd name="connsiteX178" fmla="*/ 598868 w 923656"/>
                    <a:gd name="connsiteY178" fmla="*/ 637504 h 1466984"/>
                    <a:gd name="connsiteX179" fmla="*/ 594038 w 923656"/>
                    <a:gd name="connsiteY179" fmla="*/ 636297 h 1466984"/>
                    <a:gd name="connsiteX180" fmla="*/ 593434 w 923656"/>
                    <a:gd name="connsiteY180" fmla="*/ 639315 h 1466984"/>
                    <a:gd name="connsiteX181" fmla="*/ 598868 w 923656"/>
                    <a:gd name="connsiteY181" fmla="*/ 644145 h 1466984"/>
                    <a:gd name="connsiteX182" fmla="*/ 600679 w 923656"/>
                    <a:gd name="connsiteY182" fmla="*/ 648371 h 1466984"/>
                    <a:gd name="connsiteX183" fmla="*/ 605508 w 923656"/>
                    <a:gd name="connsiteY183" fmla="*/ 651389 h 1466984"/>
                    <a:gd name="connsiteX184" fmla="*/ 605508 w 923656"/>
                    <a:gd name="connsiteY184" fmla="*/ 658634 h 1466984"/>
                    <a:gd name="connsiteX185" fmla="*/ 608527 w 923656"/>
                    <a:gd name="connsiteY185" fmla="*/ 662256 h 1466984"/>
                    <a:gd name="connsiteX186" fmla="*/ 607319 w 923656"/>
                    <a:gd name="connsiteY186" fmla="*/ 667689 h 1466984"/>
                    <a:gd name="connsiteX187" fmla="*/ 612753 w 923656"/>
                    <a:gd name="connsiteY187" fmla="*/ 671915 h 1466984"/>
                    <a:gd name="connsiteX188" fmla="*/ 613960 w 923656"/>
                    <a:gd name="connsiteY188" fmla="*/ 676141 h 1466984"/>
                    <a:gd name="connsiteX189" fmla="*/ 622412 w 923656"/>
                    <a:gd name="connsiteY189" fmla="*/ 674330 h 1466984"/>
                    <a:gd name="connsiteX190" fmla="*/ 623619 w 923656"/>
                    <a:gd name="connsiteY190" fmla="*/ 682178 h 1466984"/>
                    <a:gd name="connsiteX191" fmla="*/ 630260 w 923656"/>
                    <a:gd name="connsiteY191" fmla="*/ 683385 h 1466984"/>
                    <a:gd name="connsiteX192" fmla="*/ 628449 w 923656"/>
                    <a:gd name="connsiteY192" fmla="*/ 690629 h 1466984"/>
                    <a:gd name="connsiteX193" fmla="*/ 624827 w 923656"/>
                    <a:gd name="connsiteY193" fmla="*/ 697270 h 1466984"/>
                    <a:gd name="connsiteX194" fmla="*/ 629052 w 923656"/>
                    <a:gd name="connsiteY194" fmla="*/ 697874 h 1466984"/>
                    <a:gd name="connsiteX195" fmla="*/ 632071 w 923656"/>
                    <a:gd name="connsiteY195" fmla="*/ 702703 h 1466984"/>
                    <a:gd name="connsiteX196" fmla="*/ 633278 w 923656"/>
                    <a:gd name="connsiteY196" fmla="*/ 708137 h 1466984"/>
                    <a:gd name="connsiteX197" fmla="*/ 630260 w 923656"/>
                    <a:gd name="connsiteY197" fmla="*/ 721418 h 1466984"/>
                    <a:gd name="connsiteX198" fmla="*/ 626034 w 923656"/>
                    <a:gd name="connsiteY198" fmla="*/ 724437 h 1466984"/>
                    <a:gd name="connsiteX199" fmla="*/ 625430 w 923656"/>
                    <a:gd name="connsiteY199" fmla="*/ 729870 h 1466984"/>
                    <a:gd name="connsiteX200" fmla="*/ 622412 w 923656"/>
                    <a:gd name="connsiteY200" fmla="*/ 738322 h 1466984"/>
                    <a:gd name="connsiteX201" fmla="*/ 616375 w 923656"/>
                    <a:gd name="connsiteY201" fmla="*/ 739529 h 1466984"/>
                    <a:gd name="connsiteX202" fmla="*/ 615771 w 923656"/>
                    <a:gd name="connsiteY202" fmla="*/ 744359 h 1466984"/>
                    <a:gd name="connsiteX203" fmla="*/ 607923 w 923656"/>
                    <a:gd name="connsiteY203" fmla="*/ 743151 h 1466984"/>
                    <a:gd name="connsiteX204" fmla="*/ 609130 w 923656"/>
                    <a:gd name="connsiteY204" fmla="*/ 737718 h 1466984"/>
                    <a:gd name="connsiteX205" fmla="*/ 600075 w 923656"/>
                    <a:gd name="connsiteY205" fmla="*/ 737718 h 1466984"/>
                    <a:gd name="connsiteX206" fmla="*/ 592831 w 923656"/>
                    <a:gd name="connsiteY206" fmla="*/ 741340 h 1466984"/>
                    <a:gd name="connsiteX207" fmla="*/ 589209 w 923656"/>
                    <a:gd name="connsiteY207" fmla="*/ 738925 h 1466984"/>
                    <a:gd name="connsiteX208" fmla="*/ 581964 w 923656"/>
                    <a:gd name="connsiteY208" fmla="*/ 737718 h 1466984"/>
                    <a:gd name="connsiteX209" fmla="*/ 574116 w 923656"/>
                    <a:gd name="connsiteY209" fmla="*/ 738322 h 1466984"/>
                    <a:gd name="connsiteX210" fmla="*/ 571098 w 923656"/>
                    <a:gd name="connsiteY210" fmla="*/ 732285 h 1466984"/>
                    <a:gd name="connsiteX211" fmla="*/ 566268 w 923656"/>
                    <a:gd name="connsiteY211" fmla="*/ 728663 h 1466984"/>
                    <a:gd name="connsiteX212" fmla="*/ 562646 w 923656"/>
                    <a:gd name="connsiteY212" fmla="*/ 728059 h 1466984"/>
                    <a:gd name="connsiteX213" fmla="*/ 557816 w 923656"/>
                    <a:gd name="connsiteY213" fmla="*/ 725040 h 1466984"/>
                    <a:gd name="connsiteX214" fmla="*/ 552987 w 923656"/>
                    <a:gd name="connsiteY214" fmla="*/ 730474 h 1466984"/>
                    <a:gd name="connsiteX215" fmla="*/ 552383 w 923656"/>
                    <a:gd name="connsiteY215" fmla="*/ 732888 h 1466984"/>
                    <a:gd name="connsiteX216" fmla="*/ 555401 w 923656"/>
                    <a:gd name="connsiteY216" fmla="*/ 740737 h 1466984"/>
                    <a:gd name="connsiteX217" fmla="*/ 549364 w 923656"/>
                    <a:gd name="connsiteY217" fmla="*/ 747981 h 1466984"/>
                    <a:gd name="connsiteX218" fmla="*/ 551176 w 923656"/>
                    <a:gd name="connsiteY218" fmla="*/ 750396 h 1466984"/>
                    <a:gd name="connsiteX219" fmla="*/ 561438 w 923656"/>
                    <a:gd name="connsiteY219" fmla="*/ 752207 h 1466984"/>
                    <a:gd name="connsiteX220" fmla="*/ 564457 w 923656"/>
                    <a:gd name="connsiteY220" fmla="*/ 754622 h 1466984"/>
                    <a:gd name="connsiteX221" fmla="*/ 566872 w 923656"/>
                    <a:gd name="connsiteY221" fmla="*/ 752810 h 1466984"/>
                    <a:gd name="connsiteX222" fmla="*/ 571701 w 923656"/>
                    <a:gd name="connsiteY222" fmla="*/ 752207 h 1466984"/>
                    <a:gd name="connsiteX223" fmla="*/ 571701 w 923656"/>
                    <a:gd name="connsiteY223" fmla="*/ 757640 h 1466984"/>
                    <a:gd name="connsiteX224" fmla="*/ 571098 w 923656"/>
                    <a:gd name="connsiteY224" fmla="*/ 767299 h 1466984"/>
                    <a:gd name="connsiteX225" fmla="*/ 568079 w 923656"/>
                    <a:gd name="connsiteY225" fmla="*/ 767903 h 1466984"/>
                    <a:gd name="connsiteX226" fmla="*/ 569286 w 923656"/>
                    <a:gd name="connsiteY226" fmla="*/ 773336 h 1466984"/>
                    <a:gd name="connsiteX227" fmla="*/ 568683 w 923656"/>
                    <a:gd name="connsiteY227" fmla="*/ 778769 h 1466984"/>
                    <a:gd name="connsiteX228" fmla="*/ 566872 w 923656"/>
                    <a:gd name="connsiteY228" fmla="*/ 780580 h 1466984"/>
                    <a:gd name="connsiteX229" fmla="*/ 565664 w 923656"/>
                    <a:gd name="connsiteY229" fmla="*/ 790239 h 1466984"/>
                    <a:gd name="connsiteX230" fmla="*/ 554194 w 923656"/>
                    <a:gd name="connsiteY230" fmla="*/ 791447 h 1466984"/>
                    <a:gd name="connsiteX231" fmla="*/ 557816 w 923656"/>
                    <a:gd name="connsiteY231" fmla="*/ 801106 h 1466984"/>
                    <a:gd name="connsiteX232" fmla="*/ 552383 w 923656"/>
                    <a:gd name="connsiteY232" fmla="*/ 813784 h 1466984"/>
                    <a:gd name="connsiteX233" fmla="*/ 550572 w 923656"/>
                    <a:gd name="connsiteY233" fmla="*/ 830084 h 1466984"/>
                    <a:gd name="connsiteX234" fmla="*/ 554194 w 923656"/>
                    <a:gd name="connsiteY234" fmla="*/ 833706 h 1466984"/>
                    <a:gd name="connsiteX235" fmla="*/ 558420 w 923656"/>
                    <a:gd name="connsiteY235" fmla="*/ 845176 h 1466984"/>
                    <a:gd name="connsiteX236" fmla="*/ 567475 w 923656"/>
                    <a:gd name="connsiteY236" fmla="*/ 848798 h 1466984"/>
                    <a:gd name="connsiteX237" fmla="*/ 571701 w 923656"/>
                    <a:gd name="connsiteY237" fmla="*/ 856043 h 1466984"/>
                    <a:gd name="connsiteX238" fmla="*/ 574720 w 923656"/>
                    <a:gd name="connsiteY238" fmla="*/ 857250 h 1466984"/>
                    <a:gd name="connsiteX239" fmla="*/ 580153 w 923656"/>
                    <a:gd name="connsiteY239" fmla="*/ 854232 h 1466984"/>
                    <a:gd name="connsiteX240" fmla="*/ 594038 w 923656"/>
                    <a:gd name="connsiteY240" fmla="*/ 855439 h 1466984"/>
                    <a:gd name="connsiteX241" fmla="*/ 591020 w 923656"/>
                    <a:gd name="connsiteY241" fmla="*/ 862683 h 1466984"/>
                    <a:gd name="connsiteX242" fmla="*/ 588001 w 923656"/>
                    <a:gd name="connsiteY242" fmla="*/ 862683 h 1466984"/>
                    <a:gd name="connsiteX243" fmla="*/ 587397 w 923656"/>
                    <a:gd name="connsiteY243" fmla="*/ 872342 h 1466984"/>
                    <a:gd name="connsiteX244" fmla="*/ 581964 w 923656"/>
                    <a:gd name="connsiteY244" fmla="*/ 869324 h 1466984"/>
                    <a:gd name="connsiteX245" fmla="*/ 578342 w 923656"/>
                    <a:gd name="connsiteY245" fmla="*/ 873550 h 1466984"/>
                    <a:gd name="connsiteX246" fmla="*/ 575323 w 923656"/>
                    <a:gd name="connsiteY246" fmla="*/ 874153 h 1466984"/>
                    <a:gd name="connsiteX247" fmla="*/ 574720 w 923656"/>
                    <a:gd name="connsiteY247" fmla="*/ 882605 h 1466984"/>
                    <a:gd name="connsiteX248" fmla="*/ 578946 w 923656"/>
                    <a:gd name="connsiteY248" fmla="*/ 889246 h 1466984"/>
                    <a:gd name="connsiteX249" fmla="*/ 588001 w 923656"/>
                    <a:gd name="connsiteY249" fmla="*/ 892264 h 1466984"/>
                    <a:gd name="connsiteX250" fmla="*/ 588001 w 923656"/>
                    <a:gd name="connsiteY250" fmla="*/ 897094 h 1466984"/>
                    <a:gd name="connsiteX251" fmla="*/ 584379 w 923656"/>
                    <a:gd name="connsiteY251" fmla="*/ 899509 h 1466984"/>
                    <a:gd name="connsiteX252" fmla="*/ 586794 w 923656"/>
                    <a:gd name="connsiteY252" fmla="*/ 906149 h 1466984"/>
                    <a:gd name="connsiteX253" fmla="*/ 589812 w 923656"/>
                    <a:gd name="connsiteY253" fmla="*/ 907357 h 1466984"/>
                    <a:gd name="connsiteX254" fmla="*/ 595849 w 923656"/>
                    <a:gd name="connsiteY254" fmla="*/ 906753 h 1466984"/>
                    <a:gd name="connsiteX255" fmla="*/ 600679 w 923656"/>
                    <a:gd name="connsiteY255" fmla="*/ 907960 h 1466984"/>
                    <a:gd name="connsiteX256" fmla="*/ 606716 w 923656"/>
                    <a:gd name="connsiteY256" fmla="*/ 906149 h 1466984"/>
                    <a:gd name="connsiteX257" fmla="*/ 609734 w 923656"/>
                    <a:gd name="connsiteY257" fmla="*/ 906149 h 1466984"/>
                    <a:gd name="connsiteX258" fmla="*/ 615167 w 923656"/>
                    <a:gd name="connsiteY258" fmla="*/ 912790 h 1466984"/>
                    <a:gd name="connsiteX259" fmla="*/ 619393 w 923656"/>
                    <a:gd name="connsiteY259" fmla="*/ 912790 h 1466984"/>
                    <a:gd name="connsiteX260" fmla="*/ 622412 w 923656"/>
                    <a:gd name="connsiteY260" fmla="*/ 910375 h 1466984"/>
                    <a:gd name="connsiteX261" fmla="*/ 623619 w 923656"/>
                    <a:gd name="connsiteY261" fmla="*/ 902527 h 1466984"/>
                    <a:gd name="connsiteX262" fmla="*/ 621808 w 923656"/>
                    <a:gd name="connsiteY262" fmla="*/ 901320 h 1466984"/>
                    <a:gd name="connsiteX263" fmla="*/ 623015 w 923656"/>
                    <a:gd name="connsiteY263" fmla="*/ 895886 h 1466984"/>
                    <a:gd name="connsiteX264" fmla="*/ 625430 w 923656"/>
                    <a:gd name="connsiteY264" fmla="*/ 892868 h 1466984"/>
                    <a:gd name="connsiteX265" fmla="*/ 626638 w 923656"/>
                    <a:gd name="connsiteY265" fmla="*/ 886831 h 1466984"/>
                    <a:gd name="connsiteX266" fmla="*/ 630864 w 923656"/>
                    <a:gd name="connsiteY266" fmla="*/ 885624 h 1466984"/>
                    <a:gd name="connsiteX267" fmla="*/ 639919 w 923656"/>
                    <a:gd name="connsiteY267" fmla="*/ 890453 h 1466984"/>
                    <a:gd name="connsiteX268" fmla="*/ 650182 w 923656"/>
                    <a:gd name="connsiteY268" fmla="*/ 890453 h 1466984"/>
                    <a:gd name="connsiteX269" fmla="*/ 652597 w 923656"/>
                    <a:gd name="connsiteY269" fmla="*/ 888038 h 1466984"/>
                    <a:gd name="connsiteX270" fmla="*/ 657426 w 923656"/>
                    <a:gd name="connsiteY270" fmla="*/ 886831 h 1466984"/>
                    <a:gd name="connsiteX271" fmla="*/ 657426 w 923656"/>
                    <a:gd name="connsiteY271" fmla="*/ 898301 h 1466984"/>
                    <a:gd name="connsiteX272" fmla="*/ 673726 w 923656"/>
                    <a:gd name="connsiteY272" fmla="*/ 900112 h 1466984"/>
                    <a:gd name="connsiteX273" fmla="*/ 673122 w 923656"/>
                    <a:gd name="connsiteY273" fmla="*/ 908564 h 1466984"/>
                    <a:gd name="connsiteX274" fmla="*/ 677348 w 923656"/>
                    <a:gd name="connsiteY274" fmla="*/ 910979 h 1466984"/>
                    <a:gd name="connsiteX275" fmla="*/ 678556 w 923656"/>
                    <a:gd name="connsiteY275" fmla="*/ 916412 h 1466984"/>
                    <a:gd name="connsiteX276" fmla="*/ 685196 w 923656"/>
                    <a:gd name="connsiteY276" fmla="*/ 913997 h 1466984"/>
                    <a:gd name="connsiteX277" fmla="*/ 682178 w 923656"/>
                    <a:gd name="connsiteY277" fmla="*/ 901923 h 1466984"/>
                    <a:gd name="connsiteX278" fmla="*/ 679763 w 923656"/>
                    <a:gd name="connsiteY278" fmla="*/ 901320 h 1466984"/>
                    <a:gd name="connsiteX279" fmla="*/ 676745 w 923656"/>
                    <a:gd name="connsiteY279" fmla="*/ 894679 h 1466984"/>
                    <a:gd name="connsiteX280" fmla="*/ 677952 w 923656"/>
                    <a:gd name="connsiteY280" fmla="*/ 889849 h 1466984"/>
                    <a:gd name="connsiteX281" fmla="*/ 680970 w 923656"/>
                    <a:gd name="connsiteY281" fmla="*/ 887435 h 1466984"/>
                    <a:gd name="connsiteX282" fmla="*/ 687611 w 923656"/>
                    <a:gd name="connsiteY282" fmla="*/ 889246 h 1466984"/>
                    <a:gd name="connsiteX283" fmla="*/ 690630 w 923656"/>
                    <a:gd name="connsiteY283" fmla="*/ 891057 h 1466984"/>
                    <a:gd name="connsiteX284" fmla="*/ 691233 w 923656"/>
                    <a:gd name="connsiteY284" fmla="*/ 898301 h 1466984"/>
                    <a:gd name="connsiteX285" fmla="*/ 693648 w 923656"/>
                    <a:gd name="connsiteY285" fmla="*/ 899509 h 1466984"/>
                    <a:gd name="connsiteX286" fmla="*/ 698478 w 923656"/>
                    <a:gd name="connsiteY286" fmla="*/ 897094 h 1466984"/>
                    <a:gd name="connsiteX287" fmla="*/ 702704 w 923656"/>
                    <a:gd name="connsiteY287" fmla="*/ 901923 h 1466984"/>
                    <a:gd name="connsiteX288" fmla="*/ 700893 w 923656"/>
                    <a:gd name="connsiteY288" fmla="*/ 908564 h 1466984"/>
                    <a:gd name="connsiteX289" fmla="*/ 705118 w 923656"/>
                    <a:gd name="connsiteY289" fmla="*/ 920638 h 1466984"/>
                    <a:gd name="connsiteX290" fmla="*/ 702704 w 923656"/>
                    <a:gd name="connsiteY290" fmla="*/ 924864 h 1466984"/>
                    <a:gd name="connsiteX291" fmla="*/ 695459 w 923656"/>
                    <a:gd name="connsiteY291" fmla="*/ 922449 h 1466984"/>
                    <a:gd name="connsiteX292" fmla="*/ 679763 w 923656"/>
                    <a:gd name="connsiteY292" fmla="*/ 921846 h 1466984"/>
                    <a:gd name="connsiteX293" fmla="*/ 677348 w 923656"/>
                    <a:gd name="connsiteY293" fmla="*/ 929694 h 1466984"/>
                    <a:gd name="connsiteX294" fmla="*/ 671311 w 923656"/>
                    <a:gd name="connsiteY294" fmla="*/ 930901 h 1466984"/>
                    <a:gd name="connsiteX295" fmla="*/ 672519 w 923656"/>
                    <a:gd name="connsiteY295" fmla="*/ 934523 h 1466984"/>
                    <a:gd name="connsiteX296" fmla="*/ 679763 w 923656"/>
                    <a:gd name="connsiteY296" fmla="*/ 932108 h 1466984"/>
                    <a:gd name="connsiteX297" fmla="*/ 680970 w 923656"/>
                    <a:gd name="connsiteY297" fmla="*/ 935127 h 1466984"/>
                    <a:gd name="connsiteX298" fmla="*/ 677952 w 923656"/>
                    <a:gd name="connsiteY298" fmla="*/ 938145 h 1466984"/>
                    <a:gd name="connsiteX299" fmla="*/ 676141 w 923656"/>
                    <a:gd name="connsiteY299" fmla="*/ 941768 h 1466984"/>
                    <a:gd name="connsiteX300" fmla="*/ 671915 w 923656"/>
                    <a:gd name="connsiteY300" fmla="*/ 945994 h 1466984"/>
                    <a:gd name="connsiteX301" fmla="*/ 669500 w 923656"/>
                    <a:gd name="connsiteY301" fmla="*/ 945994 h 1466984"/>
                    <a:gd name="connsiteX302" fmla="*/ 667085 w 923656"/>
                    <a:gd name="connsiteY302" fmla="*/ 952031 h 1466984"/>
                    <a:gd name="connsiteX303" fmla="*/ 678556 w 923656"/>
                    <a:gd name="connsiteY303" fmla="*/ 955653 h 1466984"/>
                    <a:gd name="connsiteX304" fmla="*/ 676745 w 923656"/>
                    <a:gd name="connsiteY304" fmla="*/ 961086 h 1466984"/>
                    <a:gd name="connsiteX305" fmla="*/ 679159 w 923656"/>
                    <a:gd name="connsiteY305" fmla="*/ 962897 h 1466984"/>
                    <a:gd name="connsiteX306" fmla="*/ 686404 w 923656"/>
                    <a:gd name="connsiteY306" fmla="*/ 962293 h 1466984"/>
                    <a:gd name="connsiteX307" fmla="*/ 688215 w 923656"/>
                    <a:gd name="connsiteY307" fmla="*/ 964105 h 1466984"/>
                    <a:gd name="connsiteX308" fmla="*/ 688215 w 923656"/>
                    <a:gd name="connsiteY308" fmla="*/ 968934 h 1466984"/>
                    <a:gd name="connsiteX309" fmla="*/ 683989 w 923656"/>
                    <a:gd name="connsiteY309" fmla="*/ 970745 h 1466984"/>
                    <a:gd name="connsiteX310" fmla="*/ 685800 w 923656"/>
                    <a:gd name="connsiteY310" fmla="*/ 979800 h 1466984"/>
                    <a:gd name="connsiteX311" fmla="*/ 681574 w 923656"/>
                    <a:gd name="connsiteY311" fmla="*/ 982819 h 1466984"/>
                    <a:gd name="connsiteX312" fmla="*/ 680367 w 923656"/>
                    <a:gd name="connsiteY312" fmla="*/ 979197 h 1466984"/>
                    <a:gd name="connsiteX313" fmla="*/ 671311 w 923656"/>
                    <a:gd name="connsiteY313" fmla="*/ 979197 h 1466984"/>
                    <a:gd name="connsiteX314" fmla="*/ 670104 w 923656"/>
                    <a:gd name="connsiteY314" fmla="*/ 975575 h 1466984"/>
                    <a:gd name="connsiteX315" fmla="*/ 674330 w 923656"/>
                    <a:gd name="connsiteY315" fmla="*/ 969538 h 1466984"/>
                    <a:gd name="connsiteX316" fmla="*/ 670708 w 923656"/>
                    <a:gd name="connsiteY316" fmla="*/ 967727 h 1466984"/>
                    <a:gd name="connsiteX317" fmla="*/ 672519 w 923656"/>
                    <a:gd name="connsiteY317" fmla="*/ 961086 h 1466984"/>
                    <a:gd name="connsiteX318" fmla="*/ 668293 w 923656"/>
                    <a:gd name="connsiteY318" fmla="*/ 959879 h 1466984"/>
                    <a:gd name="connsiteX319" fmla="*/ 664067 w 923656"/>
                    <a:gd name="connsiteY319" fmla="*/ 952031 h 1466984"/>
                    <a:gd name="connsiteX320" fmla="*/ 662256 w 923656"/>
                    <a:gd name="connsiteY320" fmla="*/ 951427 h 1466984"/>
                    <a:gd name="connsiteX321" fmla="*/ 656823 w 923656"/>
                    <a:gd name="connsiteY321" fmla="*/ 955653 h 1466984"/>
                    <a:gd name="connsiteX322" fmla="*/ 655615 w 923656"/>
                    <a:gd name="connsiteY322" fmla="*/ 951427 h 1466984"/>
                    <a:gd name="connsiteX323" fmla="*/ 649578 w 923656"/>
                    <a:gd name="connsiteY323" fmla="*/ 955653 h 1466984"/>
                    <a:gd name="connsiteX324" fmla="*/ 639919 w 923656"/>
                    <a:gd name="connsiteY324" fmla="*/ 956860 h 1466984"/>
                    <a:gd name="connsiteX325" fmla="*/ 635089 w 923656"/>
                    <a:gd name="connsiteY325" fmla="*/ 955653 h 1466984"/>
                    <a:gd name="connsiteX326" fmla="*/ 631467 w 923656"/>
                    <a:gd name="connsiteY326" fmla="*/ 959275 h 1466984"/>
                    <a:gd name="connsiteX327" fmla="*/ 627241 w 923656"/>
                    <a:gd name="connsiteY327" fmla="*/ 957464 h 1466984"/>
                    <a:gd name="connsiteX328" fmla="*/ 624827 w 923656"/>
                    <a:gd name="connsiteY328" fmla="*/ 948408 h 1466984"/>
                    <a:gd name="connsiteX329" fmla="*/ 618186 w 923656"/>
                    <a:gd name="connsiteY329" fmla="*/ 949012 h 1466984"/>
                    <a:gd name="connsiteX330" fmla="*/ 613960 w 923656"/>
                    <a:gd name="connsiteY330" fmla="*/ 947201 h 1466984"/>
                    <a:gd name="connsiteX331" fmla="*/ 604301 w 923656"/>
                    <a:gd name="connsiteY331" fmla="*/ 945994 h 1466984"/>
                    <a:gd name="connsiteX332" fmla="*/ 604301 w 923656"/>
                    <a:gd name="connsiteY332" fmla="*/ 939353 h 1466984"/>
                    <a:gd name="connsiteX333" fmla="*/ 601886 w 923656"/>
                    <a:gd name="connsiteY333" fmla="*/ 937542 h 1466984"/>
                    <a:gd name="connsiteX334" fmla="*/ 603697 w 923656"/>
                    <a:gd name="connsiteY334" fmla="*/ 920638 h 1466984"/>
                    <a:gd name="connsiteX335" fmla="*/ 591020 w 923656"/>
                    <a:gd name="connsiteY335" fmla="*/ 920034 h 1466984"/>
                    <a:gd name="connsiteX336" fmla="*/ 587397 w 923656"/>
                    <a:gd name="connsiteY336" fmla="*/ 917016 h 1466984"/>
                    <a:gd name="connsiteX337" fmla="*/ 586794 w 923656"/>
                    <a:gd name="connsiteY337" fmla="*/ 921846 h 1466984"/>
                    <a:gd name="connsiteX338" fmla="*/ 582568 w 923656"/>
                    <a:gd name="connsiteY338" fmla="*/ 923657 h 1466984"/>
                    <a:gd name="connsiteX339" fmla="*/ 577135 w 923656"/>
                    <a:gd name="connsiteY339" fmla="*/ 923657 h 1466984"/>
                    <a:gd name="connsiteX340" fmla="*/ 575927 w 923656"/>
                    <a:gd name="connsiteY340" fmla="*/ 929090 h 1466984"/>
                    <a:gd name="connsiteX341" fmla="*/ 581360 w 923656"/>
                    <a:gd name="connsiteY341" fmla="*/ 931505 h 1466984"/>
                    <a:gd name="connsiteX342" fmla="*/ 583775 w 923656"/>
                    <a:gd name="connsiteY342" fmla="*/ 929694 h 1466984"/>
                    <a:gd name="connsiteX343" fmla="*/ 588001 w 923656"/>
                    <a:gd name="connsiteY343" fmla="*/ 933316 h 1466984"/>
                    <a:gd name="connsiteX344" fmla="*/ 589812 w 923656"/>
                    <a:gd name="connsiteY344" fmla="*/ 938749 h 1466984"/>
                    <a:gd name="connsiteX345" fmla="*/ 592831 w 923656"/>
                    <a:gd name="connsiteY345" fmla="*/ 939957 h 1466984"/>
                    <a:gd name="connsiteX346" fmla="*/ 594038 w 923656"/>
                    <a:gd name="connsiteY346" fmla="*/ 945994 h 1466984"/>
                    <a:gd name="connsiteX347" fmla="*/ 586794 w 923656"/>
                    <a:gd name="connsiteY347" fmla="*/ 947201 h 1466984"/>
                    <a:gd name="connsiteX348" fmla="*/ 585586 w 923656"/>
                    <a:gd name="connsiteY348" fmla="*/ 952634 h 1466984"/>
                    <a:gd name="connsiteX349" fmla="*/ 589209 w 923656"/>
                    <a:gd name="connsiteY349" fmla="*/ 955653 h 1466984"/>
                    <a:gd name="connsiteX350" fmla="*/ 594642 w 923656"/>
                    <a:gd name="connsiteY350" fmla="*/ 958068 h 1466984"/>
                    <a:gd name="connsiteX351" fmla="*/ 598264 w 923656"/>
                    <a:gd name="connsiteY351" fmla="*/ 961086 h 1466984"/>
                    <a:gd name="connsiteX352" fmla="*/ 597660 w 923656"/>
                    <a:gd name="connsiteY352" fmla="*/ 966519 h 1466984"/>
                    <a:gd name="connsiteX353" fmla="*/ 607319 w 923656"/>
                    <a:gd name="connsiteY353" fmla="*/ 973160 h 1466984"/>
                    <a:gd name="connsiteX354" fmla="*/ 607923 w 923656"/>
                    <a:gd name="connsiteY354" fmla="*/ 979197 h 1466984"/>
                    <a:gd name="connsiteX355" fmla="*/ 603093 w 923656"/>
                    <a:gd name="connsiteY355" fmla="*/ 979800 h 1466984"/>
                    <a:gd name="connsiteX356" fmla="*/ 600679 w 923656"/>
                    <a:gd name="connsiteY356" fmla="*/ 988856 h 1466984"/>
                    <a:gd name="connsiteX357" fmla="*/ 593434 w 923656"/>
                    <a:gd name="connsiteY357" fmla="*/ 997308 h 1466984"/>
                    <a:gd name="connsiteX358" fmla="*/ 596453 w 923656"/>
                    <a:gd name="connsiteY358" fmla="*/ 998515 h 1466984"/>
                    <a:gd name="connsiteX359" fmla="*/ 595849 w 923656"/>
                    <a:gd name="connsiteY359" fmla="*/ 1002741 h 1466984"/>
                    <a:gd name="connsiteX360" fmla="*/ 598264 w 923656"/>
                    <a:gd name="connsiteY360" fmla="*/ 1011796 h 1466984"/>
                    <a:gd name="connsiteX361" fmla="*/ 601886 w 923656"/>
                    <a:gd name="connsiteY361" fmla="*/ 1014211 h 1466984"/>
                    <a:gd name="connsiteX362" fmla="*/ 603697 w 923656"/>
                    <a:gd name="connsiteY362" fmla="*/ 1006363 h 1466984"/>
                    <a:gd name="connsiteX363" fmla="*/ 606716 w 923656"/>
                    <a:gd name="connsiteY363" fmla="*/ 1006363 h 1466984"/>
                    <a:gd name="connsiteX364" fmla="*/ 612149 w 923656"/>
                    <a:gd name="connsiteY364" fmla="*/ 1012400 h 1466984"/>
                    <a:gd name="connsiteX365" fmla="*/ 616375 w 923656"/>
                    <a:gd name="connsiteY365" fmla="*/ 1013004 h 1466984"/>
                    <a:gd name="connsiteX366" fmla="*/ 616375 w 923656"/>
                    <a:gd name="connsiteY366" fmla="*/ 1009382 h 1466984"/>
                    <a:gd name="connsiteX367" fmla="*/ 619393 w 923656"/>
                    <a:gd name="connsiteY367" fmla="*/ 1008174 h 1466984"/>
                    <a:gd name="connsiteX368" fmla="*/ 624827 w 923656"/>
                    <a:gd name="connsiteY368" fmla="*/ 1009985 h 1466984"/>
                    <a:gd name="connsiteX369" fmla="*/ 633882 w 923656"/>
                    <a:gd name="connsiteY369" fmla="*/ 1009382 h 1466984"/>
                    <a:gd name="connsiteX370" fmla="*/ 635089 w 923656"/>
                    <a:gd name="connsiteY370" fmla="*/ 1005759 h 1466984"/>
                    <a:gd name="connsiteX371" fmla="*/ 631467 w 923656"/>
                    <a:gd name="connsiteY371" fmla="*/ 999722 h 1466984"/>
                    <a:gd name="connsiteX372" fmla="*/ 633278 w 923656"/>
                    <a:gd name="connsiteY372" fmla="*/ 996100 h 1466984"/>
                    <a:gd name="connsiteX373" fmla="*/ 629656 w 923656"/>
                    <a:gd name="connsiteY373" fmla="*/ 992478 h 1466984"/>
                    <a:gd name="connsiteX374" fmla="*/ 625430 w 923656"/>
                    <a:gd name="connsiteY374" fmla="*/ 990667 h 1466984"/>
                    <a:gd name="connsiteX375" fmla="*/ 628449 w 923656"/>
                    <a:gd name="connsiteY375" fmla="*/ 987045 h 1466984"/>
                    <a:gd name="connsiteX376" fmla="*/ 633882 w 923656"/>
                    <a:gd name="connsiteY376" fmla="*/ 985837 h 1466984"/>
                    <a:gd name="connsiteX377" fmla="*/ 632071 w 923656"/>
                    <a:gd name="connsiteY377" fmla="*/ 978593 h 1466984"/>
                    <a:gd name="connsiteX378" fmla="*/ 636297 w 923656"/>
                    <a:gd name="connsiteY378" fmla="*/ 974971 h 1466984"/>
                    <a:gd name="connsiteX379" fmla="*/ 637504 w 923656"/>
                    <a:gd name="connsiteY379" fmla="*/ 977989 h 1466984"/>
                    <a:gd name="connsiteX380" fmla="*/ 635693 w 923656"/>
                    <a:gd name="connsiteY380" fmla="*/ 986441 h 1466984"/>
                    <a:gd name="connsiteX381" fmla="*/ 639315 w 923656"/>
                    <a:gd name="connsiteY381" fmla="*/ 987648 h 1466984"/>
                    <a:gd name="connsiteX382" fmla="*/ 645956 w 923656"/>
                    <a:gd name="connsiteY382" fmla="*/ 979197 h 1466984"/>
                    <a:gd name="connsiteX383" fmla="*/ 648975 w 923656"/>
                    <a:gd name="connsiteY383" fmla="*/ 979800 h 1466984"/>
                    <a:gd name="connsiteX384" fmla="*/ 651389 w 923656"/>
                    <a:gd name="connsiteY384" fmla="*/ 991271 h 1466984"/>
                    <a:gd name="connsiteX385" fmla="*/ 658634 w 923656"/>
                    <a:gd name="connsiteY385" fmla="*/ 990063 h 1466984"/>
                    <a:gd name="connsiteX386" fmla="*/ 662859 w 923656"/>
                    <a:gd name="connsiteY386" fmla="*/ 987648 h 1466984"/>
                    <a:gd name="connsiteX387" fmla="*/ 665878 w 923656"/>
                    <a:gd name="connsiteY387" fmla="*/ 994289 h 1466984"/>
                    <a:gd name="connsiteX388" fmla="*/ 672519 w 923656"/>
                    <a:gd name="connsiteY388" fmla="*/ 990063 h 1466984"/>
                    <a:gd name="connsiteX389" fmla="*/ 676745 w 923656"/>
                    <a:gd name="connsiteY389" fmla="*/ 993082 h 1466984"/>
                    <a:gd name="connsiteX390" fmla="*/ 687007 w 923656"/>
                    <a:gd name="connsiteY390" fmla="*/ 994289 h 1466984"/>
                    <a:gd name="connsiteX391" fmla="*/ 683989 w 923656"/>
                    <a:gd name="connsiteY391" fmla="*/ 999722 h 1466984"/>
                    <a:gd name="connsiteX392" fmla="*/ 688215 w 923656"/>
                    <a:gd name="connsiteY392" fmla="*/ 1002137 h 1466984"/>
                    <a:gd name="connsiteX393" fmla="*/ 692441 w 923656"/>
                    <a:gd name="connsiteY393" fmla="*/ 1002741 h 1466984"/>
                    <a:gd name="connsiteX394" fmla="*/ 694856 w 923656"/>
                    <a:gd name="connsiteY394" fmla="*/ 1011796 h 1466984"/>
                    <a:gd name="connsiteX395" fmla="*/ 693648 w 923656"/>
                    <a:gd name="connsiteY395" fmla="*/ 1018437 h 1466984"/>
                    <a:gd name="connsiteX396" fmla="*/ 691233 w 923656"/>
                    <a:gd name="connsiteY396" fmla="*/ 1022059 h 1466984"/>
                    <a:gd name="connsiteX397" fmla="*/ 692441 w 923656"/>
                    <a:gd name="connsiteY397" fmla="*/ 1026285 h 1466984"/>
                    <a:gd name="connsiteX398" fmla="*/ 697874 w 923656"/>
                    <a:gd name="connsiteY398" fmla="*/ 1025681 h 1466984"/>
                    <a:gd name="connsiteX399" fmla="*/ 698478 w 923656"/>
                    <a:gd name="connsiteY399" fmla="*/ 1020248 h 1466984"/>
                    <a:gd name="connsiteX400" fmla="*/ 703307 w 923656"/>
                    <a:gd name="connsiteY400" fmla="*/ 1020248 h 1466984"/>
                    <a:gd name="connsiteX401" fmla="*/ 706929 w 923656"/>
                    <a:gd name="connsiteY401" fmla="*/ 1023267 h 1466984"/>
                    <a:gd name="connsiteX402" fmla="*/ 708741 w 923656"/>
                    <a:gd name="connsiteY402" fmla="*/ 1019644 h 1466984"/>
                    <a:gd name="connsiteX403" fmla="*/ 706929 w 923656"/>
                    <a:gd name="connsiteY403" fmla="*/ 1011796 h 1466984"/>
                    <a:gd name="connsiteX404" fmla="*/ 711155 w 923656"/>
                    <a:gd name="connsiteY404" fmla="*/ 1011796 h 1466984"/>
                    <a:gd name="connsiteX405" fmla="*/ 712363 w 923656"/>
                    <a:gd name="connsiteY405" fmla="*/ 1016626 h 1466984"/>
                    <a:gd name="connsiteX406" fmla="*/ 719607 w 923656"/>
                    <a:gd name="connsiteY406" fmla="*/ 1014211 h 1466984"/>
                    <a:gd name="connsiteX407" fmla="*/ 722625 w 923656"/>
                    <a:gd name="connsiteY407" fmla="*/ 1011796 h 1466984"/>
                    <a:gd name="connsiteX408" fmla="*/ 726851 w 923656"/>
                    <a:gd name="connsiteY408" fmla="*/ 1014815 h 1466984"/>
                    <a:gd name="connsiteX409" fmla="*/ 726248 w 923656"/>
                    <a:gd name="connsiteY409" fmla="*/ 1008174 h 1466984"/>
                    <a:gd name="connsiteX410" fmla="*/ 733492 w 923656"/>
                    <a:gd name="connsiteY410" fmla="*/ 1004552 h 1466984"/>
                    <a:gd name="connsiteX411" fmla="*/ 737718 w 923656"/>
                    <a:gd name="connsiteY411" fmla="*/ 1004552 h 1466984"/>
                    <a:gd name="connsiteX412" fmla="*/ 737718 w 923656"/>
                    <a:gd name="connsiteY412" fmla="*/ 1009985 h 1466984"/>
                    <a:gd name="connsiteX413" fmla="*/ 743151 w 923656"/>
                    <a:gd name="connsiteY413" fmla="*/ 1007570 h 1466984"/>
                    <a:gd name="connsiteX414" fmla="*/ 746170 w 923656"/>
                    <a:gd name="connsiteY414" fmla="*/ 1013004 h 1466984"/>
                    <a:gd name="connsiteX415" fmla="*/ 746773 w 923656"/>
                    <a:gd name="connsiteY415" fmla="*/ 1001533 h 1466984"/>
                    <a:gd name="connsiteX416" fmla="*/ 749792 w 923656"/>
                    <a:gd name="connsiteY416" fmla="*/ 999119 h 1466984"/>
                    <a:gd name="connsiteX417" fmla="*/ 758244 w 923656"/>
                    <a:gd name="connsiteY417" fmla="*/ 997911 h 1466984"/>
                    <a:gd name="connsiteX418" fmla="*/ 759451 w 923656"/>
                    <a:gd name="connsiteY418" fmla="*/ 993082 h 1466984"/>
                    <a:gd name="connsiteX419" fmla="*/ 764884 w 923656"/>
                    <a:gd name="connsiteY419" fmla="*/ 991271 h 1466984"/>
                    <a:gd name="connsiteX420" fmla="*/ 770318 w 923656"/>
                    <a:gd name="connsiteY420" fmla="*/ 987045 h 1466984"/>
                    <a:gd name="connsiteX421" fmla="*/ 769110 w 923656"/>
                    <a:gd name="connsiteY421" fmla="*/ 981008 h 1466984"/>
                    <a:gd name="connsiteX422" fmla="*/ 766695 w 923656"/>
                    <a:gd name="connsiteY422" fmla="*/ 979800 h 1466984"/>
                    <a:gd name="connsiteX423" fmla="*/ 766092 w 923656"/>
                    <a:gd name="connsiteY423" fmla="*/ 974971 h 1466984"/>
                    <a:gd name="connsiteX424" fmla="*/ 767299 w 923656"/>
                    <a:gd name="connsiteY424" fmla="*/ 971952 h 1466984"/>
                    <a:gd name="connsiteX425" fmla="*/ 777562 w 923656"/>
                    <a:gd name="connsiteY425" fmla="*/ 972556 h 1466984"/>
                    <a:gd name="connsiteX426" fmla="*/ 782392 w 923656"/>
                    <a:gd name="connsiteY426" fmla="*/ 971952 h 1466984"/>
                    <a:gd name="connsiteX427" fmla="*/ 782995 w 923656"/>
                    <a:gd name="connsiteY427" fmla="*/ 976178 h 1466984"/>
                    <a:gd name="connsiteX428" fmla="*/ 787825 w 923656"/>
                    <a:gd name="connsiteY428" fmla="*/ 979197 h 1466984"/>
                    <a:gd name="connsiteX429" fmla="*/ 795673 w 923656"/>
                    <a:gd name="connsiteY429" fmla="*/ 972556 h 1466984"/>
                    <a:gd name="connsiteX430" fmla="*/ 798088 w 923656"/>
                    <a:gd name="connsiteY430" fmla="*/ 967727 h 1466984"/>
                    <a:gd name="connsiteX431" fmla="*/ 801106 w 923656"/>
                    <a:gd name="connsiteY431" fmla="*/ 968330 h 1466984"/>
                    <a:gd name="connsiteX432" fmla="*/ 800503 w 923656"/>
                    <a:gd name="connsiteY432" fmla="*/ 973160 h 1466984"/>
                    <a:gd name="connsiteX433" fmla="*/ 801106 w 923656"/>
                    <a:gd name="connsiteY433" fmla="*/ 979800 h 1466984"/>
                    <a:gd name="connsiteX434" fmla="*/ 795673 w 923656"/>
                    <a:gd name="connsiteY434" fmla="*/ 981612 h 1466984"/>
                    <a:gd name="connsiteX435" fmla="*/ 793862 w 923656"/>
                    <a:gd name="connsiteY435" fmla="*/ 984630 h 1466984"/>
                    <a:gd name="connsiteX436" fmla="*/ 795069 w 923656"/>
                    <a:gd name="connsiteY436" fmla="*/ 994289 h 1466984"/>
                    <a:gd name="connsiteX437" fmla="*/ 798691 w 923656"/>
                    <a:gd name="connsiteY437" fmla="*/ 995496 h 1466984"/>
                    <a:gd name="connsiteX438" fmla="*/ 802917 w 923656"/>
                    <a:gd name="connsiteY438" fmla="*/ 986441 h 1466984"/>
                    <a:gd name="connsiteX439" fmla="*/ 813784 w 923656"/>
                    <a:gd name="connsiteY439" fmla="*/ 988252 h 1466984"/>
                    <a:gd name="connsiteX440" fmla="*/ 814388 w 923656"/>
                    <a:gd name="connsiteY440" fmla="*/ 981008 h 1466984"/>
                    <a:gd name="connsiteX441" fmla="*/ 820424 w 923656"/>
                    <a:gd name="connsiteY441" fmla="*/ 984630 h 1466984"/>
                    <a:gd name="connsiteX442" fmla="*/ 821028 w 923656"/>
                    <a:gd name="connsiteY442" fmla="*/ 988252 h 1466984"/>
                    <a:gd name="connsiteX443" fmla="*/ 827669 w 923656"/>
                    <a:gd name="connsiteY443" fmla="*/ 988252 h 1466984"/>
                    <a:gd name="connsiteX444" fmla="*/ 830084 w 923656"/>
                    <a:gd name="connsiteY444" fmla="*/ 994893 h 1466984"/>
                    <a:gd name="connsiteX445" fmla="*/ 828272 w 923656"/>
                    <a:gd name="connsiteY445" fmla="*/ 999119 h 1466984"/>
                    <a:gd name="connsiteX446" fmla="*/ 830084 w 923656"/>
                    <a:gd name="connsiteY446" fmla="*/ 1004552 h 1466984"/>
                    <a:gd name="connsiteX447" fmla="*/ 828876 w 923656"/>
                    <a:gd name="connsiteY447" fmla="*/ 1007570 h 1466984"/>
                    <a:gd name="connsiteX448" fmla="*/ 823443 w 923656"/>
                    <a:gd name="connsiteY448" fmla="*/ 1013607 h 1466984"/>
                    <a:gd name="connsiteX449" fmla="*/ 828272 w 923656"/>
                    <a:gd name="connsiteY449" fmla="*/ 1018437 h 1466984"/>
                    <a:gd name="connsiteX450" fmla="*/ 827669 w 923656"/>
                    <a:gd name="connsiteY450" fmla="*/ 1024474 h 1466984"/>
                    <a:gd name="connsiteX451" fmla="*/ 823443 w 923656"/>
                    <a:gd name="connsiteY451" fmla="*/ 1025078 h 1466984"/>
                    <a:gd name="connsiteX452" fmla="*/ 819217 w 923656"/>
                    <a:gd name="connsiteY452" fmla="*/ 1023267 h 1466984"/>
                    <a:gd name="connsiteX453" fmla="*/ 819217 w 923656"/>
                    <a:gd name="connsiteY453" fmla="*/ 1028700 h 1466984"/>
                    <a:gd name="connsiteX454" fmla="*/ 822236 w 923656"/>
                    <a:gd name="connsiteY454" fmla="*/ 1031718 h 1466984"/>
                    <a:gd name="connsiteX455" fmla="*/ 822236 w 923656"/>
                    <a:gd name="connsiteY455" fmla="*/ 1034737 h 1466984"/>
                    <a:gd name="connsiteX456" fmla="*/ 827669 w 923656"/>
                    <a:gd name="connsiteY456" fmla="*/ 1032322 h 1466984"/>
                    <a:gd name="connsiteX457" fmla="*/ 836121 w 923656"/>
                    <a:gd name="connsiteY457" fmla="*/ 1031718 h 1466984"/>
                    <a:gd name="connsiteX458" fmla="*/ 838535 w 923656"/>
                    <a:gd name="connsiteY458" fmla="*/ 1032322 h 1466984"/>
                    <a:gd name="connsiteX459" fmla="*/ 839139 w 923656"/>
                    <a:gd name="connsiteY459" fmla="*/ 1037152 h 1466984"/>
                    <a:gd name="connsiteX460" fmla="*/ 845780 w 923656"/>
                    <a:gd name="connsiteY460" fmla="*/ 1038963 h 1466984"/>
                    <a:gd name="connsiteX461" fmla="*/ 845780 w 923656"/>
                    <a:gd name="connsiteY461" fmla="*/ 1043189 h 1466984"/>
                    <a:gd name="connsiteX462" fmla="*/ 842761 w 923656"/>
                    <a:gd name="connsiteY462" fmla="*/ 1046811 h 1466984"/>
                    <a:gd name="connsiteX463" fmla="*/ 844572 w 923656"/>
                    <a:gd name="connsiteY463" fmla="*/ 1051641 h 1466984"/>
                    <a:gd name="connsiteX464" fmla="*/ 848798 w 923656"/>
                    <a:gd name="connsiteY464" fmla="*/ 1046207 h 1466984"/>
                    <a:gd name="connsiteX465" fmla="*/ 853024 w 923656"/>
                    <a:gd name="connsiteY465" fmla="*/ 1045000 h 1466984"/>
                    <a:gd name="connsiteX466" fmla="*/ 857250 w 923656"/>
                    <a:gd name="connsiteY466" fmla="*/ 1047415 h 1466984"/>
                    <a:gd name="connsiteX467" fmla="*/ 870531 w 923656"/>
                    <a:gd name="connsiteY467" fmla="*/ 1045604 h 1466984"/>
                    <a:gd name="connsiteX468" fmla="*/ 876568 w 923656"/>
                    <a:gd name="connsiteY468" fmla="*/ 1046811 h 1466984"/>
                    <a:gd name="connsiteX469" fmla="*/ 884416 w 923656"/>
                    <a:gd name="connsiteY469" fmla="*/ 1046207 h 1466984"/>
                    <a:gd name="connsiteX470" fmla="*/ 888039 w 923656"/>
                    <a:gd name="connsiteY470" fmla="*/ 1049226 h 1466984"/>
                    <a:gd name="connsiteX471" fmla="*/ 885020 w 923656"/>
                    <a:gd name="connsiteY471" fmla="*/ 1056470 h 1466984"/>
                    <a:gd name="connsiteX472" fmla="*/ 881398 w 923656"/>
                    <a:gd name="connsiteY472" fmla="*/ 1064318 h 1466984"/>
                    <a:gd name="connsiteX473" fmla="*/ 880794 w 923656"/>
                    <a:gd name="connsiteY473" fmla="*/ 1073374 h 1466984"/>
                    <a:gd name="connsiteX474" fmla="*/ 882605 w 923656"/>
                    <a:gd name="connsiteY474" fmla="*/ 1086655 h 1466984"/>
                    <a:gd name="connsiteX475" fmla="*/ 878983 w 923656"/>
                    <a:gd name="connsiteY475" fmla="*/ 1093899 h 1466984"/>
                    <a:gd name="connsiteX476" fmla="*/ 888039 w 923656"/>
                    <a:gd name="connsiteY476" fmla="*/ 1098729 h 1466984"/>
                    <a:gd name="connsiteX477" fmla="*/ 886227 w 923656"/>
                    <a:gd name="connsiteY477" fmla="*/ 1104766 h 1466984"/>
                    <a:gd name="connsiteX478" fmla="*/ 891661 w 923656"/>
                    <a:gd name="connsiteY478" fmla="*/ 1102351 h 1466984"/>
                    <a:gd name="connsiteX479" fmla="*/ 894076 w 923656"/>
                    <a:gd name="connsiteY479" fmla="*/ 1102351 h 1466984"/>
                    <a:gd name="connsiteX480" fmla="*/ 895887 w 923656"/>
                    <a:gd name="connsiteY480" fmla="*/ 1105973 h 1466984"/>
                    <a:gd name="connsiteX481" fmla="*/ 901924 w 923656"/>
                    <a:gd name="connsiteY481" fmla="*/ 1103558 h 1466984"/>
                    <a:gd name="connsiteX482" fmla="*/ 902527 w 923656"/>
                    <a:gd name="connsiteY482" fmla="*/ 1107180 h 1466984"/>
                    <a:gd name="connsiteX483" fmla="*/ 909168 w 923656"/>
                    <a:gd name="connsiteY483" fmla="*/ 1110803 h 1466984"/>
                    <a:gd name="connsiteX484" fmla="*/ 913394 w 923656"/>
                    <a:gd name="connsiteY484" fmla="*/ 1115029 h 1466984"/>
                    <a:gd name="connsiteX485" fmla="*/ 914601 w 923656"/>
                    <a:gd name="connsiteY485" fmla="*/ 1110803 h 1466984"/>
                    <a:gd name="connsiteX486" fmla="*/ 922449 w 923656"/>
                    <a:gd name="connsiteY486" fmla="*/ 1111406 h 1466984"/>
                    <a:gd name="connsiteX487" fmla="*/ 924864 w 923656"/>
                    <a:gd name="connsiteY487" fmla="*/ 1113821 h 1466984"/>
                    <a:gd name="connsiteX488" fmla="*/ 921242 w 923656"/>
                    <a:gd name="connsiteY488" fmla="*/ 1119858 h 1466984"/>
                    <a:gd name="connsiteX489" fmla="*/ 920035 w 923656"/>
                    <a:gd name="connsiteY489" fmla="*/ 1128914 h 1466984"/>
                    <a:gd name="connsiteX490" fmla="*/ 923053 w 923656"/>
                    <a:gd name="connsiteY490" fmla="*/ 1136158 h 1466984"/>
                    <a:gd name="connsiteX491" fmla="*/ 917016 w 923656"/>
                    <a:gd name="connsiteY491" fmla="*/ 1137365 h 1466984"/>
                    <a:gd name="connsiteX492" fmla="*/ 916412 w 923656"/>
                    <a:gd name="connsiteY492" fmla="*/ 1141591 h 1466984"/>
                    <a:gd name="connsiteX493" fmla="*/ 910979 w 923656"/>
                    <a:gd name="connsiteY493" fmla="*/ 1144006 h 1466984"/>
                    <a:gd name="connsiteX494" fmla="*/ 911583 w 923656"/>
                    <a:gd name="connsiteY494" fmla="*/ 1151251 h 1466984"/>
                    <a:gd name="connsiteX495" fmla="*/ 908564 w 923656"/>
                    <a:gd name="connsiteY495" fmla="*/ 1154269 h 1466984"/>
                    <a:gd name="connsiteX496" fmla="*/ 909772 w 923656"/>
                    <a:gd name="connsiteY496" fmla="*/ 1157891 h 1466984"/>
                    <a:gd name="connsiteX497" fmla="*/ 901924 w 923656"/>
                    <a:gd name="connsiteY497" fmla="*/ 1160306 h 1466984"/>
                    <a:gd name="connsiteX498" fmla="*/ 898905 w 923656"/>
                    <a:gd name="connsiteY498" fmla="*/ 1162721 h 1466984"/>
                    <a:gd name="connsiteX499" fmla="*/ 898905 w 923656"/>
                    <a:gd name="connsiteY499" fmla="*/ 1166343 h 1466984"/>
                    <a:gd name="connsiteX500" fmla="*/ 900716 w 923656"/>
                    <a:gd name="connsiteY500" fmla="*/ 1173587 h 1466984"/>
                    <a:gd name="connsiteX501" fmla="*/ 900113 w 923656"/>
                    <a:gd name="connsiteY501" fmla="*/ 1177210 h 1466984"/>
                    <a:gd name="connsiteX502" fmla="*/ 892868 w 923656"/>
                    <a:gd name="connsiteY502" fmla="*/ 1176002 h 1466984"/>
                    <a:gd name="connsiteX503" fmla="*/ 892868 w 923656"/>
                    <a:gd name="connsiteY503" fmla="*/ 1185661 h 1466984"/>
                    <a:gd name="connsiteX504" fmla="*/ 895887 w 923656"/>
                    <a:gd name="connsiteY504" fmla="*/ 1190491 h 1466984"/>
                    <a:gd name="connsiteX505" fmla="*/ 891661 w 923656"/>
                    <a:gd name="connsiteY505" fmla="*/ 1192906 h 1466984"/>
                    <a:gd name="connsiteX506" fmla="*/ 885624 w 923656"/>
                    <a:gd name="connsiteY506" fmla="*/ 1189284 h 1466984"/>
                    <a:gd name="connsiteX507" fmla="*/ 883813 w 923656"/>
                    <a:gd name="connsiteY507" fmla="*/ 1191698 h 1466984"/>
                    <a:gd name="connsiteX508" fmla="*/ 877172 w 923656"/>
                    <a:gd name="connsiteY508" fmla="*/ 1184454 h 1466984"/>
                    <a:gd name="connsiteX509" fmla="*/ 873550 w 923656"/>
                    <a:gd name="connsiteY509" fmla="*/ 1192906 h 1466984"/>
                    <a:gd name="connsiteX510" fmla="*/ 871135 w 923656"/>
                    <a:gd name="connsiteY510" fmla="*/ 1191698 h 1466984"/>
                    <a:gd name="connsiteX511" fmla="*/ 868720 w 923656"/>
                    <a:gd name="connsiteY511" fmla="*/ 1197735 h 1466984"/>
                    <a:gd name="connsiteX512" fmla="*/ 868117 w 923656"/>
                    <a:gd name="connsiteY512" fmla="*/ 1201357 h 1466984"/>
                    <a:gd name="connsiteX513" fmla="*/ 859665 w 923656"/>
                    <a:gd name="connsiteY513" fmla="*/ 1199546 h 1466984"/>
                    <a:gd name="connsiteX514" fmla="*/ 855439 w 923656"/>
                    <a:gd name="connsiteY514" fmla="*/ 1201357 h 1466984"/>
                    <a:gd name="connsiteX515" fmla="*/ 855439 w 923656"/>
                    <a:gd name="connsiteY515" fmla="*/ 1209205 h 1466984"/>
                    <a:gd name="connsiteX516" fmla="*/ 853024 w 923656"/>
                    <a:gd name="connsiteY516" fmla="*/ 1219468 h 1466984"/>
                    <a:gd name="connsiteX517" fmla="*/ 851213 w 923656"/>
                    <a:gd name="connsiteY517" fmla="*/ 1221279 h 1466984"/>
                    <a:gd name="connsiteX518" fmla="*/ 840346 w 923656"/>
                    <a:gd name="connsiteY518" fmla="*/ 1218864 h 1466984"/>
                    <a:gd name="connsiteX519" fmla="*/ 838535 w 923656"/>
                    <a:gd name="connsiteY519" fmla="*/ 1220072 h 1466984"/>
                    <a:gd name="connsiteX520" fmla="*/ 830687 w 923656"/>
                    <a:gd name="connsiteY520" fmla="*/ 1217657 h 1466984"/>
                    <a:gd name="connsiteX521" fmla="*/ 829480 w 923656"/>
                    <a:gd name="connsiteY521" fmla="*/ 1214035 h 1466984"/>
                    <a:gd name="connsiteX522" fmla="*/ 823443 w 923656"/>
                    <a:gd name="connsiteY522" fmla="*/ 1211016 h 1466984"/>
                    <a:gd name="connsiteX523" fmla="*/ 819217 w 923656"/>
                    <a:gd name="connsiteY523" fmla="*/ 1204979 h 1466984"/>
                    <a:gd name="connsiteX524" fmla="*/ 810162 w 923656"/>
                    <a:gd name="connsiteY524" fmla="*/ 1202565 h 1466984"/>
                    <a:gd name="connsiteX525" fmla="*/ 804728 w 923656"/>
                    <a:gd name="connsiteY525" fmla="*/ 1208602 h 1466984"/>
                    <a:gd name="connsiteX526" fmla="*/ 801710 w 923656"/>
                    <a:gd name="connsiteY526" fmla="*/ 1209205 h 1466984"/>
                    <a:gd name="connsiteX527" fmla="*/ 796880 w 923656"/>
                    <a:gd name="connsiteY527" fmla="*/ 1203772 h 1466984"/>
                    <a:gd name="connsiteX528" fmla="*/ 793258 w 923656"/>
                    <a:gd name="connsiteY528" fmla="*/ 1205583 h 1466984"/>
                    <a:gd name="connsiteX529" fmla="*/ 792051 w 923656"/>
                    <a:gd name="connsiteY529" fmla="*/ 1208602 h 1466984"/>
                    <a:gd name="connsiteX530" fmla="*/ 787221 w 923656"/>
                    <a:gd name="connsiteY530" fmla="*/ 1206791 h 1466984"/>
                    <a:gd name="connsiteX531" fmla="*/ 788429 w 923656"/>
                    <a:gd name="connsiteY531" fmla="*/ 1201961 h 1466984"/>
                    <a:gd name="connsiteX532" fmla="*/ 790843 w 923656"/>
                    <a:gd name="connsiteY532" fmla="*/ 1200754 h 1466984"/>
                    <a:gd name="connsiteX533" fmla="*/ 788429 w 923656"/>
                    <a:gd name="connsiteY533" fmla="*/ 1195924 h 1466984"/>
                    <a:gd name="connsiteX534" fmla="*/ 782392 w 923656"/>
                    <a:gd name="connsiteY534" fmla="*/ 1197132 h 1466984"/>
                    <a:gd name="connsiteX535" fmla="*/ 781788 w 923656"/>
                    <a:gd name="connsiteY535" fmla="*/ 1198943 h 1466984"/>
                    <a:gd name="connsiteX536" fmla="*/ 769714 w 923656"/>
                    <a:gd name="connsiteY536" fmla="*/ 1198943 h 1466984"/>
                    <a:gd name="connsiteX537" fmla="*/ 769110 w 923656"/>
                    <a:gd name="connsiteY537" fmla="*/ 1200754 h 1466984"/>
                    <a:gd name="connsiteX538" fmla="*/ 761262 w 923656"/>
                    <a:gd name="connsiteY538" fmla="*/ 1205583 h 1466984"/>
                    <a:gd name="connsiteX539" fmla="*/ 764884 w 923656"/>
                    <a:gd name="connsiteY539" fmla="*/ 1207394 h 1466984"/>
                    <a:gd name="connsiteX540" fmla="*/ 761866 w 923656"/>
                    <a:gd name="connsiteY540" fmla="*/ 1215242 h 1466984"/>
                    <a:gd name="connsiteX541" fmla="*/ 758847 w 923656"/>
                    <a:gd name="connsiteY541" fmla="*/ 1220072 h 1466984"/>
                    <a:gd name="connsiteX542" fmla="*/ 761262 w 923656"/>
                    <a:gd name="connsiteY542" fmla="*/ 1223090 h 1466984"/>
                    <a:gd name="connsiteX543" fmla="*/ 755829 w 923656"/>
                    <a:gd name="connsiteY543" fmla="*/ 1226713 h 1466984"/>
                    <a:gd name="connsiteX544" fmla="*/ 757036 w 923656"/>
                    <a:gd name="connsiteY544" fmla="*/ 1229731 h 1466984"/>
                    <a:gd name="connsiteX545" fmla="*/ 754622 w 923656"/>
                    <a:gd name="connsiteY545" fmla="*/ 1235164 h 1466984"/>
                    <a:gd name="connsiteX546" fmla="*/ 749792 w 923656"/>
                    <a:gd name="connsiteY546" fmla="*/ 1236372 h 1466984"/>
                    <a:gd name="connsiteX547" fmla="*/ 747981 w 923656"/>
                    <a:gd name="connsiteY547" fmla="*/ 1240598 h 1466984"/>
                    <a:gd name="connsiteX548" fmla="*/ 744962 w 923656"/>
                    <a:gd name="connsiteY548" fmla="*/ 1238183 h 1466984"/>
                    <a:gd name="connsiteX549" fmla="*/ 743151 w 923656"/>
                    <a:gd name="connsiteY549" fmla="*/ 1243012 h 1466984"/>
                    <a:gd name="connsiteX550" fmla="*/ 737114 w 923656"/>
                    <a:gd name="connsiteY550" fmla="*/ 1243012 h 1466984"/>
                    <a:gd name="connsiteX551" fmla="*/ 737718 w 923656"/>
                    <a:gd name="connsiteY551" fmla="*/ 1238787 h 1466984"/>
                    <a:gd name="connsiteX552" fmla="*/ 734699 w 923656"/>
                    <a:gd name="connsiteY552" fmla="*/ 1238183 h 1466984"/>
                    <a:gd name="connsiteX553" fmla="*/ 721418 w 923656"/>
                    <a:gd name="connsiteY553" fmla="*/ 1241805 h 1466984"/>
                    <a:gd name="connsiteX554" fmla="*/ 720814 w 923656"/>
                    <a:gd name="connsiteY554" fmla="*/ 1244824 h 1466984"/>
                    <a:gd name="connsiteX555" fmla="*/ 722625 w 923656"/>
                    <a:gd name="connsiteY555" fmla="*/ 1249653 h 1466984"/>
                    <a:gd name="connsiteX556" fmla="*/ 719607 w 923656"/>
                    <a:gd name="connsiteY556" fmla="*/ 1252672 h 1466984"/>
                    <a:gd name="connsiteX557" fmla="*/ 719607 w 923656"/>
                    <a:gd name="connsiteY557" fmla="*/ 1256898 h 1466984"/>
                    <a:gd name="connsiteX558" fmla="*/ 717192 w 923656"/>
                    <a:gd name="connsiteY558" fmla="*/ 1262935 h 1466984"/>
                    <a:gd name="connsiteX559" fmla="*/ 719003 w 923656"/>
                    <a:gd name="connsiteY559" fmla="*/ 1273197 h 1466984"/>
                    <a:gd name="connsiteX560" fmla="*/ 724437 w 923656"/>
                    <a:gd name="connsiteY560" fmla="*/ 1274405 h 1466984"/>
                    <a:gd name="connsiteX561" fmla="*/ 723833 w 923656"/>
                    <a:gd name="connsiteY561" fmla="*/ 1276820 h 1466984"/>
                    <a:gd name="connsiteX562" fmla="*/ 718400 w 923656"/>
                    <a:gd name="connsiteY562" fmla="*/ 1281649 h 1466984"/>
                    <a:gd name="connsiteX563" fmla="*/ 722625 w 923656"/>
                    <a:gd name="connsiteY563" fmla="*/ 1282253 h 1466984"/>
                    <a:gd name="connsiteX564" fmla="*/ 726851 w 923656"/>
                    <a:gd name="connsiteY564" fmla="*/ 1278027 h 1466984"/>
                    <a:gd name="connsiteX565" fmla="*/ 728662 w 923656"/>
                    <a:gd name="connsiteY565" fmla="*/ 1279838 h 1466984"/>
                    <a:gd name="connsiteX566" fmla="*/ 726851 w 923656"/>
                    <a:gd name="connsiteY566" fmla="*/ 1294931 h 1466984"/>
                    <a:gd name="connsiteX567" fmla="*/ 724437 w 923656"/>
                    <a:gd name="connsiteY567" fmla="*/ 1305797 h 1466984"/>
                    <a:gd name="connsiteX568" fmla="*/ 716588 w 923656"/>
                    <a:gd name="connsiteY568" fmla="*/ 1311834 h 1466984"/>
                    <a:gd name="connsiteX569" fmla="*/ 714174 w 923656"/>
                    <a:gd name="connsiteY569" fmla="*/ 1317871 h 1466984"/>
                    <a:gd name="connsiteX570" fmla="*/ 706326 w 923656"/>
                    <a:gd name="connsiteY570" fmla="*/ 1323304 h 1466984"/>
                    <a:gd name="connsiteX571" fmla="*/ 701496 w 923656"/>
                    <a:gd name="connsiteY571" fmla="*/ 1322700 h 1466984"/>
                    <a:gd name="connsiteX572" fmla="*/ 696667 w 923656"/>
                    <a:gd name="connsiteY572" fmla="*/ 1325115 h 1466984"/>
                    <a:gd name="connsiteX573" fmla="*/ 694856 w 923656"/>
                    <a:gd name="connsiteY573" fmla="*/ 1330548 h 1466984"/>
                    <a:gd name="connsiteX574" fmla="*/ 697270 w 923656"/>
                    <a:gd name="connsiteY574" fmla="*/ 1332963 h 1466984"/>
                    <a:gd name="connsiteX575" fmla="*/ 695459 w 923656"/>
                    <a:gd name="connsiteY575" fmla="*/ 1337793 h 1466984"/>
                    <a:gd name="connsiteX576" fmla="*/ 699081 w 923656"/>
                    <a:gd name="connsiteY576" fmla="*/ 1340208 h 1466984"/>
                    <a:gd name="connsiteX577" fmla="*/ 705118 w 923656"/>
                    <a:gd name="connsiteY577" fmla="*/ 1341415 h 1466984"/>
                    <a:gd name="connsiteX578" fmla="*/ 710552 w 923656"/>
                    <a:gd name="connsiteY578" fmla="*/ 1339604 h 1466984"/>
                    <a:gd name="connsiteX579" fmla="*/ 714174 w 923656"/>
                    <a:gd name="connsiteY579" fmla="*/ 1340811 h 1466984"/>
                    <a:gd name="connsiteX580" fmla="*/ 724437 w 923656"/>
                    <a:gd name="connsiteY580" fmla="*/ 1339000 h 1466984"/>
                    <a:gd name="connsiteX581" fmla="*/ 729266 w 923656"/>
                    <a:gd name="connsiteY581" fmla="*/ 1341415 h 1466984"/>
                    <a:gd name="connsiteX582" fmla="*/ 734699 w 923656"/>
                    <a:gd name="connsiteY582" fmla="*/ 1340811 h 1466984"/>
                    <a:gd name="connsiteX583" fmla="*/ 749188 w 923656"/>
                    <a:gd name="connsiteY583" fmla="*/ 1345037 h 1466984"/>
                    <a:gd name="connsiteX584" fmla="*/ 752207 w 923656"/>
                    <a:gd name="connsiteY584" fmla="*/ 1349263 h 1466984"/>
                    <a:gd name="connsiteX585" fmla="*/ 752207 w 923656"/>
                    <a:gd name="connsiteY585" fmla="*/ 1352885 h 1466984"/>
                    <a:gd name="connsiteX586" fmla="*/ 757640 w 923656"/>
                    <a:gd name="connsiteY586" fmla="*/ 1357111 h 1466984"/>
                    <a:gd name="connsiteX587" fmla="*/ 753414 w 923656"/>
                    <a:gd name="connsiteY587" fmla="*/ 1365563 h 1466984"/>
                    <a:gd name="connsiteX588" fmla="*/ 747981 w 923656"/>
                    <a:gd name="connsiteY588" fmla="*/ 1369185 h 1466984"/>
                    <a:gd name="connsiteX589" fmla="*/ 741944 w 923656"/>
                    <a:gd name="connsiteY589" fmla="*/ 1378241 h 1466984"/>
                    <a:gd name="connsiteX590" fmla="*/ 736511 w 923656"/>
                    <a:gd name="connsiteY590" fmla="*/ 1390315 h 1466984"/>
                    <a:gd name="connsiteX591" fmla="*/ 736511 w 923656"/>
                    <a:gd name="connsiteY591" fmla="*/ 1393333 h 1466984"/>
                    <a:gd name="connsiteX592" fmla="*/ 731077 w 923656"/>
                    <a:gd name="connsiteY592" fmla="*/ 1392730 h 1466984"/>
                    <a:gd name="connsiteX593" fmla="*/ 717796 w 923656"/>
                    <a:gd name="connsiteY593" fmla="*/ 1396352 h 1466984"/>
                    <a:gd name="connsiteX594" fmla="*/ 712363 w 923656"/>
                    <a:gd name="connsiteY594" fmla="*/ 1395144 h 1466984"/>
                    <a:gd name="connsiteX595" fmla="*/ 707533 w 923656"/>
                    <a:gd name="connsiteY595" fmla="*/ 1396955 h 1466984"/>
                    <a:gd name="connsiteX596" fmla="*/ 700893 w 923656"/>
                    <a:gd name="connsiteY596" fmla="*/ 1395144 h 1466984"/>
                    <a:gd name="connsiteX597" fmla="*/ 697874 w 923656"/>
                    <a:gd name="connsiteY597" fmla="*/ 1403596 h 1466984"/>
                    <a:gd name="connsiteX598" fmla="*/ 693044 w 923656"/>
                    <a:gd name="connsiteY598" fmla="*/ 1403596 h 1466984"/>
                    <a:gd name="connsiteX599" fmla="*/ 693648 w 923656"/>
                    <a:gd name="connsiteY599" fmla="*/ 1414462 h 1466984"/>
                    <a:gd name="connsiteX600" fmla="*/ 688215 w 923656"/>
                    <a:gd name="connsiteY600" fmla="*/ 1428347 h 1466984"/>
                    <a:gd name="connsiteX601" fmla="*/ 684593 w 923656"/>
                    <a:gd name="connsiteY601" fmla="*/ 1430762 h 1466984"/>
                    <a:gd name="connsiteX602" fmla="*/ 678556 w 923656"/>
                    <a:gd name="connsiteY602" fmla="*/ 1427744 h 1466984"/>
                    <a:gd name="connsiteX603" fmla="*/ 673122 w 923656"/>
                    <a:gd name="connsiteY603" fmla="*/ 1427140 h 1466984"/>
                    <a:gd name="connsiteX604" fmla="*/ 670708 w 923656"/>
                    <a:gd name="connsiteY604" fmla="*/ 1430158 h 1466984"/>
                    <a:gd name="connsiteX605" fmla="*/ 667085 w 923656"/>
                    <a:gd name="connsiteY605" fmla="*/ 1431366 h 1466984"/>
                    <a:gd name="connsiteX606" fmla="*/ 658634 w 923656"/>
                    <a:gd name="connsiteY606" fmla="*/ 1422914 h 1466984"/>
                    <a:gd name="connsiteX607" fmla="*/ 656823 w 923656"/>
                    <a:gd name="connsiteY607" fmla="*/ 1424725 h 1466984"/>
                    <a:gd name="connsiteX608" fmla="*/ 649578 w 923656"/>
                    <a:gd name="connsiteY608" fmla="*/ 1422310 h 1466984"/>
                    <a:gd name="connsiteX609" fmla="*/ 646560 w 923656"/>
                    <a:gd name="connsiteY609" fmla="*/ 1425933 h 1466984"/>
                    <a:gd name="connsiteX610" fmla="*/ 638712 w 923656"/>
                    <a:gd name="connsiteY610" fmla="*/ 1425933 h 1466984"/>
                    <a:gd name="connsiteX611" fmla="*/ 633882 w 923656"/>
                    <a:gd name="connsiteY611" fmla="*/ 1427744 h 1466984"/>
                    <a:gd name="connsiteX612" fmla="*/ 627845 w 923656"/>
                    <a:gd name="connsiteY612" fmla="*/ 1428347 h 1466984"/>
                    <a:gd name="connsiteX613" fmla="*/ 623015 w 923656"/>
                    <a:gd name="connsiteY613" fmla="*/ 1430762 h 1466984"/>
                    <a:gd name="connsiteX614" fmla="*/ 619393 w 923656"/>
                    <a:gd name="connsiteY614" fmla="*/ 1438610 h 1466984"/>
                    <a:gd name="connsiteX615" fmla="*/ 615167 w 923656"/>
                    <a:gd name="connsiteY615" fmla="*/ 1438610 h 1466984"/>
                    <a:gd name="connsiteX616" fmla="*/ 609734 w 923656"/>
                    <a:gd name="connsiteY616" fmla="*/ 1431366 h 1466984"/>
                    <a:gd name="connsiteX617" fmla="*/ 607923 w 923656"/>
                    <a:gd name="connsiteY617" fmla="*/ 1427140 h 1466984"/>
                    <a:gd name="connsiteX618" fmla="*/ 600679 w 923656"/>
                    <a:gd name="connsiteY618" fmla="*/ 1421707 h 1466984"/>
                    <a:gd name="connsiteX619" fmla="*/ 594642 w 923656"/>
                    <a:gd name="connsiteY619" fmla="*/ 1424725 h 1466984"/>
                    <a:gd name="connsiteX620" fmla="*/ 591020 w 923656"/>
                    <a:gd name="connsiteY620" fmla="*/ 1430158 h 1466984"/>
                    <a:gd name="connsiteX621" fmla="*/ 588001 w 923656"/>
                    <a:gd name="connsiteY621" fmla="*/ 1426536 h 1466984"/>
                    <a:gd name="connsiteX622" fmla="*/ 578946 w 923656"/>
                    <a:gd name="connsiteY622" fmla="*/ 1425933 h 1466984"/>
                    <a:gd name="connsiteX623" fmla="*/ 576531 w 923656"/>
                    <a:gd name="connsiteY623" fmla="*/ 1429555 h 1466984"/>
                    <a:gd name="connsiteX624" fmla="*/ 575323 w 923656"/>
                    <a:gd name="connsiteY624" fmla="*/ 1438610 h 1466984"/>
                    <a:gd name="connsiteX625" fmla="*/ 569286 w 923656"/>
                    <a:gd name="connsiteY625" fmla="*/ 1444044 h 1466984"/>
                    <a:gd name="connsiteX626" fmla="*/ 564457 w 923656"/>
                    <a:gd name="connsiteY626" fmla="*/ 1454306 h 1466984"/>
                    <a:gd name="connsiteX627" fmla="*/ 564457 w 923656"/>
                    <a:gd name="connsiteY627" fmla="*/ 1458532 h 1466984"/>
                    <a:gd name="connsiteX628" fmla="*/ 568683 w 923656"/>
                    <a:gd name="connsiteY628" fmla="*/ 1463966 h 1466984"/>
                    <a:gd name="connsiteX629" fmla="*/ 565664 w 923656"/>
                    <a:gd name="connsiteY629" fmla="*/ 1468192 h 1466984"/>
                    <a:gd name="connsiteX630" fmla="*/ 562042 w 923656"/>
                    <a:gd name="connsiteY630" fmla="*/ 1465173 h 1466984"/>
                    <a:gd name="connsiteX631" fmla="*/ 548157 w 923656"/>
                    <a:gd name="connsiteY631" fmla="*/ 1463362 h 1466984"/>
                    <a:gd name="connsiteX632" fmla="*/ 522198 w 923656"/>
                    <a:gd name="connsiteY632" fmla="*/ 1463966 h 1466984"/>
                    <a:gd name="connsiteX633" fmla="*/ 518576 w 923656"/>
                    <a:gd name="connsiteY633" fmla="*/ 1464569 h 1466984"/>
                    <a:gd name="connsiteX634" fmla="*/ 507709 w 923656"/>
                    <a:gd name="connsiteY634" fmla="*/ 1462155 h 1466984"/>
                    <a:gd name="connsiteX635" fmla="*/ 504691 w 923656"/>
                    <a:gd name="connsiteY635" fmla="*/ 1450081 h 1466984"/>
                    <a:gd name="connsiteX636" fmla="*/ 497446 w 923656"/>
                    <a:gd name="connsiteY636" fmla="*/ 1444044 h 1466984"/>
                    <a:gd name="connsiteX637" fmla="*/ 491409 w 923656"/>
                    <a:gd name="connsiteY637" fmla="*/ 1448269 h 1466984"/>
                    <a:gd name="connsiteX638" fmla="*/ 486580 w 923656"/>
                    <a:gd name="connsiteY638" fmla="*/ 1453099 h 1466984"/>
                    <a:gd name="connsiteX639" fmla="*/ 480543 w 923656"/>
                    <a:gd name="connsiteY639" fmla="*/ 1451892 h 1466984"/>
                    <a:gd name="connsiteX640" fmla="*/ 478128 w 923656"/>
                    <a:gd name="connsiteY640" fmla="*/ 1451288 h 1466984"/>
                    <a:gd name="connsiteX641" fmla="*/ 476317 w 923656"/>
                    <a:gd name="connsiteY641" fmla="*/ 1447062 h 1466984"/>
                    <a:gd name="connsiteX642" fmla="*/ 476317 w 923656"/>
                    <a:gd name="connsiteY642" fmla="*/ 1442232 h 1466984"/>
                    <a:gd name="connsiteX643" fmla="*/ 479939 w 923656"/>
                    <a:gd name="connsiteY643" fmla="*/ 1439214 h 1466984"/>
                    <a:gd name="connsiteX644" fmla="*/ 476921 w 923656"/>
                    <a:gd name="connsiteY644" fmla="*/ 1433177 h 1466984"/>
                    <a:gd name="connsiteX645" fmla="*/ 470280 w 923656"/>
                    <a:gd name="connsiteY645" fmla="*/ 1436195 h 1466984"/>
                    <a:gd name="connsiteX646" fmla="*/ 466658 w 923656"/>
                    <a:gd name="connsiteY646" fmla="*/ 1434988 h 1466984"/>
                    <a:gd name="connsiteX647" fmla="*/ 462432 w 923656"/>
                    <a:gd name="connsiteY647" fmla="*/ 1437403 h 1466984"/>
                    <a:gd name="connsiteX648" fmla="*/ 457602 w 923656"/>
                    <a:gd name="connsiteY648" fmla="*/ 1434384 h 1466984"/>
                    <a:gd name="connsiteX649" fmla="*/ 455188 w 923656"/>
                    <a:gd name="connsiteY649" fmla="*/ 1427744 h 1466984"/>
                    <a:gd name="connsiteX650" fmla="*/ 452169 w 923656"/>
                    <a:gd name="connsiteY650" fmla="*/ 1425933 h 1466984"/>
                    <a:gd name="connsiteX651" fmla="*/ 450358 w 923656"/>
                    <a:gd name="connsiteY651" fmla="*/ 1422310 h 1466984"/>
                    <a:gd name="connsiteX652" fmla="*/ 443717 w 923656"/>
                    <a:gd name="connsiteY652" fmla="*/ 1423518 h 1466984"/>
                    <a:gd name="connsiteX653" fmla="*/ 438284 w 923656"/>
                    <a:gd name="connsiteY653" fmla="*/ 1422310 h 1466984"/>
                    <a:gd name="connsiteX654" fmla="*/ 435869 w 923656"/>
                    <a:gd name="connsiteY654" fmla="*/ 1418688 h 1466984"/>
                    <a:gd name="connsiteX655" fmla="*/ 435266 w 923656"/>
                    <a:gd name="connsiteY655" fmla="*/ 1412048 h 1466984"/>
                    <a:gd name="connsiteX656" fmla="*/ 431644 w 923656"/>
                    <a:gd name="connsiteY656" fmla="*/ 1409029 h 1466984"/>
                    <a:gd name="connsiteX657" fmla="*/ 421984 w 923656"/>
                    <a:gd name="connsiteY657" fmla="*/ 1410237 h 1466984"/>
                    <a:gd name="connsiteX658" fmla="*/ 419570 w 923656"/>
                    <a:gd name="connsiteY658" fmla="*/ 1413255 h 1466984"/>
                    <a:gd name="connsiteX659" fmla="*/ 415947 w 923656"/>
                    <a:gd name="connsiteY659" fmla="*/ 1412048 h 1466984"/>
                    <a:gd name="connsiteX660" fmla="*/ 415947 w 923656"/>
                    <a:gd name="connsiteY660" fmla="*/ 1386693 h 1466984"/>
                    <a:gd name="connsiteX661" fmla="*/ 408703 w 923656"/>
                    <a:gd name="connsiteY661" fmla="*/ 1388504 h 1466984"/>
                    <a:gd name="connsiteX662" fmla="*/ 399647 w 923656"/>
                    <a:gd name="connsiteY662" fmla="*/ 1394541 h 1466984"/>
                    <a:gd name="connsiteX663" fmla="*/ 388781 w 923656"/>
                    <a:gd name="connsiteY663" fmla="*/ 1396352 h 1466984"/>
                    <a:gd name="connsiteX664" fmla="*/ 382744 w 923656"/>
                    <a:gd name="connsiteY664" fmla="*/ 1394541 h 1466984"/>
                    <a:gd name="connsiteX665" fmla="*/ 379122 w 923656"/>
                    <a:gd name="connsiteY665" fmla="*/ 1395144 h 1466984"/>
                    <a:gd name="connsiteX666" fmla="*/ 368255 w 923656"/>
                    <a:gd name="connsiteY666" fmla="*/ 1392730 h 1466984"/>
                    <a:gd name="connsiteX667" fmla="*/ 362822 w 923656"/>
                    <a:gd name="connsiteY667" fmla="*/ 1389711 h 1466984"/>
                    <a:gd name="connsiteX668" fmla="*/ 357389 w 923656"/>
                    <a:gd name="connsiteY668" fmla="*/ 1383674 h 1466984"/>
                    <a:gd name="connsiteX669" fmla="*/ 357992 w 923656"/>
                    <a:gd name="connsiteY669" fmla="*/ 1380052 h 1466984"/>
                    <a:gd name="connsiteX670" fmla="*/ 351955 w 923656"/>
                    <a:gd name="connsiteY670" fmla="*/ 1374015 h 1466984"/>
                    <a:gd name="connsiteX671" fmla="*/ 351352 w 923656"/>
                    <a:gd name="connsiteY671" fmla="*/ 1364959 h 1466984"/>
                    <a:gd name="connsiteX672" fmla="*/ 344711 w 923656"/>
                    <a:gd name="connsiteY672" fmla="*/ 1363752 h 1466984"/>
                    <a:gd name="connsiteX673" fmla="*/ 335052 w 923656"/>
                    <a:gd name="connsiteY673" fmla="*/ 1367374 h 1466984"/>
                    <a:gd name="connsiteX674" fmla="*/ 334448 w 923656"/>
                    <a:gd name="connsiteY674" fmla="*/ 1365563 h 1466984"/>
                    <a:gd name="connsiteX675" fmla="*/ 333241 w 923656"/>
                    <a:gd name="connsiteY675" fmla="*/ 1363148 h 1466984"/>
                    <a:gd name="connsiteX676" fmla="*/ 331430 w 923656"/>
                    <a:gd name="connsiteY676" fmla="*/ 1361941 h 1466984"/>
                    <a:gd name="connsiteX677" fmla="*/ 330222 w 923656"/>
                    <a:gd name="connsiteY677" fmla="*/ 1358922 h 1466984"/>
                    <a:gd name="connsiteX678" fmla="*/ 325997 w 923656"/>
                    <a:gd name="connsiteY678" fmla="*/ 1361337 h 1466984"/>
                    <a:gd name="connsiteX679" fmla="*/ 324185 w 923656"/>
                    <a:gd name="connsiteY679" fmla="*/ 1361337 h 1466984"/>
                    <a:gd name="connsiteX680" fmla="*/ 319960 w 923656"/>
                    <a:gd name="connsiteY680" fmla="*/ 1355300 h 1466984"/>
                    <a:gd name="connsiteX681" fmla="*/ 319960 w 923656"/>
                    <a:gd name="connsiteY681" fmla="*/ 1352885 h 1466984"/>
                    <a:gd name="connsiteX682" fmla="*/ 318752 w 923656"/>
                    <a:gd name="connsiteY682" fmla="*/ 1351074 h 1466984"/>
                    <a:gd name="connsiteX683" fmla="*/ 316941 w 923656"/>
                    <a:gd name="connsiteY683" fmla="*/ 1350471 h 1466984"/>
                    <a:gd name="connsiteX684" fmla="*/ 316337 w 923656"/>
                    <a:gd name="connsiteY684" fmla="*/ 1349867 h 1466984"/>
                    <a:gd name="connsiteX685" fmla="*/ 312715 w 923656"/>
                    <a:gd name="connsiteY685" fmla="*/ 1349263 h 1466984"/>
                    <a:gd name="connsiteX686" fmla="*/ 309697 w 923656"/>
                    <a:gd name="connsiteY686" fmla="*/ 1349867 h 1466984"/>
                    <a:gd name="connsiteX687" fmla="*/ 309093 w 923656"/>
                    <a:gd name="connsiteY687" fmla="*/ 1350471 h 1466984"/>
                    <a:gd name="connsiteX688" fmla="*/ 307282 w 923656"/>
                    <a:gd name="connsiteY688" fmla="*/ 1348659 h 1466984"/>
                    <a:gd name="connsiteX689" fmla="*/ 303660 w 923656"/>
                    <a:gd name="connsiteY689" fmla="*/ 1345037 h 1466984"/>
                    <a:gd name="connsiteX690" fmla="*/ 300641 w 923656"/>
                    <a:gd name="connsiteY690" fmla="*/ 1341415 h 1466984"/>
                    <a:gd name="connsiteX691" fmla="*/ 299434 w 923656"/>
                    <a:gd name="connsiteY691" fmla="*/ 1340208 h 1466984"/>
                    <a:gd name="connsiteX692" fmla="*/ 298830 w 923656"/>
                    <a:gd name="connsiteY692" fmla="*/ 1339604 h 1466984"/>
                    <a:gd name="connsiteX693" fmla="*/ 297019 w 923656"/>
                    <a:gd name="connsiteY693" fmla="*/ 1338397 h 1466984"/>
                    <a:gd name="connsiteX694" fmla="*/ 298226 w 923656"/>
                    <a:gd name="connsiteY694" fmla="*/ 1336585 h 1466984"/>
                    <a:gd name="connsiteX695" fmla="*/ 295812 w 923656"/>
                    <a:gd name="connsiteY695" fmla="*/ 1334171 h 1466984"/>
                    <a:gd name="connsiteX696" fmla="*/ 295208 w 923656"/>
                    <a:gd name="connsiteY696" fmla="*/ 1332360 h 1466984"/>
                    <a:gd name="connsiteX697" fmla="*/ 294604 w 923656"/>
                    <a:gd name="connsiteY697" fmla="*/ 1331152 h 1466984"/>
                    <a:gd name="connsiteX698" fmla="*/ 294604 w 923656"/>
                    <a:gd name="connsiteY698" fmla="*/ 1330548 h 1466984"/>
                    <a:gd name="connsiteX699" fmla="*/ 292793 w 923656"/>
                    <a:gd name="connsiteY699" fmla="*/ 1327530 h 1466984"/>
                    <a:gd name="connsiteX700" fmla="*/ 292793 w 923656"/>
                    <a:gd name="connsiteY700" fmla="*/ 1326926 h 1466984"/>
                    <a:gd name="connsiteX701" fmla="*/ 290982 w 923656"/>
                    <a:gd name="connsiteY701" fmla="*/ 1325115 h 1466984"/>
                    <a:gd name="connsiteX702" fmla="*/ 289171 w 923656"/>
                    <a:gd name="connsiteY702" fmla="*/ 1324511 h 1466984"/>
                    <a:gd name="connsiteX703" fmla="*/ 288567 w 923656"/>
                    <a:gd name="connsiteY703" fmla="*/ 1323908 h 1466984"/>
                    <a:gd name="connsiteX704" fmla="*/ 286756 w 923656"/>
                    <a:gd name="connsiteY704" fmla="*/ 1320286 h 1466984"/>
                    <a:gd name="connsiteX705" fmla="*/ 283738 w 923656"/>
                    <a:gd name="connsiteY705" fmla="*/ 1317871 h 1466984"/>
                    <a:gd name="connsiteX706" fmla="*/ 278304 w 923656"/>
                    <a:gd name="connsiteY706" fmla="*/ 1319078 h 1466984"/>
                    <a:gd name="connsiteX707" fmla="*/ 275890 w 923656"/>
                    <a:gd name="connsiteY707" fmla="*/ 1319078 h 1466984"/>
                    <a:gd name="connsiteX708" fmla="*/ 273475 w 923656"/>
                    <a:gd name="connsiteY708" fmla="*/ 1320286 h 1466984"/>
                    <a:gd name="connsiteX709" fmla="*/ 275890 w 923656"/>
                    <a:gd name="connsiteY709" fmla="*/ 1317267 h 1466984"/>
                    <a:gd name="connsiteX710" fmla="*/ 274682 w 923656"/>
                    <a:gd name="connsiteY710" fmla="*/ 1315456 h 1466984"/>
                    <a:gd name="connsiteX711" fmla="*/ 272267 w 923656"/>
                    <a:gd name="connsiteY711" fmla="*/ 1309419 h 1466984"/>
                    <a:gd name="connsiteX712" fmla="*/ 272871 w 923656"/>
                    <a:gd name="connsiteY712" fmla="*/ 1307608 h 1466984"/>
                    <a:gd name="connsiteX713" fmla="*/ 274079 w 923656"/>
                    <a:gd name="connsiteY713" fmla="*/ 1303986 h 1466984"/>
                    <a:gd name="connsiteX714" fmla="*/ 273475 w 923656"/>
                    <a:gd name="connsiteY714" fmla="*/ 1302175 h 1466984"/>
                    <a:gd name="connsiteX715" fmla="*/ 270456 w 923656"/>
                    <a:gd name="connsiteY715" fmla="*/ 1301571 h 1466984"/>
                    <a:gd name="connsiteX716" fmla="*/ 269853 w 923656"/>
                    <a:gd name="connsiteY716" fmla="*/ 1300967 h 1466984"/>
                    <a:gd name="connsiteX717" fmla="*/ 268645 w 923656"/>
                    <a:gd name="connsiteY717" fmla="*/ 1300364 h 1466984"/>
                    <a:gd name="connsiteX718" fmla="*/ 265627 w 923656"/>
                    <a:gd name="connsiteY718" fmla="*/ 1298553 h 1466984"/>
                    <a:gd name="connsiteX719" fmla="*/ 262608 w 923656"/>
                    <a:gd name="connsiteY719" fmla="*/ 1294327 h 1466984"/>
                    <a:gd name="connsiteX720" fmla="*/ 263212 w 923656"/>
                    <a:gd name="connsiteY720" fmla="*/ 1286479 h 1466984"/>
                    <a:gd name="connsiteX721" fmla="*/ 262608 w 923656"/>
                    <a:gd name="connsiteY721" fmla="*/ 1285271 h 1466984"/>
                    <a:gd name="connsiteX722" fmla="*/ 268042 w 923656"/>
                    <a:gd name="connsiteY722" fmla="*/ 1286479 h 1466984"/>
                    <a:gd name="connsiteX723" fmla="*/ 270456 w 923656"/>
                    <a:gd name="connsiteY723" fmla="*/ 1285875 h 1466984"/>
                    <a:gd name="connsiteX724" fmla="*/ 272871 w 923656"/>
                    <a:gd name="connsiteY724" fmla="*/ 1284668 h 1466984"/>
                    <a:gd name="connsiteX725" fmla="*/ 274682 w 923656"/>
                    <a:gd name="connsiteY725" fmla="*/ 1282253 h 1466984"/>
                    <a:gd name="connsiteX726" fmla="*/ 272871 w 923656"/>
                    <a:gd name="connsiteY726" fmla="*/ 1275612 h 1466984"/>
                    <a:gd name="connsiteX727" fmla="*/ 270456 w 923656"/>
                    <a:gd name="connsiteY727" fmla="*/ 1276820 h 1466984"/>
                    <a:gd name="connsiteX728" fmla="*/ 269249 w 923656"/>
                    <a:gd name="connsiteY728" fmla="*/ 1275612 h 1466984"/>
                    <a:gd name="connsiteX729" fmla="*/ 266834 w 923656"/>
                    <a:gd name="connsiteY729" fmla="*/ 1276820 h 1466984"/>
                    <a:gd name="connsiteX730" fmla="*/ 265627 w 923656"/>
                    <a:gd name="connsiteY730" fmla="*/ 1276820 h 1466984"/>
                    <a:gd name="connsiteX731" fmla="*/ 265023 w 923656"/>
                    <a:gd name="connsiteY731" fmla="*/ 1278027 h 1466984"/>
                    <a:gd name="connsiteX732" fmla="*/ 264419 w 923656"/>
                    <a:gd name="connsiteY732" fmla="*/ 1279838 h 1466984"/>
                    <a:gd name="connsiteX733" fmla="*/ 260797 w 923656"/>
                    <a:gd name="connsiteY733" fmla="*/ 1284064 h 1466984"/>
                    <a:gd name="connsiteX734" fmla="*/ 257779 w 923656"/>
                    <a:gd name="connsiteY734" fmla="*/ 1284064 h 1466984"/>
                    <a:gd name="connsiteX735" fmla="*/ 257779 w 923656"/>
                    <a:gd name="connsiteY735" fmla="*/ 1282253 h 1466984"/>
                    <a:gd name="connsiteX736" fmla="*/ 256571 w 923656"/>
                    <a:gd name="connsiteY736" fmla="*/ 1278027 h 1466984"/>
                    <a:gd name="connsiteX737" fmla="*/ 253553 w 923656"/>
                    <a:gd name="connsiteY737" fmla="*/ 1276820 h 1466984"/>
                    <a:gd name="connsiteX738" fmla="*/ 249931 w 923656"/>
                    <a:gd name="connsiteY738" fmla="*/ 1275612 h 1466984"/>
                    <a:gd name="connsiteX739" fmla="*/ 249931 w 923656"/>
                    <a:gd name="connsiteY739" fmla="*/ 1271386 h 1466984"/>
                    <a:gd name="connsiteX740" fmla="*/ 245101 w 923656"/>
                    <a:gd name="connsiteY740" fmla="*/ 1271386 h 1466984"/>
                    <a:gd name="connsiteX741" fmla="*/ 243290 w 923656"/>
                    <a:gd name="connsiteY741" fmla="*/ 1263538 h 1466984"/>
                    <a:gd name="connsiteX742" fmla="*/ 247516 w 923656"/>
                    <a:gd name="connsiteY742" fmla="*/ 1259312 h 1466984"/>
                    <a:gd name="connsiteX743" fmla="*/ 252345 w 923656"/>
                    <a:gd name="connsiteY743" fmla="*/ 1260520 h 1466984"/>
                    <a:gd name="connsiteX744" fmla="*/ 249327 w 923656"/>
                    <a:gd name="connsiteY744" fmla="*/ 1253879 h 1466984"/>
                    <a:gd name="connsiteX745" fmla="*/ 244497 w 923656"/>
                    <a:gd name="connsiteY745" fmla="*/ 1251464 h 1466984"/>
                    <a:gd name="connsiteX746" fmla="*/ 236649 w 923656"/>
                    <a:gd name="connsiteY746" fmla="*/ 1261123 h 1466984"/>
                    <a:gd name="connsiteX747" fmla="*/ 231216 w 923656"/>
                    <a:gd name="connsiteY747" fmla="*/ 1259312 h 1466984"/>
                    <a:gd name="connsiteX748" fmla="*/ 230612 w 923656"/>
                    <a:gd name="connsiteY748" fmla="*/ 1254483 h 1466984"/>
                    <a:gd name="connsiteX749" fmla="*/ 228197 w 923656"/>
                    <a:gd name="connsiteY749" fmla="*/ 1252672 h 1466984"/>
                    <a:gd name="connsiteX750" fmla="*/ 228801 w 923656"/>
                    <a:gd name="connsiteY750" fmla="*/ 1248446 h 1466984"/>
                    <a:gd name="connsiteX751" fmla="*/ 225179 w 923656"/>
                    <a:gd name="connsiteY751" fmla="*/ 1247842 h 1466984"/>
                    <a:gd name="connsiteX752" fmla="*/ 219142 w 923656"/>
                    <a:gd name="connsiteY752" fmla="*/ 1249653 h 1466984"/>
                    <a:gd name="connsiteX753" fmla="*/ 218538 w 923656"/>
                    <a:gd name="connsiteY753" fmla="*/ 1244824 h 1466984"/>
                    <a:gd name="connsiteX754" fmla="*/ 220349 w 923656"/>
                    <a:gd name="connsiteY754" fmla="*/ 1239994 h 1466984"/>
                    <a:gd name="connsiteX755" fmla="*/ 217331 w 923656"/>
                    <a:gd name="connsiteY755" fmla="*/ 1238183 h 1466984"/>
                    <a:gd name="connsiteX756" fmla="*/ 210690 w 923656"/>
                    <a:gd name="connsiteY756" fmla="*/ 1237579 h 1466984"/>
                    <a:gd name="connsiteX757" fmla="*/ 208879 w 923656"/>
                    <a:gd name="connsiteY757" fmla="*/ 1234561 h 1466984"/>
                    <a:gd name="connsiteX758" fmla="*/ 204653 w 923656"/>
                    <a:gd name="connsiteY758" fmla="*/ 1234561 h 1466984"/>
                    <a:gd name="connsiteX759" fmla="*/ 204653 w 923656"/>
                    <a:gd name="connsiteY759" fmla="*/ 1239994 h 1466984"/>
                    <a:gd name="connsiteX760" fmla="*/ 201635 w 923656"/>
                    <a:gd name="connsiteY760" fmla="*/ 1241805 h 1466984"/>
                    <a:gd name="connsiteX761" fmla="*/ 197409 w 923656"/>
                    <a:gd name="connsiteY761" fmla="*/ 1241201 h 1466984"/>
                    <a:gd name="connsiteX762" fmla="*/ 196805 w 923656"/>
                    <a:gd name="connsiteY762" fmla="*/ 1235164 h 1466984"/>
                    <a:gd name="connsiteX763" fmla="*/ 197409 w 923656"/>
                    <a:gd name="connsiteY763" fmla="*/ 1229731 h 1466984"/>
                    <a:gd name="connsiteX764" fmla="*/ 194994 w 923656"/>
                    <a:gd name="connsiteY764" fmla="*/ 1228524 h 1466984"/>
                    <a:gd name="connsiteX765" fmla="*/ 187750 w 923656"/>
                    <a:gd name="connsiteY765" fmla="*/ 1229731 h 1466984"/>
                    <a:gd name="connsiteX766" fmla="*/ 185335 w 923656"/>
                    <a:gd name="connsiteY766" fmla="*/ 1224298 h 1466984"/>
                    <a:gd name="connsiteX767" fmla="*/ 188957 w 923656"/>
                    <a:gd name="connsiteY767" fmla="*/ 1220072 h 1466984"/>
                    <a:gd name="connsiteX768" fmla="*/ 188354 w 923656"/>
                    <a:gd name="connsiteY768" fmla="*/ 1214639 h 1466984"/>
                    <a:gd name="connsiteX769" fmla="*/ 181109 w 923656"/>
                    <a:gd name="connsiteY769" fmla="*/ 1217053 h 1466984"/>
                    <a:gd name="connsiteX770" fmla="*/ 178091 w 923656"/>
                    <a:gd name="connsiteY770" fmla="*/ 1215846 h 1466984"/>
                    <a:gd name="connsiteX771" fmla="*/ 165413 w 923656"/>
                    <a:gd name="connsiteY771" fmla="*/ 1220676 h 1466984"/>
                    <a:gd name="connsiteX772" fmla="*/ 159980 w 923656"/>
                    <a:gd name="connsiteY772" fmla="*/ 1221279 h 1466984"/>
                    <a:gd name="connsiteX773" fmla="*/ 155150 w 923656"/>
                    <a:gd name="connsiteY773" fmla="*/ 1212224 h 1466984"/>
                    <a:gd name="connsiteX774" fmla="*/ 152132 w 923656"/>
                    <a:gd name="connsiteY774" fmla="*/ 1201961 h 1466984"/>
                    <a:gd name="connsiteX775" fmla="*/ 150321 w 923656"/>
                    <a:gd name="connsiteY775" fmla="*/ 1200150 h 1466984"/>
                    <a:gd name="connsiteX776" fmla="*/ 145491 w 923656"/>
                    <a:gd name="connsiteY776" fmla="*/ 1174795 h 1466984"/>
                    <a:gd name="connsiteX777" fmla="*/ 141869 w 923656"/>
                    <a:gd name="connsiteY777" fmla="*/ 1157891 h 1466984"/>
                    <a:gd name="connsiteX778" fmla="*/ 142472 w 923656"/>
                    <a:gd name="connsiteY778" fmla="*/ 1155476 h 1466984"/>
                    <a:gd name="connsiteX779" fmla="*/ 140058 w 923656"/>
                    <a:gd name="connsiteY779" fmla="*/ 1148836 h 1466984"/>
                    <a:gd name="connsiteX780" fmla="*/ 137643 w 923656"/>
                    <a:gd name="connsiteY780" fmla="*/ 1137365 h 1466984"/>
                    <a:gd name="connsiteX781" fmla="*/ 132813 w 923656"/>
                    <a:gd name="connsiteY781" fmla="*/ 1121669 h 1466984"/>
                    <a:gd name="connsiteX782" fmla="*/ 130399 w 923656"/>
                    <a:gd name="connsiteY782" fmla="*/ 1110199 h 1466984"/>
                    <a:gd name="connsiteX783" fmla="*/ 130399 w 923656"/>
                    <a:gd name="connsiteY783" fmla="*/ 1105369 h 1466984"/>
                    <a:gd name="connsiteX784" fmla="*/ 128587 w 923656"/>
                    <a:gd name="connsiteY784" fmla="*/ 1098125 h 1466984"/>
                    <a:gd name="connsiteX785" fmla="*/ 124965 w 923656"/>
                    <a:gd name="connsiteY785" fmla="*/ 1094503 h 1466984"/>
                    <a:gd name="connsiteX786" fmla="*/ 124362 w 923656"/>
                    <a:gd name="connsiteY786" fmla="*/ 1072770 h 1466984"/>
                    <a:gd name="connsiteX787" fmla="*/ 123758 w 923656"/>
                    <a:gd name="connsiteY787" fmla="*/ 1071563 h 1466984"/>
                    <a:gd name="connsiteX788" fmla="*/ 121343 w 923656"/>
                    <a:gd name="connsiteY788" fmla="*/ 1052848 h 1466984"/>
                    <a:gd name="connsiteX789" fmla="*/ 117721 w 923656"/>
                    <a:gd name="connsiteY789" fmla="*/ 1030511 h 1466984"/>
                    <a:gd name="connsiteX790" fmla="*/ 114099 w 923656"/>
                    <a:gd name="connsiteY790" fmla="*/ 1023870 h 1466984"/>
                    <a:gd name="connsiteX791" fmla="*/ 112288 w 923656"/>
                    <a:gd name="connsiteY791" fmla="*/ 1011193 h 1466984"/>
                    <a:gd name="connsiteX792" fmla="*/ 106854 w 923656"/>
                    <a:gd name="connsiteY792" fmla="*/ 986441 h 1466984"/>
                    <a:gd name="connsiteX793" fmla="*/ 103836 w 923656"/>
                    <a:gd name="connsiteY793" fmla="*/ 981008 h 1466984"/>
                    <a:gd name="connsiteX794" fmla="*/ 103232 w 923656"/>
                    <a:gd name="connsiteY794" fmla="*/ 976782 h 1466984"/>
                    <a:gd name="connsiteX795" fmla="*/ 97799 w 923656"/>
                    <a:gd name="connsiteY795" fmla="*/ 967727 h 1466984"/>
                    <a:gd name="connsiteX796" fmla="*/ 94177 w 923656"/>
                    <a:gd name="connsiteY796" fmla="*/ 967727 h 1466984"/>
                    <a:gd name="connsiteX797" fmla="*/ 87536 w 923656"/>
                    <a:gd name="connsiteY797" fmla="*/ 959879 h 1466984"/>
                    <a:gd name="connsiteX798" fmla="*/ 84518 w 923656"/>
                    <a:gd name="connsiteY798" fmla="*/ 952634 h 1466984"/>
                    <a:gd name="connsiteX799" fmla="*/ 83914 w 923656"/>
                    <a:gd name="connsiteY799" fmla="*/ 946597 h 1466984"/>
                    <a:gd name="connsiteX800" fmla="*/ 81499 w 923656"/>
                    <a:gd name="connsiteY800" fmla="*/ 938749 h 1466984"/>
                    <a:gd name="connsiteX801" fmla="*/ 81499 w 923656"/>
                    <a:gd name="connsiteY801" fmla="*/ 933920 h 1466984"/>
                    <a:gd name="connsiteX802" fmla="*/ 77273 w 923656"/>
                    <a:gd name="connsiteY802" fmla="*/ 915205 h 1466984"/>
                    <a:gd name="connsiteX803" fmla="*/ 74858 w 923656"/>
                    <a:gd name="connsiteY803" fmla="*/ 914601 h 1466984"/>
                    <a:gd name="connsiteX804" fmla="*/ 66407 w 923656"/>
                    <a:gd name="connsiteY804" fmla="*/ 889849 h 1466984"/>
                    <a:gd name="connsiteX805" fmla="*/ 64596 w 923656"/>
                    <a:gd name="connsiteY805" fmla="*/ 877776 h 1466984"/>
                    <a:gd name="connsiteX806" fmla="*/ 62181 w 923656"/>
                    <a:gd name="connsiteY806" fmla="*/ 868117 h 1466984"/>
                    <a:gd name="connsiteX807" fmla="*/ 55540 w 923656"/>
                    <a:gd name="connsiteY807" fmla="*/ 850609 h 1466984"/>
                    <a:gd name="connsiteX808" fmla="*/ 55540 w 923656"/>
                    <a:gd name="connsiteY808" fmla="*/ 846384 h 1466984"/>
                    <a:gd name="connsiteX809" fmla="*/ 60973 w 923656"/>
                    <a:gd name="connsiteY809" fmla="*/ 840950 h 1466984"/>
                    <a:gd name="connsiteX810" fmla="*/ 57351 w 923656"/>
                    <a:gd name="connsiteY810" fmla="*/ 838535 h 1466984"/>
                    <a:gd name="connsiteX811" fmla="*/ 53729 w 923656"/>
                    <a:gd name="connsiteY811" fmla="*/ 842158 h 1466984"/>
                    <a:gd name="connsiteX812" fmla="*/ 54333 w 923656"/>
                    <a:gd name="connsiteY812" fmla="*/ 846384 h 1466984"/>
                    <a:gd name="connsiteX813" fmla="*/ 46485 w 923656"/>
                    <a:gd name="connsiteY813" fmla="*/ 846987 h 1466984"/>
                    <a:gd name="connsiteX814" fmla="*/ 45277 w 923656"/>
                    <a:gd name="connsiteY814" fmla="*/ 839743 h 1466984"/>
                    <a:gd name="connsiteX815" fmla="*/ 37429 w 923656"/>
                    <a:gd name="connsiteY815" fmla="*/ 824047 h 1466984"/>
                    <a:gd name="connsiteX816" fmla="*/ 39844 w 923656"/>
                    <a:gd name="connsiteY816" fmla="*/ 822839 h 1466984"/>
                    <a:gd name="connsiteX817" fmla="*/ 38637 w 923656"/>
                    <a:gd name="connsiteY817" fmla="*/ 816802 h 1466984"/>
                    <a:gd name="connsiteX818" fmla="*/ 39240 w 923656"/>
                    <a:gd name="connsiteY818" fmla="*/ 813180 h 1466984"/>
                    <a:gd name="connsiteX819" fmla="*/ 32600 w 923656"/>
                    <a:gd name="connsiteY819" fmla="*/ 799899 h 1466984"/>
                    <a:gd name="connsiteX820" fmla="*/ 30185 w 923656"/>
                    <a:gd name="connsiteY820" fmla="*/ 798088 h 1466984"/>
                    <a:gd name="connsiteX821" fmla="*/ 21733 w 923656"/>
                    <a:gd name="connsiteY821" fmla="*/ 802917 h 1466984"/>
                    <a:gd name="connsiteX822" fmla="*/ 18111 w 923656"/>
                    <a:gd name="connsiteY822" fmla="*/ 797484 h 1466984"/>
                    <a:gd name="connsiteX823" fmla="*/ 13885 w 923656"/>
                    <a:gd name="connsiteY823" fmla="*/ 796276 h 1466984"/>
                    <a:gd name="connsiteX824" fmla="*/ 10866 w 923656"/>
                    <a:gd name="connsiteY824" fmla="*/ 791447 h 1466984"/>
                    <a:gd name="connsiteX825" fmla="*/ 3622 w 923656"/>
                    <a:gd name="connsiteY825" fmla="*/ 790239 h 1466984"/>
                    <a:gd name="connsiteX826" fmla="*/ 0 w 923656"/>
                    <a:gd name="connsiteY826" fmla="*/ 786014 h 1466984"/>
                    <a:gd name="connsiteX827" fmla="*/ 7244 w 923656"/>
                    <a:gd name="connsiteY827" fmla="*/ 783599 h 1466984"/>
                    <a:gd name="connsiteX828" fmla="*/ 6641 w 923656"/>
                    <a:gd name="connsiteY828" fmla="*/ 778769 h 1466984"/>
                    <a:gd name="connsiteX829" fmla="*/ 1811 w 923656"/>
                    <a:gd name="connsiteY829" fmla="*/ 769714 h 1466984"/>
                    <a:gd name="connsiteX830" fmla="*/ 2415 w 923656"/>
                    <a:gd name="connsiteY830" fmla="*/ 764884 h 1466984"/>
                    <a:gd name="connsiteX831" fmla="*/ 8452 w 923656"/>
                    <a:gd name="connsiteY831" fmla="*/ 762469 h 1466984"/>
                    <a:gd name="connsiteX832" fmla="*/ 11470 w 923656"/>
                    <a:gd name="connsiteY832" fmla="*/ 761866 h 1466984"/>
                    <a:gd name="connsiteX833" fmla="*/ 17507 w 923656"/>
                    <a:gd name="connsiteY833" fmla="*/ 763677 h 1466984"/>
                    <a:gd name="connsiteX834" fmla="*/ 17507 w 923656"/>
                    <a:gd name="connsiteY834" fmla="*/ 761866 h 1466984"/>
                    <a:gd name="connsiteX835" fmla="*/ 15092 w 923656"/>
                    <a:gd name="connsiteY835" fmla="*/ 757640 h 1466984"/>
                    <a:gd name="connsiteX836" fmla="*/ 16300 w 923656"/>
                    <a:gd name="connsiteY836" fmla="*/ 756433 h 1466984"/>
                    <a:gd name="connsiteX837" fmla="*/ 16300 w 923656"/>
                    <a:gd name="connsiteY837" fmla="*/ 755225 h 1466984"/>
                    <a:gd name="connsiteX838" fmla="*/ 19318 w 923656"/>
                    <a:gd name="connsiteY838" fmla="*/ 754018 h 1466984"/>
                    <a:gd name="connsiteX839" fmla="*/ 21733 w 923656"/>
                    <a:gd name="connsiteY839" fmla="*/ 756433 h 1466984"/>
                    <a:gd name="connsiteX840" fmla="*/ 22940 w 923656"/>
                    <a:gd name="connsiteY840" fmla="*/ 757640 h 1466984"/>
                    <a:gd name="connsiteX841" fmla="*/ 22940 w 923656"/>
                    <a:gd name="connsiteY841" fmla="*/ 759451 h 1466984"/>
                    <a:gd name="connsiteX842" fmla="*/ 26563 w 923656"/>
                    <a:gd name="connsiteY842" fmla="*/ 758847 h 1466984"/>
                    <a:gd name="connsiteX843" fmla="*/ 30789 w 923656"/>
                    <a:gd name="connsiteY843" fmla="*/ 755829 h 1466984"/>
                    <a:gd name="connsiteX844" fmla="*/ 31392 w 923656"/>
                    <a:gd name="connsiteY844" fmla="*/ 753414 h 1466984"/>
                    <a:gd name="connsiteX845" fmla="*/ 32600 w 923656"/>
                    <a:gd name="connsiteY845" fmla="*/ 752810 h 1466984"/>
                    <a:gd name="connsiteX846" fmla="*/ 35014 w 923656"/>
                    <a:gd name="connsiteY846" fmla="*/ 753414 h 1466984"/>
                    <a:gd name="connsiteX847" fmla="*/ 36222 w 923656"/>
                    <a:gd name="connsiteY847" fmla="*/ 751603 h 1466984"/>
                    <a:gd name="connsiteX848" fmla="*/ 37429 w 923656"/>
                    <a:gd name="connsiteY848" fmla="*/ 749792 h 1466984"/>
                    <a:gd name="connsiteX849" fmla="*/ 37429 w 923656"/>
                    <a:gd name="connsiteY849" fmla="*/ 744962 h 1466984"/>
                    <a:gd name="connsiteX850" fmla="*/ 36825 w 923656"/>
                    <a:gd name="connsiteY850" fmla="*/ 744359 h 1466984"/>
                    <a:gd name="connsiteX851" fmla="*/ 39240 w 923656"/>
                    <a:gd name="connsiteY851" fmla="*/ 740737 h 1466984"/>
                    <a:gd name="connsiteX852" fmla="*/ 41051 w 923656"/>
                    <a:gd name="connsiteY852" fmla="*/ 739529 h 1466984"/>
                    <a:gd name="connsiteX853" fmla="*/ 40448 w 923656"/>
                    <a:gd name="connsiteY853" fmla="*/ 737718 h 1466984"/>
                    <a:gd name="connsiteX854" fmla="*/ 43466 w 923656"/>
                    <a:gd name="connsiteY854" fmla="*/ 735907 h 1466984"/>
                    <a:gd name="connsiteX855" fmla="*/ 40448 w 923656"/>
                    <a:gd name="connsiteY855" fmla="*/ 729266 h 1466984"/>
                    <a:gd name="connsiteX856" fmla="*/ 39240 w 923656"/>
                    <a:gd name="connsiteY856" fmla="*/ 722626 h 1466984"/>
                    <a:gd name="connsiteX857" fmla="*/ 41655 w 923656"/>
                    <a:gd name="connsiteY857" fmla="*/ 718400 h 1466984"/>
                    <a:gd name="connsiteX858" fmla="*/ 41051 w 923656"/>
                    <a:gd name="connsiteY858" fmla="*/ 713570 h 1466984"/>
                    <a:gd name="connsiteX859" fmla="*/ 45277 w 923656"/>
                    <a:gd name="connsiteY859" fmla="*/ 709344 h 1466984"/>
                    <a:gd name="connsiteX860" fmla="*/ 47692 w 923656"/>
                    <a:gd name="connsiteY860" fmla="*/ 705118 h 1466984"/>
                    <a:gd name="connsiteX861" fmla="*/ 43466 w 923656"/>
                    <a:gd name="connsiteY861" fmla="*/ 695459 h 1466984"/>
                    <a:gd name="connsiteX862" fmla="*/ 35618 w 923656"/>
                    <a:gd name="connsiteY862" fmla="*/ 692441 h 1466984"/>
                    <a:gd name="connsiteX863" fmla="*/ 38033 w 923656"/>
                    <a:gd name="connsiteY863" fmla="*/ 685800 h 1466984"/>
                    <a:gd name="connsiteX864" fmla="*/ 43466 w 923656"/>
                    <a:gd name="connsiteY864" fmla="*/ 683385 h 1466984"/>
                    <a:gd name="connsiteX865" fmla="*/ 50107 w 923656"/>
                    <a:gd name="connsiteY865" fmla="*/ 683989 h 1466984"/>
                    <a:gd name="connsiteX866" fmla="*/ 51314 w 923656"/>
                    <a:gd name="connsiteY866" fmla="*/ 681574 h 1466984"/>
                    <a:gd name="connsiteX867" fmla="*/ 47692 w 923656"/>
                    <a:gd name="connsiteY867" fmla="*/ 673726 h 1466984"/>
                    <a:gd name="connsiteX868" fmla="*/ 48899 w 923656"/>
                    <a:gd name="connsiteY868" fmla="*/ 665878 h 1466984"/>
                    <a:gd name="connsiteX869" fmla="*/ 44070 w 923656"/>
                    <a:gd name="connsiteY869" fmla="*/ 662859 h 1466984"/>
                    <a:gd name="connsiteX870" fmla="*/ 41051 w 923656"/>
                    <a:gd name="connsiteY870" fmla="*/ 662859 h 1466984"/>
                    <a:gd name="connsiteX871" fmla="*/ 38033 w 923656"/>
                    <a:gd name="connsiteY871" fmla="*/ 653804 h 1466984"/>
                    <a:gd name="connsiteX872" fmla="*/ 39240 w 923656"/>
                    <a:gd name="connsiteY872" fmla="*/ 649578 h 1466984"/>
                    <a:gd name="connsiteX873" fmla="*/ 33807 w 923656"/>
                    <a:gd name="connsiteY873" fmla="*/ 639919 h 1466984"/>
                    <a:gd name="connsiteX874" fmla="*/ 39240 w 923656"/>
                    <a:gd name="connsiteY874" fmla="*/ 634486 h 1466984"/>
                    <a:gd name="connsiteX875" fmla="*/ 40448 w 923656"/>
                    <a:gd name="connsiteY875" fmla="*/ 632071 h 1466984"/>
                    <a:gd name="connsiteX876" fmla="*/ 37429 w 923656"/>
                    <a:gd name="connsiteY876" fmla="*/ 626034 h 1466984"/>
                    <a:gd name="connsiteX877" fmla="*/ 33807 w 923656"/>
                    <a:gd name="connsiteY877" fmla="*/ 623016 h 1466984"/>
                    <a:gd name="connsiteX878" fmla="*/ 35618 w 923656"/>
                    <a:gd name="connsiteY878" fmla="*/ 618186 h 1466984"/>
                    <a:gd name="connsiteX879" fmla="*/ 36222 w 923656"/>
                    <a:gd name="connsiteY879" fmla="*/ 612149 h 1466984"/>
                    <a:gd name="connsiteX880" fmla="*/ 34411 w 923656"/>
                    <a:gd name="connsiteY880" fmla="*/ 610942 h 1466984"/>
                    <a:gd name="connsiteX881" fmla="*/ 33807 w 923656"/>
                    <a:gd name="connsiteY881" fmla="*/ 604301 h 1466984"/>
                    <a:gd name="connsiteX882" fmla="*/ 28977 w 923656"/>
                    <a:gd name="connsiteY882" fmla="*/ 601886 h 1466984"/>
                    <a:gd name="connsiteX883" fmla="*/ 27166 w 923656"/>
                    <a:gd name="connsiteY883" fmla="*/ 605508 h 1466984"/>
                    <a:gd name="connsiteX884" fmla="*/ 17507 w 923656"/>
                    <a:gd name="connsiteY884" fmla="*/ 600679 h 1466984"/>
                    <a:gd name="connsiteX885" fmla="*/ 16903 w 923656"/>
                    <a:gd name="connsiteY885" fmla="*/ 604905 h 1466984"/>
                    <a:gd name="connsiteX886" fmla="*/ 10866 w 923656"/>
                    <a:gd name="connsiteY886" fmla="*/ 606112 h 1466984"/>
                    <a:gd name="connsiteX887" fmla="*/ 7244 w 923656"/>
                    <a:gd name="connsiteY887" fmla="*/ 605508 h 1466984"/>
                    <a:gd name="connsiteX888" fmla="*/ 1207 w 923656"/>
                    <a:gd name="connsiteY888" fmla="*/ 601886 h 1466984"/>
                    <a:gd name="connsiteX889" fmla="*/ 8452 w 923656"/>
                    <a:gd name="connsiteY889" fmla="*/ 599471 h 1466984"/>
                    <a:gd name="connsiteX890" fmla="*/ 10263 w 923656"/>
                    <a:gd name="connsiteY890" fmla="*/ 594642 h 1466984"/>
                    <a:gd name="connsiteX891" fmla="*/ 9055 w 923656"/>
                    <a:gd name="connsiteY891" fmla="*/ 589812 h 1466984"/>
                    <a:gd name="connsiteX892" fmla="*/ 13885 w 923656"/>
                    <a:gd name="connsiteY892" fmla="*/ 587397 h 1466984"/>
                    <a:gd name="connsiteX893" fmla="*/ 15696 w 923656"/>
                    <a:gd name="connsiteY893" fmla="*/ 583775 h 1466984"/>
                    <a:gd name="connsiteX894" fmla="*/ 21733 w 923656"/>
                    <a:gd name="connsiteY894" fmla="*/ 583775 h 1466984"/>
                    <a:gd name="connsiteX895" fmla="*/ 24752 w 923656"/>
                    <a:gd name="connsiteY895" fmla="*/ 581964 h 1466984"/>
                    <a:gd name="connsiteX896" fmla="*/ 25959 w 923656"/>
                    <a:gd name="connsiteY896" fmla="*/ 577738 h 1466984"/>
                    <a:gd name="connsiteX897" fmla="*/ 30789 w 923656"/>
                    <a:gd name="connsiteY897" fmla="*/ 577134 h 1466984"/>
                    <a:gd name="connsiteX898" fmla="*/ 29581 w 923656"/>
                    <a:gd name="connsiteY898" fmla="*/ 581964 h 1466984"/>
                    <a:gd name="connsiteX899" fmla="*/ 31392 w 923656"/>
                    <a:gd name="connsiteY899" fmla="*/ 584982 h 1466984"/>
                    <a:gd name="connsiteX900" fmla="*/ 37429 w 923656"/>
                    <a:gd name="connsiteY900" fmla="*/ 583171 h 1466984"/>
                    <a:gd name="connsiteX901" fmla="*/ 41655 w 923656"/>
                    <a:gd name="connsiteY901" fmla="*/ 586190 h 1466984"/>
                    <a:gd name="connsiteX902" fmla="*/ 47692 w 923656"/>
                    <a:gd name="connsiteY902" fmla="*/ 582568 h 1466984"/>
                    <a:gd name="connsiteX903" fmla="*/ 48899 w 923656"/>
                    <a:gd name="connsiteY903" fmla="*/ 579549 h 1466984"/>
                    <a:gd name="connsiteX904" fmla="*/ 53729 w 923656"/>
                    <a:gd name="connsiteY904" fmla="*/ 580757 h 1466984"/>
                    <a:gd name="connsiteX905" fmla="*/ 56144 w 923656"/>
                    <a:gd name="connsiteY905" fmla="*/ 578945 h 1466984"/>
                    <a:gd name="connsiteX906" fmla="*/ 58559 w 923656"/>
                    <a:gd name="connsiteY906" fmla="*/ 574116 h 1466984"/>
                    <a:gd name="connsiteX907" fmla="*/ 57351 w 923656"/>
                    <a:gd name="connsiteY907" fmla="*/ 570494 h 1466984"/>
                    <a:gd name="connsiteX908" fmla="*/ 60973 w 923656"/>
                    <a:gd name="connsiteY908" fmla="*/ 563249 h 1466984"/>
                    <a:gd name="connsiteX909" fmla="*/ 54333 w 923656"/>
                    <a:gd name="connsiteY909" fmla="*/ 562646 h 1466984"/>
                    <a:gd name="connsiteX910" fmla="*/ 53729 w 923656"/>
                    <a:gd name="connsiteY910" fmla="*/ 560231 h 1466984"/>
                    <a:gd name="connsiteX911" fmla="*/ 57351 w 923656"/>
                    <a:gd name="connsiteY911" fmla="*/ 557212 h 1466984"/>
                    <a:gd name="connsiteX912" fmla="*/ 63388 w 923656"/>
                    <a:gd name="connsiteY912" fmla="*/ 557212 h 1466984"/>
                    <a:gd name="connsiteX913" fmla="*/ 62181 w 923656"/>
                    <a:gd name="connsiteY913" fmla="*/ 551779 h 1466984"/>
                    <a:gd name="connsiteX914" fmla="*/ 70633 w 923656"/>
                    <a:gd name="connsiteY914" fmla="*/ 540913 h 1466984"/>
                    <a:gd name="connsiteX915" fmla="*/ 73651 w 923656"/>
                    <a:gd name="connsiteY915" fmla="*/ 533668 h 1466984"/>
                    <a:gd name="connsiteX916" fmla="*/ 73651 w 923656"/>
                    <a:gd name="connsiteY916" fmla="*/ 530650 h 1466984"/>
                    <a:gd name="connsiteX917" fmla="*/ 76670 w 923656"/>
                    <a:gd name="connsiteY917" fmla="*/ 525217 h 1466984"/>
                    <a:gd name="connsiteX918" fmla="*/ 77877 w 923656"/>
                    <a:gd name="connsiteY918" fmla="*/ 520387 h 1466984"/>
                    <a:gd name="connsiteX919" fmla="*/ 71840 w 923656"/>
                    <a:gd name="connsiteY919" fmla="*/ 517972 h 1466984"/>
                    <a:gd name="connsiteX920" fmla="*/ 65803 w 923656"/>
                    <a:gd name="connsiteY920" fmla="*/ 519783 h 1466984"/>
                    <a:gd name="connsiteX921" fmla="*/ 61577 w 923656"/>
                    <a:gd name="connsiteY921" fmla="*/ 522802 h 1466984"/>
                    <a:gd name="connsiteX922" fmla="*/ 57351 w 923656"/>
                    <a:gd name="connsiteY922" fmla="*/ 517369 h 1466984"/>
                    <a:gd name="connsiteX923" fmla="*/ 64596 w 923656"/>
                    <a:gd name="connsiteY923" fmla="*/ 510728 h 1466984"/>
                    <a:gd name="connsiteX924" fmla="*/ 70633 w 923656"/>
                    <a:gd name="connsiteY924" fmla="*/ 506502 h 1466984"/>
                    <a:gd name="connsiteX925" fmla="*/ 76670 w 923656"/>
                    <a:gd name="connsiteY925" fmla="*/ 508313 h 1466984"/>
                    <a:gd name="connsiteX926" fmla="*/ 82103 w 923656"/>
                    <a:gd name="connsiteY926" fmla="*/ 511332 h 1466984"/>
                    <a:gd name="connsiteX927" fmla="*/ 83914 w 923656"/>
                    <a:gd name="connsiteY927" fmla="*/ 505898 h 1466984"/>
                    <a:gd name="connsiteX928" fmla="*/ 82103 w 923656"/>
                    <a:gd name="connsiteY928" fmla="*/ 499861 h 1466984"/>
                    <a:gd name="connsiteX929" fmla="*/ 83914 w 923656"/>
                    <a:gd name="connsiteY929" fmla="*/ 491409 h 1466984"/>
                    <a:gd name="connsiteX930" fmla="*/ 86932 w 923656"/>
                    <a:gd name="connsiteY930" fmla="*/ 489598 h 1466984"/>
                    <a:gd name="connsiteX931" fmla="*/ 85121 w 923656"/>
                    <a:gd name="connsiteY931" fmla="*/ 484769 h 1466984"/>
                    <a:gd name="connsiteX932" fmla="*/ 85725 w 923656"/>
                    <a:gd name="connsiteY932" fmla="*/ 482354 h 1466984"/>
                    <a:gd name="connsiteX933" fmla="*/ 80895 w 923656"/>
                    <a:gd name="connsiteY933" fmla="*/ 477524 h 1466984"/>
                    <a:gd name="connsiteX934" fmla="*/ 68218 w 923656"/>
                    <a:gd name="connsiteY934" fmla="*/ 475110 h 1466984"/>
                    <a:gd name="connsiteX935" fmla="*/ 68218 w 923656"/>
                    <a:gd name="connsiteY935" fmla="*/ 470280 h 1466984"/>
                    <a:gd name="connsiteX936" fmla="*/ 61577 w 923656"/>
                    <a:gd name="connsiteY936" fmla="*/ 470884 h 1466984"/>
                    <a:gd name="connsiteX937" fmla="*/ 59766 w 923656"/>
                    <a:gd name="connsiteY937" fmla="*/ 467261 h 1466984"/>
                    <a:gd name="connsiteX938" fmla="*/ 56144 w 923656"/>
                    <a:gd name="connsiteY938" fmla="*/ 468469 h 1466984"/>
                    <a:gd name="connsiteX939" fmla="*/ 50711 w 923656"/>
                    <a:gd name="connsiteY939" fmla="*/ 473298 h 1466984"/>
                    <a:gd name="connsiteX940" fmla="*/ 48899 w 923656"/>
                    <a:gd name="connsiteY940" fmla="*/ 470280 h 1466984"/>
                    <a:gd name="connsiteX941" fmla="*/ 53125 w 923656"/>
                    <a:gd name="connsiteY941" fmla="*/ 467865 h 1466984"/>
                    <a:gd name="connsiteX942" fmla="*/ 50107 w 923656"/>
                    <a:gd name="connsiteY942" fmla="*/ 456999 h 1466984"/>
                    <a:gd name="connsiteX943" fmla="*/ 47692 w 923656"/>
                    <a:gd name="connsiteY943" fmla="*/ 454584 h 1466984"/>
                    <a:gd name="connsiteX944" fmla="*/ 50107 w 923656"/>
                    <a:gd name="connsiteY944" fmla="*/ 446736 h 1466984"/>
                    <a:gd name="connsiteX945" fmla="*/ 57351 w 923656"/>
                    <a:gd name="connsiteY945" fmla="*/ 446132 h 1466984"/>
                    <a:gd name="connsiteX946" fmla="*/ 56144 w 923656"/>
                    <a:gd name="connsiteY946" fmla="*/ 443717 h 1466984"/>
                    <a:gd name="connsiteX947" fmla="*/ 51918 w 923656"/>
                    <a:gd name="connsiteY947" fmla="*/ 444321 h 1466984"/>
                    <a:gd name="connsiteX948" fmla="*/ 50711 w 923656"/>
                    <a:gd name="connsiteY948" fmla="*/ 433455 h 1466984"/>
                    <a:gd name="connsiteX949" fmla="*/ 47692 w 923656"/>
                    <a:gd name="connsiteY949" fmla="*/ 433455 h 1466984"/>
                    <a:gd name="connsiteX950" fmla="*/ 41655 w 923656"/>
                    <a:gd name="connsiteY950" fmla="*/ 428625 h 1466984"/>
                    <a:gd name="connsiteX951" fmla="*/ 42862 w 923656"/>
                    <a:gd name="connsiteY951" fmla="*/ 422588 h 1466984"/>
                    <a:gd name="connsiteX952" fmla="*/ 40448 w 923656"/>
                    <a:gd name="connsiteY952" fmla="*/ 421984 h 1466984"/>
                    <a:gd name="connsiteX953" fmla="*/ 36825 w 923656"/>
                    <a:gd name="connsiteY953" fmla="*/ 428021 h 1466984"/>
                    <a:gd name="connsiteX954" fmla="*/ 35618 w 923656"/>
                    <a:gd name="connsiteY954" fmla="*/ 423192 h 1466984"/>
                    <a:gd name="connsiteX955" fmla="*/ 40448 w 923656"/>
                    <a:gd name="connsiteY955" fmla="*/ 421381 h 1466984"/>
                    <a:gd name="connsiteX956" fmla="*/ 38033 w 923656"/>
                    <a:gd name="connsiteY956" fmla="*/ 418362 h 1466984"/>
                    <a:gd name="connsiteX957" fmla="*/ 38033 w 923656"/>
                    <a:gd name="connsiteY957" fmla="*/ 413533 h 1466984"/>
                    <a:gd name="connsiteX958" fmla="*/ 44674 w 923656"/>
                    <a:gd name="connsiteY958" fmla="*/ 416551 h 1466984"/>
                    <a:gd name="connsiteX959" fmla="*/ 49503 w 923656"/>
                    <a:gd name="connsiteY959" fmla="*/ 411118 h 1466984"/>
                    <a:gd name="connsiteX960" fmla="*/ 60370 w 923656"/>
                    <a:gd name="connsiteY960" fmla="*/ 417155 h 1466984"/>
                    <a:gd name="connsiteX961" fmla="*/ 62784 w 923656"/>
                    <a:gd name="connsiteY961" fmla="*/ 415344 h 1466984"/>
                    <a:gd name="connsiteX962" fmla="*/ 62784 w 923656"/>
                    <a:gd name="connsiteY962" fmla="*/ 409910 h 1466984"/>
                    <a:gd name="connsiteX963" fmla="*/ 64596 w 923656"/>
                    <a:gd name="connsiteY963" fmla="*/ 406288 h 1466984"/>
                    <a:gd name="connsiteX964" fmla="*/ 69425 w 923656"/>
                    <a:gd name="connsiteY964" fmla="*/ 405081 h 1466984"/>
                    <a:gd name="connsiteX965" fmla="*/ 71840 w 923656"/>
                    <a:gd name="connsiteY965" fmla="*/ 401459 h 1466984"/>
                    <a:gd name="connsiteX966" fmla="*/ 78481 w 923656"/>
                    <a:gd name="connsiteY966" fmla="*/ 400251 h 1466984"/>
                    <a:gd name="connsiteX967" fmla="*/ 77273 w 923656"/>
                    <a:gd name="connsiteY967" fmla="*/ 389988 h 1466984"/>
                    <a:gd name="connsiteX968" fmla="*/ 79688 w 923656"/>
                    <a:gd name="connsiteY968" fmla="*/ 388177 h 1466984"/>
                    <a:gd name="connsiteX969" fmla="*/ 83310 w 923656"/>
                    <a:gd name="connsiteY969" fmla="*/ 395422 h 1466984"/>
                    <a:gd name="connsiteX970" fmla="*/ 94780 w 923656"/>
                    <a:gd name="connsiteY970" fmla="*/ 394214 h 1466984"/>
                    <a:gd name="connsiteX971" fmla="*/ 94780 w 923656"/>
                    <a:gd name="connsiteY971" fmla="*/ 403270 h 1466984"/>
                    <a:gd name="connsiteX972" fmla="*/ 97799 w 923656"/>
                    <a:gd name="connsiteY972" fmla="*/ 403270 h 1466984"/>
                    <a:gd name="connsiteX973" fmla="*/ 96592 w 923656"/>
                    <a:gd name="connsiteY973" fmla="*/ 409910 h 1466984"/>
                    <a:gd name="connsiteX974" fmla="*/ 99610 w 923656"/>
                    <a:gd name="connsiteY974" fmla="*/ 411722 h 1466984"/>
                    <a:gd name="connsiteX975" fmla="*/ 108062 w 923656"/>
                    <a:gd name="connsiteY975" fmla="*/ 408099 h 1466984"/>
                    <a:gd name="connsiteX976" fmla="*/ 113495 w 923656"/>
                    <a:gd name="connsiteY976" fmla="*/ 405081 h 1466984"/>
                    <a:gd name="connsiteX977" fmla="*/ 113495 w 923656"/>
                    <a:gd name="connsiteY977" fmla="*/ 400251 h 1466984"/>
                    <a:gd name="connsiteX978" fmla="*/ 117721 w 923656"/>
                    <a:gd name="connsiteY978" fmla="*/ 401459 h 1466984"/>
                    <a:gd name="connsiteX979" fmla="*/ 124362 w 923656"/>
                    <a:gd name="connsiteY979" fmla="*/ 397836 h 1466984"/>
                    <a:gd name="connsiteX980" fmla="*/ 117117 w 923656"/>
                    <a:gd name="connsiteY980" fmla="*/ 393611 h 1466984"/>
                    <a:gd name="connsiteX981" fmla="*/ 119532 w 923656"/>
                    <a:gd name="connsiteY981" fmla="*/ 387574 h 1466984"/>
                    <a:gd name="connsiteX982" fmla="*/ 124362 w 923656"/>
                    <a:gd name="connsiteY982" fmla="*/ 385159 h 1466984"/>
                    <a:gd name="connsiteX983" fmla="*/ 124965 w 923656"/>
                    <a:gd name="connsiteY983" fmla="*/ 376707 h 1466984"/>
                    <a:gd name="connsiteX984" fmla="*/ 132813 w 923656"/>
                    <a:gd name="connsiteY984" fmla="*/ 376707 h 1466984"/>
                    <a:gd name="connsiteX985" fmla="*/ 141869 w 923656"/>
                    <a:gd name="connsiteY985" fmla="*/ 369463 h 1466984"/>
                    <a:gd name="connsiteX986" fmla="*/ 156358 w 923656"/>
                    <a:gd name="connsiteY986" fmla="*/ 367048 h 1466984"/>
                    <a:gd name="connsiteX987" fmla="*/ 157565 w 923656"/>
                    <a:gd name="connsiteY987" fmla="*/ 364633 h 1466984"/>
                    <a:gd name="connsiteX988" fmla="*/ 171450 w 923656"/>
                    <a:gd name="connsiteY988" fmla="*/ 364633 h 1466984"/>
                    <a:gd name="connsiteX989" fmla="*/ 170243 w 923656"/>
                    <a:gd name="connsiteY989" fmla="*/ 361614 h 1466984"/>
                    <a:gd name="connsiteX990" fmla="*/ 169035 w 923656"/>
                    <a:gd name="connsiteY990" fmla="*/ 346522 h 1466984"/>
                    <a:gd name="connsiteX991" fmla="*/ 176883 w 923656"/>
                    <a:gd name="connsiteY991" fmla="*/ 341089 h 1466984"/>
                    <a:gd name="connsiteX992" fmla="*/ 179902 w 923656"/>
                    <a:gd name="connsiteY992" fmla="*/ 341692 h 1466984"/>
                    <a:gd name="connsiteX993" fmla="*/ 180505 w 923656"/>
                    <a:gd name="connsiteY993" fmla="*/ 335656 h 1466984"/>
                    <a:gd name="connsiteX994" fmla="*/ 177487 w 923656"/>
                    <a:gd name="connsiteY994" fmla="*/ 335656 h 1466984"/>
                    <a:gd name="connsiteX995" fmla="*/ 172054 w 923656"/>
                    <a:gd name="connsiteY995" fmla="*/ 331430 h 1466984"/>
                    <a:gd name="connsiteX996" fmla="*/ 174468 w 923656"/>
                    <a:gd name="connsiteY996" fmla="*/ 327808 h 1466984"/>
                    <a:gd name="connsiteX997" fmla="*/ 178091 w 923656"/>
                    <a:gd name="connsiteY997" fmla="*/ 330222 h 1466984"/>
                    <a:gd name="connsiteX998" fmla="*/ 184128 w 923656"/>
                    <a:gd name="connsiteY998" fmla="*/ 330826 h 1466984"/>
                    <a:gd name="connsiteX999" fmla="*/ 188354 w 923656"/>
                    <a:gd name="connsiteY999" fmla="*/ 327204 h 1466984"/>
                    <a:gd name="connsiteX1000" fmla="*/ 197409 w 923656"/>
                    <a:gd name="connsiteY1000" fmla="*/ 328411 h 1466984"/>
                    <a:gd name="connsiteX1001" fmla="*/ 206464 w 923656"/>
                    <a:gd name="connsiteY1001" fmla="*/ 326600 h 1466984"/>
                    <a:gd name="connsiteX1002" fmla="*/ 207068 w 923656"/>
                    <a:gd name="connsiteY1002" fmla="*/ 332033 h 1466984"/>
                    <a:gd name="connsiteX1003" fmla="*/ 216124 w 923656"/>
                    <a:gd name="connsiteY1003" fmla="*/ 338070 h 1466984"/>
                    <a:gd name="connsiteX1004" fmla="*/ 216124 w 923656"/>
                    <a:gd name="connsiteY1004" fmla="*/ 342296 h 1466984"/>
                    <a:gd name="connsiteX1005" fmla="*/ 222764 w 923656"/>
                    <a:gd name="connsiteY1005" fmla="*/ 344107 h 1466984"/>
                    <a:gd name="connsiteX1006" fmla="*/ 226990 w 923656"/>
                    <a:gd name="connsiteY1006" fmla="*/ 343503 h 1466984"/>
                    <a:gd name="connsiteX1007" fmla="*/ 225179 w 923656"/>
                    <a:gd name="connsiteY1007" fmla="*/ 349540 h 1466984"/>
                    <a:gd name="connsiteX1008" fmla="*/ 234838 w 923656"/>
                    <a:gd name="connsiteY1008" fmla="*/ 349540 h 1466984"/>
                    <a:gd name="connsiteX1009" fmla="*/ 237253 w 923656"/>
                    <a:gd name="connsiteY1009" fmla="*/ 344711 h 1466984"/>
                    <a:gd name="connsiteX1010" fmla="*/ 242686 w 923656"/>
                    <a:gd name="connsiteY1010" fmla="*/ 345315 h 1466984"/>
                    <a:gd name="connsiteX1011" fmla="*/ 245705 w 923656"/>
                    <a:gd name="connsiteY1011" fmla="*/ 342296 h 1466984"/>
                    <a:gd name="connsiteX1012" fmla="*/ 247516 w 923656"/>
                    <a:gd name="connsiteY1012" fmla="*/ 336863 h 1466984"/>
                    <a:gd name="connsiteX1013" fmla="*/ 246308 w 923656"/>
                    <a:gd name="connsiteY1013" fmla="*/ 335052 h 1466984"/>
                    <a:gd name="connsiteX1014" fmla="*/ 245705 w 923656"/>
                    <a:gd name="connsiteY1014" fmla="*/ 325393 h 1466984"/>
                    <a:gd name="connsiteX1015" fmla="*/ 258382 w 923656"/>
                    <a:gd name="connsiteY1015" fmla="*/ 325393 h 1466984"/>
                    <a:gd name="connsiteX1016" fmla="*/ 263816 w 923656"/>
                    <a:gd name="connsiteY1016" fmla="*/ 321771 h 1466984"/>
                    <a:gd name="connsiteX1017" fmla="*/ 268645 w 923656"/>
                    <a:gd name="connsiteY1017" fmla="*/ 320563 h 1466984"/>
                    <a:gd name="connsiteX1018" fmla="*/ 275890 w 923656"/>
                    <a:gd name="connsiteY1018" fmla="*/ 322978 h 1466984"/>
                    <a:gd name="connsiteX1019" fmla="*/ 278908 w 923656"/>
                    <a:gd name="connsiteY1019" fmla="*/ 319960 h 1466984"/>
                    <a:gd name="connsiteX1020" fmla="*/ 283738 w 923656"/>
                    <a:gd name="connsiteY1020" fmla="*/ 318149 h 1466984"/>
                    <a:gd name="connsiteX1021" fmla="*/ 288567 w 923656"/>
                    <a:gd name="connsiteY1021" fmla="*/ 322978 h 1466984"/>
                    <a:gd name="connsiteX1022" fmla="*/ 289171 w 923656"/>
                    <a:gd name="connsiteY1022" fmla="*/ 327204 h 1466984"/>
                    <a:gd name="connsiteX1023" fmla="*/ 294001 w 923656"/>
                    <a:gd name="connsiteY1023" fmla="*/ 325393 h 1466984"/>
                    <a:gd name="connsiteX1024" fmla="*/ 296415 w 923656"/>
                    <a:gd name="connsiteY1024" fmla="*/ 322374 h 1466984"/>
                    <a:gd name="connsiteX1025" fmla="*/ 304867 w 923656"/>
                    <a:gd name="connsiteY1025" fmla="*/ 322978 h 1466984"/>
                    <a:gd name="connsiteX1026" fmla="*/ 304867 w 923656"/>
                    <a:gd name="connsiteY1026" fmla="*/ 313923 h 1466984"/>
                    <a:gd name="connsiteX1027" fmla="*/ 312715 w 923656"/>
                    <a:gd name="connsiteY1027" fmla="*/ 314526 h 1466984"/>
                    <a:gd name="connsiteX1028" fmla="*/ 313319 w 923656"/>
                    <a:gd name="connsiteY1028" fmla="*/ 321771 h 1466984"/>
                    <a:gd name="connsiteX1029" fmla="*/ 318752 w 923656"/>
                    <a:gd name="connsiteY1029" fmla="*/ 322374 h 1466984"/>
                    <a:gd name="connsiteX1030" fmla="*/ 320563 w 923656"/>
                    <a:gd name="connsiteY1030" fmla="*/ 325996 h 1466984"/>
                    <a:gd name="connsiteX1031" fmla="*/ 327204 w 923656"/>
                    <a:gd name="connsiteY1031" fmla="*/ 322978 h 1466984"/>
                    <a:gd name="connsiteX1032" fmla="*/ 325393 w 923656"/>
                    <a:gd name="connsiteY1032" fmla="*/ 318752 h 1466984"/>
                    <a:gd name="connsiteX1033" fmla="*/ 325997 w 923656"/>
                    <a:gd name="connsiteY1033" fmla="*/ 307282 h 1466984"/>
                    <a:gd name="connsiteX1034" fmla="*/ 322374 w 923656"/>
                    <a:gd name="connsiteY1034" fmla="*/ 308489 h 1466984"/>
                    <a:gd name="connsiteX1035" fmla="*/ 321167 w 923656"/>
                    <a:gd name="connsiteY1035" fmla="*/ 305471 h 1466984"/>
                    <a:gd name="connsiteX1036" fmla="*/ 327808 w 923656"/>
                    <a:gd name="connsiteY1036" fmla="*/ 300038 h 1466984"/>
                    <a:gd name="connsiteX1037" fmla="*/ 325997 w 923656"/>
                    <a:gd name="connsiteY1037" fmla="*/ 290982 h 1466984"/>
                    <a:gd name="connsiteX1038" fmla="*/ 321771 w 923656"/>
                    <a:gd name="connsiteY1038" fmla="*/ 290982 h 1466984"/>
                    <a:gd name="connsiteX1039" fmla="*/ 321771 w 923656"/>
                    <a:gd name="connsiteY1039" fmla="*/ 286756 h 1466984"/>
                    <a:gd name="connsiteX1040" fmla="*/ 317545 w 923656"/>
                    <a:gd name="connsiteY1040" fmla="*/ 280719 h 1466984"/>
                    <a:gd name="connsiteX1041" fmla="*/ 317545 w 923656"/>
                    <a:gd name="connsiteY1041" fmla="*/ 275286 h 1466984"/>
                    <a:gd name="connsiteX1042" fmla="*/ 324185 w 923656"/>
                    <a:gd name="connsiteY1042" fmla="*/ 269249 h 1466984"/>
                    <a:gd name="connsiteX1043" fmla="*/ 322978 w 923656"/>
                    <a:gd name="connsiteY1043" fmla="*/ 257175 h 1466984"/>
                    <a:gd name="connsiteX1044" fmla="*/ 317545 w 923656"/>
                    <a:gd name="connsiteY1044" fmla="*/ 256571 h 1466984"/>
                    <a:gd name="connsiteX1045" fmla="*/ 316337 w 923656"/>
                    <a:gd name="connsiteY1045" fmla="*/ 251742 h 1466984"/>
                    <a:gd name="connsiteX1046" fmla="*/ 312111 w 923656"/>
                    <a:gd name="connsiteY1046" fmla="*/ 249930 h 1466984"/>
                    <a:gd name="connsiteX1047" fmla="*/ 314526 w 923656"/>
                    <a:gd name="connsiteY1047" fmla="*/ 244497 h 1466984"/>
                    <a:gd name="connsiteX1048" fmla="*/ 313923 w 923656"/>
                    <a:gd name="connsiteY1048" fmla="*/ 241479 h 1466984"/>
                    <a:gd name="connsiteX1049" fmla="*/ 307886 w 923656"/>
                    <a:gd name="connsiteY1049" fmla="*/ 239668 h 1466984"/>
                    <a:gd name="connsiteX1050" fmla="*/ 306678 w 923656"/>
                    <a:gd name="connsiteY1050" fmla="*/ 232423 h 1466984"/>
                    <a:gd name="connsiteX1051" fmla="*/ 314526 w 923656"/>
                    <a:gd name="connsiteY1051" fmla="*/ 230612 h 1466984"/>
                    <a:gd name="connsiteX1052" fmla="*/ 313923 w 923656"/>
                    <a:gd name="connsiteY1052" fmla="*/ 223972 h 1466984"/>
                    <a:gd name="connsiteX1053" fmla="*/ 316337 w 923656"/>
                    <a:gd name="connsiteY1053" fmla="*/ 216124 h 1466984"/>
                    <a:gd name="connsiteX1054" fmla="*/ 318148 w 923656"/>
                    <a:gd name="connsiteY1054" fmla="*/ 211898 h 1466984"/>
                    <a:gd name="connsiteX1055" fmla="*/ 323582 w 923656"/>
                    <a:gd name="connsiteY1055" fmla="*/ 216124 h 1466984"/>
                    <a:gd name="connsiteX1056" fmla="*/ 327808 w 923656"/>
                    <a:gd name="connsiteY1056" fmla="*/ 217331 h 1466984"/>
                    <a:gd name="connsiteX1057" fmla="*/ 327808 w 923656"/>
                    <a:gd name="connsiteY1057" fmla="*/ 220953 h 1466984"/>
                    <a:gd name="connsiteX1058" fmla="*/ 329619 w 923656"/>
                    <a:gd name="connsiteY1058" fmla="*/ 226386 h 1466984"/>
                    <a:gd name="connsiteX1059" fmla="*/ 333241 w 923656"/>
                    <a:gd name="connsiteY1059" fmla="*/ 226990 h 1466984"/>
                    <a:gd name="connsiteX1060" fmla="*/ 339278 w 923656"/>
                    <a:gd name="connsiteY1060" fmla="*/ 223972 h 1466984"/>
                    <a:gd name="connsiteX1061" fmla="*/ 345918 w 923656"/>
                    <a:gd name="connsiteY1061" fmla="*/ 227594 h 1466984"/>
                    <a:gd name="connsiteX1062" fmla="*/ 348333 w 923656"/>
                    <a:gd name="connsiteY1062" fmla="*/ 233631 h 1466984"/>
                    <a:gd name="connsiteX1063" fmla="*/ 354370 w 923656"/>
                    <a:gd name="connsiteY1063" fmla="*/ 235442 h 1466984"/>
                    <a:gd name="connsiteX1064" fmla="*/ 356785 w 923656"/>
                    <a:gd name="connsiteY1064" fmla="*/ 224575 h 1466984"/>
                    <a:gd name="connsiteX1065" fmla="*/ 360407 w 923656"/>
                    <a:gd name="connsiteY1065" fmla="*/ 224575 h 1466984"/>
                    <a:gd name="connsiteX1066" fmla="*/ 364029 w 923656"/>
                    <a:gd name="connsiteY1066" fmla="*/ 226990 h 1466984"/>
                    <a:gd name="connsiteX1067" fmla="*/ 364633 w 923656"/>
                    <a:gd name="connsiteY1067" fmla="*/ 231216 h 1466984"/>
                    <a:gd name="connsiteX1068" fmla="*/ 371878 w 923656"/>
                    <a:gd name="connsiteY1068" fmla="*/ 227594 h 1466984"/>
                    <a:gd name="connsiteX1069" fmla="*/ 371274 w 923656"/>
                    <a:gd name="connsiteY1069" fmla="*/ 239064 h 1466984"/>
                    <a:gd name="connsiteX1070" fmla="*/ 374896 w 923656"/>
                    <a:gd name="connsiteY1070" fmla="*/ 240875 h 1466984"/>
                    <a:gd name="connsiteX1071" fmla="*/ 379122 w 923656"/>
                    <a:gd name="connsiteY1071" fmla="*/ 245101 h 1466984"/>
                    <a:gd name="connsiteX1072" fmla="*/ 387574 w 923656"/>
                    <a:gd name="connsiteY1072" fmla="*/ 242686 h 1466984"/>
                    <a:gd name="connsiteX1073" fmla="*/ 393610 w 923656"/>
                    <a:gd name="connsiteY1073" fmla="*/ 242082 h 1466984"/>
                    <a:gd name="connsiteX1074" fmla="*/ 396629 w 923656"/>
                    <a:gd name="connsiteY1074" fmla="*/ 239668 h 1466984"/>
                    <a:gd name="connsiteX1075" fmla="*/ 406288 w 923656"/>
                    <a:gd name="connsiteY1075" fmla="*/ 239064 h 1466984"/>
                    <a:gd name="connsiteX1076" fmla="*/ 409910 w 923656"/>
                    <a:gd name="connsiteY1076" fmla="*/ 243893 h 1466984"/>
                    <a:gd name="connsiteX1077" fmla="*/ 414740 w 923656"/>
                    <a:gd name="connsiteY1077" fmla="*/ 237253 h 1466984"/>
                    <a:gd name="connsiteX1078" fmla="*/ 418362 w 923656"/>
                    <a:gd name="connsiteY1078" fmla="*/ 236045 h 1466984"/>
                    <a:gd name="connsiteX1079" fmla="*/ 427418 w 923656"/>
                    <a:gd name="connsiteY1079" fmla="*/ 241479 h 1466984"/>
                    <a:gd name="connsiteX1080" fmla="*/ 427418 w 923656"/>
                    <a:gd name="connsiteY1080" fmla="*/ 250534 h 1466984"/>
                    <a:gd name="connsiteX1081" fmla="*/ 430436 w 923656"/>
                    <a:gd name="connsiteY1081" fmla="*/ 247516 h 1466984"/>
                    <a:gd name="connsiteX1082" fmla="*/ 429229 w 923656"/>
                    <a:gd name="connsiteY1082" fmla="*/ 240271 h 1466984"/>
                    <a:gd name="connsiteX1083" fmla="*/ 431040 w 923656"/>
                    <a:gd name="connsiteY1083" fmla="*/ 238460 h 1466984"/>
                    <a:gd name="connsiteX1084" fmla="*/ 440699 w 923656"/>
                    <a:gd name="connsiteY1084" fmla="*/ 236649 h 1466984"/>
                    <a:gd name="connsiteX1085" fmla="*/ 449151 w 923656"/>
                    <a:gd name="connsiteY1085" fmla="*/ 238460 h 1466984"/>
                    <a:gd name="connsiteX1086" fmla="*/ 450358 w 923656"/>
                    <a:gd name="connsiteY1086" fmla="*/ 243893 h 1466984"/>
                    <a:gd name="connsiteX1087" fmla="*/ 458810 w 923656"/>
                    <a:gd name="connsiteY1087" fmla="*/ 243893 h 1466984"/>
                    <a:gd name="connsiteX1088" fmla="*/ 458206 w 923656"/>
                    <a:gd name="connsiteY1088" fmla="*/ 241479 h 1466984"/>
                    <a:gd name="connsiteX1089" fmla="*/ 464243 w 923656"/>
                    <a:gd name="connsiteY1089" fmla="*/ 239668 h 1466984"/>
                    <a:gd name="connsiteX1090" fmla="*/ 466054 w 923656"/>
                    <a:gd name="connsiteY1090" fmla="*/ 248119 h 1466984"/>
                    <a:gd name="connsiteX1091" fmla="*/ 472091 w 923656"/>
                    <a:gd name="connsiteY1091" fmla="*/ 248119 h 1466984"/>
                    <a:gd name="connsiteX1092" fmla="*/ 474506 w 923656"/>
                    <a:gd name="connsiteY1092" fmla="*/ 242686 h 1466984"/>
                    <a:gd name="connsiteX1093" fmla="*/ 478128 w 923656"/>
                    <a:gd name="connsiteY1093" fmla="*/ 240271 h 1466984"/>
                    <a:gd name="connsiteX1094" fmla="*/ 477525 w 923656"/>
                    <a:gd name="connsiteY1094" fmla="*/ 235442 h 1466984"/>
                    <a:gd name="connsiteX1095" fmla="*/ 467865 w 923656"/>
                    <a:gd name="connsiteY1095" fmla="*/ 234234 h 1466984"/>
                    <a:gd name="connsiteX1096" fmla="*/ 470280 w 923656"/>
                    <a:gd name="connsiteY1096" fmla="*/ 221557 h 1466984"/>
                    <a:gd name="connsiteX1097" fmla="*/ 462432 w 923656"/>
                    <a:gd name="connsiteY1097" fmla="*/ 222160 h 1466984"/>
                    <a:gd name="connsiteX1098" fmla="*/ 461828 w 923656"/>
                    <a:gd name="connsiteY1098" fmla="*/ 214313 h 1466984"/>
                    <a:gd name="connsiteX1099" fmla="*/ 465451 w 923656"/>
                    <a:gd name="connsiteY1099" fmla="*/ 213105 h 1466984"/>
                    <a:gd name="connsiteX1100" fmla="*/ 464847 w 923656"/>
                    <a:gd name="connsiteY1100" fmla="*/ 204653 h 1466984"/>
                    <a:gd name="connsiteX1101" fmla="*/ 469073 w 923656"/>
                    <a:gd name="connsiteY1101" fmla="*/ 203446 h 1466984"/>
                    <a:gd name="connsiteX1102" fmla="*/ 467865 w 923656"/>
                    <a:gd name="connsiteY1102" fmla="*/ 199220 h 1466984"/>
                    <a:gd name="connsiteX1103" fmla="*/ 463639 w 923656"/>
                    <a:gd name="connsiteY1103" fmla="*/ 198013 h 1466984"/>
                    <a:gd name="connsiteX1104" fmla="*/ 461828 w 923656"/>
                    <a:gd name="connsiteY1104" fmla="*/ 186542 h 1466984"/>
                    <a:gd name="connsiteX1105" fmla="*/ 479336 w 923656"/>
                    <a:gd name="connsiteY1105" fmla="*/ 184731 h 1466984"/>
                    <a:gd name="connsiteX1106" fmla="*/ 481750 w 923656"/>
                    <a:gd name="connsiteY1106" fmla="*/ 176280 h 1466984"/>
                    <a:gd name="connsiteX1107" fmla="*/ 493221 w 923656"/>
                    <a:gd name="connsiteY1107" fmla="*/ 170846 h 1466984"/>
                    <a:gd name="connsiteX1108" fmla="*/ 493824 w 923656"/>
                    <a:gd name="connsiteY1108" fmla="*/ 161187 h 1466984"/>
                    <a:gd name="connsiteX1109" fmla="*/ 501672 w 923656"/>
                    <a:gd name="connsiteY1109" fmla="*/ 160583 h 1466984"/>
                    <a:gd name="connsiteX1110" fmla="*/ 501672 w 923656"/>
                    <a:gd name="connsiteY1110" fmla="*/ 151528 h 1466984"/>
                    <a:gd name="connsiteX1111" fmla="*/ 508917 w 923656"/>
                    <a:gd name="connsiteY1111" fmla="*/ 150320 h 1466984"/>
                    <a:gd name="connsiteX1112" fmla="*/ 510728 w 923656"/>
                    <a:gd name="connsiteY1112" fmla="*/ 155150 h 1466984"/>
                    <a:gd name="connsiteX1113" fmla="*/ 510728 w 923656"/>
                    <a:gd name="connsiteY1113" fmla="*/ 162998 h 1466984"/>
                    <a:gd name="connsiteX1114" fmla="*/ 514350 w 923656"/>
                    <a:gd name="connsiteY1114" fmla="*/ 162394 h 1466984"/>
                    <a:gd name="connsiteX1115" fmla="*/ 516765 w 923656"/>
                    <a:gd name="connsiteY1115" fmla="*/ 158169 h 1466984"/>
                    <a:gd name="connsiteX1116" fmla="*/ 517972 w 923656"/>
                    <a:gd name="connsiteY1116" fmla="*/ 152132 h 1466984"/>
                    <a:gd name="connsiteX1117" fmla="*/ 522802 w 923656"/>
                    <a:gd name="connsiteY1117" fmla="*/ 152132 h 1466984"/>
                    <a:gd name="connsiteX1118" fmla="*/ 523405 w 923656"/>
                    <a:gd name="connsiteY1118" fmla="*/ 157565 h 1466984"/>
                    <a:gd name="connsiteX1119" fmla="*/ 528839 w 923656"/>
                    <a:gd name="connsiteY1119" fmla="*/ 160583 h 1466984"/>
                    <a:gd name="connsiteX1120" fmla="*/ 530046 w 923656"/>
                    <a:gd name="connsiteY1120" fmla="*/ 166620 h 1466984"/>
                    <a:gd name="connsiteX1121" fmla="*/ 536083 w 923656"/>
                    <a:gd name="connsiteY1121" fmla="*/ 168431 h 1466984"/>
                    <a:gd name="connsiteX1122" fmla="*/ 536083 w 923656"/>
                    <a:gd name="connsiteY1122" fmla="*/ 162998 h 1466984"/>
                    <a:gd name="connsiteX1123" fmla="*/ 541516 w 923656"/>
                    <a:gd name="connsiteY1123" fmla="*/ 153943 h 1466984"/>
                    <a:gd name="connsiteX1124" fmla="*/ 541516 w 923656"/>
                    <a:gd name="connsiteY1124" fmla="*/ 145491 h 1466984"/>
                    <a:gd name="connsiteX1125" fmla="*/ 545742 w 923656"/>
                    <a:gd name="connsiteY1125" fmla="*/ 146698 h 1466984"/>
                    <a:gd name="connsiteX1126" fmla="*/ 550572 w 923656"/>
                    <a:gd name="connsiteY1126" fmla="*/ 145491 h 1466984"/>
                    <a:gd name="connsiteX1127" fmla="*/ 553590 w 923656"/>
                    <a:gd name="connsiteY1127" fmla="*/ 142472 h 1466984"/>
                    <a:gd name="connsiteX1128" fmla="*/ 556005 w 923656"/>
                    <a:gd name="connsiteY1128" fmla="*/ 136435 h 1466984"/>
                    <a:gd name="connsiteX1129" fmla="*/ 551176 w 923656"/>
                    <a:gd name="connsiteY1129" fmla="*/ 131606 h 1466984"/>
                    <a:gd name="connsiteX1130" fmla="*/ 545742 w 923656"/>
                    <a:gd name="connsiteY1130" fmla="*/ 129795 h 1466984"/>
                    <a:gd name="connsiteX1131" fmla="*/ 546346 w 923656"/>
                    <a:gd name="connsiteY1131" fmla="*/ 121343 h 1466984"/>
                    <a:gd name="connsiteX1132" fmla="*/ 551176 w 923656"/>
                    <a:gd name="connsiteY1132" fmla="*/ 121343 h 1466984"/>
                    <a:gd name="connsiteX1133" fmla="*/ 552987 w 923656"/>
                    <a:gd name="connsiteY1133" fmla="*/ 125569 h 1466984"/>
                    <a:gd name="connsiteX1134" fmla="*/ 559024 w 923656"/>
                    <a:gd name="connsiteY1134" fmla="*/ 127380 h 1466984"/>
                    <a:gd name="connsiteX1135" fmla="*/ 560231 w 923656"/>
                    <a:gd name="connsiteY1135" fmla="*/ 124361 h 1466984"/>
                    <a:gd name="connsiteX1136" fmla="*/ 569286 w 923656"/>
                    <a:gd name="connsiteY1136" fmla="*/ 121343 h 1466984"/>
                    <a:gd name="connsiteX1137" fmla="*/ 575323 w 923656"/>
                    <a:gd name="connsiteY1137" fmla="*/ 122550 h 1466984"/>
                    <a:gd name="connsiteX1138" fmla="*/ 578946 w 923656"/>
                    <a:gd name="connsiteY1138" fmla="*/ 117721 h 1466984"/>
                    <a:gd name="connsiteX1139" fmla="*/ 582568 w 923656"/>
                    <a:gd name="connsiteY1139" fmla="*/ 117721 h 1466984"/>
                    <a:gd name="connsiteX1140" fmla="*/ 581964 w 923656"/>
                    <a:gd name="connsiteY1140" fmla="*/ 112891 h 1466984"/>
                    <a:gd name="connsiteX1141" fmla="*/ 583172 w 923656"/>
                    <a:gd name="connsiteY1141" fmla="*/ 102025 h 1466984"/>
                    <a:gd name="connsiteX1142" fmla="*/ 582568 w 923656"/>
                    <a:gd name="connsiteY1142" fmla="*/ 91762 h 1466984"/>
                    <a:gd name="connsiteX1143" fmla="*/ 589812 w 923656"/>
                    <a:gd name="connsiteY1143" fmla="*/ 91158 h 1466984"/>
                    <a:gd name="connsiteX1144" fmla="*/ 589209 w 923656"/>
                    <a:gd name="connsiteY1144" fmla="*/ 81499 h 1466984"/>
                    <a:gd name="connsiteX1145" fmla="*/ 592831 w 923656"/>
                    <a:gd name="connsiteY1145" fmla="*/ 77877 h 1466984"/>
                    <a:gd name="connsiteX1146" fmla="*/ 589812 w 923656"/>
                    <a:gd name="connsiteY1146" fmla="*/ 75462 h 1466984"/>
                    <a:gd name="connsiteX1147" fmla="*/ 583775 w 923656"/>
                    <a:gd name="connsiteY1147" fmla="*/ 73651 h 1466984"/>
                    <a:gd name="connsiteX1148" fmla="*/ 588001 w 923656"/>
                    <a:gd name="connsiteY1148" fmla="*/ 65803 h 1466984"/>
                    <a:gd name="connsiteX1149" fmla="*/ 590416 w 923656"/>
                    <a:gd name="connsiteY1149" fmla="*/ 59162 h 1466984"/>
                    <a:gd name="connsiteX1150" fmla="*/ 597660 w 923656"/>
                    <a:gd name="connsiteY1150" fmla="*/ 58559 h 1466984"/>
                    <a:gd name="connsiteX1151" fmla="*/ 599471 w 923656"/>
                    <a:gd name="connsiteY1151" fmla="*/ 62784 h 1466984"/>
                    <a:gd name="connsiteX1152" fmla="*/ 604301 w 923656"/>
                    <a:gd name="connsiteY1152" fmla="*/ 63992 h 1466984"/>
                    <a:gd name="connsiteX1153" fmla="*/ 606716 w 923656"/>
                    <a:gd name="connsiteY1153" fmla="*/ 59162 h 1466984"/>
                    <a:gd name="connsiteX1154" fmla="*/ 609734 w 923656"/>
                    <a:gd name="connsiteY1154" fmla="*/ 61577 h 1466984"/>
                    <a:gd name="connsiteX1155" fmla="*/ 611545 w 923656"/>
                    <a:gd name="connsiteY1155" fmla="*/ 65803 h 1466984"/>
                    <a:gd name="connsiteX1156" fmla="*/ 621808 w 923656"/>
                    <a:gd name="connsiteY1156" fmla="*/ 65803 h 1466984"/>
                    <a:gd name="connsiteX1157" fmla="*/ 623619 w 923656"/>
                    <a:gd name="connsiteY1157" fmla="*/ 62784 h 1466984"/>
                    <a:gd name="connsiteX1158" fmla="*/ 619393 w 923656"/>
                    <a:gd name="connsiteY1158" fmla="*/ 56747 h 1466984"/>
                    <a:gd name="connsiteX1159" fmla="*/ 624827 w 923656"/>
                    <a:gd name="connsiteY1159" fmla="*/ 54333 h 1466984"/>
                    <a:gd name="connsiteX1160" fmla="*/ 628449 w 923656"/>
                    <a:gd name="connsiteY1160" fmla="*/ 54333 h 1466984"/>
                    <a:gd name="connsiteX1161" fmla="*/ 632071 w 923656"/>
                    <a:gd name="connsiteY1161" fmla="*/ 44070 h 1466984"/>
                    <a:gd name="connsiteX1162" fmla="*/ 636297 w 923656"/>
                    <a:gd name="connsiteY1162" fmla="*/ 38033 h 1466984"/>
                    <a:gd name="connsiteX1163" fmla="*/ 642334 w 923656"/>
                    <a:gd name="connsiteY1163" fmla="*/ 38636 h 1466984"/>
                    <a:gd name="connsiteX1164" fmla="*/ 639919 w 923656"/>
                    <a:gd name="connsiteY1164" fmla="*/ 31392 h 1466984"/>
                    <a:gd name="connsiteX1165" fmla="*/ 642938 w 923656"/>
                    <a:gd name="connsiteY1165" fmla="*/ 30788 h 1466984"/>
                    <a:gd name="connsiteX1166" fmla="*/ 646560 w 923656"/>
                    <a:gd name="connsiteY1166" fmla="*/ 24148 h 1466984"/>
                    <a:gd name="connsiteX1167" fmla="*/ 647767 w 923656"/>
                    <a:gd name="connsiteY1167" fmla="*/ 15092 h 1466984"/>
                    <a:gd name="connsiteX1168" fmla="*/ 648975 w 923656"/>
                    <a:gd name="connsiteY1168" fmla="*/ 10263 h 1466984"/>
                    <a:gd name="connsiteX1169" fmla="*/ 664067 w 923656"/>
                    <a:gd name="connsiteY1169" fmla="*/ 3622 h 1466984"/>
                    <a:gd name="connsiteX1170" fmla="*/ 666482 w 923656"/>
                    <a:gd name="connsiteY1170" fmla="*/ 0 h 1466984"/>
                    <a:gd name="connsiteX1171" fmla="*/ 670104 w 923656"/>
                    <a:gd name="connsiteY1171" fmla="*/ 5433 h 1466984"/>
                    <a:gd name="connsiteX1172" fmla="*/ 674933 w 923656"/>
                    <a:gd name="connsiteY1172" fmla="*/ 6037 h 1466984"/>
                    <a:gd name="connsiteX1173" fmla="*/ 676141 w 923656"/>
                    <a:gd name="connsiteY1173" fmla="*/ 12074 h 1466984"/>
                    <a:gd name="connsiteX1174" fmla="*/ 682178 w 923656"/>
                    <a:gd name="connsiteY1174" fmla="*/ 12677 h 1466984"/>
                    <a:gd name="connsiteX1175" fmla="*/ 683989 w 923656"/>
                    <a:gd name="connsiteY1175" fmla="*/ 16903 h 1466984"/>
                    <a:gd name="connsiteX1176" fmla="*/ 680367 w 923656"/>
                    <a:gd name="connsiteY1176" fmla="*/ 19922 h 1466984"/>
                    <a:gd name="connsiteX1177" fmla="*/ 680367 w 923656"/>
                    <a:gd name="connsiteY1177" fmla="*/ 25355 h 1466984"/>
                    <a:gd name="connsiteX1178" fmla="*/ 675537 w 923656"/>
                    <a:gd name="connsiteY1178" fmla="*/ 28977 h 1466984"/>
                    <a:gd name="connsiteX1179" fmla="*/ 674330 w 923656"/>
                    <a:gd name="connsiteY1179" fmla="*/ 31996 h 1466984"/>
                    <a:gd name="connsiteX1180" fmla="*/ 683989 w 923656"/>
                    <a:gd name="connsiteY1180" fmla="*/ 33807 h 1466984"/>
                    <a:gd name="connsiteX1181" fmla="*/ 689422 w 923656"/>
                    <a:gd name="connsiteY1181" fmla="*/ 32599 h 1466984"/>
                    <a:gd name="connsiteX1182" fmla="*/ 690026 w 923656"/>
                    <a:gd name="connsiteY1182" fmla="*/ 38033 h 1466984"/>
                    <a:gd name="connsiteX1183" fmla="*/ 695459 w 923656"/>
                    <a:gd name="connsiteY1183" fmla="*/ 42862 h 1466984"/>
                    <a:gd name="connsiteX1184" fmla="*/ 700893 w 923656"/>
                    <a:gd name="connsiteY1184" fmla="*/ 41655 h 1466984"/>
                    <a:gd name="connsiteX1185" fmla="*/ 705118 w 923656"/>
                    <a:gd name="connsiteY1185" fmla="*/ 38033 h 1466984"/>
                    <a:gd name="connsiteX1186" fmla="*/ 704515 w 923656"/>
                    <a:gd name="connsiteY1186" fmla="*/ 33807 h 1466984"/>
                    <a:gd name="connsiteX1187" fmla="*/ 706929 w 923656"/>
                    <a:gd name="connsiteY1187" fmla="*/ 32599 h 1466984"/>
                    <a:gd name="connsiteX1188" fmla="*/ 712966 w 923656"/>
                    <a:gd name="connsiteY1188" fmla="*/ 35618 h 146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Lst>
                  <a:rect l="l" t="t" r="r" b="b"/>
                  <a:pathLst>
                    <a:path w="923656" h="1466984">
                      <a:moveTo>
                        <a:pt x="712966" y="35618"/>
                      </a:moveTo>
                      <a:lnTo>
                        <a:pt x="717192" y="36222"/>
                      </a:lnTo>
                      <a:lnTo>
                        <a:pt x="723833" y="38636"/>
                      </a:lnTo>
                      <a:lnTo>
                        <a:pt x="717796" y="47088"/>
                      </a:lnTo>
                      <a:lnTo>
                        <a:pt x="720211" y="51918"/>
                      </a:lnTo>
                      <a:lnTo>
                        <a:pt x="717192" y="57955"/>
                      </a:lnTo>
                      <a:lnTo>
                        <a:pt x="719003" y="63992"/>
                      </a:lnTo>
                      <a:lnTo>
                        <a:pt x="722625" y="66407"/>
                      </a:lnTo>
                      <a:lnTo>
                        <a:pt x="722022" y="71236"/>
                      </a:lnTo>
                      <a:lnTo>
                        <a:pt x="723229" y="77273"/>
                      </a:lnTo>
                      <a:lnTo>
                        <a:pt x="722625" y="80895"/>
                      </a:lnTo>
                      <a:lnTo>
                        <a:pt x="716588" y="82707"/>
                      </a:lnTo>
                      <a:lnTo>
                        <a:pt x="712363" y="87536"/>
                      </a:lnTo>
                      <a:lnTo>
                        <a:pt x="713570" y="91762"/>
                      </a:lnTo>
                      <a:lnTo>
                        <a:pt x="724437" y="95384"/>
                      </a:lnTo>
                      <a:lnTo>
                        <a:pt x="729266" y="100818"/>
                      </a:lnTo>
                      <a:lnTo>
                        <a:pt x="732888" y="100818"/>
                      </a:lnTo>
                      <a:lnTo>
                        <a:pt x="734096" y="105647"/>
                      </a:lnTo>
                      <a:lnTo>
                        <a:pt x="732285" y="110477"/>
                      </a:lnTo>
                      <a:lnTo>
                        <a:pt x="727455" y="111080"/>
                      </a:lnTo>
                      <a:lnTo>
                        <a:pt x="726851" y="120136"/>
                      </a:lnTo>
                      <a:lnTo>
                        <a:pt x="720211" y="118928"/>
                      </a:lnTo>
                      <a:lnTo>
                        <a:pt x="722022" y="124965"/>
                      </a:lnTo>
                      <a:lnTo>
                        <a:pt x="716588" y="127984"/>
                      </a:lnTo>
                      <a:lnTo>
                        <a:pt x="714174" y="135832"/>
                      </a:lnTo>
                      <a:lnTo>
                        <a:pt x="708137" y="136435"/>
                      </a:lnTo>
                      <a:lnTo>
                        <a:pt x="708137" y="140058"/>
                      </a:lnTo>
                      <a:lnTo>
                        <a:pt x="705118" y="141869"/>
                      </a:lnTo>
                      <a:lnTo>
                        <a:pt x="703911" y="146095"/>
                      </a:lnTo>
                      <a:lnTo>
                        <a:pt x="707533" y="146698"/>
                      </a:lnTo>
                      <a:lnTo>
                        <a:pt x="714174" y="150924"/>
                      </a:lnTo>
                      <a:lnTo>
                        <a:pt x="715381" y="153943"/>
                      </a:lnTo>
                      <a:lnTo>
                        <a:pt x="710552" y="158772"/>
                      </a:lnTo>
                      <a:lnTo>
                        <a:pt x="708137" y="158169"/>
                      </a:lnTo>
                      <a:lnTo>
                        <a:pt x="701496" y="160583"/>
                      </a:lnTo>
                      <a:lnTo>
                        <a:pt x="700289" y="162394"/>
                      </a:lnTo>
                      <a:lnTo>
                        <a:pt x="694252" y="164206"/>
                      </a:lnTo>
                      <a:lnTo>
                        <a:pt x="691233" y="173261"/>
                      </a:lnTo>
                      <a:lnTo>
                        <a:pt x="692441" y="178694"/>
                      </a:lnTo>
                      <a:lnTo>
                        <a:pt x="690630" y="184731"/>
                      </a:lnTo>
                      <a:lnTo>
                        <a:pt x="690630" y="189561"/>
                      </a:lnTo>
                      <a:lnTo>
                        <a:pt x="694856" y="190768"/>
                      </a:lnTo>
                      <a:lnTo>
                        <a:pt x="697270" y="193183"/>
                      </a:lnTo>
                      <a:lnTo>
                        <a:pt x="700893" y="193183"/>
                      </a:lnTo>
                      <a:lnTo>
                        <a:pt x="703307" y="198616"/>
                      </a:lnTo>
                      <a:lnTo>
                        <a:pt x="708137" y="191372"/>
                      </a:lnTo>
                      <a:lnTo>
                        <a:pt x="712966" y="196805"/>
                      </a:lnTo>
                      <a:lnTo>
                        <a:pt x="720211" y="194994"/>
                      </a:lnTo>
                      <a:lnTo>
                        <a:pt x="721418" y="200428"/>
                      </a:lnTo>
                      <a:lnTo>
                        <a:pt x="727455" y="202239"/>
                      </a:lnTo>
                      <a:lnTo>
                        <a:pt x="735303" y="202842"/>
                      </a:lnTo>
                      <a:lnTo>
                        <a:pt x="741340" y="207672"/>
                      </a:lnTo>
                      <a:lnTo>
                        <a:pt x="740736" y="213105"/>
                      </a:lnTo>
                      <a:lnTo>
                        <a:pt x="733492" y="211294"/>
                      </a:lnTo>
                      <a:lnTo>
                        <a:pt x="725644" y="213709"/>
                      </a:lnTo>
                      <a:lnTo>
                        <a:pt x="725644" y="219142"/>
                      </a:lnTo>
                      <a:lnTo>
                        <a:pt x="722625" y="219746"/>
                      </a:lnTo>
                      <a:lnTo>
                        <a:pt x="717796" y="217331"/>
                      </a:lnTo>
                      <a:lnTo>
                        <a:pt x="717796" y="222764"/>
                      </a:lnTo>
                      <a:lnTo>
                        <a:pt x="709344" y="220349"/>
                      </a:lnTo>
                      <a:lnTo>
                        <a:pt x="705118" y="222764"/>
                      </a:lnTo>
                      <a:lnTo>
                        <a:pt x="705118" y="226386"/>
                      </a:lnTo>
                      <a:lnTo>
                        <a:pt x="709948" y="229405"/>
                      </a:lnTo>
                      <a:lnTo>
                        <a:pt x="706929" y="231820"/>
                      </a:lnTo>
                      <a:lnTo>
                        <a:pt x="706929" y="237253"/>
                      </a:lnTo>
                      <a:lnTo>
                        <a:pt x="699081" y="239064"/>
                      </a:lnTo>
                      <a:lnTo>
                        <a:pt x="697874" y="236045"/>
                      </a:lnTo>
                      <a:lnTo>
                        <a:pt x="693044" y="235442"/>
                      </a:lnTo>
                      <a:lnTo>
                        <a:pt x="693648" y="240875"/>
                      </a:lnTo>
                      <a:lnTo>
                        <a:pt x="692441" y="247516"/>
                      </a:lnTo>
                      <a:lnTo>
                        <a:pt x="689422" y="252949"/>
                      </a:lnTo>
                      <a:lnTo>
                        <a:pt x="693648" y="255967"/>
                      </a:lnTo>
                      <a:lnTo>
                        <a:pt x="677952" y="268041"/>
                      </a:lnTo>
                      <a:lnTo>
                        <a:pt x="680970" y="269853"/>
                      </a:lnTo>
                      <a:lnTo>
                        <a:pt x="680367" y="273475"/>
                      </a:lnTo>
                      <a:lnTo>
                        <a:pt x="676141" y="274078"/>
                      </a:lnTo>
                      <a:lnTo>
                        <a:pt x="673726" y="280115"/>
                      </a:lnTo>
                      <a:lnTo>
                        <a:pt x="677348" y="285549"/>
                      </a:lnTo>
                      <a:lnTo>
                        <a:pt x="682782" y="288567"/>
                      </a:lnTo>
                      <a:lnTo>
                        <a:pt x="694856" y="292793"/>
                      </a:lnTo>
                      <a:lnTo>
                        <a:pt x="694252" y="295208"/>
                      </a:lnTo>
                      <a:lnTo>
                        <a:pt x="697874" y="298830"/>
                      </a:lnTo>
                      <a:lnTo>
                        <a:pt x="698478" y="301849"/>
                      </a:lnTo>
                      <a:lnTo>
                        <a:pt x="701496" y="307886"/>
                      </a:lnTo>
                      <a:lnTo>
                        <a:pt x="702704" y="313923"/>
                      </a:lnTo>
                      <a:lnTo>
                        <a:pt x="698478" y="317545"/>
                      </a:lnTo>
                      <a:lnTo>
                        <a:pt x="698478" y="322374"/>
                      </a:lnTo>
                      <a:lnTo>
                        <a:pt x="695459" y="325393"/>
                      </a:lnTo>
                      <a:lnTo>
                        <a:pt x="696063" y="333241"/>
                      </a:lnTo>
                      <a:lnTo>
                        <a:pt x="693044" y="335052"/>
                      </a:lnTo>
                      <a:lnTo>
                        <a:pt x="694856" y="348937"/>
                      </a:lnTo>
                      <a:lnTo>
                        <a:pt x="693648" y="353163"/>
                      </a:lnTo>
                      <a:lnTo>
                        <a:pt x="696667" y="359200"/>
                      </a:lnTo>
                      <a:lnTo>
                        <a:pt x="696063" y="363426"/>
                      </a:lnTo>
                      <a:lnTo>
                        <a:pt x="689422" y="363426"/>
                      </a:lnTo>
                      <a:lnTo>
                        <a:pt x="690026" y="366444"/>
                      </a:lnTo>
                      <a:lnTo>
                        <a:pt x="687007" y="376707"/>
                      </a:lnTo>
                      <a:lnTo>
                        <a:pt x="696063" y="377914"/>
                      </a:lnTo>
                      <a:lnTo>
                        <a:pt x="695459" y="384555"/>
                      </a:lnTo>
                      <a:lnTo>
                        <a:pt x="685800" y="388177"/>
                      </a:lnTo>
                      <a:lnTo>
                        <a:pt x="688819" y="393007"/>
                      </a:lnTo>
                      <a:lnTo>
                        <a:pt x="694856" y="391196"/>
                      </a:lnTo>
                      <a:lnTo>
                        <a:pt x="696667" y="391799"/>
                      </a:lnTo>
                      <a:lnTo>
                        <a:pt x="693044" y="399648"/>
                      </a:lnTo>
                      <a:lnTo>
                        <a:pt x="693648" y="405685"/>
                      </a:lnTo>
                      <a:lnTo>
                        <a:pt x="689422" y="405685"/>
                      </a:lnTo>
                      <a:lnTo>
                        <a:pt x="686404" y="408703"/>
                      </a:lnTo>
                      <a:lnTo>
                        <a:pt x="680367" y="408703"/>
                      </a:lnTo>
                      <a:lnTo>
                        <a:pt x="682178" y="412929"/>
                      </a:lnTo>
                      <a:lnTo>
                        <a:pt x="685196" y="413533"/>
                      </a:lnTo>
                      <a:lnTo>
                        <a:pt x="685196" y="418966"/>
                      </a:lnTo>
                      <a:lnTo>
                        <a:pt x="677952" y="420173"/>
                      </a:lnTo>
                      <a:lnTo>
                        <a:pt x="675537" y="422588"/>
                      </a:lnTo>
                      <a:lnTo>
                        <a:pt x="674933" y="426210"/>
                      </a:lnTo>
                      <a:lnTo>
                        <a:pt x="666482" y="426814"/>
                      </a:lnTo>
                      <a:lnTo>
                        <a:pt x="661048" y="425003"/>
                      </a:lnTo>
                      <a:lnTo>
                        <a:pt x="659841" y="428625"/>
                      </a:lnTo>
                      <a:lnTo>
                        <a:pt x="651389" y="429832"/>
                      </a:lnTo>
                      <a:lnTo>
                        <a:pt x="654408" y="437680"/>
                      </a:lnTo>
                      <a:lnTo>
                        <a:pt x="658634" y="443717"/>
                      </a:lnTo>
                      <a:lnTo>
                        <a:pt x="668293" y="446736"/>
                      </a:lnTo>
                      <a:lnTo>
                        <a:pt x="672519" y="449150"/>
                      </a:lnTo>
                      <a:lnTo>
                        <a:pt x="676745" y="448547"/>
                      </a:lnTo>
                      <a:lnTo>
                        <a:pt x="684593" y="452169"/>
                      </a:lnTo>
                      <a:lnTo>
                        <a:pt x="690026" y="449754"/>
                      </a:lnTo>
                      <a:lnTo>
                        <a:pt x="699081" y="449150"/>
                      </a:lnTo>
                      <a:lnTo>
                        <a:pt x="706326" y="450962"/>
                      </a:lnTo>
                      <a:lnTo>
                        <a:pt x="709948" y="454584"/>
                      </a:lnTo>
                      <a:lnTo>
                        <a:pt x="720211" y="460017"/>
                      </a:lnTo>
                      <a:lnTo>
                        <a:pt x="721418" y="463036"/>
                      </a:lnTo>
                      <a:lnTo>
                        <a:pt x="719607" y="469073"/>
                      </a:lnTo>
                      <a:lnTo>
                        <a:pt x="715985" y="466658"/>
                      </a:lnTo>
                      <a:lnTo>
                        <a:pt x="711759" y="468469"/>
                      </a:lnTo>
                      <a:lnTo>
                        <a:pt x="707533" y="472091"/>
                      </a:lnTo>
                      <a:lnTo>
                        <a:pt x="702704" y="472695"/>
                      </a:lnTo>
                      <a:lnTo>
                        <a:pt x="700289" y="476921"/>
                      </a:lnTo>
                      <a:lnTo>
                        <a:pt x="701496" y="484769"/>
                      </a:lnTo>
                      <a:lnTo>
                        <a:pt x="701496" y="490202"/>
                      </a:lnTo>
                      <a:lnTo>
                        <a:pt x="699081" y="496239"/>
                      </a:lnTo>
                      <a:lnTo>
                        <a:pt x="699685" y="505295"/>
                      </a:lnTo>
                      <a:lnTo>
                        <a:pt x="702100" y="509520"/>
                      </a:lnTo>
                      <a:lnTo>
                        <a:pt x="703307" y="514350"/>
                      </a:lnTo>
                      <a:lnTo>
                        <a:pt x="700893" y="524009"/>
                      </a:lnTo>
                      <a:lnTo>
                        <a:pt x="704515" y="530046"/>
                      </a:lnTo>
                      <a:lnTo>
                        <a:pt x="703911" y="536083"/>
                      </a:lnTo>
                      <a:lnTo>
                        <a:pt x="705722" y="537894"/>
                      </a:lnTo>
                      <a:lnTo>
                        <a:pt x="704515" y="547553"/>
                      </a:lnTo>
                      <a:lnTo>
                        <a:pt x="696063" y="545742"/>
                      </a:lnTo>
                      <a:lnTo>
                        <a:pt x="687611" y="542724"/>
                      </a:lnTo>
                      <a:lnTo>
                        <a:pt x="677348" y="544535"/>
                      </a:lnTo>
                      <a:lnTo>
                        <a:pt x="672519" y="542120"/>
                      </a:lnTo>
                      <a:lnTo>
                        <a:pt x="658030" y="541516"/>
                      </a:lnTo>
                      <a:lnTo>
                        <a:pt x="650786" y="539102"/>
                      </a:lnTo>
                      <a:lnTo>
                        <a:pt x="648371" y="540309"/>
                      </a:lnTo>
                      <a:lnTo>
                        <a:pt x="636901" y="540913"/>
                      </a:lnTo>
                      <a:lnTo>
                        <a:pt x="629052" y="542724"/>
                      </a:lnTo>
                      <a:lnTo>
                        <a:pt x="626638" y="545139"/>
                      </a:lnTo>
                      <a:lnTo>
                        <a:pt x="621204" y="546346"/>
                      </a:lnTo>
                      <a:lnTo>
                        <a:pt x="615771" y="549364"/>
                      </a:lnTo>
                      <a:lnTo>
                        <a:pt x="606716" y="562042"/>
                      </a:lnTo>
                      <a:lnTo>
                        <a:pt x="605508" y="567475"/>
                      </a:lnTo>
                      <a:lnTo>
                        <a:pt x="612753" y="568079"/>
                      </a:lnTo>
                      <a:lnTo>
                        <a:pt x="612753" y="577738"/>
                      </a:lnTo>
                      <a:lnTo>
                        <a:pt x="609130" y="583775"/>
                      </a:lnTo>
                      <a:lnTo>
                        <a:pt x="609130" y="589208"/>
                      </a:lnTo>
                      <a:lnTo>
                        <a:pt x="615167" y="589812"/>
                      </a:lnTo>
                      <a:lnTo>
                        <a:pt x="616978" y="592831"/>
                      </a:lnTo>
                      <a:lnTo>
                        <a:pt x="615167" y="596453"/>
                      </a:lnTo>
                      <a:lnTo>
                        <a:pt x="620601" y="598868"/>
                      </a:lnTo>
                      <a:lnTo>
                        <a:pt x="625430" y="603093"/>
                      </a:lnTo>
                      <a:lnTo>
                        <a:pt x="623619" y="610338"/>
                      </a:lnTo>
                      <a:lnTo>
                        <a:pt x="616375" y="604905"/>
                      </a:lnTo>
                      <a:lnTo>
                        <a:pt x="613960" y="607319"/>
                      </a:lnTo>
                      <a:lnTo>
                        <a:pt x="605508" y="609734"/>
                      </a:lnTo>
                      <a:lnTo>
                        <a:pt x="605508" y="616375"/>
                      </a:lnTo>
                      <a:lnTo>
                        <a:pt x="604301" y="621204"/>
                      </a:lnTo>
                      <a:lnTo>
                        <a:pt x="605508" y="632071"/>
                      </a:lnTo>
                      <a:lnTo>
                        <a:pt x="604905" y="637504"/>
                      </a:lnTo>
                      <a:lnTo>
                        <a:pt x="598868" y="637504"/>
                      </a:lnTo>
                      <a:lnTo>
                        <a:pt x="594038" y="636297"/>
                      </a:lnTo>
                      <a:lnTo>
                        <a:pt x="593434" y="639315"/>
                      </a:lnTo>
                      <a:lnTo>
                        <a:pt x="598868" y="644145"/>
                      </a:lnTo>
                      <a:lnTo>
                        <a:pt x="600679" y="648371"/>
                      </a:lnTo>
                      <a:lnTo>
                        <a:pt x="605508" y="651389"/>
                      </a:lnTo>
                      <a:lnTo>
                        <a:pt x="605508" y="658634"/>
                      </a:lnTo>
                      <a:lnTo>
                        <a:pt x="608527" y="662256"/>
                      </a:lnTo>
                      <a:lnTo>
                        <a:pt x="607319" y="667689"/>
                      </a:lnTo>
                      <a:lnTo>
                        <a:pt x="612753" y="671915"/>
                      </a:lnTo>
                      <a:lnTo>
                        <a:pt x="613960" y="676141"/>
                      </a:lnTo>
                      <a:lnTo>
                        <a:pt x="622412" y="674330"/>
                      </a:lnTo>
                      <a:lnTo>
                        <a:pt x="623619" y="682178"/>
                      </a:lnTo>
                      <a:lnTo>
                        <a:pt x="630260" y="683385"/>
                      </a:lnTo>
                      <a:lnTo>
                        <a:pt x="628449" y="690629"/>
                      </a:lnTo>
                      <a:lnTo>
                        <a:pt x="624827" y="697270"/>
                      </a:lnTo>
                      <a:lnTo>
                        <a:pt x="629052" y="697874"/>
                      </a:lnTo>
                      <a:lnTo>
                        <a:pt x="632071" y="702703"/>
                      </a:lnTo>
                      <a:lnTo>
                        <a:pt x="633278" y="708137"/>
                      </a:lnTo>
                      <a:lnTo>
                        <a:pt x="630260" y="721418"/>
                      </a:lnTo>
                      <a:lnTo>
                        <a:pt x="626034" y="724437"/>
                      </a:lnTo>
                      <a:lnTo>
                        <a:pt x="625430" y="729870"/>
                      </a:lnTo>
                      <a:lnTo>
                        <a:pt x="622412" y="738322"/>
                      </a:lnTo>
                      <a:lnTo>
                        <a:pt x="616375" y="739529"/>
                      </a:lnTo>
                      <a:lnTo>
                        <a:pt x="615771" y="744359"/>
                      </a:lnTo>
                      <a:lnTo>
                        <a:pt x="607923" y="743151"/>
                      </a:lnTo>
                      <a:lnTo>
                        <a:pt x="609130" y="737718"/>
                      </a:lnTo>
                      <a:lnTo>
                        <a:pt x="600075" y="737718"/>
                      </a:lnTo>
                      <a:lnTo>
                        <a:pt x="592831" y="741340"/>
                      </a:lnTo>
                      <a:lnTo>
                        <a:pt x="589209" y="738925"/>
                      </a:lnTo>
                      <a:lnTo>
                        <a:pt x="581964" y="737718"/>
                      </a:lnTo>
                      <a:lnTo>
                        <a:pt x="574116" y="738322"/>
                      </a:lnTo>
                      <a:lnTo>
                        <a:pt x="571098" y="732285"/>
                      </a:lnTo>
                      <a:lnTo>
                        <a:pt x="566268" y="728663"/>
                      </a:lnTo>
                      <a:lnTo>
                        <a:pt x="562646" y="728059"/>
                      </a:lnTo>
                      <a:lnTo>
                        <a:pt x="557816" y="725040"/>
                      </a:lnTo>
                      <a:lnTo>
                        <a:pt x="552987" y="730474"/>
                      </a:lnTo>
                      <a:lnTo>
                        <a:pt x="552383" y="732888"/>
                      </a:lnTo>
                      <a:lnTo>
                        <a:pt x="555401" y="740737"/>
                      </a:lnTo>
                      <a:lnTo>
                        <a:pt x="549364" y="747981"/>
                      </a:lnTo>
                      <a:lnTo>
                        <a:pt x="551176" y="750396"/>
                      </a:lnTo>
                      <a:lnTo>
                        <a:pt x="561438" y="752207"/>
                      </a:lnTo>
                      <a:lnTo>
                        <a:pt x="564457" y="754622"/>
                      </a:lnTo>
                      <a:lnTo>
                        <a:pt x="566872" y="752810"/>
                      </a:lnTo>
                      <a:lnTo>
                        <a:pt x="571701" y="752207"/>
                      </a:lnTo>
                      <a:lnTo>
                        <a:pt x="571701" y="757640"/>
                      </a:lnTo>
                      <a:lnTo>
                        <a:pt x="571098" y="767299"/>
                      </a:lnTo>
                      <a:lnTo>
                        <a:pt x="568079" y="767903"/>
                      </a:lnTo>
                      <a:lnTo>
                        <a:pt x="569286" y="773336"/>
                      </a:lnTo>
                      <a:lnTo>
                        <a:pt x="568683" y="778769"/>
                      </a:lnTo>
                      <a:lnTo>
                        <a:pt x="566872" y="780580"/>
                      </a:lnTo>
                      <a:lnTo>
                        <a:pt x="565664" y="790239"/>
                      </a:lnTo>
                      <a:lnTo>
                        <a:pt x="554194" y="791447"/>
                      </a:lnTo>
                      <a:lnTo>
                        <a:pt x="557816" y="801106"/>
                      </a:lnTo>
                      <a:lnTo>
                        <a:pt x="552383" y="813784"/>
                      </a:lnTo>
                      <a:lnTo>
                        <a:pt x="550572" y="830084"/>
                      </a:lnTo>
                      <a:lnTo>
                        <a:pt x="554194" y="833706"/>
                      </a:lnTo>
                      <a:lnTo>
                        <a:pt x="558420" y="845176"/>
                      </a:lnTo>
                      <a:lnTo>
                        <a:pt x="567475" y="848798"/>
                      </a:lnTo>
                      <a:lnTo>
                        <a:pt x="571701" y="856043"/>
                      </a:lnTo>
                      <a:lnTo>
                        <a:pt x="574720" y="857250"/>
                      </a:lnTo>
                      <a:lnTo>
                        <a:pt x="580153" y="854232"/>
                      </a:lnTo>
                      <a:lnTo>
                        <a:pt x="594038" y="855439"/>
                      </a:lnTo>
                      <a:lnTo>
                        <a:pt x="591020" y="862683"/>
                      </a:lnTo>
                      <a:lnTo>
                        <a:pt x="588001" y="862683"/>
                      </a:lnTo>
                      <a:lnTo>
                        <a:pt x="587397" y="872342"/>
                      </a:lnTo>
                      <a:lnTo>
                        <a:pt x="581964" y="869324"/>
                      </a:lnTo>
                      <a:lnTo>
                        <a:pt x="578342" y="873550"/>
                      </a:lnTo>
                      <a:lnTo>
                        <a:pt x="575323" y="874153"/>
                      </a:lnTo>
                      <a:lnTo>
                        <a:pt x="574720" y="882605"/>
                      </a:lnTo>
                      <a:lnTo>
                        <a:pt x="578946" y="889246"/>
                      </a:lnTo>
                      <a:lnTo>
                        <a:pt x="588001" y="892264"/>
                      </a:lnTo>
                      <a:lnTo>
                        <a:pt x="588001" y="897094"/>
                      </a:lnTo>
                      <a:lnTo>
                        <a:pt x="584379" y="899509"/>
                      </a:lnTo>
                      <a:lnTo>
                        <a:pt x="586794" y="906149"/>
                      </a:lnTo>
                      <a:lnTo>
                        <a:pt x="589812" y="907357"/>
                      </a:lnTo>
                      <a:lnTo>
                        <a:pt x="595849" y="906753"/>
                      </a:lnTo>
                      <a:lnTo>
                        <a:pt x="600679" y="907960"/>
                      </a:lnTo>
                      <a:lnTo>
                        <a:pt x="606716" y="906149"/>
                      </a:lnTo>
                      <a:lnTo>
                        <a:pt x="609734" y="906149"/>
                      </a:lnTo>
                      <a:lnTo>
                        <a:pt x="615167" y="912790"/>
                      </a:lnTo>
                      <a:lnTo>
                        <a:pt x="619393" y="912790"/>
                      </a:lnTo>
                      <a:lnTo>
                        <a:pt x="622412" y="910375"/>
                      </a:lnTo>
                      <a:lnTo>
                        <a:pt x="623619" y="902527"/>
                      </a:lnTo>
                      <a:lnTo>
                        <a:pt x="621808" y="901320"/>
                      </a:lnTo>
                      <a:lnTo>
                        <a:pt x="623015" y="895886"/>
                      </a:lnTo>
                      <a:lnTo>
                        <a:pt x="625430" y="892868"/>
                      </a:lnTo>
                      <a:lnTo>
                        <a:pt x="626638" y="886831"/>
                      </a:lnTo>
                      <a:lnTo>
                        <a:pt x="630864" y="885624"/>
                      </a:lnTo>
                      <a:lnTo>
                        <a:pt x="639919" y="890453"/>
                      </a:lnTo>
                      <a:lnTo>
                        <a:pt x="650182" y="890453"/>
                      </a:lnTo>
                      <a:lnTo>
                        <a:pt x="652597" y="888038"/>
                      </a:lnTo>
                      <a:lnTo>
                        <a:pt x="657426" y="886831"/>
                      </a:lnTo>
                      <a:lnTo>
                        <a:pt x="657426" y="898301"/>
                      </a:lnTo>
                      <a:lnTo>
                        <a:pt x="673726" y="900112"/>
                      </a:lnTo>
                      <a:lnTo>
                        <a:pt x="673122" y="908564"/>
                      </a:lnTo>
                      <a:lnTo>
                        <a:pt x="677348" y="910979"/>
                      </a:lnTo>
                      <a:lnTo>
                        <a:pt x="678556" y="916412"/>
                      </a:lnTo>
                      <a:lnTo>
                        <a:pt x="685196" y="913997"/>
                      </a:lnTo>
                      <a:lnTo>
                        <a:pt x="682178" y="901923"/>
                      </a:lnTo>
                      <a:lnTo>
                        <a:pt x="679763" y="901320"/>
                      </a:lnTo>
                      <a:lnTo>
                        <a:pt x="676745" y="894679"/>
                      </a:lnTo>
                      <a:lnTo>
                        <a:pt x="677952" y="889849"/>
                      </a:lnTo>
                      <a:lnTo>
                        <a:pt x="680970" y="887435"/>
                      </a:lnTo>
                      <a:lnTo>
                        <a:pt x="687611" y="889246"/>
                      </a:lnTo>
                      <a:lnTo>
                        <a:pt x="690630" y="891057"/>
                      </a:lnTo>
                      <a:lnTo>
                        <a:pt x="691233" y="898301"/>
                      </a:lnTo>
                      <a:lnTo>
                        <a:pt x="693648" y="899509"/>
                      </a:lnTo>
                      <a:lnTo>
                        <a:pt x="698478" y="897094"/>
                      </a:lnTo>
                      <a:lnTo>
                        <a:pt x="702704" y="901923"/>
                      </a:lnTo>
                      <a:lnTo>
                        <a:pt x="700893" y="908564"/>
                      </a:lnTo>
                      <a:lnTo>
                        <a:pt x="705118" y="920638"/>
                      </a:lnTo>
                      <a:lnTo>
                        <a:pt x="702704" y="924864"/>
                      </a:lnTo>
                      <a:lnTo>
                        <a:pt x="695459" y="922449"/>
                      </a:lnTo>
                      <a:lnTo>
                        <a:pt x="679763" y="921846"/>
                      </a:lnTo>
                      <a:lnTo>
                        <a:pt x="677348" y="929694"/>
                      </a:lnTo>
                      <a:lnTo>
                        <a:pt x="671311" y="930901"/>
                      </a:lnTo>
                      <a:lnTo>
                        <a:pt x="672519" y="934523"/>
                      </a:lnTo>
                      <a:lnTo>
                        <a:pt x="679763" y="932108"/>
                      </a:lnTo>
                      <a:lnTo>
                        <a:pt x="680970" y="935127"/>
                      </a:lnTo>
                      <a:lnTo>
                        <a:pt x="677952" y="938145"/>
                      </a:lnTo>
                      <a:lnTo>
                        <a:pt x="676141" y="941768"/>
                      </a:lnTo>
                      <a:lnTo>
                        <a:pt x="671915" y="945994"/>
                      </a:lnTo>
                      <a:lnTo>
                        <a:pt x="669500" y="945994"/>
                      </a:lnTo>
                      <a:lnTo>
                        <a:pt x="667085" y="952031"/>
                      </a:lnTo>
                      <a:lnTo>
                        <a:pt x="678556" y="955653"/>
                      </a:lnTo>
                      <a:lnTo>
                        <a:pt x="676745" y="961086"/>
                      </a:lnTo>
                      <a:lnTo>
                        <a:pt x="679159" y="962897"/>
                      </a:lnTo>
                      <a:lnTo>
                        <a:pt x="686404" y="962293"/>
                      </a:lnTo>
                      <a:lnTo>
                        <a:pt x="688215" y="964105"/>
                      </a:lnTo>
                      <a:lnTo>
                        <a:pt x="688215" y="968934"/>
                      </a:lnTo>
                      <a:lnTo>
                        <a:pt x="683989" y="970745"/>
                      </a:lnTo>
                      <a:lnTo>
                        <a:pt x="685800" y="979800"/>
                      </a:lnTo>
                      <a:lnTo>
                        <a:pt x="681574" y="982819"/>
                      </a:lnTo>
                      <a:lnTo>
                        <a:pt x="680367" y="979197"/>
                      </a:lnTo>
                      <a:lnTo>
                        <a:pt x="671311" y="979197"/>
                      </a:lnTo>
                      <a:lnTo>
                        <a:pt x="670104" y="975575"/>
                      </a:lnTo>
                      <a:lnTo>
                        <a:pt x="674330" y="969538"/>
                      </a:lnTo>
                      <a:lnTo>
                        <a:pt x="670708" y="967727"/>
                      </a:lnTo>
                      <a:lnTo>
                        <a:pt x="672519" y="961086"/>
                      </a:lnTo>
                      <a:lnTo>
                        <a:pt x="668293" y="959879"/>
                      </a:lnTo>
                      <a:lnTo>
                        <a:pt x="664067" y="952031"/>
                      </a:lnTo>
                      <a:lnTo>
                        <a:pt x="662256" y="951427"/>
                      </a:lnTo>
                      <a:lnTo>
                        <a:pt x="656823" y="955653"/>
                      </a:lnTo>
                      <a:lnTo>
                        <a:pt x="655615" y="951427"/>
                      </a:lnTo>
                      <a:lnTo>
                        <a:pt x="649578" y="955653"/>
                      </a:lnTo>
                      <a:lnTo>
                        <a:pt x="639919" y="956860"/>
                      </a:lnTo>
                      <a:lnTo>
                        <a:pt x="635089" y="955653"/>
                      </a:lnTo>
                      <a:lnTo>
                        <a:pt x="631467" y="959275"/>
                      </a:lnTo>
                      <a:lnTo>
                        <a:pt x="627241" y="957464"/>
                      </a:lnTo>
                      <a:lnTo>
                        <a:pt x="624827" y="948408"/>
                      </a:lnTo>
                      <a:lnTo>
                        <a:pt x="618186" y="949012"/>
                      </a:lnTo>
                      <a:lnTo>
                        <a:pt x="613960" y="947201"/>
                      </a:lnTo>
                      <a:lnTo>
                        <a:pt x="604301" y="945994"/>
                      </a:lnTo>
                      <a:lnTo>
                        <a:pt x="604301" y="939353"/>
                      </a:lnTo>
                      <a:lnTo>
                        <a:pt x="601886" y="937542"/>
                      </a:lnTo>
                      <a:lnTo>
                        <a:pt x="603697" y="920638"/>
                      </a:lnTo>
                      <a:lnTo>
                        <a:pt x="591020" y="920034"/>
                      </a:lnTo>
                      <a:lnTo>
                        <a:pt x="587397" y="917016"/>
                      </a:lnTo>
                      <a:lnTo>
                        <a:pt x="586794" y="921846"/>
                      </a:lnTo>
                      <a:lnTo>
                        <a:pt x="582568" y="923657"/>
                      </a:lnTo>
                      <a:lnTo>
                        <a:pt x="577135" y="923657"/>
                      </a:lnTo>
                      <a:lnTo>
                        <a:pt x="575927" y="929090"/>
                      </a:lnTo>
                      <a:lnTo>
                        <a:pt x="581360" y="931505"/>
                      </a:lnTo>
                      <a:lnTo>
                        <a:pt x="583775" y="929694"/>
                      </a:lnTo>
                      <a:lnTo>
                        <a:pt x="588001" y="933316"/>
                      </a:lnTo>
                      <a:lnTo>
                        <a:pt x="589812" y="938749"/>
                      </a:lnTo>
                      <a:lnTo>
                        <a:pt x="592831" y="939957"/>
                      </a:lnTo>
                      <a:lnTo>
                        <a:pt x="594038" y="945994"/>
                      </a:lnTo>
                      <a:lnTo>
                        <a:pt x="586794" y="947201"/>
                      </a:lnTo>
                      <a:lnTo>
                        <a:pt x="585586" y="952634"/>
                      </a:lnTo>
                      <a:lnTo>
                        <a:pt x="589209" y="955653"/>
                      </a:lnTo>
                      <a:lnTo>
                        <a:pt x="594642" y="958068"/>
                      </a:lnTo>
                      <a:lnTo>
                        <a:pt x="598264" y="961086"/>
                      </a:lnTo>
                      <a:lnTo>
                        <a:pt x="597660" y="966519"/>
                      </a:lnTo>
                      <a:lnTo>
                        <a:pt x="607319" y="973160"/>
                      </a:lnTo>
                      <a:lnTo>
                        <a:pt x="607923" y="979197"/>
                      </a:lnTo>
                      <a:lnTo>
                        <a:pt x="603093" y="979800"/>
                      </a:lnTo>
                      <a:lnTo>
                        <a:pt x="600679" y="988856"/>
                      </a:lnTo>
                      <a:lnTo>
                        <a:pt x="593434" y="997308"/>
                      </a:lnTo>
                      <a:lnTo>
                        <a:pt x="596453" y="998515"/>
                      </a:lnTo>
                      <a:lnTo>
                        <a:pt x="595849" y="1002741"/>
                      </a:lnTo>
                      <a:lnTo>
                        <a:pt x="598264" y="1011796"/>
                      </a:lnTo>
                      <a:lnTo>
                        <a:pt x="601886" y="1014211"/>
                      </a:lnTo>
                      <a:lnTo>
                        <a:pt x="603697" y="1006363"/>
                      </a:lnTo>
                      <a:lnTo>
                        <a:pt x="606716" y="1006363"/>
                      </a:lnTo>
                      <a:lnTo>
                        <a:pt x="612149" y="1012400"/>
                      </a:lnTo>
                      <a:lnTo>
                        <a:pt x="616375" y="1013004"/>
                      </a:lnTo>
                      <a:lnTo>
                        <a:pt x="616375" y="1009382"/>
                      </a:lnTo>
                      <a:lnTo>
                        <a:pt x="619393" y="1008174"/>
                      </a:lnTo>
                      <a:lnTo>
                        <a:pt x="624827" y="1009985"/>
                      </a:lnTo>
                      <a:lnTo>
                        <a:pt x="633882" y="1009382"/>
                      </a:lnTo>
                      <a:lnTo>
                        <a:pt x="635089" y="1005759"/>
                      </a:lnTo>
                      <a:lnTo>
                        <a:pt x="631467" y="999722"/>
                      </a:lnTo>
                      <a:lnTo>
                        <a:pt x="633278" y="996100"/>
                      </a:lnTo>
                      <a:lnTo>
                        <a:pt x="629656" y="992478"/>
                      </a:lnTo>
                      <a:lnTo>
                        <a:pt x="625430" y="990667"/>
                      </a:lnTo>
                      <a:lnTo>
                        <a:pt x="628449" y="987045"/>
                      </a:lnTo>
                      <a:lnTo>
                        <a:pt x="633882" y="985837"/>
                      </a:lnTo>
                      <a:lnTo>
                        <a:pt x="632071" y="978593"/>
                      </a:lnTo>
                      <a:lnTo>
                        <a:pt x="636297" y="974971"/>
                      </a:lnTo>
                      <a:lnTo>
                        <a:pt x="637504" y="977989"/>
                      </a:lnTo>
                      <a:lnTo>
                        <a:pt x="635693" y="986441"/>
                      </a:lnTo>
                      <a:lnTo>
                        <a:pt x="639315" y="987648"/>
                      </a:lnTo>
                      <a:lnTo>
                        <a:pt x="645956" y="979197"/>
                      </a:lnTo>
                      <a:lnTo>
                        <a:pt x="648975" y="979800"/>
                      </a:lnTo>
                      <a:lnTo>
                        <a:pt x="651389" y="991271"/>
                      </a:lnTo>
                      <a:lnTo>
                        <a:pt x="658634" y="990063"/>
                      </a:lnTo>
                      <a:lnTo>
                        <a:pt x="662859" y="987648"/>
                      </a:lnTo>
                      <a:lnTo>
                        <a:pt x="665878" y="994289"/>
                      </a:lnTo>
                      <a:lnTo>
                        <a:pt x="672519" y="990063"/>
                      </a:lnTo>
                      <a:lnTo>
                        <a:pt x="676745" y="993082"/>
                      </a:lnTo>
                      <a:lnTo>
                        <a:pt x="687007" y="994289"/>
                      </a:lnTo>
                      <a:lnTo>
                        <a:pt x="683989" y="999722"/>
                      </a:lnTo>
                      <a:lnTo>
                        <a:pt x="688215" y="1002137"/>
                      </a:lnTo>
                      <a:lnTo>
                        <a:pt x="692441" y="1002741"/>
                      </a:lnTo>
                      <a:lnTo>
                        <a:pt x="694856" y="1011796"/>
                      </a:lnTo>
                      <a:lnTo>
                        <a:pt x="693648" y="1018437"/>
                      </a:lnTo>
                      <a:lnTo>
                        <a:pt x="691233" y="1022059"/>
                      </a:lnTo>
                      <a:lnTo>
                        <a:pt x="692441" y="1026285"/>
                      </a:lnTo>
                      <a:lnTo>
                        <a:pt x="697874" y="1025681"/>
                      </a:lnTo>
                      <a:lnTo>
                        <a:pt x="698478" y="1020248"/>
                      </a:lnTo>
                      <a:lnTo>
                        <a:pt x="703307" y="1020248"/>
                      </a:lnTo>
                      <a:lnTo>
                        <a:pt x="706929" y="1023267"/>
                      </a:lnTo>
                      <a:lnTo>
                        <a:pt x="708741" y="1019644"/>
                      </a:lnTo>
                      <a:lnTo>
                        <a:pt x="706929" y="1011796"/>
                      </a:lnTo>
                      <a:lnTo>
                        <a:pt x="711155" y="1011796"/>
                      </a:lnTo>
                      <a:lnTo>
                        <a:pt x="712363" y="1016626"/>
                      </a:lnTo>
                      <a:lnTo>
                        <a:pt x="719607" y="1014211"/>
                      </a:lnTo>
                      <a:lnTo>
                        <a:pt x="722625" y="1011796"/>
                      </a:lnTo>
                      <a:lnTo>
                        <a:pt x="726851" y="1014815"/>
                      </a:lnTo>
                      <a:lnTo>
                        <a:pt x="726248" y="1008174"/>
                      </a:lnTo>
                      <a:lnTo>
                        <a:pt x="733492" y="1004552"/>
                      </a:lnTo>
                      <a:lnTo>
                        <a:pt x="737718" y="1004552"/>
                      </a:lnTo>
                      <a:lnTo>
                        <a:pt x="737718" y="1009985"/>
                      </a:lnTo>
                      <a:lnTo>
                        <a:pt x="743151" y="1007570"/>
                      </a:lnTo>
                      <a:lnTo>
                        <a:pt x="746170" y="1013004"/>
                      </a:lnTo>
                      <a:lnTo>
                        <a:pt x="746773" y="1001533"/>
                      </a:lnTo>
                      <a:lnTo>
                        <a:pt x="749792" y="999119"/>
                      </a:lnTo>
                      <a:lnTo>
                        <a:pt x="758244" y="997911"/>
                      </a:lnTo>
                      <a:lnTo>
                        <a:pt x="759451" y="993082"/>
                      </a:lnTo>
                      <a:lnTo>
                        <a:pt x="764884" y="991271"/>
                      </a:lnTo>
                      <a:lnTo>
                        <a:pt x="770318" y="987045"/>
                      </a:lnTo>
                      <a:lnTo>
                        <a:pt x="769110" y="981008"/>
                      </a:lnTo>
                      <a:lnTo>
                        <a:pt x="766695" y="979800"/>
                      </a:lnTo>
                      <a:lnTo>
                        <a:pt x="766092" y="974971"/>
                      </a:lnTo>
                      <a:lnTo>
                        <a:pt x="767299" y="971952"/>
                      </a:lnTo>
                      <a:lnTo>
                        <a:pt x="777562" y="972556"/>
                      </a:lnTo>
                      <a:lnTo>
                        <a:pt x="782392" y="971952"/>
                      </a:lnTo>
                      <a:lnTo>
                        <a:pt x="782995" y="976178"/>
                      </a:lnTo>
                      <a:lnTo>
                        <a:pt x="787825" y="979197"/>
                      </a:lnTo>
                      <a:lnTo>
                        <a:pt x="795673" y="972556"/>
                      </a:lnTo>
                      <a:lnTo>
                        <a:pt x="798088" y="967727"/>
                      </a:lnTo>
                      <a:lnTo>
                        <a:pt x="801106" y="968330"/>
                      </a:lnTo>
                      <a:lnTo>
                        <a:pt x="800503" y="973160"/>
                      </a:lnTo>
                      <a:lnTo>
                        <a:pt x="801106" y="979800"/>
                      </a:lnTo>
                      <a:lnTo>
                        <a:pt x="795673" y="981612"/>
                      </a:lnTo>
                      <a:lnTo>
                        <a:pt x="793862" y="984630"/>
                      </a:lnTo>
                      <a:lnTo>
                        <a:pt x="795069" y="994289"/>
                      </a:lnTo>
                      <a:lnTo>
                        <a:pt x="798691" y="995496"/>
                      </a:lnTo>
                      <a:lnTo>
                        <a:pt x="802917" y="986441"/>
                      </a:lnTo>
                      <a:lnTo>
                        <a:pt x="813784" y="988252"/>
                      </a:lnTo>
                      <a:lnTo>
                        <a:pt x="814388" y="981008"/>
                      </a:lnTo>
                      <a:lnTo>
                        <a:pt x="820424" y="984630"/>
                      </a:lnTo>
                      <a:lnTo>
                        <a:pt x="821028" y="988252"/>
                      </a:lnTo>
                      <a:lnTo>
                        <a:pt x="827669" y="988252"/>
                      </a:lnTo>
                      <a:lnTo>
                        <a:pt x="830084" y="994893"/>
                      </a:lnTo>
                      <a:lnTo>
                        <a:pt x="828272" y="999119"/>
                      </a:lnTo>
                      <a:lnTo>
                        <a:pt x="830084" y="1004552"/>
                      </a:lnTo>
                      <a:lnTo>
                        <a:pt x="828876" y="1007570"/>
                      </a:lnTo>
                      <a:lnTo>
                        <a:pt x="823443" y="1013607"/>
                      </a:lnTo>
                      <a:lnTo>
                        <a:pt x="828272" y="1018437"/>
                      </a:lnTo>
                      <a:lnTo>
                        <a:pt x="827669" y="1024474"/>
                      </a:lnTo>
                      <a:lnTo>
                        <a:pt x="823443" y="1025078"/>
                      </a:lnTo>
                      <a:lnTo>
                        <a:pt x="819217" y="1023267"/>
                      </a:lnTo>
                      <a:lnTo>
                        <a:pt x="819217" y="1028700"/>
                      </a:lnTo>
                      <a:lnTo>
                        <a:pt x="822236" y="1031718"/>
                      </a:lnTo>
                      <a:lnTo>
                        <a:pt x="822236" y="1034737"/>
                      </a:lnTo>
                      <a:lnTo>
                        <a:pt x="827669" y="1032322"/>
                      </a:lnTo>
                      <a:lnTo>
                        <a:pt x="836121" y="1031718"/>
                      </a:lnTo>
                      <a:lnTo>
                        <a:pt x="838535" y="1032322"/>
                      </a:lnTo>
                      <a:lnTo>
                        <a:pt x="839139" y="1037152"/>
                      </a:lnTo>
                      <a:lnTo>
                        <a:pt x="845780" y="1038963"/>
                      </a:lnTo>
                      <a:lnTo>
                        <a:pt x="845780" y="1043189"/>
                      </a:lnTo>
                      <a:lnTo>
                        <a:pt x="842761" y="1046811"/>
                      </a:lnTo>
                      <a:lnTo>
                        <a:pt x="844572" y="1051641"/>
                      </a:lnTo>
                      <a:lnTo>
                        <a:pt x="848798" y="1046207"/>
                      </a:lnTo>
                      <a:lnTo>
                        <a:pt x="853024" y="1045000"/>
                      </a:lnTo>
                      <a:lnTo>
                        <a:pt x="857250" y="1047415"/>
                      </a:lnTo>
                      <a:lnTo>
                        <a:pt x="870531" y="1045604"/>
                      </a:lnTo>
                      <a:lnTo>
                        <a:pt x="876568" y="1046811"/>
                      </a:lnTo>
                      <a:lnTo>
                        <a:pt x="884416" y="1046207"/>
                      </a:lnTo>
                      <a:lnTo>
                        <a:pt x="888039" y="1049226"/>
                      </a:lnTo>
                      <a:lnTo>
                        <a:pt x="885020" y="1056470"/>
                      </a:lnTo>
                      <a:lnTo>
                        <a:pt x="881398" y="1064318"/>
                      </a:lnTo>
                      <a:lnTo>
                        <a:pt x="880794" y="1073374"/>
                      </a:lnTo>
                      <a:lnTo>
                        <a:pt x="882605" y="1086655"/>
                      </a:lnTo>
                      <a:lnTo>
                        <a:pt x="878983" y="1093899"/>
                      </a:lnTo>
                      <a:lnTo>
                        <a:pt x="888039" y="1098729"/>
                      </a:lnTo>
                      <a:lnTo>
                        <a:pt x="886227" y="1104766"/>
                      </a:lnTo>
                      <a:lnTo>
                        <a:pt x="891661" y="1102351"/>
                      </a:lnTo>
                      <a:lnTo>
                        <a:pt x="894076" y="1102351"/>
                      </a:lnTo>
                      <a:lnTo>
                        <a:pt x="895887" y="1105973"/>
                      </a:lnTo>
                      <a:lnTo>
                        <a:pt x="901924" y="1103558"/>
                      </a:lnTo>
                      <a:lnTo>
                        <a:pt x="902527" y="1107180"/>
                      </a:lnTo>
                      <a:lnTo>
                        <a:pt x="909168" y="1110803"/>
                      </a:lnTo>
                      <a:lnTo>
                        <a:pt x="913394" y="1115029"/>
                      </a:lnTo>
                      <a:lnTo>
                        <a:pt x="914601" y="1110803"/>
                      </a:lnTo>
                      <a:lnTo>
                        <a:pt x="922449" y="1111406"/>
                      </a:lnTo>
                      <a:lnTo>
                        <a:pt x="924864" y="1113821"/>
                      </a:lnTo>
                      <a:lnTo>
                        <a:pt x="921242" y="1119858"/>
                      </a:lnTo>
                      <a:lnTo>
                        <a:pt x="920035" y="1128914"/>
                      </a:lnTo>
                      <a:lnTo>
                        <a:pt x="923053" y="1136158"/>
                      </a:lnTo>
                      <a:lnTo>
                        <a:pt x="917016" y="1137365"/>
                      </a:lnTo>
                      <a:lnTo>
                        <a:pt x="916412" y="1141591"/>
                      </a:lnTo>
                      <a:lnTo>
                        <a:pt x="910979" y="1144006"/>
                      </a:lnTo>
                      <a:lnTo>
                        <a:pt x="911583" y="1151251"/>
                      </a:lnTo>
                      <a:lnTo>
                        <a:pt x="908564" y="1154269"/>
                      </a:lnTo>
                      <a:lnTo>
                        <a:pt x="909772" y="1157891"/>
                      </a:lnTo>
                      <a:lnTo>
                        <a:pt x="901924" y="1160306"/>
                      </a:lnTo>
                      <a:lnTo>
                        <a:pt x="898905" y="1162721"/>
                      </a:lnTo>
                      <a:lnTo>
                        <a:pt x="898905" y="1166343"/>
                      </a:lnTo>
                      <a:lnTo>
                        <a:pt x="900716" y="1173587"/>
                      </a:lnTo>
                      <a:lnTo>
                        <a:pt x="900113" y="1177210"/>
                      </a:lnTo>
                      <a:lnTo>
                        <a:pt x="892868" y="1176002"/>
                      </a:lnTo>
                      <a:lnTo>
                        <a:pt x="892868" y="1185661"/>
                      </a:lnTo>
                      <a:lnTo>
                        <a:pt x="895887" y="1190491"/>
                      </a:lnTo>
                      <a:lnTo>
                        <a:pt x="891661" y="1192906"/>
                      </a:lnTo>
                      <a:lnTo>
                        <a:pt x="885624" y="1189284"/>
                      </a:lnTo>
                      <a:lnTo>
                        <a:pt x="883813" y="1191698"/>
                      </a:lnTo>
                      <a:lnTo>
                        <a:pt x="877172" y="1184454"/>
                      </a:lnTo>
                      <a:lnTo>
                        <a:pt x="873550" y="1192906"/>
                      </a:lnTo>
                      <a:lnTo>
                        <a:pt x="871135" y="1191698"/>
                      </a:lnTo>
                      <a:lnTo>
                        <a:pt x="868720" y="1197735"/>
                      </a:lnTo>
                      <a:lnTo>
                        <a:pt x="868117" y="1201357"/>
                      </a:lnTo>
                      <a:lnTo>
                        <a:pt x="859665" y="1199546"/>
                      </a:lnTo>
                      <a:lnTo>
                        <a:pt x="855439" y="1201357"/>
                      </a:lnTo>
                      <a:lnTo>
                        <a:pt x="855439" y="1209205"/>
                      </a:lnTo>
                      <a:lnTo>
                        <a:pt x="853024" y="1219468"/>
                      </a:lnTo>
                      <a:lnTo>
                        <a:pt x="851213" y="1221279"/>
                      </a:lnTo>
                      <a:lnTo>
                        <a:pt x="840346" y="1218864"/>
                      </a:lnTo>
                      <a:lnTo>
                        <a:pt x="838535" y="1220072"/>
                      </a:lnTo>
                      <a:lnTo>
                        <a:pt x="830687" y="1217657"/>
                      </a:lnTo>
                      <a:lnTo>
                        <a:pt x="829480" y="1214035"/>
                      </a:lnTo>
                      <a:lnTo>
                        <a:pt x="823443" y="1211016"/>
                      </a:lnTo>
                      <a:lnTo>
                        <a:pt x="819217" y="1204979"/>
                      </a:lnTo>
                      <a:lnTo>
                        <a:pt x="810162" y="1202565"/>
                      </a:lnTo>
                      <a:lnTo>
                        <a:pt x="804728" y="1208602"/>
                      </a:lnTo>
                      <a:lnTo>
                        <a:pt x="801710" y="1209205"/>
                      </a:lnTo>
                      <a:lnTo>
                        <a:pt x="796880" y="1203772"/>
                      </a:lnTo>
                      <a:lnTo>
                        <a:pt x="793258" y="1205583"/>
                      </a:lnTo>
                      <a:lnTo>
                        <a:pt x="792051" y="1208602"/>
                      </a:lnTo>
                      <a:lnTo>
                        <a:pt x="787221" y="1206791"/>
                      </a:lnTo>
                      <a:lnTo>
                        <a:pt x="788429" y="1201961"/>
                      </a:lnTo>
                      <a:lnTo>
                        <a:pt x="790843" y="1200754"/>
                      </a:lnTo>
                      <a:lnTo>
                        <a:pt x="788429" y="1195924"/>
                      </a:lnTo>
                      <a:lnTo>
                        <a:pt x="782392" y="1197132"/>
                      </a:lnTo>
                      <a:lnTo>
                        <a:pt x="781788" y="1198943"/>
                      </a:lnTo>
                      <a:lnTo>
                        <a:pt x="769714" y="1198943"/>
                      </a:lnTo>
                      <a:lnTo>
                        <a:pt x="769110" y="1200754"/>
                      </a:lnTo>
                      <a:lnTo>
                        <a:pt x="761262" y="1205583"/>
                      </a:lnTo>
                      <a:lnTo>
                        <a:pt x="764884" y="1207394"/>
                      </a:lnTo>
                      <a:lnTo>
                        <a:pt x="761866" y="1215242"/>
                      </a:lnTo>
                      <a:lnTo>
                        <a:pt x="758847" y="1220072"/>
                      </a:lnTo>
                      <a:lnTo>
                        <a:pt x="761262" y="1223090"/>
                      </a:lnTo>
                      <a:lnTo>
                        <a:pt x="755829" y="1226713"/>
                      </a:lnTo>
                      <a:lnTo>
                        <a:pt x="757036" y="1229731"/>
                      </a:lnTo>
                      <a:lnTo>
                        <a:pt x="754622" y="1235164"/>
                      </a:lnTo>
                      <a:lnTo>
                        <a:pt x="749792" y="1236372"/>
                      </a:lnTo>
                      <a:lnTo>
                        <a:pt x="747981" y="1240598"/>
                      </a:lnTo>
                      <a:lnTo>
                        <a:pt x="744962" y="1238183"/>
                      </a:lnTo>
                      <a:lnTo>
                        <a:pt x="743151" y="1243012"/>
                      </a:lnTo>
                      <a:lnTo>
                        <a:pt x="737114" y="1243012"/>
                      </a:lnTo>
                      <a:lnTo>
                        <a:pt x="737718" y="1238787"/>
                      </a:lnTo>
                      <a:lnTo>
                        <a:pt x="734699" y="1238183"/>
                      </a:lnTo>
                      <a:lnTo>
                        <a:pt x="721418" y="1241805"/>
                      </a:lnTo>
                      <a:lnTo>
                        <a:pt x="720814" y="1244824"/>
                      </a:lnTo>
                      <a:lnTo>
                        <a:pt x="722625" y="1249653"/>
                      </a:lnTo>
                      <a:lnTo>
                        <a:pt x="719607" y="1252672"/>
                      </a:lnTo>
                      <a:lnTo>
                        <a:pt x="719607" y="1256898"/>
                      </a:lnTo>
                      <a:lnTo>
                        <a:pt x="717192" y="1262935"/>
                      </a:lnTo>
                      <a:lnTo>
                        <a:pt x="719003" y="1273197"/>
                      </a:lnTo>
                      <a:lnTo>
                        <a:pt x="724437" y="1274405"/>
                      </a:lnTo>
                      <a:lnTo>
                        <a:pt x="723833" y="1276820"/>
                      </a:lnTo>
                      <a:lnTo>
                        <a:pt x="718400" y="1281649"/>
                      </a:lnTo>
                      <a:lnTo>
                        <a:pt x="722625" y="1282253"/>
                      </a:lnTo>
                      <a:lnTo>
                        <a:pt x="726851" y="1278027"/>
                      </a:lnTo>
                      <a:lnTo>
                        <a:pt x="728662" y="1279838"/>
                      </a:lnTo>
                      <a:lnTo>
                        <a:pt x="726851" y="1294931"/>
                      </a:lnTo>
                      <a:lnTo>
                        <a:pt x="724437" y="1305797"/>
                      </a:lnTo>
                      <a:lnTo>
                        <a:pt x="716588" y="1311834"/>
                      </a:lnTo>
                      <a:lnTo>
                        <a:pt x="714174" y="1317871"/>
                      </a:lnTo>
                      <a:lnTo>
                        <a:pt x="706326" y="1323304"/>
                      </a:lnTo>
                      <a:lnTo>
                        <a:pt x="701496" y="1322700"/>
                      </a:lnTo>
                      <a:lnTo>
                        <a:pt x="696667" y="1325115"/>
                      </a:lnTo>
                      <a:lnTo>
                        <a:pt x="694856" y="1330548"/>
                      </a:lnTo>
                      <a:lnTo>
                        <a:pt x="697270" y="1332963"/>
                      </a:lnTo>
                      <a:lnTo>
                        <a:pt x="695459" y="1337793"/>
                      </a:lnTo>
                      <a:lnTo>
                        <a:pt x="699081" y="1340208"/>
                      </a:lnTo>
                      <a:lnTo>
                        <a:pt x="705118" y="1341415"/>
                      </a:lnTo>
                      <a:lnTo>
                        <a:pt x="710552" y="1339604"/>
                      </a:lnTo>
                      <a:lnTo>
                        <a:pt x="714174" y="1340811"/>
                      </a:lnTo>
                      <a:lnTo>
                        <a:pt x="724437" y="1339000"/>
                      </a:lnTo>
                      <a:lnTo>
                        <a:pt x="729266" y="1341415"/>
                      </a:lnTo>
                      <a:lnTo>
                        <a:pt x="734699" y="1340811"/>
                      </a:lnTo>
                      <a:lnTo>
                        <a:pt x="749188" y="1345037"/>
                      </a:lnTo>
                      <a:lnTo>
                        <a:pt x="752207" y="1349263"/>
                      </a:lnTo>
                      <a:lnTo>
                        <a:pt x="752207" y="1352885"/>
                      </a:lnTo>
                      <a:lnTo>
                        <a:pt x="757640" y="1357111"/>
                      </a:lnTo>
                      <a:lnTo>
                        <a:pt x="753414" y="1365563"/>
                      </a:lnTo>
                      <a:lnTo>
                        <a:pt x="747981" y="1369185"/>
                      </a:lnTo>
                      <a:lnTo>
                        <a:pt x="741944" y="1378241"/>
                      </a:lnTo>
                      <a:lnTo>
                        <a:pt x="736511" y="1390315"/>
                      </a:lnTo>
                      <a:lnTo>
                        <a:pt x="736511" y="1393333"/>
                      </a:lnTo>
                      <a:lnTo>
                        <a:pt x="731077" y="1392730"/>
                      </a:lnTo>
                      <a:lnTo>
                        <a:pt x="717796" y="1396352"/>
                      </a:lnTo>
                      <a:lnTo>
                        <a:pt x="712363" y="1395144"/>
                      </a:lnTo>
                      <a:lnTo>
                        <a:pt x="707533" y="1396955"/>
                      </a:lnTo>
                      <a:lnTo>
                        <a:pt x="700893" y="1395144"/>
                      </a:lnTo>
                      <a:lnTo>
                        <a:pt x="697874" y="1403596"/>
                      </a:lnTo>
                      <a:lnTo>
                        <a:pt x="693044" y="1403596"/>
                      </a:lnTo>
                      <a:lnTo>
                        <a:pt x="693648" y="1414462"/>
                      </a:lnTo>
                      <a:lnTo>
                        <a:pt x="688215" y="1428347"/>
                      </a:lnTo>
                      <a:lnTo>
                        <a:pt x="684593" y="1430762"/>
                      </a:lnTo>
                      <a:lnTo>
                        <a:pt x="678556" y="1427744"/>
                      </a:lnTo>
                      <a:lnTo>
                        <a:pt x="673122" y="1427140"/>
                      </a:lnTo>
                      <a:lnTo>
                        <a:pt x="670708" y="1430158"/>
                      </a:lnTo>
                      <a:lnTo>
                        <a:pt x="667085" y="1431366"/>
                      </a:lnTo>
                      <a:lnTo>
                        <a:pt x="658634" y="1422914"/>
                      </a:lnTo>
                      <a:lnTo>
                        <a:pt x="656823" y="1424725"/>
                      </a:lnTo>
                      <a:lnTo>
                        <a:pt x="649578" y="1422310"/>
                      </a:lnTo>
                      <a:lnTo>
                        <a:pt x="646560" y="1425933"/>
                      </a:lnTo>
                      <a:lnTo>
                        <a:pt x="638712" y="1425933"/>
                      </a:lnTo>
                      <a:lnTo>
                        <a:pt x="633882" y="1427744"/>
                      </a:lnTo>
                      <a:lnTo>
                        <a:pt x="627845" y="1428347"/>
                      </a:lnTo>
                      <a:lnTo>
                        <a:pt x="623015" y="1430762"/>
                      </a:lnTo>
                      <a:lnTo>
                        <a:pt x="619393" y="1438610"/>
                      </a:lnTo>
                      <a:lnTo>
                        <a:pt x="615167" y="1438610"/>
                      </a:lnTo>
                      <a:lnTo>
                        <a:pt x="609734" y="1431366"/>
                      </a:lnTo>
                      <a:lnTo>
                        <a:pt x="607923" y="1427140"/>
                      </a:lnTo>
                      <a:lnTo>
                        <a:pt x="600679" y="1421707"/>
                      </a:lnTo>
                      <a:lnTo>
                        <a:pt x="594642" y="1424725"/>
                      </a:lnTo>
                      <a:lnTo>
                        <a:pt x="591020" y="1430158"/>
                      </a:lnTo>
                      <a:lnTo>
                        <a:pt x="588001" y="1426536"/>
                      </a:lnTo>
                      <a:lnTo>
                        <a:pt x="578946" y="1425933"/>
                      </a:lnTo>
                      <a:lnTo>
                        <a:pt x="576531" y="1429555"/>
                      </a:lnTo>
                      <a:lnTo>
                        <a:pt x="575323" y="1438610"/>
                      </a:lnTo>
                      <a:lnTo>
                        <a:pt x="569286" y="1444044"/>
                      </a:lnTo>
                      <a:lnTo>
                        <a:pt x="564457" y="1454306"/>
                      </a:lnTo>
                      <a:lnTo>
                        <a:pt x="564457" y="1458532"/>
                      </a:lnTo>
                      <a:lnTo>
                        <a:pt x="568683" y="1463966"/>
                      </a:lnTo>
                      <a:lnTo>
                        <a:pt x="565664" y="1468192"/>
                      </a:lnTo>
                      <a:lnTo>
                        <a:pt x="562042" y="1465173"/>
                      </a:lnTo>
                      <a:lnTo>
                        <a:pt x="548157" y="1463362"/>
                      </a:lnTo>
                      <a:lnTo>
                        <a:pt x="522198" y="1463966"/>
                      </a:lnTo>
                      <a:lnTo>
                        <a:pt x="518576" y="1464569"/>
                      </a:lnTo>
                      <a:lnTo>
                        <a:pt x="507709" y="1462155"/>
                      </a:lnTo>
                      <a:lnTo>
                        <a:pt x="504691" y="1450081"/>
                      </a:lnTo>
                      <a:lnTo>
                        <a:pt x="497446" y="1444044"/>
                      </a:lnTo>
                      <a:lnTo>
                        <a:pt x="491409" y="1448269"/>
                      </a:lnTo>
                      <a:lnTo>
                        <a:pt x="486580" y="1453099"/>
                      </a:lnTo>
                      <a:lnTo>
                        <a:pt x="480543" y="1451892"/>
                      </a:lnTo>
                      <a:lnTo>
                        <a:pt x="478128" y="1451288"/>
                      </a:lnTo>
                      <a:lnTo>
                        <a:pt x="476317" y="1447062"/>
                      </a:lnTo>
                      <a:lnTo>
                        <a:pt x="476317" y="1442232"/>
                      </a:lnTo>
                      <a:lnTo>
                        <a:pt x="479939" y="1439214"/>
                      </a:lnTo>
                      <a:lnTo>
                        <a:pt x="476921" y="1433177"/>
                      </a:lnTo>
                      <a:lnTo>
                        <a:pt x="470280" y="1436195"/>
                      </a:lnTo>
                      <a:lnTo>
                        <a:pt x="466658" y="1434988"/>
                      </a:lnTo>
                      <a:lnTo>
                        <a:pt x="462432" y="1437403"/>
                      </a:lnTo>
                      <a:lnTo>
                        <a:pt x="457602" y="1434384"/>
                      </a:lnTo>
                      <a:lnTo>
                        <a:pt x="455188" y="1427744"/>
                      </a:lnTo>
                      <a:lnTo>
                        <a:pt x="452169" y="1425933"/>
                      </a:lnTo>
                      <a:lnTo>
                        <a:pt x="450358" y="1422310"/>
                      </a:lnTo>
                      <a:lnTo>
                        <a:pt x="443717" y="1423518"/>
                      </a:lnTo>
                      <a:lnTo>
                        <a:pt x="438284" y="1422310"/>
                      </a:lnTo>
                      <a:lnTo>
                        <a:pt x="435869" y="1418688"/>
                      </a:lnTo>
                      <a:lnTo>
                        <a:pt x="435266" y="1412048"/>
                      </a:lnTo>
                      <a:lnTo>
                        <a:pt x="431644" y="1409029"/>
                      </a:lnTo>
                      <a:lnTo>
                        <a:pt x="421984" y="1410237"/>
                      </a:lnTo>
                      <a:lnTo>
                        <a:pt x="419570" y="1413255"/>
                      </a:lnTo>
                      <a:lnTo>
                        <a:pt x="415947" y="1412048"/>
                      </a:lnTo>
                      <a:lnTo>
                        <a:pt x="415947" y="1386693"/>
                      </a:lnTo>
                      <a:lnTo>
                        <a:pt x="408703" y="1388504"/>
                      </a:lnTo>
                      <a:lnTo>
                        <a:pt x="399647" y="1394541"/>
                      </a:lnTo>
                      <a:lnTo>
                        <a:pt x="388781" y="1396352"/>
                      </a:lnTo>
                      <a:lnTo>
                        <a:pt x="382744" y="1394541"/>
                      </a:lnTo>
                      <a:lnTo>
                        <a:pt x="379122" y="1395144"/>
                      </a:lnTo>
                      <a:lnTo>
                        <a:pt x="368255" y="1392730"/>
                      </a:lnTo>
                      <a:lnTo>
                        <a:pt x="362822" y="1389711"/>
                      </a:lnTo>
                      <a:lnTo>
                        <a:pt x="357389" y="1383674"/>
                      </a:lnTo>
                      <a:lnTo>
                        <a:pt x="357992" y="1380052"/>
                      </a:lnTo>
                      <a:lnTo>
                        <a:pt x="351955" y="1374015"/>
                      </a:lnTo>
                      <a:lnTo>
                        <a:pt x="351352" y="1364959"/>
                      </a:lnTo>
                      <a:lnTo>
                        <a:pt x="344711" y="1363752"/>
                      </a:lnTo>
                      <a:lnTo>
                        <a:pt x="335052" y="1367374"/>
                      </a:lnTo>
                      <a:lnTo>
                        <a:pt x="334448" y="1365563"/>
                      </a:lnTo>
                      <a:lnTo>
                        <a:pt x="333241" y="1363148"/>
                      </a:lnTo>
                      <a:lnTo>
                        <a:pt x="331430" y="1361941"/>
                      </a:lnTo>
                      <a:lnTo>
                        <a:pt x="330222" y="1358922"/>
                      </a:lnTo>
                      <a:lnTo>
                        <a:pt x="325997" y="1361337"/>
                      </a:lnTo>
                      <a:lnTo>
                        <a:pt x="324185" y="1361337"/>
                      </a:lnTo>
                      <a:lnTo>
                        <a:pt x="319960" y="1355300"/>
                      </a:lnTo>
                      <a:lnTo>
                        <a:pt x="319960" y="1352885"/>
                      </a:lnTo>
                      <a:lnTo>
                        <a:pt x="318752" y="1351074"/>
                      </a:lnTo>
                      <a:lnTo>
                        <a:pt x="316941" y="1350471"/>
                      </a:lnTo>
                      <a:lnTo>
                        <a:pt x="316337" y="1349867"/>
                      </a:lnTo>
                      <a:lnTo>
                        <a:pt x="312715" y="1349263"/>
                      </a:lnTo>
                      <a:lnTo>
                        <a:pt x="309697" y="1349867"/>
                      </a:lnTo>
                      <a:lnTo>
                        <a:pt x="309093" y="1350471"/>
                      </a:lnTo>
                      <a:lnTo>
                        <a:pt x="307282" y="1348659"/>
                      </a:lnTo>
                      <a:lnTo>
                        <a:pt x="303660" y="1345037"/>
                      </a:lnTo>
                      <a:lnTo>
                        <a:pt x="300641" y="1341415"/>
                      </a:lnTo>
                      <a:lnTo>
                        <a:pt x="299434" y="1340208"/>
                      </a:lnTo>
                      <a:lnTo>
                        <a:pt x="298830" y="1339604"/>
                      </a:lnTo>
                      <a:lnTo>
                        <a:pt x="297019" y="1338397"/>
                      </a:lnTo>
                      <a:lnTo>
                        <a:pt x="298226" y="1336585"/>
                      </a:lnTo>
                      <a:lnTo>
                        <a:pt x="295812" y="1334171"/>
                      </a:lnTo>
                      <a:lnTo>
                        <a:pt x="295208" y="1332360"/>
                      </a:lnTo>
                      <a:lnTo>
                        <a:pt x="294604" y="1331152"/>
                      </a:lnTo>
                      <a:lnTo>
                        <a:pt x="294604" y="1330548"/>
                      </a:lnTo>
                      <a:lnTo>
                        <a:pt x="292793" y="1327530"/>
                      </a:lnTo>
                      <a:lnTo>
                        <a:pt x="292793" y="1326926"/>
                      </a:lnTo>
                      <a:lnTo>
                        <a:pt x="290982" y="1325115"/>
                      </a:lnTo>
                      <a:lnTo>
                        <a:pt x="289171" y="1324511"/>
                      </a:lnTo>
                      <a:lnTo>
                        <a:pt x="288567" y="1323908"/>
                      </a:lnTo>
                      <a:lnTo>
                        <a:pt x="286756" y="1320286"/>
                      </a:lnTo>
                      <a:lnTo>
                        <a:pt x="283738" y="1317871"/>
                      </a:lnTo>
                      <a:lnTo>
                        <a:pt x="278304" y="1319078"/>
                      </a:lnTo>
                      <a:lnTo>
                        <a:pt x="275890" y="1319078"/>
                      </a:lnTo>
                      <a:lnTo>
                        <a:pt x="273475" y="1320286"/>
                      </a:lnTo>
                      <a:lnTo>
                        <a:pt x="275890" y="1317267"/>
                      </a:lnTo>
                      <a:lnTo>
                        <a:pt x="274682" y="1315456"/>
                      </a:lnTo>
                      <a:lnTo>
                        <a:pt x="272267" y="1309419"/>
                      </a:lnTo>
                      <a:lnTo>
                        <a:pt x="272871" y="1307608"/>
                      </a:lnTo>
                      <a:lnTo>
                        <a:pt x="274079" y="1303986"/>
                      </a:lnTo>
                      <a:lnTo>
                        <a:pt x="273475" y="1302175"/>
                      </a:lnTo>
                      <a:lnTo>
                        <a:pt x="270456" y="1301571"/>
                      </a:lnTo>
                      <a:lnTo>
                        <a:pt x="269853" y="1300967"/>
                      </a:lnTo>
                      <a:lnTo>
                        <a:pt x="268645" y="1300364"/>
                      </a:lnTo>
                      <a:lnTo>
                        <a:pt x="265627" y="1298553"/>
                      </a:lnTo>
                      <a:lnTo>
                        <a:pt x="262608" y="1294327"/>
                      </a:lnTo>
                      <a:lnTo>
                        <a:pt x="263212" y="1286479"/>
                      </a:lnTo>
                      <a:lnTo>
                        <a:pt x="262608" y="1285271"/>
                      </a:lnTo>
                      <a:lnTo>
                        <a:pt x="268042" y="1286479"/>
                      </a:lnTo>
                      <a:lnTo>
                        <a:pt x="270456" y="1285875"/>
                      </a:lnTo>
                      <a:lnTo>
                        <a:pt x="272871" y="1284668"/>
                      </a:lnTo>
                      <a:lnTo>
                        <a:pt x="274682" y="1282253"/>
                      </a:lnTo>
                      <a:lnTo>
                        <a:pt x="272871" y="1275612"/>
                      </a:lnTo>
                      <a:lnTo>
                        <a:pt x="270456" y="1276820"/>
                      </a:lnTo>
                      <a:lnTo>
                        <a:pt x="269249" y="1275612"/>
                      </a:lnTo>
                      <a:lnTo>
                        <a:pt x="266834" y="1276820"/>
                      </a:lnTo>
                      <a:lnTo>
                        <a:pt x="265627" y="1276820"/>
                      </a:lnTo>
                      <a:lnTo>
                        <a:pt x="265023" y="1278027"/>
                      </a:lnTo>
                      <a:lnTo>
                        <a:pt x="264419" y="1279838"/>
                      </a:lnTo>
                      <a:lnTo>
                        <a:pt x="260797" y="1284064"/>
                      </a:lnTo>
                      <a:lnTo>
                        <a:pt x="257779" y="1284064"/>
                      </a:lnTo>
                      <a:lnTo>
                        <a:pt x="257779" y="1282253"/>
                      </a:lnTo>
                      <a:lnTo>
                        <a:pt x="256571" y="1278027"/>
                      </a:lnTo>
                      <a:lnTo>
                        <a:pt x="253553" y="1276820"/>
                      </a:lnTo>
                      <a:lnTo>
                        <a:pt x="249931" y="1275612"/>
                      </a:lnTo>
                      <a:lnTo>
                        <a:pt x="249931" y="1271386"/>
                      </a:lnTo>
                      <a:lnTo>
                        <a:pt x="245101" y="1271386"/>
                      </a:lnTo>
                      <a:lnTo>
                        <a:pt x="243290" y="1263538"/>
                      </a:lnTo>
                      <a:lnTo>
                        <a:pt x="247516" y="1259312"/>
                      </a:lnTo>
                      <a:lnTo>
                        <a:pt x="252345" y="1260520"/>
                      </a:lnTo>
                      <a:lnTo>
                        <a:pt x="249327" y="1253879"/>
                      </a:lnTo>
                      <a:lnTo>
                        <a:pt x="244497" y="1251464"/>
                      </a:lnTo>
                      <a:lnTo>
                        <a:pt x="236649" y="1261123"/>
                      </a:lnTo>
                      <a:lnTo>
                        <a:pt x="231216" y="1259312"/>
                      </a:lnTo>
                      <a:lnTo>
                        <a:pt x="230612" y="1254483"/>
                      </a:lnTo>
                      <a:lnTo>
                        <a:pt x="228197" y="1252672"/>
                      </a:lnTo>
                      <a:lnTo>
                        <a:pt x="228801" y="1248446"/>
                      </a:lnTo>
                      <a:lnTo>
                        <a:pt x="225179" y="1247842"/>
                      </a:lnTo>
                      <a:lnTo>
                        <a:pt x="219142" y="1249653"/>
                      </a:lnTo>
                      <a:lnTo>
                        <a:pt x="218538" y="1244824"/>
                      </a:lnTo>
                      <a:lnTo>
                        <a:pt x="220349" y="1239994"/>
                      </a:lnTo>
                      <a:lnTo>
                        <a:pt x="217331" y="1238183"/>
                      </a:lnTo>
                      <a:lnTo>
                        <a:pt x="210690" y="1237579"/>
                      </a:lnTo>
                      <a:lnTo>
                        <a:pt x="208879" y="1234561"/>
                      </a:lnTo>
                      <a:lnTo>
                        <a:pt x="204653" y="1234561"/>
                      </a:lnTo>
                      <a:lnTo>
                        <a:pt x="204653" y="1239994"/>
                      </a:lnTo>
                      <a:lnTo>
                        <a:pt x="201635" y="1241805"/>
                      </a:lnTo>
                      <a:lnTo>
                        <a:pt x="197409" y="1241201"/>
                      </a:lnTo>
                      <a:lnTo>
                        <a:pt x="196805" y="1235164"/>
                      </a:lnTo>
                      <a:lnTo>
                        <a:pt x="197409" y="1229731"/>
                      </a:lnTo>
                      <a:lnTo>
                        <a:pt x="194994" y="1228524"/>
                      </a:lnTo>
                      <a:lnTo>
                        <a:pt x="187750" y="1229731"/>
                      </a:lnTo>
                      <a:lnTo>
                        <a:pt x="185335" y="1224298"/>
                      </a:lnTo>
                      <a:lnTo>
                        <a:pt x="188957" y="1220072"/>
                      </a:lnTo>
                      <a:lnTo>
                        <a:pt x="188354" y="1214639"/>
                      </a:lnTo>
                      <a:lnTo>
                        <a:pt x="181109" y="1217053"/>
                      </a:lnTo>
                      <a:lnTo>
                        <a:pt x="178091" y="1215846"/>
                      </a:lnTo>
                      <a:lnTo>
                        <a:pt x="165413" y="1220676"/>
                      </a:lnTo>
                      <a:lnTo>
                        <a:pt x="159980" y="1221279"/>
                      </a:lnTo>
                      <a:lnTo>
                        <a:pt x="155150" y="1212224"/>
                      </a:lnTo>
                      <a:lnTo>
                        <a:pt x="152132" y="1201961"/>
                      </a:lnTo>
                      <a:lnTo>
                        <a:pt x="150321" y="1200150"/>
                      </a:lnTo>
                      <a:lnTo>
                        <a:pt x="145491" y="1174795"/>
                      </a:lnTo>
                      <a:lnTo>
                        <a:pt x="141869" y="1157891"/>
                      </a:lnTo>
                      <a:lnTo>
                        <a:pt x="142472" y="1155476"/>
                      </a:lnTo>
                      <a:lnTo>
                        <a:pt x="140058" y="1148836"/>
                      </a:lnTo>
                      <a:lnTo>
                        <a:pt x="137643" y="1137365"/>
                      </a:lnTo>
                      <a:lnTo>
                        <a:pt x="132813" y="1121669"/>
                      </a:lnTo>
                      <a:lnTo>
                        <a:pt x="130399" y="1110199"/>
                      </a:lnTo>
                      <a:lnTo>
                        <a:pt x="130399" y="1105369"/>
                      </a:lnTo>
                      <a:lnTo>
                        <a:pt x="128587" y="1098125"/>
                      </a:lnTo>
                      <a:lnTo>
                        <a:pt x="124965" y="1094503"/>
                      </a:lnTo>
                      <a:lnTo>
                        <a:pt x="124362" y="1072770"/>
                      </a:lnTo>
                      <a:lnTo>
                        <a:pt x="123758" y="1071563"/>
                      </a:lnTo>
                      <a:lnTo>
                        <a:pt x="121343" y="1052848"/>
                      </a:lnTo>
                      <a:lnTo>
                        <a:pt x="117721" y="1030511"/>
                      </a:lnTo>
                      <a:lnTo>
                        <a:pt x="114099" y="1023870"/>
                      </a:lnTo>
                      <a:lnTo>
                        <a:pt x="112288" y="1011193"/>
                      </a:lnTo>
                      <a:lnTo>
                        <a:pt x="106854" y="986441"/>
                      </a:lnTo>
                      <a:lnTo>
                        <a:pt x="103836" y="981008"/>
                      </a:lnTo>
                      <a:lnTo>
                        <a:pt x="103232" y="976782"/>
                      </a:lnTo>
                      <a:lnTo>
                        <a:pt x="97799" y="967727"/>
                      </a:lnTo>
                      <a:lnTo>
                        <a:pt x="94177" y="967727"/>
                      </a:lnTo>
                      <a:lnTo>
                        <a:pt x="87536" y="959879"/>
                      </a:lnTo>
                      <a:lnTo>
                        <a:pt x="84518" y="952634"/>
                      </a:lnTo>
                      <a:lnTo>
                        <a:pt x="83914" y="946597"/>
                      </a:lnTo>
                      <a:lnTo>
                        <a:pt x="81499" y="938749"/>
                      </a:lnTo>
                      <a:lnTo>
                        <a:pt x="81499" y="933920"/>
                      </a:lnTo>
                      <a:lnTo>
                        <a:pt x="77273" y="915205"/>
                      </a:lnTo>
                      <a:lnTo>
                        <a:pt x="74858" y="914601"/>
                      </a:lnTo>
                      <a:lnTo>
                        <a:pt x="66407" y="889849"/>
                      </a:lnTo>
                      <a:lnTo>
                        <a:pt x="64596" y="877776"/>
                      </a:lnTo>
                      <a:lnTo>
                        <a:pt x="62181" y="868117"/>
                      </a:lnTo>
                      <a:lnTo>
                        <a:pt x="55540" y="850609"/>
                      </a:lnTo>
                      <a:lnTo>
                        <a:pt x="55540" y="846384"/>
                      </a:lnTo>
                      <a:lnTo>
                        <a:pt x="60973" y="840950"/>
                      </a:lnTo>
                      <a:lnTo>
                        <a:pt x="57351" y="838535"/>
                      </a:lnTo>
                      <a:lnTo>
                        <a:pt x="53729" y="842158"/>
                      </a:lnTo>
                      <a:lnTo>
                        <a:pt x="54333" y="846384"/>
                      </a:lnTo>
                      <a:lnTo>
                        <a:pt x="46485" y="846987"/>
                      </a:lnTo>
                      <a:lnTo>
                        <a:pt x="45277" y="839743"/>
                      </a:lnTo>
                      <a:lnTo>
                        <a:pt x="37429" y="824047"/>
                      </a:lnTo>
                      <a:lnTo>
                        <a:pt x="39844" y="822839"/>
                      </a:lnTo>
                      <a:lnTo>
                        <a:pt x="38637" y="816802"/>
                      </a:lnTo>
                      <a:lnTo>
                        <a:pt x="39240" y="813180"/>
                      </a:lnTo>
                      <a:lnTo>
                        <a:pt x="32600" y="799899"/>
                      </a:lnTo>
                      <a:lnTo>
                        <a:pt x="30185" y="798088"/>
                      </a:lnTo>
                      <a:lnTo>
                        <a:pt x="21733" y="802917"/>
                      </a:lnTo>
                      <a:lnTo>
                        <a:pt x="18111" y="797484"/>
                      </a:lnTo>
                      <a:lnTo>
                        <a:pt x="13885" y="796276"/>
                      </a:lnTo>
                      <a:lnTo>
                        <a:pt x="10866" y="791447"/>
                      </a:lnTo>
                      <a:lnTo>
                        <a:pt x="3622" y="790239"/>
                      </a:lnTo>
                      <a:lnTo>
                        <a:pt x="0" y="786014"/>
                      </a:lnTo>
                      <a:lnTo>
                        <a:pt x="7244" y="783599"/>
                      </a:lnTo>
                      <a:lnTo>
                        <a:pt x="6641" y="778769"/>
                      </a:lnTo>
                      <a:lnTo>
                        <a:pt x="1811" y="769714"/>
                      </a:lnTo>
                      <a:lnTo>
                        <a:pt x="2415" y="764884"/>
                      </a:lnTo>
                      <a:lnTo>
                        <a:pt x="8452" y="762469"/>
                      </a:lnTo>
                      <a:lnTo>
                        <a:pt x="11470" y="761866"/>
                      </a:lnTo>
                      <a:lnTo>
                        <a:pt x="17507" y="763677"/>
                      </a:lnTo>
                      <a:lnTo>
                        <a:pt x="17507" y="761866"/>
                      </a:lnTo>
                      <a:lnTo>
                        <a:pt x="15092" y="757640"/>
                      </a:lnTo>
                      <a:lnTo>
                        <a:pt x="16300" y="756433"/>
                      </a:lnTo>
                      <a:lnTo>
                        <a:pt x="16300" y="755225"/>
                      </a:lnTo>
                      <a:lnTo>
                        <a:pt x="19318" y="754018"/>
                      </a:lnTo>
                      <a:lnTo>
                        <a:pt x="21733" y="756433"/>
                      </a:lnTo>
                      <a:lnTo>
                        <a:pt x="22940" y="757640"/>
                      </a:lnTo>
                      <a:lnTo>
                        <a:pt x="22940" y="759451"/>
                      </a:lnTo>
                      <a:lnTo>
                        <a:pt x="26563" y="758847"/>
                      </a:lnTo>
                      <a:lnTo>
                        <a:pt x="30789" y="755829"/>
                      </a:lnTo>
                      <a:lnTo>
                        <a:pt x="31392" y="753414"/>
                      </a:lnTo>
                      <a:lnTo>
                        <a:pt x="32600" y="752810"/>
                      </a:lnTo>
                      <a:lnTo>
                        <a:pt x="35014" y="753414"/>
                      </a:lnTo>
                      <a:lnTo>
                        <a:pt x="36222" y="751603"/>
                      </a:lnTo>
                      <a:lnTo>
                        <a:pt x="37429" y="749792"/>
                      </a:lnTo>
                      <a:lnTo>
                        <a:pt x="37429" y="744962"/>
                      </a:lnTo>
                      <a:lnTo>
                        <a:pt x="36825" y="744359"/>
                      </a:lnTo>
                      <a:lnTo>
                        <a:pt x="39240" y="740737"/>
                      </a:lnTo>
                      <a:lnTo>
                        <a:pt x="41051" y="739529"/>
                      </a:lnTo>
                      <a:lnTo>
                        <a:pt x="40448" y="737718"/>
                      </a:lnTo>
                      <a:lnTo>
                        <a:pt x="43466" y="735907"/>
                      </a:lnTo>
                      <a:lnTo>
                        <a:pt x="40448" y="729266"/>
                      </a:lnTo>
                      <a:lnTo>
                        <a:pt x="39240" y="722626"/>
                      </a:lnTo>
                      <a:lnTo>
                        <a:pt x="41655" y="718400"/>
                      </a:lnTo>
                      <a:lnTo>
                        <a:pt x="41051" y="713570"/>
                      </a:lnTo>
                      <a:lnTo>
                        <a:pt x="45277" y="709344"/>
                      </a:lnTo>
                      <a:lnTo>
                        <a:pt x="47692" y="705118"/>
                      </a:lnTo>
                      <a:lnTo>
                        <a:pt x="43466" y="695459"/>
                      </a:lnTo>
                      <a:lnTo>
                        <a:pt x="35618" y="692441"/>
                      </a:lnTo>
                      <a:lnTo>
                        <a:pt x="38033" y="685800"/>
                      </a:lnTo>
                      <a:lnTo>
                        <a:pt x="43466" y="683385"/>
                      </a:lnTo>
                      <a:lnTo>
                        <a:pt x="50107" y="683989"/>
                      </a:lnTo>
                      <a:lnTo>
                        <a:pt x="51314" y="681574"/>
                      </a:lnTo>
                      <a:lnTo>
                        <a:pt x="47692" y="673726"/>
                      </a:lnTo>
                      <a:lnTo>
                        <a:pt x="48899" y="665878"/>
                      </a:lnTo>
                      <a:lnTo>
                        <a:pt x="44070" y="662859"/>
                      </a:lnTo>
                      <a:lnTo>
                        <a:pt x="41051" y="662859"/>
                      </a:lnTo>
                      <a:lnTo>
                        <a:pt x="38033" y="653804"/>
                      </a:lnTo>
                      <a:lnTo>
                        <a:pt x="39240" y="649578"/>
                      </a:lnTo>
                      <a:lnTo>
                        <a:pt x="33807" y="639919"/>
                      </a:lnTo>
                      <a:lnTo>
                        <a:pt x="39240" y="634486"/>
                      </a:lnTo>
                      <a:lnTo>
                        <a:pt x="40448" y="632071"/>
                      </a:lnTo>
                      <a:lnTo>
                        <a:pt x="37429" y="626034"/>
                      </a:lnTo>
                      <a:lnTo>
                        <a:pt x="33807" y="623016"/>
                      </a:lnTo>
                      <a:lnTo>
                        <a:pt x="35618" y="618186"/>
                      </a:lnTo>
                      <a:lnTo>
                        <a:pt x="36222" y="612149"/>
                      </a:lnTo>
                      <a:lnTo>
                        <a:pt x="34411" y="610942"/>
                      </a:lnTo>
                      <a:lnTo>
                        <a:pt x="33807" y="604301"/>
                      </a:lnTo>
                      <a:lnTo>
                        <a:pt x="28977" y="601886"/>
                      </a:lnTo>
                      <a:lnTo>
                        <a:pt x="27166" y="605508"/>
                      </a:lnTo>
                      <a:lnTo>
                        <a:pt x="17507" y="600679"/>
                      </a:lnTo>
                      <a:lnTo>
                        <a:pt x="16903" y="604905"/>
                      </a:lnTo>
                      <a:lnTo>
                        <a:pt x="10866" y="606112"/>
                      </a:lnTo>
                      <a:lnTo>
                        <a:pt x="7244" y="605508"/>
                      </a:lnTo>
                      <a:lnTo>
                        <a:pt x="1207" y="601886"/>
                      </a:lnTo>
                      <a:lnTo>
                        <a:pt x="8452" y="599471"/>
                      </a:lnTo>
                      <a:lnTo>
                        <a:pt x="10263" y="594642"/>
                      </a:lnTo>
                      <a:lnTo>
                        <a:pt x="9055" y="589812"/>
                      </a:lnTo>
                      <a:lnTo>
                        <a:pt x="13885" y="587397"/>
                      </a:lnTo>
                      <a:lnTo>
                        <a:pt x="15696" y="583775"/>
                      </a:lnTo>
                      <a:lnTo>
                        <a:pt x="21733" y="583775"/>
                      </a:lnTo>
                      <a:lnTo>
                        <a:pt x="24752" y="581964"/>
                      </a:lnTo>
                      <a:lnTo>
                        <a:pt x="25959" y="577738"/>
                      </a:lnTo>
                      <a:lnTo>
                        <a:pt x="30789" y="577134"/>
                      </a:lnTo>
                      <a:lnTo>
                        <a:pt x="29581" y="581964"/>
                      </a:lnTo>
                      <a:lnTo>
                        <a:pt x="31392" y="584982"/>
                      </a:lnTo>
                      <a:lnTo>
                        <a:pt x="37429" y="583171"/>
                      </a:lnTo>
                      <a:lnTo>
                        <a:pt x="41655" y="586190"/>
                      </a:lnTo>
                      <a:lnTo>
                        <a:pt x="47692" y="582568"/>
                      </a:lnTo>
                      <a:lnTo>
                        <a:pt x="48899" y="579549"/>
                      </a:lnTo>
                      <a:lnTo>
                        <a:pt x="53729" y="580757"/>
                      </a:lnTo>
                      <a:lnTo>
                        <a:pt x="56144" y="578945"/>
                      </a:lnTo>
                      <a:lnTo>
                        <a:pt x="58559" y="574116"/>
                      </a:lnTo>
                      <a:lnTo>
                        <a:pt x="57351" y="570494"/>
                      </a:lnTo>
                      <a:lnTo>
                        <a:pt x="60973" y="563249"/>
                      </a:lnTo>
                      <a:lnTo>
                        <a:pt x="54333" y="562646"/>
                      </a:lnTo>
                      <a:lnTo>
                        <a:pt x="53729" y="560231"/>
                      </a:lnTo>
                      <a:lnTo>
                        <a:pt x="57351" y="557212"/>
                      </a:lnTo>
                      <a:lnTo>
                        <a:pt x="63388" y="557212"/>
                      </a:lnTo>
                      <a:lnTo>
                        <a:pt x="62181" y="551779"/>
                      </a:lnTo>
                      <a:lnTo>
                        <a:pt x="70633" y="540913"/>
                      </a:lnTo>
                      <a:lnTo>
                        <a:pt x="73651" y="533668"/>
                      </a:lnTo>
                      <a:lnTo>
                        <a:pt x="73651" y="530650"/>
                      </a:lnTo>
                      <a:lnTo>
                        <a:pt x="76670" y="525217"/>
                      </a:lnTo>
                      <a:lnTo>
                        <a:pt x="77877" y="520387"/>
                      </a:lnTo>
                      <a:lnTo>
                        <a:pt x="71840" y="517972"/>
                      </a:lnTo>
                      <a:lnTo>
                        <a:pt x="65803" y="519783"/>
                      </a:lnTo>
                      <a:lnTo>
                        <a:pt x="61577" y="522802"/>
                      </a:lnTo>
                      <a:lnTo>
                        <a:pt x="57351" y="517369"/>
                      </a:lnTo>
                      <a:lnTo>
                        <a:pt x="64596" y="510728"/>
                      </a:lnTo>
                      <a:lnTo>
                        <a:pt x="70633" y="506502"/>
                      </a:lnTo>
                      <a:lnTo>
                        <a:pt x="76670" y="508313"/>
                      </a:lnTo>
                      <a:lnTo>
                        <a:pt x="82103" y="511332"/>
                      </a:lnTo>
                      <a:lnTo>
                        <a:pt x="83914" y="505898"/>
                      </a:lnTo>
                      <a:lnTo>
                        <a:pt x="82103" y="499861"/>
                      </a:lnTo>
                      <a:lnTo>
                        <a:pt x="83914" y="491409"/>
                      </a:lnTo>
                      <a:lnTo>
                        <a:pt x="86932" y="489598"/>
                      </a:lnTo>
                      <a:lnTo>
                        <a:pt x="85121" y="484769"/>
                      </a:lnTo>
                      <a:lnTo>
                        <a:pt x="85725" y="482354"/>
                      </a:lnTo>
                      <a:lnTo>
                        <a:pt x="80895" y="477524"/>
                      </a:lnTo>
                      <a:lnTo>
                        <a:pt x="68218" y="475110"/>
                      </a:lnTo>
                      <a:lnTo>
                        <a:pt x="68218" y="470280"/>
                      </a:lnTo>
                      <a:lnTo>
                        <a:pt x="61577" y="470884"/>
                      </a:lnTo>
                      <a:lnTo>
                        <a:pt x="59766" y="467261"/>
                      </a:lnTo>
                      <a:lnTo>
                        <a:pt x="56144" y="468469"/>
                      </a:lnTo>
                      <a:lnTo>
                        <a:pt x="50711" y="473298"/>
                      </a:lnTo>
                      <a:lnTo>
                        <a:pt x="48899" y="470280"/>
                      </a:lnTo>
                      <a:lnTo>
                        <a:pt x="53125" y="467865"/>
                      </a:lnTo>
                      <a:lnTo>
                        <a:pt x="50107" y="456999"/>
                      </a:lnTo>
                      <a:lnTo>
                        <a:pt x="47692" y="454584"/>
                      </a:lnTo>
                      <a:lnTo>
                        <a:pt x="50107" y="446736"/>
                      </a:lnTo>
                      <a:lnTo>
                        <a:pt x="57351" y="446132"/>
                      </a:lnTo>
                      <a:lnTo>
                        <a:pt x="56144" y="443717"/>
                      </a:lnTo>
                      <a:lnTo>
                        <a:pt x="51918" y="444321"/>
                      </a:lnTo>
                      <a:lnTo>
                        <a:pt x="50711" y="433455"/>
                      </a:lnTo>
                      <a:lnTo>
                        <a:pt x="47692" y="433455"/>
                      </a:lnTo>
                      <a:lnTo>
                        <a:pt x="41655" y="428625"/>
                      </a:lnTo>
                      <a:lnTo>
                        <a:pt x="42862" y="422588"/>
                      </a:lnTo>
                      <a:lnTo>
                        <a:pt x="40448" y="421984"/>
                      </a:lnTo>
                      <a:lnTo>
                        <a:pt x="36825" y="428021"/>
                      </a:lnTo>
                      <a:lnTo>
                        <a:pt x="35618" y="423192"/>
                      </a:lnTo>
                      <a:lnTo>
                        <a:pt x="40448" y="421381"/>
                      </a:lnTo>
                      <a:lnTo>
                        <a:pt x="38033" y="418362"/>
                      </a:lnTo>
                      <a:lnTo>
                        <a:pt x="38033" y="413533"/>
                      </a:lnTo>
                      <a:lnTo>
                        <a:pt x="44674" y="416551"/>
                      </a:lnTo>
                      <a:lnTo>
                        <a:pt x="49503" y="411118"/>
                      </a:lnTo>
                      <a:lnTo>
                        <a:pt x="60370" y="417155"/>
                      </a:lnTo>
                      <a:lnTo>
                        <a:pt x="62784" y="415344"/>
                      </a:lnTo>
                      <a:lnTo>
                        <a:pt x="62784" y="409910"/>
                      </a:lnTo>
                      <a:lnTo>
                        <a:pt x="64596" y="406288"/>
                      </a:lnTo>
                      <a:lnTo>
                        <a:pt x="69425" y="405081"/>
                      </a:lnTo>
                      <a:lnTo>
                        <a:pt x="71840" y="401459"/>
                      </a:lnTo>
                      <a:lnTo>
                        <a:pt x="78481" y="400251"/>
                      </a:lnTo>
                      <a:lnTo>
                        <a:pt x="77273" y="389988"/>
                      </a:lnTo>
                      <a:lnTo>
                        <a:pt x="79688" y="388177"/>
                      </a:lnTo>
                      <a:lnTo>
                        <a:pt x="83310" y="395422"/>
                      </a:lnTo>
                      <a:lnTo>
                        <a:pt x="94780" y="394214"/>
                      </a:lnTo>
                      <a:lnTo>
                        <a:pt x="94780" y="403270"/>
                      </a:lnTo>
                      <a:lnTo>
                        <a:pt x="97799" y="403270"/>
                      </a:lnTo>
                      <a:lnTo>
                        <a:pt x="96592" y="409910"/>
                      </a:lnTo>
                      <a:lnTo>
                        <a:pt x="99610" y="411722"/>
                      </a:lnTo>
                      <a:lnTo>
                        <a:pt x="108062" y="408099"/>
                      </a:lnTo>
                      <a:lnTo>
                        <a:pt x="113495" y="405081"/>
                      </a:lnTo>
                      <a:lnTo>
                        <a:pt x="113495" y="400251"/>
                      </a:lnTo>
                      <a:lnTo>
                        <a:pt x="117721" y="401459"/>
                      </a:lnTo>
                      <a:lnTo>
                        <a:pt x="124362" y="397836"/>
                      </a:lnTo>
                      <a:lnTo>
                        <a:pt x="117117" y="393611"/>
                      </a:lnTo>
                      <a:lnTo>
                        <a:pt x="119532" y="387574"/>
                      </a:lnTo>
                      <a:lnTo>
                        <a:pt x="124362" y="385159"/>
                      </a:lnTo>
                      <a:lnTo>
                        <a:pt x="124965" y="376707"/>
                      </a:lnTo>
                      <a:lnTo>
                        <a:pt x="132813" y="376707"/>
                      </a:lnTo>
                      <a:lnTo>
                        <a:pt x="141869" y="369463"/>
                      </a:lnTo>
                      <a:lnTo>
                        <a:pt x="156358" y="367048"/>
                      </a:lnTo>
                      <a:lnTo>
                        <a:pt x="157565" y="364633"/>
                      </a:lnTo>
                      <a:lnTo>
                        <a:pt x="171450" y="364633"/>
                      </a:lnTo>
                      <a:lnTo>
                        <a:pt x="170243" y="361614"/>
                      </a:lnTo>
                      <a:lnTo>
                        <a:pt x="169035" y="346522"/>
                      </a:lnTo>
                      <a:lnTo>
                        <a:pt x="176883" y="341089"/>
                      </a:lnTo>
                      <a:lnTo>
                        <a:pt x="179902" y="341692"/>
                      </a:lnTo>
                      <a:lnTo>
                        <a:pt x="180505" y="335656"/>
                      </a:lnTo>
                      <a:lnTo>
                        <a:pt x="177487" y="335656"/>
                      </a:lnTo>
                      <a:lnTo>
                        <a:pt x="172054" y="331430"/>
                      </a:lnTo>
                      <a:lnTo>
                        <a:pt x="174468" y="327808"/>
                      </a:lnTo>
                      <a:lnTo>
                        <a:pt x="178091" y="330222"/>
                      </a:lnTo>
                      <a:lnTo>
                        <a:pt x="184128" y="330826"/>
                      </a:lnTo>
                      <a:lnTo>
                        <a:pt x="188354" y="327204"/>
                      </a:lnTo>
                      <a:lnTo>
                        <a:pt x="197409" y="328411"/>
                      </a:lnTo>
                      <a:lnTo>
                        <a:pt x="206464" y="326600"/>
                      </a:lnTo>
                      <a:lnTo>
                        <a:pt x="207068" y="332033"/>
                      </a:lnTo>
                      <a:lnTo>
                        <a:pt x="216124" y="338070"/>
                      </a:lnTo>
                      <a:lnTo>
                        <a:pt x="216124" y="342296"/>
                      </a:lnTo>
                      <a:lnTo>
                        <a:pt x="222764" y="344107"/>
                      </a:lnTo>
                      <a:lnTo>
                        <a:pt x="226990" y="343503"/>
                      </a:lnTo>
                      <a:lnTo>
                        <a:pt x="225179" y="349540"/>
                      </a:lnTo>
                      <a:lnTo>
                        <a:pt x="234838" y="349540"/>
                      </a:lnTo>
                      <a:lnTo>
                        <a:pt x="237253" y="344711"/>
                      </a:lnTo>
                      <a:lnTo>
                        <a:pt x="242686" y="345315"/>
                      </a:lnTo>
                      <a:lnTo>
                        <a:pt x="245705" y="342296"/>
                      </a:lnTo>
                      <a:lnTo>
                        <a:pt x="247516" y="336863"/>
                      </a:lnTo>
                      <a:lnTo>
                        <a:pt x="246308" y="335052"/>
                      </a:lnTo>
                      <a:lnTo>
                        <a:pt x="245705" y="325393"/>
                      </a:lnTo>
                      <a:lnTo>
                        <a:pt x="258382" y="325393"/>
                      </a:lnTo>
                      <a:lnTo>
                        <a:pt x="263816" y="321771"/>
                      </a:lnTo>
                      <a:lnTo>
                        <a:pt x="268645" y="320563"/>
                      </a:lnTo>
                      <a:lnTo>
                        <a:pt x="275890" y="322978"/>
                      </a:lnTo>
                      <a:lnTo>
                        <a:pt x="278908" y="319960"/>
                      </a:lnTo>
                      <a:lnTo>
                        <a:pt x="283738" y="318149"/>
                      </a:lnTo>
                      <a:lnTo>
                        <a:pt x="288567" y="322978"/>
                      </a:lnTo>
                      <a:lnTo>
                        <a:pt x="289171" y="327204"/>
                      </a:lnTo>
                      <a:lnTo>
                        <a:pt x="294001" y="325393"/>
                      </a:lnTo>
                      <a:lnTo>
                        <a:pt x="296415" y="322374"/>
                      </a:lnTo>
                      <a:lnTo>
                        <a:pt x="304867" y="322978"/>
                      </a:lnTo>
                      <a:lnTo>
                        <a:pt x="304867" y="313923"/>
                      </a:lnTo>
                      <a:lnTo>
                        <a:pt x="312715" y="314526"/>
                      </a:lnTo>
                      <a:lnTo>
                        <a:pt x="313319" y="321771"/>
                      </a:lnTo>
                      <a:lnTo>
                        <a:pt x="318752" y="322374"/>
                      </a:lnTo>
                      <a:lnTo>
                        <a:pt x="320563" y="325996"/>
                      </a:lnTo>
                      <a:lnTo>
                        <a:pt x="327204" y="322978"/>
                      </a:lnTo>
                      <a:lnTo>
                        <a:pt x="325393" y="318752"/>
                      </a:lnTo>
                      <a:lnTo>
                        <a:pt x="325997" y="307282"/>
                      </a:lnTo>
                      <a:lnTo>
                        <a:pt x="322374" y="308489"/>
                      </a:lnTo>
                      <a:lnTo>
                        <a:pt x="321167" y="305471"/>
                      </a:lnTo>
                      <a:lnTo>
                        <a:pt x="327808" y="300038"/>
                      </a:lnTo>
                      <a:lnTo>
                        <a:pt x="325997" y="290982"/>
                      </a:lnTo>
                      <a:lnTo>
                        <a:pt x="321771" y="290982"/>
                      </a:lnTo>
                      <a:lnTo>
                        <a:pt x="321771" y="286756"/>
                      </a:lnTo>
                      <a:lnTo>
                        <a:pt x="317545" y="280719"/>
                      </a:lnTo>
                      <a:lnTo>
                        <a:pt x="317545" y="275286"/>
                      </a:lnTo>
                      <a:lnTo>
                        <a:pt x="324185" y="269249"/>
                      </a:lnTo>
                      <a:lnTo>
                        <a:pt x="322978" y="257175"/>
                      </a:lnTo>
                      <a:lnTo>
                        <a:pt x="317545" y="256571"/>
                      </a:lnTo>
                      <a:lnTo>
                        <a:pt x="316337" y="251742"/>
                      </a:lnTo>
                      <a:lnTo>
                        <a:pt x="312111" y="249930"/>
                      </a:lnTo>
                      <a:lnTo>
                        <a:pt x="314526" y="244497"/>
                      </a:lnTo>
                      <a:lnTo>
                        <a:pt x="313923" y="241479"/>
                      </a:lnTo>
                      <a:lnTo>
                        <a:pt x="307886" y="239668"/>
                      </a:lnTo>
                      <a:lnTo>
                        <a:pt x="306678" y="232423"/>
                      </a:lnTo>
                      <a:lnTo>
                        <a:pt x="314526" y="230612"/>
                      </a:lnTo>
                      <a:lnTo>
                        <a:pt x="313923" y="223972"/>
                      </a:lnTo>
                      <a:lnTo>
                        <a:pt x="316337" y="216124"/>
                      </a:lnTo>
                      <a:lnTo>
                        <a:pt x="318148" y="211898"/>
                      </a:lnTo>
                      <a:lnTo>
                        <a:pt x="323582" y="216124"/>
                      </a:lnTo>
                      <a:lnTo>
                        <a:pt x="327808" y="217331"/>
                      </a:lnTo>
                      <a:lnTo>
                        <a:pt x="327808" y="220953"/>
                      </a:lnTo>
                      <a:lnTo>
                        <a:pt x="329619" y="226386"/>
                      </a:lnTo>
                      <a:lnTo>
                        <a:pt x="333241" y="226990"/>
                      </a:lnTo>
                      <a:lnTo>
                        <a:pt x="339278" y="223972"/>
                      </a:lnTo>
                      <a:lnTo>
                        <a:pt x="345918" y="227594"/>
                      </a:lnTo>
                      <a:lnTo>
                        <a:pt x="348333" y="233631"/>
                      </a:lnTo>
                      <a:lnTo>
                        <a:pt x="354370" y="235442"/>
                      </a:lnTo>
                      <a:lnTo>
                        <a:pt x="356785" y="224575"/>
                      </a:lnTo>
                      <a:lnTo>
                        <a:pt x="360407" y="224575"/>
                      </a:lnTo>
                      <a:lnTo>
                        <a:pt x="364029" y="226990"/>
                      </a:lnTo>
                      <a:lnTo>
                        <a:pt x="364633" y="231216"/>
                      </a:lnTo>
                      <a:lnTo>
                        <a:pt x="371878" y="227594"/>
                      </a:lnTo>
                      <a:lnTo>
                        <a:pt x="371274" y="239064"/>
                      </a:lnTo>
                      <a:lnTo>
                        <a:pt x="374896" y="240875"/>
                      </a:lnTo>
                      <a:lnTo>
                        <a:pt x="379122" y="245101"/>
                      </a:lnTo>
                      <a:lnTo>
                        <a:pt x="387574" y="242686"/>
                      </a:lnTo>
                      <a:lnTo>
                        <a:pt x="393610" y="242082"/>
                      </a:lnTo>
                      <a:lnTo>
                        <a:pt x="396629" y="239668"/>
                      </a:lnTo>
                      <a:lnTo>
                        <a:pt x="406288" y="239064"/>
                      </a:lnTo>
                      <a:lnTo>
                        <a:pt x="409910" y="243893"/>
                      </a:lnTo>
                      <a:lnTo>
                        <a:pt x="414740" y="237253"/>
                      </a:lnTo>
                      <a:lnTo>
                        <a:pt x="418362" y="236045"/>
                      </a:lnTo>
                      <a:lnTo>
                        <a:pt x="427418" y="241479"/>
                      </a:lnTo>
                      <a:lnTo>
                        <a:pt x="427418" y="250534"/>
                      </a:lnTo>
                      <a:lnTo>
                        <a:pt x="430436" y="247516"/>
                      </a:lnTo>
                      <a:lnTo>
                        <a:pt x="429229" y="240271"/>
                      </a:lnTo>
                      <a:lnTo>
                        <a:pt x="431040" y="238460"/>
                      </a:lnTo>
                      <a:lnTo>
                        <a:pt x="440699" y="236649"/>
                      </a:lnTo>
                      <a:lnTo>
                        <a:pt x="449151" y="238460"/>
                      </a:lnTo>
                      <a:lnTo>
                        <a:pt x="450358" y="243893"/>
                      </a:lnTo>
                      <a:lnTo>
                        <a:pt x="458810" y="243893"/>
                      </a:lnTo>
                      <a:lnTo>
                        <a:pt x="458206" y="241479"/>
                      </a:lnTo>
                      <a:lnTo>
                        <a:pt x="464243" y="239668"/>
                      </a:lnTo>
                      <a:lnTo>
                        <a:pt x="466054" y="248119"/>
                      </a:lnTo>
                      <a:lnTo>
                        <a:pt x="472091" y="248119"/>
                      </a:lnTo>
                      <a:lnTo>
                        <a:pt x="474506" y="242686"/>
                      </a:lnTo>
                      <a:lnTo>
                        <a:pt x="478128" y="240271"/>
                      </a:lnTo>
                      <a:lnTo>
                        <a:pt x="477525" y="235442"/>
                      </a:lnTo>
                      <a:lnTo>
                        <a:pt x="467865" y="234234"/>
                      </a:lnTo>
                      <a:lnTo>
                        <a:pt x="470280" y="221557"/>
                      </a:lnTo>
                      <a:lnTo>
                        <a:pt x="462432" y="222160"/>
                      </a:lnTo>
                      <a:lnTo>
                        <a:pt x="461828" y="214313"/>
                      </a:lnTo>
                      <a:lnTo>
                        <a:pt x="465451" y="213105"/>
                      </a:lnTo>
                      <a:lnTo>
                        <a:pt x="464847" y="204653"/>
                      </a:lnTo>
                      <a:lnTo>
                        <a:pt x="469073" y="203446"/>
                      </a:lnTo>
                      <a:lnTo>
                        <a:pt x="467865" y="199220"/>
                      </a:lnTo>
                      <a:lnTo>
                        <a:pt x="463639" y="198013"/>
                      </a:lnTo>
                      <a:lnTo>
                        <a:pt x="461828" y="186542"/>
                      </a:lnTo>
                      <a:lnTo>
                        <a:pt x="479336" y="184731"/>
                      </a:lnTo>
                      <a:lnTo>
                        <a:pt x="481750" y="176280"/>
                      </a:lnTo>
                      <a:lnTo>
                        <a:pt x="493221" y="170846"/>
                      </a:lnTo>
                      <a:lnTo>
                        <a:pt x="493824" y="161187"/>
                      </a:lnTo>
                      <a:lnTo>
                        <a:pt x="501672" y="160583"/>
                      </a:lnTo>
                      <a:lnTo>
                        <a:pt x="501672" y="151528"/>
                      </a:lnTo>
                      <a:lnTo>
                        <a:pt x="508917" y="150320"/>
                      </a:lnTo>
                      <a:lnTo>
                        <a:pt x="510728" y="155150"/>
                      </a:lnTo>
                      <a:lnTo>
                        <a:pt x="510728" y="162998"/>
                      </a:lnTo>
                      <a:lnTo>
                        <a:pt x="514350" y="162394"/>
                      </a:lnTo>
                      <a:lnTo>
                        <a:pt x="516765" y="158169"/>
                      </a:lnTo>
                      <a:lnTo>
                        <a:pt x="517972" y="152132"/>
                      </a:lnTo>
                      <a:lnTo>
                        <a:pt x="522802" y="152132"/>
                      </a:lnTo>
                      <a:lnTo>
                        <a:pt x="523405" y="157565"/>
                      </a:lnTo>
                      <a:lnTo>
                        <a:pt x="528839" y="160583"/>
                      </a:lnTo>
                      <a:lnTo>
                        <a:pt x="530046" y="166620"/>
                      </a:lnTo>
                      <a:lnTo>
                        <a:pt x="536083" y="168431"/>
                      </a:lnTo>
                      <a:lnTo>
                        <a:pt x="536083" y="162998"/>
                      </a:lnTo>
                      <a:lnTo>
                        <a:pt x="541516" y="153943"/>
                      </a:lnTo>
                      <a:lnTo>
                        <a:pt x="541516" y="145491"/>
                      </a:lnTo>
                      <a:lnTo>
                        <a:pt x="545742" y="146698"/>
                      </a:lnTo>
                      <a:lnTo>
                        <a:pt x="550572" y="145491"/>
                      </a:lnTo>
                      <a:lnTo>
                        <a:pt x="553590" y="142472"/>
                      </a:lnTo>
                      <a:lnTo>
                        <a:pt x="556005" y="136435"/>
                      </a:lnTo>
                      <a:lnTo>
                        <a:pt x="551176" y="131606"/>
                      </a:lnTo>
                      <a:lnTo>
                        <a:pt x="545742" y="129795"/>
                      </a:lnTo>
                      <a:lnTo>
                        <a:pt x="546346" y="121343"/>
                      </a:lnTo>
                      <a:lnTo>
                        <a:pt x="551176" y="121343"/>
                      </a:lnTo>
                      <a:lnTo>
                        <a:pt x="552987" y="125569"/>
                      </a:lnTo>
                      <a:lnTo>
                        <a:pt x="559024" y="127380"/>
                      </a:lnTo>
                      <a:lnTo>
                        <a:pt x="560231" y="124361"/>
                      </a:lnTo>
                      <a:lnTo>
                        <a:pt x="569286" y="121343"/>
                      </a:lnTo>
                      <a:lnTo>
                        <a:pt x="575323" y="122550"/>
                      </a:lnTo>
                      <a:lnTo>
                        <a:pt x="578946" y="117721"/>
                      </a:lnTo>
                      <a:lnTo>
                        <a:pt x="582568" y="117721"/>
                      </a:lnTo>
                      <a:lnTo>
                        <a:pt x="581964" y="112891"/>
                      </a:lnTo>
                      <a:lnTo>
                        <a:pt x="583172" y="102025"/>
                      </a:lnTo>
                      <a:lnTo>
                        <a:pt x="582568" y="91762"/>
                      </a:lnTo>
                      <a:lnTo>
                        <a:pt x="589812" y="91158"/>
                      </a:lnTo>
                      <a:lnTo>
                        <a:pt x="589209" y="81499"/>
                      </a:lnTo>
                      <a:lnTo>
                        <a:pt x="592831" y="77877"/>
                      </a:lnTo>
                      <a:lnTo>
                        <a:pt x="589812" y="75462"/>
                      </a:lnTo>
                      <a:lnTo>
                        <a:pt x="583775" y="73651"/>
                      </a:lnTo>
                      <a:lnTo>
                        <a:pt x="588001" y="65803"/>
                      </a:lnTo>
                      <a:lnTo>
                        <a:pt x="590416" y="59162"/>
                      </a:lnTo>
                      <a:lnTo>
                        <a:pt x="597660" y="58559"/>
                      </a:lnTo>
                      <a:lnTo>
                        <a:pt x="599471" y="62784"/>
                      </a:lnTo>
                      <a:lnTo>
                        <a:pt x="604301" y="63992"/>
                      </a:lnTo>
                      <a:lnTo>
                        <a:pt x="606716" y="59162"/>
                      </a:lnTo>
                      <a:lnTo>
                        <a:pt x="609734" y="61577"/>
                      </a:lnTo>
                      <a:lnTo>
                        <a:pt x="611545" y="65803"/>
                      </a:lnTo>
                      <a:lnTo>
                        <a:pt x="621808" y="65803"/>
                      </a:lnTo>
                      <a:lnTo>
                        <a:pt x="623619" y="62784"/>
                      </a:lnTo>
                      <a:lnTo>
                        <a:pt x="619393" y="56747"/>
                      </a:lnTo>
                      <a:lnTo>
                        <a:pt x="624827" y="54333"/>
                      </a:lnTo>
                      <a:lnTo>
                        <a:pt x="628449" y="54333"/>
                      </a:lnTo>
                      <a:lnTo>
                        <a:pt x="632071" y="44070"/>
                      </a:lnTo>
                      <a:lnTo>
                        <a:pt x="636297" y="38033"/>
                      </a:lnTo>
                      <a:lnTo>
                        <a:pt x="642334" y="38636"/>
                      </a:lnTo>
                      <a:lnTo>
                        <a:pt x="639919" y="31392"/>
                      </a:lnTo>
                      <a:lnTo>
                        <a:pt x="642938" y="30788"/>
                      </a:lnTo>
                      <a:lnTo>
                        <a:pt x="646560" y="24148"/>
                      </a:lnTo>
                      <a:lnTo>
                        <a:pt x="647767" y="15092"/>
                      </a:lnTo>
                      <a:lnTo>
                        <a:pt x="648975" y="10263"/>
                      </a:lnTo>
                      <a:lnTo>
                        <a:pt x="664067" y="3622"/>
                      </a:lnTo>
                      <a:lnTo>
                        <a:pt x="666482" y="0"/>
                      </a:lnTo>
                      <a:lnTo>
                        <a:pt x="670104" y="5433"/>
                      </a:lnTo>
                      <a:lnTo>
                        <a:pt x="674933" y="6037"/>
                      </a:lnTo>
                      <a:lnTo>
                        <a:pt x="676141" y="12074"/>
                      </a:lnTo>
                      <a:lnTo>
                        <a:pt x="682178" y="12677"/>
                      </a:lnTo>
                      <a:lnTo>
                        <a:pt x="683989" y="16903"/>
                      </a:lnTo>
                      <a:lnTo>
                        <a:pt x="680367" y="19922"/>
                      </a:lnTo>
                      <a:lnTo>
                        <a:pt x="680367" y="25355"/>
                      </a:lnTo>
                      <a:lnTo>
                        <a:pt x="675537" y="28977"/>
                      </a:lnTo>
                      <a:lnTo>
                        <a:pt x="674330" y="31996"/>
                      </a:lnTo>
                      <a:lnTo>
                        <a:pt x="683989" y="33807"/>
                      </a:lnTo>
                      <a:lnTo>
                        <a:pt x="689422" y="32599"/>
                      </a:lnTo>
                      <a:lnTo>
                        <a:pt x="690026" y="38033"/>
                      </a:lnTo>
                      <a:lnTo>
                        <a:pt x="695459" y="42862"/>
                      </a:lnTo>
                      <a:lnTo>
                        <a:pt x="700893" y="41655"/>
                      </a:lnTo>
                      <a:lnTo>
                        <a:pt x="705118" y="38033"/>
                      </a:lnTo>
                      <a:lnTo>
                        <a:pt x="704515" y="33807"/>
                      </a:lnTo>
                      <a:lnTo>
                        <a:pt x="706929" y="32599"/>
                      </a:lnTo>
                      <a:lnTo>
                        <a:pt x="712966" y="35618"/>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7" name="Kerala" descr="{&quot;Key&quot;:&quot;kerala&quot;,&quot;Name&quot;:&quot;Kerala&quot;,&quot;Value&quot;:1.0,&quot;Formula&quot;:&quot;&quot;,&quot;Text&quot;:&quot;&quot;,&quot;OfficeApplication&quot;:1,&quot;HasValue&quot;:true}">
                  <a:extLst>
                    <a:ext uri="{FF2B5EF4-FFF2-40B4-BE49-F238E27FC236}">
                      <a16:creationId xmlns:a16="http://schemas.microsoft.com/office/drawing/2014/main" id="{EE3B0396-6110-4FB9-88EA-76123D16F06D}"/>
                    </a:ext>
                  </a:extLst>
                </p:cNvPr>
                <p:cNvSpPr/>
                <p:nvPr/>
              </p:nvSpPr>
              <p:spPr>
                <a:xfrm>
                  <a:off x="4460584" y="5589632"/>
                  <a:ext cx="519180" cy="935731"/>
                </a:xfrm>
                <a:custGeom>
                  <a:avLst/>
                  <a:gdLst>
                    <a:gd name="connsiteX0" fmla="*/ 322978 w 519179"/>
                    <a:gd name="connsiteY0" fmla="*/ 684593 h 935730"/>
                    <a:gd name="connsiteX1" fmla="*/ 317545 w 519179"/>
                    <a:gd name="connsiteY1" fmla="*/ 684593 h 935730"/>
                    <a:gd name="connsiteX2" fmla="*/ 316941 w 519179"/>
                    <a:gd name="connsiteY2" fmla="*/ 681574 h 935730"/>
                    <a:gd name="connsiteX3" fmla="*/ 322978 w 519179"/>
                    <a:gd name="connsiteY3" fmla="*/ 679763 h 935730"/>
                    <a:gd name="connsiteX4" fmla="*/ 322978 w 519179"/>
                    <a:gd name="connsiteY4" fmla="*/ 684593 h 935730"/>
                    <a:gd name="connsiteX5" fmla="*/ 322978 w 519179"/>
                    <a:gd name="connsiteY5" fmla="*/ 684593 h 935730"/>
                    <a:gd name="connsiteX6" fmla="*/ 323582 w 519179"/>
                    <a:gd name="connsiteY6" fmla="*/ 679763 h 935730"/>
                    <a:gd name="connsiteX7" fmla="*/ 329015 w 519179"/>
                    <a:gd name="connsiteY7" fmla="*/ 681574 h 935730"/>
                    <a:gd name="connsiteX8" fmla="*/ 329015 w 519179"/>
                    <a:gd name="connsiteY8" fmla="*/ 683988 h 935730"/>
                    <a:gd name="connsiteX9" fmla="*/ 322978 w 519179"/>
                    <a:gd name="connsiteY9" fmla="*/ 684593 h 935730"/>
                    <a:gd name="connsiteX10" fmla="*/ 318752 w 519179"/>
                    <a:gd name="connsiteY10" fmla="*/ 677348 h 935730"/>
                    <a:gd name="connsiteX11" fmla="*/ 321167 w 519179"/>
                    <a:gd name="connsiteY11" fmla="*/ 679763 h 935730"/>
                    <a:gd name="connsiteX12" fmla="*/ 312715 w 519179"/>
                    <a:gd name="connsiteY12" fmla="*/ 683385 h 935730"/>
                    <a:gd name="connsiteX13" fmla="*/ 312111 w 519179"/>
                    <a:gd name="connsiteY13" fmla="*/ 681574 h 935730"/>
                    <a:gd name="connsiteX14" fmla="*/ 318752 w 519179"/>
                    <a:gd name="connsiteY14" fmla="*/ 677348 h 935730"/>
                    <a:gd name="connsiteX15" fmla="*/ 305471 w 519179"/>
                    <a:gd name="connsiteY15" fmla="*/ 612149 h 935730"/>
                    <a:gd name="connsiteX16" fmla="*/ 309093 w 519179"/>
                    <a:gd name="connsiteY16" fmla="*/ 615771 h 935730"/>
                    <a:gd name="connsiteX17" fmla="*/ 310300 w 519179"/>
                    <a:gd name="connsiteY17" fmla="*/ 620600 h 935730"/>
                    <a:gd name="connsiteX18" fmla="*/ 305471 w 519179"/>
                    <a:gd name="connsiteY18" fmla="*/ 619393 h 935730"/>
                    <a:gd name="connsiteX19" fmla="*/ 305471 w 519179"/>
                    <a:gd name="connsiteY19" fmla="*/ 612149 h 935730"/>
                    <a:gd name="connsiteX20" fmla="*/ 287360 w 519179"/>
                    <a:gd name="connsiteY20" fmla="*/ 592227 h 935730"/>
                    <a:gd name="connsiteX21" fmla="*/ 290378 w 519179"/>
                    <a:gd name="connsiteY21" fmla="*/ 592830 h 935730"/>
                    <a:gd name="connsiteX22" fmla="*/ 293397 w 519179"/>
                    <a:gd name="connsiteY22" fmla="*/ 598867 h 935730"/>
                    <a:gd name="connsiteX23" fmla="*/ 288567 w 519179"/>
                    <a:gd name="connsiteY23" fmla="*/ 598264 h 935730"/>
                    <a:gd name="connsiteX24" fmla="*/ 287360 w 519179"/>
                    <a:gd name="connsiteY24" fmla="*/ 592227 h 935730"/>
                    <a:gd name="connsiteX25" fmla="*/ 283134 w 519179"/>
                    <a:gd name="connsiteY25" fmla="*/ 582568 h 935730"/>
                    <a:gd name="connsiteX26" fmla="*/ 285549 w 519179"/>
                    <a:gd name="connsiteY26" fmla="*/ 584379 h 935730"/>
                    <a:gd name="connsiteX27" fmla="*/ 286756 w 519179"/>
                    <a:gd name="connsiteY27" fmla="*/ 589812 h 935730"/>
                    <a:gd name="connsiteX28" fmla="*/ 284341 w 519179"/>
                    <a:gd name="connsiteY28" fmla="*/ 591019 h 935730"/>
                    <a:gd name="connsiteX29" fmla="*/ 283134 w 519179"/>
                    <a:gd name="connsiteY29" fmla="*/ 582568 h 935730"/>
                    <a:gd name="connsiteX30" fmla="*/ 123758 w 519179"/>
                    <a:gd name="connsiteY30" fmla="*/ 103232 h 935730"/>
                    <a:gd name="connsiteX31" fmla="*/ 126776 w 519179"/>
                    <a:gd name="connsiteY31" fmla="*/ 105647 h 935730"/>
                    <a:gd name="connsiteX32" fmla="*/ 128587 w 519179"/>
                    <a:gd name="connsiteY32" fmla="*/ 109269 h 935730"/>
                    <a:gd name="connsiteX33" fmla="*/ 129191 w 519179"/>
                    <a:gd name="connsiteY33" fmla="*/ 109873 h 935730"/>
                    <a:gd name="connsiteX34" fmla="*/ 131002 w 519179"/>
                    <a:gd name="connsiteY34" fmla="*/ 110477 h 935730"/>
                    <a:gd name="connsiteX35" fmla="*/ 132813 w 519179"/>
                    <a:gd name="connsiteY35" fmla="*/ 112288 h 935730"/>
                    <a:gd name="connsiteX36" fmla="*/ 132813 w 519179"/>
                    <a:gd name="connsiteY36" fmla="*/ 112891 h 935730"/>
                    <a:gd name="connsiteX37" fmla="*/ 134624 w 519179"/>
                    <a:gd name="connsiteY37" fmla="*/ 115910 h 935730"/>
                    <a:gd name="connsiteX38" fmla="*/ 134624 w 519179"/>
                    <a:gd name="connsiteY38" fmla="*/ 116513 h 935730"/>
                    <a:gd name="connsiteX39" fmla="*/ 135228 w 519179"/>
                    <a:gd name="connsiteY39" fmla="*/ 117721 h 935730"/>
                    <a:gd name="connsiteX40" fmla="*/ 135832 w 519179"/>
                    <a:gd name="connsiteY40" fmla="*/ 119532 h 935730"/>
                    <a:gd name="connsiteX41" fmla="*/ 138247 w 519179"/>
                    <a:gd name="connsiteY41" fmla="*/ 121947 h 935730"/>
                    <a:gd name="connsiteX42" fmla="*/ 137039 w 519179"/>
                    <a:gd name="connsiteY42" fmla="*/ 123758 h 935730"/>
                    <a:gd name="connsiteX43" fmla="*/ 138850 w 519179"/>
                    <a:gd name="connsiteY43" fmla="*/ 124965 h 935730"/>
                    <a:gd name="connsiteX44" fmla="*/ 139454 w 519179"/>
                    <a:gd name="connsiteY44" fmla="*/ 125569 h 935730"/>
                    <a:gd name="connsiteX45" fmla="*/ 140661 w 519179"/>
                    <a:gd name="connsiteY45" fmla="*/ 126776 h 935730"/>
                    <a:gd name="connsiteX46" fmla="*/ 143680 w 519179"/>
                    <a:gd name="connsiteY46" fmla="*/ 130398 h 935730"/>
                    <a:gd name="connsiteX47" fmla="*/ 147302 w 519179"/>
                    <a:gd name="connsiteY47" fmla="*/ 134020 h 935730"/>
                    <a:gd name="connsiteX48" fmla="*/ 149113 w 519179"/>
                    <a:gd name="connsiteY48" fmla="*/ 135832 h 935730"/>
                    <a:gd name="connsiteX49" fmla="*/ 149717 w 519179"/>
                    <a:gd name="connsiteY49" fmla="*/ 135228 h 935730"/>
                    <a:gd name="connsiteX50" fmla="*/ 152735 w 519179"/>
                    <a:gd name="connsiteY50" fmla="*/ 134624 h 935730"/>
                    <a:gd name="connsiteX51" fmla="*/ 156358 w 519179"/>
                    <a:gd name="connsiteY51" fmla="*/ 135228 h 935730"/>
                    <a:gd name="connsiteX52" fmla="*/ 156961 w 519179"/>
                    <a:gd name="connsiteY52" fmla="*/ 135832 h 935730"/>
                    <a:gd name="connsiteX53" fmla="*/ 158772 w 519179"/>
                    <a:gd name="connsiteY53" fmla="*/ 136435 h 935730"/>
                    <a:gd name="connsiteX54" fmla="*/ 159980 w 519179"/>
                    <a:gd name="connsiteY54" fmla="*/ 138246 h 935730"/>
                    <a:gd name="connsiteX55" fmla="*/ 159980 w 519179"/>
                    <a:gd name="connsiteY55" fmla="*/ 140661 h 935730"/>
                    <a:gd name="connsiteX56" fmla="*/ 164206 w 519179"/>
                    <a:gd name="connsiteY56" fmla="*/ 146698 h 935730"/>
                    <a:gd name="connsiteX57" fmla="*/ 166017 w 519179"/>
                    <a:gd name="connsiteY57" fmla="*/ 146698 h 935730"/>
                    <a:gd name="connsiteX58" fmla="*/ 170243 w 519179"/>
                    <a:gd name="connsiteY58" fmla="*/ 144283 h 935730"/>
                    <a:gd name="connsiteX59" fmla="*/ 171450 w 519179"/>
                    <a:gd name="connsiteY59" fmla="*/ 147302 h 935730"/>
                    <a:gd name="connsiteX60" fmla="*/ 173261 w 519179"/>
                    <a:gd name="connsiteY60" fmla="*/ 148509 h 935730"/>
                    <a:gd name="connsiteX61" fmla="*/ 174468 w 519179"/>
                    <a:gd name="connsiteY61" fmla="*/ 150924 h 935730"/>
                    <a:gd name="connsiteX62" fmla="*/ 175072 w 519179"/>
                    <a:gd name="connsiteY62" fmla="*/ 152735 h 935730"/>
                    <a:gd name="connsiteX63" fmla="*/ 184731 w 519179"/>
                    <a:gd name="connsiteY63" fmla="*/ 149113 h 935730"/>
                    <a:gd name="connsiteX64" fmla="*/ 191372 w 519179"/>
                    <a:gd name="connsiteY64" fmla="*/ 150320 h 935730"/>
                    <a:gd name="connsiteX65" fmla="*/ 191976 w 519179"/>
                    <a:gd name="connsiteY65" fmla="*/ 159376 h 935730"/>
                    <a:gd name="connsiteX66" fmla="*/ 198013 w 519179"/>
                    <a:gd name="connsiteY66" fmla="*/ 165413 h 935730"/>
                    <a:gd name="connsiteX67" fmla="*/ 197409 w 519179"/>
                    <a:gd name="connsiteY67" fmla="*/ 169035 h 935730"/>
                    <a:gd name="connsiteX68" fmla="*/ 202842 w 519179"/>
                    <a:gd name="connsiteY68" fmla="*/ 175072 h 935730"/>
                    <a:gd name="connsiteX69" fmla="*/ 208276 w 519179"/>
                    <a:gd name="connsiteY69" fmla="*/ 178091 h 935730"/>
                    <a:gd name="connsiteX70" fmla="*/ 219142 w 519179"/>
                    <a:gd name="connsiteY70" fmla="*/ 180505 h 935730"/>
                    <a:gd name="connsiteX71" fmla="*/ 222764 w 519179"/>
                    <a:gd name="connsiteY71" fmla="*/ 179902 h 935730"/>
                    <a:gd name="connsiteX72" fmla="*/ 228801 w 519179"/>
                    <a:gd name="connsiteY72" fmla="*/ 181713 h 935730"/>
                    <a:gd name="connsiteX73" fmla="*/ 239668 w 519179"/>
                    <a:gd name="connsiteY73" fmla="*/ 179902 h 935730"/>
                    <a:gd name="connsiteX74" fmla="*/ 248723 w 519179"/>
                    <a:gd name="connsiteY74" fmla="*/ 173865 h 935730"/>
                    <a:gd name="connsiteX75" fmla="*/ 255968 w 519179"/>
                    <a:gd name="connsiteY75" fmla="*/ 172054 h 935730"/>
                    <a:gd name="connsiteX76" fmla="*/ 255968 w 519179"/>
                    <a:gd name="connsiteY76" fmla="*/ 197409 h 935730"/>
                    <a:gd name="connsiteX77" fmla="*/ 259590 w 519179"/>
                    <a:gd name="connsiteY77" fmla="*/ 198616 h 935730"/>
                    <a:gd name="connsiteX78" fmla="*/ 262005 w 519179"/>
                    <a:gd name="connsiteY78" fmla="*/ 195598 h 935730"/>
                    <a:gd name="connsiteX79" fmla="*/ 271664 w 519179"/>
                    <a:gd name="connsiteY79" fmla="*/ 194390 h 935730"/>
                    <a:gd name="connsiteX80" fmla="*/ 275286 w 519179"/>
                    <a:gd name="connsiteY80" fmla="*/ 197409 h 935730"/>
                    <a:gd name="connsiteX81" fmla="*/ 275890 w 519179"/>
                    <a:gd name="connsiteY81" fmla="*/ 204050 h 935730"/>
                    <a:gd name="connsiteX82" fmla="*/ 278304 w 519179"/>
                    <a:gd name="connsiteY82" fmla="*/ 207672 h 935730"/>
                    <a:gd name="connsiteX83" fmla="*/ 283738 w 519179"/>
                    <a:gd name="connsiteY83" fmla="*/ 208879 h 935730"/>
                    <a:gd name="connsiteX84" fmla="*/ 290378 w 519179"/>
                    <a:gd name="connsiteY84" fmla="*/ 207672 h 935730"/>
                    <a:gd name="connsiteX85" fmla="*/ 292189 w 519179"/>
                    <a:gd name="connsiteY85" fmla="*/ 211294 h 935730"/>
                    <a:gd name="connsiteX86" fmla="*/ 295208 w 519179"/>
                    <a:gd name="connsiteY86" fmla="*/ 213105 h 935730"/>
                    <a:gd name="connsiteX87" fmla="*/ 297623 w 519179"/>
                    <a:gd name="connsiteY87" fmla="*/ 219746 h 935730"/>
                    <a:gd name="connsiteX88" fmla="*/ 302452 w 519179"/>
                    <a:gd name="connsiteY88" fmla="*/ 222764 h 935730"/>
                    <a:gd name="connsiteX89" fmla="*/ 306678 w 519179"/>
                    <a:gd name="connsiteY89" fmla="*/ 220349 h 935730"/>
                    <a:gd name="connsiteX90" fmla="*/ 310300 w 519179"/>
                    <a:gd name="connsiteY90" fmla="*/ 221557 h 935730"/>
                    <a:gd name="connsiteX91" fmla="*/ 316941 w 519179"/>
                    <a:gd name="connsiteY91" fmla="*/ 218538 h 935730"/>
                    <a:gd name="connsiteX92" fmla="*/ 319960 w 519179"/>
                    <a:gd name="connsiteY92" fmla="*/ 224575 h 935730"/>
                    <a:gd name="connsiteX93" fmla="*/ 316337 w 519179"/>
                    <a:gd name="connsiteY93" fmla="*/ 227594 h 935730"/>
                    <a:gd name="connsiteX94" fmla="*/ 316337 w 519179"/>
                    <a:gd name="connsiteY94" fmla="*/ 232423 h 935730"/>
                    <a:gd name="connsiteX95" fmla="*/ 318148 w 519179"/>
                    <a:gd name="connsiteY95" fmla="*/ 236649 h 935730"/>
                    <a:gd name="connsiteX96" fmla="*/ 320563 w 519179"/>
                    <a:gd name="connsiteY96" fmla="*/ 237253 h 935730"/>
                    <a:gd name="connsiteX97" fmla="*/ 322978 w 519179"/>
                    <a:gd name="connsiteY97" fmla="*/ 242686 h 935730"/>
                    <a:gd name="connsiteX98" fmla="*/ 320563 w 519179"/>
                    <a:gd name="connsiteY98" fmla="*/ 244497 h 935730"/>
                    <a:gd name="connsiteX99" fmla="*/ 312111 w 519179"/>
                    <a:gd name="connsiteY99" fmla="*/ 245101 h 935730"/>
                    <a:gd name="connsiteX100" fmla="*/ 309697 w 519179"/>
                    <a:gd name="connsiteY100" fmla="*/ 251138 h 935730"/>
                    <a:gd name="connsiteX101" fmla="*/ 302452 w 519179"/>
                    <a:gd name="connsiteY101" fmla="*/ 254760 h 935730"/>
                    <a:gd name="connsiteX102" fmla="*/ 301245 w 519179"/>
                    <a:gd name="connsiteY102" fmla="*/ 252345 h 935730"/>
                    <a:gd name="connsiteX103" fmla="*/ 295208 w 519179"/>
                    <a:gd name="connsiteY103" fmla="*/ 257778 h 935730"/>
                    <a:gd name="connsiteX104" fmla="*/ 293397 w 519179"/>
                    <a:gd name="connsiteY104" fmla="*/ 254156 h 935730"/>
                    <a:gd name="connsiteX105" fmla="*/ 289171 w 519179"/>
                    <a:gd name="connsiteY105" fmla="*/ 251741 h 935730"/>
                    <a:gd name="connsiteX106" fmla="*/ 280115 w 519179"/>
                    <a:gd name="connsiteY106" fmla="*/ 257778 h 935730"/>
                    <a:gd name="connsiteX107" fmla="*/ 283738 w 519179"/>
                    <a:gd name="connsiteY107" fmla="*/ 266230 h 935730"/>
                    <a:gd name="connsiteX108" fmla="*/ 281323 w 519179"/>
                    <a:gd name="connsiteY108" fmla="*/ 266834 h 935730"/>
                    <a:gd name="connsiteX109" fmla="*/ 286756 w 519179"/>
                    <a:gd name="connsiteY109" fmla="*/ 276493 h 935730"/>
                    <a:gd name="connsiteX110" fmla="*/ 290982 w 519179"/>
                    <a:gd name="connsiteY110" fmla="*/ 276493 h 935730"/>
                    <a:gd name="connsiteX111" fmla="*/ 299434 w 519179"/>
                    <a:gd name="connsiteY111" fmla="*/ 282530 h 935730"/>
                    <a:gd name="connsiteX112" fmla="*/ 302452 w 519179"/>
                    <a:gd name="connsiteY112" fmla="*/ 279512 h 935730"/>
                    <a:gd name="connsiteX113" fmla="*/ 307886 w 519179"/>
                    <a:gd name="connsiteY113" fmla="*/ 281926 h 935730"/>
                    <a:gd name="connsiteX114" fmla="*/ 317545 w 519179"/>
                    <a:gd name="connsiteY114" fmla="*/ 289171 h 935730"/>
                    <a:gd name="connsiteX115" fmla="*/ 325997 w 519179"/>
                    <a:gd name="connsiteY115" fmla="*/ 295812 h 935730"/>
                    <a:gd name="connsiteX116" fmla="*/ 338674 w 519179"/>
                    <a:gd name="connsiteY116" fmla="*/ 300037 h 935730"/>
                    <a:gd name="connsiteX117" fmla="*/ 338674 w 519179"/>
                    <a:gd name="connsiteY117" fmla="*/ 303056 h 935730"/>
                    <a:gd name="connsiteX118" fmla="*/ 344711 w 519179"/>
                    <a:gd name="connsiteY118" fmla="*/ 302452 h 935730"/>
                    <a:gd name="connsiteX119" fmla="*/ 344711 w 519179"/>
                    <a:gd name="connsiteY119" fmla="*/ 308489 h 935730"/>
                    <a:gd name="connsiteX120" fmla="*/ 339278 w 519179"/>
                    <a:gd name="connsiteY120" fmla="*/ 321167 h 935730"/>
                    <a:gd name="connsiteX121" fmla="*/ 325393 w 519179"/>
                    <a:gd name="connsiteY121" fmla="*/ 327808 h 935730"/>
                    <a:gd name="connsiteX122" fmla="*/ 324789 w 519179"/>
                    <a:gd name="connsiteY122" fmla="*/ 333844 h 935730"/>
                    <a:gd name="connsiteX123" fmla="*/ 326600 w 519179"/>
                    <a:gd name="connsiteY123" fmla="*/ 338070 h 935730"/>
                    <a:gd name="connsiteX124" fmla="*/ 329619 w 519179"/>
                    <a:gd name="connsiteY124" fmla="*/ 334448 h 935730"/>
                    <a:gd name="connsiteX125" fmla="*/ 338070 w 519179"/>
                    <a:gd name="connsiteY125" fmla="*/ 333844 h 935730"/>
                    <a:gd name="connsiteX126" fmla="*/ 341089 w 519179"/>
                    <a:gd name="connsiteY126" fmla="*/ 336259 h 935730"/>
                    <a:gd name="connsiteX127" fmla="*/ 352559 w 519179"/>
                    <a:gd name="connsiteY127" fmla="*/ 335052 h 935730"/>
                    <a:gd name="connsiteX128" fmla="*/ 357389 w 519179"/>
                    <a:gd name="connsiteY128" fmla="*/ 335052 h 935730"/>
                    <a:gd name="connsiteX129" fmla="*/ 362218 w 519179"/>
                    <a:gd name="connsiteY129" fmla="*/ 336863 h 935730"/>
                    <a:gd name="connsiteX130" fmla="*/ 377311 w 519179"/>
                    <a:gd name="connsiteY130" fmla="*/ 327808 h 935730"/>
                    <a:gd name="connsiteX131" fmla="*/ 383348 w 519179"/>
                    <a:gd name="connsiteY131" fmla="*/ 332637 h 935730"/>
                    <a:gd name="connsiteX132" fmla="*/ 382140 w 519179"/>
                    <a:gd name="connsiteY132" fmla="*/ 337467 h 935730"/>
                    <a:gd name="connsiteX133" fmla="*/ 379122 w 519179"/>
                    <a:gd name="connsiteY133" fmla="*/ 338674 h 935730"/>
                    <a:gd name="connsiteX134" fmla="*/ 374896 w 519179"/>
                    <a:gd name="connsiteY134" fmla="*/ 342900 h 935730"/>
                    <a:gd name="connsiteX135" fmla="*/ 377311 w 519179"/>
                    <a:gd name="connsiteY135" fmla="*/ 348333 h 935730"/>
                    <a:gd name="connsiteX136" fmla="*/ 386366 w 519179"/>
                    <a:gd name="connsiteY136" fmla="*/ 353163 h 935730"/>
                    <a:gd name="connsiteX137" fmla="*/ 384555 w 519179"/>
                    <a:gd name="connsiteY137" fmla="*/ 356785 h 935730"/>
                    <a:gd name="connsiteX138" fmla="*/ 386970 w 519179"/>
                    <a:gd name="connsiteY138" fmla="*/ 358596 h 935730"/>
                    <a:gd name="connsiteX139" fmla="*/ 385159 w 519179"/>
                    <a:gd name="connsiteY139" fmla="*/ 362822 h 935730"/>
                    <a:gd name="connsiteX140" fmla="*/ 388177 w 519179"/>
                    <a:gd name="connsiteY140" fmla="*/ 366444 h 935730"/>
                    <a:gd name="connsiteX141" fmla="*/ 389385 w 519179"/>
                    <a:gd name="connsiteY141" fmla="*/ 371274 h 935730"/>
                    <a:gd name="connsiteX142" fmla="*/ 380329 w 519179"/>
                    <a:gd name="connsiteY142" fmla="*/ 369462 h 935730"/>
                    <a:gd name="connsiteX143" fmla="*/ 376103 w 519179"/>
                    <a:gd name="connsiteY143" fmla="*/ 372481 h 935730"/>
                    <a:gd name="connsiteX144" fmla="*/ 373085 w 519179"/>
                    <a:gd name="connsiteY144" fmla="*/ 380329 h 935730"/>
                    <a:gd name="connsiteX145" fmla="*/ 369463 w 519179"/>
                    <a:gd name="connsiteY145" fmla="*/ 384555 h 935730"/>
                    <a:gd name="connsiteX146" fmla="*/ 368255 w 519179"/>
                    <a:gd name="connsiteY146" fmla="*/ 393007 h 935730"/>
                    <a:gd name="connsiteX147" fmla="*/ 374896 w 519179"/>
                    <a:gd name="connsiteY147" fmla="*/ 396629 h 935730"/>
                    <a:gd name="connsiteX148" fmla="*/ 377914 w 519179"/>
                    <a:gd name="connsiteY148" fmla="*/ 397233 h 935730"/>
                    <a:gd name="connsiteX149" fmla="*/ 384555 w 519179"/>
                    <a:gd name="connsiteY149" fmla="*/ 400855 h 935730"/>
                    <a:gd name="connsiteX150" fmla="*/ 393007 w 519179"/>
                    <a:gd name="connsiteY150" fmla="*/ 400855 h 935730"/>
                    <a:gd name="connsiteX151" fmla="*/ 395422 w 519179"/>
                    <a:gd name="connsiteY151" fmla="*/ 403270 h 935730"/>
                    <a:gd name="connsiteX152" fmla="*/ 402062 w 519179"/>
                    <a:gd name="connsiteY152" fmla="*/ 405081 h 935730"/>
                    <a:gd name="connsiteX153" fmla="*/ 407496 w 519179"/>
                    <a:gd name="connsiteY153" fmla="*/ 412325 h 935730"/>
                    <a:gd name="connsiteX154" fmla="*/ 406288 w 519179"/>
                    <a:gd name="connsiteY154" fmla="*/ 414740 h 935730"/>
                    <a:gd name="connsiteX155" fmla="*/ 410514 w 519179"/>
                    <a:gd name="connsiteY155" fmla="*/ 418362 h 935730"/>
                    <a:gd name="connsiteX156" fmla="*/ 416551 w 519179"/>
                    <a:gd name="connsiteY156" fmla="*/ 418362 h 935730"/>
                    <a:gd name="connsiteX157" fmla="*/ 418362 w 519179"/>
                    <a:gd name="connsiteY157" fmla="*/ 424399 h 935730"/>
                    <a:gd name="connsiteX158" fmla="*/ 417758 w 519179"/>
                    <a:gd name="connsiteY158" fmla="*/ 428625 h 935730"/>
                    <a:gd name="connsiteX159" fmla="*/ 414136 w 519179"/>
                    <a:gd name="connsiteY159" fmla="*/ 437680 h 935730"/>
                    <a:gd name="connsiteX160" fmla="*/ 409910 w 519179"/>
                    <a:gd name="connsiteY160" fmla="*/ 444925 h 935730"/>
                    <a:gd name="connsiteX161" fmla="*/ 412929 w 519179"/>
                    <a:gd name="connsiteY161" fmla="*/ 446736 h 935730"/>
                    <a:gd name="connsiteX162" fmla="*/ 413533 w 519179"/>
                    <a:gd name="connsiteY162" fmla="*/ 453980 h 935730"/>
                    <a:gd name="connsiteX163" fmla="*/ 399647 w 519179"/>
                    <a:gd name="connsiteY163" fmla="*/ 454584 h 935730"/>
                    <a:gd name="connsiteX164" fmla="*/ 399044 w 519179"/>
                    <a:gd name="connsiteY164" fmla="*/ 456998 h 935730"/>
                    <a:gd name="connsiteX165" fmla="*/ 401459 w 519179"/>
                    <a:gd name="connsiteY165" fmla="*/ 462432 h 935730"/>
                    <a:gd name="connsiteX166" fmla="*/ 404477 w 519179"/>
                    <a:gd name="connsiteY166" fmla="*/ 463035 h 935730"/>
                    <a:gd name="connsiteX167" fmla="*/ 403270 w 519179"/>
                    <a:gd name="connsiteY167" fmla="*/ 473298 h 935730"/>
                    <a:gd name="connsiteX168" fmla="*/ 405081 w 519179"/>
                    <a:gd name="connsiteY168" fmla="*/ 475109 h 935730"/>
                    <a:gd name="connsiteX169" fmla="*/ 402666 w 519179"/>
                    <a:gd name="connsiteY169" fmla="*/ 482958 h 935730"/>
                    <a:gd name="connsiteX170" fmla="*/ 402062 w 519179"/>
                    <a:gd name="connsiteY170" fmla="*/ 493824 h 935730"/>
                    <a:gd name="connsiteX171" fmla="*/ 399647 w 519179"/>
                    <a:gd name="connsiteY171" fmla="*/ 498654 h 935730"/>
                    <a:gd name="connsiteX172" fmla="*/ 403270 w 519179"/>
                    <a:gd name="connsiteY172" fmla="*/ 503483 h 935730"/>
                    <a:gd name="connsiteX173" fmla="*/ 401459 w 519179"/>
                    <a:gd name="connsiteY173" fmla="*/ 504691 h 935730"/>
                    <a:gd name="connsiteX174" fmla="*/ 406288 w 519179"/>
                    <a:gd name="connsiteY174" fmla="*/ 510728 h 935730"/>
                    <a:gd name="connsiteX175" fmla="*/ 403873 w 519179"/>
                    <a:gd name="connsiteY175" fmla="*/ 514954 h 935730"/>
                    <a:gd name="connsiteX176" fmla="*/ 402666 w 519179"/>
                    <a:gd name="connsiteY176" fmla="*/ 524009 h 935730"/>
                    <a:gd name="connsiteX177" fmla="*/ 405081 w 519179"/>
                    <a:gd name="connsiteY177" fmla="*/ 526424 h 935730"/>
                    <a:gd name="connsiteX178" fmla="*/ 411118 w 519179"/>
                    <a:gd name="connsiteY178" fmla="*/ 526424 h 935730"/>
                    <a:gd name="connsiteX179" fmla="*/ 411118 w 519179"/>
                    <a:gd name="connsiteY179" fmla="*/ 530046 h 935730"/>
                    <a:gd name="connsiteX180" fmla="*/ 415947 w 519179"/>
                    <a:gd name="connsiteY180" fmla="*/ 532461 h 935730"/>
                    <a:gd name="connsiteX181" fmla="*/ 417758 w 519179"/>
                    <a:gd name="connsiteY181" fmla="*/ 537291 h 935730"/>
                    <a:gd name="connsiteX182" fmla="*/ 420777 w 519179"/>
                    <a:gd name="connsiteY182" fmla="*/ 539102 h 935730"/>
                    <a:gd name="connsiteX183" fmla="*/ 425003 w 519179"/>
                    <a:gd name="connsiteY183" fmla="*/ 537894 h 935730"/>
                    <a:gd name="connsiteX184" fmla="*/ 431040 w 519179"/>
                    <a:gd name="connsiteY184" fmla="*/ 540309 h 935730"/>
                    <a:gd name="connsiteX185" fmla="*/ 435869 w 519179"/>
                    <a:gd name="connsiteY185" fmla="*/ 539705 h 935730"/>
                    <a:gd name="connsiteX186" fmla="*/ 443717 w 519179"/>
                    <a:gd name="connsiteY186" fmla="*/ 535479 h 935730"/>
                    <a:gd name="connsiteX187" fmla="*/ 447340 w 519179"/>
                    <a:gd name="connsiteY187" fmla="*/ 533668 h 935730"/>
                    <a:gd name="connsiteX188" fmla="*/ 449151 w 519179"/>
                    <a:gd name="connsiteY188" fmla="*/ 528235 h 935730"/>
                    <a:gd name="connsiteX189" fmla="*/ 454584 w 519179"/>
                    <a:gd name="connsiteY189" fmla="*/ 524009 h 935730"/>
                    <a:gd name="connsiteX190" fmla="*/ 463036 w 519179"/>
                    <a:gd name="connsiteY190" fmla="*/ 520991 h 935730"/>
                    <a:gd name="connsiteX191" fmla="*/ 473299 w 519179"/>
                    <a:gd name="connsiteY191" fmla="*/ 513143 h 935730"/>
                    <a:gd name="connsiteX192" fmla="*/ 485373 w 519179"/>
                    <a:gd name="connsiteY192" fmla="*/ 514350 h 935730"/>
                    <a:gd name="connsiteX193" fmla="*/ 484165 w 519179"/>
                    <a:gd name="connsiteY193" fmla="*/ 521594 h 935730"/>
                    <a:gd name="connsiteX194" fmla="*/ 491409 w 519179"/>
                    <a:gd name="connsiteY194" fmla="*/ 532461 h 935730"/>
                    <a:gd name="connsiteX195" fmla="*/ 491409 w 519179"/>
                    <a:gd name="connsiteY195" fmla="*/ 539102 h 935730"/>
                    <a:gd name="connsiteX196" fmla="*/ 495032 w 519179"/>
                    <a:gd name="connsiteY196" fmla="*/ 539102 h 935730"/>
                    <a:gd name="connsiteX197" fmla="*/ 497446 w 519179"/>
                    <a:gd name="connsiteY197" fmla="*/ 542724 h 935730"/>
                    <a:gd name="connsiteX198" fmla="*/ 494428 w 519179"/>
                    <a:gd name="connsiteY198" fmla="*/ 548157 h 935730"/>
                    <a:gd name="connsiteX199" fmla="*/ 493221 w 519179"/>
                    <a:gd name="connsiteY199" fmla="*/ 553590 h 935730"/>
                    <a:gd name="connsiteX200" fmla="*/ 493221 w 519179"/>
                    <a:gd name="connsiteY200" fmla="*/ 559023 h 935730"/>
                    <a:gd name="connsiteX201" fmla="*/ 492013 w 519179"/>
                    <a:gd name="connsiteY201" fmla="*/ 562646 h 935730"/>
                    <a:gd name="connsiteX202" fmla="*/ 487184 w 519179"/>
                    <a:gd name="connsiteY202" fmla="*/ 560834 h 935730"/>
                    <a:gd name="connsiteX203" fmla="*/ 478732 w 519179"/>
                    <a:gd name="connsiteY203" fmla="*/ 565664 h 935730"/>
                    <a:gd name="connsiteX204" fmla="*/ 481750 w 519179"/>
                    <a:gd name="connsiteY204" fmla="*/ 571701 h 935730"/>
                    <a:gd name="connsiteX205" fmla="*/ 490806 w 519179"/>
                    <a:gd name="connsiteY205" fmla="*/ 582568 h 935730"/>
                    <a:gd name="connsiteX206" fmla="*/ 488995 w 519179"/>
                    <a:gd name="connsiteY206" fmla="*/ 584982 h 935730"/>
                    <a:gd name="connsiteX207" fmla="*/ 491409 w 519179"/>
                    <a:gd name="connsiteY207" fmla="*/ 591623 h 935730"/>
                    <a:gd name="connsiteX208" fmla="*/ 493824 w 519179"/>
                    <a:gd name="connsiteY208" fmla="*/ 593434 h 935730"/>
                    <a:gd name="connsiteX209" fmla="*/ 485373 w 519179"/>
                    <a:gd name="connsiteY209" fmla="*/ 601886 h 935730"/>
                    <a:gd name="connsiteX210" fmla="*/ 481750 w 519179"/>
                    <a:gd name="connsiteY210" fmla="*/ 607923 h 935730"/>
                    <a:gd name="connsiteX211" fmla="*/ 480543 w 519179"/>
                    <a:gd name="connsiteY211" fmla="*/ 613960 h 935730"/>
                    <a:gd name="connsiteX212" fmla="*/ 485976 w 519179"/>
                    <a:gd name="connsiteY212" fmla="*/ 618790 h 935730"/>
                    <a:gd name="connsiteX213" fmla="*/ 484769 w 519179"/>
                    <a:gd name="connsiteY213" fmla="*/ 624827 h 935730"/>
                    <a:gd name="connsiteX214" fmla="*/ 487787 w 519179"/>
                    <a:gd name="connsiteY214" fmla="*/ 630260 h 935730"/>
                    <a:gd name="connsiteX215" fmla="*/ 482958 w 519179"/>
                    <a:gd name="connsiteY215" fmla="*/ 632071 h 935730"/>
                    <a:gd name="connsiteX216" fmla="*/ 483562 w 519179"/>
                    <a:gd name="connsiteY216" fmla="*/ 636901 h 935730"/>
                    <a:gd name="connsiteX217" fmla="*/ 482354 w 519179"/>
                    <a:gd name="connsiteY217" fmla="*/ 644145 h 935730"/>
                    <a:gd name="connsiteX218" fmla="*/ 478732 w 519179"/>
                    <a:gd name="connsiteY218" fmla="*/ 645352 h 935730"/>
                    <a:gd name="connsiteX219" fmla="*/ 479336 w 519179"/>
                    <a:gd name="connsiteY219" fmla="*/ 651389 h 935730"/>
                    <a:gd name="connsiteX220" fmla="*/ 476921 w 519179"/>
                    <a:gd name="connsiteY220" fmla="*/ 656822 h 935730"/>
                    <a:gd name="connsiteX221" fmla="*/ 473902 w 519179"/>
                    <a:gd name="connsiteY221" fmla="*/ 659237 h 935730"/>
                    <a:gd name="connsiteX222" fmla="*/ 471488 w 519179"/>
                    <a:gd name="connsiteY222" fmla="*/ 669500 h 935730"/>
                    <a:gd name="connsiteX223" fmla="*/ 475713 w 519179"/>
                    <a:gd name="connsiteY223" fmla="*/ 670104 h 935730"/>
                    <a:gd name="connsiteX224" fmla="*/ 478128 w 519179"/>
                    <a:gd name="connsiteY224" fmla="*/ 668293 h 935730"/>
                    <a:gd name="connsiteX225" fmla="*/ 485373 w 519179"/>
                    <a:gd name="connsiteY225" fmla="*/ 674933 h 935730"/>
                    <a:gd name="connsiteX226" fmla="*/ 493221 w 519179"/>
                    <a:gd name="connsiteY226" fmla="*/ 676744 h 935730"/>
                    <a:gd name="connsiteX227" fmla="*/ 498654 w 519179"/>
                    <a:gd name="connsiteY227" fmla="*/ 671915 h 935730"/>
                    <a:gd name="connsiteX228" fmla="*/ 502276 w 519179"/>
                    <a:gd name="connsiteY228" fmla="*/ 670707 h 935730"/>
                    <a:gd name="connsiteX229" fmla="*/ 505898 w 519179"/>
                    <a:gd name="connsiteY229" fmla="*/ 676141 h 935730"/>
                    <a:gd name="connsiteX230" fmla="*/ 511935 w 519179"/>
                    <a:gd name="connsiteY230" fmla="*/ 682178 h 935730"/>
                    <a:gd name="connsiteX231" fmla="*/ 511935 w 519179"/>
                    <a:gd name="connsiteY231" fmla="*/ 685196 h 935730"/>
                    <a:gd name="connsiteX232" fmla="*/ 516161 w 519179"/>
                    <a:gd name="connsiteY232" fmla="*/ 688818 h 935730"/>
                    <a:gd name="connsiteX233" fmla="*/ 521594 w 519179"/>
                    <a:gd name="connsiteY233" fmla="*/ 691233 h 935730"/>
                    <a:gd name="connsiteX234" fmla="*/ 519180 w 519179"/>
                    <a:gd name="connsiteY234" fmla="*/ 697270 h 935730"/>
                    <a:gd name="connsiteX235" fmla="*/ 516161 w 519179"/>
                    <a:gd name="connsiteY235" fmla="*/ 702099 h 935730"/>
                    <a:gd name="connsiteX236" fmla="*/ 511935 w 519179"/>
                    <a:gd name="connsiteY236" fmla="*/ 700892 h 935730"/>
                    <a:gd name="connsiteX237" fmla="*/ 508313 w 519179"/>
                    <a:gd name="connsiteY237" fmla="*/ 705118 h 935730"/>
                    <a:gd name="connsiteX238" fmla="*/ 505898 w 519179"/>
                    <a:gd name="connsiteY238" fmla="*/ 709948 h 935730"/>
                    <a:gd name="connsiteX239" fmla="*/ 505898 w 519179"/>
                    <a:gd name="connsiteY239" fmla="*/ 721418 h 935730"/>
                    <a:gd name="connsiteX240" fmla="*/ 498654 w 519179"/>
                    <a:gd name="connsiteY240" fmla="*/ 730474 h 935730"/>
                    <a:gd name="connsiteX241" fmla="*/ 494428 w 519179"/>
                    <a:gd name="connsiteY241" fmla="*/ 734096 h 935730"/>
                    <a:gd name="connsiteX242" fmla="*/ 495032 w 519179"/>
                    <a:gd name="connsiteY242" fmla="*/ 740133 h 935730"/>
                    <a:gd name="connsiteX243" fmla="*/ 493221 w 519179"/>
                    <a:gd name="connsiteY243" fmla="*/ 747981 h 935730"/>
                    <a:gd name="connsiteX244" fmla="*/ 494428 w 519179"/>
                    <a:gd name="connsiteY244" fmla="*/ 750999 h 935730"/>
                    <a:gd name="connsiteX245" fmla="*/ 491409 w 519179"/>
                    <a:gd name="connsiteY245" fmla="*/ 755225 h 935730"/>
                    <a:gd name="connsiteX246" fmla="*/ 491409 w 519179"/>
                    <a:gd name="connsiteY246" fmla="*/ 764884 h 935730"/>
                    <a:gd name="connsiteX247" fmla="*/ 487787 w 519179"/>
                    <a:gd name="connsiteY247" fmla="*/ 770317 h 935730"/>
                    <a:gd name="connsiteX248" fmla="*/ 483562 w 519179"/>
                    <a:gd name="connsiteY248" fmla="*/ 772732 h 935730"/>
                    <a:gd name="connsiteX249" fmla="*/ 479939 w 519179"/>
                    <a:gd name="connsiteY249" fmla="*/ 776354 h 935730"/>
                    <a:gd name="connsiteX250" fmla="*/ 479336 w 519179"/>
                    <a:gd name="connsiteY250" fmla="*/ 781184 h 935730"/>
                    <a:gd name="connsiteX251" fmla="*/ 476921 w 519179"/>
                    <a:gd name="connsiteY251" fmla="*/ 785410 h 935730"/>
                    <a:gd name="connsiteX252" fmla="*/ 471488 w 519179"/>
                    <a:gd name="connsiteY252" fmla="*/ 787221 h 935730"/>
                    <a:gd name="connsiteX253" fmla="*/ 466658 w 519179"/>
                    <a:gd name="connsiteY253" fmla="*/ 792654 h 935730"/>
                    <a:gd name="connsiteX254" fmla="*/ 467262 w 519179"/>
                    <a:gd name="connsiteY254" fmla="*/ 795069 h 935730"/>
                    <a:gd name="connsiteX255" fmla="*/ 472091 w 519179"/>
                    <a:gd name="connsiteY255" fmla="*/ 799295 h 935730"/>
                    <a:gd name="connsiteX256" fmla="*/ 473299 w 519179"/>
                    <a:gd name="connsiteY256" fmla="*/ 802917 h 935730"/>
                    <a:gd name="connsiteX257" fmla="*/ 476921 w 519179"/>
                    <a:gd name="connsiteY257" fmla="*/ 805936 h 935730"/>
                    <a:gd name="connsiteX258" fmla="*/ 476921 w 519179"/>
                    <a:gd name="connsiteY258" fmla="*/ 812576 h 935730"/>
                    <a:gd name="connsiteX259" fmla="*/ 479336 w 519179"/>
                    <a:gd name="connsiteY259" fmla="*/ 811369 h 935730"/>
                    <a:gd name="connsiteX260" fmla="*/ 482354 w 519179"/>
                    <a:gd name="connsiteY260" fmla="*/ 817406 h 935730"/>
                    <a:gd name="connsiteX261" fmla="*/ 488995 w 519179"/>
                    <a:gd name="connsiteY261" fmla="*/ 822235 h 935730"/>
                    <a:gd name="connsiteX262" fmla="*/ 490806 w 519179"/>
                    <a:gd name="connsiteY262" fmla="*/ 830084 h 935730"/>
                    <a:gd name="connsiteX263" fmla="*/ 484769 w 519179"/>
                    <a:gd name="connsiteY263" fmla="*/ 837328 h 935730"/>
                    <a:gd name="connsiteX264" fmla="*/ 484165 w 519179"/>
                    <a:gd name="connsiteY264" fmla="*/ 841554 h 935730"/>
                    <a:gd name="connsiteX265" fmla="*/ 476317 w 519179"/>
                    <a:gd name="connsiteY265" fmla="*/ 850005 h 935730"/>
                    <a:gd name="connsiteX266" fmla="*/ 471488 w 519179"/>
                    <a:gd name="connsiteY266" fmla="*/ 849402 h 935730"/>
                    <a:gd name="connsiteX267" fmla="*/ 473902 w 519179"/>
                    <a:gd name="connsiteY267" fmla="*/ 856042 h 935730"/>
                    <a:gd name="connsiteX268" fmla="*/ 476921 w 519179"/>
                    <a:gd name="connsiteY268" fmla="*/ 857854 h 935730"/>
                    <a:gd name="connsiteX269" fmla="*/ 480543 w 519179"/>
                    <a:gd name="connsiteY269" fmla="*/ 869928 h 935730"/>
                    <a:gd name="connsiteX270" fmla="*/ 486580 w 519179"/>
                    <a:gd name="connsiteY270" fmla="*/ 875361 h 935730"/>
                    <a:gd name="connsiteX271" fmla="*/ 486580 w 519179"/>
                    <a:gd name="connsiteY271" fmla="*/ 878983 h 935730"/>
                    <a:gd name="connsiteX272" fmla="*/ 491409 w 519179"/>
                    <a:gd name="connsiteY272" fmla="*/ 884416 h 935730"/>
                    <a:gd name="connsiteX273" fmla="*/ 494428 w 519179"/>
                    <a:gd name="connsiteY273" fmla="*/ 891660 h 935730"/>
                    <a:gd name="connsiteX274" fmla="*/ 490806 w 519179"/>
                    <a:gd name="connsiteY274" fmla="*/ 898905 h 935730"/>
                    <a:gd name="connsiteX275" fmla="*/ 485373 w 519179"/>
                    <a:gd name="connsiteY275" fmla="*/ 901319 h 935730"/>
                    <a:gd name="connsiteX276" fmla="*/ 482354 w 519179"/>
                    <a:gd name="connsiteY276" fmla="*/ 898301 h 935730"/>
                    <a:gd name="connsiteX277" fmla="*/ 478732 w 519179"/>
                    <a:gd name="connsiteY277" fmla="*/ 901924 h 935730"/>
                    <a:gd name="connsiteX278" fmla="*/ 482958 w 519179"/>
                    <a:gd name="connsiteY278" fmla="*/ 912186 h 935730"/>
                    <a:gd name="connsiteX279" fmla="*/ 478732 w 519179"/>
                    <a:gd name="connsiteY279" fmla="*/ 912790 h 935730"/>
                    <a:gd name="connsiteX280" fmla="*/ 476921 w 519179"/>
                    <a:gd name="connsiteY280" fmla="*/ 918223 h 935730"/>
                    <a:gd name="connsiteX281" fmla="*/ 471488 w 519179"/>
                    <a:gd name="connsiteY281" fmla="*/ 924864 h 935730"/>
                    <a:gd name="connsiteX282" fmla="*/ 467262 w 519179"/>
                    <a:gd name="connsiteY282" fmla="*/ 924260 h 935730"/>
                    <a:gd name="connsiteX283" fmla="*/ 472091 w 519179"/>
                    <a:gd name="connsiteY283" fmla="*/ 931504 h 935730"/>
                    <a:gd name="connsiteX284" fmla="*/ 470280 w 519179"/>
                    <a:gd name="connsiteY284" fmla="*/ 936334 h 935730"/>
                    <a:gd name="connsiteX285" fmla="*/ 464847 w 519179"/>
                    <a:gd name="connsiteY285" fmla="*/ 936334 h 935730"/>
                    <a:gd name="connsiteX286" fmla="*/ 461225 w 519179"/>
                    <a:gd name="connsiteY286" fmla="*/ 940560 h 935730"/>
                    <a:gd name="connsiteX287" fmla="*/ 458206 w 519179"/>
                    <a:gd name="connsiteY287" fmla="*/ 941164 h 935730"/>
                    <a:gd name="connsiteX288" fmla="*/ 443114 w 519179"/>
                    <a:gd name="connsiteY288" fmla="*/ 929090 h 935730"/>
                    <a:gd name="connsiteX289" fmla="*/ 440095 w 519179"/>
                    <a:gd name="connsiteY289" fmla="*/ 926072 h 935730"/>
                    <a:gd name="connsiteX290" fmla="*/ 435266 w 519179"/>
                    <a:gd name="connsiteY290" fmla="*/ 923657 h 935730"/>
                    <a:gd name="connsiteX291" fmla="*/ 432247 w 519179"/>
                    <a:gd name="connsiteY291" fmla="*/ 916412 h 935730"/>
                    <a:gd name="connsiteX292" fmla="*/ 415947 w 519179"/>
                    <a:gd name="connsiteY292" fmla="*/ 897094 h 935730"/>
                    <a:gd name="connsiteX293" fmla="*/ 382140 w 519179"/>
                    <a:gd name="connsiteY293" fmla="*/ 854232 h 935730"/>
                    <a:gd name="connsiteX294" fmla="*/ 377914 w 519179"/>
                    <a:gd name="connsiteY294" fmla="*/ 849402 h 935730"/>
                    <a:gd name="connsiteX295" fmla="*/ 373689 w 519179"/>
                    <a:gd name="connsiteY295" fmla="*/ 842158 h 935730"/>
                    <a:gd name="connsiteX296" fmla="*/ 361011 w 519179"/>
                    <a:gd name="connsiteY296" fmla="*/ 825857 h 935730"/>
                    <a:gd name="connsiteX297" fmla="*/ 355578 w 519179"/>
                    <a:gd name="connsiteY297" fmla="*/ 821028 h 935730"/>
                    <a:gd name="connsiteX298" fmla="*/ 350748 w 519179"/>
                    <a:gd name="connsiteY298" fmla="*/ 820425 h 935730"/>
                    <a:gd name="connsiteX299" fmla="*/ 345315 w 519179"/>
                    <a:gd name="connsiteY299" fmla="*/ 812576 h 935730"/>
                    <a:gd name="connsiteX300" fmla="*/ 342296 w 519179"/>
                    <a:gd name="connsiteY300" fmla="*/ 801709 h 935730"/>
                    <a:gd name="connsiteX301" fmla="*/ 340485 w 519179"/>
                    <a:gd name="connsiteY301" fmla="*/ 790843 h 935730"/>
                    <a:gd name="connsiteX302" fmla="*/ 328411 w 519179"/>
                    <a:gd name="connsiteY302" fmla="*/ 765488 h 935730"/>
                    <a:gd name="connsiteX303" fmla="*/ 308489 w 519179"/>
                    <a:gd name="connsiteY303" fmla="*/ 720210 h 935730"/>
                    <a:gd name="connsiteX304" fmla="*/ 303660 w 519179"/>
                    <a:gd name="connsiteY304" fmla="*/ 708741 h 935730"/>
                    <a:gd name="connsiteX305" fmla="*/ 297623 w 519179"/>
                    <a:gd name="connsiteY305" fmla="*/ 685800 h 935730"/>
                    <a:gd name="connsiteX306" fmla="*/ 295208 w 519179"/>
                    <a:gd name="connsiteY306" fmla="*/ 672519 h 935730"/>
                    <a:gd name="connsiteX307" fmla="*/ 292189 w 519179"/>
                    <a:gd name="connsiteY307" fmla="*/ 638108 h 935730"/>
                    <a:gd name="connsiteX308" fmla="*/ 287360 w 519179"/>
                    <a:gd name="connsiteY308" fmla="*/ 611545 h 935730"/>
                    <a:gd name="connsiteX309" fmla="*/ 282530 w 519179"/>
                    <a:gd name="connsiteY309" fmla="*/ 595245 h 935730"/>
                    <a:gd name="connsiteX310" fmla="*/ 287360 w 519179"/>
                    <a:gd name="connsiteY310" fmla="*/ 593434 h 935730"/>
                    <a:gd name="connsiteX311" fmla="*/ 288567 w 519179"/>
                    <a:gd name="connsiteY311" fmla="*/ 600075 h 935730"/>
                    <a:gd name="connsiteX312" fmla="*/ 294000 w 519179"/>
                    <a:gd name="connsiteY312" fmla="*/ 602489 h 935730"/>
                    <a:gd name="connsiteX313" fmla="*/ 292793 w 519179"/>
                    <a:gd name="connsiteY313" fmla="*/ 606112 h 935730"/>
                    <a:gd name="connsiteX314" fmla="*/ 286756 w 519179"/>
                    <a:gd name="connsiteY314" fmla="*/ 606716 h 935730"/>
                    <a:gd name="connsiteX315" fmla="*/ 289171 w 519179"/>
                    <a:gd name="connsiteY315" fmla="*/ 613960 h 935730"/>
                    <a:gd name="connsiteX316" fmla="*/ 292793 w 519179"/>
                    <a:gd name="connsiteY316" fmla="*/ 608526 h 935730"/>
                    <a:gd name="connsiteX317" fmla="*/ 301849 w 519179"/>
                    <a:gd name="connsiteY317" fmla="*/ 612753 h 935730"/>
                    <a:gd name="connsiteX318" fmla="*/ 304263 w 519179"/>
                    <a:gd name="connsiteY318" fmla="*/ 620600 h 935730"/>
                    <a:gd name="connsiteX319" fmla="*/ 309697 w 519179"/>
                    <a:gd name="connsiteY319" fmla="*/ 624223 h 935730"/>
                    <a:gd name="connsiteX320" fmla="*/ 307886 w 519179"/>
                    <a:gd name="connsiteY320" fmla="*/ 628449 h 935730"/>
                    <a:gd name="connsiteX321" fmla="*/ 309093 w 519179"/>
                    <a:gd name="connsiteY321" fmla="*/ 632674 h 935730"/>
                    <a:gd name="connsiteX322" fmla="*/ 310300 w 519179"/>
                    <a:gd name="connsiteY322" fmla="*/ 639919 h 935730"/>
                    <a:gd name="connsiteX323" fmla="*/ 309093 w 519179"/>
                    <a:gd name="connsiteY323" fmla="*/ 649578 h 935730"/>
                    <a:gd name="connsiteX324" fmla="*/ 313923 w 519179"/>
                    <a:gd name="connsiteY324" fmla="*/ 652597 h 935730"/>
                    <a:gd name="connsiteX325" fmla="*/ 313923 w 519179"/>
                    <a:gd name="connsiteY325" fmla="*/ 657426 h 935730"/>
                    <a:gd name="connsiteX326" fmla="*/ 309093 w 519179"/>
                    <a:gd name="connsiteY326" fmla="*/ 667085 h 935730"/>
                    <a:gd name="connsiteX327" fmla="*/ 309093 w 519179"/>
                    <a:gd name="connsiteY327" fmla="*/ 673122 h 935730"/>
                    <a:gd name="connsiteX328" fmla="*/ 307282 w 519179"/>
                    <a:gd name="connsiteY328" fmla="*/ 674933 h 935730"/>
                    <a:gd name="connsiteX329" fmla="*/ 306074 w 519179"/>
                    <a:gd name="connsiteY329" fmla="*/ 682178 h 935730"/>
                    <a:gd name="connsiteX330" fmla="*/ 307282 w 519179"/>
                    <a:gd name="connsiteY330" fmla="*/ 685196 h 935730"/>
                    <a:gd name="connsiteX331" fmla="*/ 336863 w 519179"/>
                    <a:gd name="connsiteY331" fmla="*/ 684593 h 935730"/>
                    <a:gd name="connsiteX332" fmla="*/ 319960 w 519179"/>
                    <a:gd name="connsiteY332" fmla="*/ 677952 h 935730"/>
                    <a:gd name="connsiteX333" fmla="*/ 319356 w 519179"/>
                    <a:gd name="connsiteY333" fmla="*/ 675537 h 935730"/>
                    <a:gd name="connsiteX334" fmla="*/ 322374 w 519179"/>
                    <a:gd name="connsiteY334" fmla="*/ 667085 h 935730"/>
                    <a:gd name="connsiteX335" fmla="*/ 319356 w 519179"/>
                    <a:gd name="connsiteY335" fmla="*/ 661652 h 935730"/>
                    <a:gd name="connsiteX336" fmla="*/ 316337 w 519179"/>
                    <a:gd name="connsiteY336" fmla="*/ 659841 h 935730"/>
                    <a:gd name="connsiteX337" fmla="*/ 318752 w 519179"/>
                    <a:gd name="connsiteY337" fmla="*/ 649578 h 935730"/>
                    <a:gd name="connsiteX338" fmla="*/ 312715 w 519179"/>
                    <a:gd name="connsiteY338" fmla="*/ 648371 h 935730"/>
                    <a:gd name="connsiteX339" fmla="*/ 313923 w 519179"/>
                    <a:gd name="connsiteY339" fmla="*/ 639919 h 935730"/>
                    <a:gd name="connsiteX340" fmla="*/ 310300 w 519179"/>
                    <a:gd name="connsiteY340" fmla="*/ 633279 h 935730"/>
                    <a:gd name="connsiteX341" fmla="*/ 309697 w 519179"/>
                    <a:gd name="connsiteY341" fmla="*/ 629052 h 935730"/>
                    <a:gd name="connsiteX342" fmla="*/ 313319 w 519179"/>
                    <a:gd name="connsiteY342" fmla="*/ 625430 h 935730"/>
                    <a:gd name="connsiteX343" fmla="*/ 313319 w 519179"/>
                    <a:gd name="connsiteY343" fmla="*/ 619393 h 935730"/>
                    <a:gd name="connsiteX344" fmla="*/ 306678 w 519179"/>
                    <a:gd name="connsiteY344" fmla="*/ 604904 h 935730"/>
                    <a:gd name="connsiteX345" fmla="*/ 301849 w 519179"/>
                    <a:gd name="connsiteY345" fmla="*/ 603697 h 935730"/>
                    <a:gd name="connsiteX346" fmla="*/ 304263 w 519179"/>
                    <a:gd name="connsiteY346" fmla="*/ 609734 h 935730"/>
                    <a:gd name="connsiteX347" fmla="*/ 299434 w 519179"/>
                    <a:gd name="connsiteY347" fmla="*/ 609131 h 935730"/>
                    <a:gd name="connsiteX348" fmla="*/ 298226 w 519179"/>
                    <a:gd name="connsiteY348" fmla="*/ 604301 h 935730"/>
                    <a:gd name="connsiteX349" fmla="*/ 294000 w 519179"/>
                    <a:gd name="connsiteY349" fmla="*/ 598264 h 935730"/>
                    <a:gd name="connsiteX350" fmla="*/ 289171 w 519179"/>
                    <a:gd name="connsiteY350" fmla="*/ 588001 h 935730"/>
                    <a:gd name="connsiteX351" fmla="*/ 289775 w 519179"/>
                    <a:gd name="connsiteY351" fmla="*/ 582568 h 935730"/>
                    <a:gd name="connsiteX352" fmla="*/ 284945 w 519179"/>
                    <a:gd name="connsiteY352" fmla="*/ 574719 h 935730"/>
                    <a:gd name="connsiteX353" fmla="*/ 287360 w 519179"/>
                    <a:gd name="connsiteY353" fmla="*/ 571097 h 935730"/>
                    <a:gd name="connsiteX354" fmla="*/ 286756 w 519179"/>
                    <a:gd name="connsiteY354" fmla="*/ 567475 h 935730"/>
                    <a:gd name="connsiteX355" fmla="*/ 278908 w 519179"/>
                    <a:gd name="connsiteY355" fmla="*/ 559023 h 935730"/>
                    <a:gd name="connsiteX356" fmla="*/ 277097 w 519179"/>
                    <a:gd name="connsiteY356" fmla="*/ 566871 h 935730"/>
                    <a:gd name="connsiteX357" fmla="*/ 280115 w 519179"/>
                    <a:gd name="connsiteY357" fmla="*/ 571701 h 935730"/>
                    <a:gd name="connsiteX358" fmla="*/ 282530 w 519179"/>
                    <a:gd name="connsiteY358" fmla="*/ 579549 h 935730"/>
                    <a:gd name="connsiteX359" fmla="*/ 282530 w 519179"/>
                    <a:gd name="connsiteY359" fmla="*/ 583775 h 935730"/>
                    <a:gd name="connsiteX360" fmla="*/ 283738 w 519179"/>
                    <a:gd name="connsiteY360" fmla="*/ 589208 h 935730"/>
                    <a:gd name="connsiteX361" fmla="*/ 279512 w 519179"/>
                    <a:gd name="connsiteY361" fmla="*/ 590416 h 935730"/>
                    <a:gd name="connsiteX362" fmla="*/ 275286 w 519179"/>
                    <a:gd name="connsiteY362" fmla="*/ 574719 h 935730"/>
                    <a:gd name="connsiteX363" fmla="*/ 271060 w 519179"/>
                    <a:gd name="connsiteY363" fmla="*/ 558420 h 935730"/>
                    <a:gd name="connsiteX364" fmla="*/ 266231 w 519179"/>
                    <a:gd name="connsiteY364" fmla="*/ 546346 h 935730"/>
                    <a:gd name="connsiteX365" fmla="*/ 261401 w 519179"/>
                    <a:gd name="connsiteY365" fmla="*/ 531857 h 935730"/>
                    <a:gd name="connsiteX366" fmla="*/ 256571 w 519179"/>
                    <a:gd name="connsiteY366" fmla="*/ 514350 h 935730"/>
                    <a:gd name="connsiteX367" fmla="*/ 249931 w 519179"/>
                    <a:gd name="connsiteY367" fmla="*/ 496239 h 935730"/>
                    <a:gd name="connsiteX368" fmla="*/ 233631 w 519179"/>
                    <a:gd name="connsiteY368" fmla="*/ 462432 h 935730"/>
                    <a:gd name="connsiteX369" fmla="*/ 232423 w 519179"/>
                    <a:gd name="connsiteY369" fmla="*/ 459413 h 935730"/>
                    <a:gd name="connsiteX370" fmla="*/ 223972 w 519179"/>
                    <a:gd name="connsiteY370" fmla="*/ 440699 h 935730"/>
                    <a:gd name="connsiteX371" fmla="*/ 214916 w 519179"/>
                    <a:gd name="connsiteY371" fmla="*/ 419570 h 935730"/>
                    <a:gd name="connsiteX372" fmla="*/ 207068 w 519179"/>
                    <a:gd name="connsiteY372" fmla="*/ 384555 h 935730"/>
                    <a:gd name="connsiteX373" fmla="*/ 199220 w 519179"/>
                    <a:gd name="connsiteY373" fmla="*/ 354370 h 935730"/>
                    <a:gd name="connsiteX374" fmla="*/ 194994 w 519179"/>
                    <a:gd name="connsiteY374" fmla="*/ 344711 h 935730"/>
                    <a:gd name="connsiteX375" fmla="*/ 192579 w 519179"/>
                    <a:gd name="connsiteY375" fmla="*/ 341692 h 935730"/>
                    <a:gd name="connsiteX376" fmla="*/ 186542 w 519179"/>
                    <a:gd name="connsiteY376" fmla="*/ 325393 h 935730"/>
                    <a:gd name="connsiteX377" fmla="*/ 181713 w 519179"/>
                    <a:gd name="connsiteY377" fmla="*/ 309093 h 935730"/>
                    <a:gd name="connsiteX378" fmla="*/ 178694 w 519179"/>
                    <a:gd name="connsiteY378" fmla="*/ 306074 h 935730"/>
                    <a:gd name="connsiteX379" fmla="*/ 179298 w 519179"/>
                    <a:gd name="connsiteY379" fmla="*/ 303056 h 935730"/>
                    <a:gd name="connsiteX380" fmla="*/ 172054 w 519179"/>
                    <a:gd name="connsiteY380" fmla="*/ 288567 h 935730"/>
                    <a:gd name="connsiteX381" fmla="*/ 167828 w 519179"/>
                    <a:gd name="connsiteY381" fmla="*/ 281323 h 935730"/>
                    <a:gd name="connsiteX382" fmla="*/ 160583 w 519179"/>
                    <a:gd name="connsiteY382" fmla="*/ 277701 h 935730"/>
                    <a:gd name="connsiteX383" fmla="*/ 157565 w 519179"/>
                    <a:gd name="connsiteY383" fmla="*/ 278908 h 935730"/>
                    <a:gd name="connsiteX384" fmla="*/ 154546 w 519179"/>
                    <a:gd name="connsiteY384" fmla="*/ 274078 h 935730"/>
                    <a:gd name="connsiteX385" fmla="*/ 145491 w 519179"/>
                    <a:gd name="connsiteY385" fmla="*/ 248119 h 935730"/>
                    <a:gd name="connsiteX386" fmla="*/ 140058 w 519179"/>
                    <a:gd name="connsiteY386" fmla="*/ 234838 h 935730"/>
                    <a:gd name="connsiteX387" fmla="*/ 136436 w 519179"/>
                    <a:gd name="connsiteY387" fmla="*/ 228197 h 935730"/>
                    <a:gd name="connsiteX388" fmla="*/ 131606 w 519179"/>
                    <a:gd name="connsiteY388" fmla="*/ 222160 h 935730"/>
                    <a:gd name="connsiteX389" fmla="*/ 124965 w 519179"/>
                    <a:gd name="connsiteY389" fmla="*/ 215520 h 935730"/>
                    <a:gd name="connsiteX390" fmla="*/ 120739 w 519179"/>
                    <a:gd name="connsiteY390" fmla="*/ 214313 h 935730"/>
                    <a:gd name="connsiteX391" fmla="*/ 118325 w 519179"/>
                    <a:gd name="connsiteY391" fmla="*/ 208276 h 935730"/>
                    <a:gd name="connsiteX392" fmla="*/ 111080 w 519179"/>
                    <a:gd name="connsiteY392" fmla="*/ 199824 h 935730"/>
                    <a:gd name="connsiteX393" fmla="*/ 105043 w 519179"/>
                    <a:gd name="connsiteY393" fmla="*/ 195598 h 935730"/>
                    <a:gd name="connsiteX394" fmla="*/ 103232 w 519179"/>
                    <a:gd name="connsiteY394" fmla="*/ 196805 h 935730"/>
                    <a:gd name="connsiteX395" fmla="*/ 94177 w 519179"/>
                    <a:gd name="connsiteY395" fmla="*/ 185939 h 935730"/>
                    <a:gd name="connsiteX396" fmla="*/ 89347 w 519179"/>
                    <a:gd name="connsiteY396" fmla="*/ 178694 h 935730"/>
                    <a:gd name="connsiteX397" fmla="*/ 91158 w 519179"/>
                    <a:gd name="connsiteY397" fmla="*/ 176883 h 935730"/>
                    <a:gd name="connsiteX398" fmla="*/ 87536 w 519179"/>
                    <a:gd name="connsiteY398" fmla="*/ 168431 h 935730"/>
                    <a:gd name="connsiteX399" fmla="*/ 82103 w 519179"/>
                    <a:gd name="connsiteY399" fmla="*/ 164205 h 935730"/>
                    <a:gd name="connsiteX400" fmla="*/ 82707 w 519179"/>
                    <a:gd name="connsiteY400" fmla="*/ 160583 h 935730"/>
                    <a:gd name="connsiteX401" fmla="*/ 89951 w 519179"/>
                    <a:gd name="connsiteY401" fmla="*/ 164205 h 935730"/>
                    <a:gd name="connsiteX402" fmla="*/ 91762 w 519179"/>
                    <a:gd name="connsiteY402" fmla="*/ 155150 h 935730"/>
                    <a:gd name="connsiteX403" fmla="*/ 89951 w 519179"/>
                    <a:gd name="connsiteY403" fmla="*/ 154546 h 935730"/>
                    <a:gd name="connsiteX404" fmla="*/ 89347 w 519179"/>
                    <a:gd name="connsiteY404" fmla="*/ 153339 h 935730"/>
                    <a:gd name="connsiteX405" fmla="*/ 88743 w 519179"/>
                    <a:gd name="connsiteY405" fmla="*/ 152131 h 935730"/>
                    <a:gd name="connsiteX406" fmla="*/ 92366 w 519179"/>
                    <a:gd name="connsiteY406" fmla="*/ 147302 h 935730"/>
                    <a:gd name="connsiteX407" fmla="*/ 91158 w 519179"/>
                    <a:gd name="connsiteY407" fmla="*/ 144283 h 935730"/>
                    <a:gd name="connsiteX408" fmla="*/ 92969 w 519179"/>
                    <a:gd name="connsiteY408" fmla="*/ 143076 h 935730"/>
                    <a:gd name="connsiteX409" fmla="*/ 95384 w 519179"/>
                    <a:gd name="connsiteY409" fmla="*/ 144283 h 935730"/>
                    <a:gd name="connsiteX410" fmla="*/ 96592 w 519179"/>
                    <a:gd name="connsiteY410" fmla="*/ 144887 h 935730"/>
                    <a:gd name="connsiteX411" fmla="*/ 99610 w 519179"/>
                    <a:gd name="connsiteY411" fmla="*/ 143076 h 935730"/>
                    <a:gd name="connsiteX412" fmla="*/ 103232 w 519179"/>
                    <a:gd name="connsiteY412" fmla="*/ 140057 h 935730"/>
                    <a:gd name="connsiteX413" fmla="*/ 105647 w 519179"/>
                    <a:gd name="connsiteY413" fmla="*/ 140057 h 935730"/>
                    <a:gd name="connsiteX414" fmla="*/ 106251 w 519179"/>
                    <a:gd name="connsiteY414" fmla="*/ 138246 h 935730"/>
                    <a:gd name="connsiteX415" fmla="*/ 108062 w 519179"/>
                    <a:gd name="connsiteY415" fmla="*/ 138850 h 935730"/>
                    <a:gd name="connsiteX416" fmla="*/ 110477 w 519179"/>
                    <a:gd name="connsiteY416" fmla="*/ 137643 h 935730"/>
                    <a:gd name="connsiteX417" fmla="*/ 109873 w 519179"/>
                    <a:gd name="connsiteY417" fmla="*/ 136435 h 935730"/>
                    <a:gd name="connsiteX418" fmla="*/ 107458 w 519179"/>
                    <a:gd name="connsiteY418" fmla="*/ 134624 h 935730"/>
                    <a:gd name="connsiteX419" fmla="*/ 105043 w 519179"/>
                    <a:gd name="connsiteY419" fmla="*/ 135228 h 935730"/>
                    <a:gd name="connsiteX420" fmla="*/ 103836 w 519179"/>
                    <a:gd name="connsiteY420" fmla="*/ 134624 h 935730"/>
                    <a:gd name="connsiteX421" fmla="*/ 103232 w 519179"/>
                    <a:gd name="connsiteY421" fmla="*/ 137039 h 935730"/>
                    <a:gd name="connsiteX422" fmla="*/ 98403 w 519179"/>
                    <a:gd name="connsiteY422" fmla="*/ 136435 h 935730"/>
                    <a:gd name="connsiteX423" fmla="*/ 94177 w 519179"/>
                    <a:gd name="connsiteY423" fmla="*/ 135228 h 935730"/>
                    <a:gd name="connsiteX424" fmla="*/ 93573 w 519179"/>
                    <a:gd name="connsiteY424" fmla="*/ 135228 h 935730"/>
                    <a:gd name="connsiteX425" fmla="*/ 91762 w 519179"/>
                    <a:gd name="connsiteY425" fmla="*/ 137039 h 935730"/>
                    <a:gd name="connsiteX426" fmla="*/ 91158 w 519179"/>
                    <a:gd name="connsiteY426" fmla="*/ 137643 h 935730"/>
                    <a:gd name="connsiteX427" fmla="*/ 85725 w 519179"/>
                    <a:gd name="connsiteY427" fmla="*/ 141265 h 935730"/>
                    <a:gd name="connsiteX428" fmla="*/ 84518 w 519179"/>
                    <a:gd name="connsiteY428" fmla="*/ 144283 h 935730"/>
                    <a:gd name="connsiteX429" fmla="*/ 82103 w 519179"/>
                    <a:gd name="connsiteY429" fmla="*/ 143680 h 935730"/>
                    <a:gd name="connsiteX430" fmla="*/ 80292 w 519179"/>
                    <a:gd name="connsiteY430" fmla="*/ 143076 h 935730"/>
                    <a:gd name="connsiteX431" fmla="*/ 78481 w 519179"/>
                    <a:gd name="connsiteY431" fmla="*/ 143680 h 935730"/>
                    <a:gd name="connsiteX432" fmla="*/ 76670 w 519179"/>
                    <a:gd name="connsiteY432" fmla="*/ 142472 h 935730"/>
                    <a:gd name="connsiteX433" fmla="*/ 76066 w 519179"/>
                    <a:gd name="connsiteY433" fmla="*/ 142472 h 935730"/>
                    <a:gd name="connsiteX434" fmla="*/ 73047 w 519179"/>
                    <a:gd name="connsiteY434" fmla="*/ 143680 h 935730"/>
                    <a:gd name="connsiteX435" fmla="*/ 73047 w 519179"/>
                    <a:gd name="connsiteY435" fmla="*/ 144283 h 935730"/>
                    <a:gd name="connsiteX436" fmla="*/ 73047 w 519179"/>
                    <a:gd name="connsiteY436" fmla="*/ 147906 h 935730"/>
                    <a:gd name="connsiteX437" fmla="*/ 73047 w 519179"/>
                    <a:gd name="connsiteY437" fmla="*/ 149113 h 935730"/>
                    <a:gd name="connsiteX438" fmla="*/ 73651 w 519179"/>
                    <a:gd name="connsiteY438" fmla="*/ 150320 h 935730"/>
                    <a:gd name="connsiteX439" fmla="*/ 73047 w 519179"/>
                    <a:gd name="connsiteY439" fmla="*/ 152131 h 935730"/>
                    <a:gd name="connsiteX440" fmla="*/ 73651 w 519179"/>
                    <a:gd name="connsiteY440" fmla="*/ 154546 h 935730"/>
                    <a:gd name="connsiteX441" fmla="*/ 74255 w 519179"/>
                    <a:gd name="connsiteY441" fmla="*/ 156357 h 935730"/>
                    <a:gd name="connsiteX442" fmla="*/ 74858 w 519179"/>
                    <a:gd name="connsiteY442" fmla="*/ 160583 h 935730"/>
                    <a:gd name="connsiteX443" fmla="*/ 69425 w 519179"/>
                    <a:gd name="connsiteY443" fmla="*/ 164809 h 935730"/>
                    <a:gd name="connsiteX444" fmla="*/ 65803 w 519179"/>
                    <a:gd name="connsiteY444" fmla="*/ 156961 h 935730"/>
                    <a:gd name="connsiteX445" fmla="*/ 63388 w 519179"/>
                    <a:gd name="connsiteY445" fmla="*/ 147906 h 935730"/>
                    <a:gd name="connsiteX446" fmla="*/ 62784 w 519179"/>
                    <a:gd name="connsiteY446" fmla="*/ 141265 h 935730"/>
                    <a:gd name="connsiteX447" fmla="*/ 55540 w 519179"/>
                    <a:gd name="connsiteY447" fmla="*/ 126776 h 935730"/>
                    <a:gd name="connsiteX448" fmla="*/ 53729 w 519179"/>
                    <a:gd name="connsiteY448" fmla="*/ 121343 h 935730"/>
                    <a:gd name="connsiteX449" fmla="*/ 51918 w 519179"/>
                    <a:gd name="connsiteY449" fmla="*/ 122550 h 935730"/>
                    <a:gd name="connsiteX450" fmla="*/ 39240 w 519179"/>
                    <a:gd name="connsiteY450" fmla="*/ 89951 h 935730"/>
                    <a:gd name="connsiteX451" fmla="*/ 35618 w 519179"/>
                    <a:gd name="connsiteY451" fmla="*/ 83914 h 935730"/>
                    <a:gd name="connsiteX452" fmla="*/ 30185 w 519179"/>
                    <a:gd name="connsiteY452" fmla="*/ 77273 h 935730"/>
                    <a:gd name="connsiteX453" fmla="*/ 25355 w 519179"/>
                    <a:gd name="connsiteY453" fmla="*/ 67010 h 935730"/>
                    <a:gd name="connsiteX454" fmla="*/ 21733 w 519179"/>
                    <a:gd name="connsiteY454" fmla="*/ 60370 h 935730"/>
                    <a:gd name="connsiteX455" fmla="*/ 19318 w 519179"/>
                    <a:gd name="connsiteY455" fmla="*/ 53729 h 935730"/>
                    <a:gd name="connsiteX456" fmla="*/ 9055 w 519179"/>
                    <a:gd name="connsiteY456" fmla="*/ 27166 h 935730"/>
                    <a:gd name="connsiteX457" fmla="*/ 3622 w 519179"/>
                    <a:gd name="connsiteY457" fmla="*/ 16300 h 935730"/>
                    <a:gd name="connsiteX458" fmla="*/ 0 w 519179"/>
                    <a:gd name="connsiteY458" fmla="*/ 6641 h 935730"/>
                    <a:gd name="connsiteX459" fmla="*/ 5433 w 519179"/>
                    <a:gd name="connsiteY459" fmla="*/ 6037 h 935730"/>
                    <a:gd name="connsiteX460" fmla="*/ 18111 w 519179"/>
                    <a:gd name="connsiteY460" fmla="*/ 1207 h 935730"/>
                    <a:gd name="connsiteX461" fmla="*/ 21129 w 519179"/>
                    <a:gd name="connsiteY461" fmla="*/ 2415 h 935730"/>
                    <a:gd name="connsiteX462" fmla="*/ 28374 w 519179"/>
                    <a:gd name="connsiteY462" fmla="*/ 0 h 935730"/>
                    <a:gd name="connsiteX463" fmla="*/ 28977 w 519179"/>
                    <a:gd name="connsiteY463" fmla="*/ 5433 h 935730"/>
                    <a:gd name="connsiteX464" fmla="*/ 25355 w 519179"/>
                    <a:gd name="connsiteY464" fmla="*/ 9659 h 935730"/>
                    <a:gd name="connsiteX465" fmla="*/ 27770 w 519179"/>
                    <a:gd name="connsiteY465" fmla="*/ 15092 h 935730"/>
                    <a:gd name="connsiteX466" fmla="*/ 35014 w 519179"/>
                    <a:gd name="connsiteY466" fmla="*/ 13885 h 935730"/>
                    <a:gd name="connsiteX467" fmla="*/ 37429 w 519179"/>
                    <a:gd name="connsiteY467" fmla="*/ 15092 h 935730"/>
                    <a:gd name="connsiteX468" fmla="*/ 36825 w 519179"/>
                    <a:gd name="connsiteY468" fmla="*/ 20525 h 935730"/>
                    <a:gd name="connsiteX469" fmla="*/ 37429 w 519179"/>
                    <a:gd name="connsiteY469" fmla="*/ 26562 h 935730"/>
                    <a:gd name="connsiteX470" fmla="*/ 41655 w 519179"/>
                    <a:gd name="connsiteY470" fmla="*/ 27166 h 935730"/>
                    <a:gd name="connsiteX471" fmla="*/ 44674 w 519179"/>
                    <a:gd name="connsiteY471" fmla="*/ 25355 h 935730"/>
                    <a:gd name="connsiteX472" fmla="*/ 44674 w 519179"/>
                    <a:gd name="connsiteY472" fmla="*/ 19922 h 935730"/>
                    <a:gd name="connsiteX473" fmla="*/ 48899 w 519179"/>
                    <a:gd name="connsiteY473" fmla="*/ 19922 h 935730"/>
                    <a:gd name="connsiteX474" fmla="*/ 50711 w 519179"/>
                    <a:gd name="connsiteY474" fmla="*/ 22940 h 935730"/>
                    <a:gd name="connsiteX475" fmla="*/ 57351 w 519179"/>
                    <a:gd name="connsiteY475" fmla="*/ 23544 h 935730"/>
                    <a:gd name="connsiteX476" fmla="*/ 60370 w 519179"/>
                    <a:gd name="connsiteY476" fmla="*/ 25355 h 935730"/>
                    <a:gd name="connsiteX477" fmla="*/ 58559 w 519179"/>
                    <a:gd name="connsiteY477" fmla="*/ 30185 h 935730"/>
                    <a:gd name="connsiteX478" fmla="*/ 59162 w 519179"/>
                    <a:gd name="connsiteY478" fmla="*/ 35014 h 935730"/>
                    <a:gd name="connsiteX479" fmla="*/ 65199 w 519179"/>
                    <a:gd name="connsiteY479" fmla="*/ 33203 h 935730"/>
                    <a:gd name="connsiteX480" fmla="*/ 68821 w 519179"/>
                    <a:gd name="connsiteY480" fmla="*/ 33807 h 935730"/>
                    <a:gd name="connsiteX481" fmla="*/ 68218 w 519179"/>
                    <a:gd name="connsiteY481" fmla="*/ 38033 h 935730"/>
                    <a:gd name="connsiteX482" fmla="*/ 70633 w 519179"/>
                    <a:gd name="connsiteY482" fmla="*/ 39844 h 935730"/>
                    <a:gd name="connsiteX483" fmla="*/ 71236 w 519179"/>
                    <a:gd name="connsiteY483" fmla="*/ 44673 h 935730"/>
                    <a:gd name="connsiteX484" fmla="*/ 76670 w 519179"/>
                    <a:gd name="connsiteY484" fmla="*/ 46484 h 935730"/>
                    <a:gd name="connsiteX485" fmla="*/ 84518 w 519179"/>
                    <a:gd name="connsiteY485" fmla="*/ 36825 h 935730"/>
                    <a:gd name="connsiteX486" fmla="*/ 89347 w 519179"/>
                    <a:gd name="connsiteY486" fmla="*/ 39240 h 935730"/>
                    <a:gd name="connsiteX487" fmla="*/ 92366 w 519179"/>
                    <a:gd name="connsiteY487" fmla="*/ 45881 h 935730"/>
                    <a:gd name="connsiteX488" fmla="*/ 87536 w 519179"/>
                    <a:gd name="connsiteY488" fmla="*/ 44673 h 935730"/>
                    <a:gd name="connsiteX489" fmla="*/ 83310 w 519179"/>
                    <a:gd name="connsiteY489" fmla="*/ 48899 h 935730"/>
                    <a:gd name="connsiteX490" fmla="*/ 85121 w 519179"/>
                    <a:gd name="connsiteY490" fmla="*/ 56747 h 935730"/>
                    <a:gd name="connsiteX491" fmla="*/ 89951 w 519179"/>
                    <a:gd name="connsiteY491" fmla="*/ 56747 h 935730"/>
                    <a:gd name="connsiteX492" fmla="*/ 89951 w 519179"/>
                    <a:gd name="connsiteY492" fmla="*/ 60973 h 935730"/>
                    <a:gd name="connsiteX493" fmla="*/ 93573 w 519179"/>
                    <a:gd name="connsiteY493" fmla="*/ 62181 h 935730"/>
                    <a:gd name="connsiteX494" fmla="*/ 96592 w 519179"/>
                    <a:gd name="connsiteY494" fmla="*/ 63388 h 935730"/>
                    <a:gd name="connsiteX495" fmla="*/ 97799 w 519179"/>
                    <a:gd name="connsiteY495" fmla="*/ 67614 h 935730"/>
                    <a:gd name="connsiteX496" fmla="*/ 97799 w 519179"/>
                    <a:gd name="connsiteY496" fmla="*/ 69425 h 935730"/>
                    <a:gd name="connsiteX497" fmla="*/ 100817 w 519179"/>
                    <a:gd name="connsiteY497" fmla="*/ 69425 h 935730"/>
                    <a:gd name="connsiteX498" fmla="*/ 104440 w 519179"/>
                    <a:gd name="connsiteY498" fmla="*/ 65199 h 935730"/>
                    <a:gd name="connsiteX499" fmla="*/ 105043 w 519179"/>
                    <a:gd name="connsiteY499" fmla="*/ 63388 h 935730"/>
                    <a:gd name="connsiteX500" fmla="*/ 105647 w 519179"/>
                    <a:gd name="connsiteY500" fmla="*/ 62181 h 935730"/>
                    <a:gd name="connsiteX501" fmla="*/ 106854 w 519179"/>
                    <a:gd name="connsiteY501" fmla="*/ 62181 h 935730"/>
                    <a:gd name="connsiteX502" fmla="*/ 109269 w 519179"/>
                    <a:gd name="connsiteY502" fmla="*/ 60973 h 935730"/>
                    <a:gd name="connsiteX503" fmla="*/ 110477 w 519179"/>
                    <a:gd name="connsiteY503" fmla="*/ 62181 h 935730"/>
                    <a:gd name="connsiteX504" fmla="*/ 112891 w 519179"/>
                    <a:gd name="connsiteY504" fmla="*/ 60973 h 935730"/>
                    <a:gd name="connsiteX505" fmla="*/ 114702 w 519179"/>
                    <a:gd name="connsiteY505" fmla="*/ 67614 h 935730"/>
                    <a:gd name="connsiteX506" fmla="*/ 112891 w 519179"/>
                    <a:gd name="connsiteY506" fmla="*/ 70029 h 935730"/>
                    <a:gd name="connsiteX507" fmla="*/ 110477 w 519179"/>
                    <a:gd name="connsiteY507" fmla="*/ 71236 h 935730"/>
                    <a:gd name="connsiteX508" fmla="*/ 108062 w 519179"/>
                    <a:gd name="connsiteY508" fmla="*/ 71840 h 935730"/>
                    <a:gd name="connsiteX509" fmla="*/ 102629 w 519179"/>
                    <a:gd name="connsiteY509" fmla="*/ 70632 h 935730"/>
                    <a:gd name="connsiteX510" fmla="*/ 103232 w 519179"/>
                    <a:gd name="connsiteY510" fmla="*/ 71840 h 935730"/>
                    <a:gd name="connsiteX511" fmla="*/ 102629 w 519179"/>
                    <a:gd name="connsiteY511" fmla="*/ 79688 h 935730"/>
                    <a:gd name="connsiteX512" fmla="*/ 105647 w 519179"/>
                    <a:gd name="connsiteY512" fmla="*/ 83914 h 935730"/>
                    <a:gd name="connsiteX513" fmla="*/ 108665 w 519179"/>
                    <a:gd name="connsiteY513" fmla="*/ 85725 h 935730"/>
                    <a:gd name="connsiteX514" fmla="*/ 109873 w 519179"/>
                    <a:gd name="connsiteY514" fmla="*/ 86329 h 935730"/>
                    <a:gd name="connsiteX515" fmla="*/ 110477 w 519179"/>
                    <a:gd name="connsiteY515" fmla="*/ 86932 h 935730"/>
                    <a:gd name="connsiteX516" fmla="*/ 113495 w 519179"/>
                    <a:gd name="connsiteY516" fmla="*/ 87536 h 935730"/>
                    <a:gd name="connsiteX517" fmla="*/ 114099 w 519179"/>
                    <a:gd name="connsiteY517" fmla="*/ 89347 h 935730"/>
                    <a:gd name="connsiteX518" fmla="*/ 112891 w 519179"/>
                    <a:gd name="connsiteY518" fmla="*/ 92969 h 935730"/>
                    <a:gd name="connsiteX519" fmla="*/ 112288 w 519179"/>
                    <a:gd name="connsiteY519" fmla="*/ 94780 h 935730"/>
                    <a:gd name="connsiteX520" fmla="*/ 114702 w 519179"/>
                    <a:gd name="connsiteY520" fmla="*/ 100817 h 935730"/>
                    <a:gd name="connsiteX521" fmla="*/ 115910 w 519179"/>
                    <a:gd name="connsiteY521" fmla="*/ 102629 h 935730"/>
                    <a:gd name="connsiteX522" fmla="*/ 113495 w 519179"/>
                    <a:gd name="connsiteY522" fmla="*/ 105647 h 935730"/>
                    <a:gd name="connsiteX523" fmla="*/ 115910 w 519179"/>
                    <a:gd name="connsiteY523" fmla="*/ 104440 h 935730"/>
                    <a:gd name="connsiteX524" fmla="*/ 118325 w 519179"/>
                    <a:gd name="connsiteY524" fmla="*/ 104440 h 935730"/>
                    <a:gd name="connsiteX525" fmla="*/ 123758 w 519179"/>
                    <a:gd name="connsiteY525" fmla="*/ 103232 h 93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Lst>
                  <a:rect l="l" t="t" r="r" b="b"/>
                  <a:pathLst>
                    <a:path w="519179" h="935730">
                      <a:moveTo>
                        <a:pt x="322978" y="684593"/>
                      </a:moveTo>
                      <a:lnTo>
                        <a:pt x="317545" y="684593"/>
                      </a:lnTo>
                      <a:lnTo>
                        <a:pt x="316941" y="681574"/>
                      </a:lnTo>
                      <a:lnTo>
                        <a:pt x="322978" y="679763"/>
                      </a:lnTo>
                      <a:lnTo>
                        <a:pt x="322978" y="684593"/>
                      </a:lnTo>
                      <a:close/>
                      <a:moveTo>
                        <a:pt x="322978" y="684593"/>
                      </a:moveTo>
                      <a:lnTo>
                        <a:pt x="323582" y="679763"/>
                      </a:lnTo>
                      <a:lnTo>
                        <a:pt x="329015" y="681574"/>
                      </a:lnTo>
                      <a:lnTo>
                        <a:pt x="329015" y="683988"/>
                      </a:lnTo>
                      <a:lnTo>
                        <a:pt x="322978" y="684593"/>
                      </a:lnTo>
                      <a:close/>
                      <a:moveTo>
                        <a:pt x="318752" y="677348"/>
                      </a:moveTo>
                      <a:lnTo>
                        <a:pt x="321167" y="679763"/>
                      </a:lnTo>
                      <a:lnTo>
                        <a:pt x="312715" y="683385"/>
                      </a:lnTo>
                      <a:lnTo>
                        <a:pt x="312111" y="681574"/>
                      </a:lnTo>
                      <a:lnTo>
                        <a:pt x="318752" y="677348"/>
                      </a:lnTo>
                      <a:close/>
                      <a:moveTo>
                        <a:pt x="305471" y="612149"/>
                      </a:moveTo>
                      <a:lnTo>
                        <a:pt x="309093" y="615771"/>
                      </a:lnTo>
                      <a:lnTo>
                        <a:pt x="310300" y="620600"/>
                      </a:lnTo>
                      <a:lnTo>
                        <a:pt x="305471" y="619393"/>
                      </a:lnTo>
                      <a:lnTo>
                        <a:pt x="305471" y="612149"/>
                      </a:lnTo>
                      <a:close/>
                      <a:moveTo>
                        <a:pt x="287360" y="592227"/>
                      </a:moveTo>
                      <a:lnTo>
                        <a:pt x="290378" y="592830"/>
                      </a:lnTo>
                      <a:lnTo>
                        <a:pt x="293397" y="598867"/>
                      </a:lnTo>
                      <a:lnTo>
                        <a:pt x="288567" y="598264"/>
                      </a:lnTo>
                      <a:lnTo>
                        <a:pt x="287360" y="592227"/>
                      </a:lnTo>
                      <a:close/>
                      <a:moveTo>
                        <a:pt x="283134" y="582568"/>
                      </a:moveTo>
                      <a:lnTo>
                        <a:pt x="285549" y="584379"/>
                      </a:lnTo>
                      <a:lnTo>
                        <a:pt x="286756" y="589812"/>
                      </a:lnTo>
                      <a:lnTo>
                        <a:pt x="284341" y="591019"/>
                      </a:lnTo>
                      <a:lnTo>
                        <a:pt x="283134" y="582568"/>
                      </a:lnTo>
                      <a:close/>
                      <a:moveTo>
                        <a:pt x="123758" y="103232"/>
                      </a:moveTo>
                      <a:lnTo>
                        <a:pt x="126776" y="105647"/>
                      </a:lnTo>
                      <a:lnTo>
                        <a:pt x="128587" y="109269"/>
                      </a:lnTo>
                      <a:lnTo>
                        <a:pt x="129191" y="109873"/>
                      </a:lnTo>
                      <a:lnTo>
                        <a:pt x="131002" y="110477"/>
                      </a:lnTo>
                      <a:lnTo>
                        <a:pt x="132813" y="112288"/>
                      </a:lnTo>
                      <a:lnTo>
                        <a:pt x="132813" y="112891"/>
                      </a:lnTo>
                      <a:lnTo>
                        <a:pt x="134624" y="115910"/>
                      </a:lnTo>
                      <a:lnTo>
                        <a:pt x="134624" y="116513"/>
                      </a:lnTo>
                      <a:lnTo>
                        <a:pt x="135228" y="117721"/>
                      </a:lnTo>
                      <a:lnTo>
                        <a:pt x="135832" y="119532"/>
                      </a:lnTo>
                      <a:lnTo>
                        <a:pt x="138247" y="121947"/>
                      </a:lnTo>
                      <a:lnTo>
                        <a:pt x="137039" y="123758"/>
                      </a:lnTo>
                      <a:lnTo>
                        <a:pt x="138850" y="124965"/>
                      </a:lnTo>
                      <a:lnTo>
                        <a:pt x="139454" y="125569"/>
                      </a:lnTo>
                      <a:lnTo>
                        <a:pt x="140661" y="126776"/>
                      </a:lnTo>
                      <a:lnTo>
                        <a:pt x="143680" y="130398"/>
                      </a:lnTo>
                      <a:lnTo>
                        <a:pt x="147302" y="134020"/>
                      </a:lnTo>
                      <a:lnTo>
                        <a:pt x="149113" y="135832"/>
                      </a:lnTo>
                      <a:lnTo>
                        <a:pt x="149717" y="135228"/>
                      </a:lnTo>
                      <a:lnTo>
                        <a:pt x="152735" y="134624"/>
                      </a:lnTo>
                      <a:lnTo>
                        <a:pt x="156358" y="135228"/>
                      </a:lnTo>
                      <a:lnTo>
                        <a:pt x="156961" y="135832"/>
                      </a:lnTo>
                      <a:lnTo>
                        <a:pt x="158772" y="136435"/>
                      </a:lnTo>
                      <a:lnTo>
                        <a:pt x="159980" y="138246"/>
                      </a:lnTo>
                      <a:lnTo>
                        <a:pt x="159980" y="140661"/>
                      </a:lnTo>
                      <a:lnTo>
                        <a:pt x="164206" y="146698"/>
                      </a:lnTo>
                      <a:lnTo>
                        <a:pt x="166017" y="146698"/>
                      </a:lnTo>
                      <a:lnTo>
                        <a:pt x="170243" y="144283"/>
                      </a:lnTo>
                      <a:lnTo>
                        <a:pt x="171450" y="147302"/>
                      </a:lnTo>
                      <a:lnTo>
                        <a:pt x="173261" y="148509"/>
                      </a:lnTo>
                      <a:lnTo>
                        <a:pt x="174468" y="150924"/>
                      </a:lnTo>
                      <a:lnTo>
                        <a:pt x="175072" y="152735"/>
                      </a:lnTo>
                      <a:lnTo>
                        <a:pt x="184731" y="149113"/>
                      </a:lnTo>
                      <a:lnTo>
                        <a:pt x="191372" y="150320"/>
                      </a:lnTo>
                      <a:lnTo>
                        <a:pt x="191976" y="159376"/>
                      </a:lnTo>
                      <a:lnTo>
                        <a:pt x="198013" y="165413"/>
                      </a:lnTo>
                      <a:lnTo>
                        <a:pt x="197409" y="169035"/>
                      </a:lnTo>
                      <a:lnTo>
                        <a:pt x="202842" y="175072"/>
                      </a:lnTo>
                      <a:lnTo>
                        <a:pt x="208276" y="178091"/>
                      </a:lnTo>
                      <a:lnTo>
                        <a:pt x="219142" y="180505"/>
                      </a:lnTo>
                      <a:lnTo>
                        <a:pt x="222764" y="179902"/>
                      </a:lnTo>
                      <a:lnTo>
                        <a:pt x="228801" y="181713"/>
                      </a:lnTo>
                      <a:lnTo>
                        <a:pt x="239668" y="179902"/>
                      </a:lnTo>
                      <a:lnTo>
                        <a:pt x="248723" y="173865"/>
                      </a:lnTo>
                      <a:lnTo>
                        <a:pt x="255968" y="172054"/>
                      </a:lnTo>
                      <a:lnTo>
                        <a:pt x="255968" y="197409"/>
                      </a:lnTo>
                      <a:lnTo>
                        <a:pt x="259590" y="198616"/>
                      </a:lnTo>
                      <a:lnTo>
                        <a:pt x="262005" y="195598"/>
                      </a:lnTo>
                      <a:lnTo>
                        <a:pt x="271664" y="194390"/>
                      </a:lnTo>
                      <a:lnTo>
                        <a:pt x="275286" y="197409"/>
                      </a:lnTo>
                      <a:lnTo>
                        <a:pt x="275890" y="204050"/>
                      </a:lnTo>
                      <a:lnTo>
                        <a:pt x="278304" y="207672"/>
                      </a:lnTo>
                      <a:lnTo>
                        <a:pt x="283738" y="208879"/>
                      </a:lnTo>
                      <a:lnTo>
                        <a:pt x="290378" y="207672"/>
                      </a:lnTo>
                      <a:lnTo>
                        <a:pt x="292189" y="211294"/>
                      </a:lnTo>
                      <a:lnTo>
                        <a:pt x="295208" y="213105"/>
                      </a:lnTo>
                      <a:lnTo>
                        <a:pt x="297623" y="219746"/>
                      </a:lnTo>
                      <a:lnTo>
                        <a:pt x="302452" y="222764"/>
                      </a:lnTo>
                      <a:lnTo>
                        <a:pt x="306678" y="220349"/>
                      </a:lnTo>
                      <a:lnTo>
                        <a:pt x="310300" y="221557"/>
                      </a:lnTo>
                      <a:lnTo>
                        <a:pt x="316941" y="218538"/>
                      </a:lnTo>
                      <a:lnTo>
                        <a:pt x="319960" y="224575"/>
                      </a:lnTo>
                      <a:lnTo>
                        <a:pt x="316337" y="227594"/>
                      </a:lnTo>
                      <a:lnTo>
                        <a:pt x="316337" y="232423"/>
                      </a:lnTo>
                      <a:lnTo>
                        <a:pt x="318148" y="236649"/>
                      </a:lnTo>
                      <a:lnTo>
                        <a:pt x="320563" y="237253"/>
                      </a:lnTo>
                      <a:lnTo>
                        <a:pt x="322978" y="242686"/>
                      </a:lnTo>
                      <a:lnTo>
                        <a:pt x="320563" y="244497"/>
                      </a:lnTo>
                      <a:lnTo>
                        <a:pt x="312111" y="245101"/>
                      </a:lnTo>
                      <a:lnTo>
                        <a:pt x="309697" y="251138"/>
                      </a:lnTo>
                      <a:lnTo>
                        <a:pt x="302452" y="254760"/>
                      </a:lnTo>
                      <a:lnTo>
                        <a:pt x="301245" y="252345"/>
                      </a:lnTo>
                      <a:lnTo>
                        <a:pt x="295208" y="257778"/>
                      </a:lnTo>
                      <a:lnTo>
                        <a:pt x="293397" y="254156"/>
                      </a:lnTo>
                      <a:lnTo>
                        <a:pt x="289171" y="251741"/>
                      </a:lnTo>
                      <a:lnTo>
                        <a:pt x="280115" y="257778"/>
                      </a:lnTo>
                      <a:lnTo>
                        <a:pt x="283738" y="266230"/>
                      </a:lnTo>
                      <a:lnTo>
                        <a:pt x="281323" y="266834"/>
                      </a:lnTo>
                      <a:lnTo>
                        <a:pt x="286756" y="276493"/>
                      </a:lnTo>
                      <a:lnTo>
                        <a:pt x="290982" y="276493"/>
                      </a:lnTo>
                      <a:lnTo>
                        <a:pt x="299434" y="282530"/>
                      </a:lnTo>
                      <a:lnTo>
                        <a:pt x="302452" y="279512"/>
                      </a:lnTo>
                      <a:lnTo>
                        <a:pt x="307886" y="281926"/>
                      </a:lnTo>
                      <a:lnTo>
                        <a:pt x="317545" y="289171"/>
                      </a:lnTo>
                      <a:lnTo>
                        <a:pt x="325997" y="295812"/>
                      </a:lnTo>
                      <a:lnTo>
                        <a:pt x="338674" y="300037"/>
                      </a:lnTo>
                      <a:lnTo>
                        <a:pt x="338674" y="303056"/>
                      </a:lnTo>
                      <a:lnTo>
                        <a:pt x="344711" y="302452"/>
                      </a:lnTo>
                      <a:lnTo>
                        <a:pt x="344711" y="308489"/>
                      </a:lnTo>
                      <a:lnTo>
                        <a:pt x="339278" y="321167"/>
                      </a:lnTo>
                      <a:lnTo>
                        <a:pt x="325393" y="327808"/>
                      </a:lnTo>
                      <a:lnTo>
                        <a:pt x="324789" y="333844"/>
                      </a:lnTo>
                      <a:lnTo>
                        <a:pt x="326600" y="338070"/>
                      </a:lnTo>
                      <a:lnTo>
                        <a:pt x="329619" y="334448"/>
                      </a:lnTo>
                      <a:lnTo>
                        <a:pt x="338070" y="333844"/>
                      </a:lnTo>
                      <a:lnTo>
                        <a:pt x="341089" y="336259"/>
                      </a:lnTo>
                      <a:lnTo>
                        <a:pt x="352559" y="335052"/>
                      </a:lnTo>
                      <a:lnTo>
                        <a:pt x="357389" y="335052"/>
                      </a:lnTo>
                      <a:lnTo>
                        <a:pt x="362218" y="336863"/>
                      </a:lnTo>
                      <a:lnTo>
                        <a:pt x="377311" y="327808"/>
                      </a:lnTo>
                      <a:lnTo>
                        <a:pt x="383348" y="332637"/>
                      </a:lnTo>
                      <a:lnTo>
                        <a:pt x="382140" y="337467"/>
                      </a:lnTo>
                      <a:lnTo>
                        <a:pt x="379122" y="338674"/>
                      </a:lnTo>
                      <a:lnTo>
                        <a:pt x="374896" y="342900"/>
                      </a:lnTo>
                      <a:lnTo>
                        <a:pt x="377311" y="348333"/>
                      </a:lnTo>
                      <a:lnTo>
                        <a:pt x="386366" y="353163"/>
                      </a:lnTo>
                      <a:lnTo>
                        <a:pt x="384555" y="356785"/>
                      </a:lnTo>
                      <a:lnTo>
                        <a:pt x="386970" y="358596"/>
                      </a:lnTo>
                      <a:lnTo>
                        <a:pt x="385159" y="362822"/>
                      </a:lnTo>
                      <a:lnTo>
                        <a:pt x="388177" y="366444"/>
                      </a:lnTo>
                      <a:lnTo>
                        <a:pt x="389385" y="371274"/>
                      </a:lnTo>
                      <a:lnTo>
                        <a:pt x="380329" y="369462"/>
                      </a:lnTo>
                      <a:lnTo>
                        <a:pt x="376103" y="372481"/>
                      </a:lnTo>
                      <a:lnTo>
                        <a:pt x="373085" y="380329"/>
                      </a:lnTo>
                      <a:lnTo>
                        <a:pt x="369463" y="384555"/>
                      </a:lnTo>
                      <a:lnTo>
                        <a:pt x="368255" y="393007"/>
                      </a:lnTo>
                      <a:lnTo>
                        <a:pt x="374896" y="396629"/>
                      </a:lnTo>
                      <a:lnTo>
                        <a:pt x="377914" y="397233"/>
                      </a:lnTo>
                      <a:lnTo>
                        <a:pt x="384555" y="400855"/>
                      </a:lnTo>
                      <a:lnTo>
                        <a:pt x="393007" y="400855"/>
                      </a:lnTo>
                      <a:lnTo>
                        <a:pt x="395422" y="403270"/>
                      </a:lnTo>
                      <a:lnTo>
                        <a:pt x="402062" y="405081"/>
                      </a:lnTo>
                      <a:lnTo>
                        <a:pt x="407496" y="412325"/>
                      </a:lnTo>
                      <a:lnTo>
                        <a:pt x="406288" y="414740"/>
                      </a:lnTo>
                      <a:lnTo>
                        <a:pt x="410514" y="418362"/>
                      </a:lnTo>
                      <a:lnTo>
                        <a:pt x="416551" y="418362"/>
                      </a:lnTo>
                      <a:lnTo>
                        <a:pt x="418362" y="424399"/>
                      </a:lnTo>
                      <a:lnTo>
                        <a:pt x="417758" y="428625"/>
                      </a:lnTo>
                      <a:lnTo>
                        <a:pt x="414136" y="437680"/>
                      </a:lnTo>
                      <a:lnTo>
                        <a:pt x="409910" y="444925"/>
                      </a:lnTo>
                      <a:lnTo>
                        <a:pt x="412929" y="446736"/>
                      </a:lnTo>
                      <a:lnTo>
                        <a:pt x="413533" y="453980"/>
                      </a:lnTo>
                      <a:lnTo>
                        <a:pt x="399647" y="454584"/>
                      </a:lnTo>
                      <a:lnTo>
                        <a:pt x="399044" y="456998"/>
                      </a:lnTo>
                      <a:lnTo>
                        <a:pt x="401459" y="462432"/>
                      </a:lnTo>
                      <a:lnTo>
                        <a:pt x="404477" y="463035"/>
                      </a:lnTo>
                      <a:lnTo>
                        <a:pt x="403270" y="473298"/>
                      </a:lnTo>
                      <a:lnTo>
                        <a:pt x="405081" y="475109"/>
                      </a:lnTo>
                      <a:lnTo>
                        <a:pt x="402666" y="482958"/>
                      </a:lnTo>
                      <a:lnTo>
                        <a:pt x="402062" y="493824"/>
                      </a:lnTo>
                      <a:lnTo>
                        <a:pt x="399647" y="498654"/>
                      </a:lnTo>
                      <a:lnTo>
                        <a:pt x="403270" y="503483"/>
                      </a:lnTo>
                      <a:lnTo>
                        <a:pt x="401459" y="504691"/>
                      </a:lnTo>
                      <a:lnTo>
                        <a:pt x="406288" y="510728"/>
                      </a:lnTo>
                      <a:lnTo>
                        <a:pt x="403873" y="514954"/>
                      </a:lnTo>
                      <a:lnTo>
                        <a:pt x="402666" y="524009"/>
                      </a:lnTo>
                      <a:lnTo>
                        <a:pt x="405081" y="526424"/>
                      </a:lnTo>
                      <a:lnTo>
                        <a:pt x="411118" y="526424"/>
                      </a:lnTo>
                      <a:lnTo>
                        <a:pt x="411118" y="530046"/>
                      </a:lnTo>
                      <a:lnTo>
                        <a:pt x="415947" y="532461"/>
                      </a:lnTo>
                      <a:lnTo>
                        <a:pt x="417758" y="537291"/>
                      </a:lnTo>
                      <a:lnTo>
                        <a:pt x="420777" y="539102"/>
                      </a:lnTo>
                      <a:lnTo>
                        <a:pt x="425003" y="537894"/>
                      </a:lnTo>
                      <a:lnTo>
                        <a:pt x="431040" y="540309"/>
                      </a:lnTo>
                      <a:lnTo>
                        <a:pt x="435869" y="539705"/>
                      </a:lnTo>
                      <a:lnTo>
                        <a:pt x="443717" y="535479"/>
                      </a:lnTo>
                      <a:lnTo>
                        <a:pt x="447340" y="533668"/>
                      </a:lnTo>
                      <a:lnTo>
                        <a:pt x="449151" y="528235"/>
                      </a:lnTo>
                      <a:lnTo>
                        <a:pt x="454584" y="524009"/>
                      </a:lnTo>
                      <a:lnTo>
                        <a:pt x="463036" y="520991"/>
                      </a:lnTo>
                      <a:lnTo>
                        <a:pt x="473299" y="513143"/>
                      </a:lnTo>
                      <a:lnTo>
                        <a:pt x="485373" y="514350"/>
                      </a:lnTo>
                      <a:lnTo>
                        <a:pt x="484165" y="521594"/>
                      </a:lnTo>
                      <a:lnTo>
                        <a:pt x="491409" y="532461"/>
                      </a:lnTo>
                      <a:lnTo>
                        <a:pt x="491409" y="539102"/>
                      </a:lnTo>
                      <a:lnTo>
                        <a:pt x="495032" y="539102"/>
                      </a:lnTo>
                      <a:lnTo>
                        <a:pt x="497446" y="542724"/>
                      </a:lnTo>
                      <a:lnTo>
                        <a:pt x="494428" y="548157"/>
                      </a:lnTo>
                      <a:lnTo>
                        <a:pt x="493221" y="553590"/>
                      </a:lnTo>
                      <a:lnTo>
                        <a:pt x="493221" y="559023"/>
                      </a:lnTo>
                      <a:lnTo>
                        <a:pt x="492013" y="562646"/>
                      </a:lnTo>
                      <a:lnTo>
                        <a:pt x="487184" y="560834"/>
                      </a:lnTo>
                      <a:lnTo>
                        <a:pt x="478732" y="565664"/>
                      </a:lnTo>
                      <a:lnTo>
                        <a:pt x="481750" y="571701"/>
                      </a:lnTo>
                      <a:lnTo>
                        <a:pt x="490806" y="582568"/>
                      </a:lnTo>
                      <a:lnTo>
                        <a:pt x="488995" y="584982"/>
                      </a:lnTo>
                      <a:lnTo>
                        <a:pt x="491409" y="591623"/>
                      </a:lnTo>
                      <a:lnTo>
                        <a:pt x="493824" y="593434"/>
                      </a:lnTo>
                      <a:lnTo>
                        <a:pt x="485373" y="601886"/>
                      </a:lnTo>
                      <a:lnTo>
                        <a:pt x="481750" y="607923"/>
                      </a:lnTo>
                      <a:lnTo>
                        <a:pt x="480543" y="613960"/>
                      </a:lnTo>
                      <a:lnTo>
                        <a:pt x="485976" y="618790"/>
                      </a:lnTo>
                      <a:lnTo>
                        <a:pt x="484769" y="624827"/>
                      </a:lnTo>
                      <a:lnTo>
                        <a:pt x="487787" y="630260"/>
                      </a:lnTo>
                      <a:lnTo>
                        <a:pt x="482958" y="632071"/>
                      </a:lnTo>
                      <a:lnTo>
                        <a:pt x="483562" y="636901"/>
                      </a:lnTo>
                      <a:lnTo>
                        <a:pt x="482354" y="644145"/>
                      </a:lnTo>
                      <a:lnTo>
                        <a:pt x="478732" y="645352"/>
                      </a:lnTo>
                      <a:lnTo>
                        <a:pt x="479336" y="651389"/>
                      </a:lnTo>
                      <a:lnTo>
                        <a:pt x="476921" y="656822"/>
                      </a:lnTo>
                      <a:lnTo>
                        <a:pt x="473902" y="659237"/>
                      </a:lnTo>
                      <a:lnTo>
                        <a:pt x="471488" y="669500"/>
                      </a:lnTo>
                      <a:lnTo>
                        <a:pt x="475713" y="670104"/>
                      </a:lnTo>
                      <a:lnTo>
                        <a:pt x="478128" y="668293"/>
                      </a:lnTo>
                      <a:lnTo>
                        <a:pt x="485373" y="674933"/>
                      </a:lnTo>
                      <a:lnTo>
                        <a:pt x="493221" y="676744"/>
                      </a:lnTo>
                      <a:lnTo>
                        <a:pt x="498654" y="671915"/>
                      </a:lnTo>
                      <a:lnTo>
                        <a:pt x="502276" y="670707"/>
                      </a:lnTo>
                      <a:lnTo>
                        <a:pt x="505898" y="676141"/>
                      </a:lnTo>
                      <a:lnTo>
                        <a:pt x="511935" y="682178"/>
                      </a:lnTo>
                      <a:lnTo>
                        <a:pt x="511935" y="685196"/>
                      </a:lnTo>
                      <a:lnTo>
                        <a:pt x="516161" y="688818"/>
                      </a:lnTo>
                      <a:lnTo>
                        <a:pt x="521594" y="691233"/>
                      </a:lnTo>
                      <a:lnTo>
                        <a:pt x="519180" y="697270"/>
                      </a:lnTo>
                      <a:lnTo>
                        <a:pt x="516161" y="702099"/>
                      </a:lnTo>
                      <a:lnTo>
                        <a:pt x="511935" y="700892"/>
                      </a:lnTo>
                      <a:lnTo>
                        <a:pt x="508313" y="705118"/>
                      </a:lnTo>
                      <a:lnTo>
                        <a:pt x="505898" y="709948"/>
                      </a:lnTo>
                      <a:lnTo>
                        <a:pt x="505898" y="721418"/>
                      </a:lnTo>
                      <a:lnTo>
                        <a:pt x="498654" y="730474"/>
                      </a:lnTo>
                      <a:lnTo>
                        <a:pt x="494428" y="734096"/>
                      </a:lnTo>
                      <a:lnTo>
                        <a:pt x="495032" y="740133"/>
                      </a:lnTo>
                      <a:lnTo>
                        <a:pt x="493221" y="747981"/>
                      </a:lnTo>
                      <a:lnTo>
                        <a:pt x="494428" y="750999"/>
                      </a:lnTo>
                      <a:lnTo>
                        <a:pt x="491409" y="755225"/>
                      </a:lnTo>
                      <a:lnTo>
                        <a:pt x="491409" y="764884"/>
                      </a:lnTo>
                      <a:lnTo>
                        <a:pt x="487787" y="770317"/>
                      </a:lnTo>
                      <a:lnTo>
                        <a:pt x="483562" y="772732"/>
                      </a:lnTo>
                      <a:lnTo>
                        <a:pt x="479939" y="776354"/>
                      </a:lnTo>
                      <a:lnTo>
                        <a:pt x="479336" y="781184"/>
                      </a:lnTo>
                      <a:lnTo>
                        <a:pt x="476921" y="785410"/>
                      </a:lnTo>
                      <a:lnTo>
                        <a:pt x="471488" y="787221"/>
                      </a:lnTo>
                      <a:lnTo>
                        <a:pt x="466658" y="792654"/>
                      </a:lnTo>
                      <a:lnTo>
                        <a:pt x="467262" y="795069"/>
                      </a:lnTo>
                      <a:lnTo>
                        <a:pt x="472091" y="799295"/>
                      </a:lnTo>
                      <a:lnTo>
                        <a:pt x="473299" y="802917"/>
                      </a:lnTo>
                      <a:lnTo>
                        <a:pt x="476921" y="805936"/>
                      </a:lnTo>
                      <a:lnTo>
                        <a:pt x="476921" y="812576"/>
                      </a:lnTo>
                      <a:lnTo>
                        <a:pt x="479336" y="811369"/>
                      </a:lnTo>
                      <a:lnTo>
                        <a:pt x="482354" y="817406"/>
                      </a:lnTo>
                      <a:lnTo>
                        <a:pt x="488995" y="822235"/>
                      </a:lnTo>
                      <a:lnTo>
                        <a:pt x="490806" y="830084"/>
                      </a:lnTo>
                      <a:lnTo>
                        <a:pt x="484769" y="837328"/>
                      </a:lnTo>
                      <a:lnTo>
                        <a:pt x="484165" y="841554"/>
                      </a:lnTo>
                      <a:lnTo>
                        <a:pt x="476317" y="850005"/>
                      </a:lnTo>
                      <a:lnTo>
                        <a:pt x="471488" y="849402"/>
                      </a:lnTo>
                      <a:lnTo>
                        <a:pt x="473902" y="856042"/>
                      </a:lnTo>
                      <a:lnTo>
                        <a:pt x="476921" y="857854"/>
                      </a:lnTo>
                      <a:lnTo>
                        <a:pt x="480543" y="869928"/>
                      </a:lnTo>
                      <a:lnTo>
                        <a:pt x="486580" y="875361"/>
                      </a:lnTo>
                      <a:lnTo>
                        <a:pt x="486580" y="878983"/>
                      </a:lnTo>
                      <a:lnTo>
                        <a:pt x="491409" y="884416"/>
                      </a:lnTo>
                      <a:lnTo>
                        <a:pt x="494428" y="891660"/>
                      </a:lnTo>
                      <a:lnTo>
                        <a:pt x="490806" y="898905"/>
                      </a:lnTo>
                      <a:lnTo>
                        <a:pt x="485373" y="901319"/>
                      </a:lnTo>
                      <a:lnTo>
                        <a:pt x="482354" y="898301"/>
                      </a:lnTo>
                      <a:lnTo>
                        <a:pt x="478732" y="901924"/>
                      </a:lnTo>
                      <a:lnTo>
                        <a:pt x="482958" y="912186"/>
                      </a:lnTo>
                      <a:lnTo>
                        <a:pt x="478732" y="912790"/>
                      </a:lnTo>
                      <a:lnTo>
                        <a:pt x="476921" y="918223"/>
                      </a:lnTo>
                      <a:lnTo>
                        <a:pt x="471488" y="924864"/>
                      </a:lnTo>
                      <a:lnTo>
                        <a:pt x="467262" y="924260"/>
                      </a:lnTo>
                      <a:lnTo>
                        <a:pt x="472091" y="931504"/>
                      </a:lnTo>
                      <a:lnTo>
                        <a:pt x="470280" y="936334"/>
                      </a:lnTo>
                      <a:lnTo>
                        <a:pt x="464847" y="936334"/>
                      </a:lnTo>
                      <a:lnTo>
                        <a:pt x="461225" y="940560"/>
                      </a:lnTo>
                      <a:lnTo>
                        <a:pt x="458206" y="941164"/>
                      </a:lnTo>
                      <a:lnTo>
                        <a:pt x="443114" y="929090"/>
                      </a:lnTo>
                      <a:lnTo>
                        <a:pt x="440095" y="926072"/>
                      </a:lnTo>
                      <a:lnTo>
                        <a:pt x="435266" y="923657"/>
                      </a:lnTo>
                      <a:lnTo>
                        <a:pt x="432247" y="916412"/>
                      </a:lnTo>
                      <a:lnTo>
                        <a:pt x="415947" y="897094"/>
                      </a:lnTo>
                      <a:lnTo>
                        <a:pt x="382140" y="854232"/>
                      </a:lnTo>
                      <a:lnTo>
                        <a:pt x="377914" y="849402"/>
                      </a:lnTo>
                      <a:lnTo>
                        <a:pt x="373689" y="842158"/>
                      </a:lnTo>
                      <a:lnTo>
                        <a:pt x="361011" y="825857"/>
                      </a:lnTo>
                      <a:lnTo>
                        <a:pt x="355578" y="821028"/>
                      </a:lnTo>
                      <a:lnTo>
                        <a:pt x="350748" y="820425"/>
                      </a:lnTo>
                      <a:lnTo>
                        <a:pt x="345315" y="812576"/>
                      </a:lnTo>
                      <a:lnTo>
                        <a:pt x="342296" y="801709"/>
                      </a:lnTo>
                      <a:lnTo>
                        <a:pt x="340485" y="790843"/>
                      </a:lnTo>
                      <a:lnTo>
                        <a:pt x="328411" y="765488"/>
                      </a:lnTo>
                      <a:lnTo>
                        <a:pt x="308489" y="720210"/>
                      </a:lnTo>
                      <a:lnTo>
                        <a:pt x="303660" y="708741"/>
                      </a:lnTo>
                      <a:lnTo>
                        <a:pt x="297623" y="685800"/>
                      </a:lnTo>
                      <a:lnTo>
                        <a:pt x="295208" y="672519"/>
                      </a:lnTo>
                      <a:lnTo>
                        <a:pt x="292189" y="638108"/>
                      </a:lnTo>
                      <a:lnTo>
                        <a:pt x="287360" y="611545"/>
                      </a:lnTo>
                      <a:lnTo>
                        <a:pt x="282530" y="595245"/>
                      </a:lnTo>
                      <a:lnTo>
                        <a:pt x="287360" y="593434"/>
                      </a:lnTo>
                      <a:lnTo>
                        <a:pt x="288567" y="600075"/>
                      </a:lnTo>
                      <a:lnTo>
                        <a:pt x="294000" y="602489"/>
                      </a:lnTo>
                      <a:lnTo>
                        <a:pt x="292793" y="606112"/>
                      </a:lnTo>
                      <a:lnTo>
                        <a:pt x="286756" y="606716"/>
                      </a:lnTo>
                      <a:lnTo>
                        <a:pt x="289171" y="613960"/>
                      </a:lnTo>
                      <a:lnTo>
                        <a:pt x="292793" y="608526"/>
                      </a:lnTo>
                      <a:lnTo>
                        <a:pt x="301849" y="612753"/>
                      </a:lnTo>
                      <a:lnTo>
                        <a:pt x="304263" y="620600"/>
                      </a:lnTo>
                      <a:lnTo>
                        <a:pt x="309697" y="624223"/>
                      </a:lnTo>
                      <a:lnTo>
                        <a:pt x="307886" y="628449"/>
                      </a:lnTo>
                      <a:lnTo>
                        <a:pt x="309093" y="632674"/>
                      </a:lnTo>
                      <a:lnTo>
                        <a:pt x="310300" y="639919"/>
                      </a:lnTo>
                      <a:lnTo>
                        <a:pt x="309093" y="649578"/>
                      </a:lnTo>
                      <a:lnTo>
                        <a:pt x="313923" y="652597"/>
                      </a:lnTo>
                      <a:lnTo>
                        <a:pt x="313923" y="657426"/>
                      </a:lnTo>
                      <a:lnTo>
                        <a:pt x="309093" y="667085"/>
                      </a:lnTo>
                      <a:lnTo>
                        <a:pt x="309093" y="673122"/>
                      </a:lnTo>
                      <a:lnTo>
                        <a:pt x="307282" y="674933"/>
                      </a:lnTo>
                      <a:lnTo>
                        <a:pt x="306074" y="682178"/>
                      </a:lnTo>
                      <a:lnTo>
                        <a:pt x="307282" y="685196"/>
                      </a:lnTo>
                      <a:lnTo>
                        <a:pt x="336863" y="684593"/>
                      </a:lnTo>
                      <a:lnTo>
                        <a:pt x="319960" y="677952"/>
                      </a:lnTo>
                      <a:lnTo>
                        <a:pt x="319356" y="675537"/>
                      </a:lnTo>
                      <a:lnTo>
                        <a:pt x="322374" y="667085"/>
                      </a:lnTo>
                      <a:lnTo>
                        <a:pt x="319356" y="661652"/>
                      </a:lnTo>
                      <a:lnTo>
                        <a:pt x="316337" y="659841"/>
                      </a:lnTo>
                      <a:lnTo>
                        <a:pt x="318752" y="649578"/>
                      </a:lnTo>
                      <a:lnTo>
                        <a:pt x="312715" y="648371"/>
                      </a:lnTo>
                      <a:lnTo>
                        <a:pt x="313923" y="639919"/>
                      </a:lnTo>
                      <a:lnTo>
                        <a:pt x="310300" y="633279"/>
                      </a:lnTo>
                      <a:lnTo>
                        <a:pt x="309697" y="629052"/>
                      </a:lnTo>
                      <a:lnTo>
                        <a:pt x="313319" y="625430"/>
                      </a:lnTo>
                      <a:lnTo>
                        <a:pt x="313319" y="619393"/>
                      </a:lnTo>
                      <a:lnTo>
                        <a:pt x="306678" y="604904"/>
                      </a:lnTo>
                      <a:lnTo>
                        <a:pt x="301849" y="603697"/>
                      </a:lnTo>
                      <a:lnTo>
                        <a:pt x="304263" y="609734"/>
                      </a:lnTo>
                      <a:lnTo>
                        <a:pt x="299434" y="609131"/>
                      </a:lnTo>
                      <a:lnTo>
                        <a:pt x="298226" y="604301"/>
                      </a:lnTo>
                      <a:lnTo>
                        <a:pt x="294000" y="598264"/>
                      </a:lnTo>
                      <a:lnTo>
                        <a:pt x="289171" y="588001"/>
                      </a:lnTo>
                      <a:lnTo>
                        <a:pt x="289775" y="582568"/>
                      </a:lnTo>
                      <a:lnTo>
                        <a:pt x="284945" y="574719"/>
                      </a:lnTo>
                      <a:lnTo>
                        <a:pt x="287360" y="571097"/>
                      </a:lnTo>
                      <a:lnTo>
                        <a:pt x="286756" y="567475"/>
                      </a:lnTo>
                      <a:lnTo>
                        <a:pt x="278908" y="559023"/>
                      </a:lnTo>
                      <a:lnTo>
                        <a:pt x="277097" y="566871"/>
                      </a:lnTo>
                      <a:lnTo>
                        <a:pt x="280115" y="571701"/>
                      </a:lnTo>
                      <a:lnTo>
                        <a:pt x="282530" y="579549"/>
                      </a:lnTo>
                      <a:lnTo>
                        <a:pt x="282530" y="583775"/>
                      </a:lnTo>
                      <a:lnTo>
                        <a:pt x="283738" y="589208"/>
                      </a:lnTo>
                      <a:lnTo>
                        <a:pt x="279512" y="590416"/>
                      </a:lnTo>
                      <a:lnTo>
                        <a:pt x="275286" y="574719"/>
                      </a:lnTo>
                      <a:lnTo>
                        <a:pt x="271060" y="558420"/>
                      </a:lnTo>
                      <a:lnTo>
                        <a:pt x="266231" y="546346"/>
                      </a:lnTo>
                      <a:lnTo>
                        <a:pt x="261401" y="531857"/>
                      </a:lnTo>
                      <a:lnTo>
                        <a:pt x="256571" y="514350"/>
                      </a:lnTo>
                      <a:lnTo>
                        <a:pt x="249931" y="496239"/>
                      </a:lnTo>
                      <a:lnTo>
                        <a:pt x="233631" y="462432"/>
                      </a:lnTo>
                      <a:lnTo>
                        <a:pt x="232423" y="459413"/>
                      </a:lnTo>
                      <a:lnTo>
                        <a:pt x="223972" y="440699"/>
                      </a:lnTo>
                      <a:lnTo>
                        <a:pt x="214916" y="419570"/>
                      </a:lnTo>
                      <a:lnTo>
                        <a:pt x="207068" y="384555"/>
                      </a:lnTo>
                      <a:lnTo>
                        <a:pt x="199220" y="354370"/>
                      </a:lnTo>
                      <a:lnTo>
                        <a:pt x="194994" y="344711"/>
                      </a:lnTo>
                      <a:lnTo>
                        <a:pt x="192579" y="341692"/>
                      </a:lnTo>
                      <a:lnTo>
                        <a:pt x="186542" y="325393"/>
                      </a:lnTo>
                      <a:lnTo>
                        <a:pt x="181713" y="309093"/>
                      </a:lnTo>
                      <a:lnTo>
                        <a:pt x="178694" y="306074"/>
                      </a:lnTo>
                      <a:lnTo>
                        <a:pt x="179298" y="303056"/>
                      </a:lnTo>
                      <a:lnTo>
                        <a:pt x="172054" y="288567"/>
                      </a:lnTo>
                      <a:lnTo>
                        <a:pt x="167828" y="281323"/>
                      </a:lnTo>
                      <a:lnTo>
                        <a:pt x="160583" y="277701"/>
                      </a:lnTo>
                      <a:lnTo>
                        <a:pt x="157565" y="278908"/>
                      </a:lnTo>
                      <a:lnTo>
                        <a:pt x="154546" y="274078"/>
                      </a:lnTo>
                      <a:lnTo>
                        <a:pt x="145491" y="248119"/>
                      </a:lnTo>
                      <a:lnTo>
                        <a:pt x="140058" y="234838"/>
                      </a:lnTo>
                      <a:lnTo>
                        <a:pt x="136436" y="228197"/>
                      </a:lnTo>
                      <a:lnTo>
                        <a:pt x="131606" y="222160"/>
                      </a:lnTo>
                      <a:lnTo>
                        <a:pt x="124965" y="215520"/>
                      </a:lnTo>
                      <a:lnTo>
                        <a:pt x="120739" y="214313"/>
                      </a:lnTo>
                      <a:lnTo>
                        <a:pt x="118325" y="208276"/>
                      </a:lnTo>
                      <a:lnTo>
                        <a:pt x="111080" y="199824"/>
                      </a:lnTo>
                      <a:lnTo>
                        <a:pt x="105043" y="195598"/>
                      </a:lnTo>
                      <a:lnTo>
                        <a:pt x="103232" y="196805"/>
                      </a:lnTo>
                      <a:lnTo>
                        <a:pt x="94177" y="185939"/>
                      </a:lnTo>
                      <a:lnTo>
                        <a:pt x="89347" y="178694"/>
                      </a:lnTo>
                      <a:lnTo>
                        <a:pt x="91158" y="176883"/>
                      </a:lnTo>
                      <a:lnTo>
                        <a:pt x="87536" y="168431"/>
                      </a:lnTo>
                      <a:lnTo>
                        <a:pt x="82103" y="164205"/>
                      </a:lnTo>
                      <a:lnTo>
                        <a:pt x="82707" y="160583"/>
                      </a:lnTo>
                      <a:lnTo>
                        <a:pt x="89951" y="164205"/>
                      </a:lnTo>
                      <a:lnTo>
                        <a:pt x="91762" y="155150"/>
                      </a:lnTo>
                      <a:lnTo>
                        <a:pt x="89951" y="154546"/>
                      </a:lnTo>
                      <a:lnTo>
                        <a:pt x="89347" y="153339"/>
                      </a:lnTo>
                      <a:lnTo>
                        <a:pt x="88743" y="152131"/>
                      </a:lnTo>
                      <a:lnTo>
                        <a:pt x="92366" y="147302"/>
                      </a:lnTo>
                      <a:lnTo>
                        <a:pt x="91158" y="144283"/>
                      </a:lnTo>
                      <a:lnTo>
                        <a:pt x="92969" y="143076"/>
                      </a:lnTo>
                      <a:lnTo>
                        <a:pt x="95384" y="144283"/>
                      </a:lnTo>
                      <a:lnTo>
                        <a:pt x="96592" y="144887"/>
                      </a:lnTo>
                      <a:lnTo>
                        <a:pt x="99610" y="143076"/>
                      </a:lnTo>
                      <a:lnTo>
                        <a:pt x="103232" y="140057"/>
                      </a:lnTo>
                      <a:lnTo>
                        <a:pt x="105647" y="140057"/>
                      </a:lnTo>
                      <a:lnTo>
                        <a:pt x="106251" y="138246"/>
                      </a:lnTo>
                      <a:lnTo>
                        <a:pt x="108062" y="138850"/>
                      </a:lnTo>
                      <a:lnTo>
                        <a:pt x="110477" y="137643"/>
                      </a:lnTo>
                      <a:lnTo>
                        <a:pt x="109873" y="136435"/>
                      </a:lnTo>
                      <a:lnTo>
                        <a:pt x="107458" y="134624"/>
                      </a:lnTo>
                      <a:lnTo>
                        <a:pt x="105043" y="135228"/>
                      </a:lnTo>
                      <a:lnTo>
                        <a:pt x="103836" y="134624"/>
                      </a:lnTo>
                      <a:lnTo>
                        <a:pt x="103232" y="137039"/>
                      </a:lnTo>
                      <a:lnTo>
                        <a:pt x="98403" y="136435"/>
                      </a:lnTo>
                      <a:lnTo>
                        <a:pt x="94177" y="135228"/>
                      </a:lnTo>
                      <a:lnTo>
                        <a:pt x="93573" y="135228"/>
                      </a:lnTo>
                      <a:lnTo>
                        <a:pt x="91762" y="137039"/>
                      </a:lnTo>
                      <a:lnTo>
                        <a:pt x="91158" y="137643"/>
                      </a:lnTo>
                      <a:lnTo>
                        <a:pt x="85725" y="141265"/>
                      </a:lnTo>
                      <a:lnTo>
                        <a:pt x="84518" y="144283"/>
                      </a:lnTo>
                      <a:lnTo>
                        <a:pt x="82103" y="143680"/>
                      </a:lnTo>
                      <a:lnTo>
                        <a:pt x="80292" y="143076"/>
                      </a:lnTo>
                      <a:lnTo>
                        <a:pt x="78481" y="143680"/>
                      </a:lnTo>
                      <a:lnTo>
                        <a:pt x="76670" y="142472"/>
                      </a:lnTo>
                      <a:lnTo>
                        <a:pt x="76066" y="142472"/>
                      </a:lnTo>
                      <a:lnTo>
                        <a:pt x="73047" y="143680"/>
                      </a:lnTo>
                      <a:lnTo>
                        <a:pt x="73047" y="144283"/>
                      </a:lnTo>
                      <a:lnTo>
                        <a:pt x="73047" y="147906"/>
                      </a:lnTo>
                      <a:lnTo>
                        <a:pt x="73047" y="149113"/>
                      </a:lnTo>
                      <a:lnTo>
                        <a:pt x="73651" y="150320"/>
                      </a:lnTo>
                      <a:lnTo>
                        <a:pt x="73047" y="152131"/>
                      </a:lnTo>
                      <a:lnTo>
                        <a:pt x="73651" y="154546"/>
                      </a:lnTo>
                      <a:lnTo>
                        <a:pt x="74255" y="156357"/>
                      </a:lnTo>
                      <a:lnTo>
                        <a:pt x="74858" y="160583"/>
                      </a:lnTo>
                      <a:lnTo>
                        <a:pt x="69425" y="164809"/>
                      </a:lnTo>
                      <a:lnTo>
                        <a:pt x="65803" y="156961"/>
                      </a:lnTo>
                      <a:lnTo>
                        <a:pt x="63388" y="147906"/>
                      </a:lnTo>
                      <a:lnTo>
                        <a:pt x="62784" y="141265"/>
                      </a:lnTo>
                      <a:lnTo>
                        <a:pt x="55540" y="126776"/>
                      </a:lnTo>
                      <a:lnTo>
                        <a:pt x="53729" y="121343"/>
                      </a:lnTo>
                      <a:lnTo>
                        <a:pt x="51918" y="122550"/>
                      </a:lnTo>
                      <a:lnTo>
                        <a:pt x="39240" y="89951"/>
                      </a:lnTo>
                      <a:lnTo>
                        <a:pt x="35618" y="83914"/>
                      </a:lnTo>
                      <a:lnTo>
                        <a:pt x="30185" y="77273"/>
                      </a:lnTo>
                      <a:lnTo>
                        <a:pt x="25355" y="67010"/>
                      </a:lnTo>
                      <a:lnTo>
                        <a:pt x="21733" y="60370"/>
                      </a:lnTo>
                      <a:lnTo>
                        <a:pt x="19318" y="53729"/>
                      </a:lnTo>
                      <a:lnTo>
                        <a:pt x="9055" y="27166"/>
                      </a:lnTo>
                      <a:lnTo>
                        <a:pt x="3622" y="16300"/>
                      </a:lnTo>
                      <a:lnTo>
                        <a:pt x="0" y="6641"/>
                      </a:lnTo>
                      <a:lnTo>
                        <a:pt x="5433" y="6037"/>
                      </a:lnTo>
                      <a:lnTo>
                        <a:pt x="18111" y="1207"/>
                      </a:lnTo>
                      <a:lnTo>
                        <a:pt x="21129" y="2415"/>
                      </a:lnTo>
                      <a:lnTo>
                        <a:pt x="28374" y="0"/>
                      </a:lnTo>
                      <a:lnTo>
                        <a:pt x="28977" y="5433"/>
                      </a:lnTo>
                      <a:lnTo>
                        <a:pt x="25355" y="9659"/>
                      </a:lnTo>
                      <a:lnTo>
                        <a:pt x="27770" y="15092"/>
                      </a:lnTo>
                      <a:lnTo>
                        <a:pt x="35014" y="13885"/>
                      </a:lnTo>
                      <a:lnTo>
                        <a:pt x="37429" y="15092"/>
                      </a:lnTo>
                      <a:lnTo>
                        <a:pt x="36825" y="20525"/>
                      </a:lnTo>
                      <a:lnTo>
                        <a:pt x="37429" y="26562"/>
                      </a:lnTo>
                      <a:lnTo>
                        <a:pt x="41655" y="27166"/>
                      </a:lnTo>
                      <a:lnTo>
                        <a:pt x="44674" y="25355"/>
                      </a:lnTo>
                      <a:lnTo>
                        <a:pt x="44674" y="19922"/>
                      </a:lnTo>
                      <a:lnTo>
                        <a:pt x="48899" y="19922"/>
                      </a:lnTo>
                      <a:lnTo>
                        <a:pt x="50711" y="22940"/>
                      </a:lnTo>
                      <a:lnTo>
                        <a:pt x="57351" y="23544"/>
                      </a:lnTo>
                      <a:lnTo>
                        <a:pt x="60370" y="25355"/>
                      </a:lnTo>
                      <a:lnTo>
                        <a:pt x="58559" y="30185"/>
                      </a:lnTo>
                      <a:lnTo>
                        <a:pt x="59162" y="35014"/>
                      </a:lnTo>
                      <a:lnTo>
                        <a:pt x="65199" y="33203"/>
                      </a:lnTo>
                      <a:lnTo>
                        <a:pt x="68821" y="33807"/>
                      </a:lnTo>
                      <a:lnTo>
                        <a:pt x="68218" y="38033"/>
                      </a:lnTo>
                      <a:lnTo>
                        <a:pt x="70633" y="39844"/>
                      </a:lnTo>
                      <a:lnTo>
                        <a:pt x="71236" y="44673"/>
                      </a:lnTo>
                      <a:lnTo>
                        <a:pt x="76670" y="46484"/>
                      </a:lnTo>
                      <a:lnTo>
                        <a:pt x="84518" y="36825"/>
                      </a:lnTo>
                      <a:lnTo>
                        <a:pt x="89347" y="39240"/>
                      </a:lnTo>
                      <a:lnTo>
                        <a:pt x="92366" y="45881"/>
                      </a:lnTo>
                      <a:lnTo>
                        <a:pt x="87536" y="44673"/>
                      </a:lnTo>
                      <a:lnTo>
                        <a:pt x="83310" y="48899"/>
                      </a:lnTo>
                      <a:lnTo>
                        <a:pt x="85121" y="56747"/>
                      </a:lnTo>
                      <a:lnTo>
                        <a:pt x="89951" y="56747"/>
                      </a:lnTo>
                      <a:lnTo>
                        <a:pt x="89951" y="60973"/>
                      </a:lnTo>
                      <a:lnTo>
                        <a:pt x="93573" y="62181"/>
                      </a:lnTo>
                      <a:lnTo>
                        <a:pt x="96592" y="63388"/>
                      </a:lnTo>
                      <a:lnTo>
                        <a:pt x="97799" y="67614"/>
                      </a:lnTo>
                      <a:lnTo>
                        <a:pt x="97799" y="69425"/>
                      </a:lnTo>
                      <a:lnTo>
                        <a:pt x="100817" y="69425"/>
                      </a:lnTo>
                      <a:lnTo>
                        <a:pt x="104440" y="65199"/>
                      </a:lnTo>
                      <a:lnTo>
                        <a:pt x="105043" y="63388"/>
                      </a:lnTo>
                      <a:lnTo>
                        <a:pt x="105647" y="62181"/>
                      </a:lnTo>
                      <a:lnTo>
                        <a:pt x="106854" y="62181"/>
                      </a:lnTo>
                      <a:lnTo>
                        <a:pt x="109269" y="60973"/>
                      </a:lnTo>
                      <a:lnTo>
                        <a:pt x="110477" y="62181"/>
                      </a:lnTo>
                      <a:lnTo>
                        <a:pt x="112891" y="60973"/>
                      </a:lnTo>
                      <a:lnTo>
                        <a:pt x="114702" y="67614"/>
                      </a:lnTo>
                      <a:lnTo>
                        <a:pt x="112891" y="70029"/>
                      </a:lnTo>
                      <a:lnTo>
                        <a:pt x="110477" y="71236"/>
                      </a:lnTo>
                      <a:lnTo>
                        <a:pt x="108062" y="71840"/>
                      </a:lnTo>
                      <a:lnTo>
                        <a:pt x="102629" y="70632"/>
                      </a:lnTo>
                      <a:lnTo>
                        <a:pt x="103232" y="71840"/>
                      </a:lnTo>
                      <a:lnTo>
                        <a:pt x="102629" y="79688"/>
                      </a:lnTo>
                      <a:lnTo>
                        <a:pt x="105647" y="83914"/>
                      </a:lnTo>
                      <a:lnTo>
                        <a:pt x="108665" y="85725"/>
                      </a:lnTo>
                      <a:lnTo>
                        <a:pt x="109873" y="86329"/>
                      </a:lnTo>
                      <a:lnTo>
                        <a:pt x="110477" y="86932"/>
                      </a:lnTo>
                      <a:lnTo>
                        <a:pt x="113495" y="87536"/>
                      </a:lnTo>
                      <a:lnTo>
                        <a:pt x="114099" y="89347"/>
                      </a:lnTo>
                      <a:lnTo>
                        <a:pt x="112891" y="92969"/>
                      </a:lnTo>
                      <a:lnTo>
                        <a:pt x="112288" y="94780"/>
                      </a:lnTo>
                      <a:lnTo>
                        <a:pt x="114702" y="100817"/>
                      </a:lnTo>
                      <a:lnTo>
                        <a:pt x="115910" y="102629"/>
                      </a:lnTo>
                      <a:lnTo>
                        <a:pt x="113495" y="105647"/>
                      </a:lnTo>
                      <a:lnTo>
                        <a:pt x="115910" y="104440"/>
                      </a:lnTo>
                      <a:lnTo>
                        <a:pt x="118325" y="104440"/>
                      </a:lnTo>
                      <a:lnTo>
                        <a:pt x="123758" y="103232"/>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8" name="Lakshadweep" descr="{&quot;Key&quot;:&quot;lakshadweep&quot;,&quot;Name&quot;:&quot;Lakshadweep&quot;,&quot;Value&quot;:1.0,&quot;Formula&quot;:&quot;&quot;,&quot;Text&quot;:&quot;&quot;,&quot;OfficeApplication&quot;:1,&quot;HasValue&quot;:true}">
                  <a:extLst>
                    <a:ext uri="{FF2B5EF4-FFF2-40B4-BE49-F238E27FC236}">
                      <a16:creationId xmlns:a16="http://schemas.microsoft.com/office/drawing/2014/main" id="{810B1AE9-442E-4E06-9577-8532C85CA8AC}"/>
                    </a:ext>
                  </a:extLst>
                </p:cNvPr>
                <p:cNvSpPr/>
                <p:nvPr/>
              </p:nvSpPr>
              <p:spPr>
                <a:xfrm>
                  <a:off x="4083274" y="6524759"/>
                  <a:ext cx="6037" cy="12074"/>
                </a:xfrm>
                <a:custGeom>
                  <a:avLst/>
                  <a:gdLst>
                    <a:gd name="connsiteX0" fmla="*/ 9055 w 6036"/>
                    <a:gd name="connsiteY0" fmla="*/ 0 h 12073"/>
                    <a:gd name="connsiteX1" fmla="*/ 6037 w 6036"/>
                    <a:gd name="connsiteY1" fmla="*/ 5433 h 12073"/>
                    <a:gd name="connsiteX2" fmla="*/ 6037 w 6036"/>
                    <a:gd name="connsiteY2" fmla="*/ 8451 h 12073"/>
                    <a:gd name="connsiteX3" fmla="*/ 2415 w 6036"/>
                    <a:gd name="connsiteY3" fmla="*/ 12677 h 12073"/>
                    <a:gd name="connsiteX4" fmla="*/ 0 w 6036"/>
                    <a:gd name="connsiteY4" fmla="*/ 12677 h 12073"/>
                    <a:gd name="connsiteX5" fmla="*/ 3622 w 6036"/>
                    <a:gd name="connsiteY5" fmla="*/ 9055 h 12073"/>
                    <a:gd name="connsiteX6" fmla="*/ 5433 w 6036"/>
                    <a:gd name="connsiteY6" fmla="*/ 6641 h 12073"/>
                    <a:gd name="connsiteX7" fmla="*/ 6641 w 6036"/>
                    <a:gd name="connsiteY7" fmla="*/ 3622 h 12073"/>
                    <a:gd name="connsiteX8" fmla="*/ 9055 w 6036"/>
                    <a:gd name="connsiteY8" fmla="*/ 0 h 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36" h="12073">
                      <a:moveTo>
                        <a:pt x="9055" y="0"/>
                      </a:moveTo>
                      <a:lnTo>
                        <a:pt x="6037" y="5433"/>
                      </a:lnTo>
                      <a:lnTo>
                        <a:pt x="6037" y="8451"/>
                      </a:lnTo>
                      <a:lnTo>
                        <a:pt x="2415" y="12677"/>
                      </a:lnTo>
                      <a:lnTo>
                        <a:pt x="0" y="12677"/>
                      </a:lnTo>
                      <a:lnTo>
                        <a:pt x="3622" y="9055"/>
                      </a:lnTo>
                      <a:lnTo>
                        <a:pt x="5433" y="6641"/>
                      </a:lnTo>
                      <a:lnTo>
                        <a:pt x="6641" y="3622"/>
                      </a:lnTo>
                      <a:lnTo>
                        <a:pt x="9055" y="0"/>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499" name="Madhya Pradesh" descr="{&quot;Key&quot;:&quot;madhya pradesh&quot;,&quot;Name&quot;:&quot;Madhya Pradesh&quot;,&quot;Value&quot;:1.0,&quot;Formula&quot;:&quot;&quot;,&quot;Text&quot;:&quot;&quot;,&quot;OfficeApplication&quot;:1,&quot;HasValue&quot;:true}">
                  <a:extLst>
                    <a:ext uri="{FF2B5EF4-FFF2-40B4-BE49-F238E27FC236}">
                      <a16:creationId xmlns:a16="http://schemas.microsoft.com/office/drawing/2014/main" id="{8796DEF6-BE9C-477B-9C27-B9A618F24E3C}"/>
                    </a:ext>
                  </a:extLst>
                </p:cNvPr>
                <p:cNvSpPr/>
                <p:nvPr/>
              </p:nvSpPr>
              <p:spPr>
                <a:xfrm>
                  <a:off x="4290945" y="2492062"/>
                  <a:ext cx="1805055" cy="1303986"/>
                </a:xfrm>
                <a:custGeom>
                  <a:avLst/>
                  <a:gdLst>
                    <a:gd name="connsiteX0" fmla="*/ 1806866 w 1805054"/>
                    <a:gd name="connsiteY0" fmla="*/ 664671 h 1303985"/>
                    <a:gd name="connsiteX1" fmla="*/ 1804451 w 1805054"/>
                    <a:gd name="connsiteY1" fmla="*/ 664671 h 1303985"/>
                    <a:gd name="connsiteX2" fmla="*/ 1799621 w 1805054"/>
                    <a:gd name="connsiteY2" fmla="*/ 670104 h 1303985"/>
                    <a:gd name="connsiteX3" fmla="*/ 1795395 w 1805054"/>
                    <a:gd name="connsiteY3" fmla="*/ 670708 h 1303985"/>
                    <a:gd name="connsiteX4" fmla="*/ 1794188 w 1805054"/>
                    <a:gd name="connsiteY4" fmla="*/ 673726 h 1303985"/>
                    <a:gd name="connsiteX5" fmla="*/ 1785133 w 1805054"/>
                    <a:gd name="connsiteY5" fmla="*/ 673122 h 1303985"/>
                    <a:gd name="connsiteX6" fmla="*/ 1780907 w 1805054"/>
                    <a:gd name="connsiteY6" fmla="*/ 676141 h 1303985"/>
                    <a:gd name="connsiteX7" fmla="*/ 1774870 w 1805054"/>
                    <a:gd name="connsiteY7" fmla="*/ 677348 h 1303985"/>
                    <a:gd name="connsiteX8" fmla="*/ 1773059 w 1805054"/>
                    <a:gd name="connsiteY8" fmla="*/ 681574 h 1303985"/>
                    <a:gd name="connsiteX9" fmla="*/ 1776077 w 1805054"/>
                    <a:gd name="connsiteY9" fmla="*/ 685196 h 1303985"/>
                    <a:gd name="connsiteX10" fmla="*/ 1772455 w 1805054"/>
                    <a:gd name="connsiteY10" fmla="*/ 688215 h 1303985"/>
                    <a:gd name="connsiteX11" fmla="*/ 1770040 w 1805054"/>
                    <a:gd name="connsiteY11" fmla="*/ 692441 h 1303985"/>
                    <a:gd name="connsiteX12" fmla="*/ 1765211 w 1805054"/>
                    <a:gd name="connsiteY12" fmla="*/ 693044 h 1303985"/>
                    <a:gd name="connsiteX13" fmla="*/ 1760985 w 1805054"/>
                    <a:gd name="connsiteY13" fmla="*/ 696063 h 1303985"/>
                    <a:gd name="connsiteX14" fmla="*/ 1753137 w 1805054"/>
                    <a:gd name="connsiteY14" fmla="*/ 695459 h 1303985"/>
                    <a:gd name="connsiteX15" fmla="*/ 1751326 w 1805054"/>
                    <a:gd name="connsiteY15" fmla="*/ 698478 h 1303985"/>
                    <a:gd name="connsiteX16" fmla="*/ 1752533 w 1805054"/>
                    <a:gd name="connsiteY16" fmla="*/ 702704 h 1303985"/>
                    <a:gd name="connsiteX17" fmla="*/ 1746496 w 1805054"/>
                    <a:gd name="connsiteY17" fmla="*/ 705118 h 1303985"/>
                    <a:gd name="connsiteX18" fmla="*/ 1739855 w 1805054"/>
                    <a:gd name="connsiteY18" fmla="*/ 703911 h 1303985"/>
                    <a:gd name="connsiteX19" fmla="*/ 1735630 w 1805054"/>
                    <a:gd name="connsiteY19" fmla="*/ 699081 h 1303985"/>
                    <a:gd name="connsiteX20" fmla="*/ 1732611 w 1805054"/>
                    <a:gd name="connsiteY20" fmla="*/ 698478 h 1303985"/>
                    <a:gd name="connsiteX21" fmla="*/ 1719933 w 1805054"/>
                    <a:gd name="connsiteY21" fmla="*/ 700893 h 1303985"/>
                    <a:gd name="connsiteX22" fmla="*/ 1716311 w 1805054"/>
                    <a:gd name="connsiteY22" fmla="*/ 699081 h 1303985"/>
                    <a:gd name="connsiteX23" fmla="*/ 1711482 w 1805054"/>
                    <a:gd name="connsiteY23" fmla="*/ 700289 h 1303985"/>
                    <a:gd name="connsiteX24" fmla="*/ 1701219 w 1805054"/>
                    <a:gd name="connsiteY24" fmla="*/ 699685 h 1303985"/>
                    <a:gd name="connsiteX25" fmla="*/ 1692767 w 1805054"/>
                    <a:gd name="connsiteY25" fmla="*/ 696667 h 1303985"/>
                    <a:gd name="connsiteX26" fmla="*/ 1687937 w 1805054"/>
                    <a:gd name="connsiteY26" fmla="*/ 699685 h 1303985"/>
                    <a:gd name="connsiteX27" fmla="*/ 1681297 w 1805054"/>
                    <a:gd name="connsiteY27" fmla="*/ 694252 h 1303985"/>
                    <a:gd name="connsiteX28" fmla="*/ 1681900 w 1805054"/>
                    <a:gd name="connsiteY28" fmla="*/ 689422 h 1303985"/>
                    <a:gd name="connsiteX29" fmla="*/ 1675864 w 1805054"/>
                    <a:gd name="connsiteY29" fmla="*/ 693044 h 1303985"/>
                    <a:gd name="connsiteX30" fmla="*/ 1675260 w 1805054"/>
                    <a:gd name="connsiteY30" fmla="*/ 695459 h 1303985"/>
                    <a:gd name="connsiteX31" fmla="*/ 1668015 w 1805054"/>
                    <a:gd name="connsiteY31" fmla="*/ 697270 h 1303985"/>
                    <a:gd name="connsiteX32" fmla="*/ 1664393 w 1805054"/>
                    <a:gd name="connsiteY32" fmla="*/ 696063 h 1303985"/>
                    <a:gd name="connsiteX33" fmla="*/ 1655941 w 1805054"/>
                    <a:gd name="connsiteY33" fmla="*/ 697270 h 1303985"/>
                    <a:gd name="connsiteX34" fmla="*/ 1649301 w 1805054"/>
                    <a:gd name="connsiteY34" fmla="*/ 696667 h 1303985"/>
                    <a:gd name="connsiteX35" fmla="*/ 1647490 w 1805054"/>
                    <a:gd name="connsiteY35" fmla="*/ 691837 h 1303985"/>
                    <a:gd name="connsiteX36" fmla="*/ 1640245 w 1805054"/>
                    <a:gd name="connsiteY36" fmla="*/ 687007 h 1303985"/>
                    <a:gd name="connsiteX37" fmla="*/ 1629983 w 1805054"/>
                    <a:gd name="connsiteY37" fmla="*/ 689422 h 1303985"/>
                    <a:gd name="connsiteX38" fmla="*/ 1622738 w 1805054"/>
                    <a:gd name="connsiteY38" fmla="*/ 684593 h 1303985"/>
                    <a:gd name="connsiteX39" fmla="*/ 1618512 w 1805054"/>
                    <a:gd name="connsiteY39" fmla="*/ 691233 h 1303985"/>
                    <a:gd name="connsiteX40" fmla="*/ 1611872 w 1805054"/>
                    <a:gd name="connsiteY40" fmla="*/ 693648 h 1303985"/>
                    <a:gd name="connsiteX41" fmla="*/ 1610061 w 1805054"/>
                    <a:gd name="connsiteY41" fmla="*/ 696063 h 1303985"/>
                    <a:gd name="connsiteX42" fmla="*/ 1605231 w 1805054"/>
                    <a:gd name="connsiteY42" fmla="*/ 696667 h 1303985"/>
                    <a:gd name="connsiteX43" fmla="*/ 1601609 w 1805054"/>
                    <a:gd name="connsiteY43" fmla="*/ 699081 h 1303985"/>
                    <a:gd name="connsiteX44" fmla="*/ 1593157 w 1805054"/>
                    <a:gd name="connsiteY44" fmla="*/ 697874 h 1303985"/>
                    <a:gd name="connsiteX45" fmla="*/ 1584101 w 1805054"/>
                    <a:gd name="connsiteY45" fmla="*/ 691837 h 1303985"/>
                    <a:gd name="connsiteX46" fmla="*/ 1582894 w 1805054"/>
                    <a:gd name="connsiteY46" fmla="*/ 687611 h 1303985"/>
                    <a:gd name="connsiteX47" fmla="*/ 1578668 w 1805054"/>
                    <a:gd name="connsiteY47" fmla="*/ 687007 h 1303985"/>
                    <a:gd name="connsiteX48" fmla="*/ 1577461 w 1805054"/>
                    <a:gd name="connsiteY48" fmla="*/ 682178 h 1303985"/>
                    <a:gd name="connsiteX49" fmla="*/ 1574442 w 1805054"/>
                    <a:gd name="connsiteY49" fmla="*/ 680970 h 1303985"/>
                    <a:gd name="connsiteX50" fmla="*/ 1573839 w 1805054"/>
                    <a:gd name="connsiteY50" fmla="*/ 676745 h 1303985"/>
                    <a:gd name="connsiteX51" fmla="*/ 1570217 w 1805054"/>
                    <a:gd name="connsiteY51" fmla="*/ 673122 h 1303985"/>
                    <a:gd name="connsiteX52" fmla="*/ 1563576 w 1805054"/>
                    <a:gd name="connsiteY52" fmla="*/ 676745 h 1303985"/>
                    <a:gd name="connsiteX53" fmla="*/ 1559350 w 1805054"/>
                    <a:gd name="connsiteY53" fmla="*/ 677952 h 1303985"/>
                    <a:gd name="connsiteX54" fmla="*/ 1557539 w 1805054"/>
                    <a:gd name="connsiteY54" fmla="*/ 682782 h 1303985"/>
                    <a:gd name="connsiteX55" fmla="*/ 1560557 w 1805054"/>
                    <a:gd name="connsiteY55" fmla="*/ 685196 h 1303985"/>
                    <a:gd name="connsiteX56" fmla="*/ 1557539 w 1805054"/>
                    <a:gd name="connsiteY56" fmla="*/ 689422 h 1303985"/>
                    <a:gd name="connsiteX57" fmla="*/ 1559350 w 1805054"/>
                    <a:gd name="connsiteY57" fmla="*/ 693044 h 1303985"/>
                    <a:gd name="connsiteX58" fmla="*/ 1562972 w 1805054"/>
                    <a:gd name="connsiteY58" fmla="*/ 693044 h 1303985"/>
                    <a:gd name="connsiteX59" fmla="*/ 1566594 w 1805054"/>
                    <a:gd name="connsiteY59" fmla="*/ 700289 h 1303985"/>
                    <a:gd name="connsiteX60" fmla="*/ 1565387 w 1805054"/>
                    <a:gd name="connsiteY60" fmla="*/ 706326 h 1303985"/>
                    <a:gd name="connsiteX61" fmla="*/ 1566594 w 1805054"/>
                    <a:gd name="connsiteY61" fmla="*/ 708741 h 1303985"/>
                    <a:gd name="connsiteX62" fmla="*/ 1572028 w 1805054"/>
                    <a:gd name="connsiteY62" fmla="*/ 711155 h 1303985"/>
                    <a:gd name="connsiteX63" fmla="*/ 1572631 w 1805054"/>
                    <a:gd name="connsiteY63" fmla="*/ 714778 h 1303985"/>
                    <a:gd name="connsiteX64" fmla="*/ 1575650 w 1805054"/>
                    <a:gd name="connsiteY64" fmla="*/ 719004 h 1303985"/>
                    <a:gd name="connsiteX65" fmla="*/ 1572631 w 1805054"/>
                    <a:gd name="connsiteY65" fmla="*/ 725041 h 1303985"/>
                    <a:gd name="connsiteX66" fmla="*/ 1567802 w 1805054"/>
                    <a:gd name="connsiteY66" fmla="*/ 727455 h 1303985"/>
                    <a:gd name="connsiteX67" fmla="*/ 1566594 w 1805054"/>
                    <a:gd name="connsiteY67" fmla="*/ 732889 h 1303985"/>
                    <a:gd name="connsiteX68" fmla="*/ 1560557 w 1805054"/>
                    <a:gd name="connsiteY68" fmla="*/ 732889 h 1303985"/>
                    <a:gd name="connsiteX69" fmla="*/ 1558143 w 1805054"/>
                    <a:gd name="connsiteY69" fmla="*/ 746170 h 1303985"/>
                    <a:gd name="connsiteX70" fmla="*/ 1551502 w 1805054"/>
                    <a:gd name="connsiteY70" fmla="*/ 748585 h 1303985"/>
                    <a:gd name="connsiteX71" fmla="*/ 1552709 w 1805054"/>
                    <a:gd name="connsiteY71" fmla="*/ 756433 h 1303985"/>
                    <a:gd name="connsiteX72" fmla="*/ 1558143 w 1805054"/>
                    <a:gd name="connsiteY72" fmla="*/ 757036 h 1303985"/>
                    <a:gd name="connsiteX73" fmla="*/ 1558746 w 1805054"/>
                    <a:gd name="connsiteY73" fmla="*/ 766092 h 1303985"/>
                    <a:gd name="connsiteX74" fmla="*/ 1561161 w 1805054"/>
                    <a:gd name="connsiteY74" fmla="*/ 769714 h 1303985"/>
                    <a:gd name="connsiteX75" fmla="*/ 1564180 w 1805054"/>
                    <a:gd name="connsiteY75" fmla="*/ 770921 h 1303985"/>
                    <a:gd name="connsiteX76" fmla="*/ 1567198 w 1805054"/>
                    <a:gd name="connsiteY76" fmla="*/ 768506 h 1303985"/>
                    <a:gd name="connsiteX77" fmla="*/ 1569009 w 1805054"/>
                    <a:gd name="connsiteY77" fmla="*/ 761866 h 1303985"/>
                    <a:gd name="connsiteX78" fmla="*/ 1576857 w 1805054"/>
                    <a:gd name="connsiteY78" fmla="*/ 763677 h 1303985"/>
                    <a:gd name="connsiteX79" fmla="*/ 1579876 w 1805054"/>
                    <a:gd name="connsiteY79" fmla="*/ 761262 h 1303985"/>
                    <a:gd name="connsiteX80" fmla="*/ 1584101 w 1805054"/>
                    <a:gd name="connsiteY80" fmla="*/ 754018 h 1303985"/>
                    <a:gd name="connsiteX81" fmla="*/ 1588327 w 1805054"/>
                    <a:gd name="connsiteY81" fmla="*/ 754018 h 1303985"/>
                    <a:gd name="connsiteX82" fmla="*/ 1590138 w 1805054"/>
                    <a:gd name="connsiteY82" fmla="*/ 757036 h 1303985"/>
                    <a:gd name="connsiteX83" fmla="*/ 1598590 w 1805054"/>
                    <a:gd name="connsiteY83" fmla="*/ 757640 h 1303985"/>
                    <a:gd name="connsiteX84" fmla="*/ 1601005 w 1805054"/>
                    <a:gd name="connsiteY84" fmla="*/ 763677 h 1303985"/>
                    <a:gd name="connsiteX85" fmla="*/ 1604627 w 1805054"/>
                    <a:gd name="connsiteY85" fmla="*/ 766092 h 1303985"/>
                    <a:gd name="connsiteX86" fmla="*/ 1615494 w 1805054"/>
                    <a:gd name="connsiteY86" fmla="*/ 764884 h 1303985"/>
                    <a:gd name="connsiteX87" fmla="*/ 1620323 w 1805054"/>
                    <a:gd name="connsiteY87" fmla="*/ 760658 h 1303985"/>
                    <a:gd name="connsiteX88" fmla="*/ 1622738 w 1805054"/>
                    <a:gd name="connsiteY88" fmla="*/ 761866 h 1303985"/>
                    <a:gd name="connsiteX89" fmla="*/ 1626360 w 1805054"/>
                    <a:gd name="connsiteY89" fmla="*/ 767299 h 1303985"/>
                    <a:gd name="connsiteX90" fmla="*/ 1629379 w 1805054"/>
                    <a:gd name="connsiteY90" fmla="*/ 769714 h 1303985"/>
                    <a:gd name="connsiteX91" fmla="*/ 1629983 w 1805054"/>
                    <a:gd name="connsiteY91" fmla="*/ 776355 h 1303985"/>
                    <a:gd name="connsiteX92" fmla="*/ 1634208 w 1805054"/>
                    <a:gd name="connsiteY92" fmla="*/ 780580 h 1303985"/>
                    <a:gd name="connsiteX93" fmla="*/ 1634208 w 1805054"/>
                    <a:gd name="connsiteY93" fmla="*/ 786014 h 1303985"/>
                    <a:gd name="connsiteX94" fmla="*/ 1640245 w 1805054"/>
                    <a:gd name="connsiteY94" fmla="*/ 788429 h 1303985"/>
                    <a:gd name="connsiteX95" fmla="*/ 1645075 w 1805054"/>
                    <a:gd name="connsiteY95" fmla="*/ 789032 h 1303985"/>
                    <a:gd name="connsiteX96" fmla="*/ 1643264 w 1805054"/>
                    <a:gd name="connsiteY96" fmla="*/ 792654 h 1303985"/>
                    <a:gd name="connsiteX97" fmla="*/ 1645075 w 1805054"/>
                    <a:gd name="connsiteY97" fmla="*/ 795069 h 1303985"/>
                    <a:gd name="connsiteX98" fmla="*/ 1650508 w 1805054"/>
                    <a:gd name="connsiteY98" fmla="*/ 796277 h 1303985"/>
                    <a:gd name="connsiteX99" fmla="*/ 1651716 w 1805054"/>
                    <a:gd name="connsiteY99" fmla="*/ 792654 h 1303985"/>
                    <a:gd name="connsiteX100" fmla="*/ 1660167 w 1805054"/>
                    <a:gd name="connsiteY100" fmla="*/ 792051 h 1303985"/>
                    <a:gd name="connsiteX101" fmla="*/ 1661978 w 1805054"/>
                    <a:gd name="connsiteY101" fmla="*/ 799295 h 1303985"/>
                    <a:gd name="connsiteX102" fmla="*/ 1663790 w 1805054"/>
                    <a:gd name="connsiteY102" fmla="*/ 801710 h 1303985"/>
                    <a:gd name="connsiteX103" fmla="*/ 1668619 w 1805054"/>
                    <a:gd name="connsiteY103" fmla="*/ 799899 h 1303985"/>
                    <a:gd name="connsiteX104" fmla="*/ 1672845 w 1805054"/>
                    <a:gd name="connsiteY104" fmla="*/ 806540 h 1303985"/>
                    <a:gd name="connsiteX105" fmla="*/ 1678882 w 1805054"/>
                    <a:gd name="connsiteY105" fmla="*/ 808954 h 1303985"/>
                    <a:gd name="connsiteX106" fmla="*/ 1679486 w 1805054"/>
                    <a:gd name="connsiteY106" fmla="*/ 817406 h 1303985"/>
                    <a:gd name="connsiteX107" fmla="*/ 1675260 w 1805054"/>
                    <a:gd name="connsiteY107" fmla="*/ 820425 h 1303985"/>
                    <a:gd name="connsiteX108" fmla="*/ 1669223 w 1805054"/>
                    <a:gd name="connsiteY108" fmla="*/ 830084 h 1303985"/>
                    <a:gd name="connsiteX109" fmla="*/ 1668619 w 1805054"/>
                    <a:gd name="connsiteY109" fmla="*/ 843969 h 1303985"/>
                    <a:gd name="connsiteX110" fmla="*/ 1671638 w 1805054"/>
                    <a:gd name="connsiteY110" fmla="*/ 845176 h 1303985"/>
                    <a:gd name="connsiteX111" fmla="*/ 1671034 w 1805054"/>
                    <a:gd name="connsiteY111" fmla="*/ 849402 h 1303985"/>
                    <a:gd name="connsiteX112" fmla="*/ 1667412 w 1805054"/>
                    <a:gd name="connsiteY112" fmla="*/ 851817 h 1303985"/>
                    <a:gd name="connsiteX113" fmla="*/ 1666808 w 1805054"/>
                    <a:gd name="connsiteY113" fmla="*/ 856043 h 1303985"/>
                    <a:gd name="connsiteX114" fmla="*/ 1663790 w 1805054"/>
                    <a:gd name="connsiteY114" fmla="*/ 857854 h 1303985"/>
                    <a:gd name="connsiteX115" fmla="*/ 1652923 w 1805054"/>
                    <a:gd name="connsiteY115" fmla="*/ 854835 h 1303985"/>
                    <a:gd name="connsiteX116" fmla="*/ 1645679 w 1805054"/>
                    <a:gd name="connsiteY116" fmla="*/ 862683 h 1303985"/>
                    <a:gd name="connsiteX117" fmla="*/ 1640849 w 1805054"/>
                    <a:gd name="connsiteY117" fmla="*/ 863287 h 1303985"/>
                    <a:gd name="connsiteX118" fmla="*/ 1636019 w 1805054"/>
                    <a:gd name="connsiteY118" fmla="*/ 862080 h 1303985"/>
                    <a:gd name="connsiteX119" fmla="*/ 1633605 w 1805054"/>
                    <a:gd name="connsiteY119" fmla="*/ 863287 h 1303985"/>
                    <a:gd name="connsiteX120" fmla="*/ 1627568 w 1805054"/>
                    <a:gd name="connsiteY120" fmla="*/ 863287 h 1303985"/>
                    <a:gd name="connsiteX121" fmla="*/ 1623342 w 1805054"/>
                    <a:gd name="connsiteY121" fmla="*/ 871739 h 1303985"/>
                    <a:gd name="connsiteX122" fmla="*/ 1626964 w 1805054"/>
                    <a:gd name="connsiteY122" fmla="*/ 878983 h 1303985"/>
                    <a:gd name="connsiteX123" fmla="*/ 1627568 w 1805054"/>
                    <a:gd name="connsiteY123" fmla="*/ 890453 h 1303985"/>
                    <a:gd name="connsiteX124" fmla="*/ 1622135 w 1805054"/>
                    <a:gd name="connsiteY124" fmla="*/ 892868 h 1303985"/>
                    <a:gd name="connsiteX125" fmla="*/ 1614286 w 1805054"/>
                    <a:gd name="connsiteY125" fmla="*/ 900716 h 1303985"/>
                    <a:gd name="connsiteX126" fmla="*/ 1611268 w 1805054"/>
                    <a:gd name="connsiteY126" fmla="*/ 904942 h 1303985"/>
                    <a:gd name="connsiteX127" fmla="*/ 1605231 w 1805054"/>
                    <a:gd name="connsiteY127" fmla="*/ 907357 h 1303985"/>
                    <a:gd name="connsiteX128" fmla="*/ 1597987 w 1805054"/>
                    <a:gd name="connsiteY128" fmla="*/ 907961 h 1303985"/>
                    <a:gd name="connsiteX129" fmla="*/ 1592553 w 1805054"/>
                    <a:gd name="connsiteY129" fmla="*/ 909168 h 1303985"/>
                    <a:gd name="connsiteX130" fmla="*/ 1592553 w 1805054"/>
                    <a:gd name="connsiteY130" fmla="*/ 914601 h 1303985"/>
                    <a:gd name="connsiteX131" fmla="*/ 1590742 w 1805054"/>
                    <a:gd name="connsiteY131" fmla="*/ 918224 h 1303985"/>
                    <a:gd name="connsiteX132" fmla="*/ 1593761 w 1805054"/>
                    <a:gd name="connsiteY132" fmla="*/ 925468 h 1303985"/>
                    <a:gd name="connsiteX133" fmla="*/ 1593761 w 1805054"/>
                    <a:gd name="connsiteY133" fmla="*/ 929090 h 1303985"/>
                    <a:gd name="connsiteX134" fmla="*/ 1595572 w 1805054"/>
                    <a:gd name="connsiteY134" fmla="*/ 933316 h 1303985"/>
                    <a:gd name="connsiteX135" fmla="*/ 1587724 w 1805054"/>
                    <a:gd name="connsiteY135" fmla="*/ 942372 h 1303985"/>
                    <a:gd name="connsiteX136" fmla="*/ 1591950 w 1805054"/>
                    <a:gd name="connsiteY136" fmla="*/ 953238 h 1303985"/>
                    <a:gd name="connsiteX137" fmla="*/ 1588327 w 1805054"/>
                    <a:gd name="connsiteY137" fmla="*/ 960482 h 1303985"/>
                    <a:gd name="connsiteX138" fmla="*/ 1585913 w 1805054"/>
                    <a:gd name="connsiteY138" fmla="*/ 955049 h 1303985"/>
                    <a:gd name="connsiteX139" fmla="*/ 1582894 w 1805054"/>
                    <a:gd name="connsiteY139" fmla="*/ 953238 h 1303985"/>
                    <a:gd name="connsiteX140" fmla="*/ 1581083 w 1805054"/>
                    <a:gd name="connsiteY140" fmla="*/ 958068 h 1303985"/>
                    <a:gd name="connsiteX141" fmla="*/ 1578065 w 1805054"/>
                    <a:gd name="connsiteY141" fmla="*/ 960482 h 1303985"/>
                    <a:gd name="connsiteX142" fmla="*/ 1573839 w 1805054"/>
                    <a:gd name="connsiteY142" fmla="*/ 959275 h 1303985"/>
                    <a:gd name="connsiteX143" fmla="*/ 1565991 w 1805054"/>
                    <a:gd name="connsiteY143" fmla="*/ 968934 h 1303985"/>
                    <a:gd name="connsiteX144" fmla="*/ 1565991 w 1805054"/>
                    <a:gd name="connsiteY144" fmla="*/ 973764 h 1303985"/>
                    <a:gd name="connsiteX145" fmla="*/ 1567802 w 1805054"/>
                    <a:gd name="connsiteY145" fmla="*/ 975575 h 1303985"/>
                    <a:gd name="connsiteX146" fmla="*/ 1565387 w 1805054"/>
                    <a:gd name="connsiteY146" fmla="*/ 979197 h 1303985"/>
                    <a:gd name="connsiteX147" fmla="*/ 1562368 w 1805054"/>
                    <a:gd name="connsiteY147" fmla="*/ 978593 h 1303985"/>
                    <a:gd name="connsiteX148" fmla="*/ 1562368 w 1805054"/>
                    <a:gd name="connsiteY148" fmla="*/ 982819 h 1303985"/>
                    <a:gd name="connsiteX149" fmla="*/ 1559350 w 1805054"/>
                    <a:gd name="connsiteY149" fmla="*/ 984630 h 1303985"/>
                    <a:gd name="connsiteX150" fmla="*/ 1550294 w 1805054"/>
                    <a:gd name="connsiteY150" fmla="*/ 981612 h 1303985"/>
                    <a:gd name="connsiteX151" fmla="*/ 1549087 w 1805054"/>
                    <a:gd name="connsiteY151" fmla="*/ 985837 h 1303985"/>
                    <a:gd name="connsiteX152" fmla="*/ 1540032 w 1805054"/>
                    <a:gd name="connsiteY152" fmla="*/ 984630 h 1303985"/>
                    <a:gd name="connsiteX153" fmla="*/ 1535806 w 1805054"/>
                    <a:gd name="connsiteY153" fmla="*/ 988252 h 1303985"/>
                    <a:gd name="connsiteX154" fmla="*/ 1532787 w 1805054"/>
                    <a:gd name="connsiteY154" fmla="*/ 994289 h 1303985"/>
                    <a:gd name="connsiteX155" fmla="*/ 1526147 w 1805054"/>
                    <a:gd name="connsiteY155" fmla="*/ 993686 h 1303985"/>
                    <a:gd name="connsiteX156" fmla="*/ 1520110 w 1805054"/>
                    <a:gd name="connsiteY156" fmla="*/ 998515 h 1303985"/>
                    <a:gd name="connsiteX157" fmla="*/ 1519506 w 1805054"/>
                    <a:gd name="connsiteY157" fmla="*/ 1004552 h 1303985"/>
                    <a:gd name="connsiteX158" fmla="*/ 1514073 w 1805054"/>
                    <a:gd name="connsiteY158" fmla="*/ 1005156 h 1303985"/>
                    <a:gd name="connsiteX159" fmla="*/ 1512262 w 1805054"/>
                    <a:gd name="connsiteY159" fmla="*/ 991874 h 1303985"/>
                    <a:gd name="connsiteX160" fmla="*/ 1500791 w 1805054"/>
                    <a:gd name="connsiteY160" fmla="*/ 987649 h 1303985"/>
                    <a:gd name="connsiteX161" fmla="*/ 1498980 w 1805054"/>
                    <a:gd name="connsiteY161" fmla="*/ 989460 h 1303985"/>
                    <a:gd name="connsiteX162" fmla="*/ 1498980 w 1805054"/>
                    <a:gd name="connsiteY162" fmla="*/ 994893 h 1303985"/>
                    <a:gd name="connsiteX163" fmla="*/ 1496565 w 1805054"/>
                    <a:gd name="connsiteY163" fmla="*/ 996704 h 1303985"/>
                    <a:gd name="connsiteX164" fmla="*/ 1491736 w 1805054"/>
                    <a:gd name="connsiteY164" fmla="*/ 993082 h 1303985"/>
                    <a:gd name="connsiteX165" fmla="*/ 1487510 w 1805054"/>
                    <a:gd name="connsiteY165" fmla="*/ 994289 h 1303985"/>
                    <a:gd name="connsiteX166" fmla="*/ 1486906 w 1805054"/>
                    <a:gd name="connsiteY166" fmla="*/ 999119 h 1303985"/>
                    <a:gd name="connsiteX167" fmla="*/ 1480266 w 1805054"/>
                    <a:gd name="connsiteY167" fmla="*/ 1003345 h 1303985"/>
                    <a:gd name="connsiteX168" fmla="*/ 1474229 w 1805054"/>
                    <a:gd name="connsiteY168" fmla="*/ 1001534 h 1303985"/>
                    <a:gd name="connsiteX169" fmla="*/ 1473625 w 1805054"/>
                    <a:gd name="connsiteY169" fmla="*/ 996704 h 1303985"/>
                    <a:gd name="connsiteX170" fmla="*/ 1469399 w 1805054"/>
                    <a:gd name="connsiteY170" fmla="*/ 995497 h 1303985"/>
                    <a:gd name="connsiteX171" fmla="*/ 1464570 w 1805054"/>
                    <a:gd name="connsiteY171" fmla="*/ 1002741 h 1303985"/>
                    <a:gd name="connsiteX172" fmla="*/ 1456721 w 1805054"/>
                    <a:gd name="connsiteY172" fmla="*/ 1005760 h 1303985"/>
                    <a:gd name="connsiteX173" fmla="*/ 1455514 w 1805054"/>
                    <a:gd name="connsiteY173" fmla="*/ 1007571 h 1303985"/>
                    <a:gd name="connsiteX174" fmla="*/ 1454910 w 1805054"/>
                    <a:gd name="connsiteY174" fmla="*/ 1019041 h 1303985"/>
                    <a:gd name="connsiteX175" fmla="*/ 1457929 w 1805054"/>
                    <a:gd name="connsiteY175" fmla="*/ 1027493 h 1303985"/>
                    <a:gd name="connsiteX176" fmla="*/ 1456721 w 1805054"/>
                    <a:gd name="connsiteY176" fmla="*/ 1030511 h 1303985"/>
                    <a:gd name="connsiteX177" fmla="*/ 1457325 w 1805054"/>
                    <a:gd name="connsiteY177" fmla="*/ 1038359 h 1303985"/>
                    <a:gd name="connsiteX178" fmla="*/ 1453703 w 1805054"/>
                    <a:gd name="connsiteY178" fmla="*/ 1042585 h 1303985"/>
                    <a:gd name="connsiteX179" fmla="*/ 1451288 w 1805054"/>
                    <a:gd name="connsiteY179" fmla="*/ 1049226 h 1303985"/>
                    <a:gd name="connsiteX180" fmla="*/ 1444044 w 1805054"/>
                    <a:gd name="connsiteY180" fmla="*/ 1049830 h 1303985"/>
                    <a:gd name="connsiteX181" fmla="*/ 1438007 w 1805054"/>
                    <a:gd name="connsiteY181" fmla="*/ 1053452 h 1303985"/>
                    <a:gd name="connsiteX182" fmla="*/ 1437403 w 1805054"/>
                    <a:gd name="connsiteY182" fmla="*/ 1056470 h 1303985"/>
                    <a:gd name="connsiteX183" fmla="*/ 1439214 w 1805054"/>
                    <a:gd name="connsiteY183" fmla="*/ 1060093 h 1303985"/>
                    <a:gd name="connsiteX184" fmla="*/ 1436196 w 1805054"/>
                    <a:gd name="connsiteY184" fmla="*/ 1063111 h 1303985"/>
                    <a:gd name="connsiteX185" fmla="*/ 1438007 w 1805054"/>
                    <a:gd name="connsiteY185" fmla="*/ 1067337 h 1303985"/>
                    <a:gd name="connsiteX186" fmla="*/ 1437403 w 1805054"/>
                    <a:gd name="connsiteY186" fmla="*/ 1074581 h 1303985"/>
                    <a:gd name="connsiteX187" fmla="*/ 1431366 w 1805054"/>
                    <a:gd name="connsiteY187" fmla="*/ 1075185 h 1303985"/>
                    <a:gd name="connsiteX188" fmla="*/ 1427744 w 1805054"/>
                    <a:gd name="connsiteY188" fmla="*/ 1078807 h 1303985"/>
                    <a:gd name="connsiteX189" fmla="*/ 1431970 w 1805054"/>
                    <a:gd name="connsiteY189" fmla="*/ 1080014 h 1303985"/>
                    <a:gd name="connsiteX190" fmla="*/ 1434988 w 1805054"/>
                    <a:gd name="connsiteY190" fmla="*/ 1083033 h 1303985"/>
                    <a:gd name="connsiteX191" fmla="*/ 1433781 w 1805054"/>
                    <a:gd name="connsiteY191" fmla="*/ 1090277 h 1303985"/>
                    <a:gd name="connsiteX192" fmla="*/ 1429555 w 1805054"/>
                    <a:gd name="connsiteY192" fmla="*/ 1093296 h 1303985"/>
                    <a:gd name="connsiteX193" fmla="*/ 1426536 w 1805054"/>
                    <a:gd name="connsiteY193" fmla="*/ 1091484 h 1303985"/>
                    <a:gd name="connsiteX194" fmla="*/ 1427140 w 1805054"/>
                    <a:gd name="connsiteY194" fmla="*/ 1086051 h 1303985"/>
                    <a:gd name="connsiteX195" fmla="*/ 1423518 w 1805054"/>
                    <a:gd name="connsiteY195" fmla="*/ 1078807 h 1303985"/>
                    <a:gd name="connsiteX196" fmla="*/ 1416877 w 1805054"/>
                    <a:gd name="connsiteY196" fmla="*/ 1076996 h 1303985"/>
                    <a:gd name="connsiteX197" fmla="*/ 1413255 w 1805054"/>
                    <a:gd name="connsiteY197" fmla="*/ 1081825 h 1303985"/>
                    <a:gd name="connsiteX198" fmla="*/ 1411444 w 1805054"/>
                    <a:gd name="connsiteY198" fmla="*/ 1089673 h 1303985"/>
                    <a:gd name="connsiteX199" fmla="*/ 1409029 w 1805054"/>
                    <a:gd name="connsiteY199" fmla="*/ 1090881 h 1303985"/>
                    <a:gd name="connsiteX200" fmla="*/ 1407218 w 1805054"/>
                    <a:gd name="connsiteY200" fmla="*/ 1096918 h 1303985"/>
                    <a:gd name="connsiteX201" fmla="*/ 1406615 w 1805054"/>
                    <a:gd name="connsiteY201" fmla="*/ 1101747 h 1303985"/>
                    <a:gd name="connsiteX202" fmla="*/ 1403596 w 1805054"/>
                    <a:gd name="connsiteY202" fmla="*/ 1109595 h 1303985"/>
                    <a:gd name="connsiteX203" fmla="*/ 1399370 w 1805054"/>
                    <a:gd name="connsiteY203" fmla="*/ 1116236 h 1303985"/>
                    <a:gd name="connsiteX204" fmla="*/ 1399974 w 1805054"/>
                    <a:gd name="connsiteY204" fmla="*/ 1120462 h 1303985"/>
                    <a:gd name="connsiteX205" fmla="*/ 1397559 w 1805054"/>
                    <a:gd name="connsiteY205" fmla="*/ 1124688 h 1303985"/>
                    <a:gd name="connsiteX206" fmla="*/ 1398163 w 1805054"/>
                    <a:gd name="connsiteY206" fmla="*/ 1129518 h 1303985"/>
                    <a:gd name="connsiteX207" fmla="*/ 1401181 w 1805054"/>
                    <a:gd name="connsiteY207" fmla="*/ 1131932 h 1303985"/>
                    <a:gd name="connsiteX208" fmla="*/ 1401181 w 1805054"/>
                    <a:gd name="connsiteY208" fmla="*/ 1136158 h 1303985"/>
                    <a:gd name="connsiteX209" fmla="*/ 1399370 w 1805054"/>
                    <a:gd name="connsiteY209" fmla="*/ 1138573 h 1303985"/>
                    <a:gd name="connsiteX210" fmla="*/ 1400578 w 1805054"/>
                    <a:gd name="connsiteY210" fmla="*/ 1142195 h 1303985"/>
                    <a:gd name="connsiteX211" fmla="*/ 1399370 w 1805054"/>
                    <a:gd name="connsiteY211" fmla="*/ 1147629 h 1303985"/>
                    <a:gd name="connsiteX212" fmla="*/ 1395144 w 1805054"/>
                    <a:gd name="connsiteY212" fmla="*/ 1156684 h 1303985"/>
                    <a:gd name="connsiteX213" fmla="*/ 1395144 w 1805054"/>
                    <a:gd name="connsiteY213" fmla="*/ 1160306 h 1303985"/>
                    <a:gd name="connsiteX214" fmla="*/ 1389107 w 1805054"/>
                    <a:gd name="connsiteY214" fmla="*/ 1162117 h 1303985"/>
                    <a:gd name="connsiteX215" fmla="*/ 1384881 w 1805054"/>
                    <a:gd name="connsiteY215" fmla="*/ 1157891 h 1303985"/>
                    <a:gd name="connsiteX216" fmla="*/ 1380656 w 1805054"/>
                    <a:gd name="connsiteY216" fmla="*/ 1158495 h 1303985"/>
                    <a:gd name="connsiteX217" fmla="*/ 1377637 w 1805054"/>
                    <a:gd name="connsiteY217" fmla="*/ 1163928 h 1303985"/>
                    <a:gd name="connsiteX218" fmla="*/ 1377033 w 1805054"/>
                    <a:gd name="connsiteY218" fmla="*/ 1172380 h 1303985"/>
                    <a:gd name="connsiteX219" fmla="*/ 1373411 w 1805054"/>
                    <a:gd name="connsiteY219" fmla="*/ 1177210 h 1303985"/>
                    <a:gd name="connsiteX220" fmla="*/ 1375826 w 1805054"/>
                    <a:gd name="connsiteY220" fmla="*/ 1183247 h 1303985"/>
                    <a:gd name="connsiteX221" fmla="*/ 1376430 w 1805054"/>
                    <a:gd name="connsiteY221" fmla="*/ 1189284 h 1303985"/>
                    <a:gd name="connsiteX222" fmla="*/ 1374015 w 1805054"/>
                    <a:gd name="connsiteY222" fmla="*/ 1192302 h 1303985"/>
                    <a:gd name="connsiteX223" fmla="*/ 1374015 w 1805054"/>
                    <a:gd name="connsiteY223" fmla="*/ 1196528 h 1303985"/>
                    <a:gd name="connsiteX224" fmla="*/ 1376430 w 1805054"/>
                    <a:gd name="connsiteY224" fmla="*/ 1199546 h 1303985"/>
                    <a:gd name="connsiteX225" fmla="*/ 1374619 w 1805054"/>
                    <a:gd name="connsiteY225" fmla="*/ 1202565 h 1303985"/>
                    <a:gd name="connsiteX226" fmla="*/ 1378241 w 1805054"/>
                    <a:gd name="connsiteY226" fmla="*/ 1206791 h 1303985"/>
                    <a:gd name="connsiteX227" fmla="*/ 1376430 w 1805054"/>
                    <a:gd name="connsiteY227" fmla="*/ 1215846 h 1303985"/>
                    <a:gd name="connsiteX228" fmla="*/ 1378241 w 1805054"/>
                    <a:gd name="connsiteY228" fmla="*/ 1221279 h 1303985"/>
                    <a:gd name="connsiteX229" fmla="*/ 1375826 w 1805054"/>
                    <a:gd name="connsiteY229" fmla="*/ 1227316 h 1303985"/>
                    <a:gd name="connsiteX230" fmla="*/ 1371600 w 1805054"/>
                    <a:gd name="connsiteY230" fmla="*/ 1231542 h 1303985"/>
                    <a:gd name="connsiteX231" fmla="*/ 1372204 w 1805054"/>
                    <a:gd name="connsiteY231" fmla="*/ 1233957 h 1303985"/>
                    <a:gd name="connsiteX232" fmla="*/ 1368582 w 1805054"/>
                    <a:gd name="connsiteY232" fmla="*/ 1243616 h 1303985"/>
                    <a:gd name="connsiteX233" fmla="*/ 1363148 w 1805054"/>
                    <a:gd name="connsiteY233" fmla="*/ 1252672 h 1303985"/>
                    <a:gd name="connsiteX234" fmla="*/ 1355300 w 1805054"/>
                    <a:gd name="connsiteY234" fmla="*/ 1255087 h 1303985"/>
                    <a:gd name="connsiteX235" fmla="*/ 1349867 w 1805054"/>
                    <a:gd name="connsiteY235" fmla="*/ 1253879 h 1303985"/>
                    <a:gd name="connsiteX236" fmla="*/ 1347452 w 1805054"/>
                    <a:gd name="connsiteY236" fmla="*/ 1250257 h 1303985"/>
                    <a:gd name="connsiteX237" fmla="*/ 1343830 w 1805054"/>
                    <a:gd name="connsiteY237" fmla="*/ 1249653 h 1303985"/>
                    <a:gd name="connsiteX238" fmla="*/ 1343830 w 1805054"/>
                    <a:gd name="connsiteY238" fmla="*/ 1246635 h 1303985"/>
                    <a:gd name="connsiteX239" fmla="*/ 1338397 w 1805054"/>
                    <a:gd name="connsiteY239" fmla="*/ 1244220 h 1303985"/>
                    <a:gd name="connsiteX240" fmla="*/ 1334775 w 1805054"/>
                    <a:gd name="connsiteY240" fmla="*/ 1239390 h 1303985"/>
                    <a:gd name="connsiteX241" fmla="*/ 1325719 w 1805054"/>
                    <a:gd name="connsiteY241" fmla="*/ 1238183 h 1303985"/>
                    <a:gd name="connsiteX242" fmla="*/ 1320286 w 1805054"/>
                    <a:gd name="connsiteY242" fmla="*/ 1236976 h 1303985"/>
                    <a:gd name="connsiteX243" fmla="*/ 1319078 w 1805054"/>
                    <a:gd name="connsiteY243" fmla="*/ 1243013 h 1303985"/>
                    <a:gd name="connsiteX244" fmla="*/ 1317267 w 1805054"/>
                    <a:gd name="connsiteY244" fmla="*/ 1243616 h 1303985"/>
                    <a:gd name="connsiteX245" fmla="*/ 1310023 w 1805054"/>
                    <a:gd name="connsiteY245" fmla="*/ 1241805 h 1303985"/>
                    <a:gd name="connsiteX246" fmla="*/ 1308212 w 1805054"/>
                    <a:gd name="connsiteY246" fmla="*/ 1235768 h 1303985"/>
                    <a:gd name="connsiteX247" fmla="*/ 1312438 w 1805054"/>
                    <a:gd name="connsiteY247" fmla="*/ 1229128 h 1303985"/>
                    <a:gd name="connsiteX248" fmla="*/ 1310627 w 1805054"/>
                    <a:gd name="connsiteY248" fmla="*/ 1223091 h 1303985"/>
                    <a:gd name="connsiteX249" fmla="*/ 1305193 w 1805054"/>
                    <a:gd name="connsiteY249" fmla="*/ 1217054 h 1303985"/>
                    <a:gd name="connsiteX250" fmla="*/ 1303986 w 1805054"/>
                    <a:gd name="connsiteY250" fmla="*/ 1210413 h 1303985"/>
                    <a:gd name="connsiteX251" fmla="*/ 1297345 w 1805054"/>
                    <a:gd name="connsiteY251" fmla="*/ 1206791 h 1303985"/>
                    <a:gd name="connsiteX252" fmla="*/ 1293723 w 1805054"/>
                    <a:gd name="connsiteY252" fmla="*/ 1198943 h 1303985"/>
                    <a:gd name="connsiteX253" fmla="*/ 1288894 w 1805054"/>
                    <a:gd name="connsiteY253" fmla="*/ 1198339 h 1303985"/>
                    <a:gd name="connsiteX254" fmla="*/ 1281649 w 1805054"/>
                    <a:gd name="connsiteY254" fmla="*/ 1188680 h 1303985"/>
                    <a:gd name="connsiteX255" fmla="*/ 1273197 w 1805054"/>
                    <a:gd name="connsiteY255" fmla="*/ 1188680 h 1303985"/>
                    <a:gd name="connsiteX256" fmla="*/ 1270179 w 1805054"/>
                    <a:gd name="connsiteY256" fmla="*/ 1185661 h 1303985"/>
                    <a:gd name="connsiteX257" fmla="*/ 1266557 w 1805054"/>
                    <a:gd name="connsiteY257" fmla="*/ 1185661 h 1303985"/>
                    <a:gd name="connsiteX258" fmla="*/ 1257501 w 1805054"/>
                    <a:gd name="connsiteY258" fmla="*/ 1191698 h 1303985"/>
                    <a:gd name="connsiteX259" fmla="*/ 1252068 w 1805054"/>
                    <a:gd name="connsiteY259" fmla="*/ 1191095 h 1303985"/>
                    <a:gd name="connsiteX260" fmla="*/ 1250257 w 1805054"/>
                    <a:gd name="connsiteY260" fmla="*/ 1194717 h 1303985"/>
                    <a:gd name="connsiteX261" fmla="*/ 1247239 w 1805054"/>
                    <a:gd name="connsiteY261" fmla="*/ 1195924 h 1303985"/>
                    <a:gd name="connsiteX262" fmla="*/ 1241202 w 1805054"/>
                    <a:gd name="connsiteY262" fmla="*/ 1203168 h 1303985"/>
                    <a:gd name="connsiteX263" fmla="*/ 1233353 w 1805054"/>
                    <a:gd name="connsiteY263" fmla="*/ 1202565 h 1303985"/>
                    <a:gd name="connsiteX264" fmla="*/ 1226713 w 1805054"/>
                    <a:gd name="connsiteY264" fmla="*/ 1207394 h 1303985"/>
                    <a:gd name="connsiteX265" fmla="*/ 1221883 w 1805054"/>
                    <a:gd name="connsiteY265" fmla="*/ 1203168 h 1303985"/>
                    <a:gd name="connsiteX266" fmla="*/ 1212828 w 1805054"/>
                    <a:gd name="connsiteY266" fmla="*/ 1203168 h 1303985"/>
                    <a:gd name="connsiteX267" fmla="*/ 1210413 w 1805054"/>
                    <a:gd name="connsiteY267" fmla="*/ 1209809 h 1303985"/>
                    <a:gd name="connsiteX268" fmla="*/ 1204980 w 1805054"/>
                    <a:gd name="connsiteY268" fmla="*/ 1209809 h 1303985"/>
                    <a:gd name="connsiteX269" fmla="*/ 1198339 w 1805054"/>
                    <a:gd name="connsiteY269" fmla="*/ 1208602 h 1303985"/>
                    <a:gd name="connsiteX270" fmla="*/ 1191698 w 1805054"/>
                    <a:gd name="connsiteY270" fmla="*/ 1204980 h 1303985"/>
                    <a:gd name="connsiteX271" fmla="*/ 1190491 w 1805054"/>
                    <a:gd name="connsiteY271" fmla="*/ 1201961 h 1303985"/>
                    <a:gd name="connsiteX272" fmla="*/ 1185058 w 1805054"/>
                    <a:gd name="connsiteY272" fmla="*/ 1197132 h 1303985"/>
                    <a:gd name="connsiteX273" fmla="*/ 1172380 w 1805054"/>
                    <a:gd name="connsiteY273" fmla="*/ 1192302 h 1303985"/>
                    <a:gd name="connsiteX274" fmla="*/ 1168758 w 1805054"/>
                    <a:gd name="connsiteY274" fmla="*/ 1194717 h 1303985"/>
                    <a:gd name="connsiteX275" fmla="*/ 1164532 w 1805054"/>
                    <a:gd name="connsiteY275" fmla="*/ 1194717 h 1303985"/>
                    <a:gd name="connsiteX276" fmla="*/ 1162721 w 1805054"/>
                    <a:gd name="connsiteY276" fmla="*/ 1197132 h 1303985"/>
                    <a:gd name="connsiteX277" fmla="*/ 1157288 w 1805054"/>
                    <a:gd name="connsiteY277" fmla="*/ 1197735 h 1303985"/>
                    <a:gd name="connsiteX278" fmla="*/ 1155476 w 1805054"/>
                    <a:gd name="connsiteY278" fmla="*/ 1201961 h 1303985"/>
                    <a:gd name="connsiteX279" fmla="*/ 1147025 w 1805054"/>
                    <a:gd name="connsiteY279" fmla="*/ 1202565 h 1303985"/>
                    <a:gd name="connsiteX280" fmla="*/ 1140384 w 1805054"/>
                    <a:gd name="connsiteY280" fmla="*/ 1205583 h 1303985"/>
                    <a:gd name="connsiteX281" fmla="*/ 1132536 w 1805054"/>
                    <a:gd name="connsiteY281" fmla="*/ 1205583 h 1303985"/>
                    <a:gd name="connsiteX282" fmla="*/ 1133140 w 1805054"/>
                    <a:gd name="connsiteY282" fmla="*/ 1200754 h 1303985"/>
                    <a:gd name="connsiteX283" fmla="*/ 1125895 w 1805054"/>
                    <a:gd name="connsiteY283" fmla="*/ 1195320 h 1303985"/>
                    <a:gd name="connsiteX284" fmla="*/ 1124084 w 1805054"/>
                    <a:gd name="connsiteY284" fmla="*/ 1190491 h 1303985"/>
                    <a:gd name="connsiteX285" fmla="*/ 1127103 w 1805054"/>
                    <a:gd name="connsiteY285" fmla="*/ 1186869 h 1303985"/>
                    <a:gd name="connsiteX286" fmla="*/ 1122273 w 1805054"/>
                    <a:gd name="connsiteY286" fmla="*/ 1176606 h 1303985"/>
                    <a:gd name="connsiteX287" fmla="*/ 1116236 w 1805054"/>
                    <a:gd name="connsiteY287" fmla="*/ 1173588 h 1303985"/>
                    <a:gd name="connsiteX288" fmla="*/ 1112614 w 1805054"/>
                    <a:gd name="connsiteY288" fmla="*/ 1174795 h 1303985"/>
                    <a:gd name="connsiteX289" fmla="*/ 1106577 w 1805054"/>
                    <a:gd name="connsiteY289" fmla="*/ 1172984 h 1303985"/>
                    <a:gd name="connsiteX290" fmla="*/ 1102955 w 1805054"/>
                    <a:gd name="connsiteY290" fmla="*/ 1176606 h 1303985"/>
                    <a:gd name="connsiteX291" fmla="*/ 1080618 w 1805054"/>
                    <a:gd name="connsiteY291" fmla="*/ 1172380 h 1303985"/>
                    <a:gd name="connsiteX292" fmla="*/ 1074581 w 1805054"/>
                    <a:gd name="connsiteY292" fmla="*/ 1166947 h 1303985"/>
                    <a:gd name="connsiteX293" fmla="*/ 1069752 w 1805054"/>
                    <a:gd name="connsiteY293" fmla="*/ 1167551 h 1303985"/>
                    <a:gd name="connsiteX294" fmla="*/ 1067337 w 1805054"/>
                    <a:gd name="connsiteY294" fmla="*/ 1170569 h 1303985"/>
                    <a:gd name="connsiteX295" fmla="*/ 1066733 w 1805054"/>
                    <a:gd name="connsiteY295" fmla="*/ 1174795 h 1303985"/>
                    <a:gd name="connsiteX296" fmla="*/ 1068544 w 1805054"/>
                    <a:gd name="connsiteY296" fmla="*/ 1177210 h 1303985"/>
                    <a:gd name="connsiteX297" fmla="*/ 1066129 w 1805054"/>
                    <a:gd name="connsiteY297" fmla="*/ 1182039 h 1303985"/>
                    <a:gd name="connsiteX298" fmla="*/ 1052244 w 1805054"/>
                    <a:gd name="connsiteY298" fmla="*/ 1179625 h 1303985"/>
                    <a:gd name="connsiteX299" fmla="*/ 1050433 w 1805054"/>
                    <a:gd name="connsiteY299" fmla="*/ 1184454 h 1303985"/>
                    <a:gd name="connsiteX300" fmla="*/ 1048018 w 1805054"/>
                    <a:gd name="connsiteY300" fmla="*/ 1186869 h 1303985"/>
                    <a:gd name="connsiteX301" fmla="*/ 1041981 w 1805054"/>
                    <a:gd name="connsiteY301" fmla="*/ 1188680 h 1303985"/>
                    <a:gd name="connsiteX302" fmla="*/ 1043189 w 1805054"/>
                    <a:gd name="connsiteY302" fmla="*/ 1191095 h 1303985"/>
                    <a:gd name="connsiteX303" fmla="*/ 1028096 w 1805054"/>
                    <a:gd name="connsiteY303" fmla="*/ 1191698 h 1303985"/>
                    <a:gd name="connsiteX304" fmla="*/ 1023871 w 1805054"/>
                    <a:gd name="connsiteY304" fmla="*/ 1192906 h 1303985"/>
                    <a:gd name="connsiteX305" fmla="*/ 1020248 w 1805054"/>
                    <a:gd name="connsiteY305" fmla="*/ 1188680 h 1303985"/>
                    <a:gd name="connsiteX306" fmla="*/ 1016626 w 1805054"/>
                    <a:gd name="connsiteY306" fmla="*/ 1189284 h 1303985"/>
                    <a:gd name="connsiteX307" fmla="*/ 1009382 w 1805054"/>
                    <a:gd name="connsiteY307" fmla="*/ 1194113 h 1303985"/>
                    <a:gd name="connsiteX308" fmla="*/ 1003948 w 1805054"/>
                    <a:gd name="connsiteY308" fmla="*/ 1194717 h 1303985"/>
                    <a:gd name="connsiteX309" fmla="*/ 1003345 w 1805054"/>
                    <a:gd name="connsiteY309" fmla="*/ 1201357 h 1303985"/>
                    <a:gd name="connsiteX310" fmla="*/ 1005760 w 1805054"/>
                    <a:gd name="connsiteY310" fmla="*/ 1209809 h 1303985"/>
                    <a:gd name="connsiteX311" fmla="*/ 1008778 w 1805054"/>
                    <a:gd name="connsiteY311" fmla="*/ 1211017 h 1303985"/>
                    <a:gd name="connsiteX312" fmla="*/ 1007571 w 1805054"/>
                    <a:gd name="connsiteY312" fmla="*/ 1217657 h 1303985"/>
                    <a:gd name="connsiteX313" fmla="*/ 1000326 w 1805054"/>
                    <a:gd name="connsiteY313" fmla="*/ 1215242 h 1303985"/>
                    <a:gd name="connsiteX314" fmla="*/ 997911 w 1805054"/>
                    <a:gd name="connsiteY314" fmla="*/ 1218261 h 1303985"/>
                    <a:gd name="connsiteX315" fmla="*/ 991271 w 1805054"/>
                    <a:gd name="connsiteY315" fmla="*/ 1215846 h 1303985"/>
                    <a:gd name="connsiteX316" fmla="*/ 989460 w 1805054"/>
                    <a:gd name="connsiteY316" fmla="*/ 1217657 h 1303985"/>
                    <a:gd name="connsiteX317" fmla="*/ 977386 w 1805054"/>
                    <a:gd name="connsiteY317" fmla="*/ 1217657 h 1303985"/>
                    <a:gd name="connsiteX318" fmla="*/ 974971 w 1805054"/>
                    <a:gd name="connsiteY318" fmla="*/ 1222487 h 1303985"/>
                    <a:gd name="connsiteX319" fmla="*/ 972556 w 1805054"/>
                    <a:gd name="connsiteY319" fmla="*/ 1217657 h 1303985"/>
                    <a:gd name="connsiteX320" fmla="*/ 969538 w 1805054"/>
                    <a:gd name="connsiteY320" fmla="*/ 1216450 h 1303985"/>
                    <a:gd name="connsiteX321" fmla="*/ 967727 w 1805054"/>
                    <a:gd name="connsiteY321" fmla="*/ 1221279 h 1303985"/>
                    <a:gd name="connsiteX322" fmla="*/ 964708 w 1805054"/>
                    <a:gd name="connsiteY322" fmla="*/ 1223091 h 1303985"/>
                    <a:gd name="connsiteX323" fmla="*/ 956256 w 1805054"/>
                    <a:gd name="connsiteY323" fmla="*/ 1218865 h 1303985"/>
                    <a:gd name="connsiteX324" fmla="*/ 951427 w 1805054"/>
                    <a:gd name="connsiteY324" fmla="*/ 1220072 h 1303985"/>
                    <a:gd name="connsiteX325" fmla="*/ 946597 w 1805054"/>
                    <a:gd name="connsiteY325" fmla="*/ 1218865 h 1303985"/>
                    <a:gd name="connsiteX326" fmla="*/ 943579 w 1805054"/>
                    <a:gd name="connsiteY326" fmla="*/ 1220072 h 1303985"/>
                    <a:gd name="connsiteX327" fmla="*/ 940560 w 1805054"/>
                    <a:gd name="connsiteY327" fmla="*/ 1217657 h 1303985"/>
                    <a:gd name="connsiteX328" fmla="*/ 936334 w 1805054"/>
                    <a:gd name="connsiteY328" fmla="*/ 1218261 h 1303985"/>
                    <a:gd name="connsiteX329" fmla="*/ 930901 w 1805054"/>
                    <a:gd name="connsiteY329" fmla="*/ 1212224 h 1303985"/>
                    <a:gd name="connsiteX330" fmla="*/ 926071 w 1805054"/>
                    <a:gd name="connsiteY330" fmla="*/ 1209809 h 1303985"/>
                    <a:gd name="connsiteX331" fmla="*/ 920035 w 1805054"/>
                    <a:gd name="connsiteY331" fmla="*/ 1208602 h 1303985"/>
                    <a:gd name="connsiteX332" fmla="*/ 914601 w 1805054"/>
                    <a:gd name="connsiteY332" fmla="*/ 1214035 h 1303985"/>
                    <a:gd name="connsiteX333" fmla="*/ 906150 w 1805054"/>
                    <a:gd name="connsiteY333" fmla="*/ 1214035 h 1303985"/>
                    <a:gd name="connsiteX334" fmla="*/ 902527 w 1805054"/>
                    <a:gd name="connsiteY334" fmla="*/ 1200754 h 1303985"/>
                    <a:gd name="connsiteX335" fmla="*/ 900716 w 1805054"/>
                    <a:gd name="connsiteY335" fmla="*/ 1197735 h 1303985"/>
                    <a:gd name="connsiteX336" fmla="*/ 902527 w 1805054"/>
                    <a:gd name="connsiteY336" fmla="*/ 1192302 h 1303985"/>
                    <a:gd name="connsiteX337" fmla="*/ 898905 w 1805054"/>
                    <a:gd name="connsiteY337" fmla="*/ 1190491 h 1303985"/>
                    <a:gd name="connsiteX338" fmla="*/ 892264 w 1805054"/>
                    <a:gd name="connsiteY338" fmla="*/ 1189887 h 1303985"/>
                    <a:gd name="connsiteX339" fmla="*/ 893472 w 1805054"/>
                    <a:gd name="connsiteY339" fmla="*/ 1194113 h 1303985"/>
                    <a:gd name="connsiteX340" fmla="*/ 889850 w 1805054"/>
                    <a:gd name="connsiteY340" fmla="*/ 1197735 h 1303985"/>
                    <a:gd name="connsiteX341" fmla="*/ 885020 w 1805054"/>
                    <a:gd name="connsiteY341" fmla="*/ 1195320 h 1303985"/>
                    <a:gd name="connsiteX342" fmla="*/ 881398 w 1805054"/>
                    <a:gd name="connsiteY342" fmla="*/ 1198339 h 1303985"/>
                    <a:gd name="connsiteX343" fmla="*/ 871135 w 1805054"/>
                    <a:gd name="connsiteY343" fmla="*/ 1194717 h 1303985"/>
                    <a:gd name="connsiteX344" fmla="*/ 871135 w 1805054"/>
                    <a:gd name="connsiteY344" fmla="*/ 1199546 h 1303985"/>
                    <a:gd name="connsiteX345" fmla="*/ 864494 w 1805054"/>
                    <a:gd name="connsiteY345" fmla="*/ 1200754 h 1303985"/>
                    <a:gd name="connsiteX346" fmla="*/ 859665 w 1805054"/>
                    <a:gd name="connsiteY346" fmla="*/ 1203168 h 1303985"/>
                    <a:gd name="connsiteX347" fmla="*/ 853024 w 1805054"/>
                    <a:gd name="connsiteY347" fmla="*/ 1201961 h 1303985"/>
                    <a:gd name="connsiteX348" fmla="*/ 851213 w 1805054"/>
                    <a:gd name="connsiteY348" fmla="*/ 1203168 h 1303985"/>
                    <a:gd name="connsiteX349" fmla="*/ 850609 w 1805054"/>
                    <a:gd name="connsiteY349" fmla="*/ 1208602 h 1303985"/>
                    <a:gd name="connsiteX350" fmla="*/ 851817 w 1805054"/>
                    <a:gd name="connsiteY350" fmla="*/ 1212224 h 1303985"/>
                    <a:gd name="connsiteX351" fmla="*/ 850609 w 1805054"/>
                    <a:gd name="connsiteY351" fmla="*/ 1215242 h 1303985"/>
                    <a:gd name="connsiteX352" fmla="*/ 828876 w 1805054"/>
                    <a:gd name="connsiteY352" fmla="*/ 1228524 h 1303985"/>
                    <a:gd name="connsiteX353" fmla="*/ 824650 w 1805054"/>
                    <a:gd name="connsiteY353" fmla="*/ 1229731 h 1303985"/>
                    <a:gd name="connsiteX354" fmla="*/ 819217 w 1805054"/>
                    <a:gd name="connsiteY354" fmla="*/ 1232750 h 1303985"/>
                    <a:gd name="connsiteX355" fmla="*/ 815595 w 1805054"/>
                    <a:gd name="connsiteY355" fmla="*/ 1233957 h 1303985"/>
                    <a:gd name="connsiteX356" fmla="*/ 811369 w 1805054"/>
                    <a:gd name="connsiteY356" fmla="*/ 1236976 h 1303985"/>
                    <a:gd name="connsiteX357" fmla="*/ 803521 w 1805054"/>
                    <a:gd name="connsiteY357" fmla="*/ 1237579 h 1303985"/>
                    <a:gd name="connsiteX358" fmla="*/ 802917 w 1805054"/>
                    <a:gd name="connsiteY358" fmla="*/ 1239994 h 1303985"/>
                    <a:gd name="connsiteX359" fmla="*/ 794466 w 1805054"/>
                    <a:gd name="connsiteY359" fmla="*/ 1241805 h 1303985"/>
                    <a:gd name="connsiteX360" fmla="*/ 787221 w 1805054"/>
                    <a:gd name="connsiteY360" fmla="*/ 1239994 h 1303985"/>
                    <a:gd name="connsiteX361" fmla="*/ 778166 w 1805054"/>
                    <a:gd name="connsiteY361" fmla="*/ 1235165 h 1303985"/>
                    <a:gd name="connsiteX362" fmla="*/ 773940 w 1805054"/>
                    <a:gd name="connsiteY362" fmla="*/ 1234561 h 1303985"/>
                    <a:gd name="connsiteX363" fmla="*/ 772732 w 1805054"/>
                    <a:gd name="connsiteY363" fmla="*/ 1239390 h 1303985"/>
                    <a:gd name="connsiteX364" fmla="*/ 763073 w 1805054"/>
                    <a:gd name="connsiteY364" fmla="*/ 1240598 h 1303985"/>
                    <a:gd name="connsiteX365" fmla="*/ 761262 w 1805054"/>
                    <a:gd name="connsiteY365" fmla="*/ 1244824 h 1303985"/>
                    <a:gd name="connsiteX366" fmla="*/ 754622 w 1805054"/>
                    <a:gd name="connsiteY366" fmla="*/ 1246635 h 1303985"/>
                    <a:gd name="connsiteX367" fmla="*/ 754622 w 1805054"/>
                    <a:gd name="connsiteY367" fmla="*/ 1242409 h 1303985"/>
                    <a:gd name="connsiteX368" fmla="*/ 747377 w 1805054"/>
                    <a:gd name="connsiteY368" fmla="*/ 1243013 h 1303985"/>
                    <a:gd name="connsiteX369" fmla="*/ 745566 w 1805054"/>
                    <a:gd name="connsiteY369" fmla="*/ 1239994 h 1303985"/>
                    <a:gd name="connsiteX370" fmla="*/ 742548 w 1805054"/>
                    <a:gd name="connsiteY370" fmla="*/ 1238787 h 1303985"/>
                    <a:gd name="connsiteX371" fmla="*/ 732888 w 1805054"/>
                    <a:gd name="connsiteY371" fmla="*/ 1239994 h 1303985"/>
                    <a:gd name="connsiteX372" fmla="*/ 733492 w 1805054"/>
                    <a:gd name="connsiteY372" fmla="*/ 1244824 h 1303985"/>
                    <a:gd name="connsiteX373" fmla="*/ 725040 w 1805054"/>
                    <a:gd name="connsiteY373" fmla="*/ 1243013 h 1303985"/>
                    <a:gd name="connsiteX374" fmla="*/ 722626 w 1805054"/>
                    <a:gd name="connsiteY374" fmla="*/ 1241202 h 1303985"/>
                    <a:gd name="connsiteX375" fmla="*/ 709948 w 1805054"/>
                    <a:gd name="connsiteY375" fmla="*/ 1242409 h 1303985"/>
                    <a:gd name="connsiteX376" fmla="*/ 708741 w 1805054"/>
                    <a:gd name="connsiteY376" fmla="*/ 1233957 h 1303985"/>
                    <a:gd name="connsiteX377" fmla="*/ 706326 w 1805054"/>
                    <a:gd name="connsiteY377" fmla="*/ 1229128 h 1303985"/>
                    <a:gd name="connsiteX378" fmla="*/ 706326 w 1805054"/>
                    <a:gd name="connsiteY378" fmla="*/ 1224902 h 1303985"/>
                    <a:gd name="connsiteX379" fmla="*/ 699685 w 1805054"/>
                    <a:gd name="connsiteY379" fmla="*/ 1221279 h 1303985"/>
                    <a:gd name="connsiteX380" fmla="*/ 699685 w 1805054"/>
                    <a:gd name="connsiteY380" fmla="*/ 1217657 h 1303985"/>
                    <a:gd name="connsiteX381" fmla="*/ 696063 w 1805054"/>
                    <a:gd name="connsiteY381" fmla="*/ 1211620 h 1303985"/>
                    <a:gd name="connsiteX382" fmla="*/ 696667 w 1805054"/>
                    <a:gd name="connsiteY382" fmla="*/ 1205583 h 1303985"/>
                    <a:gd name="connsiteX383" fmla="*/ 700289 w 1805054"/>
                    <a:gd name="connsiteY383" fmla="*/ 1204980 h 1303985"/>
                    <a:gd name="connsiteX384" fmla="*/ 703911 w 1805054"/>
                    <a:gd name="connsiteY384" fmla="*/ 1202565 h 1303985"/>
                    <a:gd name="connsiteX385" fmla="*/ 713570 w 1805054"/>
                    <a:gd name="connsiteY385" fmla="*/ 1203168 h 1303985"/>
                    <a:gd name="connsiteX386" fmla="*/ 718400 w 1805054"/>
                    <a:gd name="connsiteY386" fmla="*/ 1206187 h 1303985"/>
                    <a:gd name="connsiteX387" fmla="*/ 726248 w 1805054"/>
                    <a:gd name="connsiteY387" fmla="*/ 1208602 h 1303985"/>
                    <a:gd name="connsiteX388" fmla="*/ 731077 w 1805054"/>
                    <a:gd name="connsiteY388" fmla="*/ 1208602 h 1303985"/>
                    <a:gd name="connsiteX389" fmla="*/ 734700 w 1805054"/>
                    <a:gd name="connsiteY389" fmla="*/ 1205583 h 1303985"/>
                    <a:gd name="connsiteX390" fmla="*/ 731077 w 1805054"/>
                    <a:gd name="connsiteY390" fmla="*/ 1201357 h 1303985"/>
                    <a:gd name="connsiteX391" fmla="*/ 726851 w 1805054"/>
                    <a:gd name="connsiteY391" fmla="*/ 1201357 h 1303985"/>
                    <a:gd name="connsiteX392" fmla="*/ 727455 w 1805054"/>
                    <a:gd name="connsiteY392" fmla="*/ 1195924 h 1303985"/>
                    <a:gd name="connsiteX393" fmla="*/ 724437 w 1805054"/>
                    <a:gd name="connsiteY393" fmla="*/ 1177813 h 1303985"/>
                    <a:gd name="connsiteX394" fmla="*/ 720814 w 1805054"/>
                    <a:gd name="connsiteY394" fmla="*/ 1170569 h 1303985"/>
                    <a:gd name="connsiteX395" fmla="*/ 711759 w 1805054"/>
                    <a:gd name="connsiteY395" fmla="*/ 1159703 h 1303985"/>
                    <a:gd name="connsiteX396" fmla="*/ 707533 w 1805054"/>
                    <a:gd name="connsiteY396" fmla="*/ 1157891 h 1303985"/>
                    <a:gd name="connsiteX397" fmla="*/ 706326 w 1805054"/>
                    <a:gd name="connsiteY397" fmla="*/ 1154873 h 1303985"/>
                    <a:gd name="connsiteX398" fmla="*/ 702100 w 1805054"/>
                    <a:gd name="connsiteY398" fmla="*/ 1156684 h 1303985"/>
                    <a:gd name="connsiteX399" fmla="*/ 691837 w 1805054"/>
                    <a:gd name="connsiteY399" fmla="*/ 1158495 h 1303985"/>
                    <a:gd name="connsiteX400" fmla="*/ 679159 w 1805054"/>
                    <a:gd name="connsiteY400" fmla="*/ 1157288 h 1303985"/>
                    <a:gd name="connsiteX401" fmla="*/ 675537 w 1805054"/>
                    <a:gd name="connsiteY401" fmla="*/ 1157891 h 1303985"/>
                    <a:gd name="connsiteX402" fmla="*/ 666482 w 1805054"/>
                    <a:gd name="connsiteY402" fmla="*/ 1157288 h 1303985"/>
                    <a:gd name="connsiteX403" fmla="*/ 668293 w 1805054"/>
                    <a:gd name="connsiteY403" fmla="*/ 1162721 h 1303985"/>
                    <a:gd name="connsiteX404" fmla="*/ 664671 w 1805054"/>
                    <a:gd name="connsiteY404" fmla="*/ 1164532 h 1303985"/>
                    <a:gd name="connsiteX405" fmla="*/ 662256 w 1805054"/>
                    <a:gd name="connsiteY405" fmla="*/ 1167551 h 1303985"/>
                    <a:gd name="connsiteX406" fmla="*/ 655615 w 1805054"/>
                    <a:gd name="connsiteY406" fmla="*/ 1166947 h 1303985"/>
                    <a:gd name="connsiteX407" fmla="*/ 655011 w 1805054"/>
                    <a:gd name="connsiteY407" fmla="*/ 1170569 h 1303985"/>
                    <a:gd name="connsiteX408" fmla="*/ 651993 w 1805054"/>
                    <a:gd name="connsiteY408" fmla="*/ 1172380 h 1303985"/>
                    <a:gd name="connsiteX409" fmla="*/ 647164 w 1805054"/>
                    <a:gd name="connsiteY409" fmla="*/ 1169965 h 1303985"/>
                    <a:gd name="connsiteX410" fmla="*/ 648371 w 1805054"/>
                    <a:gd name="connsiteY410" fmla="*/ 1165740 h 1303985"/>
                    <a:gd name="connsiteX411" fmla="*/ 639919 w 1805054"/>
                    <a:gd name="connsiteY411" fmla="*/ 1167551 h 1303985"/>
                    <a:gd name="connsiteX412" fmla="*/ 634486 w 1805054"/>
                    <a:gd name="connsiteY412" fmla="*/ 1165136 h 1303985"/>
                    <a:gd name="connsiteX413" fmla="*/ 628449 w 1805054"/>
                    <a:gd name="connsiteY413" fmla="*/ 1166343 h 1303985"/>
                    <a:gd name="connsiteX414" fmla="*/ 623619 w 1805054"/>
                    <a:gd name="connsiteY414" fmla="*/ 1165740 h 1303985"/>
                    <a:gd name="connsiteX415" fmla="*/ 621808 w 1805054"/>
                    <a:gd name="connsiteY415" fmla="*/ 1168758 h 1303985"/>
                    <a:gd name="connsiteX416" fmla="*/ 608527 w 1805054"/>
                    <a:gd name="connsiteY416" fmla="*/ 1174795 h 1303985"/>
                    <a:gd name="connsiteX417" fmla="*/ 586794 w 1805054"/>
                    <a:gd name="connsiteY417" fmla="*/ 1192906 h 1303985"/>
                    <a:gd name="connsiteX418" fmla="*/ 578946 w 1805054"/>
                    <a:gd name="connsiteY418" fmla="*/ 1189887 h 1303985"/>
                    <a:gd name="connsiteX419" fmla="*/ 574720 w 1805054"/>
                    <a:gd name="connsiteY419" fmla="*/ 1194717 h 1303985"/>
                    <a:gd name="connsiteX420" fmla="*/ 566872 w 1805054"/>
                    <a:gd name="connsiteY420" fmla="*/ 1193509 h 1303985"/>
                    <a:gd name="connsiteX421" fmla="*/ 563853 w 1805054"/>
                    <a:gd name="connsiteY421" fmla="*/ 1201357 h 1303985"/>
                    <a:gd name="connsiteX422" fmla="*/ 565061 w 1805054"/>
                    <a:gd name="connsiteY422" fmla="*/ 1207394 h 1303985"/>
                    <a:gd name="connsiteX423" fmla="*/ 560231 w 1805054"/>
                    <a:gd name="connsiteY423" fmla="*/ 1210413 h 1303985"/>
                    <a:gd name="connsiteX424" fmla="*/ 566268 w 1805054"/>
                    <a:gd name="connsiteY424" fmla="*/ 1217657 h 1303985"/>
                    <a:gd name="connsiteX425" fmla="*/ 565061 w 1805054"/>
                    <a:gd name="connsiteY425" fmla="*/ 1222487 h 1303985"/>
                    <a:gd name="connsiteX426" fmla="*/ 556609 w 1805054"/>
                    <a:gd name="connsiteY426" fmla="*/ 1227920 h 1303985"/>
                    <a:gd name="connsiteX427" fmla="*/ 554194 w 1805054"/>
                    <a:gd name="connsiteY427" fmla="*/ 1235165 h 1303985"/>
                    <a:gd name="connsiteX428" fmla="*/ 540913 w 1805054"/>
                    <a:gd name="connsiteY428" fmla="*/ 1244220 h 1303985"/>
                    <a:gd name="connsiteX429" fmla="*/ 532461 w 1805054"/>
                    <a:gd name="connsiteY429" fmla="*/ 1250861 h 1303985"/>
                    <a:gd name="connsiteX430" fmla="*/ 532461 w 1805054"/>
                    <a:gd name="connsiteY430" fmla="*/ 1252672 h 1303985"/>
                    <a:gd name="connsiteX431" fmla="*/ 539705 w 1805054"/>
                    <a:gd name="connsiteY431" fmla="*/ 1263538 h 1303985"/>
                    <a:gd name="connsiteX432" fmla="*/ 539102 w 1805054"/>
                    <a:gd name="connsiteY432" fmla="*/ 1270783 h 1303985"/>
                    <a:gd name="connsiteX433" fmla="*/ 535480 w 1805054"/>
                    <a:gd name="connsiteY433" fmla="*/ 1270783 h 1303985"/>
                    <a:gd name="connsiteX434" fmla="*/ 533668 w 1805054"/>
                    <a:gd name="connsiteY434" fmla="*/ 1275009 h 1303985"/>
                    <a:gd name="connsiteX435" fmla="*/ 533065 w 1805054"/>
                    <a:gd name="connsiteY435" fmla="*/ 1280442 h 1303985"/>
                    <a:gd name="connsiteX436" fmla="*/ 531857 w 1805054"/>
                    <a:gd name="connsiteY436" fmla="*/ 1283460 h 1303985"/>
                    <a:gd name="connsiteX437" fmla="*/ 518576 w 1805054"/>
                    <a:gd name="connsiteY437" fmla="*/ 1280442 h 1303985"/>
                    <a:gd name="connsiteX438" fmla="*/ 512539 w 1805054"/>
                    <a:gd name="connsiteY438" fmla="*/ 1284064 h 1303985"/>
                    <a:gd name="connsiteX439" fmla="*/ 504691 w 1805054"/>
                    <a:gd name="connsiteY439" fmla="*/ 1282253 h 1303985"/>
                    <a:gd name="connsiteX440" fmla="*/ 502880 w 1805054"/>
                    <a:gd name="connsiteY440" fmla="*/ 1284064 h 1303985"/>
                    <a:gd name="connsiteX441" fmla="*/ 501069 w 1805054"/>
                    <a:gd name="connsiteY441" fmla="*/ 1291912 h 1303985"/>
                    <a:gd name="connsiteX442" fmla="*/ 497446 w 1805054"/>
                    <a:gd name="connsiteY442" fmla="*/ 1294931 h 1303985"/>
                    <a:gd name="connsiteX443" fmla="*/ 496239 w 1805054"/>
                    <a:gd name="connsiteY443" fmla="*/ 1300364 h 1303985"/>
                    <a:gd name="connsiteX444" fmla="*/ 492617 w 1805054"/>
                    <a:gd name="connsiteY444" fmla="*/ 1302175 h 1303985"/>
                    <a:gd name="connsiteX445" fmla="*/ 487787 w 1805054"/>
                    <a:gd name="connsiteY445" fmla="*/ 1302175 h 1303985"/>
                    <a:gd name="connsiteX446" fmla="*/ 487787 w 1805054"/>
                    <a:gd name="connsiteY446" fmla="*/ 1305193 h 1303985"/>
                    <a:gd name="connsiteX447" fmla="*/ 480543 w 1805054"/>
                    <a:gd name="connsiteY447" fmla="*/ 1308815 h 1303985"/>
                    <a:gd name="connsiteX448" fmla="*/ 477525 w 1805054"/>
                    <a:gd name="connsiteY448" fmla="*/ 1308212 h 1303985"/>
                    <a:gd name="connsiteX449" fmla="*/ 461225 w 1805054"/>
                    <a:gd name="connsiteY449" fmla="*/ 1309419 h 1303985"/>
                    <a:gd name="connsiteX450" fmla="*/ 458810 w 1805054"/>
                    <a:gd name="connsiteY450" fmla="*/ 1305193 h 1303985"/>
                    <a:gd name="connsiteX451" fmla="*/ 441303 w 1805054"/>
                    <a:gd name="connsiteY451" fmla="*/ 1305797 h 1303985"/>
                    <a:gd name="connsiteX452" fmla="*/ 437680 w 1805054"/>
                    <a:gd name="connsiteY452" fmla="*/ 1302779 h 1303985"/>
                    <a:gd name="connsiteX453" fmla="*/ 431040 w 1805054"/>
                    <a:gd name="connsiteY453" fmla="*/ 1297949 h 1303985"/>
                    <a:gd name="connsiteX454" fmla="*/ 432247 w 1805054"/>
                    <a:gd name="connsiteY454" fmla="*/ 1294931 h 1303985"/>
                    <a:gd name="connsiteX455" fmla="*/ 426814 w 1805054"/>
                    <a:gd name="connsiteY455" fmla="*/ 1289497 h 1303985"/>
                    <a:gd name="connsiteX456" fmla="*/ 429229 w 1805054"/>
                    <a:gd name="connsiteY456" fmla="*/ 1286479 h 1303985"/>
                    <a:gd name="connsiteX457" fmla="*/ 437680 w 1805054"/>
                    <a:gd name="connsiteY457" fmla="*/ 1288290 h 1303985"/>
                    <a:gd name="connsiteX458" fmla="*/ 437077 w 1805054"/>
                    <a:gd name="connsiteY458" fmla="*/ 1276216 h 1303985"/>
                    <a:gd name="connsiteX459" fmla="*/ 432851 w 1805054"/>
                    <a:gd name="connsiteY459" fmla="*/ 1274405 h 1303985"/>
                    <a:gd name="connsiteX460" fmla="*/ 435869 w 1805054"/>
                    <a:gd name="connsiteY460" fmla="*/ 1268368 h 1303985"/>
                    <a:gd name="connsiteX461" fmla="*/ 432851 w 1805054"/>
                    <a:gd name="connsiteY461" fmla="*/ 1262331 h 1303985"/>
                    <a:gd name="connsiteX462" fmla="*/ 429832 w 1805054"/>
                    <a:gd name="connsiteY462" fmla="*/ 1259916 h 1303985"/>
                    <a:gd name="connsiteX463" fmla="*/ 425003 w 1805054"/>
                    <a:gd name="connsiteY463" fmla="*/ 1246031 h 1303985"/>
                    <a:gd name="connsiteX464" fmla="*/ 423192 w 1805054"/>
                    <a:gd name="connsiteY464" fmla="*/ 1243013 h 1303985"/>
                    <a:gd name="connsiteX465" fmla="*/ 414136 w 1805054"/>
                    <a:gd name="connsiteY465" fmla="*/ 1247842 h 1303985"/>
                    <a:gd name="connsiteX466" fmla="*/ 410514 w 1805054"/>
                    <a:gd name="connsiteY466" fmla="*/ 1244824 h 1303985"/>
                    <a:gd name="connsiteX467" fmla="*/ 400251 w 1805054"/>
                    <a:gd name="connsiteY467" fmla="*/ 1242409 h 1303985"/>
                    <a:gd name="connsiteX468" fmla="*/ 396629 w 1805054"/>
                    <a:gd name="connsiteY468" fmla="*/ 1238787 h 1303985"/>
                    <a:gd name="connsiteX469" fmla="*/ 385762 w 1805054"/>
                    <a:gd name="connsiteY469" fmla="*/ 1239390 h 1303985"/>
                    <a:gd name="connsiteX470" fmla="*/ 380329 w 1805054"/>
                    <a:gd name="connsiteY470" fmla="*/ 1237579 h 1303985"/>
                    <a:gd name="connsiteX471" fmla="*/ 374896 w 1805054"/>
                    <a:gd name="connsiteY471" fmla="*/ 1239994 h 1303985"/>
                    <a:gd name="connsiteX472" fmla="*/ 368859 w 1805054"/>
                    <a:gd name="connsiteY472" fmla="*/ 1241202 h 1303985"/>
                    <a:gd name="connsiteX473" fmla="*/ 362218 w 1805054"/>
                    <a:gd name="connsiteY473" fmla="*/ 1239390 h 1303985"/>
                    <a:gd name="connsiteX474" fmla="*/ 353163 w 1805054"/>
                    <a:gd name="connsiteY474" fmla="*/ 1240598 h 1303985"/>
                    <a:gd name="connsiteX475" fmla="*/ 350144 w 1805054"/>
                    <a:gd name="connsiteY475" fmla="*/ 1238787 h 1303985"/>
                    <a:gd name="connsiteX476" fmla="*/ 342900 w 1805054"/>
                    <a:gd name="connsiteY476" fmla="*/ 1239390 h 1303985"/>
                    <a:gd name="connsiteX477" fmla="*/ 335656 w 1805054"/>
                    <a:gd name="connsiteY477" fmla="*/ 1241805 h 1303985"/>
                    <a:gd name="connsiteX478" fmla="*/ 326600 w 1805054"/>
                    <a:gd name="connsiteY478" fmla="*/ 1241202 h 1303985"/>
                    <a:gd name="connsiteX479" fmla="*/ 324789 w 1805054"/>
                    <a:gd name="connsiteY479" fmla="*/ 1238787 h 1303985"/>
                    <a:gd name="connsiteX480" fmla="*/ 318752 w 1805054"/>
                    <a:gd name="connsiteY480" fmla="*/ 1239390 h 1303985"/>
                    <a:gd name="connsiteX481" fmla="*/ 316941 w 1805054"/>
                    <a:gd name="connsiteY481" fmla="*/ 1241805 h 1303985"/>
                    <a:gd name="connsiteX482" fmla="*/ 309697 w 1805054"/>
                    <a:gd name="connsiteY482" fmla="*/ 1243616 h 1303985"/>
                    <a:gd name="connsiteX483" fmla="*/ 304867 w 1805054"/>
                    <a:gd name="connsiteY483" fmla="*/ 1239994 h 1303985"/>
                    <a:gd name="connsiteX484" fmla="*/ 293397 w 1805054"/>
                    <a:gd name="connsiteY484" fmla="*/ 1238787 h 1303985"/>
                    <a:gd name="connsiteX485" fmla="*/ 276493 w 1805054"/>
                    <a:gd name="connsiteY485" fmla="*/ 1240598 h 1303985"/>
                    <a:gd name="connsiteX486" fmla="*/ 271664 w 1805054"/>
                    <a:gd name="connsiteY486" fmla="*/ 1236372 h 1303985"/>
                    <a:gd name="connsiteX487" fmla="*/ 269853 w 1805054"/>
                    <a:gd name="connsiteY487" fmla="*/ 1238787 h 1303985"/>
                    <a:gd name="connsiteX488" fmla="*/ 259590 w 1805054"/>
                    <a:gd name="connsiteY488" fmla="*/ 1238183 h 1303985"/>
                    <a:gd name="connsiteX489" fmla="*/ 258986 w 1805054"/>
                    <a:gd name="connsiteY489" fmla="*/ 1233957 h 1303985"/>
                    <a:gd name="connsiteX490" fmla="*/ 249327 w 1805054"/>
                    <a:gd name="connsiteY490" fmla="*/ 1235768 h 1303985"/>
                    <a:gd name="connsiteX491" fmla="*/ 245101 w 1805054"/>
                    <a:gd name="connsiteY491" fmla="*/ 1233353 h 1303985"/>
                    <a:gd name="connsiteX492" fmla="*/ 242083 w 1805054"/>
                    <a:gd name="connsiteY492" fmla="*/ 1235165 h 1303985"/>
                    <a:gd name="connsiteX493" fmla="*/ 235442 w 1805054"/>
                    <a:gd name="connsiteY493" fmla="*/ 1231542 h 1303985"/>
                    <a:gd name="connsiteX494" fmla="*/ 223972 w 1805054"/>
                    <a:gd name="connsiteY494" fmla="*/ 1226109 h 1303985"/>
                    <a:gd name="connsiteX495" fmla="*/ 219142 w 1805054"/>
                    <a:gd name="connsiteY495" fmla="*/ 1221883 h 1303985"/>
                    <a:gd name="connsiteX496" fmla="*/ 215520 w 1805054"/>
                    <a:gd name="connsiteY496" fmla="*/ 1212224 h 1303985"/>
                    <a:gd name="connsiteX497" fmla="*/ 208879 w 1805054"/>
                    <a:gd name="connsiteY497" fmla="*/ 1200754 h 1303985"/>
                    <a:gd name="connsiteX498" fmla="*/ 200427 w 1805054"/>
                    <a:gd name="connsiteY498" fmla="*/ 1198943 h 1303985"/>
                    <a:gd name="connsiteX499" fmla="*/ 199824 w 1805054"/>
                    <a:gd name="connsiteY499" fmla="*/ 1197132 h 1303985"/>
                    <a:gd name="connsiteX500" fmla="*/ 193183 w 1805054"/>
                    <a:gd name="connsiteY500" fmla="*/ 1194113 h 1303985"/>
                    <a:gd name="connsiteX501" fmla="*/ 181713 w 1805054"/>
                    <a:gd name="connsiteY501" fmla="*/ 1190491 h 1303985"/>
                    <a:gd name="connsiteX502" fmla="*/ 176883 w 1805054"/>
                    <a:gd name="connsiteY502" fmla="*/ 1186265 h 1303985"/>
                    <a:gd name="connsiteX503" fmla="*/ 169639 w 1805054"/>
                    <a:gd name="connsiteY503" fmla="*/ 1186265 h 1303985"/>
                    <a:gd name="connsiteX504" fmla="*/ 161187 w 1805054"/>
                    <a:gd name="connsiteY504" fmla="*/ 1190491 h 1303985"/>
                    <a:gd name="connsiteX505" fmla="*/ 155754 w 1805054"/>
                    <a:gd name="connsiteY505" fmla="*/ 1191095 h 1303985"/>
                    <a:gd name="connsiteX506" fmla="*/ 140058 w 1805054"/>
                    <a:gd name="connsiteY506" fmla="*/ 1187472 h 1303985"/>
                    <a:gd name="connsiteX507" fmla="*/ 134021 w 1805054"/>
                    <a:gd name="connsiteY507" fmla="*/ 1185661 h 1303985"/>
                    <a:gd name="connsiteX508" fmla="*/ 126173 w 1805054"/>
                    <a:gd name="connsiteY508" fmla="*/ 1180832 h 1303985"/>
                    <a:gd name="connsiteX509" fmla="*/ 112288 w 1805054"/>
                    <a:gd name="connsiteY509" fmla="*/ 1178417 h 1303985"/>
                    <a:gd name="connsiteX510" fmla="*/ 111080 w 1805054"/>
                    <a:gd name="connsiteY510" fmla="*/ 1174191 h 1303985"/>
                    <a:gd name="connsiteX511" fmla="*/ 106251 w 1805054"/>
                    <a:gd name="connsiteY511" fmla="*/ 1173588 h 1303985"/>
                    <a:gd name="connsiteX512" fmla="*/ 104440 w 1805054"/>
                    <a:gd name="connsiteY512" fmla="*/ 1166343 h 1303985"/>
                    <a:gd name="connsiteX513" fmla="*/ 99006 w 1805054"/>
                    <a:gd name="connsiteY513" fmla="*/ 1166947 h 1303985"/>
                    <a:gd name="connsiteX514" fmla="*/ 95988 w 1805054"/>
                    <a:gd name="connsiteY514" fmla="*/ 1164532 h 1303985"/>
                    <a:gd name="connsiteX515" fmla="*/ 97195 w 1805054"/>
                    <a:gd name="connsiteY515" fmla="*/ 1156080 h 1303985"/>
                    <a:gd name="connsiteX516" fmla="*/ 95988 w 1805054"/>
                    <a:gd name="connsiteY516" fmla="*/ 1154269 h 1303985"/>
                    <a:gd name="connsiteX517" fmla="*/ 94780 w 1805054"/>
                    <a:gd name="connsiteY517" fmla="*/ 1147025 h 1303985"/>
                    <a:gd name="connsiteX518" fmla="*/ 96592 w 1805054"/>
                    <a:gd name="connsiteY518" fmla="*/ 1144006 h 1303985"/>
                    <a:gd name="connsiteX519" fmla="*/ 97799 w 1805054"/>
                    <a:gd name="connsiteY519" fmla="*/ 1129518 h 1303985"/>
                    <a:gd name="connsiteX520" fmla="*/ 99610 w 1805054"/>
                    <a:gd name="connsiteY520" fmla="*/ 1124688 h 1303985"/>
                    <a:gd name="connsiteX521" fmla="*/ 97195 w 1805054"/>
                    <a:gd name="connsiteY521" fmla="*/ 1118651 h 1303985"/>
                    <a:gd name="connsiteX522" fmla="*/ 92366 w 1805054"/>
                    <a:gd name="connsiteY522" fmla="*/ 1114425 h 1303985"/>
                    <a:gd name="connsiteX523" fmla="*/ 88140 w 1805054"/>
                    <a:gd name="connsiteY523" fmla="*/ 1112010 h 1303985"/>
                    <a:gd name="connsiteX524" fmla="*/ 83914 w 1805054"/>
                    <a:gd name="connsiteY524" fmla="*/ 1111407 h 1303985"/>
                    <a:gd name="connsiteX525" fmla="*/ 82103 w 1805054"/>
                    <a:gd name="connsiteY525" fmla="*/ 1107784 h 1303985"/>
                    <a:gd name="connsiteX526" fmla="*/ 82707 w 1805054"/>
                    <a:gd name="connsiteY526" fmla="*/ 1100540 h 1303985"/>
                    <a:gd name="connsiteX527" fmla="*/ 80895 w 1805054"/>
                    <a:gd name="connsiteY527" fmla="*/ 1097521 h 1303985"/>
                    <a:gd name="connsiteX528" fmla="*/ 70633 w 1805054"/>
                    <a:gd name="connsiteY528" fmla="*/ 1099936 h 1303985"/>
                    <a:gd name="connsiteX529" fmla="*/ 68821 w 1805054"/>
                    <a:gd name="connsiteY529" fmla="*/ 1103558 h 1303985"/>
                    <a:gd name="connsiteX530" fmla="*/ 62181 w 1805054"/>
                    <a:gd name="connsiteY530" fmla="*/ 1109595 h 1303985"/>
                    <a:gd name="connsiteX531" fmla="*/ 53125 w 1805054"/>
                    <a:gd name="connsiteY531" fmla="*/ 1111407 h 1303985"/>
                    <a:gd name="connsiteX532" fmla="*/ 51314 w 1805054"/>
                    <a:gd name="connsiteY532" fmla="*/ 1118047 h 1303985"/>
                    <a:gd name="connsiteX533" fmla="*/ 31996 w 1805054"/>
                    <a:gd name="connsiteY533" fmla="*/ 1120462 h 1303985"/>
                    <a:gd name="connsiteX534" fmla="*/ 25959 w 1805054"/>
                    <a:gd name="connsiteY534" fmla="*/ 1116236 h 1303985"/>
                    <a:gd name="connsiteX535" fmla="*/ 21129 w 1805054"/>
                    <a:gd name="connsiteY535" fmla="*/ 1114425 h 1303985"/>
                    <a:gd name="connsiteX536" fmla="*/ 20526 w 1805054"/>
                    <a:gd name="connsiteY536" fmla="*/ 1110803 h 1303985"/>
                    <a:gd name="connsiteX537" fmla="*/ 22337 w 1805054"/>
                    <a:gd name="connsiteY537" fmla="*/ 1107181 h 1303985"/>
                    <a:gd name="connsiteX538" fmla="*/ 11470 w 1805054"/>
                    <a:gd name="connsiteY538" fmla="*/ 1103558 h 1303985"/>
                    <a:gd name="connsiteX539" fmla="*/ 11470 w 1805054"/>
                    <a:gd name="connsiteY539" fmla="*/ 1099936 h 1303985"/>
                    <a:gd name="connsiteX540" fmla="*/ 16904 w 1805054"/>
                    <a:gd name="connsiteY540" fmla="*/ 1096314 h 1303985"/>
                    <a:gd name="connsiteX541" fmla="*/ 19318 w 1805054"/>
                    <a:gd name="connsiteY541" fmla="*/ 1092088 h 1303985"/>
                    <a:gd name="connsiteX542" fmla="*/ 24148 w 1805054"/>
                    <a:gd name="connsiteY542" fmla="*/ 1090881 h 1303985"/>
                    <a:gd name="connsiteX543" fmla="*/ 25959 w 1805054"/>
                    <a:gd name="connsiteY543" fmla="*/ 1081825 h 1303985"/>
                    <a:gd name="connsiteX544" fmla="*/ 22941 w 1805054"/>
                    <a:gd name="connsiteY544" fmla="*/ 1080618 h 1303985"/>
                    <a:gd name="connsiteX545" fmla="*/ 18111 w 1805054"/>
                    <a:gd name="connsiteY545" fmla="*/ 1083033 h 1303985"/>
                    <a:gd name="connsiteX546" fmla="*/ 16904 w 1805054"/>
                    <a:gd name="connsiteY546" fmla="*/ 1074581 h 1303985"/>
                    <a:gd name="connsiteX547" fmla="*/ 18715 w 1805054"/>
                    <a:gd name="connsiteY547" fmla="*/ 1067941 h 1303985"/>
                    <a:gd name="connsiteX548" fmla="*/ 16904 w 1805054"/>
                    <a:gd name="connsiteY548" fmla="*/ 1067337 h 1303985"/>
                    <a:gd name="connsiteX549" fmla="*/ 16300 w 1805054"/>
                    <a:gd name="connsiteY549" fmla="*/ 1057074 h 1303985"/>
                    <a:gd name="connsiteX550" fmla="*/ 14489 w 1805054"/>
                    <a:gd name="connsiteY550" fmla="*/ 1055263 h 1303985"/>
                    <a:gd name="connsiteX551" fmla="*/ 6641 w 1805054"/>
                    <a:gd name="connsiteY551" fmla="*/ 1054659 h 1303985"/>
                    <a:gd name="connsiteX552" fmla="*/ 7244 w 1805054"/>
                    <a:gd name="connsiteY552" fmla="*/ 1044396 h 1303985"/>
                    <a:gd name="connsiteX553" fmla="*/ 3018 w 1805054"/>
                    <a:gd name="connsiteY553" fmla="*/ 1040774 h 1303985"/>
                    <a:gd name="connsiteX554" fmla="*/ 4830 w 1805054"/>
                    <a:gd name="connsiteY554" fmla="*/ 1030511 h 1303985"/>
                    <a:gd name="connsiteX555" fmla="*/ 6641 w 1805054"/>
                    <a:gd name="connsiteY555" fmla="*/ 1028096 h 1303985"/>
                    <a:gd name="connsiteX556" fmla="*/ 5433 w 1805054"/>
                    <a:gd name="connsiteY556" fmla="*/ 1023871 h 1303985"/>
                    <a:gd name="connsiteX557" fmla="*/ 10263 w 1805054"/>
                    <a:gd name="connsiteY557" fmla="*/ 1023267 h 1303985"/>
                    <a:gd name="connsiteX558" fmla="*/ 13885 w 1805054"/>
                    <a:gd name="connsiteY558" fmla="*/ 1021456 h 1303985"/>
                    <a:gd name="connsiteX559" fmla="*/ 17507 w 1805054"/>
                    <a:gd name="connsiteY559" fmla="*/ 1025682 h 1303985"/>
                    <a:gd name="connsiteX560" fmla="*/ 18715 w 1805054"/>
                    <a:gd name="connsiteY560" fmla="*/ 1029908 h 1303985"/>
                    <a:gd name="connsiteX561" fmla="*/ 30185 w 1805054"/>
                    <a:gd name="connsiteY561" fmla="*/ 1032322 h 1303985"/>
                    <a:gd name="connsiteX562" fmla="*/ 31996 w 1805054"/>
                    <a:gd name="connsiteY562" fmla="*/ 1028096 h 1303985"/>
                    <a:gd name="connsiteX563" fmla="*/ 37429 w 1805054"/>
                    <a:gd name="connsiteY563" fmla="*/ 1024474 h 1303985"/>
                    <a:gd name="connsiteX564" fmla="*/ 40448 w 1805054"/>
                    <a:gd name="connsiteY564" fmla="*/ 1020248 h 1303985"/>
                    <a:gd name="connsiteX565" fmla="*/ 47088 w 1805054"/>
                    <a:gd name="connsiteY565" fmla="*/ 1016626 h 1303985"/>
                    <a:gd name="connsiteX566" fmla="*/ 45277 w 1805054"/>
                    <a:gd name="connsiteY566" fmla="*/ 1009382 h 1303985"/>
                    <a:gd name="connsiteX567" fmla="*/ 39844 w 1805054"/>
                    <a:gd name="connsiteY567" fmla="*/ 1006363 h 1303985"/>
                    <a:gd name="connsiteX568" fmla="*/ 33203 w 1805054"/>
                    <a:gd name="connsiteY568" fmla="*/ 1006967 h 1303985"/>
                    <a:gd name="connsiteX569" fmla="*/ 33203 w 1805054"/>
                    <a:gd name="connsiteY569" fmla="*/ 1000326 h 1303985"/>
                    <a:gd name="connsiteX570" fmla="*/ 28374 w 1805054"/>
                    <a:gd name="connsiteY570" fmla="*/ 1000930 h 1303985"/>
                    <a:gd name="connsiteX571" fmla="*/ 29581 w 1805054"/>
                    <a:gd name="connsiteY571" fmla="*/ 1005156 h 1303985"/>
                    <a:gd name="connsiteX572" fmla="*/ 22941 w 1805054"/>
                    <a:gd name="connsiteY572" fmla="*/ 1006363 h 1303985"/>
                    <a:gd name="connsiteX573" fmla="*/ 19922 w 1805054"/>
                    <a:gd name="connsiteY573" fmla="*/ 1003345 h 1303985"/>
                    <a:gd name="connsiteX574" fmla="*/ 16300 w 1805054"/>
                    <a:gd name="connsiteY574" fmla="*/ 1010589 h 1303985"/>
                    <a:gd name="connsiteX575" fmla="*/ 12678 w 1805054"/>
                    <a:gd name="connsiteY575" fmla="*/ 1007571 h 1303985"/>
                    <a:gd name="connsiteX576" fmla="*/ 11470 w 1805054"/>
                    <a:gd name="connsiteY576" fmla="*/ 999723 h 1303985"/>
                    <a:gd name="connsiteX577" fmla="*/ 6641 w 1805054"/>
                    <a:gd name="connsiteY577" fmla="*/ 1000326 h 1303985"/>
                    <a:gd name="connsiteX578" fmla="*/ 8452 w 1805054"/>
                    <a:gd name="connsiteY578" fmla="*/ 990667 h 1303985"/>
                    <a:gd name="connsiteX579" fmla="*/ 0 w 1805054"/>
                    <a:gd name="connsiteY579" fmla="*/ 988856 h 1303985"/>
                    <a:gd name="connsiteX580" fmla="*/ 0 w 1805054"/>
                    <a:gd name="connsiteY580" fmla="*/ 983423 h 1303985"/>
                    <a:gd name="connsiteX581" fmla="*/ 4830 w 1805054"/>
                    <a:gd name="connsiteY581" fmla="*/ 981612 h 1303985"/>
                    <a:gd name="connsiteX582" fmla="*/ 8452 w 1805054"/>
                    <a:gd name="connsiteY582" fmla="*/ 981612 h 1303985"/>
                    <a:gd name="connsiteX583" fmla="*/ 16904 w 1805054"/>
                    <a:gd name="connsiteY583" fmla="*/ 987649 h 1303985"/>
                    <a:gd name="connsiteX584" fmla="*/ 22337 w 1805054"/>
                    <a:gd name="connsiteY584" fmla="*/ 988856 h 1303985"/>
                    <a:gd name="connsiteX585" fmla="*/ 23544 w 1805054"/>
                    <a:gd name="connsiteY585" fmla="*/ 985837 h 1303985"/>
                    <a:gd name="connsiteX586" fmla="*/ 30185 w 1805054"/>
                    <a:gd name="connsiteY586" fmla="*/ 981008 h 1303985"/>
                    <a:gd name="connsiteX587" fmla="*/ 31996 w 1805054"/>
                    <a:gd name="connsiteY587" fmla="*/ 977386 h 1303985"/>
                    <a:gd name="connsiteX588" fmla="*/ 35014 w 1805054"/>
                    <a:gd name="connsiteY588" fmla="*/ 977989 h 1303985"/>
                    <a:gd name="connsiteX589" fmla="*/ 37429 w 1805054"/>
                    <a:gd name="connsiteY589" fmla="*/ 973764 h 1303985"/>
                    <a:gd name="connsiteX590" fmla="*/ 39844 w 1805054"/>
                    <a:gd name="connsiteY590" fmla="*/ 967123 h 1303985"/>
                    <a:gd name="connsiteX591" fmla="*/ 44070 w 1805054"/>
                    <a:gd name="connsiteY591" fmla="*/ 965312 h 1303985"/>
                    <a:gd name="connsiteX592" fmla="*/ 43466 w 1805054"/>
                    <a:gd name="connsiteY592" fmla="*/ 962293 h 1303985"/>
                    <a:gd name="connsiteX593" fmla="*/ 48296 w 1805054"/>
                    <a:gd name="connsiteY593" fmla="*/ 959879 h 1303985"/>
                    <a:gd name="connsiteX594" fmla="*/ 51314 w 1805054"/>
                    <a:gd name="connsiteY594" fmla="*/ 961086 h 1303985"/>
                    <a:gd name="connsiteX595" fmla="*/ 58559 w 1805054"/>
                    <a:gd name="connsiteY595" fmla="*/ 960482 h 1303985"/>
                    <a:gd name="connsiteX596" fmla="*/ 65803 w 1805054"/>
                    <a:gd name="connsiteY596" fmla="*/ 962293 h 1303985"/>
                    <a:gd name="connsiteX597" fmla="*/ 70029 w 1805054"/>
                    <a:gd name="connsiteY597" fmla="*/ 960482 h 1303985"/>
                    <a:gd name="connsiteX598" fmla="*/ 70029 w 1805054"/>
                    <a:gd name="connsiteY598" fmla="*/ 955049 h 1303985"/>
                    <a:gd name="connsiteX599" fmla="*/ 72444 w 1805054"/>
                    <a:gd name="connsiteY599" fmla="*/ 949616 h 1303985"/>
                    <a:gd name="connsiteX600" fmla="*/ 73651 w 1805054"/>
                    <a:gd name="connsiteY600" fmla="*/ 941164 h 1303985"/>
                    <a:gd name="connsiteX601" fmla="*/ 81499 w 1805054"/>
                    <a:gd name="connsiteY601" fmla="*/ 929090 h 1303985"/>
                    <a:gd name="connsiteX602" fmla="*/ 81499 w 1805054"/>
                    <a:gd name="connsiteY602" fmla="*/ 923657 h 1303985"/>
                    <a:gd name="connsiteX603" fmla="*/ 86932 w 1805054"/>
                    <a:gd name="connsiteY603" fmla="*/ 922449 h 1303985"/>
                    <a:gd name="connsiteX604" fmla="*/ 89347 w 1805054"/>
                    <a:gd name="connsiteY604" fmla="*/ 912790 h 1303985"/>
                    <a:gd name="connsiteX605" fmla="*/ 86329 w 1805054"/>
                    <a:gd name="connsiteY605" fmla="*/ 900113 h 1303985"/>
                    <a:gd name="connsiteX606" fmla="*/ 83914 w 1805054"/>
                    <a:gd name="connsiteY606" fmla="*/ 898301 h 1303985"/>
                    <a:gd name="connsiteX607" fmla="*/ 77273 w 1805054"/>
                    <a:gd name="connsiteY607" fmla="*/ 899509 h 1303985"/>
                    <a:gd name="connsiteX608" fmla="*/ 73651 w 1805054"/>
                    <a:gd name="connsiteY608" fmla="*/ 903735 h 1303985"/>
                    <a:gd name="connsiteX609" fmla="*/ 69425 w 1805054"/>
                    <a:gd name="connsiteY609" fmla="*/ 901320 h 1303985"/>
                    <a:gd name="connsiteX610" fmla="*/ 60973 w 1805054"/>
                    <a:gd name="connsiteY610" fmla="*/ 888642 h 1303985"/>
                    <a:gd name="connsiteX611" fmla="*/ 67010 w 1805054"/>
                    <a:gd name="connsiteY611" fmla="*/ 885624 h 1303985"/>
                    <a:gd name="connsiteX612" fmla="*/ 63992 w 1805054"/>
                    <a:gd name="connsiteY612" fmla="*/ 880190 h 1303985"/>
                    <a:gd name="connsiteX613" fmla="*/ 62784 w 1805054"/>
                    <a:gd name="connsiteY613" fmla="*/ 874153 h 1303985"/>
                    <a:gd name="connsiteX614" fmla="*/ 58559 w 1805054"/>
                    <a:gd name="connsiteY614" fmla="*/ 871739 h 1303985"/>
                    <a:gd name="connsiteX615" fmla="*/ 57351 w 1805054"/>
                    <a:gd name="connsiteY615" fmla="*/ 866909 h 1303985"/>
                    <a:gd name="connsiteX616" fmla="*/ 62784 w 1805054"/>
                    <a:gd name="connsiteY616" fmla="*/ 865098 h 1303985"/>
                    <a:gd name="connsiteX617" fmla="*/ 65199 w 1805054"/>
                    <a:gd name="connsiteY617" fmla="*/ 860872 h 1303985"/>
                    <a:gd name="connsiteX618" fmla="*/ 71236 w 1805054"/>
                    <a:gd name="connsiteY618" fmla="*/ 856043 h 1303985"/>
                    <a:gd name="connsiteX619" fmla="*/ 80292 w 1805054"/>
                    <a:gd name="connsiteY619" fmla="*/ 857250 h 1303985"/>
                    <a:gd name="connsiteX620" fmla="*/ 82707 w 1805054"/>
                    <a:gd name="connsiteY620" fmla="*/ 860269 h 1303985"/>
                    <a:gd name="connsiteX621" fmla="*/ 86932 w 1805054"/>
                    <a:gd name="connsiteY621" fmla="*/ 862080 h 1303985"/>
                    <a:gd name="connsiteX622" fmla="*/ 96592 w 1805054"/>
                    <a:gd name="connsiteY622" fmla="*/ 860872 h 1303985"/>
                    <a:gd name="connsiteX623" fmla="*/ 101421 w 1805054"/>
                    <a:gd name="connsiteY623" fmla="*/ 858457 h 1303985"/>
                    <a:gd name="connsiteX624" fmla="*/ 103836 w 1805054"/>
                    <a:gd name="connsiteY624" fmla="*/ 854232 h 1303985"/>
                    <a:gd name="connsiteX625" fmla="*/ 103232 w 1805054"/>
                    <a:gd name="connsiteY625" fmla="*/ 851213 h 1303985"/>
                    <a:gd name="connsiteX626" fmla="*/ 115910 w 1805054"/>
                    <a:gd name="connsiteY626" fmla="*/ 848798 h 1303985"/>
                    <a:gd name="connsiteX627" fmla="*/ 119532 w 1805054"/>
                    <a:gd name="connsiteY627" fmla="*/ 844573 h 1303985"/>
                    <a:gd name="connsiteX628" fmla="*/ 125569 w 1805054"/>
                    <a:gd name="connsiteY628" fmla="*/ 840347 h 1303985"/>
                    <a:gd name="connsiteX629" fmla="*/ 128588 w 1805054"/>
                    <a:gd name="connsiteY629" fmla="*/ 836121 h 1303985"/>
                    <a:gd name="connsiteX630" fmla="*/ 138247 w 1805054"/>
                    <a:gd name="connsiteY630" fmla="*/ 837328 h 1303985"/>
                    <a:gd name="connsiteX631" fmla="*/ 144284 w 1805054"/>
                    <a:gd name="connsiteY631" fmla="*/ 833706 h 1303985"/>
                    <a:gd name="connsiteX632" fmla="*/ 145491 w 1805054"/>
                    <a:gd name="connsiteY632" fmla="*/ 829480 h 1303985"/>
                    <a:gd name="connsiteX633" fmla="*/ 138850 w 1805054"/>
                    <a:gd name="connsiteY633" fmla="*/ 831895 h 1303985"/>
                    <a:gd name="connsiteX634" fmla="*/ 134021 w 1805054"/>
                    <a:gd name="connsiteY634" fmla="*/ 829480 h 1303985"/>
                    <a:gd name="connsiteX635" fmla="*/ 139454 w 1805054"/>
                    <a:gd name="connsiteY635" fmla="*/ 826462 h 1303985"/>
                    <a:gd name="connsiteX636" fmla="*/ 135228 w 1805054"/>
                    <a:gd name="connsiteY636" fmla="*/ 819821 h 1303985"/>
                    <a:gd name="connsiteX637" fmla="*/ 129795 w 1805054"/>
                    <a:gd name="connsiteY637" fmla="*/ 819217 h 1303985"/>
                    <a:gd name="connsiteX638" fmla="*/ 125569 w 1805054"/>
                    <a:gd name="connsiteY638" fmla="*/ 822839 h 1303985"/>
                    <a:gd name="connsiteX639" fmla="*/ 121343 w 1805054"/>
                    <a:gd name="connsiteY639" fmla="*/ 822236 h 1303985"/>
                    <a:gd name="connsiteX640" fmla="*/ 117721 w 1805054"/>
                    <a:gd name="connsiteY640" fmla="*/ 817406 h 1303985"/>
                    <a:gd name="connsiteX641" fmla="*/ 111684 w 1805054"/>
                    <a:gd name="connsiteY641" fmla="*/ 817406 h 1303985"/>
                    <a:gd name="connsiteX642" fmla="*/ 108062 w 1805054"/>
                    <a:gd name="connsiteY642" fmla="*/ 814388 h 1303985"/>
                    <a:gd name="connsiteX643" fmla="*/ 103836 w 1805054"/>
                    <a:gd name="connsiteY643" fmla="*/ 816802 h 1303985"/>
                    <a:gd name="connsiteX644" fmla="*/ 100817 w 1805054"/>
                    <a:gd name="connsiteY644" fmla="*/ 808351 h 1303985"/>
                    <a:gd name="connsiteX645" fmla="*/ 102629 w 1805054"/>
                    <a:gd name="connsiteY645" fmla="*/ 805332 h 1303985"/>
                    <a:gd name="connsiteX646" fmla="*/ 103232 w 1805054"/>
                    <a:gd name="connsiteY646" fmla="*/ 799295 h 1303985"/>
                    <a:gd name="connsiteX647" fmla="*/ 106251 w 1805054"/>
                    <a:gd name="connsiteY647" fmla="*/ 799295 h 1303985"/>
                    <a:gd name="connsiteX648" fmla="*/ 108665 w 1805054"/>
                    <a:gd name="connsiteY648" fmla="*/ 795069 h 1303985"/>
                    <a:gd name="connsiteX649" fmla="*/ 109269 w 1805054"/>
                    <a:gd name="connsiteY649" fmla="*/ 787221 h 1303985"/>
                    <a:gd name="connsiteX650" fmla="*/ 114099 w 1805054"/>
                    <a:gd name="connsiteY650" fmla="*/ 784806 h 1303985"/>
                    <a:gd name="connsiteX651" fmla="*/ 117117 w 1805054"/>
                    <a:gd name="connsiteY651" fmla="*/ 777562 h 1303985"/>
                    <a:gd name="connsiteX652" fmla="*/ 126776 w 1805054"/>
                    <a:gd name="connsiteY652" fmla="*/ 776355 h 1303985"/>
                    <a:gd name="connsiteX653" fmla="*/ 128588 w 1805054"/>
                    <a:gd name="connsiteY653" fmla="*/ 772732 h 1303985"/>
                    <a:gd name="connsiteX654" fmla="*/ 137643 w 1805054"/>
                    <a:gd name="connsiteY654" fmla="*/ 767299 h 1303985"/>
                    <a:gd name="connsiteX655" fmla="*/ 141869 w 1805054"/>
                    <a:gd name="connsiteY655" fmla="*/ 768506 h 1303985"/>
                    <a:gd name="connsiteX656" fmla="*/ 143680 w 1805054"/>
                    <a:gd name="connsiteY656" fmla="*/ 764281 h 1303985"/>
                    <a:gd name="connsiteX657" fmla="*/ 148510 w 1805054"/>
                    <a:gd name="connsiteY657" fmla="*/ 763073 h 1303985"/>
                    <a:gd name="connsiteX658" fmla="*/ 150321 w 1805054"/>
                    <a:gd name="connsiteY658" fmla="*/ 758847 h 1303985"/>
                    <a:gd name="connsiteX659" fmla="*/ 155150 w 1805054"/>
                    <a:gd name="connsiteY659" fmla="*/ 758244 h 1303985"/>
                    <a:gd name="connsiteX660" fmla="*/ 156358 w 1805054"/>
                    <a:gd name="connsiteY660" fmla="*/ 761262 h 1303985"/>
                    <a:gd name="connsiteX661" fmla="*/ 166620 w 1805054"/>
                    <a:gd name="connsiteY661" fmla="*/ 755829 h 1303985"/>
                    <a:gd name="connsiteX662" fmla="*/ 170243 w 1805054"/>
                    <a:gd name="connsiteY662" fmla="*/ 752207 h 1303985"/>
                    <a:gd name="connsiteX663" fmla="*/ 173261 w 1805054"/>
                    <a:gd name="connsiteY663" fmla="*/ 744963 h 1303985"/>
                    <a:gd name="connsiteX664" fmla="*/ 177487 w 1805054"/>
                    <a:gd name="connsiteY664" fmla="*/ 741340 h 1303985"/>
                    <a:gd name="connsiteX665" fmla="*/ 184731 w 1805054"/>
                    <a:gd name="connsiteY665" fmla="*/ 739529 h 1303985"/>
                    <a:gd name="connsiteX666" fmla="*/ 181109 w 1805054"/>
                    <a:gd name="connsiteY666" fmla="*/ 731078 h 1303985"/>
                    <a:gd name="connsiteX667" fmla="*/ 178694 w 1805054"/>
                    <a:gd name="connsiteY667" fmla="*/ 729266 h 1303985"/>
                    <a:gd name="connsiteX668" fmla="*/ 181109 w 1805054"/>
                    <a:gd name="connsiteY668" fmla="*/ 724437 h 1303985"/>
                    <a:gd name="connsiteX669" fmla="*/ 181109 w 1805054"/>
                    <a:gd name="connsiteY669" fmla="*/ 719607 h 1303985"/>
                    <a:gd name="connsiteX670" fmla="*/ 184731 w 1805054"/>
                    <a:gd name="connsiteY670" fmla="*/ 715985 h 1303985"/>
                    <a:gd name="connsiteX671" fmla="*/ 182920 w 1805054"/>
                    <a:gd name="connsiteY671" fmla="*/ 710552 h 1303985"/>
                    <a:gd name="connsiteX672" fmla="*/ 184731 w 1805054"/>
                    <a:gd name="connsiteY672" fmla="*/ 708741 h 1303985"/>
                    <a:gd name="connsiteX673" fmla="*/ 182317 w 1805054"/>
                    <a:gd name="connsiteY673" fmla="*/ 701496 h 1303985"/>
                    <a:gd name="connsiteX674" fmla="*/ 178694 w 1805054"/>
                    <a:gd name="connsiteY674" fmla="*/ 700893 h 1303985"/>
                    <a:gd name="connsiteX675" fmla="*/ 179902 w 1805054"/>
                    <a:gd name="connsiteY675" fmla="*/ 691233 h 1303985"/>
                    <a:gd name="connsiteX676" fmla="*/ 177487 w 1805054"/>
                    <a:gd name="connsiteY676" fmla="*/ 685800 h 1303985"/>
                    <a:gd name="connsiteX677" fmla="*/ 179298 w 1805054"/>
                    <a:gd name="connsiteY677" fmla="*/ 676141 h 1303985"/>
                    <a:gd name="connsiteX678" fmla="*/ 184731 w 1805054"/>
                    <a:gd name="connsiteY678" fmla="*/ 665274 h 1303985"/>
                    <a:gd name="connsiteX679" fmla="*/ 189561 w 1805054"/>
                    <a:gd name="connsiteY679" fmla="*/ 662256 h 1303985"/>
                    <a:gd name="connsiteX680" fmla="*/ 191372 w 1805054"/>
                    <a:gd name="connsiteY680" fmla="*/ 655615 h 1303985"/>
                    <a:gd name="connsiteX681" fmla="*/ 194390 w 1805054"/>
                    <a:gd name="connsiteY681" fmla="*/ 653200 h 1303985"/>
                    <a:gd name="connsiteX682" fmla="*/ 195598 w 1805054"/>
                    <a:gd name="connsiteY682" fmla="*/ 649578 h 1303985"/>
                    <a:gd name="connsiteX683" fmla="*/ 193183 w 1805054"/>
                    <a:gd name="connsiteY683" fmla="*/ 647163 h 1303985"/>
                    <a:gd name="connsiteX684" fmla="*/ 192579 w 1805054"/>
                    <a:gd name="connsiteY684" fmla="*/ 639919 h 1303985"/>
                    <a:gd name="connsiteX685" fmla="*/ 189561 w 1805054"/>
                    <a:gd name="connsiteY685" fmla="*/ 637504 h 1303985"/>
                    <a:gd name="connsiteX686" fmla="*/ 188354 w 1805054"/>
                    <a:gd name="connsiteY686" fmla="*/ 631468 h 1303985"/>
                    <a:gd name="connsiteX687" fmla="*/ 184128 w 1805054"/>
                    <a:gd name="connsiteY687" fmla="*/ 629053 h 1303985"/>
                    <a:gd name="connsiteX688" fmla="*/ 182317 w 1805054"/>
                    <a:gd name="connsiteY688" fmla="*/ 620601 h 1303985"/>
                    <a:gd name="connsiteX689" fmla="*/ 176280 w 1805054"/>
                    <a:gd name="connsiteY689" fmla="*/ 616979 h 1303985"/>
                    <a:gd name="connsiteX690" fmla="*/ 172054 w 1805054"/>
                    <a:gd name="connsiteY690" fmla="*/ 607320 h 1303985"/>
                    <a:gd name="connsiteX691" fmla="*/ 177487 w 1805054"/>
                    <a:gd name="connsiteY691" fmla="*/ 603697 h 1303985"/>
                    <a:gd name="connsiteX692" fmla="*/ 175072 w 1805054"/>
                    <a:gd name="connsiteY692" fmla="*/ 597057 h 1303985"/>
                    <a:gd name="connsiteX693" fmla="*/ 171450 w 1805054"/>
                    <a:gd name="connsiteY693" fmla="*/ 593434 h 1303985"/>
                    <a:gd name="connsiteX694" fmla="*/ 166620 w 1805054"/>
                    <a:gd name="connsiteY694" fmla="*/ 595245 h 1303985"/>
                    <a:gd name="connsiteX695" fmla="*/ 158772 w 1805054"/>
                    <a:gd name="connsiteY695" fmla="*/ 593434 h 1303985"/>
                    <a:gd name="connsiteX696" fmla="*/ 150321 w 1805054"/>
                    <a:gd name="connsiteY696" fmla="*/ 594642 h 1303985"/>
                    <a:gd name="connsiteX697" fmla="*/ 146698 w 1805054"/>
                    <a:gd name="connsiteY697" fmla="*/ 593434 h 1303985"/>
                    <a:gd name="connsiteX698" fmla="*/ 146698 w 1805054"/>
                    <a:gd name="connsiteY698" fmla="*/ 589209 h 1303985"/>
                    <a:gd name="connsiteX699" fmla="*/ 152132 w 1805054"/>
                    <a:gd name="connsiteY699" fmla="*/ 584379 h 1303985"/>
                    <a:gd name="connsiteX700" fmla="*/ 152735 w 1805054"/>
                    <a:gd name="connsiteY700" fmla="*/ 572909 h 1303985"/>
                    <a:gd name="connsiteX701" fmla="*/ 156358 w 1805054"/>
                    <a:gd name="connsiteY701" fmla="*/ 568683 h 1303985"/>
                    <a:gd name="connsiteX702" fmla="*/ 158169 w 1805054"/>
                    <a:gd name="connsiteY702" fmla="*/ 563853 h 1303985"/>
                    <a:gd name="connsiteX703" fmla="*/ 167828 w 1805054"/>
                    <a:gd name="connsiteY703" fmla="*/ 554194 h 1303985"/>
                    <a:gd name="connsiteX704" fmla="*/ 158772 w 1805054"/>
                    <a:gd name="connsiteY704" fmla="*/ 545139 h 1303985"/>
                    <a:gd name="connsiteX705" fmla="*/ 153943 w 1805054"/>
                    <a:gd name="connsiteY705" fmla="*/ 544535 h 1303985"/>
                    <a:gd name="connsiteX706" fmla="*/ 151528 w 1805054"/>
                    <a:gd name="connsiteY706" fmla="*/ 546950 h 1303985"/>
                    <a:gd name="connsiteX707" fmla="*/ 146698 w 1805054"/>
                    <a:gd name="connsiteY707" fmla="*/ 545742 h 1303985"/>
                    <a:gd name="connsiteX708" fmla="*/ 138247 w 1805054"/>
                    <a:gd name="connsiteY708" fmla="*/ 537894 h 1303985"/>
                    <a:gd name="connsiteX709" fmla="*/ 141265 w 1805054"/>
                    <a:gd name="connsiteY709" fmla="*/ 535480 h 1303985"/>
                    <a:gd name="connsiteX710" fmla="*/ 144887 w 1805054"/>
                    <a:gd name="connsiteY710" fmla="*/ 534876 h 1303985"/>
                    <a:gd name="connsiteX711" fmla="*/ 146698 w 1805054"/>
                    <a:gd name="connsiteY711" fmla="*/ 528839 h 1303985"/>
                    <a:gd name="connsiteX712" fmla="*/ 144887 w 1805054"/>
                    <a:gd name="connsiteY712" fmla="*/ 520991 h 1303985"/>
                    <a:gd name="connsiteX713" fmla="*/ 153943 w 1805054"/>
                    <a:gd name="connsiteY713" fmla="*/ 517972 h 1303985"/>
                    <a:gd name="connsiteX714" fmla="*/ 152132 w 1805054"/>
                    <a:gd name="connsiteY714" fmla="*/ 511935 h 1303985"/>
                    <a:gd name="connsiteX715" fmla="*/ 154547 w 1805054"/>
                    <a:gd name="connsiteY715" fmla="*/ 508313 h 1303985"/>
                    <a:gd name="connsiteX716" fmla="*/ 159376 w 1805054"/>
                    <a:gd name="connsiteY716" fmla="*/ 504087 h 1303985"/>
                    <a:gd name="connsiteX717" fmla="*/ 158772 w 1805054"/>
                    <a:gd name="connsiteY717" fmla="*/ 501069 h 1303985"/>
                    <a:gd name="connsiteX718" fmla="*/ 150924 w 1805054"/>
                    <a:gd name="connsiteY718" fmla="*/ 501069 h 1303985"/>
                    <a:gd name="connsiteX719" fmla="*/ 153339 w 1805054"/>
                    <a:gd name="connsiteY719" fmla="*/ 492013 h 1303985"/>
                    <a:gd name="connsiteX720" fmla="*/ 151528 w 1805054"/>
                    <a:gd name="connsiteY720" fmla="*/ 487787 h 1303985"/>
                    <a:gd name="connsiteX721" fmla="*/ 156358 w 1805054"/>
                    <a:gd name="connsiteY721" fmla="*/ 485373 h 1303985"/>
                    <a:gd name="connsiteX722" fmla="*/ 155754 w 1805054"/>
                    <a:gd name="connsiteY722" fmla="*/ 476317 h 1303985"/>
                    <a:gd name="connsiteX723" fmla="*/ 157565 w 1805054"/>
                    <a:gd name="connsiteY723" fmla="*/ 475714 h 1303985"/>
                    <a:gd name="connsiteX724" fmla="*/ 159376 w 1805054"/>
                    <a:gd name="connsiteY724" fmla="*/ 482958 h 1303985"/>
                    <a:gd name="connsiteX725" fmla="*/ 166017 w 1805054"/>
                    <a:gd name="connsiteY725" fmla="*/ 495635 h 1303985"/>
                    <a:gd name="connsiteX726" fmla="*/ 169639 w 1805054"/>
                    <a:gd name="connsiteY726" fmla="*/ 499861 h 1303985"/>
                    <a:gd name="connsiteX727" fmla="*/ 170846 w 1805054"/>
                    <a:gd name="connsiteY727" fmla="*/ 504691 h 1303985"/>
                    <a:gd name="connsiteX728" fmla="*/ 176883 w 1805054"/>
                    <a:gd name="connsiteY728" fmla="*/ 507709 h 1303985"/>
                    <a:gd name="connsiteX729" fmla="*/ 185335 w 1805054"/>
                    <a:gd name="connsiteY729" fmla="*/ 506502 h 1303985"/>
                    <a:gd name="connsiteX730" fmla="*/ 189561 w 1805054"/>
                    <a:gd name="connsiteY730" fmla="*/ 497447 h 1303985"/>
                    <a:gd name="connsiteX731" fmla="*/ 196805 w 1805054"/>
                    <a:gd name="connsiteY731" fmla="*/ 495635 h 1303985"/>
                    <a:gd name="connsiteX732" fmla="*/ 194994 w 1805054"/>
                    <a:gd name="connsiteY732" fmla="*/ 490202 h 1303985"/>
                    <a:gd name="connsiteX733" fmla="*/ 195598 w 1805054"/>
                    <a:gd name="connsiteY733" fmla="*/ 485976 h 1303985"/>
                    <a:gd name="connsiteX734" fmla="*/ 201031 w 1805054"/>
                    <a:gd name="connsiteY734" fmla="*/ 485976 h 1303985"/>
                    <a:gd name="connsiteX735" fmla="*/ 201635 w 1805054"/>
                    <a:gd name="connsiteY735" fmla="*/ 481147 h 1303985"/>
                    <a:gd name="connsiteX736" fmla="*/ 199824 w 1805054"/>
                    <a:gd name="connsiteY736" fmla="*/ 476317 h 1303985"/>
                    <a:gd name="connsiteX737" fmla="*/ 196805 w 1805054"/>
                    <a:gd name="connsiteY737" fmla="*/ 475714 h 1303985"/>
                    <a:gd name="connsiteX738" fmla="*/ 190768 w 1805054"/>
                    <a:gd name="connsiteY738" fmla="*/ 476921 h 1303985"/>
                    <a:gd name="connsiteX739" fmla="*/ 177487 w 1805054"/>
                    <a:gd name="connsiteY739" fmla="*/ 475714 h 1303985"/>
                    <a:gd name="connsiteX740" fmla="*/ 173261 w 1805054"/>
                    <a:gd name="connsiteY740" fmla="*/ 474506 h 1303985"/>
                    <a:gd name="connsiteX741" fmla="*/ 172054 w 1805054"/>
                    <a:gd name="connsiteY741" fmla="*/ 472091 h 1303985"/>
                    <a:gd name="connsiteX742" fmla="*/ 167828 w 1805054"/>
                    <a:gd name="connsiteY742" fmla="*/ 472091 h 1303985"/>
                    <a:gd name="connsiteX743" fmla="*/ 167224 w 1805054"/>
                    <a:gd name="connsiteY743" fmla="*/ 463036 h 1303985"/>
                    <a:gd name="connsiteX744" fmla="*/ 161187 w 1805054"/>
                    <a:gd name="connsiteY744" fmla="*/ 452773 h 1303985"/>
                    <a:gd name="connsiteX745" fmla="*/ 160583 w 1805054"/>
                    <a:gd name="connsiteY745" fmla="*/ 443114 h 1303985"/>
                    <a:gd name="connsiteX746" fmla="*/ 162395 w 1805054"/>
                    <a:gd name="connsiteY746" fmla="*/ 437077 h 1303985"/>
                    <a:gd name="connsiteX747" fmla="*/ 166620 w 1805054"/>
                    <a:gd name="connsiteY747" fmla="*/ 435266 h 1303985"/>
                    <a:gd name="connsiteX748" fmla="*/ 168431 w 1805054"/>
                    <a:gd name="connsiteY748" fmla="*/ 437680 h 1303985"/>
                    <a:gd name="connsiteX749" fmla="*/ 169639 w 1805054"/>
                    <a:gd name="connsiteY749" fmla="*/ 443717 h 1303985"/>
                    <a:gd name="connsiteX750" fmla="*/ 176280 w 1805054"/>
                    <a:gd name="connsiteY750" fmla="*/ 443114 h 1303985"/>
                    <a:gd name="connsiteX751" fmla="*/ 179298 w 1805054"/>
                    <a:gd name="connsiteY751" fmla="*/ 446132 h 1303985"/>
                    <a:gd name="connsiteX752" fmla="*/ 178694 w 1805054"/>
                    <a:gd name="connsiteY752" fmla="*/ 452773 h 1303985"/>
                    <a:gd name="connsiteX753" fmla="*/ 186542 w 1805054"/>
                    <a:gd name="connsiteY753" fmla="*/ 453377 h 1303985"/>
                    <a:gd name="connsiteX754" fmla="*/ 185335 w 1805054"/>
                    <a:gd name="connsiteY754" fmla="*/ 457603 h 1303985"/>
                    <a:gd name="connsiteX755" fmla="*/ 199824 w 1805054"/>
                    <a:gd name="connsiteY755" fmla="*/ 458206 h 1303985"/>
                    <a:gd name="connsiteX756" fmla="*/ 205861 w 1805054"/>
                    <a:gd name="connsiteY756" fmla="*/ 461828 h 1303985"/>
                    <a:gd name="connsiteX757" fmla="*/ 211898 w 1805054"/>
                    <a:gd name="connsiteY757" fmla="*/ 455188 h 1303985"/>
                    <a:gd name="connsiteX758" fmla="*/ 215520 w 1805054"/>
                    <a:gd name="connsiteY758" fmla="*/ 456999 h 1303985"/>
                    <a:gd name="connsiteX759" fmla="*/ 221557 w 1805054"/>
                    <a:gd name="connsiteY759" fmla="*/ 454584 h 1303985"/>
                    <a:gd name="connsiteX760" fmla="*/ 220953 w 1805054"/>
                    <a:gd name="connsiteY760" fmla="*/ 437680 h 1303985"/>
                    <a:gd name="connsiteX761" fmla="*/ 225179 w 1805054"/>
                    <a:gd name="connsiteY761" fmla="*/ 432851 h 1303985"/>
                    <a:gd name="connsiteX762" fmla="*/ 230612 w 1805054"/>
                    <a:gd name="connsiteY762" fmla="*/ 431644 h 1303985"/>
                    <a:gd name="connsiteX763" fmla="*/ 231820 w 1805054"/>
                    <a:gd name="connsiteY763" fmla="*/ 427418 h 1303985"/>
                    <a:gd name="connsiteX764" fmla="*/ 228801 w 1805054"/>
                    <a:gd name="connsiteY764" fmla="*/ 423192 h 1303985"/>
                    <a:gd name="connsiteX765" fmla="*/ 230009 w 1805054"/>
                    <a:gd name="connsiteY765" fmla="*/ 419570 h 1303985"/>
                    <a:gd name="connsiteX766" fmla="*/ 233027 w 1805054"/>
                    <a:gd name="connsiteY766" fmla="*/ 417155 h 1303985"/>
                    <a:gd name="connsiteX767" fmla="*/ 238460 w 1805054"/>
                    <a:gd name="connsiteY767" fmla="*/ 421984 h 1303985"/>
                    <a:gd name="connsiteX768" fmla="*/ 260797 w 1805054"/>
                    <a:gd name="connsiteY768" fmla="*/ 418966 h 1303985"/>
                    <a:gd name="connsiteX769" fmla="*/ 269249 w 1805054"/>
                    <a:gd name="connsiteY769" fmla="*/ 420173 h 1303985"/>
                    <a:gd name="connsiteX770" fmla="*/ 269249 w 1805054"/>
                    <a:gd name="connsiteY770" fmla="*/ 423796 h 1303985"/>
                    <a:gd name="connsiteX771" fmla="*/ 262608 w 1805054"/>
                    <a:gd name="connsiteY771" fmla="*/ 428021 h 1303985"/>
                    <a:gd name="connsiteX772" fmla="*/ 263816 w 1805054"/>
                    <a:gd name="connsiteY772" fmla="*/ 433455 h 1303985"/>
                    <a:gd name="connsiteX773" fmla="*/ 266834 w 1805054"/>
                    <a:gd name="connsiteY773" fmla="*/ 438284 h 1303985"/>
                    <a:gd name="connsiteX774" fmla="*/ 263816 w 1805054"/>
                    <a:gd name="connsiteY774" fmla="*/ 443717 h 1303985"/>
                    <a:gd name="connsiteX775" fmla="*/ 262608 w 1805054"/>
                    <a:gd name="connsiteY775" fmla="*/ 450962 h 1303985"/>
                    <a:gd name="connsiteX776" fmla="*/ 256571 w 1805054"/>
                    <a:gd name="connsiteY776" fmla="*/ 440699 h 1303985"/>
                    <a:gd name="connsiteX777" fmla="*/ 255968 w 1805054"/>
                    <a:gd name="connsiteY777" fmla="*/ 434662 h 1303985"/>
                    <a:gd name="connsiteX778" fmla="*/ 251742 w 1805054"/>
                    <a:gd name="connsiteY778" fmla="*/ 438284 h 1303985"/>
                    <a:gd name="connsiteX779" fmla="*/ 256571 w 1805054"/>
                    <a:gd name="connsiteY779" fmla="*/ 446132 h 1303985"/>
                    <a:gd name="connsiteX780" fmla="*/ 251742 w 1805054"/>
                    <a:gd name="connsiteY780" fmla="*/ 449151 h 1303985"/>
                    <a:gd name="connsiteX781" fmla="*/ 251138 w 1805054"/>
                    <a:gd name="connsiteY781" fmla="*/ 454584 h 1303985"/>
                    <a:gd name="connsiteX782" fmla="*/ 261401 w 1805054"/>
                    <a:gd name="connsiteY782" fmla="*/ 459414 h 1303985"/>
                    <a:gd name="connsiteX783" fmla="*/ 264419 w 1805054"/>
                    <a:gd name="connsiteY783" fmla="*/ 455188 h 1303985"/>
                    <a:gd name="connsiteX784" fmla="*/ 273475 w 1805054"/>
                    <a:gd name="connsiteY784" fmla="*/ 457603 h 1303985"/>
                    <a:gd name="connsiteX785" fmla="*/ 280719 w 1805054"/>
                    <a:gd name="connsiteY785" fmla="*/ 453980 h 1303985"/>
                    <a:gd name="connsiteX786" fmla="*/ 284341 w 1805054"/>
                    <a:gd name="connsiteY786" fmla="*/ 453980 h 1303985"/>
                    <a:gd name="connsiteX787" fmla="*/ 283134 w 1805054"/>
                    <a:gd name="connsiteY787" fmla="*/ 460621 h 1303985"/>
                    <a:gd name="connsiteX788" fmla="*/ 268042 w 1805054"/>
                    <a:gd name="connsiteY788" fmla="*/ 467865 h 1303985"/>
                    <a:gd name="connsiteX789" fmla="*/ 265023 w 1805054"/>
                    <a:gd name="connsiteY789" fmla="*/ 467865 h 1303985"/>
                    <a:gd name="connsiteX790" fmla="*/ 261401 w 1805054"/>
                    <a:gd name="connsiteY790" fmla="*/ 472091 h 1303985"/>
                    <a:gd name="connsiteX791" fmla="*/ 258986 w 1805054"/>
                    <a:gd name="connsiteY791" fmla="*/ 471488 h 1303985"/>
                    <a:gd name="connsiteX792" fmla="*/ 255364 w 1805054"/>
                    <a:gd name="connsiteY792" fmla="*/ 463640 h 1303985"/>
                    <a:gd name="connsiteX793" fmla="*/ 246912 w 1805054"/>
                    <a:gd name="connsiteY793" fmla="*/ 461225 h 1303985"/>
                    <a:gd name="connsiteX794" fmla="*/ 248723 w 1805054"/>
                    <a:gd name="connsiteY794" fmla="*/ 453377 h 1303985"/>
                    <a:gd name="connsiteX795" fmla="*/ 238460 w 1805054"/>
                    <a:gd name="connsiteY795" fmla="*/ 455791 h 1303985"/>
                    <a:gd name="connsiteX796" fmla="*/ 243894 w 1805054"/>
                    <a:gd name="connsiteY796" fmla="*/ 464243 h 1303985"/>
                    <a:gd name="connsiteX797" fmla="*/ 248723 w 1805054"/>
                    <a:gd name="connsiteY797" fmla="*/ 466658 h 1303985"/>
                    <a:gd name="connsiteX798" fmla="*/ 248120 w 1805054"/>
                    <a:gd name="connsiteY798" fmla="*/ 470280 h 1303985"/>
                    <a:gd name="connsiteX799" fmla="*/ 242083 w 1805054"/>
                    <a:gd name="connsiteY799" fmla="*/ 470280 h 1303985"/>
                    <a:gd name="connsiteX800" fmla="*/ 236649 w 1805054"/>
                    <a:gd name="connsiteY800" fmla="*/ 477525 h 1303985"/>
                    <a:gd name="connsiteX801" fmla="*/ 237253 w 1805054"/>
                    <a:gd name="connsiteY801" fmla="*/ 484165 h 1303985"/>
                    <a:gd name="connsiteX802" fmla="*/ 241479 w 1805054"/>
                    <a:gd name="connsiteY802" fmla="*/ 492617 h 1303985"/>
                    <a:gd name="connsiteX803" fmla="*/ 243894 w 1805054"/>
                    <a:gd name="connsiteY803" fmla="*/ 489598 h 1303985"/>
                    <a:gd name="connsiteX804" fmla="*/ 248120 w 1805054"/>
                    <a:gd name="connsiteY804" fmla="*/ 491410 h 1303985"/>
                    <a:gd name="connsiteX805" fmla="*/ 252345 w 1805054"/>
                    <a:gd name="connsiteY805" fmla="*/ 490202 h 1303985"/>
                    <a:gd name="connsiteX806" fmla="*/ 259590 w 1805054"/>
                    <a:gd name="connsiteY806" fmla="*/ 493221 h 1303985"/>
                    <a:gd name="connsiteX807" fmla="*/ 269249 w 1805054"/>
                    <a:gd name="connsiteY807" fmla="*/ 493824 h 1303985"/>
                    <a:gd name="connsiteX808" fmla="*/ 272267 w 1805054"/>
                    <a:gd name="connsiteY808" fmla="*/ 495635 h 1303985"/>
                    <a:gd name="connsiteX809" fmla="*/ 290378 w 1805054"/>
                    <a:gd name="connsiteY809" fmla="*/ 499258 h 1303985"/>
                    <a:gd name="connsiteX810" fmla="*/ 296415 w 1805054"/>
                    <a:gd name="connsiteY810" fmla="*/ 498050 h 1303985"/>
                    <a:gd name="connsiteX811" fmla="*/ 307282 w 1805054"/>
                    <a:gd name="connsiteY811" fmla="*/ 493221 h 1303985"/>
                    <a:gd name="connsiteX812" fmla="*/ 310904 w 1805054"/>
                    <a:gd name="connsiteY812" fmla="*/ 494428 h 1303985"/>
                    <a:gd name="connsiteX813" fmla="*/ 316941 w 1805054"/>
                    <a:gd name="connsiteY813" fmla="*/ 492617 h 1303985"/>
                    <a:gd name="connsiteX814" fmla="*/ 323582 w 1805054"/>
                    <a:gd name="connsiteY814" fmla="*/ 500465 h 1303985"/>
                    <a:gd name="connsiteX815" fmla="*/ 332637 w 1805054"/>
                    <a:gd name="connsiteY815" fmla="*/ 497447 h 1303985"/>
                    <a:gd name="connsiteX816" fmla="*/ 337467 w 1805054"/>
                    <a:gd name="connsiteY816" fmla="*/ 491410 h 1303985"/>
                    <a:gd name="connsiteX817" fmla="*/ 350144 w 1805054"/>
                    <a:gd name="connsiteY817" fmla="*/ 484165 h 1303985"/>
                    <a:gd name="connsiteX818" fmla="*/ 359200 w 1805054"/>
                    <a:gd name="connsiteY818" fmla="*/ 482958 h 1303985"/>
                    <a:gd name="connsiteX819" fmla="*/ 362822 w 1805054"/>
                    <a:gd name="connsiteY819" fmla="*/ 484769 h 1303985"/>
                    <a:gd name="connsiteX820" fmla="*/ 370066 w 1805054"/>
                    <a:gd name="connsiteY820" fmla="*/ 490806 h 1303985"/>
                    <a:gd name="connsiteX821" fmla="*/ 370670 w 1805054"/>
                    <a:gd name="connsiteY821" fmla="*/ 493824 h 1303985"/>
                    <a:gd name="connsiteX822" fmla="*/ 367652 w 1805054"/>
                    <a:gd name="connsiteY822" fmla="*/ 505295 h 1303985"/>
                    <a:gd name="connsiteX823" fmla="*/ 370670 w 1805054"/>
                    <a:gd name="connsiteY823" fmla="*/ 504691 h 1303985"/>
                    <a:gd name="connsiteX824" fmla="*/ 371274 w 1805054"/>
                    <a:gd name="connsiteY824" fmla="*/ 513143 h 1303985"/>
                    <a:gd name="connsiteX825" fmla="*/ 372481 w 1805054"/>
                    <a:gd name="connsiteY825" fmla="*/ 517369 h 1303985"/>
                    <a:gd name="connsiteX826" fmla="*/ 377311 w 1805054"/>
                    <a:gd name="connsiteY826" fmla="*/ 518576 h 1303985"/>
                    <a:gd name="connsiteX827" fmla="*/ 379122 w 1805054"/>
                    <a:gd name="connsiteY827" fmla="*/ 524613 h 1303985"/>
                    <a:gd name="connsiteX828" fmla="*/ 384555 w 1805054"/>
                    <a:gd name="connsiteY828" fmla="*/ 525820 h 1303985"/>
                    <a:gd name="connsiteX829" fmla="*/ 383951 w 1805054"/>
                    <a:gd name="connsiteY829" fmla="*/ 531857 h 1303985"/>
                    <a:gd name="connsiteX830" fmla="*/ 387574 w 1805054"/>
                    <a:gd name="connsiteY830" fmla="*/ 534272 h 1303985"/>
                    <a:gd name="connsiteX831" fmla="*/ 383951 w 1805054"/>
                    <a:gd name="connsiteY831" fmla="*/ 542120 h 1303985"/>
                    <a:gd name="connsiteX832" fmla="*/ 385159 w 1805054"/>
                    <a:gd name="connsiteY832" fmla="*/ 545139 h 1303985"/>
                    <a:gd name="connsiteX833" fmla="*/ 384555 w 1805054"/>
                    <a:gd name="connsiteY833" fmla="*/ 552987 h 1303985"/>
                    <a:gd name="connsiteX834" fmla="*/ 383348 w 1805054"/>
                    <a:gd name="connsiteY834" fmla="*/ 555401 h 1303985"/>
                    <a:gd name="connsiteX835" fmla="*/ 374292 w 1805054"/>
                    <a:gd name="connsiteY835" fmla="*/ 560231 h 1303985"/>
                    <a:gd name="connsiteX836" fmla="*/ 367652 w 1805054"/>
                    <a:gd name="connsiteY836" fmla="*/ 560835 h 1303985"/>
                    <a:gd name="connsiteX837" fmla="*/ 364633 w 1805054"/>
                    <a:gd name="connsiteY837" fmla="*/ 557213 h 1303985"/>
                    <a:gd name="connsiteX838" fmla="*/ 365237 w 1805054"/>
                    <a:gd name="connsiteY838" fmla="*/ 551176 h 1303985"/>
                    <a:gd name="connsiteX839" fmla="*/ 359804 w 1805054"/>
                    <a:gd name="connsiteY839" fmla="*/ 548761 h 1303985"/>
                    <a:gd name="connsiteX840" fmla="*/ 359200 w 1805054"/>
                    <a:gd name="connsiteY840" fmla="*/ 552383 h 1303985"/>
                    <a:gd name="connsiteX841" fmla="*/ 353163 w 1805054"/>
                    <a:gd name="connsiteY841" fmla="*/ 559627 h 1303985"/>
                    <a:gd name="connsiteX842" fmla="*/ 352559 w 1805054"/>
                    <a:gd name="connsiteY842" fmla="*/ 563853 h 1303985"/>
                    <a:gd name="connsiteX843" fmla="*/ 348937 w 1805054"/>
                    <a:gd name="connsiteY843" fmla="*/ 565061 h 1303985"/>
                    <a:gd name="connsiteX844" fmla="*/ 349541 w 1805054"/>
                    <a:gd name="connsiteY844" fmla="*/ 568079 h 1303985"/>
                    <a:gd name="connsiteX845" fmla="*/ 348937 w 1805054"/>
                    <a:gd name="connsiteY845" fmla="*/ 577738 h 1303985"/>
                    <a:gd name="connsiteX846" fmla="*/ 354974 w 1805054"/>
                    <a:gd name="connsiteY846" fmla="*/ 586190 h 1303985"/>
                    <a:gd name="connsiteX847" fmla="*/ 361615 w 1805054"/>
                    <a:gd name="connsiteY847" fmla="*/ 584983 h 1303985"/>
                    <a:gd name="connsiteX848" fmla="*/ 364633 w 1805054"/>
                    <a:gd name="connsiteY848" fmla="*/ 588001 h 1303985"/>
                    <a:gd name="connsiteX849" fmla="*/ 364633 w 1805054"/>
                    <a:gd name="connsiteY849" fmla="*/ 597057 h 1303985"/>
                    <a:gd name="connsiteX850" fmla="*/ 362822 w 1805054"/>
                    <a:gd name="connsiteY850" fmla="*/ 604301 h 1303985"/>
                    <a:gd name="connsiteX851" fmla="*/ 356181 w 1805054"/>
                    <a:gd name="connsiteY851" fmla="*/ 606112 h 1303985"/>
                    <a:gd name="connsiteX852" fmla="*/ 350144 w 1805054"/>
                    <a:gd name="connsiteY852" fmla="*/ 624827 h 1303985"/>
                    <a:gd name="connsiteX853" fmla="*/ 357389 w 1805054"/>
                    <a:gd name="connsiteY853" fmla="*/ 626034 h 1303985"/>
                    <a:gd name="connsiteX854" fmla="*/ 359804 w 1805054"/>
                    <a:gd name="connsiteY854" fmla="*/ 631468 h 1303985"/>
                    <a:gd name="connsiteX855" fmla="*/ 364633 w 1805054"/>
                    <a:gd name="connsiteY855" fmla="*/ 632675 h 1303985"/>
                    <a:gd name="connsiteX856" fmla="*/ 368255 w 1805054"/>
                    <a:gd name="connsiteY856" fmla="*/ 632071 h 1303985"/>
                    <a:gd name="connsiteX857" fmla="*/ 368255 w 1805054"/>
                    <a:gd name="connsiteY857" fmla="*/ 639919 h 1303985"/>
                    <a:gd name="connsiteX858" fmla="*/ 357992 w 1805054"/>
                    <a:gd name="connsiteY858" fmla="*/ 642334 h 1303985"/>
                    <a:gd name="connsiteX859" fmla="*/ 357992 w 1805054"/>
                    <a:gd name="connsiteY859" fmla="*/ 647767 h 1303985"/>
                    <a:gd name="connsiteX860" fmla="*/ 354370 w 1805054"/>
                    <a:gd name="connsiteY860" fmla="*/ 656822 h 1303985"/>
                    <a:gd name="connsiteX861" fmla="*/ 348937 w 1805054"/>
                    <a:gd name="connsiteY861" fmla="*/ 657426 h 1303985"/>
                    <a:gd name="connsiteX862" fmla="*/ 348333 w 1805054"/>
                    <a:gd name="connsiteY862" fmla="*/ 660445 h 1303985"/>
                    <a:gd name="connsiteX863" fmla="*/ 341089 w 1805054"/>
                    <a:gd name="connsiteY863" fmla="*/ 663463 h 1303985"/>
                    <a:gd name="connsiteX864" fmla="*/ 338070 w 1805054"/>
                    <a:gd name="connsiteY864" fmla="*/ 656822 h 1303985"/>
                    <a:gd name="connsiteX865" fmla="*/ 338070 w 1805054"/>
                    <a:gd name="connsiteY865" fmla="*/ 651993 h 1303985"/>
                    <a:gd name="connsiteX866" fmla="*/ 335052 w 1805054"/>
                    <a:gd name="connsiteY866" fmla="*/ 648371 h 1303985"/>
                    <a:gd name="connsiteX867" fmla="*/ 329015 w 1805054"/>
                    <a:gd name="connsiteY867" fmla="*/ 651993 h 1303985"/>
                    <a:gd name="connsiteX868" fmla="*/ 327808 w 1805054"/>
                    <a:gd name="connsiteY868" fmla="*/ 656219 h 1303985"/>
                    <a:gd name="connsiteX869" fmla="*/ 319960 w 1805054"/>
                    <a:gd name="connsiteY869" fmla="*/ 656219 h 1303985"/>
                    <a:gd name="connsiteX870" fmla="*/ 317545 w 1805054"/>
                    <a:gd name="connsiteY870" fmla="*/ 658030 h 1303985"/>
                    <a:gd name="connsiteX871" fmla="*/ 314526 w 1805054"/>
                    <a:gd name="connsiteY871" fmla="*/ 656219 h 1303985"/>
                    <a:gd name="connsiteX872" fmla="*/ 315130 w 1805054"/>
                    <a:gd name="connsiteY872" fmla="*/ 651993 h 1303985"/>
                    <a:gd name="connsiteX873" fmla="*/ 306678 w 1805054"/>
                    <a:gd name="connsiteY873" fmla="*/ 648975 h 1303985"/>
                    <a:gd name="connsiteX874" fmla="*/ 303056 w 1805054"/>
                    <a:gd name="connsiteY874" fmla="*/ 645352 h 1303985"/>
                    <a:gd name="connsiteX875" fmla="*/ 298226 w 1805054"/>
                    <a:gd name="connsiteY875" fmla="*/ 655011 h 1303985"/>
                    <a:gd name="connsiteX876" fmla="*/ 292793 w 1805054"/>
                    <a:gd name="connsiteY876" fmla="*/ 660445 h 1303985"/>
                    <a:gd name="connsiteX877" fmla="*/ 290982 w 1805054"/>
                    <a:gd name="connsiteY877" fmla="*/ 674330 h 1303985"/>
                    <a:gd name="connsiteX878" fmla="*/ 297623 w 1805054"/>
                    <a:gd name="connsiteY878" fmla="*/ 676141 h 1303985"/>
                    <a:gd name="connsiteX879" fmla="*/ 300641 w 1805054"/>
                    <a:gd name="connsiteY879" fmla="*/ 680367 h 1303985"/>
                    <a:gd name="connsiteX880" fmla="*/ 307886 w 1805054"/>
                    <a:gd name="connsiteY880" fmla="*/ 683989 h 1303985"/>
                    <a:gd name="connsiteX881" fmla="*/ 312715 w 1805054"/>
                    <a:gd name="connsiteY881" fmla="*/ 688215 h 1303985"/>
                    <a:gd name="connsiteX882" fmla="*/ 314526 w 1805054"/>
                    <a:gd name="connsiteY882" fmla="*/ 693648 h 1303985"/>
                    <a:gd name="connsiteX883" fmla="*/ 313923 w 1805054"/>
                    <a:gd name="connsiteY883" fmla="*/ 697874 h 1303985"/>
                    <a:gd name="connsiteX884" fmla="*/ 316941 w 1805054"/>
                    <a:gd name="connsiteY884" fmla="*/ 701496 h 1303985"/>
                    <a:gd name="connsiteX885" fmla="*/ 324185 w 1805054"/>
                    <a:gd name="connsiteY885" fmla="*/ 699685 h 1303985"/>
                    <a:gd name="connsiteX886" fmla="*/ 330826 w 1805054"/>
                    <a:gd name="connsiteY886" fmla="*/ 701496 h 1303985"/>
                    <a:gd name="connsiteX887" fmla="*/ 338674 w 1805054"/>
                    <a:gd name="connsiteY887" fmla="*/ 707533 h 1303985"/>
                    <a:gd name="connsiteX888" fmla="*/ 341089 w 1805054"/>
                    <a:gd name="connsiteY888" fmla="*/ 703911 h 1303985"/>
                    <a:gd name="connsiteX889" fmla="*/ 339278 w 1805054"/>
                    <a:gd name="connsiteY889" fmla="*/ 696667 h 1303985"/>
                    <a:gd name="connsiteX890" fmla="*/ 344107 w 1805054"/>
                    <a:gd name="connsiteY890" fmla="*/ 697874 h 1303985"/>
                    <a:gd name="connsiteX891" fmla="*/ 345918 w 1805054"/>
                    <a:gd name="connsiteY891" fmla="*/ 695459 h 1303985"/>
                    <a:gd name="connsiteX892" fmla="*/ 347126 w 1805054"/>
                    <a:gd name="connsiteY892" fmla="*/ 687007 h 1303985"/>
                    <a:gd name="connsiteX893" fmla="*/ 341089 w 1805054"/>
                    <a:gd name="connsiteY893" fmla="*/ 683989 h 1303985"/>
                    <a:gd name="connsiteX894" fmla="*/ 341693 w 1805054"/>
                    <a:gd name="connsiteY894" fmla="*/ 677952 h 1303985"/>
                    <a:gd name="connsiteX895" fmla="*/ 347126 w 1805054"/>
                    <a:gd name="connsiteY895" fmla="*/ 678556 h 1303985"/>
                    <a:gd name="connsiteX896" fmla="*/ 353767 w 1805054"/>
                    <a:gd name="connsiteY896" fmla="*/ 682782 h 1303985"/>
                    <a:gd name="connsiteX897" fmla="*/ 353767 w 1805054"/>
                    <a:gd name="connsiteY897" fmla="*/ 688215 h 1303985"/>
                    <a:gd name="connsiteX898" fmla="*/ 357992 w 1805054"/>
                    <a:gd name="connsiteY898" fmla="*/ 688819 h 1303985"/>
                    <a:gd name="connsiteX899" fmla="*/ 362218 w 1805054"/>
                    <a:gd name="connsiteY899" fmla="*/ 685196 h 1303985"/>
                    <a:gd name="connsiteX900" fmla="*/ 373085 w 1805054"/>
                    <a:gd name="connsiteY900" fmla="*/ 679763 h 1303985"/>
                    <a:gd name="connsiteX901" fmla="*/ 377914 w 1805054"/>
                    <a:gd name="connsiteY901" fmla="*/ 682178 h 1303985"/>
                    <a:gd name="connsiteX902" fmla="*/ 386970 w 1805054"/>
                    <a:gd name="connsiteY902" fmla="*/ 677952 h 1303985"/>
                    <a:gd name="connsiteX903" fmla="*/ 388781 w 1805054"/>
                    <a:gd name="connsiteY903" fmla="*/ 678556 h 1303985"/>
                    <a:gd name="connsiteX904" fmla="*/ 392403 w 1805054"/>
                    <a:gd name="connsiteY904" fmla="*/ 673726 h 1303985"/>
                    <a:gd name="connsiteX905" fmla="*/ 398440 w 1805054"/>
                    <a:gd name="connsiteY905" fmla="*/ 671311 h 1303985"/>
                    <a:gd name="connsiteX906" fmla="*/ 399044 w 1805054"/>
                    <a:gd name="connsiteY906" fmla="*/ 668896 h 1303985"/>
                    <a:gd name="connsiteX907" fmla="*/ 399044 w 1805054"/>
                    <a:gd name="connsiteY907" fmla="*/ 662256 h 1303985"/>
                    <a:gd name="connsiteX908" fmla="*/ 394818 w 1805054"/>
                    <a:gd name="connsiteY908" fmla="*/ 656822 h 1303985"/>
                    <a:gd name="connsiteX909" fmla="*/ 394818 w 1805054"/>
                    <a:gd name="connsiteY909" fmla="*/ 650182 h 1303985"/>
                    <a:gd name="connsiteX910" fmla="*/ 400855 w 1805054"/>
                    <a:gd name="connsiteY910" fmla="*/ 649578 h 1303985"/>
                    <a:gd name="connsiteX911" fmla="*/ 408703 w 1805054"/>
                    <a:gd name="connsiteY911" fmla="*/ 644749 h 1303985"/>
                    <a:gd name="connsiteX912" fmla="*/ 412325 w 1805054"/>
                    <a:gd name="connsiteY912" fmla="*/ 639315 h 1303985"/>
                    <a:gd name="connsiteX913" fmla="*/ 423796 w 1805054"/>
                    <a:gd name="connsiteY913" fmla="*/ 636297 h 1303985"/>
                    <a:gd name="connsiteX914" fmla="*/ 425003 w 1805054"/>
                    <a:gd name="connsiteY914" fmla="*/ 634486 h 1303985"/>
                    <a:gd name="connsiteX915" fmla="*/ 431040 w 1805054"/>
                    <a:gd name="connsiteY915" fmla="*/ 634486 h 1303985"/>
                    <a:gd name="connsiteX916" fmla="*/ 429832 w 1805054"/>
                    <a:gd name="connsiteY916" fmla="*/ 629053 h 1303985"/>
                    <a:gd name="connsiteX917" fmla="*/ 431644 w 1805054"/>
                    <a:gd name="connsiteY917" fmla="*/ 626638 h 1303985"/>
                    <a:gd name="connsiteX918" fmla="*/ 429832 w 1805054"/>
                    <a:gd name="connsiteY918" fmla="*/ 618186 h 1303985"/>
                    <a:gd name="connsiteX919" fmla="*/ 428021 w 1805054"/>
                    <a:gd name="connsiteY919" fmla="*/ 615771 h 1303985"/>
                    <a:gd name="connsiteX920" fmla="*/ 428625 w 1805054"/>
                    <a:gd name="connsiteY920" fmla="*/ 609734 h 1303985"/>
                    <a:gd name="connsiteX921" fmla="*/ 434662 w 1805054"/>
                    <a:gd name="connsiteY921" fmla="*/ 603094 h 1303985"/>
                    <a:gd name="connsiteX922" fmla="*/ 435266 w 1805054"/>
                    <a:gd name="connsiteY922" fmla="*/ 601283 h 1303985"/>
                    <a:gd name="connsiteX923" fmla="*/ 432247 w 1805054"/>
                    <a:gd name="connsiteY923" fmla="*/ 592831 h 1303985"/>
                    <a:gd name="connsiteX924" fmla="*/ 434058 w 1805054"/>
                    <a:gd name="connsiteY924" fmla="*/ 590416 h 1303985"/>
                    <a:gd name="connsiteX925" fmla="*/ 438284 w 1805054"/>
                    <a:gd name="connsiteY925" fmla="*/ 589209 h 1303985"/>
                    <a:gd name="connsiteX926" fmla="*/ 438888 w 1805054"/>
                    <a:gd name="connsiteY926" fmla="*/ 584983 h 1303985"/>
                    <a:gd name="connsiteX927" fmla="*/ 441303 w 1805054"/>
                    <a:gd name="connsiteY927" fmla="*/ 581361 h 1303985"/>
                    <a:gd name="connsiteX928" fmla="*/ 445528 w 1805054"/>
                    <a:gd name="connsiteY928" fmla="*/ 586190 h 1303985"/>
                    <a:gd name="connsiteX929" fmla="*/ 443114 w 1805054"/>
                    <a:gd name="connsiteY929" fmla="*/ 591623 h 1303985"/>
                    <a:gd name="connsiteX930" fmla="*/ 445528 w 1805054"/>
                    <a:gd name="connsiteY930" fmla="*/ 595245 h 1303985"/>
                    <a:gd name="connsiteX931" fmla="*/ 445528 w 1805054"/>
                    <a:gd name="connsiteY931" fmla="*/ 603697 h 1303985"/>
                    <a:gd name="connsiteX932" fmla="*/ 449151 w 1805054"/>
                    <a:gd name="connsiteY932" fmla="*/ 605508 h 1303985"/>
                    <a:gd name="connsiteX933" fmla="*/ 453980 w 1805054"/>
                    <a:gd name="connsiteY933" fmla="*/ 604905 h 1303985"/>
                    <a:gd name="connsiteX934" fmla="*/ 460017 w 1805054"/>
                    <a:gd name="connsiteY934" fmla="*/ 607320 h 1303985"/>
                    <a:gd name="connsiteX935" fmla="*/ 463036 w 1805054"/>
                    <a:gd name="connsiteY935" fmla="*/ 602490 h 1303985"/>
                    <a:gd name="connsiteX936" fmla="*/ 468469 w 1805054"/>
                    <a:gd name="connsiteY936" fmla="*/ 599471 h 1303985"/>
                    <a:gd name="connsiteX937" fmla="*/ 475713 w 1805054"/>
                    <a:gd name="connsiteY937" fmla="*/ 600075 h 1303985"/>
                    <a:gd name="connsiteX938" fmla="*/ 487787 w 1805054"/>
                    <a:gd name="connsiteY938" fmla="*/ 609131 h 1303985"/>
                    <a:gd name="connsiteX939" fmla="*/ 490202 w 1805054"/>
                    <a:gd name="connsiteY939" fmla="*/ 604905 h 1303985"/>
                    <a:gd name="connsiteX940" fmla="*/ 496843 w 1805054"/>
                    <a:gd name="connsiteY940" fmla="*/ 607320 h 1303985"/>
                    <a:gd name="connsiteX941" fmla="*/ 498654 w 1805054"/>
                    <a:gd name="connsiteY941" fmla="*/ 604301 h 1303985"/>
                    <a:gd name="connsiteX942" fmla="*/ 505295 w 1805054"/>
                    <a:gd name="connsiteY942" fmla="*/ 608527 h 1303985"/>
                    <a:gd name="connsiteX943" fmla="*/ 507709 w 1805054"/>
                    <a:gd name="connsiteY943" fmla="*/ 610942 h 1303985"/>
                    <a:gd name="connsiteX944" fmla="*/ 508313 w 1805054"/>
                    <a:gd name="connsiteY944" fmla="*/ 615771 h 1303985"/>
                    <a:gd name="connsiteX945" fmla="*/ 510728 w 1805054"/>
                    <a:gd name="connsiteY945" fmla="*/ 619394 h 1303985"/>
                    <a:gd name="connsiteX946" fmla="*/ 517369 w 1805054"/>
                    <a:gd name="connsiteY946" fmla="*/ 618186 h 1303985"/>
                    <a:gd name="connsiteX947" fmla="*/ 522802 w 1805054"/>
                    <a:gd name="connsiteY947" fmla="*/ 615168 h 1303985"/>
                    <a:gd name="connsiteX948" fmla="*/ 519783 w 1805054"/>
                    <a:gd name="connsiteY948" fmla="*/ 610942 h 1303985"/>
                    <a:gd name="connsiteX949" fmla="*/ 520991 w 1805054"/>
                    <a:gd name="connsiteY949" fmla="*/ 607923 h 1303985"/>
                    <a:gd name="connsiteX950" fmla="*/ 529443 w 1805054"/>
                    <a:gd name="connsiteY950" fmla="*/ 601283 h 1303985"/>
                    <a:gd name="connsiteX951" fmla="*/ 530046 w 1805054"/>
                    <a:gd name="connsiteY951" fmla="*/ 597057 h 1303985"/>
                    <a:gd name="connsiteX952" fmla="*/ 534876 w 1805054"/>
                    <a:gd name="connsiteY952" fmla="*/ 597057 h 1303985"/>
                    <a:gd name="connsiteX953" fmla="*/ 543328 w 1805054"/>
                    <a:gd name="connsiteY953" fmla="*/ 595245 h 1303985"/>
                    <a:gd name="connsiteX954" fmla="*/ 545742 w 1805054"/>
                    <a:gd name="connsiteY954" fmla="*/ 591623 h 1303985"/>
                    <a:gd name="connsiteX955" fmla="*/ 548157 w 1805054"/>
                    <a:gd name="connsiteY955" fmla="*/ 600075 h 1303985"/>
                    <a:gd name="connsiteX956" fmla="*/ 545139 w 1805054"/>
                    <a:gd name="connsiteY956" fmla="*/ 603697 h 1303985"/>
                    <a:gd name="connsiteX957" fmla="*/ 542120 w 1805054"/>
                    <a:gd name="connsiteY957" fmla="*/ 612753 h 1303985"/>
                    <a:gd name="connsiteX958" fmla="*/ 547553 w 1805054"/>
                    <a:gd name="connsiteY958" fmla="*/ 617582 h 1303985"/>
                    <a:gd name="connsiteX959" fmla="*/ 551779 w 1805054"/>
                    <a:gd name="connsiteY959" fmla="*/ 619394 h 1303985"/>
                    <a:gd name="connsiteX960" fmla="*/ 553590 w 1805054"/>
                    <a:gd name="connsiteY960" fmla="*/ 617582 h 1303985"/>
                    <a:gd name="connsiteX961" fmla="*/ 559024 w 1805054"/>
                    <a:gd name="connsiteY961" fmla="*/ 617582 h 1303985"/>
                    <a:gd name="connsiteX962" fmla="*/ 561438 w 1805054"/>
                    <a:gd name="connsiteY962" fmla="*/ 618790 h 1303985"/>
                    <a:gd name="connsiteX963" fmla="*/ 566268 w 1805054"/>
                    <a:gd name="connsiteY963" fmla="*/ 627845 h 1303985"/>
                    <a:gd name="connsiteX964" fmla="*/ 568079 w 1805054"/>
                    <a:gd name="connsiteY964" fmla="*/ 629053 h 1303985"/>
                    <a:gd name="connsiteX965" fmla="*/ 573512 w 1805054"/>
                    <a:gd name="connsiteY965" fmla="*/ 627845 h 1303985"/>
                    <a:gd name="connsiteX966" fmla="*/ 579549 w 1805054"/>
                    <a:gd name="connsiteY966" fmla="*/ 624827 h 1303985"/>
                    <a:gd name="connsiteX967" fmla="*/ 583172 w 1805054"/>
                    <a:gd name="connsiteY967" fmla="*/ 624827 h 1303985"/>
                    <a:gd name="connsiteX968" fmla="*/ 588605 w 1805054"/>
                    <a:gd name="connsiteY968" fmla="*/ 626638 h 1303985"/>
                    <a:gd name="connsiteX969" fmla="*/ 592227 w 1805054"/>
                    <a:gd name="connsiteY969" fmla="*/ 613357 h 1303985"/>
                    <a:gd name="connsiteX970" fmla="*/ 595246 w 1805054"/>
                    <a:gd name="connsiteY970" fmla="*/ 613960 h 1303985"/>
                    <a:gd name="connsiteX971" fmla="*/ 597660 w 1805054"/>
                    <a:gd name="connsiteY971" fmla="*/ 611545 h 1303985"/>
                    <a:gd name="connsiteX972" fmla="*/ 592831 w 1805054"/>
                    <a:gd name="connsiteY972" fmla="*/ 606112 h 1303985"/>
                    <a:gd name="connsiteX973" fmla="*/ 592227 w 1805054"/>
                    <a:gd name="connsiteY973" fmla="*/ 603697 h 1303985"/>
                    <a:gd name="connsiteX974" fmla="*/ 583172 w 1805054"/>
                    <a:gd name="connsiteY974" fmla="*/ 595245 h 1303985"/>
                    <a:gd name="connsiteX975" fmla="*/ 580153 w 1805054"/>
                    <a:gd name="connsiteY975" fmla="*/ 585586 h 1303985"/>
                    <a:gd name="connsiteX976" fmla="*/ 577135 w 1805054"/>
                    <a:gd name="connsiteY976" fmla="*/ 581964 h 1303985"/>
                    <a:gd name="connsiteX977" fmla="*/ 575927 w 1805054"/>
                    <a:gd name="connsiteY977" fmla="*/ 574720 h 1303985"/>
                    <a:gd name="connsiteX978" fmla="*/ 578342 w 1805054"/>
                    <a:gd name="connsiteY978" fmla="*/ 572909 h 1303985"/>
                    <a:gd name="connsiteX979" fmla="*/ 578342 w 1805054"/>
                    <a:gd name="connsiteY979" fmla="*/ 568079 h 1303985"/>
                    <a:gd name="connsiteX980" fmla="*/ 576531 w 1805054"/>
                    <a:gd name="connsiteY980" fmla="*/ 563853 h 1303985"/>
                    <a:gd name="connsiteX981" fmla="*/ 578342 w 1805054"/>
                    <a:gd name="connsiteY981" fmla="*/ 557213 h 1303985"/>
                    <a:gd name="connsiteX982" fmla="*/ 576531 w 1805054"/>
                    <a:gd name="connsiteY982" fmla="*/ 556005 h 1303985"/>
                    <a:gd name="connsiteX983" fmla="*/ 578946 w 1805054"/>
                    <a:gd name="connsiteY983" fmla="*/ 549968 h 1303985"/>
                    <a:gd name="connsiteX984" fmla="*/ 577738 w 1805054"/>
                    <a:gd name="connsiteY984" fmla="*/ 545742 h 1303985"/>
                    <a:gd name="connsiteX985" fmla="*/ 575323 w 1805054"/>
                    <a:gd name="connsiteY985" fmla="*/ 543327 h 1303985"/>
                    <a:gd name="connsiteX986" fmla="*/ 571098 w 1805054"/>
                    <a:gd name="connsiteY986" fmla="*/ 535480 h 1303985"/>
                    <a:gd name="connsiteX987" fmla="*/ 577738 w 1805054"/>
                    <a:gd name="connsiteY987" fmla="*/ 531857 h 1303985"/>
                    <a:gd name="connsiteX988" fmla="*/ 581964 w 1805054"/>
                    <a:gd name="connsiteY988" fmla="*/ 531857 h 1303985"/>
                    <a:gd name="connsiteX989" fmla="*/ 583775 w 1805054"/>
                    <a:gd name="connsiteY989" fmla="*/ 537291 h 1303985"/>
                    <a:gd name="connsiteX990" fmla="*/ 586190 w 1805054"/>
                    <a:gd name="connsiteY990" fmla="*/ 537291 h 1303985"/>
                    <a:gd name="connsiteX991" fmla="*/ 588605 w 1805054"/>
                    <a:gd name="connsiteY991" fmla="*/ 532461 h 1303985"/>
                    <a:gd name="connsiteX992" fmla="*/ 592227 w 1805054"/>
                    <a:gd name="connsiteY992" fmla="*/ 534876 h 1303985"/>
                    <a:gd name="connsiteX993" fmla="*/ 591623 w 1805054"/>
                    <a:gd name="connsiteY993" fmla="*/ 545742 h 1303985"/>
                    <a:gd name="connsiteX994" fmla="*/ 597057 w 1805054"/>
                    <a:gd name="connsiteY994" fmla="*/ 550572 h 1303985"/>
                    <a:gd name="connsiteX995" fmla="*/ 601282 w 1805054"/>
                    <a:gd name="connsiteY995" fmla="*/ 552383 h 1303985"/>
                    <a:gd name="connsiteX996" fmla="*/ 607923 w 1805054"/>
                    <a:gd name="connsiteY996" fmla="*/ 549364 h 1303985"/>
                    <a:gd name="connsiteX997" fmla="*/ 614564 w 1805054"/>
                    <a:gd name="connsiteY997" fmla="*/ 542724 h 1303985"/>
                    <a:gd name="connsiteX998" fmla="*/ 615771 w 1805054"/>
                    <a:gd name="connsiteY998" fmla="*/ 536687 h 1303985"/>
                    <a:gd name="connsiteX999" fmla="*/ 619393 w 1805054"/>
                    <a:gd name="connsiteY999" fmla="*/ 537291 h 1303985"/>
                    <a:gd name="connsiteX1000" fmla="*/ 622412 w 1805054"/>
                    <a:gd name="connsiteY1000" fmla="*/ 528839 h 1303985"/>
                    <a:gd name="connsiteX1001" fmla="*/ 621204 w 1805054"/>
                    <a:gd name="connsiteY1001" fmla="*/ 521595 h 1303985"/>
                    <a:gd name="connsiteX1002" fmla="*/ 621808 w 1805054"/>
                    <a:gd name="connsiteY1002" fmla="*/ 510728 h 1303985"/>
                    <a:gd name="connsiteX1003" fmla="*/ 616979 w 1805054"/>
                    <a:gd name="connsiteY1003" fmla="*/ 501672 h 1303985"/>
                    <a:gd name="connsiteX1004" fmla="*/ 616375 w 1805054"/>
                    <a:gd name="connsiteY1004" fmla="*/ 496843 h 1303985"/>
                    <a:gd name="connsiteX1005" fmla="*/ 613356 w 1805054"/>
                    <a:gd name="connsiteY1005" fmla="*/ 494428 h 1303985"/>
                    <a:gd name="connsiteX1006" fmla="*/ 607923 w 1805054"/>
                    <a:gd name="connsiteY1006" fmla="*/ 493824 h 1303985"/>
                    <a:gd name="connsiteX1007" fmla="*/ 603697 w 1805054"/>
                    <a:gd name="connsiteY1007" fmla="*/ 490806 h 1303985"/>
                    <a:gd name="connsiteX1008" fmla="*/ 601886 w 1805054"/>
                    <a:gd name="connsiteY1008" fmla="*/ 484165 h 1303985"/>
                    <a:gd name="connsiteX1009" fmla="*/ 598264 w 1805054"/>
                    <a:gd name="connsiteY1009" fmla="*/ 482958 h 1303985"/>
                    <a:gd name="connsiteX1010" fmla="*/ 593434 w 1805054"/>
                    <a:gd name="connsiteY1010" fmla="*/ 486580 h 1303985"/>
                    <a:gd name="connsiteX1011" fmla="*/ 589209 w 1805054"/>
                    <a:gd name="connsiteY1011" fmla="*/ 487184 h 1303985"/>
                    <a:gd name="connsiteX1012" fmla="*/ 586190 w 1805054"/>
                    <a:gd name="connsiteY1012" fmla="*/ 485373 h 1303985"/>
                    <a:gd name="connsiteX1013" fmla="*/ 580757 w 1805054"/>
                    <a:gd name="connsiteY1013" fmla="*/ 486580 h 1303985"/>
                    <a:gd name="connsiteX1014" fmla="*/ 577135 w 1805054"/>
                    <a:gd name="connsiteY1014" fmla="*/ 485976 h 1303985"/>
                    <a:gd name="connsiteX1015" fmla="*/ 577738 w 1805054"/>
                    <a:gd name="connsiteY1015" fmla="*/ 481750 h 1303985"/>
                    <a:gd name="connsiteX1016" fmla="*/ 571098 w 1805054"/>
                    <a:gd name="connsiteY1016" fmla="*/ 474506 h 1303985"/>
                    <a:gd name="connsiteX1017" fmla="*/ 568683 w 1805054"/>
                    <a:gd name="connsiteY1017" fmla="*/ 469073 h 1303985"/>
                    <a:gd name="connsiteX1018" fmla="*/ 575927 w 1805054"/>
                    <a:gd name="connsiteY1018" fmla="*/ 466054 h 1303985"/>
                    <a:gd name="connsiteX1019" fmla="*/ 587397 w 1805054"/>
                    <a:gd name="connsiteY1019" fmla="*/ 466054 h 1303985"/>
                    <a:gd name="connsiteX1020" fmla="*/ 594038 w 1805054"/>
                    <a:gd name="connsiteY1020" fmla="*/ 463640 h 1303985"/>
                    <a:gd name="connsiteX1021" fmla="*/ 598868 w 1805054"/>
                    <a:gd name="connsiteY1021" fmla="*/ 458810 h 1303985"/>
                    <a:gd name="connsiteX1022" fmla="*/ 591623 w 1805054"/>
                    <a:gd name="connsiteY1022" fmla="*/ 455188 h 1303985"/>
                    <a:gd name="connsiteX1023" fmla="*/ 594038 w 1805054"/>
                    <a:gd name="connsiteY1023" fmla="*/ 449754 h 1303985"/>
                    <a:gd name="connsiteX1024" fmla="*/ 583172 w 1805054"/>
                    <a:gd name="connsiteY1024" fmla="*/ 440095 h 1303985"/>
                    <a:gd name="connsiteX1025" fmla="*/ 581964 w 1805054"/>
                    <a:gd name="connsiteY1025" fmla="*/ 435869 h 1303985"/>
                    <a:gd name="connsiteX1026" fmla="*/ 582568 w 1805054"/>
                    <a:gd name="connsiteY1026" fmla="*/ 426814 h 1303985"/>
                    <a:gd name="connsiteX1027" fmla="*/ 584983 w 1805054"/>
                    <a:gd name="connsiteY1027" fmla="*/ 421984 h 1303985"/>
                    <a:gd name="connsiteX1028" fmla="*/ 589209 w 1805054"/>
                    <a:gd name="connsiteY1028" fmla="*/ 421984 h 1303985"/>
                    <a:gd name="connsiteX1029" fmla="*/ 599471 w 1805054"/>
                    <a:gd name="connsiteY1029" fmla="*/ 418362 h 1303985"/>
                    <a:gd name="connsiteX1030" fmla="*/ 603093 w 1805054"/>
                    <a:gd name="connsiteY1030" fmla="*/ 417155 h 1303985"/>
                    <a:gd name="connsiteX1031" fmla="*/ 606112 w 1805054"/>
                    <a:gd name="connsiteY1031" fmla="*/ 411722 h 1303985"/>
                    <a:gd name="connsiteX1032" fmla="*/ 612753 w 1805054"/>
                    <a:gd name="connsiteY1032" fmla="*/ 412929 h 1303985"/>
                    <a:gd name="connsiteX1033" fmla="*/ 625430 w 1805054"/>
                    <a:gd name="connsiteY1033" fmla="*/ 416551 h 1303985"/>
                    <a:gd name="connsiteX1034" fmla="*/ 632675 w 1805054"/>
                    <a:gd name="connsiteY1034" fmla="*/ 414136 h 1303985"/>
                    <a:gd name="connsiteX1035" fmla="*/ 635693 w 1805054"/>
                    <a:gd name="connsiteY1035" fmla="*/ 409307 h 1303985"/>
                    <a:gd name="connsiteX1036" fmla="*/ 641730 w 1805054"/>
                    <a:gd name="connsiteY1036" fmla="*/ 409307 h 1303985"/>
                    <a:gd name="connsiteX1037" fmla="*/ 644145 w 1805054"/>
                    <a:gd name="connsiteY1037" fmla="*/ 403874 h 1303985"/>
                    <a:gd name="connsiteX1038" fmla="*/ 650182 w 1805054"/>
                    <a:gd name="connsiteY1038" fmla="*/ 403270 h 1303985"/>
                    <a:gd name="connsiteX1039" fmla="*/ 655011 w 1805054"/>
                    <a:gd name="connsiteY1039" fmla="*/ 404477 h 1303985"/>
                    <a:gd name="connsiteX1040" fmla="*/ 663463 w 1805054"/>
                    <a:gd name="connsiteY1040" fmla="*/ 402666 h 1303985"/>
                    <a:gd name="connsiteX1041" fmla="*/ 667689 w 1805054"/>
                    <a:gd name="connsiteY1041" fmla="*/ 405685 h 1303985"/>
                    <a:gd name="connsiteX1042" fmla="*/ 671915 w 1805054"/>
                    <a:gd name="connsiteY1042" fmla="*/ 410514 h 1303985"/>
                    <a:gd name="connsiteX1043" fmla="*/ 677952 w 1805054"/>
                    <a:gd name="connsiteY1043" fmla="*/ 407496 h 1303985"/>
                    <a:gd name="connsiteX1044" fmla="*/ 680970 w 1805054"/>
                    <a:gd name="connsiteY1044" fmla="*/ 407496 h 1303985"/>
                    <a:gd name="connsiteX1045" fmla="*/ 688819 w 1805054"/>
                    <a:gd name="connsiteY1045" fmla="*/ 402062 h 1303985"/>
                    <a:gd name="connsiteX1046" fmla="*/ 690026 w 1805054"/>
                    <a:gd name="connsiteY1046" fmla="*/ 386970 h 1303985"/>
                    <a:gd name="connsiteX1047" fmla="*/ 695459 w 1805054"/>
                    <a:gd name="connsiteY1047" fmla="*/ 385763 h 1303985"/>
                    <a:gd name="connsiteX1048" fmla="*/ 693044 w 1805054"/>
                    <a:gd name="connsiteY1048" fmla="*/ 377914 h 1303985"/>
                    <a:gd name="connsiteX1049" fmla="*/ 687611 w 1805054"/>
                    <a:gd name="connsiteY1049" fmla="*/ 373689 h 1303985"/>
                    <a:gd name="connsiteX1050" fmla="*/ 683989 w 1805054"/>
                    <a:gd name="connsiteY1050" fmla="*/ 372481 h 1303985"/>
                    <a:gd name="connsiteX1051" fmla="*/ 681574 w 1805054"/>
                    <a:gd name="connsiteY1051" fmla="*/ 367652 h 1303985"/>
                    <a:gd name="connsiteX1052" fmla="*/ 685196 w 1805054"/>
                    <a:gd name="connsiteY1052" fmla="*/ 364633 h 1303985"/>
                    <a:gd name="connsiteX1053" fmla="*/ 686404 w 1805054"/>
                    <a:gd name="connsiteY1053" fmla="*/ 359804 h 1303985"/>
                    <a:gd name="connsiteX1054" fmla="*/ 684593 w 1805054"/>
                    <a:gd name="connsiteY1054" fmla="*/ 353767 h 1303985"/>
                    <a:gd name="connsiteX1055" fmla="*/ 680367 w 1805054"/>
                    <a:gd name="connsiteY1055" fmla="*/ 352559 h 1303985"/>
                    <a:gd name="connsiteX1056" fmla="*/ 682782 w 1805054"/>
                    <a:gd name="connsiteY1056" fmla="*/ 345919 h 1303985"/>
                    <a:gd name="connsiteX1057" fmla="*/ 680367 w 1805054"/>
                    <a:gd name="connsiteY1057" fmla="*/ 341089 h 1303985"/>
                    <a:gd name="connsiteX1058" fmla="*/ 683989 w 1805054"/>
                    <a:gd name="connsiteY1058" fmla="*/ 335656 h 1303985"/>
                    <a:gd name="connsiteX1059" fmla="*/ 672519 w 1805054"/>
                    <a:gd name="connsiteY1059" fmla="*/ 330222 h 1303985"/>
                    <a:gd name="connsiteX1060" fmla="*/ 667689 w 1805054"/>
                    <a:gd name="connsiteY1060" fmla="*/ 333241 h 1303985"/>
                    <a:gd name="connsiteX1061" fmla="*/ 662859 w 1805054"/>
                    <a:gd name="connsiteY1061" fmla="*/ 338674 h 1303985"/>
                    <a:gd name="connsiteX1062" fmla="*/ 655011 w 1805054"/>
                    <a:gd name="connsiteY1062" fmla="*/ 344711 h 1303985"/>
                    <a:gd name="connsiteX1063" fmla="*/ 654408 w 1805054"/>
                    <a:gd name="connsiteY1063" fmla="*/ 354370 h 1303985"/>
                    <a:gd name="connsiteX1064" fmla="*/ 650182 w 1805054"/>
                    <a:gd name="connsiteY1064" fmla="*/ 354370 h 1303985"/>
                    <a:gd name="connsiteX1065" fmla="*/ 648371 w 1805054"/>
                    <a:gd name="connsiteY1065" fmla="*/ 358596 h 1303985"/>
                    <a:gd name="connsiteX1066" fmla="*/ 641127 w 1805054"/>
                    <a:gd name="connsiteY1066" fmla="*/ 357993 h 1303985"/>
                    <a:gd name="connsiteX1067" fmla="*/ 633278 w 1805054"/>
                    <a:gd name="connsiteY1067" fmla="*/ 353163 h 1303985"/>
                    <a:gd name="connsiteX1068" fmla="*/ 624827 w 1805054"/>
                    <a:gd name="connsiteY1068" fmla="*/ 351956 h 1303985"/>
                    <a:gd name="connsiteX1069" fmla="*/ 622412 w 1805054"/>
                    <a:gd name="connsiteY1069" fmla="*/ 355578 h 1303985"/>
                    <a:gd name="connsiteX1070" fmla="*/ 617582 w 1805054"/>
                    <a:gd name="connsiteY1070" fmla="*/ 355578 h 1303985"/>
                    <a:gd name="connsiteX1071" fmla="*/ 614564 w 1805054"/>
                    <a:gd name="connsiteY1071" fmla="*/ 361011 h 1303985"/>
                    <a:gd name="connsiteX1072" fmla="*/ 607923 w 1805054"/>
                    <a:gd name="connsiteY1072" fmla="*/ 361011 h 1303985"/>
                    <a:gd name="connsiteX1073" fmla="*/ 600679 w 1805054"/>
                    <a:gd name="connsiteY1073" fmla="*/ 362218 h 1303985"/>
                    <a:gd name="connsiteX1074" fmla="*/ 599471 w 1805054"/>
                    <a:gd name="connsiteY1074" fmla="*/ 366444 h 1303985"/>
                    <a:gd name="connsiteX1075" fmla="*/ 594642 w 1805054"/>
                    <a:gd name="connsiteY1075" fmla="*/ 365841 h 1303985"/>
                    <a:gd name="connsiteX1076" fmla="*/ 594642 w 1805054"/>
                    <a:gd name="connsiteY1076" fmla="*/ 361615 h 1303985"/>
                    <a:gd name="connsiteX1077" fmla="*/ 587397 w 1805054"/>
                    <a:gd name="connsiteY1077" fmla="*/ 356181 h 1303985"/>
                    <a:gd name="connsiteX1078" fmla="*/ 577135 w 1805054"/>
                    <a:gd name="connsiteY1078" fmla="*/ 354370 h 1303985"/>
                    <a:gd name="connsiteX1079" fmla="*/ 562646 w 1805054"/>
                    <a:gd name="connsiteY1079" fmla="*/ 357389 h 1303985"/>
                    <a:gd name="connsiteX1080" fmla="*/ 561438 w 1805054"/>
                    <a:gd name="connsiteY1080" fmla="*/ 353163 h 1303985"/>
                    <a:gd name="connsiteX1081" fmla="*/ 556005 w 1805054"/>
                    <a:gd name="connsiteY1081" fmla="*/ 350144 h 1303985"/>
                    <a:gd name="connsiteX1082" fmla="*/ 550572 w 1805054"/>
                    <a:gd name="connsiteY1082" fmla="*/ 351352 h 1303985"/>
                    <a:gd name="connsiteX1083" fmla="*/ 543328 w 1805054"/>
                    <a:gd name="connsiteY1083" fmla="*/ 350748 h 1303985"/>
                    <a:gd name="connsiteX1084" fmla="*/ 534272 w 1805054"/>
                    <a:gd name="connsiteY1084" fmla="*/ 342900 h 1303985"/>
                    <a:gd name="connsiteX1085" fmla="*/ 531857 w 1805054"/>
                    <a:gd name="connsiteY1085" fmla="*/ 344107 h 1303985"/>
                    <a:gd name="connsiteX1086" fmla="*/ 527631 w 1805054"/>
                    <a:gd name="connsiteY1086" fmla="*/ 341089 h 1303985"/>
                    <a:gd name="connsiteX1087" fmla="*/ 524613 w 1805054"/>
                    <a:gd name="connsiteY1087" fmla="*/ 331430 h 1303985"/>
                    <a:gd name="connsiteX1088" fmla="*/ 519180 w 1805054"/>
                    <a:gd name="connsiteY1088" fmla="*/ 329015 h 1303985"/>
                    <a:gd name="connsiteX1089" fmla="*/ 518576 w 1805054"/>
                    <a:gd name="connsiteY1089" fmla="*/ 321771 h 1303985"/>
                    <a:gd name="connsiteX1090" fmla="*/ 513746 w 1805054"/>
                    <a:gd name="connsiteY1090" fmla="*/ 313319 h 1303985"/>
                    <a:gd name="connsiteX1091" fmla="*/ 510124 w 1805054"/>
                    <a:gd name="connsiteY1091" fmla="*/ 309093 h 1303985"/>
                    <a:gd name="connsiteX1092" fmla="*/ 510728 w 1805054"/>
                    <a:gd name="connsiteY1092" fmla="*/ 304264 h 1303985"/>
                    <a:gd name="connsiteX1093" fmla="*/ 508313 w 1805054"/>
                    <a:gd name="connsiteY1093" fmla="*/ 297623 h 1303985"/>
                    <a:gd name="connsiteX1094" fmla="*/ 509520 w 1805054"/>
                    <a:gd name="connsiteY1094" fmla="*/ 290982 h 1303985"/>
                    <a:gd name="connsiteX1095" fmla="*/ 509520 w 1805054"/>
                    <a:gd name="connsiteY1095" fmla="*/ 284945 h 1303985"/>
                    <a:gd name="connsiteX1096" fmla="*/ 505898 w 1805054"/>
                    <a:gd name="connsiteY1096" fmla="*/ 281927 h 1303985"/>
                    <a:gd name="connsiteX1097" fmla="*/ 508313 w 1805054"/>
                    <a:gd name="connsiteY1097" fmla="*/ 275890 h 1303985"/>
                    <a:gd name="connsiteX1098" fmla="*/ 501672 w 1805054"/>
                    <a:gd name="connsiteY1098" fmla="*/ 271060 h 1303985"/>
                    <a:gd name="connsiteX1099" fmla="*/ 502880 w 1805054"/>
                    <a:gd name="connsiteY1099" fmla="*/ 265627 h 1303985"/>
                    <a:gd name="connsiteX1100" fmla="*/ 507106 w 1805054"/>
                    <a:gd name="connsiteY1100" fmla="*/ 263212 h 1303985"/>
                    <a:gd name="connsiteX1101" fmla="*/ 511935 w 1805054"/>
                    <a:gd name="connsiteY1101" fmla="*/ 262608 h 1303985"/>
                    <a:gd name="connsiteX1102" fmla="*/ 512539 w 1805054"/>
                    <a:gd name="connsiteY1102" fmla="*/ 260194 h 1303985"/>
                    <a:gd name="connsiteX1103" fmla="*/ 510728 w 1805054"/>
                    <a:gd name="connsiteY1103" fmla="*/ 254760 h 1303985"/>
                    <a:gd name="connsiteX1104" fmla="*/ 512539 w 1805054"/>
                    <a:gd name="connsiteY1104" fmla="*/ 247516 h 1303985"/>
                    <a:gd name="connsiteX1105" fmla="*/ 516161 w 1805054"/>
                    <a:gd name="connsiteY1105" fmla="*/ 241479 h 1303985"/>
                    <a:gd name="connsiteX1106" fmla="*/ 519783 w 1805054"/>
                    <a:gd name="connsiteY1106" fmla="*/ 237857 h 1303985"/>
                    <a:gd name="connsiteX1107" fmla="*/ 524009 w 1805054"/>
                    <a:gd name="connsiteY1107" fmla="*/ 231820 h 1303985"/>
                    <a:gd name="connsiteX1108" fmla="*/ 526424 w 1805054"/>
                    <a:gd name="connsiteY1108" fmla="*/ 229405 h 1303985"/>
                    <a:gd name="connsiteX1109" fmla="*/ 533668 w 1805054"/>
                    <a:gd name="connsiteY1109" fmla="*/ 230009 h 1303985"/>
                    <a:gd name="connsiteX1110" fmla="*/ 535480 w 1805054"/>
                    <a:gd name="connsiteY1110" fmla="*/ 222764 h 1303985"/>
                    <a:gd name="connsiteX1111" fmla="*/ 542120 w 1805054"/>
                    <a:gd name="connsiteY1111" fmla="*/ 221557 h 1303985"/>
                    <a:gd name="connsiteX1112" fmla="*/ 550572 w 1805054"/>
                    <a:gd name="connsiteY1112" fmla="*/ 223972 h 1303985"/>
                    <a:gd name="connsiteX1113" fmla="*/ 554194 w 1805054"/>
                    <a:gd name="connsiteY1113" fmla="*/ 223368 h 1303985"/>
                    <a:gd name="connsiteX1114" fmla="*/ 560231 w 1805054"/>
                    <a:gd name="connsiteY1114" fmla="*/ 219142 h 1303985"/>
                    <a:gd name="connsiteX1115" fmla="*/ 560231 w 1805054"/>
                    <a:gd name="connsiteY1115" fmla="*/ 214313 h 1303985"/>
                    <a:gd name="connsiteX1116" fmla="*/ 566872 w 1805054"/>
                    <a:gd name="connsiteY1116" fmla="*/ 213709 h 1303985"/>
                    <a:gd name="connsiteX1117" fmla="*/ 571701 w 1805054"/>
                    <a:gd name="connsiteY1117" fmla="*/ 207672 h 1303985"/>
                    <a:gd name="connsiteX1118" fmla="*/ 571701 w 1805054"/>
                    <a:gd name="connsiteY1118" fmla="*/ 204654 h 1303985"/>
                    <a:gd name="connsiteX1119" fmla="*/ 576531 w 1805054"/>
                    <a:gd name="connsiteY1119" fmla="*/ 198617 h 1303985"/>
                    <a:gd name="connsiteX1120" fmla="*/ 574116 w 1805054"/>
                    <a:gd name="connsiteY1120" fmla="*/ 194391 h 1303985"/>
                    <a:gd name="connsiteX1121" fmla="*/ 582568 w 1805054"/>
                    <a:gd name="connsiteY1121" fmla="*/ 188354 h 1303985"/>
                    <a:gd name="connsiteX1122" fmla="*/ 586190 w 1805054"/>
                    <a:gd name="connsiteY1122" fmla="*/ 179902 h 1303985"/>
                    <a:gd name="connsiteX1123" fmla="*/ 589812 w 1805054"/>
                    <a:gd name="connsiteY1123" fmla="*/ 178091 h 1303985"/>
                    <a:gd name="connsiteX1124" fmla="*/ 596453 w 1805054"/>
                    <a:gd name="connsiteY1124" fmla="*/ 176883 h 1303985"/>
                    <a:gd name="connsiteX1125" fmla="*/ 607923 w 1805054"/>
                    <a:gd name="connsiteY1125" fmla="*/ 169639 h 1303985"/>
                    <a:gd name="connsiteX1126" fmla="*/ 610338 w 1805054"/>
                    <a:gd name="connsiteY1126" fmla="*/ 164809 h 1303985"/>
                    <a:gd name="connsiteX1127" fmla="*/ 613960 w 1805054"/>
                    <a:gd name="connsiteY1127" fmla="*/ 160583 h 1303985"/>
                    <a:gd name="connsiteX1128" fmla="*/ 619997 w 1805054"/>
                    <a:gd name="connsiteY1128" fmla="*/ 158169 h 1303985"/>
                    <a:gd name="connsiteX1129" fmla="*/ 626638 w 1805054"/>
                    <a:gd name="connsiteY1129" fmla="*/ 158169 h 1303985"/>
                    <a:gd name="connsiteX1130" fmla="*/ 629053 w 1805054"/>
                    <a:gd name="connsiteY1130" fmla="*/ 156358 h 1303985"/>
                    <a:gd name="connsiteX1131" fmla="*/ 632675 w 1805054"/>
                    <a:gd name="connsiteY1131" fmla="*/ 147906 h 1303985"/>
                    <a:gd name="connsiteX1132" fmla="*/ 636297 w 1805054"/>
                    <a:gd name="connsiteY1132" fmla="*/ 146095 h 1303985"/>
                    <a:gd name="connsiteX1133" fmla="*/ 643541 w 1805054"/>
                    <a:gd name="connsiteY1133" fmla="*/ 144887 h 1303985"/>
                    <a:gd name="connsiteX1134" fmla="*/ 649578 w 1805054"/>
                    <a:gd name="connsiteY1134" fmla="*/ 147302 h 1303985"/>
                    <a:gd name="connsiteX1135" fmla="*/ 658634 w 1805054"/>
                    <a:gd name="connsiteY1135" fmla="*/ 140662 h 1303985"/>
                    <a:gd name="connsiteX1136" fmla="*/ 664067 w 1805054"/>
                    <a:gd name="connsiteY1136" fmla="*/ 137643 h 1303985"/>
                    <a:gd name="connsiteX1137" fmla="*/ 673122 w 1805054"/>
                    <a:gd name="connsiteY1137" fmla="*/ 128588 h 1303985"/>
                    <a:gd name="connsiteX1138" fmla="*/ 674933 w 1805054"/>
                    <a:gd name="connsiteY1138" fmla="*/ 121343 h 1303985"/>
                    <a:gd name="connsiteX1139" fmla="*/ 684593 w 1805054"/>
                    <a:gd name="connsiteY1139" fmla="*/ 115910 h 1303985"/>
                    <a:gd name="connsiteX1140" fmla="*/ 688819 w 1805054"/>
                    <a:gd name="connsiteY1140" fmla="*/ 117721 h 1303985"/>
                    <a:gd name="connsiteX1141" fmla="*/ 692441 w 1805054"/>
                    <a:gd name="connsiteY1141" fmla="*/ 116514 h 1303985"/>
                    <a:gd name="connsiteX1142" fmla="*/ 698478 w 1805054"/>
                    <a:gd name="connsiteY1142" fmla="*/ 117117 h 1303985"/>
                    <a:gd name="connsiteX1143" fmla="*/ 699685 w 1805054"/>
                    <a:gd name="connsiteY1143" fmla="*/ 114099 h 1303985"/>
                    <a:gd name="connsiteX1144" fmla="*/ 697270 w 1805054"/>
                    <a:gd name="connsiteY1144" fmla="*/ 107458 h 1303985"/>
                    <a:gd name="connsiteX1145" fmla="*/ 706929 w 1805054"/>
                    <a:gd name="connsiteY1145" fmla="*/ 105647 h 1303985"/>
                    <a:gd name="connsiteX1146" fmla="*/ 717192 w 1805054"/>
                    <a:gd name="connsiteY1146" fmla="*/ 105647 h 1303985"/>
                    <a:gd name="connsiteX1147" fmla="*/ 723229 w 1805054"/>
                    <a:gd name="connsiteY1147" fmla="*/ 100214 h 1303985"/>
                    <a:gd name="connsiteX1148" fmla="*/ 732888 w 1805054"/>
                    <a:gd name="connsiteY1148" fmla="*/ 96592 h 1303985"/>
                    <a:gd name="connsiteX1149" fmla="*/ 738322 w 1805054"/>
                    <a:gd name="connsiteY1149" fmla="*/ 89951 h 1303985"/>
                    <a:gd name="connsiteX1150" fmla="*/ 747377 w 1805054"/>
                    <a:gd name="connsiteY1150" fmla="*/ 83914 h 1303985"/>
                    <a:gd name="connsiteX1151" fmla="*/ 752811 w 1805054"/>
                    <a:gd name="connsiteY1151" fmla="*/ 86329 h 1303985"/>
                    <a:gd name="connsiteX1152" fmla="*/ 759451 w 1805054"/>
                    <a:gd name="connsiteY1152" fmla="*/ 82707 h 1303985"/>
                    <a:gd name="connsiteX1153" fmla="*/ 761866 w 1805054"/>
                    <a:gd name="connsiteY1153" fmla="*/ 76670 h 1303985"/>
                    <a:gd name="connsiteX1154" fmla="*/ 767299 w 1805054"/>
                    <a:gd name="connsiteY1154" fmla="*/ 73651 h 1303985"/>
                    <a:gd name="connsiteX1155" fmla="*/ 773940 w 1805054"/>
                    <a:gd name="connsiteY1155" fmla="*/ 74859 h 1303985"/>
                    <a:gd name="connsiteX1156" fmla="*/ 776958 w 1805054"/>
                    <a:gd name="connsiteY1156" fmla="*/ 73651 h 1303985"/>
                    <a:gd name="connsiteX1157" fmla="*/ 779373 w 1805054"/>
                    <a:gd name="connsiteY1157" fmla="*/ 69425 h 1303985"/>
                    <a:gd name="connsiteX1158" fmla="*/ 778166 w 1805054"/>
                    <a:gd name="connsiteY1158" fmla="*/ 63388 h 1303985"/>
                    <a:gd name="connsiteX1159" fmla="*/ 782995 w 1805054"/>
                    <a:gd name="connsiteY1159" fmla="*/ 59766 h 1303985"/>
                    <a:gd name="connsiteX1160" fmla="*/ 790843 w 1805054"/>
                    <a:gd name="connsiteY1160" fmla="*/ 58559 h 1303985"/>
                    <a:gd name="connsiteX1161" fmla="*/ 792654 w 1805054"/>
                    <a:gd name="connsiteY1161" fmla="*/ 55540 h 1303985"/>
                    <a:gd name="connsiteX1162" fmla="*/ 793258 w 1805054"/>
                    <a:gd name="connsiteY1162" fmla="*/ 50711 h 1303985"/>
                    <a:gd name="connsiteX1163" fmla="*/ 795673 w 1805054"/>
                    <a:gd name="connsiteY1163" fmla="*/ 47692 h 1303985"/>
                    <a:gd name="connsiteX1164" fmla="*/ 802917 w 1805054"/>
                    <a:gd name="connsiteY1164" fmla="*/ 48900 h 1303985"/>
                    <a:gd name="connsiteX1165" fmla="*/ 808954 w 1805054"/>
                    <a:gd name="connsiteY1165" fmla="*/ 45277 h 1303985"/>
                    <a:gd name="connsiteX1166" fmla="*/ 813784 w 1805054"/>
                    <a:gd name="connsiteY1166" fmla="*/ 39240 h 1303985"/>
                    <a:gd name="connsiteX1167" fmla="*/ 825858 w 1805054"/>
                    <a:gd name="connsiteY1167" fmla="*/ 42259 h 1303985"/>
                    <a:gd name="connsiteX1168" fmla="*/ 831291 w 1805054"/>
                    <a:gd name="connsiteY1168" fmla="*/ 45277 h 1303985"/>
                    <a:gd name="connsiteX1169" fmla="*/ 833706 w 1805054"/>
                    <a:gd name="connsiteY1169" fmla="*/ 43466 h 1303985"/>
                    <a:gd name="connsiteX1170" fmla="*/ 833706 w 1805054"/>
                    <a:gd name="connsiteY1170" fmla="*/ 31392 h 1303985"/>
                    <a:gd name="connsiteX1171" fmla="*/ 838535 w 1805054"/>
                    <a:gd name="connsiteY1171" fmla="*/ 28978 h 1303985"/>
                    <a:gd name="connsiteX1172" fmla="*/ 834913 w 1805054"/>
                    <a:gd name="connsiteY1172" fmla="*/ 23544 h 1303985"/>
                    <a:gd name="connsiteX1173" fmla="*/ 834913 w 1805054"/>
                    <a:gd name="connsiteY1173" fmla="*/ 19318 h 1303985"/>
                    <a:gd name="connsiteX1174" fmla="*/ 839743 w 1805054"/>
                    <a:gd name="connsiteY1174" fmla="*/ 16300 h 1303985"/>
                    <a:gd name="connsiteX1175" fmla="*/ 845780 w 1805054"/>
                    <a:gd name="connsiteY1175" fmla="*/ 18715 h 1303985"/>
                    <a:gd name="connsiteX1176" fmla="*/ 851817 w 1805054"/>
                    <a:gd name="connsiteY1176" fmla="*/ 19318 h 1303985"/>
                    <a:gd name="connsiteX1177" fmla="*/ 852421 w 1805054"/>
                    <a:gd name="connsiteY1177" fmla="*/ 16904 h 1303985"/>
                    <a:gd name="connsiteX1178" fmla="*/ 848798 w 1805054"/>
                    <a:gd name="connsiteY1178" fmla="*/ 10867 h 1303985"/>
                    <a:gd name="connsiteX1179" fmla="*/ 858458 w 1805054"/>
                    <a:gd name="connsiteY1179" fmla="*/ 8452 h 1303985"/>
                    <a:gd name="connsiteX1180" fmla="*/ 861476 w 1805054"/>
                    <a:gd name="connsiteY1180" fmla="*/ 8452 h 1303985"/>
                    <a:gd name="connsiteX1181" fmla="*/ 868117 w 1805054"/>
                    <a:gd name="connsiteY1181" fmla="*/ 12074 h 1303985"/>
                    <a:gd name="connsiteX1182" fmla="*/ 869928 w 1805054"/>
                    <a:gd name="connsiteY1182" fmla="*/ 11470 h 1303985"/>
                    <a:gd name="connsiteX1183" fmla="*/ 870531 w 1805054"/>
                    <a:gd name="connsiteY1183" fmla="*/ 5433 h 1303985"/>
                    <a:gd name="connsiteX1184" fmla="*/ 873550 w 1805054"/>
                    <a:gd name="connsiteY1184" fmla="*/ 2415 h 1303985"/>
                    <a:gd name="connsiteX1185" fmla="*/ 885624 w 1805054"/>
                    <a:gd name="connsiteY1185" fmla="*/ 0 h 1303985"/>
                    <a:gd name="connsiteX1186" fmla="*/ 890453 w 1805054"/>
                    <a:gd name="connsiteY1186" fmla="*/ 604 h 1303985"/>
                    <a:gd name="connsiteX1187" fmla="*/ 894679 w 1805054"/>
                    <a:gd name="connsiteY1187" fmla="*/ 10867 h 1303985"/>
                    <a:gd name="connsiteX1188" fmla="*/ 903131 w 1805054"/>
                    <a:gd name="connsiteY1188" fmla="*/ 9659 h 1303985"/>
                    <a:gd name="connsiteX1189" fmla="*/ 907357 w 1805054"/>
                    <a:gd name="connsiteY1189" fmla="*/ 16300 h 1303985"/>
                    <a:gd name="connsiteX1190" fmla="*/ 909772 w 1805054"/>
                    <a:gd name="connsiteY1190" fmla="*/ 18111 h 1303985"/>
                    <a:gd name="connsiteX1191" fmla="*/ 921846 w 1805054"/>
                    <a:gd name="connsiteY1191" fmla="*/ 20526 h 1303985"/>
                    <a:gd name="connsiteX1192" fmla="*/ 932108 w 1805054"/>
                    <a:gd name="connsiteY1192" fmla="*/ 26563 h 1303985"/>
                    <a:gd name="connsiteX1193" fmla="*/ 939353 w 1805054"/>
                    <a:gd name="connsiteY1193" fmla="*/ 27166 h 1303985"/>
                    <a:gd name="connsiteX1194" fmla="*/ 943579 w 1805054"/>
                    <a:gd name="connsiteY1194" fmla="*/ 22941 h 1303985"/>
                    <a:gd name="connsiteX1195" fmla="*/ 951427 w 1805054"/>
                    <a:gd name="connsiteY1195" fmla="*/ 24148 h 1303985"/>
                    <a:gd name="connsiteX1196" fmla="*/ 955049 w 1805054"/>
                    <a:gd name="connsiteY1196" fmla="*/ 18715 h 1303985"/>
                    <a:gd name="connsiteX1197" fmla="*/ 962897 w 1805054"/>
                    <a:gd name="connsiteY1197" fmla="*/ 16904 h 1303985"/>
                    <a:gd name="connsiteX1198" fmla="*/ 963501 w 1805054"/>
                    <a:gd name="connsiteY1198" fmla="*/ 21129 h 1303985"/>
                    <a:gd name="connsiteX1199" fmla="*/ 968330 w 1805054"/>
                    <a:gd name="connsiteY1199" fmla="*/ 18715 h 1303985"/>
                    <a:gd name="connsiteX1200" fmla="*/ 972556 w 1805054"/>
                    <a:gd name="connsiteY1200" fmla="*/ 24752 h 1303985"/>
                    <a:gd name="connsiteX1201" fmla="*/ 980404 w 1805054"/>
                    <a:gd name="connsiteY1201" fmla="*/ 24148 h 1303985"/>
                    <a:gd name="connsiteX1202" fmla="*/ 982819 w 1805054"/>
                    <a:gd name="connsiteY1202" fmla="*/ 24752 h 1303985"/>
                    <a:gd name="connsiteX1203" fmla="*/ 988856 w 1805054"/>
                    <a:gd name="connsiteY1203" fmla="*/ 34411 h 1303985"/>
                    <a:gd name="connsiteX1204" fmla="*/ 993686 w 1805054"/>
                    <a:gd name="connsiteY1204" fmla="*/ 39240 h 1303985"/>
                    <a:gd name="connsiteX1205" fmla="*/ 997308 w 1805054"/>
                    <a:gd name="connsiteY1205" fmla="*/ 39240 h 1303985"/>
                    <a:gd name="connsiteX1206" fmla="*/ 1002137 w 1805054"/>
                    <a:gd name="connsiteY1206" fmla="*/ 36826 h 1303985"/>
                    <a:gd name="connsiteX1207" fmla="*/ 1011193 w 1805054"/>
                    <a:gd name="connsiteY1207" fmla="*/ 41052 h 1303985"/>
                    <a:gd name="connsiteX1208" fmla="*/ 1008778 w 1805054"/>
                    <a:gd name="connsiteY1208" fmla="*/ 46485 h 1303985"/>
                    <a:gd name="connsiteX1209" fmla="*/ 1011193 w 1805054"/>
                    <a:gd name="connsiteY1209" fmla="*/ 48900 h 1303985"/>
                    <a:gd name="connsiteX1210" fmla="*/ 1018437 w 1805054"/>
                    <a:gd name="connsiteY1210" fmla="*/ 43466 h 1303985"/>
                    <a:gd name="connsiteX1211" fmla="*/ 1022059 w 1805054"/>
                    <a:gd name="connsiteY1211" fmla="*/ 45881 h 1303985"/>
                    <a:gd name="connsiteX1212" fmla="*/ 1019041 w 1805054"/>
                    <a:gd name="connsiteY1212" fmla="*/ 52522 h 1303985"/>
                    <a:gd name="connsiteX1213" fmla="*/ 1022059 w 1805054"/>
                    <a:gd name="connsiteY1213" fmla="*/ 57351 h 1303985"/>
                    <a:gd name="connsiteX1214" fmla="*/ 1022663 w 1805054"/>
                    <a:gd name="connsiteY1214" fmla="*/ 60973 h 1303985"/>
                    <a:gd name="connsiteX1215" fmla="*/ 1017834 w 1805054"/>
                    <a:gd name="connsiteY1215" fmla="*/ 64596 h 1303985"/>
                    <a:gd name="connsiteX1216" fmla="*/ 1021456 w 1805054"/>
                    <a:gd name="connsiteY1216" fmla="*/ 69425 h 1303985"/>
                    <a:gd name="connsiteX1217" fmla="*/ 1021456 w 1805054"/>
                    <a:gd name="connsiteY1217" fmla="*/ 74255 h 1303985"/>
                    <a:gd name="connsiteX1218" fmla="*/ 1028700 w 1805054"/>
                    <a:gd name="connsiteY1218" fmla="*/ 77877 h 1303985"/>
                    <a:gd name="connsiteX1219" fmla="*/ 1028096 w 1805054"/>
                    <a:gd name="connsiteY1219" fmla="*/ 80292 h 1303985"/>
                    <a:gd name="connsiteX1220" fmla="*/ 1034133 w 1805054"/>
                    <a:gd name="connsiteY1220" fmla="*/ 85725 h 1303985"/>
                    <a:gd name="connsiteX1221" fmla="*/ 1034737 w 1805054"/>
                    <a:gd name="connsiteY1221" fmla="*/ 89951 h 1303985"/>
                    <a:gd name="connsiteX1222" fmla="*/ 1031115 w 1805054"/>
                    <a:gd name="connsiteY1222" fmla="*/ 95384 h 1303985"/>
                    <a:gd name="connsiteX1223" fmla="*/ 1035944 w 1805054"/>
                    <a:gd name="connsiteY1223" fmla="*/ 98403 h 1303985"/>
                    <a:gd name="connsiteX1224" fmla="*/ 1040774 w 1805054"/>
                    <a:gd name="connsiteY1224" fmla="*/ 95988 h 1303985"/>
                    <a:gd name="connsiteX1225" fmla="*/ 1048018 w 1805054"/>
                    <a:gd name="connsiteY1225" fmla="*/ 99006 h 1303985"/>
                    <a:gd name="connsiteX1226" fmla="*/ 1045604 w 1805054"/>
                    <a:gd name="connsiteY1226" fmla="*/ 105647 h 1303985"/>
                    <a:gd name="connsiteX1227" fmla="*/ 1038359 w 1805054"/>
                    <a:gd name="connsiteY1227" fmla="*/ 108062 h 1303985"/>
                    <a:gd name="connsiteX1228" fmla="*/ 1040170 w 1805054"/>
                    <a:gd name="connsiteY1228" fmla="*/ 114702 h 1303985"/>
                    <a:gd name="connsiteX1229" fmla="*/ 1037755 w 1805054"/>
                    <a:gd name="connsiteY1229" fmla="*/ 117721 h 1303985"/>
                    <a:gd name="connsiteX1230" fmla="*/ 1045604 w 1805054"/>
                    <a:gd name="connsiteY1230" fmla="*/ 120136 h 1303985"/>
                    <a:gd name="connsiteX1231" fmla="*/ 1048018 w 1805054"/>
                    <a:gd name="connsiteY1231" fmla="*/ 128588 h 1303985"/>
                    <a:gd name="connsiteX1232" fmla="*/ 1041981 w 1805054"/>
                    <a:gd name="connsiteY1232" fmla="*/ 129191 h 1303985"/>
                    <a:gd name="connsiteX1233" fmla="*/ 1037755 w 1805054"/>
                    <a:gd name="connsiteY1233" fmla="*/ 135228 h 1303985"/>
                    <a:gd name="connsiteX1234" fmla="*/ 1033530 w 1805054"/>
                    <a:gd name="connsiteY1234" fmla="*/ 135832 h 1303985"/>
                    <a:gd name="connsiteX1235" fmla="*/ 1031115 w 1805054"/>
                    <a:gd name="connsiteY1235" fmla="*/ 142473 h 1303985"/>
                    <a:gd name="connsiteX1236" fmla="*/ 1034737 w 1805054"/>
                    <a:gd name="connsiteY1236" fmla="*/ 144284 h 1303985"/>
                    <a:gd name="connsiteX1237" fmla="*/ 1029907 w 1805054"/>
                    <a:gd name="connsiteY1237" fmla="*/ 148510 h 1303985"/>
                    <a:gd name="connsiteX1238" fmla="*/ 1025078 w 1805054"/>
                    <a:gd name="connsiteY1238" fmla="*/ 147906 h 1303985"/>
                    <a:gd name="connsiteX1239" fmla="*/ 1025682 w 1805054"/>
                    <a:gd name="connsiteY1239" fmla="*/ 152132 h 1303985"/>
                    <a:gd name="connsiteX1240" fmla="*/ 1022059 w 1805054"/>
                    <a:gd name="connsiteY1240" fmla="*/ 155754 h 1303985"/>
                    <a:gd name="connsiteX1241" fmla="*/ 1019645 w 1805054"/>
                    <a:gd name="connsiteY1241" fmla="*/ 154547 h 1303985"/>
                    <a:gd name="connsiteX1242" fmla="*/ 1016626 w 1805054"/>
                    <a:gd name="connsiteY1242" fmla="*/ 156961 h 1303985"/>
                    <a:gd name="connsiteX1243" fmla="*/ 1022059 w 1805054"/>
                    <a:gd name="connsiteY1243" fmla="*/ 161791 h 1303985"/>
                    <a:gd name="connsiteX1244" fmla="*/ 1022059 w 1805054"/>
                    <a:gd name="connsiteY1244" fmla="*/ 165413 h 1303985"/>
                    <a:gd name="connsiteX1245" fmla="*/ 1019041 w 1805054"/>
                    <a:gd name="connsiteY1245" fmla="*/ 166620 h 1303985"/>
                    <a:gd name="connsiteX1246" fmla="*/ 1013608 w 1805054"/>
                    <a:gd name="connsiteY1246" fmla="*/ 166017 h 1303985"/>
                    <a:gd name="connsiteX1247" fmla="*/ 1009985 w 1805054"/>
                    <a:gd name="connsiteY1247" fmla="*/ 169639 h 1303985"/>
                    <a:gd name="connsiteX1248" fmla="*/ 1014815 w 1805054"/>
                    <a:gd name="connsiteY1248" fmla="*/ 172657 h 1303985"/>
                    <a:gd name="connsiteX1249" fmla="*/ 1016022 w 1805054"/>
                    <a:gd name="connsiteY1249" fmla="*/ 176280 h 1303985"/>
                    <a:gd name="connsiteX1250" fmla="*/ 1022059 w 1805054"/>
                    <a:gd name="connsiteY1250" fmla="*/ 182317 h 1303985"/>
                    <a:gd name="connsiteX1251" fmla="*/ 1017834 w 1805054"/>
                    <a:gd name="connsiteY1251" fmla="*/ 184128 h 1303985"/>
                    <a:gd name="connsiteX1252" fmla="*/ 1009985 w 1805054"/>
                    <a:gd name="connsiteY1252" fmla="*/ 192580 h 1303985"/>
                    <a:gd name="connsiteX1253" fmla="*/ 1011193 w 1805054"/>
                    <a:gd name="connsiteY1253" fmla="*/ 194994 h 1303985"/>
                    <a:gd name="connsiteX1254" fmla="*/ 1009985 w 1805054"/>
                    <a:gd name="connsiteY1254" fmla="*/ 203446 h 1303985"/>
                    <a:gd name="connsiteX1255" fmla="*/ 1003948 w 1805054"/>
                    <a:gd name="connsiteY1255" fmla="*/ 213105 h 1303985"/>
                    <a:gd name="connsiteX1256" fmla="*/ 999723 w 1805054"/>
                    <a:gd name="connsiteY1256" fmla="*/ 217935 h 1303985"/>
                    <a:gd name="connsiteX1257" fmla="*/ 996100 w 1805054"/>
                    <a:gd name="connsiteY1257" fmla="*/ 220349 h 1303985"/>
                    <a:gd name="connsiteX1258" fmla="*/ 998515 w 1805054"/>
                    <a:gd name="connsiteY1258" fmla="*/ 224575 h 1303985"/>
                    <a:gd name="connsiteX1259" fmla="*/ 997911 w 1805054"/>
                    <a:gd name="connsiteY1259" fmla="*/ 229405 h 1303985"/>
                    <a:gd name="connsiteX1260" fmla="*/ 992478 w 1805054"/>
                    <a:gd name="connsiteY1260" fmla="*/ 230612 h 1303985"/>
                    <a:gd name="connsiteX1261" fmla="*/ 989460 w 1805054"/>
                    <a:gd name="connsiteY1261" fmla="*/ 236649 h 1303985"/>
                    <a:gd name="connsiteX1262" fmla="*/ 993686 w 1805054"/>
                    <a:gd name="connsiteY1262" fmla="*/ 239064 h 1303985"/>
                    <a:gd name="connsiteX1263" fmla="*/ 993686 w 1805054"/>
                    <a:gd name="connsiteY1263" fmla="*/ 246309 h 1303985"/>
                    <a:gd name="connsiteX1264" fmla="*/ 988856 w 1805054"/>
                    <a:gd name="connsiteY1264" fmla="*/ 245705 h 1303985"/>
                    <a:gd name="connsiteX1265" fmla="*/ 988856 w 1805054"/>
                    <a:gd name="connsiteY1265" fmla="*/ 242083 h 1303985"/>
                    <a:gd name="connsiteX1266" fmla="*/ 983423 w 1805054"/>
                    <a:gd name="connsiteY1266" fmla="*/ 239668 h 1303985"/>
                    <a:gd name="connsiteX1267" fmla="*/ 984630 w 1805054"/>
                    <a:gd name="connsiteY1267" fmla="*/ 246912 h 1303985"/>
                    <a:gd name="connsiteX1268" fmla="*/ 980404 w 1805054"/>
                    <a:gd name="connsiteY1268" fmla="*/ 246912 h 1303985"/>
                    <a:gd name="connsiteX1269" fmla="*/ 976178 w 1805054"/>
                    <a:gd name="connsiteY1269" fmla="*/ 252949 h 1303985"/>
                    <a:gd name="connsiteX1270" fmla="*/ 975575 w 1805054"/>
                    <a:gd name="connsiteY1270" fmla="*/ 255968 h 1303985"/>
                    <a:gd name="connsiteX1271" fmla="*/ 969538 w 1805054"/>
                    <a:gd name="connsiteY1271" fmla="*/ 258986 h 1303985"/>
                    <a:gd name="connsiteX1272" fmla="*/ 968934 w 1805054"/>
                    <a:gd name="connsiteY1272" fmla="*/ 261401 h 1303985"/>
                    <a:gd name="connsiteX1273" fmla="*/ 972556 w 1805054"/>
                    <a:gd name="connsiteY1273" fmla="*/ 265023 h 1303985"/>
                    <a:gd name="connsiteX1274" fmla="*/ 978593 w 1805054"/>
                    <a:gd name="connsiteY1274" fmla="*/ 267438 h 1303985"/>
                    <a:gd name="connsiteX1275" fmla="*/ 982819 w 1805054"/>
                    <a:gd name="connsiteY1275" fmla="*/ 275890 h 1303985"/>
                    <a:gd name="connsiteX1276" fmla="*/ 982819 w 1805054"/>
                    <a:gd name="connsiteY1276" fmla="*/ 282530 h 1303985"/>
                    <a:gd name="connsiteX1277" fmla="*/ 981612 w 1805054"/>
                    <a:gd name="connsiteY1277" fmla="*/ 287360 h 1303985"/>
                    <a:gd name="connsiteX1278" fmla="*/ 979197 w 1805054"/>
                    <a:gd name="connsiteY1278" fmla="*/ 288567 h 1303985"/>
                    <a:gd name="connsiteX1279" fmla="*/ 966519 w 1805054"/>
                    <a:gd name="connsiteY1279" fmla="*/ 292190 h 1303985"/>
                    <a:gd name="connsiteX1280" fmla="*/ 962293 w 1805054"/>
                    <a:gd name="connsiteY1280" fmla="*/ 291586 h 1303985"/>
                    <a:gd name="connsiteX1281" fmla="*/ 955049 w 1805054"/>
                    <a:gd name="connsiteY1281" fmla="*/ 294001 h 1303985"/>
                    <a:gd name="connsiteX1282" fmla="*/ 949012 w 1805054"/>
                    <a:gd name="connsiteY1282" fmla="*/ 300641 h 1303985"/>
                    <a:gd name="connsiteX1283" fmla="*/ 943579 w 1805054"/>
                    <a:gd name="connsiteY1283" fmla="*/ 298830 h 1303985"/>
                    <a:gd name="connsiteX1284" fmla="*/ 939957 w 1805054"/>
                    <a:gd name="connsiteY1284" fmla="*/ 295812 h 1303985"/>
                    <a:gd name="connsiteX1285" fmla="*/ 935127 w 1805054"/>
                    <a:gd name="connsiteY1285" fmla="*/ 301245 h 1303985"/>
                    <a:gd name="connsiteX1286" fmla="*/ 928486 w 1805054"/>
                    <a:gd name="connsiteY1286" fmla="*/ 300641 h 1303985"/>
                    <a:gd name="connsiteX1287" fmla="*/ 924260 w 1805054"/>
                    <a:gd name="connsiteY1287" fmla="*/ 298830 h 1303985"/>
                    <a:gd name="connsiteX1288" fmla="*/ 914601 w 1805054"/>
                    <a:gd name="connsiteY1288" fmla="*/ 297019 h 1303985"/>
                    <a:gd name="connsiteX1289" fmla="*/ 907961 w 1805054"/>
                    <a:gd name="connsiteY1289" fmla="*/ 303660 h 1303985"/>
                    <a:gd name="connsiteX1290" fmla="*/ 903131 w 1805054"/>
                    <a:gd name="connsiteY1290" fmla="*/ 301849 h 1303985"/>
                    <a:gd name="connsiteX1291" fmla="*/ 899509 w 1805054"/>
                    <a:gd name="connsiteY1291" fmla="*/ 307886 h 1303985"/>
                    <a:gd name="connsiteX1292" fmla="*/ 899509 w 1805054"/>
                    <a:gd name="connsiteY1292" fmla="*/ 313923 h 1303985"/>
                    <a:gd name="connsiteX1293" fmla="*/ 902527 w 1805054"/>
                    <a:gd name="connsiteY1293" fmla="*/ 320563 h 1303985"/>
                    <a:gd name="connsiteX1294" fmla="*/ 896490 w 1805054"/>
                    <a:gd name="connsiteY1294" fmla="*/ 322374 h 1303985"/>
                    <a:gd name="connsiteX1295" fmla="*/ 895283 w 1805054"/>
                    <a:gd name="connsiteY1295" fmla="*/ 325996 h 1303985"/>
                    <a:gd name="connsiteX1296" fmla="*/ 889850 w 1805054"/>
                    <a:gd name="connsiteY1296" fmla="*/ 327808 h 1303985"/>
                    <a:gd name="connsiteX1297" fmla="*/ 887435 w 1805054"/>
                    <a:gd name="connsiteY1297" fmla="*/ 325996 h 1303985"/>
                    <a:gd name="connsiteX1298" fmla="*/ 884416 w 1805054"/>
                    <a:gd name="connsiteY1298" fmla="*/ 331430 h 1303985"/>
                    <a:gd name="connsiteX1299" fmla="*/ 883813 w 1805054"/>
                    <a:gd name="connsiteY1299" fmla="*/ 337467 h 1303985"/>
                    <a:gd name="connsiteX1300" fmla="*/ 875965 w 1805054"/>
                    <a:gd name="connsiteY1300" fmla="*/ 345919 h 1303985"/>
                    <a:gd name="connsiteX1301" fmla="*/ 882002 w 1805054"/>
                    <a:gd name="connsiteY1301" fmla="*/ 348937 h 1303985"/>
                    <a:gd name="connsiteX1302" fmla="*/ 883813 w 1805054"/>
                    <a:gd name="connsiteY1302" fmla="*/ 353163 h 1303985"/>
                    <a:gd name="connsiteX1303" fmla="*/ 878983 w 1805054"/>
                    <a:gd name="connsiteY1303" fmla="*/ 358596 h 1303985"/>
                    <a:gd name="connsiteX1304" fmla="*/ 886831 w 1805054"/>
                    <a:gd name="connsiteY1304" fmla="*/ 361615 h 1303985"/>
                    <a:gd name="connsiteX1305" fmla="*/ 886831 w 1805054"/>
                    <a:gd name="connsiteY1305" fmla="*/ 365237 h 1303985"/>
                    <a:gd name="connsiteX1306" fmla="*/ 889850 w 1805054"/>
                    <a:gd name="connsiteY1306" fmla="*/ 369463 h 1303985"/>
                    <a:gd name="connsiteX1307" fmla="*/ 888642 w 1805054"/>
                    <a:gd name="connsiteY1307" fmla="*/ 372481 h 1303985"/>
                    <a:gd name="connsiteX1308" fmla="*/ 892868 w 1805054"/>
                    <a:gd name="connsiteY1308" fmla="*/ 378518 h 1303985"/>
                    <a:gd name="connsiteX1309" fmla="*/ 897094 w 1805054"/>
                    <a:gd name="connsiteY1309" fmla="*/ 379122 h 1303985"/>
                    <a:gd name="connsiteX1310" fmla="*/ 894679 w 1805054"/>
                    <a:gd name="connsiteY1310" fmla="*/ 385159 h 1303985"/>
                    <a:gd name="connsiteX1311" fmla="*/ 898905 w 1805054"/>
                    <a:gd name="connsiteY1311" fmla="*/ 386366 h 1303985"/>
                    <a:gd name="connsiteX1312" fmla="*/ 901320 w 1805054"/>
                    <a:gd name="connsiteY1312" fmla="*/ 390592 h 1303985"/>
                    <a:gd name="connsiteX1313" fmla="*/ 906753 w 1805054"/>
                    <a:gd name="connsiteY1313" fmla="*/ 390592 h 1303985"/>
                    <a:gd name="connsiteX1314" fmla="*/ 906753 w 1805054"/>
                    <a:gd name="connsiteY1314" fmla="*/ 393611 h 1303985"/>
                    <a:gd name="connsiteX1315" fmla="*/ 902527 w 1805054"/>
                    <a:gd name="connsiteY1315" fmla="*/ 396629 h 1303985"/>
                    <a:gd name="connsiteX1316" fmla="*/ 903131 w 1805054"/>
                    <a:gd name="connsiteY1316" fmla="*/ 401459 h 1303985"/>
                    <a:gd name="connsiteX1317" fmla="*/ 895887 w 1805054"/>
                    <a:gd name="connsiteY1317" fmla="*/ 400855 h 1303985"/>
                    <a:gd name="connsiteX1318" fmla="*/ 891057 w 1805054"/>
                    <a:gd name="connsiteY1318" fmla="*/ 405685 h 1303985"/>
                    <a:gd name="connsiteX1319" fmla="*/ 883813 w 1805054"/>
                    <a:gd name="connsiteY1319" fmla="*/ 408703 h 1303985"/>
                    <a:gd name="connsiteX1320" fmla="*/ 882605 w 1805054"/>
                    <a:gd name="connsiteY1320" fmla="*/ 410514 h 1303985"/>
                    <a:gd name="connsiteX1321" fmla="*/ 883813 w 1805054"/>
                    <a:gd name="connsiteY1321" fmla="*/ 419570 h 1303985"/>
                    <a:gd name="connsiteX1322" fmla="*/ 885020 w 1805054"/>
                    <a:gd name="connsiteY1322" fmla="*/ 423192 h 1303985"/>
                    <a:gd name="connsiteX1323" fmla="*/ 883209 w 1805054"/>
                    <a:gd name="connsiteY1323" fmla="*/ 429832 h 1303985"/>
                    <a:gd name="connsiteX1324" fmla="*/ 878983 w 1805054"/>
                    <a:gd name="connsiteY1324" fmla="*/ 432247 h 1303985"/>
                    <a:gd name="connsiteX1325" fmla="*/ 875361 w 1805054"/>
                    <a:gd name="connsiteY1325" fmla="*/ 437077 h 1303985"/>
                    <a:gd name="connsiteX1326" fmla="*/ 869928 w 1805054"/>
                    <a:gd name="connsiteY1326" fmla="*/ 440699 h 1303985"/>
                    <a:gd name="connsiteX1327" fmla="*/ 868117 w 1805054"/>
                    <a:gd name="connsiteY1327" fmla="*/ 442510 h 1303985"/>
                    <a:gd name="connsiteX1328" fmla="*/ 859665 w 1805054"/>
                    <a:gd name="connsiteY1328" fmla="*/ 448547 h 1303985"/>
                    <a:gd name="connsiteX1329" fmla="*/ 856646 w 1805054"/>
                    <a:gd name="connsiteY1329" fmla="*/ 453377 h 1303985"/>
                    <a:gd name="connsiteX1330" fmla="*/ 850609 w 1805054"/>
                    <a:gd name="connsiteY1330" fmla="*/ 455791 h 1303985"/>
                    <a:gd name="connsiteX1331" fmla="*/ 849402 w 1805054"/>
                    <a:gd name="connsiteY1331" fmla="*/ 458810 h 1303985"/>
                    <a:gd name="connsiteX1332" fmla="*/ 849402 w 1805054"/>
                    <a:gd name="connsiteY1332" fmla="*/ 464243 h 1303985"/>
                    <a:gd name="connsiteX1333" fmla="*/ 854232 w 1805054"/>
                    <a:gd name="connsiteY1333" fmla="*/ 465451 h 1303985"/>
                    <a:gd name="connsiteX1334" fmla="*/ 858458 w 1805054"/>
                    <a:gd name="connsiteY1334" fmla="*/ 472091 h 1303985"/>
                    <a:gd name="connsiteX1335" fmla="*/ 862080 w 1805054"/>
                    <a:gd name="connsiteY1335" fmla="*/ 480543 h 1303985"/>
                    <a:gd name="connsiteX1336" fmla="*/ 860872 w 1805054"/>
                    <a:gd name="connsiteY1336" fmla="*/ 484769 h 1303985"/>
                    <a:gd name="connsiteX1337" fmla="*/ 862080 w 1805054"/>
                    <a:gd name="connsiteY1337" fmla="*/ 489598 h 1303985"/>
                    <a:gd name="connsiteX1338" fmla="*/ 866909 w 1805054"/>
                    <a:gd name="connsiteY1338" fmla="*/ 496239 h 1303985"/>
                    <a:gd name="connsiteX1339" fmla="*/ 870531 w 1805054"/>
                    <a:gd name="connsiteY1339" fmla="*/ 504691 h 1303985"/>
                    <a:gd name="connsiteX1340" fmla="*/ 868117 w 1805054"/>
                    <a:gd name="connsiteY1340" fmla="*/ 509521 h 1303985"/>
                    <a:gd name="connsiteX1341" fmla="*/ 871135 w 1805054"/>
                    <a:gd name="connsiteY1341" fmla="*/ 516765 h 1303985"/>
                    <a:gd name="connsiteX1342" fmla="*/ 868117 w 1805054"/>
                    <a:gd name="connsiteY1342" fmla="*/ 531254 h 1303985"/>
                    <a:gd name="connsiteX1343" fmla="*/ 861476 w 1805054"/>
                    <a:gd name="connsiteY1343" fmla="*/ 533668 h 1303985"/>
                    <a:gd name="connsiteX1344" fmla="*/ 860872 w 1805054"/>
                    <a:gd name="connsiteY1344" fmla="*/ 537894 h 1303985"/>
                    <a:gd name="connsiteX1345" fmla="*/ 864494 w 1805054"/>
                    <a:gd name="connsiteY1345" fmla="*/ 540309 h 1303985"/>
                    <a:gd name="connsiteX1346" fmla="*/ 865098 w 1805054"/>
                    <a:gd name="connsiteY1346" fmla="*/ 545742 h 1303985"/>
                    <a:gd name="connsiteX1347" fmla="*/ 869928 w 1805054"/>
                    <a:gd name="connsiteY1347" fmla="*/ 546950 h 1303985"/>
                    <a:gd name="connsiteX1348" fmla="*/ 869324 w 1805054"/>
                    <a:gd name="connsiteY1348" fmla="*/ 552383 h 1303985"/>
                    <a:gd name="connsiteX1349" fmla="*/ 870531 w 1805054"/>
                    <a:gd name="connsiteY1349" fmla="*/ 554798 h 1303985"/>
                    <a:gd name="connsiteX1350" fmla="*/ 881398 w 1805054"/>
                    <a:gd name="connsiteY1350" fmla="*/ 563250 h 1303985"/>
                    <a:gd name="connsiteX1351" fmla="*/ 885020 w 1805054"/>
                    <a:gd name="connsiteY1351" fmla="*/ 565061 h 1303985"/>
                    <a:gd name="connsiteX1352" fmla="*/ 890453 w 1805054"/>
                    <a:gd name="connsiteY1352" fmla="*/ 570494 h 1303985"/>
                    <a:gd name="connsiteX1353" fmla="*/ 882605 w 1805054"/>
                    <a:gd name="connsiteY1353" fmla="*/ 579549 h 1303985"/>
                    <a:gd name="connsiteX1354" fmla="*/ 885624 w 1805054"/>
                    <a:gd name="connsiteY1354" fmla="*/ 586794 h 1303985"/>
                    <a:gd name="connsiteX1355" fmla="*/ 889850 w 1805054"/>
                    <a:gd name="connsiteY1355" fmla="*/ 589209 h 1303985"/>
                    <a:gd name="connsiteX1356" fmla="*/ 895283 w 1805054"/>
                    <a:gd name="connsiteY1356" fmla="*/ 594642 h 1303985"/>
                    <a:gd name="connsiteX1357" fmla="*/ 899509 w 1805054"/>
                    <a:gd name="connsiteY1357" fmla="*/ 593434 h 1303985"/>
                    <a:gd name="connsiteX1358" fmla="*/ 900113 w 1805054"/>
                    <a:gd name="connsiteY1358" fmla="*/ 591020 h 1303985"/>
                    <a:gd name="connsiteX1359" fmla="*/ 904942 w 1805054"/>
                    <a:gd name="connsiteY1359" fmla="*/ 589209 h 1303985"/>
                    <a:gd name="connsiteX1360" fmla="*/ 906150 w 1805054"/>
                    <a:gd name="connsiteY1360" fmla="*/ 582568 h 1303985"/>
                    <a:gd name="connsiteX1361" fmla="*/ 912187 w 1805054"/>
                    <a:gd name="connsiteY1361" fmla="*/ 579549 h 1303985"/>
                    <a:gd name="connsiteX1362" fmla="*/ 913394 w 1805054"/>
                    <a:gd name="connsiteY1362" fmla="*/ 572909 h 1303985"/>
                    <a:gd name="connsiteX1363" fmla="*/ 918827 w 1805054"/>
                    <a:gd name="connsiteY1363" fmla="*/ 566872 h 1303985"/>
                    <a:gd name="connsiteX1364" fmla="*/ 921846 w 1805054"/>
                    <a:gd name="connsiteY1364" fmla="*/ 568079 h 1303985"/>
                    <a:gd name="connsiteX1365" fmla="*/ 924260 w 1805054"/>
                    <a:gd name="connsiteY1365" fmla="*/ 571701 h 1303985"/>
                    <a:gd name="connsiteX1366" fmla="*/ 929694 w 1805054"/>
                    <a:gd name="connsiteY1366" fmla="*/ 574720 h 1303985"/>
                    <a:gd name="connsiteX1367" fmla="*/ 934523 w 1805054"/>
                    <a:gd name="connsiteY1367" fmla="*/ 575324 h 1303985"/>
                    <a:gd name="connsiteX1368" fmla="*/ 938145 w 1805054"/>
                    <a:gd name="connsiteY1368" fmla="*/ 579549 h 1303985"/>
                    <a:gd name="connsiteX1369" fmla="*/ 939957 w 1805054"/>
                    <a:gd name="connsiteY1369" fmla="*/ 584983 h 1303985"/>
                    <a:gd name="connsiteX1370" fmla="*/ 943579 w 1805054"/>
                    <a:gd name="connsiteY1370" fmla="*/ 586190 h 1303985"/>
                    <a:gd name="connsiteX1371" fmla="*/ 942975 w 1805054"/>
                    <a:gd name="connsiteY1371" fmla="*/ 589209 h 1303985"/>
                    <a:gd name="connsiteX1372" fmla="*/ 950219 w 1805054"/>
                    <a:gd name="connsiteY1372" fmla="*/ 594642 h 1303985"/>
                    <a:gd name="connsiteX1373" fmla="*/ 953238 w 1805054"/>
                    <a:gd name="connsiteY1373" fmla="*/ 600679 h 1303985"/>
                    <a:gd name="connsiteX1374" fmla="*/ 959275 w 1805054"/>
                    <a:gd name="connsiteY1374" fmla="*/ 603094 h 1303985"/>
                    <a:gd name="connsiteX1375" fmla="*/ 963501 w 1805054"/>
                    <a:gd name="connsiteY1375" fmla="*/ 601886 h 1303985"/>
                    <a:gd name="connsiteX1376" fmla="*/ 965312 w 1805054"/>
                    <a:gd name="connsiteY1376" fmla="*/ 598868 h 1303985"/>
                    <a:gd name="connsiteX1377" fmla="*/ 969538 w 1805054"/>
                    <a:gd name="connsiteY1377" fmla="*/ 601886 h 1303985"/>
                    <a:gd name="connsiteX1378" fmla="*/ 970745 w 1805054"/>
                    <a:gd name="connsiteY1378" fmla="*/ 600075 h 1303985"/>
                    <a:gd name="connsiteX1379" fmla="*/ 974971 w 1805054"/>
                    <a:gd name="connsiteY1379" fmla="*/ 608527 h 1303985"/>
                    <a:gd name="connsiteX1380" fmla="*/ 977386 w 1805054"/>
                    <a:gd name="connsiteY1380" fmla="*/ 614564 h 1303985"/>
                    <a:gd name="connsiteX1381" fmla="*/ 981612 w 1805054"/>
                    <a:gd name="connsiteY1381" fmla="*/ 614564 h 1303985"/>
                    <a:gd name="connsiteX1382" fmla="*/ 982819 w 1805054"/>
                    <a:gd name="connsiteY1382" fmla="*/ 609131 h 1303985"/>
                    <a:gd name="connsiteX1383" fmla="*/ 985837 w 1805054"/>
                    <a:gd name="connsiteY1383" fmla="*/ 610338 h 1303985"/>
                    <a:gd name="connsiteX1384" fmla="*/ 988252 w 1805054"/>
                    <a:gd name="connsiteY1384" fmla="*/ 607923 h 1303985"/>
                    <a:gd name="connsiteX1385" fmla="*/ 992478 w 1805054"/>
                    <a:gd name="connsiteY1385" fmla="*/ 607923 h 1303985"/>
                    <a:gd name="connsiteX1386" fmla="*/ 997308 w 1805054"/>
                    <a:gd name="connsiteY1386" fmla="*/ 604301 h 1303985"/>
                    <a:gd name="connsiteX1387" fmla="*/ 996704 w 1805054"/>
                    <a:gd name="connsiteY1387" fmla="*/ 598868 h 1303985"/>
                    <a:gd name="connsiteX1388" fmla="*/ 1003345 w 1805054"/>
                    <a:gd name="connsiteY1388" fmla="*/ 594642 h 1303985"/>
                    <a:gd name="connsiteX1389" fmla="*/ 1002741 w 1805054"/>
                    <a:gd name="connsiteY1389" fmla="*/ 588001 h 1303985"/>
                    <a:gd name="connsiteX1390" fmla="*/ 1007571 w 1805054"/>
                    <a:gd name="connsiteY1390" fmla="*/ 584379 h 1303985"/>
                    <a:gd name="connsiteX1391" fmla="*/ 1014815 w 1805054"/>
                    <a:gd name="connsiteY1391" fmla="*/ 575324 h 1303985"/>
                    <a:gd name="connsiteX1392" fmla="*/ 1014815 w 1805054"/>
                    <a:gd name="connsiteY1392" fmla="*/ 571701 h 1303985"/>
                    <a:gd name="connsiteX1393" fmla="*/ 1017834 w 1805054"/>
                    <a:gd name="connsiteY1393" fmla="*/ 562042 h 1303985"/>
                    <a:gd name="connsiteX1394" fmla="*/ 1019041 w 1805054"/>
                    <a:gd name="connsiteY1394" fmla="*/ 559627 h 1303985"/>
                    <a:gd name="connsiteX1395" fmla="*/ 1017834 w 1805054"/>
                    <a:gd name="connsiteY1395" fmla="*/ 554798 h 1303985"/>
                    <a:gd name="connsiteX1396" fmla="*/ 1009985 w 1805054"/>
                    <a:gd name="connsiteY1396" fmla="*/ 556005 h 1303985"/>
                    <a:gd name="connsiteX1397" fmla="*/ 1007571 w 1805054"/>
                    <a:gd name="connsiteY1397" fmla="*/ 552383 h 1303985"/>
                    <a:gd name="connsiteX1398" fmla="*/ 1003948 w 1805054"/>
                    <a:gd name="connsiteY1398" fmla="*/ 551176 h 1303985"/>
                    <a:gd name="connsiteX1399" fmla="*/ 1000930 w 1805054"/>
                    <a:gd name="connsiteY1399" fmla="*/ 545742 h 1303985"/>
                    <a:gd name="connsiteX1400" fmla="*/ 1003948 w 1805054"/>
                    <a:gd name="connsiteY1400" fmla="*/ 542724 h 1303985"/>
                    <a:gd name="connsiteX1401" fmla="*/ 1006363 w 1805054"/>
                    <a:gd name="connsiteY1401" fmla="*/ 546346 h 1303985"/>
                    <a:gd name="connsiteX1402" fmla="*/ 1009985 w 1805054"/>
                    <a:gd name="connsiteY1402" fmla="*/ 546346 h 1303985"/>
                    <a:gd name="connsiteX1403" fmla="*/ 1014815 w 1805054"/>
                    <a:gd name="connsiteY1403" fmla="*/ 543931 h 1303985"/>
                    <a:gd name="connsiteX1404" fmla="*/ 1009985 w 1805054"/>
                    <a:gd name="connsiteY1404" fmla="*/ 540913 h 1303985"/>
                    <a:gd name="connsiteX1405" fmla="*/ 1009382 w 1805054"/>
                    <a:gd name="connsiteY1405" fmla="*/ 533065 h 1303985"/>
                    <a:gd name="connsiteX1406" fmla="*/ 1010589 w 1805054"/>
                    <a:gd name="connsiteY1406" fmla="*/ 531254 h 1303985"/>
                    <a:gd name="connsiteX1407" fmla="*/ 1003948 w 1805054"/>
                    <a:gd name="connsiteY1407" fmla="*/ 524613 h 1303985"/>
                    <a:gd name="connsiteX1408" fmla="*/ 1002137 w 1805054"/>
                    <a:gd name="connsiteY1408" fmla="*/ 519783 h 1303985"/>
                    <a:gd name="connsiteX1409" fmla="*/ 999723 w 1805054"/>
                    <a:gd name="connsiteY1409" fmla="*/ 517369 h 1303985"/>
                    <a:gd name="connsiteX1410" fmla="*/ 997308 w 1805054"/>
                    <a:gd name="connsiteY1410" fmla="*/ 511332 h 1303985"/>
                    <a:gd name="connsiteX1411" fmla="*/ 993082 w 1805054"/>
                    <a:gd name="connsiteY1411" fmla="*/ 511332 h 1303985"/>
                    <a:gd name="connsiteX1412" fmla="*/ 989460 w 1805054"/>
                    <a:gd name="connsiteY1412" fmla="*/ 513746 h 1303985"/>
                    <a:gd name="connsiteX1413" fmla="*/ 987045 w 1805054"/>
                    <a:gd name="connsiteY1413" fmla="*/ 518576 h 1303985"/>
                    <a:gd name="connsiteX1414" fmla="*/ 981008 w 1805054"/>
                    <a:gd name="connsiteY1414" fmla="*/ 518576 h 1303985"/>
                    <a:gd name="connsiteX1415" fmla="*/ 975575 w 1805054"/>
                    <a:gd name="connsiteY1415" fmla="*/ 522198 h 1303985"/>
                    <a:gd name="connsiteX1416" fmla="*/ 970745 w 1805054"/>
                    <a:gd name="connsiteY1416" fmla="*/ 519783 h 1303985"/>
                    <a:gd name="connsiteX1417" fmla="*/ 969538 w 1805054"/>
                    <a:gd name="connsiteY1417" fmla="*/ 511935 h 1303985"/>
                    <a:gd name="connsiteX1418" fmla="*/ 968330 w 1805054"/>
                    <a:gd name="connsiteY1418" fmla="*/ 507106 h 1303985"/>
                    <a:gd name="connsiteX1419" fmla="*/ 971953 w 1805054"/>
                    <a:gd name="connsiteY1419" fmla="*/ 502880 h 1303985"/>
                    <a:gd name="connsiteX1420" fmla="*/ 971953 w 1805054"/>
                    <a:gd name="connsiteY1420" fmla="*/ 499258 h 1303985"/>
                    <a:gd name="connsiteX1421" fmla="*/ 974971 w 1805054"/>
                    <a:gd name="connsiteY1421" fmla="*/ 496843 h 1303985"/>
                    <a:gd name="connsiteX1422" fmla="*/ 972556 w 1805054"/>
                    <a:gd name="connsiteY1422" fmla="*/ 482354 h 1303985"/>
                    <a:gd name="connsiteX1423" fmla="*/ 973160 w 1805054"/>
                    <a:gd name="connsiteY1423" fmla="*/ 476317 h 1303985"/>
                    <a:gd name="connsiteX1424" fmla="*/ 976178 w 1805054"/>
                    <a:gd name="connsiteY1424" fmla="*/ 471488 h 1303985"/>
                    <a:gd name="connsiteX1425" fmla="*/ 973160 w 1805054"/>
                    <a:gd name="connsiteY1425" fmla="*/ 461225 h 1303985"/>
                    <a:gd name="connsiteX1426" fmla="*/ 964708 w 1805054"/>
                    <a:gd name="connsiteY1426" fmla="*/ 456999 h 1303985"/>
                    <a:gd name="connsiteX1427" fmla="*/ 960482 w 1805054"/>
                    <a:gd name="connsiteY1427" fmla="*/ 455791 h 1303985"/>
                    <a:gd name="connsiteX1428" fmla="*/ 959275 w 1805054"/>
                    <a:gd name="connsiteY1428" fmla="*/ 453377 h 1303985"/>
                    <a:gd name="connsiteX1429" fmla="*/ 953238 w 1805054"/>
                    <a:gd name="connsiteY1429" fmla="*/ 451566 h 1303985"/>
                    <a:gd name="connsiteX1430" fmla="*/ 950219 w 1805054"/>
                    <a:gd name="connsiteY1430" fmla="*/ 442510 h 1303985"/>
                    <a:gd name="connsiteX1431" fmla="*/ 944182 w 1805054"/>
                    <a:gd name="connsiteY1431" fmla="*/ 438284 h 1303985"/>
                    <a:gd name="connsiteX1432" fmla="*/ 945994 w 1805054"/>
                    <a:gd name="connsiteY1432" fmla="*/ 433455 h 1303985"/>
                    <a:gd name="connsiteX1433" fmla="*/ 946597 w 1805054"/>
                    <a:gd name="connsiteY1433" fmla="*/ 423796 h 1303985"/>
                    <a:gd name="connsiteX1434" fmla="*/ 948408 w 1805054"/>
                    <a:gd name="connsiteY1434" fmla="*/ 421381 h 1303985"/>
                    <a:gd name="connsiteX1435" fmla="*/ 947805 w 1805054"/>
                    <a:gd name="connsiteY1435" fmla="*/ 415344 h 1303985"/>
                    <a:gd name="connsiteX1436" fmla="*/ 943579 w 1805054"/>
                    <a:gd name="connsiteY1436" fmla="*/ 408703 h 1303985"/>
                    <a:gd name="connsiteX1437" fmla="*/ 938749 w 1805054"/>
                    <a:gd name="connsiteY1437" fmla="*/ 407496 h 1303985"/>
                    <a:gd name="connsiteX1438" fmla="*/ 938749 w 1805054"/>
                    <a:gd name="connsiteY1438" fmla="*/ 400855 h 1303985"/>
                    <a:gd name="connsiteX1439" fmla="*/ 938145 w 1805054"/>
                    <a:gd name="connsiteY1439" fmla="*/ 393611 h 1303985"/>
                    <a:gd name="connsiteX1440" fmla="*/ 932712 w 1805054"/>
                    <a:gd name="connsiteY1440" fmla="*/ 383348 h 1303985"/>
                    <a:gd name="connsiteX1441" fmla="*/ 931505 w 1805054"/>
                    <a:gd name="connsiteY1441" fmla="*/ 377914 h 1303985"/>
                    <a:gd name="connsiteX1442" fmla="*/ 932712 w 1805054"/>
                    <a:gd name="connsiteY1442" fmla="*/ 370670 h 1303985"/>
                    <a:gd name="connsiteX1443" fmla="*/ 929090 w 1805054"/>
                    <a:gd name="connsiteY1443" fmla="*/ 367652 h 1303985"/>
                    <a:gd name="connsiteX1444" fmla="*/ 926071 w 1805054"/>
                    <a:gd name="connsiteY1444" fmla="*/ 367652 h 1303985"/>
                    <a:gd name="connsiteX1445" fmla="*/ 923053 w 1805054"/>
                    <a:gd name="connsiteY1445" fmla="*/ 364030 h 1303985"/>
                    <a:gd name="connsiteX1446" fmla="*/ 919431 w 1805054"/>
                    <a:gd name="connsiteY1446" fmla="*/ 365237 h 1303985"/>
                    <a:gd name="connsiteX1447" fmla="*/ 916412 w 1805054"/>
                    <a:gd name="connsiteY1447" fmla="*/ 362822 h 1303985"/>
                    <a:gd name="connsiteX1448" fmla="*/ 909168 w 1805054"/>
                    <a:gd name="connsiteY1448" fmla="*/ 368255 h 1303985"/>
                    <a:gd name="connsiteX1449" fmla="*/ 903735 w 1805054"/>
                    <a:gd name="connsiteY1449" fmla="*/ 365841 h 1303985"/>
                    <a:gd name="connsiteX1450" fmla="*/ 904338 w 1805054"/>
                    <a:gd name="connsiteY1450" fmla="*/ 362218 h 1303985"/>
                    <a:gd name="connsiteX1451" fmla="*/ 912187 w 1805054"/>
                    <a:gd name="connsiteY1451" fmla="*/ 360407 h 1303985"/>
                    <a:gd name="connsiteX1452" fmla="*/ 915809 w 1805054"/>
                    <a:gd name="connsiteY1452" fmla="*/ 356785 h 1303985"/>
                    <a:gd name="connsiteX1453" fmla="*/ 919431 w 1805054"/>
                    <a:gd name="connsiteY1453" fmla="*/ 361011 h 1303985"/>
                    <a:gd name="connsiteX1454" fmla="*/ 923657 w 1805054"/>
                    <a:gd name="connsiteY1454" fmla="*/ 359804 h 1303985"/>
                    <a:gd name="connsiteX1455" fmla="*/ 925468 w 1805054"/>
                    <a:gd name="connsiteY1455" fmla="*/ 354370 h 1303985"/>
                    <a:gd name="connsiteX1456" fmla="*/ 924260 w 1805054"/>
                    <a:gd name="connsiteY1456" fmla="*/ 346522 h 1303985"/>
                    <a:gd name="connsiteX1457" fmla="*/ 930297 w 1805054"/>
                    <a:gd name="connsiteY1457" fmla="*/ 350144 h 1303985"/>
                    <a:gd name="connsiteX1458" fmla="*/ 934523 w 1805054"/>
                    <a:gd name="connsiteY1458" fmla="*/ 349541 h 1303985"/>
                    <a:gd name="connsiteX1459" fmla="*/ 934523 w 1805054"/>
                    <a:gd name="connsiteY1459" fmla="*/ 343504 h 1303985"/>
                    <a:gd name="connsiteX1460" fmla="*/ 939957 w 1805054"/>
                    <a:gd name="connsiteY1460" fmla="*/ 334448 h 1303985"/>
                    <a:gd name="connsiteX1461" fmla="*/ 942975 w 1805054"/>
                    <a:gd name="connsiteY1461" fmla="*/ 336863 h 1303985"/>
                    <a:gd name="connsiteX1462" fmla="*/ 945994 w 1805054"/>
                    <a:gd name="connsiteY1462" fmla="*/ 336259 h 1303985"/>
                    <a:gd name="connsiteX1463" fmla="*/ 945994 w 1805054"/>
                    <a:gd name="connsiteY1463" fmla="*/ 330826 h 1303985"/>
                    <a:gd name="connsiteX1464" fmla="*/ 950823 w 1805054"/>
                    <a:gd name="connsiteY1464" fmla="*/ 328411 h 1303985"/>
                    <a:gd name="connsiteX1465" fmla="*/ 957464 w 1805054"/>
                    <a:gd name="connsiteY1465" fmla="*/ 328411 h 1303985"/>
                    <a:gd name="connsiteX1466" fmla="*/ 959879 w 1805054"/>
                    <a:gd name="connsiteY1466" fmla="*/ 332637 h 1303985"/>
                    <a:gd name="connsiteX1467" fmla="*/ 953238 w 1805054"/>
                    <a:gd name="connsiteY1467" fmla="*/ 337467 h 1303985"/>
                    <a:gd name="connsiteX1468" fmla="*/ 950823 w 1805054"/>
                    <a:gd name="connsiteY1468" fmla="*/ 341089 h 1303985"/>
                    <a:gd name="connsiteX1469" fmla="*/ 961690 w 1805054"/>
                    <a:gd name="connsiteY1469" fmla="*/ 344107 h 1303985"/>
                    <a:gd name="connsiteX1470" fmla="*/ 960482 w 1805054"/>
                    <a:gd name="connsiteY1470" fmla="*/ 347730 h 1303985"/>
                    <a:gd name="connsiteX1471" fmla="*/ 967123 w 1805054"/>
                    <a:gd name="connsiteY1471" fmla="*/ 350144 h 1303985"/>
                    <a:gd name="connsiteX1472" fmla="*/ 973160 w 1805054"/>
                    <a:gd name="connsiteY1472" fmla="*/ 347730 h 1303985"/>
                    <a:gd name="connsiteX1473" fmla="*/ 971953 w 1805054"/>
                    <a:gd name="connsiteY1473" fmla="*/ 337467 h 1303985"/>
                    <a:gd name="connsiteX1474" fmla="*/ 968934 w 1805054"/>
                    <a:gd name="connsiteY1474" fmla="*/ 335052 h 1303985"/>
                    <a:gd name="connsiteX1475" fmla="*/ 979197 w 1805054"/>
                    <a:gd name="connsiteY1475" fmla="*/ 332637 h 1303985"/>
                    <a:gd name="connsiteX1476" fmla="*/ 977989 w 1805054"/>
                    <a:gd name="connsiteY1476" fmla="*/ 329015 h 1303985"/>
                    <a:gd name="connsiteX1477" fmla="*/ 973160 w 1805054"/>
                    <a:gd name="connsiteY1477" fmla="*/ 331430 h 1303985"/>
                    <a:gd name="connsiteX1478" fmla="*/ 969538 w 1805054"/>
                    <a:gd name="connsiteY1478" fmla="*/ 327204 h 1303985"/>
                    <a:gd name="connsiteX1479" fmla="*/ 964708 w 1805054"/>
                    <a:gd name="connsiteY1479" fmla="*/ 324185 h 1303985"/>
                    <a:gd name="connsiteX1480" fmla="*/ 965312 w 1805054"/>
                    <a:gd name="connsiteY1480" fmla="*/ 318149 h 1303985"/>
                    <a:gd name="connsiteX1481" fmla="*/ 971349 w 1805054"/>
                    <a:gd name="connsiteY1481" fmla="*/ 321167 h 1303985"/>
                    <a:gd name="connsiteX1482" fmla="*/ 977989 w 1805054"/>
                    <a:gd name="connsiteY1482" fmla="*/ 319356 h 1303985"/>
                    <a:gd name="connsiteX1483" fmla="*/ 991271 w 1805054"/>
                    <a:gd name="connsiteY1483" fmla="*/ 326600 h 1303985"/>
                    <a:gd name="connsiteX1484" fmla="*/ 992478 w 1805054"/>
                    <a:gd name="connsiteY1484" fmla="*/ 322978 h 1303985"/>
                    <a:gd name="connsiteX1485" fmla="*/ 990063 w 1805054"/>
                    <a:gd name="connsiteY1485" fmla="*/ 317545 h 1303985"/>
                    <a:gd name="connsiteX1486" fmla="*/ 985837 w 1805054"/>
                    <a:gd name="connsiteY1486" fmla="*/ 314526 h 1303985"/>
                    <a:gd name="connsiteX1487" fmla="*/ 987649 w 1805054"/>
                    <a:gd name="connsiteY1487" fmla="*/ 312112 h 1303985"/>
                    <a:gd name="connsiteX1488" fmla="*/ 996100 w 1805054"/>
                    <a:gd name="connsiteY1488" fmla="*/ 310301 h 1303985"/>
                    <a:gd name="connsiteX1489" fmla="*/ 994289 w 1805054"/>
                    <a:gd name="connsiteY1489" fmla="*/ 305471 h 1303985"/>
                    <a:gd name="connsiteX1490" fmla="*/ 997911 w 1805054"/>
                    <a:gd name="connsiteY1490" fmla="*/ 301849 h 1303985"/>
                    <a:gd name="connsiteX1491" fmla="*/ 1006363 w 1805054"/>
                    <a:gd name="connsiteY1491" fmla="*/ 301849 h 1303985"/>
                    <a:gd name="connsiteX1492" fmla="*/ 1009382 w 1805054"/>
                    <a:gd name="connsiteY1492" fmla="*/ 303660 h 1303985"/>
                    <a:gd name="connsiteX1493" fmla="*/ 1009382 w 1805054"/>
                    <a:gd name="connsiteY1493" fmla="*/ 308489 h 1303985"/>
                    <a:gd name="connsiteX1494" fmla="*/ 1004552 w 1805054"/>
                    <a:gd name="connsiteY1494" fmla="*/ 312112 h 1303985"/>
                    <a:gd name="connsiteX1495" fmla="*/ 1008174 w 1805054"/>
                    <a:gd name="connsiteY1495" fmla="*/ 316941 h 1303985"/>
                    <a:gd name="connsiteX1496" fmla="*/ 1006967 w 1805054"/>
                    <a:gd name="connsiteY1496" fmla="*/ 322978 h 1303985"/>
                    <a:gd name="connsiteX1497" fmla="*/ 1001534 w 1805054"/>
                    <a:gd name="connsiteY1497" fmla="*/ 327808 h 1303985"/>
                    <a:gd name="connsiteX1498" fmla="*/ 1006967 w 1805054"/>
                    <a:gd name="connsiteY1498" fmla="*/ 332033 h 1303985"/>
                    <a:gd name="connsiteX1499" fmla="*/ 1009985 w 1805054"/>
                    <a:gd name="connsiteY1499" fmla="*/ 329015 h 1303985"/>
                    <a:gd name="connsiteX1500" fmla="*/ 1013608 w 1805054"/>
                    <a:gd name="connsiteY1500" fmla="*/ 329619 h 1303985"/>
                    <a:gd name="connsiteX1501" fmla="*/ 1015419 w 1805054"/>
                    <a:gd name="connsiteY1501" fmla="*/ 333845 h 1303985"/>
                    <a:gd name="connsiteX1502" fmla="*/ 1014815 w 1805054"/>
                    <a:gd name="connsiteY1502" fmla="*/ 339278 h 1303985"/>
                    <a:gd name="connsiteX1503" fmla="*/ 1016626 w 1805054"/>
                    <a:gd name="connsiteY1503" fmla="*/ 344711 h 1303985"/>
                    <a:gd name="connsiteX1504" fmla="*/ 1011193 w 1805054"/>
                    <a:gd name="connsiteY1504" fmla="*/ 345315 h 1303985"/>
                    <a:gd name="connsiteX1505" fmla="*/ 1008778 w 1805054"/>
                    <a:gd name="connsiteY1505" fmla="*/ 349541 h 1303985"/>
                    <a:gd name="connsiteX1506" fmla="*/ 1000326 w 1805054"/>
                    <a:gd name="connsiteY1506" fmla="*/ 346522 h 1303985"/>
                    <a:gd name="connsiteX1507" fmla="*/ 1000326 w 1805054"/>
                    <a:gd name="connsiteY1507" fmla="*/ 342900 h 1303985"/>
                    <a:gd name="connsiteX1508" fmla="*/ 1007571 w 1805054"/>
                    <a:gd name="connsiteY1508" fmla="*/ 343504 h 1303985"/>
                    <a:gd name="connsiteX1509" fmla="*/ 1009985 w 1805054"/>
                    <a:gd name="connsiteY1509" fmla="*/ 338070 h 1303985"/>
                    <a:gd name="connsiteX1510" fmla="*/ 1003948 w 1805054"/>
                    <a:gd name="connsiteY1510" fmla="*/ 338674 h 1303985"/>
                    <a:gd name="connsiteX1511" fmla="*/ 1001534 w 1805054"/>
                    <a:gd name="connsiteY1511" fmla="*/ 341089 h 1303985"/>
                    <a:gd name="connsiteX1512" fmla="*/ 996100 w 1805054"/>
                    <a:gd name="connsiteY1512" fmla="*/ 341089 h 1303985"/>
                    <a:gd name="connsiteX1513" fmla="*/ 988252 w 1805054"/>
                    <a:gd name="connsiteY1513" fmla="*/ 349541 h 1303985"/>
                    <a:gd name="connsiteX1514" fmla="*/ 987045 w 1805054"/>
                    <a:gd name="connsiteY1514" fmla="*/ 354370 h 1303985"/>
                    <a:gd name="connsiteX1515" fmla="*/ 983423 w 1805054"/>
                    <a:gd name="connsiteY1515" fmla="*/ 358596 h 1303985"/>
                    <a:gd name="connsiteX1516" fmla="*/ 978593 w 1805054"/>
                    <a:gd name="connsiteY1516" fmla="*/ 357993 h 1303985"/>
                    <a:gd name="connsiteX1517" fmla="*/ 979197 w 1805054"/>
                    <a:gd name="connsiteY1517" fmla="*/ 362822 h 1303985"/>
                    <a:gd name="connsiteX1518" fmla="*/ 982819 w 1805054"/>
                    <a:gd name="connsiteY1518" fmla="*/ 362822 h 1303985"/>
                    <a:gd name="connsiteX1519" fmla="*/ 981612 w 1805054"/>
                    <a:gd name="connsiteY1519" fmla="*/ 367652 h 1303985"/>
                    <a:gd name="connsiteX1520" fmla="*/ 987649 w 1805054"/>
                    <a:gd name="connsiteY1520" fmla="*/ 376707 h 1303985"/>
                    <a:gd name="connsiteX1521" fmla="*/ 990063 w 1805054"/>
                    <a:gd name="connsiteY1521" fmla="*/ 376103 h 1303985"/>
                    <a:gd name="connsiteX1522" fmla="*/ 993082 w 1805054"/>
                    <a:gd name="connsiteY1522" fmla="*/ 365237 h 1303985"/>
                    <a:gd name="connsiteX1523" fmla="*/ 995497 w 1805054"/>
                    <a:gd name="connsiteY1523" fmla="*/ 363426 h 1303985"/>
                    <a:gd name="connsiteX1524" fmla="*/ 991874 w 1805054"/>
                    <a:gd name="connsiteY1524" fmla="*/ 357389 h 1303985"/>
                    <a:gd name="connsiteX1525" fmla="*/ 997911 w 1805054"/>
                    <a:gd name="connsiteY1525" fmla="*/ 350748 h 1303985"/>
                    <a:gd name="connsiteX1526" fmla="*/ 1007571 w 1805054"/>
                    <a:gd name="connsiteY1526" fmla="*/ 353767 h 1303985"/>
                    <a:gd name="connsiteX1527" fmla="*/ 1012400 w 1805054"/>
                    <a:gd name="connsiteY1527" fmla="*/ 350144 h 1303985"/>
                    <a:gd name="connsiteX1528" fmla="*/ 1011797 w 1805054"/>
                    <a:gd name="connsiteY1528" fmla="*/ 358596 h 1303985"/>
                    <a:gd name="connsiteX1529" fmla="*/ 1015419 w 1805054"/>
                    <a:gd name="connsiteY1529" fmla="*/ 363426 h 1303985"/>
                    <a:gd name="connsiteX1530" fmla="*/ 1009985 w 1805054"/>
                    <a:gd name="connsiteY1530" fmla="*/ 365841 h 1303985"/>
                    <a:gd name="connsiteX1531" fmla="*/ 1009382 w 1805054"/>
                    <a:gd name="connsiteY1531" fmla="*/ 370066 h 1303985"/>
                    <a:gd name="connsiteX1532" fmla="*/ 1002741 w 1805054"/>
                    <a:gd name="connsiteY1532" fmla="*/ 367048 h 1303985"/>
                    <a:gd name="connsiteX1533" fmla="*/ 1000326 w 1805054"/>
                    <a:gd name="connsiteY1533" fmla="*/ 372481 h 1303985"/>
                    <a:gd name="connsiteX1534" fmla="*/ 995497 w 1805054"/>
                    <a:gd name="connsiteY1534" fmla="*/ 372481 h 1303985"/>
                    <a:gd name="connsiteX1535" fmla="*/ 994289 w 1805054"/>
                    <a:gd name="connsiteY1535" fmla="*/ 376707 h 1303985"/>
                    <a:gd name="connsiteX1536" fmla="*/ 997308 w 1805054"/>
                    <a:gd name="connsiteY1536" fmla="*/ 380329 h 1303985"/>
                    <a:gd name="connsiteX1537" fmla="*/ 994289 w 1805054"/>
                    <a:gd name="connsiteY1537" fmla="*/ 386366 h 1303985"/>
                    <a:gd name="connsiteX1538" fmla="*/ 996100 w 1805054"/>
                    <a:gd name="connsiteY1538" fmla="*/ 393007 h 1303985"/>
                    <a:gd name="connsiteX1539" fmla="*/ 1000930 w 1805054"/>
                    <a:gd name="connsiteY1539" fmla="*/ 388781 h 1303985"/>
                    <a:gd name="connsiteX1540" fmla="*/ 1005760 w 1805054"/>
                    <a:gd name="connsiteY1540" fmla="*/ 381537 h 1303985"/>
                    <a:gd name="connsiteX1541" fmla="*/ 1011797 w 1805054"/>
                    <a:gd name="connsiteY1541" fmla="*/ 379122 h 1303985"/>
                    <a:gd name="connsiteX1542" fmla="*/ 1015419 w 1805054"/>
                    <a:gd name="connsiteY1542" fmla="*/ 380329 h 1303985"/>
                    <a:gd name="connsiteX1543" fmla="*/ 1017834 w 1805054"/>
                    <a:gd name="connsiteY1543" fmla="*/ 384555 h 1303985"/>
                    <a:gd name="connsiteX1544" fmla="*/ 1020852 w 1805054"/>
                    <a:gd name="connsiteY1544" fmla="*/ 385159 h 1303985"/>
                    <a:gd name="connsiteX1545" fmla="*/ 1021456 w 1805054"/>
                    <a:gd name="connsiteY1545" fmla="*/ 380329 h 1303985"/>
                    <a:gd name="connsiteX1546" fmla="*/ 1020852 w 1805054"/>
                    <a:gd name="connsiteY1546" fmla="*/ 376707 h 1303985"/>
                    <a:gd name="connsiteX1547" fmla="*/ 1016022 w 1805054"/>
                    <a:gd name="connsiteY1547" fmla="*/ 374292 h 1303985"/>
                    <a:gd name="connsiteX1548" fmla="*/ 1019041 w 1805054"/>
                    <a:gd name="connsiteY1548" fmla="*/ 367048 h 1303985"/>
                    <a:gd name="connsiteX1549" fmla="*/ 1024474 w 1805054"/>
                    <a:gd name="connsiteY1549" fmla="*/ 367048 h 1303985"/>
                    <a:gd name="connsiteX1550" fmla="*/ 1024474 w 1805054"/>
                    <a:gd name="connsiteY1550" fmla="*/ 373085 h 1303985"/>
                    <a:gd name="connsiteX1551" fmla="*/ 1026889 w 1805054"/>
                    <a:gd name="connsiteY1551" fmla="*/ 376103 h 1303985"/>
                    <a:gd name="connsiteX1552" fmla="*/ 1033530 w 1805054"/>
                    <a:gd name="connsiteY1552" fmla="*/ 378518 h 1303985"/>
                    <a:gd name="connsiteX1553" fmla="*/ 1026889 w 1805054"/>
                    <a:gd name="connsiteY1553" fmla="*/ 386970 h 1303985"/>
                    <a:gd name="connsiteX1554" fmla="*/ 1029304 w 1805054"/>
                    <a:gd name="connsiteY1554" fmla="*/ 389988 h 1303985"/>
                    <a:gd name="connsiteX1555" fmla="*/ 1026285 w 1805054"/>
                    <a:gd name="connsiteY1555" fmla="*/ 397233 h 1303985"/>
                    <a:gd name="connsiteX1556" fmla="*/ 1029907 w 1805054"/>
                    <a:gd name="connsiteY1556" fmla="*/ 398440 h 1303985"/>
                    <a:gd name="connsiteX1557" fmla="*/ 1033530 w 1805054"/>
                    <a:gd name="connsiteY1557" fmla="*/ 395422 h 1303985"/>
                    <a:gd name="connsiteX1558" fmla="*/ 1034737 w 1805054"/>
                    <a:gd name="connsiteY1558" fmla="*/ 390592 h 1303985"/>
                    <a:gd name="connsiteX1559" fmla="*/ 1038963 w 1805054"/>
                    <a:gd name="connsiteY1559" fmla="*/ 385763 h 1303985"/>
                    <a:gd name="connsiteX1560" fmla="*/ 1040170 w 1805054"/>
                    <a:gd name="connsiteY1560" fmla="*/ 389385 h 1303985"/>
                    <a:gd name="connsiteX1561" fmla="*/ 1046207 w 1805054"/>
                    <a:gd name="connsiteY1561" fmla="*/ 392403 h 1303985"/>
                    <a:gd name="connsiteX1562" fmla="*/ 1043792 w 1805054"/>
                    <a:gd name="connsiteY1562" fmla="*/ 396629 h 1303985"/>
                    <a:gd name="connsiteX1563" fmla="*/ 1047415 w 1805054"/>
                    <a:gd name="connsiteY1563" fmla="*/ 400251 h 1303985"/>
                    <a:gd name="connsiteX1564" fmla="*/ 1049226 w 1805054"/>
                    <a:gd name="connsiteY1564" fmla="*/ 404477 h 1303985"/>
                    <a:gd name="connsiteX1565" fmla="*/ 1058885 w 1805054"/>
                    <a:gd name="connsiteY1565" fmla="*/ 402666 h 1303985"/>
                    <a:gd name="connsiteX1566" fmla="*/ 1056470 w 1805054"/>
                    <a:gd name="connsiteY1566" fmla="*/ 396629 h 1303985"/>
                    <a:gd name="connsiteX1567" fmla="*/ 1059489 w 1805054"/>
                    <a:gd name="connsiteY1567" fmla="*/ 395422 h 1303985"/>
                    <a:gd name="connsiteX1568" fmla="*/ 1062507 w 1805054"/>
                    <a:gd name="connsiteY1568" fmla="*/ 400251 h 1303985"/>
                    <a:gd name="connsiteX1569" fmla="*/ 1070959 w 1805054"/>
                    <a:gd name="connsiteY1569" fmla="*/ 403270 h 1303985"/>
                    <a:gd name="connsiteX1570" fmla="*/ 1070355 w 1805054"/>
                    <a:gd name="connsiteY1570" fmla="*/ 397233 h 1303985"/>
                    <a:gd name="connsiteX1571" fmla="*/ 1067940 w 1805054"/>
                    <a:gd name="connsiteY1571" fmla="*/ 393611 h 1303985"/>
                    <a:gd name="connsiteX1572" fmla="*/ 1073374 w 1805054"/>
                    <a:gd name="connsiteY1572" fmla="*/ 393007 h 1303985"/>
                    <a:gd name="connsiteX1573" fmla="*/ 1075789 w 1805054"/>
                    <a:gd name="connsiteY1573" fmla="*/ 397233 h 1303985"/>
                    <a:gd name="connsiteX1574" fmla="*/ 1073977 w 1805054"/>
                    <a:gd name="connsiteY1574" fmla="*/ 399648 h 1303985"/>
                    <a:gd name="connsiteX1575" fmla="*/ 1078807 w 1805054"/>
                    <a:gd name="connsiteY1575" fmla="*/ 402062 h 1303985"/>
                    <a:gd name="connsiteX1576" fmla="*/ 1080014 w 1805054"/>
                    <a:gd name="connsiteY1576" fmla="*/ 399044 h 1303985"/>
                    <a:gd name="connsiteX1577" fmla="*/ 1083637 w 1805054"/>
                    <a:gd name="connsiteY1577" fmla="*/ 399648 h 1303985"/>
                    <a:gd name="connsiteX1578" fmla="*/ 1086655 w 1805054"/>
                    <a:gd name="connsiteY1578" fmla="*/ 394818 h 1303985"/>
                    <a:gd name="connsiteX1579" fmla="*/ 1083637 w 1805054"/>
                    <a:gd name="connsiteY1579" fmla="*/ 389988 h 1303985"/>
                    <a:gd name="connsiteX1580" fmla="*/ 1080014 w 1805054"/>
                    <a:gd name="connsiteY1580" fmla="*/ 386366 h 1303985"/>
                    <a:gd name="connsiteX1581" fmla="*/ 1078807 w 1805054"/>
                    <a:gd name="connsiteY1581" fmla="*/ 381537 h 1303985"/>
                    <a:gd name="connsiteX1582" fmla="*/ 1081826 w 1805054"/>
                    <a:gd name="connsiteY1582" fmla="*/ 374896 h 1303985"/>
                    <a:gd name="connsiteX1583" fmla="*/ 1085448 w 1805054"/>
                    <a:gd name="connsiteY1583" fmla="*/ 379726 h 1303985"/>
                    <a:gd name="connsiteX1584" fmla="*/ 1088466 w 1805054"/>
                    <a:gd name="connsiteY1584" fmla="*/ 379122 h 1303985"/>
                    <a:gd name="connsiteX1585" fmla="*/ 1090277 w 1805054"/>
                    <a:gd name="connsiteY1585" fmla="*/ 383951 h 1303985"/>
                    <a:gd name="connsiteX1586" fmla="*/ 1093296 w 1805054"/>
                    <a:gd name="connsiteY1586" fmla="*/ 380933 h 1303985"/>
                    <a:gd name="connsiteX1587" fmla="*/ 1092088 w 1805054"/>
                    <a:gd name="connsiteY1587" fmla="*/ 377311 h 1303985"/>
                    <a:gd name="connsiteX1588" fmla="*/ 1091485 w 1805054"/>
                    <a:gd name="connsiteY1588" fmla="*/ 367652 h 1303985"/>
                    <a:gd name="connsiteX1589" fmla="*/ 1086655 w 1805054"/>
                    <a:gd name="connsiteY1589" fmla="*/ 370066 h 1303985"/>
                    <a:gd name="connsiteX1590" fmla="*/ 1080618 w 1805054"/>
                    <a:gd name="connsiteY1590" fmla="*/ 365841 h 1303985"/>
                    <a:gd name="connsiteX1591" fmla="*/ 1077600 w 1805054"/>
                    <a:gd name="connsiteY1591" fmla="*/ 368859 h 1303985"/>
                    <a:gd name="connsiteX1592" fmla="*/ 1074581 w 1805054"/>
                    <a:gd name="connsiteY1592" fmla="*/ 365841 h 1303985"/>
                    <a:gd name="connsiteX1593" fmla="*/ 1075185 w 1805054"/>
                    <a:gd name="connsiteY1593" fmla="*/ 359200 h 1303985"/>
                    <a:gd name="connsiteX1594" fmla="*/ 1082429 w 1805054"/>
                    <a:gd name="connsiteY1594" fmla="*/ 351956 h 1303985"/>
                    <a:gd name="connsiteX1595" fmla="*/ 1092692 w 1805054"/>
                    <a:gd name="connsiteY1595" fmla="*/ 353767 h 1303985"/>
                    <a:gd name="connsiteX1596" fmla="*/ 1090881 w 1805054"/>
                    <a:gd name="connsiteY1596" fmla="*/ 357389 h 1303985"/>
                    <a:gd name="connsiteX1597" fmla="*/ 1093899 w 1805054"/>
                    <a:gd name="connsiteY1597" fmla="*/ 364030 h 1303985"/>
                    <a:gd name="connsiteX1598" fmla="*/ 1094503 w 1805054"/>
                    <a:gd name="connsiteY1598" fmla="*/ 369463 h 1303985"/>
                    <a:gd name="connsiteX1599" fmla="*/ 1096918 w 1805054"/>
                    <a:gd name="connsiteY1599" fmla="*/ 368859 h 1303985"/>
                    <a:gd name="connsiteX1600" fmla="*/ 1098729 w 1805054"/>
                    <a:gd name="connsiteY1600" fmla="*/ 362822 h 1303985"/>
                    <a:gd name="connsiteX1601" fmla="*/ 1104766 w 1805054"/>
                    <a:gd name="connsiteY1601" fmla="*/ 365841 h 1303985"/>
                    <a:gd name="connsiteX1602" fmla="*/ 1104162 w 1805054"/>
                    <a:gd name="connsiteY1602" fmla="*/ 370066 h 1303985"/>
                    <a:gd name="connsiteX1603" fmla="*/ 1115029 w 1805054"/>
                    <a:gd name="connsiteY1603" fmla="*/ 371274 h 1303985"/>
                    <a:gd name="connsiteX1604" fmla="*/ 1111407 w 1805054"/>
                    <a:gd name="connsiteY1604" fmla="*/ 374292 h 1303985"/>
                    <a:gd name="connsiteX1605" fmla="*/ 1109595 w 1805054"/>
                    <a:gd name="connsiteY1605" fmla="*/ 378518 h 1303985"/>
                    <a:gd name="connsiteX1606" fmla="*/ 1112614 w 1805054"/>
                    <a:gd name="connsiteY1606" fmla="*/ 379122 h 1303985"/>
                    <a:gd name="connsiteX1607" fmla="*/ 1110803 w 1805054"/>
                    <a:gd name="connsiteY1607" fmla="*/ 383348 h 1303985"/>
                    <a:gd name="connsiteX1608" fmla="*/ 1105973 w 1805054"/>
                    <a:gd name="connsiteY1608" fmla="*/ 382140 h 1303985"/>
                    <a:gd name="connsiteX1609" fmla="*/ 1104766 w 1805054"/>
                    <a:gd name="connsiteY1609" fmla="*/ 386366 h 1303985"/>
                    <a:gd name="connsiteX1610" fmla="*/ 1100540 w 1805054"/>
                    <a:gd name="connsiteY1610" fmla="*/ 390592 h 1303985"/>
                    <a:gd name="connsiteX1611" fmla="*/ 1099936 w 1805054"/>
                    <a:gd name="connsiteY1611" fmla="*/ 395422 h 1303985"/>
                    <a:gd name="connsiteX1612" fmla="*/ 1101747 w 1805054"/>
                    <a:gd name="connsiteY1612" fmla="*/ 402062 h 1303985"/>
                    <a:gd name="connsiteX1613" fmla="*/ 1105973 w 1805054"/>
                    <a:gd name="connsiteY1613" fmla="*/ 403270 h 1303985"/>
                    <a:gd name="connsiteX1614" fmla="*/ 1107784 w 1805054"/>
                    <a:gd name="connsiteY1614" fmla="*/ 399044 h 1303985"/>
                    <a:gd name="connsiteX1615" fmla="*/ 1111407 w 1805054"/>
                    <a:gd name="connsiteY1615" fmla="*/ 400855 h 1303985"/>
                    <a:gd name="connsiteX1616" fmla="*/ 1111407 w 1805054"/>
                    <a:gd name="connsiteY1616" fmla="*/ 405081 h 1303985"/>
                    <a:gd name="connsiteX1617" fmla="*/ 1118651 w 1805054"/>
                    <a:gd name="connsiteY1617" fmla="*/ 399648 h 1303985"/>
                    <a:gd name="connsiteX1618" fmla="*/ 1116840 w 1805054"/>
                    <a:gd name="connsiteY1618" fmla="*/ 407496 h 1303985"/>
                    <a:gd name="connsiteX1619" fmla="*/ 1122877 w 1805054"/>
                    <a:gd name="connsiteY1619" fmla="*/ 410514 h 1303985"/>
                    <a:gd name="connsiteX1620" fmla="*/ 1124688 w 1805054"/>
                    <a:gd name="connsiteY1620" fmla="*/ 406892 h 1303985"/>
                    <a:gd name="connsiteX1621" fmla="*/ 1128310 w 1805054"/>
                    <a:gd name="connsiteY1621" fmla="*/ 406288 h 1303985"/>
                    <a:gd name="connsiteX1622" fmla="*/ 1127706 w 1805054"/>
                    <a:gd name="connsiteY1622" fmla="*/ 400855 h 1303985"/>
                    <a:gd name="connsiteX1623" fmla="*/ 1130725 w 1805054"/>
                    <a:gd name="connsiteY1623" fmla="*/ 398440 h 1303985"/>
                    <a:gd name="connsiteX1624" fmla="*/ 1134951 w 1805054"/>
                    <a:gd name="connsiteY1624" fmla="*/ 391196 h 1303985"/>
                    <a:gd name="connsiteX1625" fmla="*/ 1139177 w 1805054"/>
                    <a:gd name="connsiteY1625" fmla="*/ 389385 h 1303985"/>
                    <a:gd name="connsiteX1626" fmla="*/ 1139780 w 1805054"/>
                    <a:gd name="connsiteY1626" fmla="*/ 393611 h 1303985"/>
                    <a:gd name="connsiteX1627" fmla="*/ 1145214 w 1805054"/>
                    <a:gd name="connsiteY1627" fmla="*/ 396629 h 1303985"/>
                    <a:gd name="connsiteX1628" fmla="*/ 1149439 w 1805054"/>
                    <a:gd name="connsiteY1628" fmla="*/ 397233 h 1303985"/>
                    <a:gd name="connsiteX1629" fmla="*/ 1151854 w 1805054"/>
                    <a:gd name="connsiteY1629" fmla="*/ 399648 h 1303985"/>
                    <a:gd name="connsiteX1630" fmla="*/ 1159099 w 1805054"/>
                    <a:gd name="connsiteY1630" fmla="*/ 400855 h 1303985"/>
                    <a:gd name="connsiteX1631" fmla="*/ 1160910 w 1805054"/>
                    <a:gd name="connsiteY1631" fmla="*/ 398440 h 1303985"/>
                    <a:gd name="connsiteX1632" fmla="*/ 1167550 w 1805054"/>
                    <a:gd name="connsiteY1632" fmla="*/ 399044 h 1303985"/>
                    <a:gd name="connsiteX1633" fmla="*/ 1174191 w 1805054"/>
                    <a:gd name="connsiteY1633" fmla="*/ 397233 h 1303985"/>
                    <a:gd name="connsiteX1634" fmla="*/ 1180228 w 1805054"/>
                    <a:gd name="connsiteY1634" fmla="*/ 400855 h 1303985"/>
                    <a:gd name="connsiteX1635" fmla="*/ 1192302 w 1805054"/>
                    <a:gd name="connsiteY1635" fmla="*/ 406892 h 1303985"/>
                    <a:gd name="connsiteX1636" fmla="*/ 1198339 w 1805054"/>
                    <a:gd name="connsiteY1636" fmla="*/ 407496 h 1303985"/>
                    <a:gd name="connsiteX1637" fmla="*/ 1195321 w 1805054"/>
                    <a:gd name="connsiteY1637" fmla="*/ 403270 h 1303985"/>
                    <a:gd name="connsiteX1638" fmla="*/ 1198943 w 1805054"/>
                    <a:gd name="connsiteY1638" fmla="*/ 394214 h 1303985"/>
                    <a:gd name="connsiteX1639" fmla="*/ 1199546 w 1805054"/>
                    <a:gd name="connsiteY1639" fmla="*/ 389385 h 1303985"/>
                    <a:gd name="connsiteX1640" fmla="*/ 1197132 w 1805054"/>
                    <a:gd name="connsiteY1640" fmla="*/ 383348 h 1303985"/>
                    <a:gd name="connsiteX1641" fmla="*/ 1199546 w 1805054"/>
                    <a:gd name="connsiteY1641" fmla="*/ 379726 h 1303985"/>
                    <a:gd name="connsiteX1642" fmla="*/ 1195924 w 1805054"/>
                    <a:gd name="connsiteY1642" fmla="*/ 375500 h 1303985"/>
                    <a:gd name="connsiteX1643" fmla="*/ 1201357 w 1805054"/>
                    <a:gd name="connsiteY1643" fmla="*/ 371878 h 1303985"/>
                    <a:gd name="connsiteX1644" fmla="*/ 1205583 w 1805054"/>
                    <a:gd name="connsiteY1644" fmla="*/ 373689 h 1303985"/>
                    <a:gd name="connsiteX1645" fmla="*/ 1211620 w 1805054"/>
                    <a:gd name="connsiteY1645" fmla="*/ 372481 h 1303985"/>
                    <a:gd name="connsiteX1646" fmla="*/ 1217054 w 1805054"/>
                    <a:gd name="connsiteY1646" fmla="*/ 369463 h 1303985"/>
                    <a:gd name="connsiteX1647" fmla="*/ 1227316 w 1805054"/>
                    <a:gd name="connsiteY1647" fmla="*/ 368255 h 1303985"/>
                    <a:gd name="connsiteX1648" fmla="*/ 1226713 w 1805054"/>
                    <a:gd name="connsiteY1648" fmla="*/ 364030 h 1303985"/>
                    <a:gd name="connsiteX1649" fmla="*/ 1230335 w 1805054"/>
                    <a:gd name="connsiteY1649" fmla="*/ 361011 h 1303985"/>
                    <a:gd name="connsiteX1650" fmla="*/ 1229731 w 1805054"/>
                    <a:gd name="connsiteY1650" fmla="*/ 355578 h 1303985"/>
                    <a:gd name="connsiteX1651" fmla="*/ 1232146 w 1805054"/>
                    <a:gd name="connsiteY1651" fmla="*/ 351352 h 1303985"/>
                    <a:gd name="connsiteX1652" fmla="*/ 1242409 w 1805054"/>
                    <a:gd name="connsiteY1652" fmla="*/ 351352 h 1303985"/>
                    <a:gd name="connsiteX1653" fmla="*/ 1244824 w 1805054"/>
                    <a:gd name="connsiteY1653" fmla="*/ 348333 h 1303985"/>
                    <a:gd name="connsiteX1654" fmla="*/ 1253879 w 1805054"/>
                    <a:gd name="connsiteY1654" fmla="*/ 351956 h 1303985"/>
                    <a:gd name="connsiteX1655" fmla="*/ 1256294 w 1805054"/>
                    <a:gd name="connsiteY1655" fmla="*/ 348333 h 1303985"/>
                    <a:gd name="connsiteX1656" fmla="*/ 1260520 w 1805054"/>
                    <a:gd name="connsiteY1656" fmla="*/ 345919 h 1303985"/>
                    <a:gd name="connsiteX1657" fmla="*/ 1260520 w 1805054"/>
                    <a:gd name="connsiteY1657" fmla="*/ 343504 h 1303985"/>
                    <a:gd name="connsiteX1658" fmla="*/ 1266557 w 1805054"/>
                    <a:gd name="connsiteY1658" fmla="*/ 342296 h 1303985"/>
                    <a:gd name="connsiteX1659" fmla="*/ 1266557 w 1805054"/>
                    <a:gd name="connsiteY1659" fmla="*/ 336863 h 1303985"/>
                    <a:gd name="connsiteX1660" fmla="*/ 1271990 w 1805054"/>
                    <a:gd name="connsiteY1660" fmla="*/ 337467 h 1303985"/>
                    <a:gd name="connsiteX1661" fmla="*/ 1275009 w 1805054"/>
                    <a:gd name="connsiteY1661" fmla="*/ 336259 h 1303985"/>
                    <a:gd name="connsiteX1662" fmla="*/ 1278631 w 1805054"/>
                    <a:gd name="connsiteY1662" fmla="*/ 337467 h 1303985"/>
                    <a:gd name="connsiteX1663" fmla="*/ 1280442 w 1805054"/>
                    <a:gd name="connsiteY1663" fmla="*/ 332033 h 1303985"/>
                    <a:gd name="connsiteX1664" fmla="*/ 1284064 w 1805054"/>
                    <a:gd name="connsiteY1664" fmla="*/ 332637 h 1303985"/>
                    <a:gd name="connsiteX1665" fmla="*/ 1291308 w 1805054"/>
                    <a:gd name="connsiteY1665" fmla="*/ 340485 h 1303985"/>
                    <a:gd name="connsiteX1666" fmla="*/ 1292516 w 1805054"/>
                    <a:gd name="connsiteY1666" fmla="*/ 344711 h 1303985"/>
                    <a:gd name="connsiteX1667" fmla="*/ 1290101 w 1805054"/>
                    <a:gd name="connsiteY1667" fmla="*/ 347730 h 1303985"/>
                    <a:gd name="connsiteX1668" fmla="*/ 1291912 w 1805054"/>
                    <a:gd name="connsiteY1668" fmla="*/ 353767 h 1303985"/>
                    <a:gd name="connsiteX1669" fmla="*/ 1291912 w 1805054"/>
                    <a:gd name="connsiteY1669" fmla="*/ 358596 h 1303985"/>
                    <a:gd name="connsiteX1670" fmla="*/ 1290101 w 1805054"/>
                    <a:gd name="connsiteY1670" fmla="*/ 362218 h 1303985"/>
                    <a:gd name="connsiteX1671" fmla="*/ 1291912 w 1805054"/>
                    <a:gd name="connsiteY1671" fmla="*/ 365237 h 1303985"/>
                    <a:gd name="connsiteX1672" fmla="*/ 1297949 w 1805054"/>
                    <a:gd name="connsiteY1672" fmla="*/ 366444 h 1303985"/>
                    <a:gd name="connsiteX1673" fmla="*/ 1301571 w 1805054"/>
                    <a:gd name="connsiteY1673" fmla="*/ 372481 h 1303985"/>
                    <a:gd name="connsiteX1674" fmla="*/ 1305797 w 1805054"/>
                    <a:gd name="connsiteY1674" fmla="*/ 375500 h 1303985"/>
                    <a:gd name="connsiteX1675" fmla="*/ 1310023 w 1805054"/>
                    <a:gd name="connsiteY1675" fmla="*/ 374292 h 1303985"/>
                    <a:gd name="connsiteX1676" fmla="*/ 1310627 w 1805054"/>
                    <a:gd name="connsiteY1676" fmla="*/ 379122 h 1303985"/>
                    <a:gd name="connsiteX1677" fmla="*/ 1315456 w 1805054"/>
                    <a:gd name="connsiteY1677" fmla="*/ 389988 h 1303985"/>
                    <a:gd name="connsiteX1678" fmla="*/ 1313645 w 1805054"/>
                    <a:gd name="connsiteY1678" fmla="*/ 391800 h 1303985"/>
                    <a:gd name="connsiteX1679" fmla="*/ 1307608 w 1805054"/>
                    <a:gd name="connsiteY1679" fmla="*/ 392403 h 1303985"/>
                    <a:gd name="connsiteX1680" fmla="*/ 1299760 w 1805054"/>
                    <a:gd name="connsiteY1680" fmla="*/ 397837 h 1303985"/>
                    <a:gd name="connsiteX1681" fmla="*/ 1299157 w 1805054"/>
                    <a:gd name="connsiteY1681" fmla="*/ 400251 h 1303985"/>
                    <a:gd name="connsiteX1682" fmla="*/ 1294327 w 1805054"/>
                    <a:gd name="connsiteY1682" fmla="*/ 405081 h 1303985"/>
                    <a:gd name="connsiteX1683" fmla="*/ 1290705 w 1805054"/>
                    <a:gd name="connsiteY1683" fmla="*/ 412325 h 1303985"/>
                    <a:gd name="connsiteX1684" fmla="*/ 1285875 w 1805054"/>
                    <a:gd name="connsiteY1684" fmla="*/ 415344 h 1303985"/>
                    <a:gd name="connsiteX1685" fmla="*/ 1282857 w 1805054"/>
                    <a:gd name="connsiteY1685" fmla="*/ 422588 h 1303985"/>
                    <a:gd name="connsiteX1686" fmla="*/ 1287686 w 1805054"/>
                    <a:gd name="connsiteY1686" fmla="*/ 425003 h 1303985"/>
                    <a:gd name="connsiteX1687" fmla="*/ 1292516 w 1805054"/>
                    <a:gd name="connsiteY1687" fmla="*/ 428625 h 1303985"/>
                    <a:gd name="connsiteX1688" fmla="*/ 1294931 w 1805054"/>
                    <a:gd name="connsiteY1688" fmla="*/ 428625 h 1303985"/>
                    <a:gd name="connsiteX1689" fmla="*/ 1303382 w 1805054"/>
                    <a:gd name="connsiteY1689" fmla="*/ 423796 h 1303985"/>
                    <a:gd name="connsiteX1690" fmla="*/ 1306401 w 1805054"/>
                    <a:gd name="connsiteY1690" fmla="*/ 427418 h 1303985"/>
                    <a:gd name="connsiteX1691" fmla="*/ 1305797 w 1805054"/>
                    <a:gd name="connsiteY1691" fmla="*/ 417155 h 1303985"/>
                    <a:gd name="connsiteX1692" fmla="*/ 1308816 w 1805054"/>
                    <a:gd name="connsiteY1692" fmla="*/ 413533 h 1303985"/>
                    <a:gd name="connsiteX1693" fmla="*/ 1314852 w 1805054"/>
                    <a:gd name="connsiteY1693" fmla="*/ 413533 h 1303985"/>
                    <a:gd name="connsiteX1694" fmla="*/ 1318475 w 1805054"/>
                    <a:gd name="connsiteY1694" fmla="*/ 411118 h 1303985"/>
                    <a:gd name="connsiteX1695" fmla="*/ 1322701 w 1805054"/>
                    <a:gd name="connsiteY1695" fmla="*/ 413533 h 1303985"/>
                    <a:gd name="connsiteX1696" fmla="*/ 1324512 w 1805054"/>
                    <a:gd name="connsiteY1696" fmla="*/ 419570 h 1303985"/>
                    <a:gd name="connsiteX1697" fmla="*/ 1331152 w 1805054"/>
                    <a:gd name="connsiteY1697" fmla="*/ 415344 h 1303985"/>
                    <a:gd name="connsiteX1698" fmla="*/ 1328134 w 1805054"/>
                    <a:gd name="connsiteY1698" fmla="*/ 408703 h 1303985"/>
                    <a:gd name="connsiteX1699" fmla="*/ 1332963 w 1805054"/>
                    <a:gd name="connsiteY1699" fmla="*/ 406892 h 1303985"/>
                    <a:gd name="connsiteX1700" fmla="*/ 1334775 w 1805054"/>
                    <a:gd name="connsiteY1700" fmla="*/ 411118 h 1303985"/>
                    <a:gd name="connsiteX1701" fmla="*/ 1339604 w 1805054"/>
                    <a:gd name="connsiteY1701" fmla="*/ 414136 h 1303985"/>
                    <a:gd name="connsiteX1702" fmla="*/ 1346849 w 1805054"/>
                    <a:gd name="connsiteY1702" fmla="*/ 409307 h 1303985"/>
                    <a:gd name="connsiteX1703" fmla="*/ 1352886 w 1805054"/>
                    <a:gd name="connsiteY1703" fmla="*/ 412325 h 1303985"/>
                    <a:gd name="connsiteX1704" fmla="*/ 1349263 w 1805054"/>
                    <a:gd name="connsiteY1704" fmla="*/ 405081 h 1303985"/>
                    <a:gd name="connsiteX1705" fmla="*/ 1350471 w 1805054"/>
                    <a:gd name="connsiteY1705" fmla="*/ 394214 h 1303985"/>
                    <a:gd name="connsiteX1706" fmla="*/ 1355904 w 1805054"/>
                    <a:gd name="connsiteY1706" fmla="*/ 402062 h 1303985"/>
                    <a:gd name="connsiteX1707" fmla="*/ 1353489 w 1805054"/>
                    <a:gd name="connsiteY1707" fmla="*/ 406892 h 1303985"/>
                    <a:gd name="connsiteX1708" fmla="*/ 1360130 w 1805054"/>
                    <a:gd name="connsiteY1708" fmla="*/ 408703 h 1303985"/>
                    <a:gd name="connsiteX1709" fmla="*/ 1362545 w 1805054"/>
                    <a:gd name="connsiteY1709" fmla="*/ 412325 h 1303985"/>
                    <a:gd name="connsiteX1710" fmla="*/ 1367978 w 1805054"/>
                    <a:gd name="connsiteY1710" fmla="*/ 411118 h 1303985"/>
                    <a:gd name="connsiteX1711" fmla="*/ 1366770 w 1805054"/>
                    <a:gd name="connsiteY1711" fmla="*/ 417155 h 1303985"/>
                    <a:gd name="connsiteX1712" fmla="*/ 1377637 w 1805054"/>
                    <a:gd name="connsiteY1712" fmla="*/ 413533 h 1303985"/>
                    <a:gd name="connsiteX1713" fmla="*/ 1378844 w 1805054"/>
                    <a:gd name="connsiteY1713" fmla="*/ 415344 h 1303985"/>
                    <a:gd name="connsiteX1714" fmla="*/ 1387900 w 1805054"/>
                    <a:gd name="connsiteY1714" fmla="*/ 415344 h 1303985"/>
                    <a:gd name="connsiteX1715" fmla="*/ 1387900 w 1805054"/>
                    <a:gd name="connsiteY1715" fmla="*/ 410514 h 1303985"/>
                    <a:gd name="connsiteX1716" fmla="*/ 1381259 w 1805054"/>
                    <a:gd name="connsiteY1716" fmla="*/ 406892 h 1303985"/>
                    <a:gd name="connsiteX1717" fmla="*/ 1375826 w 1805054"/>
                    <a:gd name="connsiteY1717" fmla="*/ 405685 h 1303985"/>
                    <a:gd name="connsiteX1718" fmla="*/ 1375826 w 1805054"/>
                    <a:gd name="connsiteY1718" fmla="*/ 400251 h 1303985"/>
                    <a:gd name="connsiteX1719" fmla="*/ 1382467 w 1805054"/>
                    <a:gd name="connsiteY1719" fmla="*/ 397233 h 1303985"/>
                    <a:gd name="connsiteX1720" fmla="*/ 1389107 w 1805054"/>
                    <a:gd name="connsiteY1720" fmla="*/ 398440 h 1303985"/>
                    <a:gd name="connsiteX1721" fmla="*/ 1392730 w 1805054"/>
                    <a:gd name="connsiteY1721" fmla="*/ 396025 h 1303985"/>
                    <a:gd name="connsiteX1722" fmla="*/ 1396352 w 1805054"/>
                    <a:gd name="connsiteY1722" fmla="*/ 399648 h 1303985"/>
                    <a:gd name="connsiteX1723" fmla="*/ 1399370 w 1805054"/>
                    <a:gd name="connsiteY1723" fmla="*/ 397233 h 1303985"/>
                    <a:gd name="connsiteX1724" fmla="*/ 1401181 w 1805054"/>
                    <a:gd name="connsiteY1724" fmla="*/ 391196 h 1303985"/>
                    <a:gd name="connsiteX1725" fmla="*/ 1399974 w 1805054"/>
                    <a:gd name="connsiteY1725" fmla="*/ 385763 h 1303985"/>
                    <a:gd name="connsiteX1726" fmla="*/ 1407218 w 1805054"/>
                    <a:gd name="connsiteY1726" fmla="*/ 386970 h 1303985"/>
                    <a:gd name="connsiteX1727" fmla="*/ 1414463 w 1805054"/>
                    <a:gd name="connsiteY1727" fmla="*/ 392403 h 1303985"/>
                    <a:gd name="connsiteX1728" fmla="*/ 1410237 w 1805054"/>
                    <a:gd name="connsiteY1728" fmla="*/ 397837 h 1303985"/>
                    <a:gd name="connsiteX1729" fmla="*/ 1406011 w 1805054"/>
                    <a:gd name="connsiteY1729" fmla="*/ 401459 h 1303985"/>
                    <a:gd name="connsiteX1730" fmla="*/ 1407822 w 1805054"/>
                    <a:gd name="connsiteY1730" fmla="*/ 406288 h 1303985"/>
                    <a:gd name="connsiteX1731" fmla="*/ 1406011 w 1805054"/>
                    <a:gd name="connsiteY1731" fmla="*/ 409307 h 1303985"/>
                    <a:gd name="connsiteX1732" fmla="*/ 1407218 w 1805054"/>
                    <a:gd name="connsiteY1732" fmla="*/ 413533 h 1303985"/>
                    <a:gd name="connsiteX1733" fmla="*/ 1401181 w 1805054"/>
                    <a:gd name="connsiteY1733" fmla="*/ 417759 h 1303985"/>
                    <a:gd name="connsiteX1734" fmla="*/ 1398767 w 1805054"/>
                    <a:gd name="connsiteY1734" fmla="*/ 422588 h 1303985"/>
                    <a:gd name="connsiteX1735" fmla="*/ 1402992 w 1805054"/>
                    <a:gd name="connsiteY1735" fmla="*/ 428625 h 1303985"/>
                    <a:gd name="connsiteX1736" fmla="*/ 1396352 w 1805054"/>
                    <a:gd name="connsiteY1736" fmla="*/ 435869 h 1303985"/>
                    <a:gd name="connsiteX1737" fmla="*/ 1392730 w 1805054"/>
                    <a:gd name="connsiteY1737" fmla="*/ 435266 h 1303985"/>
                    <a:gd name="connsiteX1738" fmla="*/ 1393333 w 1805054"/>
                    <a:gd name="connsiteY1738" fmla="*/ 442510 h 1303985"/>
                    <a:gd name="connsiteX1739" fmla="*/ 1396955 w 1805054"/>
                    <a:gd name="connsiteY1739" fmla="*/ 444321 h 1303985"/>
                    <a:gd name="connsiteX1740" fmla="*/ 1404200 w 1805054"/>
                    <a:gd name="connsiteY1740" fmla="*/ 444321 h 1303985"/>
                    <a:gd name="connsiteX1741" fmla="*/ 1410840 w 1805054"/>
                    <a:gd name="connsiteY1741" fmla="*/ 441303 h 1303985"/>
                    <a:gd name="connsiteX1742" fmla="*/ 1412652 w 1805054"/>
                    <a:gd name="connsiteY1742" fmla="*/ 439492 h 1303985"/>
                    <a:gd name="connsiteX1743" fmla="*/ 1421103 w 1805054"/>
                    <a:gd name="connsiteY1743" fmla="*/ 435869 h 1303985"/>
                    <a:gd name="connsiteX1744" fmla="*/ 1424122 w 1805054"/>
                    <a:gd name="connsiteY1744" fmla="*/ 443114 h 1303985"/>
                    <a:gd name="connsiteX1745" fmla="*/ 1433781 w 1805054"/>
                    <a:gd name="connsiteY1745" fmla="*/ 443114 h 1303985"/>
                    <a:gd name="connsiteX1746" fmla="*/ 1439214 w 1805054"/>
                    <a:gd name="connsiteY1746" fmla="*/ 440095 h 1303985"/>
                    <a:gd name="connsiteX1747" fmla="*/ 1449477 w 1805054"/>
                    <a:gd name="connsiteY1747" fmla="*/ 440699 h 1303985"/>
                    <a:gd name="connsiteX1748" fmla="*/ 1452496 w 1805054"/>
                    <a:gd name="connsiteY1748" fmla="*/ 446736 h 1303985"/>
                    <a:gd name="connsiteX1749" fmla="*/ 1460344 w 1805054"/>
                    <a:gd name="connsiteY1749" fmla="*/ 453980 h 1303985"/>
                    <a:gd name="connsiteX1750" fmla="*/ 1462758 w 1805054"/>
                    <a:gd name="connsiteY1750" fmla="*/ 448547 h 1303985"/>
                    <a:gd name="connsiteX1751" fmla="*/ 1465777 w 1805054"/>
                    <a:gd name="connsiteY1751" fmla="*/ 444925 h 1303985"/>
                    <a:gd name="connsiteX1752" fmla="*/ 1466984 w 1805054"/>
                    <a:gd name="connsiteY1752" fmla="*/ 438888 h 1303985"/>
                    <a:gd name="connsiteX1753" fmla="*/ 1476643 w 1805054"/>
                    <a:gd name="connsiteY1753" fmla="*/ 443717 h 1303985"/>
                    <a:gd name="connsiteX1754" fmla="*/ 1475436 w 1805054"/>
                    <a:gd name="connsiteY1754" fmla="*/ 436473 h 1303985"/>
                    <a:gd name="connsiteX1755" fmla="*/ 1477851 w 1805054"/>
                    <a:gd name="connsiteY1755" fmla="*/ 434662 h 1303985"/>
                    <a:gd name="connsiteX1756" fmla="*/ 1475436 w 1805054"/>
                    <a:gd name="connsiteY1756" fmla="*/ 430436 h 1303985"/>
                    <a:gd name="connsiteX1757" fmla="*/ 1479662 w 1805054"/>
                    <a:gd name="connsiteY1757" fmla="*/ 428021 h 1303985"/>
                    <a:gd name="connsiteX1758" fmla="*/ 1485095 w 1805054"/>
                    <a:gd name="connsiteY1758" fmla="*/ 420173 h 1303985"/>
                    <a:gd name="connsiteX1759" fmla="*/ 1488114 w 1805054"/>
                    <a:gd name="connsiteY1759" fmla="*/ 414136 h 1303985"/>
                    <a:gd name="connsiteX1760" fmla="*/ 1487510 w 1805054"/>
                    <a:gd name="connsiteY1760" fmla="*/ 409911 h 1303985"/>
                    <a:gd name="connsiteX1761" fmla="*/ 1484491 w 1805054"/>
                    <a:gd name="connsiteY1761" fmla="*/ 405685 h 1303985"/>
                    <a:gd name="connsiteX1762" fmla="*/ 1486906 w 1805054"/>
                    <a:gd name="connsiteY1762" fmla="*/ 403270 h 1303985"/>
                    <a:gd name="connsiteX1763" fmla="*/ 1487510 w 1805054"/>
                    <a:gd name="connsiteY1763" fmla="*/ 397233 h 1303985"/>
                    <a:gd name="connsiteX1764" fmla="*/ 1490528 w 1805054"/>
                    <a:gd name="connsiteY1764" fmla="*/ 394818 h 1303985"/>
                    <a:gd name="connsiteX1765" fmla="*/ 1489321 w 1805054"/>
                    <a:gd name="connsiteY1765" fmla="*/ 391800 h 1303985"/>
                    <a:gd name="connsiteX1766" fmla="*/ 1501999 w 1805054"/>
                    <a:gd name="connsiteY1766" fmla="*/ 390592 h 1303985"/>
                    <a:gd name="connsiteX1767" fmla="*/ 1506225 w 1805054"/>
                    <a:gd name="connsiteY1767" fmla="*/ 391800 h 1303985"/>
                    <a:gd name="connsiteX1768" fmla="*/ 1509243 w 1805054"/>
                    <a:gd name="connsiteY1768" fmla="*/ 396629 h 1303985"/>
                    <a:gd name="connsiteX1769" fmla="*/ 1514073 w 1805054"/>
                    <a:gd name="connsiteY1769" fmla="*/ 401459 h 1303985"/>
                    <a:gd name="connsiteX1770" fmla="*/ 1521921 w 1805054"/>
                    <a:gd name="connsiteY1770" fmla="*/ 399044 h 1303985"/>
                    <a:gd name="connsiteX1771" fmla="*/ 1524335 w 1805054"/>
                    <a:gd name="connsiteY1771" fmla="*/ 403874 h 1303985"/>
                    <a:gd name="connsiteX1772" fmla="*/ 1523732 w 1805054"/>
                    <a:gd name="connsiteY1772" fmla="*/ 407496 h 1303985"/>
                    <a:gd name="connsiteX1773" fmla="*/ 1533995 w 1805054"/>
                    <a:gd name="connsiteY1773" fmla="*/ 412325 h 1303985"/>
                    <a:gd name="connsiteX1774" fmla="*/ 1535806 w 1805054"/>
                    <a:gd name="connsiteY1774" fmla="*/ 411118 h 1303985"/>
                    <a:gd name="connsiteX1775" fmla="*/ 1535806 w 1805054"/>
                    <a:gd name="connsiteY1775" fmla="*/ 404477 h 1303985"/>
                    <a:gd name="connsiteX1776" fmla="*/ 1532183 w 1805054"/>
                    <a:gd name="connsiteY1776" fmla="*/ 402062 h 1303985"/>
                    <a:gd name="connsiteX1777" fmla="*/ 1532183 w 1805054"/>
                    <a:gd name="connsiteY1777" fmla="*/ 397837 h 1303985"/>
                    <a:gd name="connsiteX1778" fmla="*/ 1535202 w 1805054"/>
                    <a:gd name="connsiteY1778" fmla="*/ 396025 h 1303985"/>
                    <a:gd name="connsiteX1779" fmla="*/ 1540635 w 1805054"/>
                    <a:gd name="connsiteY1779" fmla="*/ 394818 h 1303985"/>
                    <a:gd name="connsiteX1780" fmla="*/ 1542446 w 1805054"/>
                    <a:gd name="connsiteY1780" fmla="*/ 391800 h 1303985"/>
                    <a:gd name="connsiteX1781" fmla="*/ 1539428 w 1805054"/>
                    <a:gd name="connsiteY1781" fmla="*/ 389988 h 1303985"/>
                    <a:gd name="connsiteX1782" fmla="*/ 1539428 w 1805054"/>
                    <a:gd name="connsiteY1782" fmla="*/ 386970 h 1303985"/>
                    <a:gd name="connsiteX1783" fmla="*/ 1543654 w 1805054"/>
                    <a:gd name="connsiteY1783" fmla="*/ 387574 h 1303985"/>
                    <a:gd name="connsiteX1784" fmla="*/ 1550898 w 1805054"/>
                    <a:gd name="connsiteY1784" fmla="*/ 385159 h 1303985"/>
                    <a:gd name="connsiteX1785" fmla="*/ 1555124 w 1805054"/>
                    <a:gd name="connsiteY1785" fmla="*/ 387574 h 1303985"/>
                    <a:gd name="connsiteX1786" fmla="*/ 1553917 w 1805054"/>
                    <a:gd name="connsiteY1786" fmla="*/ 391196 h 1303985"/>
                    <a:gd name="connsiteX1787" fmla="*/ 1558746 w 1805054"/>
                    <a:gd name="connsiteY1787" fmla="*/ 391800 h 1303985"/>
                    <a:gd name="connsiteX1788" fmla="*/ 1561765 w 1805054"/>
                    <a:gd name="connsiteY1788" fmla="*/ 394214 h 1303985"/>
                    <a:gd name="connsiteX1789" fmla="*/ 1556331 w 1805054"/>
                    <a:gd name="connsiteY1789" fmla="*/ 398440 h 1303985"/>
                    <a:gd name="connsiteX1790" fmla="*/ 1555728 w 1805054"/>
                    <a:gd name="connsiteY1790" fmla="*/ 401459 h 1303985"/>
                    <a:gd name="connsiteX1791" fmla="*/ 1561161 w 1805054"/>
                    <a:gd name="connsiteY1791" fmla="*/ 401459 h 1303985"/>
                    <a:gd name="connsiteX1792" fmla="*/ 1564180 w 1805054"/>
                    <a:gd name="connsiteY1792" fmla="*/ 406288 h 1303985"/>
                    <a:gd name="connsiteX1793" fmla="*/ 1556331 w 1805054"/>
                    <a:gd name="connsiteY1793" fmla="*/ 412325 h 1303985"/>
                    <a:gd name="connsiteX1794" fmla="*/ 1562368 w 1805054"/>
                    <a:gd name="connsiteY1794" fmla="*/ 416551 h 1303985"/>
                    <a:gd name="connsiteX1795" fmla="*/ 1567198 w 1805054"/>
                    <a:gd name="connsiteY1795" fmla="*/ 412325 h 1303985"/>
                    <a:gd name="connsiteX1796" fmla="*/ 1573839 w 1805054"/>
                    <a:gd name="connsiteY1796" fmla="*/ 414740 h 1303985"/>
                    <a:gd name="connsiteX1797" fmla="*/ 1574442 w 1805054"/>
                    <a:gd name="connsiteY1797" fmla="*/ 419570 h 1303985"/>
                    <a:gd name="connsiteX1798" fmla="*/ 1579272 w 1805054"/>
                    <a:gd name="connsiteY1798" fmla="*/ 420777 h 1303985"/>
                    <a:gd name="connsiteX1799" fmla="*/ 1581687 w 1805054"/>
                    <a:gd name="connsiteY1799" fmla="*/ 417759 h 1303985"/>
                    <a:gd name="connsiteX1800" fmla="*/ 1597383 w 1805054"/>
                    <a:gd name="connsiteY1800" fmla="*/ 427418 h 1303985"/>
                    <a:gd name="connsiteX1801" fmla="*/ 1605231 w 1805054"/>
                    <a:gd name="connsiteY1801" fmla="*/ 425003 h 1303985"/>
                    <a:gd name="connsiteX1802" fmla="*/ 1608249 w 1805054"/>
                    <a:gd name="connsiteY1802" fmla="*/ 428021 h 1303985"/>
                    <a:gd name="connsiteX1803" fmla="*/ 1614286 w 1805054"/>
                    <a:gd name="connsiteY1803" fmla="*/ 429229 h 1303985"/>
                    <a:gd name="connsiteX1804" fmla="*/ 1619720 w 1805054"/>
                    <a:gd name="connsiteY1804" fmla="*/ 433455 h 1303985"/>
                    <a:gd name="connsiteX1805" fmla="*/ 1620323 w 1805054"/>
                    <a:gd name="connsiteY1805" fmla="*/ 442510 h 1303985"/>
                    <a:gd name="connsiteX1806" fmla="*/ 1621531 w 1805054"/>
                    <a:gd name="connsiteY1806" fmla="*/ 447943 h 1303985"/>
                    <a:gd name="connsiteX1807" fmla="*/ 1619116 w 1805054"/>
                    <a:gd name="connsiteY1807" fmla="*/ 450962 h 1303985"/>
                    <a:gd name="connsiteX1808" fmla="*/ 1620323 w 1805054"/>
                    <a:gd name="connsiteY1808" fmla="*/ 455791 h 1303985"/>
                    <a:gd name="connsiteX1809" fmla="*/ 1625153 w 1805054"/>
                    <a:gd name="connsiteY1809" fmla="*/ 458206 h 1303985"/>
                    <a:gd name="connsiteX1810" fmla="*/ 1625153 w 1805054"/>
                    <a:gd name="connsiteY1810" fmla="*/ 461225 h 1303985"/>
                    <a:gd name="connsiteX1811" fmla="*/ 1632397 w 1805054"/>
                    <a:gd name="connsiteY1811" fmla="*/ 467865 h 1303985"/>
                    <a:gd name="connsiteX1812" fmla="*/ 1633001 w 1805054"/>
                    <a:gd name="connsiteY1812" fmla="*/ 465451 h 1303985"/>
                    <a:gd name="connsiteX1813" fmla="*/ 1640849 w 1805054"/>
                    <a:gd name="connsiteY1813" fmla="*/ 463640 h 1303985"/>
                    <a:gd name="connsiteX1814" fmla="*/ 1645075 w 1805054"/>
                    <a:gd name="connsiteY1814" fmla="*/ 464847 h 1303985"/>
                    <a:gd name="connsiteX1815" fmla="*/ 1653527 w 1805054"/>
                    <a:gd name="connsiteY1815" fmla="*/ 469677 h 1303985"/>
                    <a:gd name="connsiteX1816" fmla="*/ 1657149 w 1805054"/>
                    <a:gd name="connsiteY1816" fmla="*/ 470280 h 1303985"/>
                    <a:gd name="connsiteX1817" fmla="*/ 1660771 w 1805054"/>
                    <a:gd name="connsiteY1817" fmla="*/ 472695 h 1303985"/>
                    <a:gd name="connsiteX1818" fmla="*/ 1663186 w 1805054"/>
                    <a:gd name="connsiteY1818" fmla="*/ 476921 h 1303985"/>
                    <a:gd name="connsiteX1819" fmla="*/ 1667412 w 1805054"/>
                    <a:gd name="connsiteY1819" fmla="*/ 473902 h 1303985"/>
                    <a:gd name="connsiteX1820" fmla="*/ 1672845 w 1805054"/>
                    <a:gd name="connsiteY1820" fmla="*/ 476921 h 1303985"/>
                    <a:gd name="connsiteX1821" fmla="*/ 1675864 w 1805054"/>
                    <a:gd name="connsiteY1821" fmla="*/ 475110 h 1303985"/>
                    <a:gd name="connsiteX1822" fmla="*/ 1683108 w 1805054"/>
                    <a:gd name="connsiteY1822" fmla="*/ 475714 h 1303985"/>
                    <a:gd name="connsiteX1823" fmla="*/ 1680693 w 1805054"/>
                    <a:gd name="connsiteY1823" fmla="*/ 483561 h 1303985"/>
                    <a:gd name="connsiteX1824" fmla="*/ 1687334 w 1805054"/>
                    <a:gd name="connsiteY1824" fmla="*/ 482958 h 1303985"/>
                    <a:gd name="connsiteX1825" fmla="*/ 1689145 w 1805054"/>
                    <a:gd name="connsiteY1825" fmla="*/ 485373 h 1303985"/>
                    <a:gd name="connsiteX1826" fmla="*/ 1690352 w 1805054"/>
                    <a:gd name="connsiteY1826" fmla="*/ 497447 h 1303985"/>
                    <a:gd name="connsiteX1827" fmla="*/ 1687334 w 1805054"/>
                    <a:gd name="connsiteY1827" fmla="*/ 499861 h 1303985"/>
                    <a:gd name="connsiteX1828" fmla="*/ 1687334 w 1805054"/>
                    <a:gd name="connsiteY1828" fmla="*/ 503484 h 1303985"/>
                    <a:gd name="connsiteX1829" fmla="*/ 1695785 w 1805054"/>
                    <a:gd name="connsiteY1829" fmla="*/ 501672 h 1303985"/>
                    <a:gd name="connsiteX1830" fmla="*/ 1700615 w 1805054"/>
                    <a:gd name="connsiteY1830" fmla="*/ 505898 h 1303985"/>
                    <a:gd name="connsiteX1831" fmla="*/ 1701822 w 1805054"/>
                    <a:gd name="connsiteY1831" fmla="*/ 514350 h 1303985"/>
                    <a:gd name="connsiteX1832" fmla="*/ 1703634 w 1805054"/>
                    <a:gd name="connsiteY1832" fmla="*/ 517369 h 1303985"/>
                    <a:gd name="connsiteX1833" fmla="*/ 1707859 w 1805054"/>
                    <a:gd name="connsiteY1833" fmla="*/ 514954 h 1303985"/>
                    <a:gd name="connsiteX1834" fmla="*/ 1711482 w 1805054"/>
                    <a:gd name="connsiteY1834" fmla="*/ 516161 h 1303985"/>
                    <a:gd name="connsiteX1835" fmla="*/ 1714500 w 1805054"/>
                    <a:gd name="connsiteY1835" fmla="*/ 519783 h 1303985"/>
                    <a:gd name="connsiteX1836" fmla="*/ 1724763 w 1805054"/>
                    <a:gd name="connsiteY1836" fmla="*/ 520991 h 1303985"/>
                    <a:gd name="connsiteX1837" fmla="*/ 1723556 w 1805054"/>
                    <a:gd name="connsiteY1837" fmla="*/ 512539 h 1303985"/>
                    <a:gd name="connsiteX1838" fmla="*/ 1724763 w 1805054"/>
                    <a:gd name="connsiteY1838" fmla="*/ 507106 h 1303985"/>
                    <a:gd name="connsiteX1839" fmla="*/ 1722952 w 1805054"/>
                    <a:gd name="connsiteY1839" fmla="*/ 501672 h 1303985"/>
                    <a:gd name="connsiteX1840" fmla="*/ 1726574 w 1805054"/>
                    <a:gd name="connsiteY1840" fmla="*/ 496843 h 1303985"/>
                    <a:gd name="connsiteX1841" fmla="*/ 1728989 w 1805054"/>
                    <a:gd name="connsiteY1841" fmla="*/ 496239 h 1303985"/>
                    <a:gd name="connsiteX1842" fmla="*/ 1732611 w 1805054"/>
                    <a:gd name="connsiteY1842" fmla="*/ 499861 h 1303985"/>
                    <a:gd name="connsiteX1843" fmla="*/ 1732611 w 1805054"/>
                    <a:gd name="connsiteY1843" fmla="*/ 502880 h 1303985"/>
                    <a:gd name="connsiteX1844" fmla="*/ 1738648 w 1805054"/>
                    <a:gd name="connsiteY1844" fmla="*/ 501672 h 1303985"/>
                    <a:gd name="connsiteX1845" fmla="*/ 1740459 w 1805054"/>
                    <a:gd name="connsiteY1845" fmla="*/ 503484 h 1303985"/>
                    <a:gd name="connsiteX1846" fmla="*/ 1747100 w 1805054"/>
                    <a:gd name="connsiteY1846" fmla="*/ 502880 h 1303985"/>
                    <a:gd name="connsiteX1847" fmla="*/ 1749514 w 1805054"/>
                    <a:gd name="connsiteY1847" fmla="*/ 508917 h 1303985"/>
                    <a:gd name="connsiteX1848" fmla="*/ 1758570 w 1805054"/>
                    <a:gd name="connsiteY1848" fmla="*/ 505898 h 1303985"/>
                    <a:gd name="connsiteX1849" fmla="*/ 1761588 w 1805054"/>
                    <a:gd name="connsiteY1849" fmla="*/ 503484 h 1303985"/>
                    <a:gd name="connsiteX1850" fmla="*/ 1771248 w 1805054"/>
                    <a:gd name="connsiteY1850" fmla="*/ 500465 h 1303985"/>
                    <a:gd name="connsiteX1851" fmla="*/ 1777285 w 1805054"/>
                    <a:gd name="connsiteY1851" fmla="*/ 498050 h 1303985"/>
                    <a:gd name="connsiteX1852" fmla="*/ 1783322 w 1805054"/>
                    <a:gd name="connsiteY1852" fmla="*/ 503484 h 1303985"/>
                    <a:gd name="connsiteX1853" fmla="*/ 1782718 w 1805054"/>
                    <a:gd name="connsiteY1853" fmla="*/ 509521 h 1303985"/>
                    <a:gd name="connsiteX1854" fmla="*/ 1785133 w 1805054"/>
                    <a:gd name="connsiteY1854" fmla="*/ 510728 h 1303985"/>
                    <a:gd name="connsiteX1855" fmla="*/ 1789962 w 1805054"/>
                    <a:gd name="connsiteY1855" fmla="*/ 510124 h 1303985"/>
                    <a:gd name="connsiteX1856" fmla="*/ 1797810 w 1805054"/>
                    <a:gd name="connsiteY1856" fmla="*/ 510728 h 1303985"/>
                    <a:gd name="connsiteX1857" fmla="*/ 1798414 w 1805054"/>
                    <a:gd name="connsiteY1857" fmla="*/ 520991 h 1303985"/>
                    <a:gd name="connsiteX1858" fmla="*/ 1804451 w 1805054"/>
                    <a:gd name="connsiteY1858" fmla="*/ 520387 h 1303985"/>
                    <a:gd name="connsiteX1859" fmla="*/ 1805055 w 1805054"/>
                    <a:gd name="connsiteY1859" fmla="*/ 531254 h 1303985"/>
                    <a:gd name="connsiteX1860" fmla="*/ 1794188 w 1805054"/>
                    <a:gd name="connsiteY1860" fmla="*/ 533668 h 1303985"/>
                    <a:gd name="connsiteX1861" fmla="*/ 1787548 w 1805054"/>
                    <a:gd name="connsiteY1861" fmla="*/ 530046 h 1303985"/>
                    <a:gd name="connsiteX1862" fmla="*/ 1787548 w 1805054"/>
                    <a:gd name="connsiteY1862" fmla="*/ 540309 h 1303985"/>
                    <a:gd name="connsiteX1863" fmla="*/ 1791773 w 1805054"/>
                    <a:gd name="connsiteY1863" fmla="*/ 543327 h 1303985"/>
                    <a:gd name="connsiteX1864" fmla="*/ 1789359 w 1805054"/>
                    <a:gd name="connsiteY1864" fmla="*/ 548761 h 1303985"/>
                    <a:gd name="connsiteX1865" fmla="*/ 1789962 w 1805054"/>
                    <a:gd name="connsiteY1865" fmla="*/ 559627 h 1303985"/>
                    <a:gd name="connsiteX1866" fmla="*/ 1787548 w 1805054"/>
                    <a:gd name="connsiteY1866" fmla="*/ 562042 h 1303985"/>
                    <a:gd name="connsiteX1867" fmla="*/ 1785736 w 1805054"/>
                    <a:gd name="connsiteY1867" fmla="*/ 569287 h 1303985"/>
                    <a:gd name="connsiteX1868" fmla="*/ 1788151 w 1805054"/>
                    <a:gd name="connsiteY1868" fmla="*/ 572305 h 1303985"/>
                    <a:gd name="connsiteX1869" fmla="*/ 1797207 w 1805054"/>
                    <a:gd name="connsiteY1869" fmla="*/ 571701 h 1303985"/>
                    <a:gd name="connsiteX1870" fmla="*/ 1797810 w 1805054"/>
                    <a:gd name="connsiteY1870" fmla="*/ 577738 h 1303985"/>
                    <a:gd name="connsiteX1871" fmla="*/ 1796603 w 1805054"/>
                    <a:gd name="connsiteY1871" fmla="*/ 584379 h 1303985"/>
                    <a:gd name="connsiteX1872" fmla="*/ 1797810 w 1805054"/>
                    <a:gd name="connsiteY1872" fmla="*/ 590416 h 1303985"/>
                    <a:gd name="connsiteX1873" fmla="*/ 1794792 w 1805054"/>
                    <a:gd name="connsiteY1873" fmla="*/ 595849 h 1303985"/>
                    <a:gd name="connsiteX1874" fmla="*/ 1794792 w 1805054"/>
                    <a:gd name="connsiteY1874" fmla="*/ 603094 h 1303985"/>
                    <a:gd name="connsiteX1875" fmla="*/ 1789962 w 1805054"/>
                    <a:gd name="connsiteY1875" fmla="*/ 605508 h 1303985"/>
                    <a:gd name="connsiteX1876" fmla="*/ 1791773 w 1805054"/>
                    <a:gd name="connsiteY1876" fmla="*/ 618186 h 1303985"/>
                    <a:gd name="connsiteX1877" fmla="*/ 1789359 w 1805054"/>
                    <a:gd name="connsiteY1877" fmla="*/ 620601 h 1303985"/>
                    <a:gd name="connsiteX1878" fmla="*/ 1788755 w 1805054"/>
                    <a:gd name="connsiteY1878" fmla="*/ 624827 h 1303985"/>
                    <a:gd name="connsiteX1879" fmla="*/ 1782114 w 1805054"/>
                    <a:gd name="connsiteY1879" fmla="*/ 623619 h 1303985"/>
                    <a:gd name="connsiteX1880" fmla="*/ 1778492 w 1805054"/>
                    <a:gd name="connsiteY1880" fmla="*/ 620601 h 1303985"/>
                    <a:gd name="connsiteX1881" fmla="*/ 1775474 w 1805054"/>
                    <a:gd name="connsiteY1881" fmla="*/ 626034 h 1303985"/>
                    <a:gd name="connsiteX1882" fmla="*/ 1776681 w 1805054"/>
                    <a:gd name="connsiteY1882" fmla="*/ 628449 h 1303985"/>
                    <a:gd name="connsiteX1883" fmla="*/ 1784529 w 1805054"/>
                    <a:gd name="connsiteY1883" fmla="*/ 634486 h 1303985"/>
                    <a:gd name="connsiteX1884" fmla="*/ 1786340 w 1805054"/>
                    <a:gd name="connsiteY1884" fmla="*/ 638108 h 1303985"/>
                    <a:gd name="connsiteX1885" fmla="*/ 1789962 w 1805054"/>
                    <a:gd name="connsiteY1885" fmla="*/ 637504 h 1303985"/>
                    <a:gd name="connsiteX1886" fmla="*/ 1795999 w 1805054"/>
                    <a:gd name="connsiteY1886" fmla="*/ 639919 h 1303985"/>
                    <a:gd name="connsiteX1887" fmla="*/ 1795999 w 1805054"/>
                    <a:gd name="connsiteY1887" fmla="*/ 646560 h 1303985"/>
                    <a:gd name="connsiteX1888" fmla="*/ 1792981 w 1805054"/>
                    <a:gd name="connsiteY1888" fmla="*/ 648975 h 1303985"/>
                    <a:gd name="connsiteX1889" fmla="*/ 1794188 w 1805054"/>
                    <a:gd name="connsiteY1889" fmla="*/ 653200 h 1303985"/>
                    <a:gd name="connsiteX1890" fmla="*/ 1805658 w 1805054"/>
                    <a:gd name="connsiteY1890" fmla="*/ 656219 h 1303985"/>
                    <a:gd name="connsiteX1891" fmla="*/ 1805055 w 1805054"/>
                    <a:gd name="connsiteY1891" fmla="*/ 661652 h 1303985"/>
                    <a:gd name="connsiteX1892" fmla="*/ 1806866 w 1805054"/>
                    <a:gd name="connsiteY1892" fmla="*/ 664671 h 130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Lst>
                  <a:rect l="l" t="t" r="r" b="b"/>
                  <a:pathLst>
                    <a:path w="1805054" h="1303985">
                      <a:moveTo>
                        <a:pt x="1806866" y="664671"/>
                      </a:moveTo>
                      <a:lnTo>
                        <a:pt x="1804451" y="664671"/>
                      </a:lnTo>
                      <a:lnTo>
                        <a:pt x="1799621" y="670104"/>
                      </a:lnTo>
                      <a:lnTo>
                        <a:pt x="1795395" y="670708"/>
                      </a:lnTo>
                      <a:lnTo>
                        <a:pt x="1794188" y="673726"/>
                      </a:lnTo>
                      <a:lnTo>
                        <a:pt x="1785133" y="673122"/>
                      </a:lnTo>
                      <a:lnTo>
                        <a:pt x="1780907" y="676141"/>
                      </a:lnTo>
                      <a:lnTo>
                        <a:pt x="1774870" y="677348"/>
                      </a:lnTo>
                      <a:lnTo>
                        <a:pt x="1773059" y="681574"/>
                      </a:lnTo>
                      <a:lnTo>
                        <a:pt x="1776077" y="685196"/>
                      </a:lnTo>
                      <a:lnTo>
                        <a:pt x="1772455" y="688215"/>
                      </a:lnTo>
                      <a:lnTo>
                        <a:pt x="1770040" y="692441"/>
                      </a:lnTo>
                      <a:lnTo>
                        <a:pt x="1765211" y="693044"/>
                      </a:lnTo>
                      <a:lnTo>
                        <a:pt x="1760985" y="696063"/>
                      </a:lnTo>
                      <a:lnTo>
                        <a:pt x="1753137" y="695459"/>
                      </a:lnTo>
                      <a:lnTo>
                        <a:pt x="1751326" y="698478"/>
                      </a:lnTo>
                      <a:lnTo>
                        <a:pt x="1752533" y="702704"/>
                      </a:lnTo>
                      <a:lnTo>
                        <a:pt x="1746496" y="705118"/>
                      </a:lnTo>
                      <a:lnTo>
                        <a:pt x="1739855" y="703911"/>
                      </a:lnTo>
                      <a:lnTo>
                        <a:pt x="1735630" y="699081"/>
                      </a:lnTo>
                      <a:lnTo>
                        <a:pt x="1732611" y="698478"/>
                      </a:lnTo>
                      <a:lnTo>
                        <a:pt x="1719933" y="700893"/>
                      </a:lnTo>
                      <a:lnTo>
                        <a:pt x="1716311" y="699081"/>
                      </a:lnTo>
                      <a:lnTo>
                        <a:pt x="1711482" y="700289"/>
                      </a:lnTo>
                      <a:lnTo>
                        <a:pt x="1701219" y="699685"/>
                      </a:lnTo>
                      <a:lnTo>
                        <a:pt x="1692767" y="696667"/>
                      </a:lnTo>
                      <a:lnTo>
                        <a:pt x="1687937" y="699685"/>
                      </a:lnTo>
                      <a:lnTo>
                        <a:pt x="1681297" y="694252"/>
                      </a:lnTo>
                      <a:lnTo>
                        <a:pt x="1681900" y="689422"/>
                      </a:lnTo>
                      <a:lnTo>
                        <a:pt x="1675864" y="693044"/>
                      </a:lnTo>
                      <a:lnTo>
                        <a:pt x="1675260" y="695459"/>
                      </a:lnTo>
                      <a:lnTo>
                        <a:pt x="1668015" y="697270"/>
                      </a:lnTo>
                      <a:lnTo>
                        <a:pt x="1664393" y="696063"/>
                      </a:lnTo>
                      <a:lnTo>
                        <a:pt x="1655941" y="697270"/>
                      </a:lnTo>
                      <a:lnTo>
                        <a:pt x="1649301" y="696667"/>
                      </a:lnTo>
                      <a:lnTo>
                        <a:pt x="1647490" y="691837"/>
                      </a:lnTo>
                      <a:lnTo>
                        <a:pt x="1640245" y="687007"/>
                      </a:lnTo>
                      <a:lnTo>
                        <a:pt x="1629983" y="689422"/>
                      </a:lnTo>
                      <a:lnTo>
                        <a:pt x="1622738" y="684593"/>
                      </a:lnTo>
                      <a:lnTo>
                        <a:pt x="1618512" y="691233"/>
                      </a:lnTo>
                      <a:lnTo>
                        <a:pt x="1611872" y="693648"/>
                      </a:lnTo>
                      <a:lnTo>
                        <a:pt x="1610061" y="696063"/>
                      </a:lnTo>
                      <a:lnTo>
                        <a:pt x="1605231" y="696667"/>
                      </a:lnTo>
                      <a:lnTo>
                        <a:pt x="1601609" y="699081"/>
                      </a:lnTo>
                      <a:lnTo>
                        <a:pt x="1593157" y="697874"/>
                      </a:lnTo>
                      <a:lnTo>
                        <a:pt x="1584101" y="691837"/>
                      </a:lnTo>
                      <a:lnTo>
                        <a:pt x="1582894" y="687611"/>
                      </a:lnTo>
                      <a:lnTo>
                        <a:pt x="1578668" y="687007"/>
                      </a:lnTo>
                      <a:lnTo>
                        <a:pt x="1577461" y="682178"/>
                      </a:lnTo>
                      <a:lnTo>
                        <a:pt x="1574442" y="680970"/>
                      </a:lnTo>
                      <a:lnTo>
                        <a:pt x="1573839" y="676745"/>
                      </a:lnTo>
                      <a:lnTo>
                        <a:pt x="1570217" y="673122"/>
                      </a:lnTo>
                      <a:lnTo>
                        <a:pt x="1563576" y="676745"/>
                      </a:lnTo>
                      <a:lnTo>
                        <a:pt x="1559350" y="677952"/>
                      </a:lnTo>
                      <a:lnTo>
                        <a:pt x="1557539" y="682782"/>
                      </a:lnTo>
                      <a:lnTo>
                        <a:pt x="1560557" y="685196"/>
                      </a:lnTo>
                      <a:lnTo>
                        <a:pt x="1557539" y="689422"/>
                      </a:lnTo>
                      <a:lnTo>
                        <a:pt x="1559350" y="693044"/>
                      </a:lnTo>
                      <a:lnTo>
                        <a:pt x="1562972" y="693044"/>
                      </a:lnTo>
                      <a:lnTo>
                        <a:pt x="1566594" y="700289"/>
                      </a:lnTo>
                      <a:lnTo>
                        <a:pt x="1565387" y="706326"/>
                      </a:lnTo>
                      <a:lnTo>
                        <a:pt x="1566594" y="708741"/>
                      </a:lnTo>
                      <a:lnTo>
                        <a:pt x="1572028" y="711155"/>
                      </a:lnTo>
                      <a:lnTo>
                        <a:pt x="1572631" y="714778"/>
                      </a:lnTo>
                      <a:lnTo>
                        <a:pt x="1575650" y="719004"/>
                      </a:lnTo>
                      <a:lnTo>
                        <a:pt x="1572631" y="725041"/>
                      </a:lnTo>
                      <a:lnTo>
                        <a:pt x="1567802" y="727455"/>
                      </a:lnTo>
                      <a:lnTo>
                        <a:pt x="1566594" y="732889"/>
                      </a:lnTo>
                      <a:lnTo>
                        <a:pt x="1560557" y="732889"/>
                      </a:lnTo>
                      <a:lnTo>
                        <a:pt x="1558143" y="746170"/>
                      </a:lnTo>
                      <a:lnTo>
                        <a:pt x="1551502" y="748585"/>
                      </a:lnTo>
                      <a:lnTo>
                        <a:pt x="1552709" y="756433"/>
                      </a:lnTo>
                      <a:lnTo>
                        <a:pt x="1558143" y="757036"/>
                      </a:lnTo>
                      <a:lnTo>
                        <a:pt x="1558746" y="766092"/>
                      </a:lnTo>
                      <a:lnTo>
                        <a:pt x="1561161" y="769714"/>
                      </a:lnTo>
                      <a:lnTo>
                        <a:pt x="1564180" y="770921"/>
                      </a:lnTo>
                      <a:lnTo>
                        <a:pt x="1567198" y="768506"/>
                      </a:lnTo>
                      <a:lnTo>
                        <a:pt x="1569009" y="761866"/>
                      </a:lnTo>
                      <a:lnTo>
                        <a:pt x="1576857" y="763677"/>
                      </a:lnTo>
                      <a:lnTo>
                        <a:pt x="1579876" y="761262"/>
                      </a:lnTo>
                      <a:lnTo>
                        <a:pt x="1584101" y="754018"/>
                      </a:lnTo>
                      <a:lnTo>
                        <a:pt x="1588327" y="754018"/>
                      </a:lnTo>
                      <a:lnTo>
                        <a:pt x="1590138" y="757036"/>
                      </a:lnTo>
                      <a:lnTo>
                        <a:pt x="1598590" y="757640"/>
                      </a:lnTo>
                      <a:lnTo>
                        <a:pt x="1601005" y="763677"/>
                      </a:lnTo>
                      <a:lnTo>
                        <a:pt x="1604627" y="766092"/>
                      </a:lnTo>
                      <a:lnTo>
                        <a:pt x="1615494" y="764884"/>
                      </a:lnTo>
                      <a:lnTo>
                        <a:pt x="1620323" y="760658"/>
                      </a:lnTo>
                      <a:lnTo>
                        <a:pt x="1622738" y="761866"/>
                      </a:lnTo>
                      <a:lnTo>
                        <a:pt x="1626360" y="767299"/>
                      </a:lnTo>
                      <a:lnTo>
                        <a:pt x="1629379" y="769714"/>
                      </a:lnTo>
                      <a:lnTo>
                        <a:pt x="1629983" y="776355"/>
                      </a:lnTo>
                      <a:lnTo>
                        <a:pt x="1634208" y="780580"/>
                      </a:lnTo>
                      <a:lnTo>
                        <a:pt x="1634208" y="786014"/>
                      </a:lnTo>
                      <a:lnTo>
                        <a:pt x="1640245" y="788429"/>
                      </a:lnTo>
                      <a:lnTo>
                        <a:pt x="1645075" y="789032"/>
                      </a:lnTo>
                      <a:lnTo>
                        <a:pt x="1643264" y="792654"/>
                      </a:lnTo>
                      <a:lnTo>
                        <a:pt x="1645075" y="795069"/>
                      </a:lnTo>
                      <a:lnTo>
                        <a:pt x="1650508" y="796277"/>
                      </a:lnTo>
                      <a:lnTo>
                        <a:pt x="1651716" y="792654"/>
                      </a:lnTo>
                      <a:lnTo>
                        <a:pt x="1660167" y="792051"/>
                      </a:lnTo>
                      <a:lnTo>
                        <a:pt x="1661978" y="799295"/>
                      </a:lnTo>
                      <a:lnTo>
                        <a:pt x="1663790" y="801710"/>
                      </a:lnTo>
                      <a:lnTo>
                        <a:pt x="1668619" y="799899"/>
                      </a:lnTo>
                      <a:lnTo>
                        <a:pt x="1672845" y="806540"/>
                      </a:lnTo>
                      <a:lnTo>
                        <a:pt x="1678882" y="808954"/>
                      </a:lnTo>
                      <a:lnTo>
                        <a:pt x="1679486" y="817406"/>
                      </a:lnTo>
                      <a:lnTo>
                        <a:pt x="1675260" y="820425"/>
                      </a:lnTo>
                      <a:lnTo>
                        <a:pt x="1669223" y="830084"/>
                      </a:lnTo>
                      <a:lnTo>
                        <a:pt x="1668619" y="843969"/>
                      </a:lnTo>
                      <a:lnTo>
                        <a:pt x="1671638" y="845176"/>
                      </a:lnTo>
                      <a:lnTo>
                        <a:pt x="1671034" y="849402"/>
                      </a:lnTo>
                      <a:lnTo>
                        <a:pt x="1667412" y="851817"/>
                      </a:lnTo>
                      <a:lnTo>
                        <a:pt x="1666808" y="856043"/>
                      </a:lnTo>
                      <a:lnTo>
                        <a:pt x="1663790" y="857854"/>
                      </a:lnTo>
                      <a:lnTo>
                        <a:pt x="1652923" y="854835"/>
                      </a:lnTo>
                      <a:lnTo>
                        <a:pt x="1645679" y="862683"/>
                      </a:lnTo>
                      <a:lnTo>
                        <a:pt x="1640849" y="863287"/>
                      </a:lnTo>
                      <a:lnTo>
                        <a:pt x="1636019" y="862080"/>
                      </a:lnTo>
                      <a:lnTo>
                        <a:pt x="1633605" y="863287"/>
                      </a:lnTo>
                      <a:lnTo>
                        <a:pt x="1627568" y="863287"/>
                      </a:lnTo>
                      <a:lnTo>
                        <a:pt x="1623342" y="871739"/>
                      </a:lnTo>
                      <a:lnTo>
                        <a:pt x="1626964" y="878983"/>
                      </a:lnTo>
                      <a:lnTo>
                        <a:pt x="1627568" y="890453"/>
                      </a:lnTo>
                      <a:lnTo>
                        <a:pt x="1622135" y="892868"/>
                      </a:lnTo>
                      <a:lnTo>
                        <a:pt x="1614286" y="900716"/>
                      </a:lnTo>
                      <a:lnTo>
                        <a:pt x="1611268" y="904942"/>
                      </a:lnTo>
                      <a:lnTo>
                        <a:pt x="1605231" y="907357"/>
                      </a:lnTo>
                      <a:lnTo>
                        <a:pt x="1597987" y="907961"/>
                      </a:lnTo>
                      <a:lnTo>
                        <a:pt x="1592553" y="909168"/>
                      </a:lnTo>
                      <a:lnTo>
                        <a:pt x="1592553" y="914601"/>
                      </a:lnTo>
                      <a:lnTo>
                        <a:pt x="1590742" y="918224"/>
                      </a:lnTo>
                      <a:lnTo>
                        <a:pt x="1593761" y="925468"/>
                      </a:lnTo>
                      <a:lnTo>
                        <a:pt x="1593761" y="929090"/>
                      </a:lnTo>
                      <a:lnTo>
                        <a:pt x="1595572" y="933316"/>
                      </a:lnTo>
                      <a:lnTo>
                        <a:pt x="1587724" y="942372"/>
                      </a:lnTo>
                      <a:lnTo>
                        <a:pt x="1591950" y="953238"/>
                      </a:lnTo>
                      <a:lnTo>
                        <a:pt x="1588327" y="960482"/>
                      </a:lnTo>
                      <a:lnTo>
                        <a:pt x="1585913" y="955049"/>
                      </a:lnTo>
                      <a:lnTo>
                        <a:pt x="1582894" y="953238"/>
                      </a:lnTo>
                      <a:lnTo>
                        <a:pt x="1581083" y="958068"/>
                      </a:lnTo>
                      <a:lnTo>
                        <a:pt x="1578065" y="960482"/>
                      </a:lnTo>
                      <a:lnTo>
                        <a:pt x="1573839" y="959275"/>
                      </a:lnTo>
                      <a:lnTo>
                        <a:pt x="1565991" y="968934"/>
                      </a:lnTo>
                      <a:lnTo>
                        <a:pt x="1565991" y="973764"/>
                      </a:lnTo>
                      <a:lnTo>
                        <a:pt x="1567802" y="975575"/>
                      </a:lnTo>
                      <a:lnTo>
                        <a:pt x="1565387" y="979197"/>
                      </a:lnTo>
                      <a:lnTo>
                        <a:pt x="1562368" y="978593"/>
                      </a:lnTo>
                      <a:lnTo>
                        <a:pt x="1562368" y="982819"/>
                      </a:lnTo>
                      <a:lnTo>
                        <a:pt x="1559350" y="984630"/>
                      </a:lnTo>
                      <a:lnTo>
                        <a:pt x="1550294" y="981612"/>
                      </a:lnTo>
                      <a:lnTo>
                        <a:pt x="1549087" y="985837"/>
                      </a:lnTo>
                      <a:lnTo>
                        <a:pt x="1540032" y="984630"/>
                      </a:lnTo>
                      <a:lnTo>
                        <a:pt x="1535806" y="988252"/>
                      </a:lnTo>
                      <a:lnTo>
                        <a:pt x="1532787" y="994289"/>
                      </a:lnTo>
                      <a:lnTo>
                        <a:pt x="1526147" y="993686"/>
                      </a:lnTo>
                      <a:lnTo>
                        <a:pt x="1520110" y="998515"/>
                      </a:lnTo>
                      <a:lnTo>
                        <a:pt x="1519506" y="1004552"/>
                      </a:lnTo>
                      <a:lnTo>
                        <a:pt x="1514073" y="1005156"/>
                      </a:lnTo>
                      <a:lnTo>
                        <a:pt x="1512262" y="991874"/>
                      </a:lnTo>
                      <a:lnTo>
                        <a:pt x="1500791" y="987649"/>
                      </a:lnTo>
                      <a:lnTo>
                        <a:pt x="1498980" y="989460"/>
                      </a:lnTo>
                      <a:lnTo>
                        <a:pt x="1498980" y="994893"/>
                      </a:lnTo>
                      <a:lnTo>
                        <a:pt x="1496565" y="996704"/>
                      </a:lnTo>
                      <a:lnTo>
                        <a:pt x="1491736" y="993082"/>
                      </a:lnTo>
                      <a:lnTo>
                        <a:pt x="1487510" y="994289"/>
                      </a:lnTo>
                      <a:lnTo>
                        <a:pt x="1486906" y="999119"/>
                      </a:lnTo>
                      <a:lnTo>
                        <a:pt x="1480266" y="1003345"/>
                      </a:lnTo>
                      <a:lnTo>
                        <a:pt x="1474229" y="1001534"/>
                      </a:lnTo>
                      <a:lnTo>
                        <a:pt x="1473625" y="996704"/>
                      </a:lnTo>
                      <a:lnTo>
                        <a:pt x="1469399" y="995497"/>
                      </a:lnTo>
                      <a:lnTo>
                        <a:pt x="1464570" y="1002741"/>
                      </a:lnTo>
                      <a:lnTo>
                        <a:pt x="1456721" y="1005760"/>
                      </a:lnTo>
                      <a:lnTo>
                        <a:pt x="1455514" y="1007571"/>
                      </a:lnTo>
                      <a:lnTo>
                        <a:pt x="1454910" y="1019041"/>
                      </a:lnTo>
                      <a:lnTo>
                        <a:pt x="1457929" y="1027493"/>
                      </a:lnTo>
                      <a:lnTo>
                        <a:pt x="1456721" y="1030511"/>
                      </a:lnTo>
                      <a:lnTo>
                        <a:pt x="1457325" y="1038359"/>
                      </a:lnTo>
                      <a:lnTo>
                        <a:pt x="1453703" y="1042585"/>
                      </a:lnTo>
                      <a:lnTo>
                        <a:pt x="1451288" y="1049226"/>
                      </a:lnTo>
                      <a:lnTo>
                        <a:pt x="1444044" y="1049830"/>
                      </a:lnTo>
                      <a:lnTo>
                        <a:pt x="1438007" y="1053452"/>
                      </a:lnTo>
                      <a:lnTo>
                        <a:pt x="1437403" y="1056470"/>
                      </a:lnTo>
                      <a:lnTo>
                        <a:pt x="1439214" y="1060093"/>
                      </a:lnTo>
                      <a:lnTo>
                        <a:pt x="1436196" y="1063111"/>
                      </a:lnTo>
                      <a:lnTo>
                        <a:pt x="1438007" y="1067337"/>
                      </a:lnTo>
                      <a:lnTo>
                        <a:pt x="1437403" y="1074581"/>
                      </a:lnTo>
                      <a:lnTo>
                        <a:pt x="1431366" y="1075185"/>
                      </a:lnTo>
                      <a:lnTo>
                        <a:pt x="1427744" y="1078807"/>
                      </a:lnTo>
                      <a:lnTo>
                        <a:pt x="1431970" y="1080014"/>
                      </a:lnTo>
                      <a:lnTo>
                        <a:pt x="1434988" y="1083033"/>
                      </a:lnTo>
                      <a:lnTo>
                        <a:pt x="1433781" y="1090277"/>
                      </a:lnTo>
                      <a:lnTo>
                        <a:pt x="1429555" y="1093296"/>
                      </a:lnTo>
                      <a:lnTo>
                        <a:pt x="1426536" y="1091484"/>
                      </a:lnTo>
                      <a:lnTo>
                        <a:pt x="1427140" y="1086051"/>
                      </a:lnTo>
                      <a:lnTo>
                        <a:pt x="1423518" y="1078807"/>
                      </a:lnTo>
                      <a:lnTo>
                        <a:pt x="1416877" y="1076996"/>
                      </a:lnTo>
                      <a:lnTo>
                        <a:pt x="1413255" y="1081825"/>
                      </a:lnTo>
                      <a:lnTo>
                        <a:pt x="1411444" y="1089673"/>
                      </a:lnTo>
                      <a:lnTo>
                        <a:pt x="1409029" y="1090881"/>
                      </a:lnTo>
                      <a:lnTo>
                        <a:pt x="1407218" y="1096918"/>
                      </a:lnTo>
                      <a:lnTo>
                        <a:pt x="1406615" y="1101747"/>
                      </a:lnTo>
                      <a:lnTo>
                        <a:pt x="1403596" y="1109595"/>
                      </a:lnTo>
                      <a:lnTo>
                        <a:pt x="1399370" y="1116236"/>
                      </a:lnTo>
                      <a:lnTo>
                        <a:pt x="1399974" y="1120462"/>
                      </a:lnTo>
                      <a:lnTo>
                        <a:pt x="1397559" y="1124688"/>
                      </a:lnTo>
                      <a:lnTo>
                        <a:pt x="1398163" y="1129518"/>
                      </a:lnTo>
                      <a:lnTo>
                        <a:pt x="1401181" y="1131932"/>
                      </a:lnTo>
                      <a:lnTo>
                        <a:pt x="1401181" y="1136158"/>
                      </a:lnTo>
                      <a:lnTo>
                        <a:pt x="1399370" y="1138573"/>
                      </a:lnTo>
                      <a:lnTo>
                        <a:pt x="1400578" y="1142195"/>
                      </a:lnTo>
                      <a:lnTo>
                        <a:pt x="1399370" y="1147629"/>
                      </a:lnTo>
                      <a:lnTo>
                        <a:pt x="1395144" y="1156684"/>
                      </a:lnTo>
                      <a:lnTo>
                        <a:pt x="1395144" y="1160306"/>
                      </a:lnTo>
                      <a:lnTo>
                        <a:pt x="1389107" y="1162117"/>
                      </a:lnTo>
                      <a:lnTo>
                        <a:pt x="1384881" y="1157891"/>
                      </a:lnTo>
                      <a:lnTo>
                        <a:pt x="1380656" y="1158495"/>
                      </a:lnTo>
                      <a:lnTo>
                        <a:pt x="1377637" y="1163928"/>
                      </a:lnTo>
                      <a:lnTo>
                        <a:pt x="1377033" y="1172380"/>
                      </a:lnTo>
                      <a:lnTo>
                        <a:pt x="1373411" y="1177210"/>
                      </a:lnTo>
                      <a:lnTo>
                        <a:pt x="1375826" y="1183247"/>
                      </a:lnTo>
                      <a:lnTo>
                        <a:pt x="1376430" y="1189284"/>
                      </a:lnTo>
                      <a:lnTo>
                        <a:pt x="1374015" y="1192302"/>
                      </a:lnTo>
                      <a:lnTo>
                        <a:pt x="1374015" y="1196528"/>
                      </a:lnTo>
                      <a:lnTo>
                        <a:pt x="1376430" y="1199546"/>
                      </a:lnTo>
                      <a:lnTo>
                        <a:pt x="1374619" y="1202565"/>
                      </a:lnTo>
                      <a:lnTo>
                        <a:pt x="1378241" y="1206791"/>
                      </a:lnTo>
                      <a:lnTo>
                        <a:pt x="1376430" y="1215846"/>
                      </a:lnTo>
                      <a:lnTo>
                        <a:pt x="1378241" y="1221279"/>
                      </a:lnTo>
                      <a:lnTo>
                        <a:pt x="1375826" y="1227316"/>
                      </a:lnTo>
                      <a:lnTo>
                        <a:pt x="1371600" y="1231542"/>
                      </a:lnTo>
                      <a:lnTo>
                        <a:pt x="1372204" y="1233957"/>
                      </a:lnTo>
                      <a:lnTo>
                        <a:pt x="1368582" y="1243616"/>
                      </a:lnTo>
                      <a:lnTo>
                        <a:pt x="1363148" y="1252672"/>
                      </a:lnTo>
                      <a:lnTo>
                        <a:pt x="1355300" y="1255087"/>
                      </a:lnTo>
                      <a:lnTo>
                        <a:pt x="1349867" y="1253879"/>
                      </a:lnTo>
                      <a:lnTo>
                        <a:pt x="1347452" y="1250257"/>
                      </a:lnTo>
                      <a:lnTo>
                        <a:pt x="1343830" y="1249653"/>
                      </a:lnTo>
                      <a:lnTo>
                        <a:pt x="1343830" y="1246635"/>
                      </a:lnTo>
                      <a:lnTo>
                        <a:pt x="1338397" y="1244220"/>
                      </a:lnTo>
                      <a:lnTo>
                        <a:pt x="1334775" y="1239390"/>
                      </a:lnTo>
                      <a:lnTo>
                        <a:pt x="1325719" y="1238183"/>
                      </a:lnTo>
                      <a:lnTo>
                        <a:pt x="1320286" y="1236976"/>
                      </a:lnTo>
                      <a:lnTo>
                        <a:pt x="1319078" y="1243013"/>
                      </a:lnTo>
                      <a:lnTo>
                        <a:pt x="1317267" y="1243616"/>
                      </a:lnTo>
                      <a:lnTo>
                        <a:pt x="1310023" y="1241805"/>
                      </a:lnTo>
                      <a:lnTo>
                        <a:pt x="1308212" y="1235768"/>
                      </a:lnTo>
                      <a:lnTo>
                        <a:pt x="1312438" y="1229128"/>
                      </a:lnTo>
                      <a:lnTo>
                        <a:pt x="1310627" y="1223091"/>
                      </a:lnTo>
                      <a:lnTo>
                        <a:pt x="1305193" y="1217054"/>
                      </a:lnTo>
                      <a:lnTo>
                        <a:pt x="1303986" y="1210413"/>
                      </a:lnTo>
                      <a:lnTo>
                        <a:pt x="1297345" y="1206791"/>
                      </a:lnTo>
                      <a:lnTo>
                        <a:pt x="1293723" y="1198943"/>
                      </a:lnTo>
                      <a:lnTo>
                        <a:pt x="1288894" y="1198339"/>
                      </a:lnTo>
                      <a:lnTo>
                        <a:pt x="1281649" y="1188680"/>
                      </a:lnTo>
                      <a:lnTo>
                        <a:pt x="1273197" y="1188680"/>
                      </a:lnTo>
                      <a:lnTo>
                        <a:pt x="1270179" y="1185661"/>
                      </a:lnTo>
                      <a:lnTo>
                        <a:pt x="1266557" y="1185661"/>
                      </a:lnTo>
                      <a:lnTo>
                        <a:pt x="1257501" y="1191698"/>
                      </a:lnTo>
                      <a:lnTo>
                        <a:pt x="1252068" y="1191095"/>
                      </a:lnTo>
                      <a:lnTo>
                        <a:pt x="1250257" y="1194717"/>
                      </a:lnTo>
                      <a:lnTo>
                        <a:pt x="1247239" y="1195924"/>
                      </a:lnTo>
                      <a:lnTo>
                        <a:pt x="1241202" y="1203168"/>
                      </a:lnTo>
                      <a:lnTo>
                        <a:pt x="1233353" y="1202565"/>
                      </a:lnTo>
                      <a:lnTo>
                        <a:pt x="1226713" y="1207394"/>
                      </a:lnTo>
                      <a:lnTo>
                        <a:pt x="1221883" y="1203168"/>
                      </a:lnTo>
                      <a:lnTo>
                        <a:pt x="1212828" y="1203168"/>
                      </a:lnTo>
                      <a:lnTo>
                        <a:pt x="1210413" y="1209809"/>
                      </a:lnTo>
                      <a:lnTo>
                        <a:pt x="1204980" y="1209809"/>
                      </a:lnTo>
                      <a:lnTo>
                        <a:pt x="1198339" y="1208602"/>
                      </a:lnTo>
                      <a:lnTo>
                        <a:pt x="1191698" y="1204980"/>
                      </a:lnTo>
                      <a:lnTo>
                        <a:pt x="1190491" y="1201961"/>
                      </a:lnTo>
                      <a:lnTo>
                        <a:pt x="1185058" y="1197132"/>
                      </a:lnTo>
                      <a:lnTo>
                        <a:pt x="1172380" y="1192302"/>
                      </a:lnTo>
                      <a:lnTo>
                        <a:pt x="1168758" y="1194717"/>
                      </a:lnTo>
                      <a:lnTo>
                        <a:pt x="1164532" y="1194717"/>
                      </a:lnTo>
                      <a:lnTo>
                        <a:pt x="1162721" y="1197132"/>
                      </a:lnTo>
                      <a:lnTo>
                        <a:pt x="1157288" y="1197735"/>
                      </a:lnTo>
                      <a:lnTo>
                        <a:pt x="1155476" y="1201961"/>
                      </a:lnTo>
                      <a:lnTo>
                        <a:pt x="1147025" y="1202565"/>
                      </a:lnTo>
                      <a:lnTo>
                        <a:pt x="1140384" y="1205583"/>
                      </a:lnTo>
                      <a:lnTo>
                        <a:pt x="1132536" y="1205583"/>
                      </a:lnTo>
                      <a:lnTo>
                        <a:pt x="1133140" y="1200754"/>
                      </a:lnTo>
                      <a:lnTo>
                        <a:pt x="1125895" y="1195320"/>
                      </a:lnTo>
                      <a:lnTo>
                        <a:pt x="1124084" y="1190491"/>
                      </a:lnTo>
                      <a:lnTo>
                        <a:pt x="1127103" y="1186869"/>
                      </a:lnTo>
                      <a:lnTo>
                        <a:pt x="1122273" y="1176606"/>
                      </a:lnTo>
                      <a:lnTo>
                        <a:pt x="1116236" y="1173588"/>
                      </a:lnTo>
                      <a:lnTo>
                        <a:pt x="1112614" y="1174795"/>
                      </a:lnTo>
                      <a:lnTo>
                        <a:pt x="1106577" y="1172984"/>
                      </a:lnTo>
                      <a:lnTo>
                        <a:pt x="1102955" y="1176606"/>
                      </a:lnTo>
                      <a:lnTo>
                        <a:pt x="1080618" y="1172380"/>
                      </a:lnTo>
                      <a:lnTo>
                        <a:pt x="1074581" y="1166947"/>
                      </a:lnTo>
                      <a:lnTo>
                        <a:pt x="1069752" y="1167551"/>
                      </a:lnTo>
                      <a:lnTo>
                        <a:pt x="1067337" y="1170569"/>
                      </a:lnTo>
                      <a:lnTo>
                        <a:pt x="1066733" y="1174795"/>
                      </a:lnTo>
                      <a:lnTo>
                        <a:pt x="1068544" y="1177210"/>
                      </a:lnTo>
                      <a:lnTo>
                        <a:pt x="1066129" y="1182039"/>
                      </a:lnTo>
                      <a:lnTo>
                        <a:pt x="1052244" y="1179625"/>
                      </a:lnTo>
                      <a:lnTo>
                        <a:pt x="1050433" y="1184454"/>
                      </a:lnTo>
                      <a:lnTo>
                        <a:pt x="1048018" y="1186869"/>
                      </a:lnTo>
                      <a:lnTo>
                        <a:pt x="1041981" y="1188680"/>
                      </a:lnTo>
                      <a:lnTo>
                        <a:pt x="1043189" y="1191095"/>
                      </a:lnTo>
                      <a:lnTo>
                        <a:pt x="1028096" y="1191698"/>
                      </a:lnTo>
                      <a:lnTo>
                        <a:pt x="1023871" y="1192906"/>
                      </a:lnTo>
                      <a:lnTo>
                        <a:pt x="1020248" y="1188680"/>
                      </a:lnTo>
                      <a:lnTo>
                        <a:pt x="1016626" y="1189284"/>
                      </a:lnTo>
                      <a:lnTo>
                        <a:pt x="1009382" y="1194113"/>
                      </a:lnTo>
                      <a:lnTo>
                        <a:pt x="1003948" y="1194717"/>
                      </a:lnTo>
                      <a:lnTo>
                        <a:pt x="1003345" y="1201357"/>
                      </a:lnTo>
                      <a:lnTo>
                        <a:pt x="1005760" y="1209809"/>
                      </a:lnTo>
                      <a:lnTo>
                        <a:pt x="1008778" y="1211017"/>
                      </a:lnTo>
                      <a:lnTo>
                        <a:pt x="1007571" y="1217657"/>
                      </a:lnTo>
                      <a:lnTo>
                        <a:pt x="1000326" y="1215242"/>
                      </a:lnTo>
                      <a:lnTo>
                        <a:pt x="997911" y="1218261"/>
                      </a:lnTo>
                      <a:lnTo>
                        <a:pt x="991271" y="1215846"/>
                      </a:lnTo>
                      <a:lnTo>
                        <a:pt x="989460" y="1217657"/>
                      </a:lnTo>
                      <a:lnTo>
                        <a:pt x="977386" y="1217657"/>
                      </a:lnTo>
                      <a:lnTo>
                        <a:pt x="974971" y="1222487"/>
                      </a:lnTo>
                      <a:lnTo>
                        <a:pt x="972556" y="1217657"/>
                      </a:lnTo>
                      <a:lnTo>
                        <a:pt x="969538" y="1216450"/>
                      </a:lnTo>
                      <a:lnTo>
                        <a:pt x="967727" y="1221279"/>
                      </a:lnTo>
                      <a:lnTo>
                        <a:pt x="964708" y="1223091"/>
                      </a:lnTo>
                      <a:lnTo>
                        <a:pt x="956256" y="1218865"/>
                      </a:lnTo>
                      <a:lnTo>
                        <a:pt x="951427" y="1220072"/>
                      </a:lnTo>
                      <a:lnTo>
                        <a:pt x="946597" y="1218865"/>
                      </a:lnTo>
                      <a:lnTo>
                        <a:pt x="943579" y="1220072"/>
                      </a:lnTo>
                      <a:lnTo>
                        <a:pt x="940560" y="1217657"/>
                      </a:lnTo>
                      <a:lnTo>
                        <a:pt x="936334" y="1218261"/>
                      </a:lnTo>
                      <a:lnTo>
                        <a:pt x="930901" y="1212224"/>
                      </a:lnTo>
                      <a:lnTo>
                        <a:pt x="926071" y="1209809"/>
                      </a:lnTo>
                      <a:lnTo>
                        <a:pt x="920035" y="1208602"/>
                      </a:lnTo>
                      <a:lnTo>
                        <a:pt x="914601" y="1214035"/>
                      </a:lnTo>
                      <a:lnTo>
                        <a:pt x="906150" y="1214035"/>
                      </a:lnTo>
                      <a:lnTo>
                        <a:pt x="902527" y="1200754"/>
                      </a:lnTo>
                      <a:lnTo>
                        <a:pt x="900716" y="1197735"/>
                      </a:lnTo>
                      <a:lnTo>
                        <a:pt x="902527" y="1192302"/>
                      </a:lnTo>
                      <a:lnTo>
                        <a:pt x="898905" y="1190491"/>
                      </a:lnTo>
                      <a:lnTo>
                        <a:pt x="892264" y="1189887"/>
                      </a:lnTo>
                      <a:lnTo>
                        <a:pt x="893472" y="1194113"/>
                      </a:lnTo>
                      <a:lnTo>
                        <a:pt x="889850" y="1197735"/>
                      </a:lnTo>
                      <a:lnTo>
                        <a:pt x="885020" y="1195320"/>
                      </a:lnTo>
                      <a:lnTo>
                        <a:pt x="881398" y="1198339"/>
                      </a:lnTo>
                      <a:lnTo>
                        <a:pt x="871135" y="1194717"/>
                      </a:lnTo>
                      <a:lnTo>
                        <a:pt x="871135" y="1199546"/>
                      </a:lnTo>
                      <a:lnTo>
                        <a:pt x="864494" y="1200754"/>
                      </a:lnTo>
                      <a:lnTo>
                        <a:pt x="859665" y="1203168"/>
                      </a:lnTo>
                      <a:lnTo>
                        <a:pt x="853024" y="1201961"/>
                      </a:lnTo>
                      <a:lnTo>
                        <a:pt x="851213" y="1203168"/>
                      </a:lnTo>
                      <a:lnTo>
                        <a:pt x="850609" y="1208602"/>
                      </a:lnTo>
                      <a:lnTo>
                        <a:pt x="851817" y="1212224"/>
                      </a:lnTo>
                      <a:lnTo>
                        <a:pt x="850609" y="1215242"/>
                      </a:lnTo>
                      <a:lnTo>
                        <a:pt x="828876" y="1228524"/>
                      </a:lnTo>
                      <a:lnTo>
                        <a:pt x="824650" y="1229731"/>
                      </a:lnTo>
                      <a:lnTo>
                        <a:pt x="819217" y="1232750"/>
                      </a:lnTo>
                      <a:lnTo>
                        <a:pt x="815595" y="1233957"/>
                      </a:lnTo>
                      <a:lnTo>
                        <a:pt x="811369" y="1236976"/>
                      </a:lnTo>
                      <a:lnTo>
                        <a:pt x="803521" y="1237579"/>
                      </a:lnTo>
                      <a:lnTo>
                        <a:pt x="802917" y="1239994"/>
                      </a:lnTo>
                      <a:lnTo>
                        <a:pt x="794466" y="1241805"/>
                      </a:lnTo>
                      <a:lnTo>
                        <a:pt x="787221" y="1239994"/>
                      </a:lnTo>
                      <a:lnTo>
                        <a:pt x="778166" y="1235165"/>
                      </a:lnTo>
                      <a:lnTo>
                        <a:pt x="773940" y="1234561"/>
                      </a:lnTo>
                      <a:lnTo>
                        <a:pt x="772732" y="1239390"/>
                      </a:lnTo>
                      <a:lnTo>
                        <a:pt x="763073" y="1240598"/>
                      </a:lnTo>
                      <a:lnTo>
                        <a:pt x="761262" y="1244824"/>
                      </a:lnTo>
                      <a:lnTo>
                        <a:pt x="754622" y="1246635"/>
                      </a:lnTo>
                      <a:lnTo>
                        <a:pt x="754622" y="1242409"/>
                      </a:lnTo>
                      <a:lnTo>
                        <a:pt x="747377" y="1243013"/>
                      </a:lnTo>
                      <a:lnTo>
                        <a:pt x="745566" y="1239994"/>
                      </a:lnTo>
                      <a:lnTo>
                        <a:pt x="742548" y="1238787"/>
                      </a:lnTo>
                      <a:lnTo>
                        <a:pt x="732888" y="1239994"/>
                      </a:lnTo>
                      <a:lnTo>
                        <a:pt x="733492" y="1244824"/>
                      </a:lnTo>
                      <a:lnTo>
                        <a:pt x="725040" y="1243013"/>
                      </a:lnTo>
                      <a:lnTo>
                        <a:pt x="722626" y="1241202"/>
                      </a:lnTo>
                      <a:lnTo>
                        <a:pt x="709948" y="1242409"/>
                      </a:lnTo>
                      <a:lnTo>
                        <a:pt x="708741" y="1233957"/>
                      </a:lnTo>
                      <a:lnTo>
                        <a:pt x="706326" y="1229128"/>
                      </a:lnTo>
                      <a:lnTo>
                        <a:pt x="706326" y="1224902"/>
                      </a:lnTo>
                      <a:lnTo>
                        <a:pt x="699685" y="1221279"/>
                      </a:lnTo>
                      <a:lnTo>
                        <a:pt x="699685" y="1217657"/>
                      </a:lnTo>
                      <a:lnTo>
                        <a:pt x="696063" y="1211620"/>
                      </a:lnTo>
                      <a:lnTo>
                        <a:pt x="696667" y="1205583"/>
                      </a:lnTo>
                      <a:lnTo>
                        <a:pt x="700289" y="1204980"/>
                      </a:lnTo>
                      <a:lnTo>
                        <a:pt x="703911" y="1202565"/>
                      </a:lnTo>
                      <a:lnTo>
                        <a:pt x="713570" y="1203168"/>
                      </a:lnTo>
                      <a:lnTo>
                        <a:pt x="718400" y="1206187"/>
                      </a:lnTo>
                      <a:lnTo>
                        <a:pt x="726248" y="1208602"/>
                      </a:lnTo>
                      <a:lnTo>
                        <a:pt x="731077" y="1208602"/>
                      </a:lnTo>
                      <a:lnTo>
                        <a:pt x="734700" y="1205583"/>
                      </a:lnTo>
                      <a:lnTo>
                        <a:pt x="731077" y="1201357"/>
                      </a:lnTo>
                      <a:lnTo>
                        <a:pt x="726851" y="1201357"/>
                      </a:lnTo>
                      <a:lnTo>
                        <a:pt x="727455" y="1195924"/>
                      </a:lnTo>
                      <a:lnTo>
                        <a:pt x="724437" y="1177813"/>
                      </a:lnTo>
                      <a:lnTo>
                        <a:pt x="720814" y="1170569"/>
                      </a:lnTo>
                      <a:lnTo>
                        <a:pt x="711759" y="1159703"/>
                      </a:lnTo>
                      <a:lnTo>
                        <a:pt x="707533" y="1157891"/>
                      </a:lnTo>
                      <a:lnTo>
                        <a:pt x="706326" y="1154873"/>
                      </a:lnTo>
                      <a:lnTo>
                        <a:pt x="702100" y="1156684"/>
                      </a:lnTo>
                      <a:lnTo>
                        <a:pt x="691837" y="1158495"/>
                      </a:lnTo>
                      <a:lnTo>
                        <a:pt x="679159" y="1157288"/>
                      </a:lnTo>
                      <a:lnTo>
                        <a:pt x="675537" y="1157891"/>
                      </a:lnTo>
                      <a:lnTo>
                        <a:pt x="666482" y="1157288"/>
                      </a:lnTo>
                      <a:lnTo>
                        <a:pt x="668293" y="1162721"/>
                      </a:lnTo>
                      <a:lnTo>
                        <a:pt x="664671" y="1164532"/>
                      </a:lnTo>
                      <a:lnTo>
                        <a:pt x="662256" y="1167551"/>
                      </a:lnTo>
                      <a:lnTo>
                        <a:pt x="655615" y="1166947"/>
                      </a:lnTo>
                      <a:lnTo>
                        <a:pt x="655011" y="1170569"/>
                      </a:lnTo>
                      <a:lnTo>
                        <a:pt x="651993" y="1172380"/>
                      </a:lnTo>
                      <a:lnTo>
                        <a:pt x="647164" y="1169965"/>
                      </a:lnTo>
                      <a:lnTo>
                        <a:pt x="648371" y="1165740"/>
                      </a:lnTo>
                      <a:lnTo>
                        <a:pt x="639919" y="1167551"/>
                      </a:lnTo>
                      <a:lnTo>
                        <a:pt x="634486" y="1165136"/>
                      </a:lnTo>
                      <a:lnTo>
                        <a:pt x="628449" y="1166343"/>
                      </a:lnTo>
                      <a:lnTo>
                        <a:pt x="623619" y="1165740"/>
                      </a:lnTo>
                      <a:lnTo>
                        <a:pt x="621808" y="1168758"/>
                      </a:lnTo>
                      <a:lnTo>
                        <a:pt x="608527" y="1174795"/>
                      </a:lnTo>
                      <a:lnTo>
                        <a:pt x="586794" y="1192906"/>
                      </a:lnTo>
                      <a:lnTo>
                        <a:pt x="578946" y="1189887"/>
                      </a:lnTo>
                      <a:lnTo>
                        <a:pt x="574720" y="1194717"/>
                      </a:lnTo>
                      <a:lnTo>
                        <a:pt x="566872" y="1193509"/>
                      </a:lnTo>
                      <a:lnTo>
                        <a:pt x="563853" y="1201357"/>
                      </a:lnTo>
                      <a:lnTo>
                        <a:pt x="565061" y="1207394"/>
                      </a:lnTo>
                      <a:lnTo>
                        <a:pt x="560231" y="1210413"/>
                      </a:lnTo>
                      <a:lnTo>
                        <a:pt x="566268" y="1217657"/>
                      </a:lnTo>
                      <a:lnTo>
                        <a:pt x="565061" y="1222487"/>
                      </a:lnTo>
                      <a:lnTo>
                        <a:pt x="556609" y="1227920"/>
                      </a:lnTo>
                      <a:lnTo>
                        <a:pt x="554194" y="1235165"/>
                      </a:lnTo>
                      <a:lnTo>
                        <a:pt x="540913" y="1244220"/>
                      </a:lnTo>
                      <a:lnTo>
                        <a:pt x="532461" y="1250861"/>
                      </a:lnTo>
                      <a:lnTo>
                        <a:pt x="532461" y="1252672"/>
                      </a:lnTo>
                      <a:lnTo>
                        <a:pt x="539705" y="1263538"/>
                      </a:lnTo>
                      <a:lnTo>
                        <a:pt x="539102" y="1270783"/>
                      </a:lnTo>
                      <a:lnTo>
                        <a:pt x="535480" y="1270783"/>
                      </a:lnTo>
                      <a:lnTo>
                        <a:pt x="533668" y="1275009"/>
                      </a:lnTo>
                      <a:lnTo>
                        <a:pt x="533065" y="1280442"/>
                      </a:lnTo>
                      <a:lnTo>
                        <a:pt x="531857" y="1283460"/>
                      </a:lnTo>
                      <a:lnTo>
                        <a:pt x="518576" y="1280442"/>
                      </a:lnTo>
                      <a:lnTo>
                        <a:pt x="512539" y="1284064"/>
                      </a:lnTo>
                      <a:lnTo>
                        <a:pt x="504691" y="1282253"/>
                      </a:lnTo>
                      <a:lnTo>
                        <a:pt x="502880" y="1284064"/>
                      </a:lnTo>
                      <a:lnTo>
                        <a:pt x="501069" y="1291912"/>
                      </a:lnTo>
                      <a:lnTo>
                        <a:pt x="497446" y="1294931"/>
                      </a:lnTo>
                      <a:lnTo>
                        <a:pt x="496239" y="1300364"/>
                      </a:lnTo>
                      <a:lnTo>
                        <a:pt x="492617" y="1302175"/>
                      </a:lnTo>
                      <a:lnTo>
                        <a:pt x="487787" y="1302175"/>
                      </a:lnTo>
                      <a:lnTo>
                        <a:pt x="487787" y="1305193"/>
                      </a:lnTo>
                      <a:lnTo>
                        <a:pt x="480543" y="1308815"/>
                      </a:lnTo>
                      <a:lnTo>
                        <a:pt x="477525" y="1308212"/>
                      </a:lnTo>
                      <a:lnTo>
                        <a:pt x="461225" y="1309419"/>
                      </a:lnTo>
                      <a:lnTo>
                        <a:pt x="458810" y="1305193"/>
                      </a:lnTo>
                      <a:lnTo>
                        <a:pt x="441303" y="1305797"/>
                      </a:lnTo>
                      <a:lnTo>
                        <a:pt x="437680" y="1302779"/>
                      </a:lnTo>
                      <a:lnTo>
                        <a:pt x="431040" y="1297949"/>
                      </a:lnTo>
                      <a:lnTo>
                        <a:pt x="432247" y="1294931"/>
                      </a:lnTo>
                      <a:lnTo>
                        <a:pt x="426814" y="1289497"/>
                      </a:lnTo>
                      <a:lnTo>
                        <a:pt x="429229" y="1286479"/>
                      </a:lnTo>
                      <a:lnTo>
                        <a:pt x="437680" y="1288290"/>
                      </a:lnTo>
                      <a:lnTo>
                        <a:pt x="437077" y="1276216"/>
                      </a:lnTo>
                      <a:lnTo>
                        <a:pt x="432851" y="1274405"/>
                      </a:lnTo>
                      <a:lnTo>
                        <a:pt x="435869" y="1268368"/>
                      </a:lnTo>
                      <a:lnTo>
                        <a:pt x="432851" y="1262331"/>
                      </a:lnTo>
                      <a:lnTo>
                        <a:pt x="429832" y="1259916"/>
                      </a:lnTo>
                      <a:lnTo>
                        <a:pt x="425003" y="1246031"/>
                      </a:lnTo>
                      <a:lnTo>
                        <a:pt x="423192" y="1243013"/>
                      </a:lnTo>
                      <a:lnTo>
                        <a:pt x="414136" y="1247842"/>
                      </a:lnTo>
                      <a:lnTo>
                        <a:pt x="410514" y="1244824"/>
                      </a:lnTo>
                      <a:lnTo>
                        <a:pt x="400251" y="1242409"/>
                      </a:lnTo>
                      <a:lnTo>
                        <a:pt x="396629" y="1238787"/>
                      </a:lnTo>
                      <a:lnTo>
                        <a:pt x="385762" y="1239390"/>
                      </a:lnTo>
                      <a:lnTo>
                        <a:pt x="380329" y="1237579"/>
                      </a:lnTo>
                      <a:lnTo>
                        <a:pt x="374896" y="1239994"/>
                      </a:lnTo>
                      <a:lnTo>
                        <a:pt x="368859" y="1241202"/>
                      </a:lnTo>
                      <a:lnTo>
                        <a:pt x="362218" y="1239390"/>
                      </a:lnTo>
                      <a:lnTo>
                        <a:pt x="353163" y="1240598"/>
                      </a:lnTo>
                      <a:lnTo>
                        <a:pt x="350144" y="1238787"/>
                      </a:lnTo>
                      <a:lnTo>
                        <a:pt x="342900" y="1239390"/>
                      </a:lnTo>
                      <a:lnTo>
                        <a:pt x="335656" y="1241805"/>
                      </a:lnTo>
                      <a:lnTo>
                        <a:pt x="326600" y="1241202"/>
                      </a:lnTo>
                      <a:lnTo>
                        <a:pt x="324789" y="1238787"/>
                      </a:lnTo>
                      <a:lnTo>
                        <a:pt x="318752" y="1239390"/>
                      </a:lnTo>
                      <a:lnTo>
                        <a:pt x="316941" y="1241805"/>
                      </a:lnTo>
                      <a:lnTo>
                        <a:pt x="309697" y="1243616"/>
                      </a:lnTo>
                      <a:lnTo>
                        <a:pt x="304867" y="1239994"/>
                      </a:lnTo>
                      <a:lnTo>
                        <a:pt x="293397" y="1238787"/>
                      </a:lnTo>
                      <a:lnTo>
                        <a:pt x="276493" y="1240598"/>
                      </a:lnTo>
                      <a:lnTo>
                        <a:pt x="271664" y="1236372"/>
                      </a:lnTo>
                      <a:lnTo>
                        <a:pt x="269853" y="1238787"/>
                      </a:lnTo>
                      <a:lnTo>
                        <a:pt x="259590" y="1238183"/>
                      </a:lnTo>
                      <a:lnTo>
                        <a:pt x="258986" y="1233957"/>
                      </a:lnTo>
                      <a:lnTo>
                        <a:pt x="249327" y="1235768"/>
                      </a:lnTo>
                      <a:lnTo>
                        <a:pt x="245101" y="1233353"/>
                      </a:lnTo>
                      <a:lnTo>
                        <a:pt x="242083" y="1235165"/>
                      </a:lnTo>
                      <a:lnTo>
                        <a:pt x="235442" y="1231542"/>
                      </a:lnTo>
                      <a:lnTo>
                        <a:pt x="223972" y="1226109"/>
                      </a:lnTo>
                      <a:lnTo>
                        <a:pt x="219142" y="1221883"/>
                      </a:lnTo>
                      <a:lnTo>
                        <a:pt x="215520" y="1212224"/>
                      </a:lnTo>
                      <a:lnTo>
                        <a:pt x="208879" y="1200754"/>
                      </a:lnTo>
                      <a:lnTo>
                        <a:pt x="200427" y="1198943"/>
                      </a:lnTo>
                      <a:lnTo>
                        <a:pt x="199824" y="1197132"/>
                      </a:lnTo>
                      <a:lnTo>
                        <a:pt x="193183" y="1194113"/>
                      </a:lnTo>
                      <a:lnTo>
                        <a:pt x="181713" y="1190491"/>
                      </a:lnTo>
                      <a:lnTo>
                        <a:pt x="176883" y="1186265"/>
                      </a:lnTo>
                      <a:lnTo>
                        <a:pt x="169639" y="1186265"/>
                      </a:lnTo>
                      <a:lnTo>
                        <a:pt x="161187" y="1190491"/>
                      </a:lnTo>
                      <a:lnTo>
                        <a:pt x="155754" y="1191095"/>
                      </a:lnTo>
                      <a:lnTo>
                        <a:pt x="140058" y="1187472"/>
                      </a:lnTo>
                      <a:lnTo>
                        <a:pt x="134021" y="1185661"/>
                      </a:lnTo>
                      <a:lnTo>
                        <a:pt x="126173" y="1180832"/>
                      </a:lnTo>
                      <a:lnTo>
                        <a:pt x="112288" y="1178417"/>
                      </a:lnTo>
                      <a:lnTo>
                        <a:pt x="111080" y="1174191"/>
                      </a:lnTo>
                      <a:lnTo>
                        <a:pt x="106251" y="1173588"/>
                      </a:lnTo>
                      <a:lnTo>
                        <a:pt x="104440" y="1166343"/>
                      </a:lnTo>
                      <a:lnTo>
                        <a:pt x="99006" y="1166947"/>
                      </a:lnTo>
                      <a:lnTo>
                        <a:pt x="95988" y="1164532"/>
                      </a:lnTo>
                      <a:lnTo>
                        <a:pt x="97195" y="1156080"/>
                      </a:lnTo>
                      <a:lnTo>
                        <a:pt x="95988" y="1154269"/>
                      </a:lnTo>
                      <a:lnTo>
                        <a:pt x="94780" y="1147025"/>
                      </a:lnTo>
                      <a:lnTo>
                        <a:pt x="96592" y="1144006"/>
                      </a:lnTo>
                      <a:lnTo>
                        <a:pt x="97799" y="1129518"/>
                      </a:lnTo>
                      <a:lnTo>
                        <a:pt x="99610" y="1124688"/>
                      </a:lnTo>
                      <a:lnTo>
                        <a:pt x="97195" y="1118651"/>
                      </a:lnTo>
                      <a:lnTo>
                        <a:pt x="92366" y="1114425"/>
                      </a:lnTo>
                      <a:lnTo>
                        <a:pt x="88140" y="1112010"/>
                      </a:lnTo>
                      <a:lnTo>
                        <a:pt x="83914" y="1111407"/>
                      </a:lnTo>
                      <a:lnTo>
                        <a:pt x="82103" y="1107784"/>
                      </a:lnTo>
                      <a:lnTo>
                        <a:pt x="82707" y="1100540"/>
                      </a:lnTo>
                      <a:lnTo>
                        <a:pt x="80895" y="1097521"/>
                      </a:lnTo>
                      <a:lnTo>
                        <a:pt x="70633" y="1099936"/>
                      </a:lnTo>
                      <a:lnTo>
                        <a:pt x="68821" y="1103558"/>
                      </a:lnTo>
                      <a:lnTo>
                        <a:pt x="62181" y="1109595"/>
                      </a:lnTo>
                      <a:lnTo>
                        <a:pt x="53125" y="1111407"/>
                      </a:lnTo>
                      <a:lnTo>
                        <a:pt x="51314" y="1118047"/>
                      </a:lnTo>
                      <a:lnTo>
                        <a:pt x="31996" y="1120462"/>
                      </a:lnTo>
                      <a:lnTo>
                        <a:pt x="25959" y="1116236"/>
                      </a:lnTo>
                      <a:lnTo>
                        <a:pt x="21129" y="1114425"/>
                      </a:lnTo>
                      <a:lnTo>
                        <a:pt x="20526" y="1110803"/>
                      </a:lnTo>
                      <a:lnTo>
                        <a:pt x="22337" y="1107181"/>
                      </a:lnTo>
                      <a:lnTo>
                        <a:pt x="11470" y="1103558"/>
                      </a:lnTo>
                      <a:lnTo>
                        <a:pt x="11470" y="1099936"/>
                      </a:lnTo>
                      <a:lnTo>
                        <a:pt x="16904" y="1096314"/>
                      </a:lnTo>
                      <a:lnTo>
                        <a:pt x="19318" y="1092088"/>
                      </a:lnTo>
                      <a:lnTo>
                        <a:pt x="24148" y="1090881"/>
                      </a:lnTo>
                      <a:lnTo>
                        <a:pt x="25959" y="1081825"/>
                      </a:lnTo>
                      <a:lnTo>
                        <a:pt x="22941" y="1080618"/>
                      </a:lnTo>
                      <a:lnTo>
                        <a:pt x="18111" y="1083033"/>
                      </a:lnTo>
                      <a:lnTo>
                        <a:pt x="16904" y="1074581"/>
                      </a:lnTo>
                      <a:lnTo>
                        <a:pt x="18715" y="1067941"/>
                      </a:lnTo>
                      <a:lnTo>
                        <a:pt x="16904" y="1067337"/>
                      </a:lnTo>
                      <a:lnTo>
                        <a:pt x="16300" y="1057074"/>
                      </a:lnTo>
                      <a:lnTo>
                        <a:pt x="14489" y="1055263"/>
                      </a:lnTo>
                      <a:lnTo>
                        <a:pt x="6641" y="1054659"/>
                      </a:lnTo>
                      <a:lnTo>
                        <a:pt x="7244" y="1044396"/>
                      </a:lnTo>
                      <a:lnTo>
                        <a:pt x="3018" y="1040774"/>
                      </a:lnTo>
                      <a:lnTo>
                        <a:pt x="4830" y="1030511"/>
                      </a:lnTo>
                      <a:lnTo>
                        <a:pt x="6641" y="1028096"/>
                      </a:lnTo>
                      <a:lnTo>
                        <a:pt x="5433" y="1023871"/>
                      </a:lnTo>
                      <a:lnTo>
                        <a:pt x="10263" y="1023267"/>
                      </a:lnTo>
                      <a:lnTo>
                        <a:pt x="13885" y="1021456"/>
                      </a:lnTo>
                      <a:lnTo>
                        <a:pt x="17507" y="1025682"/>
                      </a:lnTo>
                      <a:lnTo>
                        <a:pt x="18715" y="1029908"/>
                      </a:lnTo>
                      <a:lnTo>
                        <a:pt x="30185" y="1032322"/>
                      </a:lnTo>
                      <a:lnTo>
                        <a:pt x="31996" y="1028096"/>
                      </a:lnTo>
                      <a:lnTo>
                        <a:pt x="37429" y="1024474"/>
                      </a:lnTo>
                      <a:lnTo>
                        <a:pt x="40448" y="1020248"/>
                      </a:lnTo>
                      <a:lnTo>
                        <a:pt x="47088" y="1016626"/>
                      </a:lnTo>
                      <a:lnTo>
                        <a:pt x="45277" y="1009382"/>
                      </a:lnTo>
                      <a:lnTo>
                        <a:pt x="39844" y="1006363"/>
                      </a:lnTo>
                      <a:lnTo>
                        <a:pt x="33203" y="1006967"/>
                      </a:lnTo>
                      <a:lnTo>
                        <a:pt x="33203" y="1000326"/>
                      </a:lnTo>
                      <a:lnTo>
                        <a:pt x="28374" y="1000930"/>
                      </a:lnTo>
                      <a:lnTo>
                        <a:pt x="29581" y="1005156"/>
                      </a:lnTo>
                      <a:lnTo>
                        <a:pt x="22941" y="1006363"/>
                      </a:lnTo>
                      <a:lnTo>
                        <a:pt x="19922" y="1003345"/>
                      </a:lnTo>
                      <a:lnTo>
                        <a:pt x="16300" y="1010589"/>
                      </a:lnTo>
                      <a:lnTo>
                        <a:pt x="12678" y="1007571"/>
                      </a:lnTo>
                      <a:lnTo>
                        <a:pt x="11470" y="999723"/>
                      </a:lnTo>
                      <a:lnTo>
                        <a:pt x="6641" y="1000326"/>
                      </a:lnTo>
                      <a:lnTo>
                        <a:pt x="8452" y="990667"/>
                      </a:lnTo>
                      <a:lnTo>
                        <a:pt x="0" y="988856"/>
                      </a:lnTo>
                      <a:lnTo>
                        <a:pt x="0" y="983423"/>
                      </a:lnTo>
                      <a:lnTo>
                        <a:pt x="4830" y="981612"/>
                      </a:lnTo>
                      <a:lnTo>
                        <a:pt x="8452" y="981612"/>
                      </a:lnTo>
                      <a:lnTo>
                        <a:pt x="16904" y="987649"/>
                      </a:lnTo>
                      <a:lnTo>
                        <a:pt x="22337" y="988856"/>
                      </a:lnTo>
                      <a:lnTo>
                        <a:pt x="23544" y="985837"/>
                      </a:lnTo>
                      <a:lnTo>
                        <a:pt x="30185" y="981008"/>
                      </a:lnTo>
                      <a:lnTo>
                        <a:pt x="31996" y="977386"/>
                      </a:lnTo>
                      <a:lnTo>
                        <a:pt x="35014" y="977989"/>
                      </a:lnTo>
                      <a:lnTo>
                        <a:pt x="37429" y="973764"/>
                      </a:lnTo>
                      <a:lnTo>
                        <a:pt x="39844" y="967123"/>
                      </a:lnTo>
                      <a:lnTo>
                        <a:pt x="44070" y="965312"/>
                      </a:lnTo>
                      <a:lnTo>
                        <a:pt x="43466" y="962293"/>
                      </a:lnTo>
                      <a:lnTo>
                        <a:pt x="48296" y="959879"/>
                      </a:lnTo>
                      <a:lnTo>
                        <a:pt x="51314" y="961086"/>
                      </a:lnTo>
                      <a:lnTo>
                        <a:pt x="58559" y="960482"/>
                      </a:lnTo>
                      <a:lnTo>
                        <a:pt x="65803" y="962293"/>
                      </a:lnTo>
                      <a:lnTo>
                        <a:pt x="70029" y="960482"/>
                      </a:lnTo>
                      <a:lnTo>
                        <a:pt x="70029" y="955049"/>
                      </a:lnTo>
                      <a:lnTo>
                        <a:pt x="72444" y="949616"/>
                      </a:lnTo>
                      <a:lnTo>
                        <a:pt x="73651" y="941164"/>
                      </a:lnTo>
                      <a:lnTo>
                        <a:pt x="81499" y="929090"/>
                      </a:lnTo>
                      <a:lnTo>
                        <a:pt x="81499" y="923657"/>
                      </a:lnTo>
                      <a:lnTo>
                        <a:pt x="86932" y="922449"/>
                      </a:lnTo>
                      <a:lnTo>
                        <a:pt x="89347" y="912790"/>
                      </a:lnTo>
                      <a:lnTo>
                        <a:pt x="86329" y="900113"/>
                      </a:lnTo>
                      <a:lnTo>
                        <a:pt x="83914" y="898301"/>
                      </a:lnTo>
                      <a:lnTo>
                        <a:pt x="77273" y="899509"/>
                      </a:lnTo>
                      <a:lnTo>
                        <a:pt x="73651" y="903735"/>
                      </a:lnTo>
                      <a:lnTo>
                        <a:pt x="69425" y="901320"/>
                      </a:lnTo>
                      <a:lnTo>
                        <a:pt x="60973" y="888642"/>
                      </a:lnTo>
                      <a:lnTo>
                        <a:pt x="67010" y="885624"/>
                      </a:lnTo>
                      <a:lnTo>
                        <a:pt x="63992" y="880190"/>
                      </a:lnTo>
                      <a:lnTo>
                        <a:pt x="62784" y="874153"/>
                      </a:lnTo>
                      <a:lnTo>
                        <a:pt x="58559" y="871739"/>
                      </a:lnTo>
                      <a:lnTo>
                        <a:pt x="57351" y="866909"/>
                      </a:lnTo>
                      <a:lnTo>
                        <a:pt x="62784" y="865098"/>
                      </a:lnTo>
                      <a:lnTo>
                        <a:pt x="65199" y="860872"/>
                      </a:lnTo>
                      <a:lnTo>
                        <a:pt x="71236" y="856043"/>
                      </a:lnTo>
                      <a:lnTo>
                        <a:pt x="80292" y="857250"/>
                      </a:lnTo>
                      <a:lnTo>
                        <a:pt x="82707" y="860269"/>
                      </a:lnTo>
                      <a:lnTo>
                        <a:pt x="86932" y="862080"/>
                      </a:lnTo>
                      <a:lnTo>
                        <a:pt x="96592" y="860872"/>
                      </a:lnTo>
                      <a:lnTo>
                        <a:pt x="101421" y="858457"/>
                      </a:lnTo>
                      <a:lnTo>
                        <a:pt x="103836" y="854232"/>
                      </a:lnTo>
                      <a:lnTo>
                        <a:pt x="103232" y="851213"/>
                      </a:lnTo>
                      <a:lnTo>
                        <a:pt x="115910" y="848798"/>
                      </a:lnTo>
                      <a:lnTo>
                        <a:pt x="119532" y="844573"/>
                      </a:lnTo>
                      <a:lnTo>
                        <a:pt x="125569" y="840347"/>
                      </a:lnTo>
                      <a:lnTo>
                        <a:pt x="128588" y="836121"/>
                      </a:lnTo>
                      <a:lnTo>
                        <a:pt x="138247" y="837328"/>
                      </a:lnTo>
                      <a:lnTo>
                        <a:pt x="144284" y="833706"/>
                      </a:lnTo>
                      <a:lnTo>
                        <a:pt x="145491" y="829480"/>
                      </a:lnTo>
                      <a:lnTo>
                        <a:pt x="138850" y="831895"/>
                      </a:lnTo>
                      <a:lnTo>
                        <a:pt x="134021" y="829480"/>
                      </a:lnTo>
                      <a:lnTo>
                        <a:pt x="139454" y="826462"/>
                      </a:lnTo>
                      <a:lnTo>
                        <a:pt x="135228" y="819821"/>
                      </a:lnTo>
                      <a:lnTo>
                        <a:pt x="129795" y="819217"/>
                      </a:lnTo>
                      <a:lnTo>
                        <a:pt x="125569" y="822839"/>
                      </a:lnTo>
                      <a:lnTo>
                        <a:pt x="121343" y="822236"/>
                      </a:lnTo>
                      <a:lnTo>
                        <a:pt x="117721" y="817406"/>
                      </a:lnTo>
                      <a:lnTo>
                        <a:pt x="111684" y="817406"/>
                      </a:lnTo>
                      <a:lnTo>
                        <a:pt x="108062" y="814388"/>
                      </a:lnTo>
                      <a:lnTo>
                        <a:pt x="103836" y="816802"/>
                      </a:lnTo>
                      <a:lnTo>
                        <a:pt x="100817" y="808351"/>
                      </a:lnTo>
                      <a:lnTo>
                        <a:pt x="102629" y="805332"/>
                      </a:lnTo>
                      <a:lnTo>
                        <a:pt x="103232" y="799295"/>
                      </a:lnTo>
                      <a:lnTo>
                        <a:pt x="106251" y="799295"/>
                      </a:lnTo>
                      <a:lnTo>
                        <a:pt x="108665" y="795069"/>
                      </a:lnTo>
                      <a:lnTo>
                        <a:pt x="109269" y="787221"/>
                      </a:lnTo>
                      <a:lnTo>
                        <a:pt x="114099" y="784806"/>
                      </a:lnTo>
                      <a:lnTo>
                        <a:pt x="117117" y="777562"/>
                      </a:lnTo>
                      <a:lnTo>
                        <a:pt x="126776" y="776355"/>
                      </a:lnTo>
                      <a:lnTo>
                        <a:pt x="128588" y="772732"/>
                      </a:lnTo>
                      <a:lnTo>
                        <a:pt x="137643" y="767299"/>
                      </a:lnTo>
                      <a:lnTo>
                        <a:pt x="141869" y="768506"/>
                      </a:lnTo>
                      <a:lnTo>
                        <a:pt x="143680" y="764281"/>
                      </a:lnTo>
                      <a:lnTo>
                        <a:pt x="148510" y="763073"/>
                      </a:lnTo>
                      <a:lnTo>
                        <a:pt x="150321" y="758847"/>
                      </a:lnTo>
                      <a:lnTo>
                        <a:pt x="155150" y="758244"/>
                      </a:lnTo>
                      <a:lnTo>
                        <a:pt x="156358" y="761262"/>
                      </a:lnTo>
                      <a:lnTo>
                        <a:pt x="166620" y="755829"/>
                      </a:lnTo>
                      <a:lnTo>
                        <a:pt x="170243" y="752207"/>
                      </a:lnTo>
                      <a:lnTo>
                        <a:pt x="173261" y="744963"/>
                      </a:lnTo>
                      <a:lnTo>
                        <a:pt x="177487" y="741340"/>
                      </a:lnTo>
                      <a:lnTo>
                        <a:pt x="184731" y="739529"/>
                      </a:lnTo>
                      <a:lnTo>
                        <a:pt x="181109" y="731078"/>
                      </a:lnTo>
                      <a:lnTo>
                        <a:pt x="178694" y="729266"/>
                      </a:lnTo>
                      <a:lnTo>
                        <a:pt x="181109" y="724437"/>
                      </a:lnTo>
                      <a:lnTo>
                        <a:pt x="181109" y="719607"/>
                      </a:lnTo>
                      <a:lnTo>
                        <a:pt x="184731" y="715985"/>
                      </a:lnTo>
                      <a:lnTo>
                        <a:pt x="182920" y="710552"/>
                      </a:lnTo>
                      <a:lnTo>
                        <a:pt x="184731" y="708741"/>
                      </a:lnTo>
                      <a:lnTo>
                        <a:pt x="182317" y="701496"/>
                      </a:lnTo>
                      <a:lnTo>
                        <a:pt x="178694" y="700893"/>
                      </a:lnTo>
                      <a:lnTo>
                        <a:pt x="179902" y="691233"/>
                      </a:lnTo>
                      <a:lnTo>
                        <a:pt x="177487" y="685800"/>
                      </a:lnTo>
                      <a:lnTo>
                        <a:pt x="179298" y="676141"/>
                      </a:lnTo>
                      <a:lnTo>
                        <a:pt x="184731" y="665274"/>
                      </a:lnTo>
                      <a:lnTo>
                        <a:pt x="189561" y="662256"/>
                      </a:lnTo>
                      <a:lnTo>
                        <a:pt x="191372" y="655615"/>
                      </a:lnTo>
                      <a:lnTo>
                        <a:pt x="194390" y="653200"/>
                      </a:lnTo>
                      <a:lnTo>
                        <a:pt x="195598" y="649578"/>
                      </a:lnTo>
                      <a:lnTo>
                        <a:pt x="193183" y="647163"/>
                      </a:lnTo>
                      <a:lnTo>
                        <a:pt x="192579" y="639919"/>
                      </a:lnTo>
                      <a:lnTo>
                        <a:pt x="189561" y="637504"/>
                      </a:lnTo>
                      <a:lnTo>
                        <a:pt x="188354" y="631468"/>
                      </a:lnTo>
                      <a:lnTo>
                        <a:pt x="184128" y="629053"/>
                      </a:lnTo>
                      <a:lnTo>
                        <a:pt x="182317" y="620601"/>
                      </a:lnTo>
                      <a:lnTo>
                        <a:pt x="176280" y="616979"/>
                      </a:lnTo>
                      <a:lnTo>
                        <a:pt x="172054" y="607320"/>
                      </a:lnTo>
                      <a:lnTo>
                        <a:pt x="177487" y="603697"/>
                      </a:lnTo>
                      <a:lnTo>
                        <a:pt x="175072" y="597057"/>
                      </a:lnTo>
                      <a:lnTo>
                        <a:pt x="171450" y="593434"/>
                      </a:lnTo>
                      <a:lnTo>
                        <a:pt x="166620" y="595245"/>
                      </a:lnTo>
                      <a:lnTo>
                        <a:pt x="158772" y="593434"/>
                      </a:lnTo>
                      <a:lnTo>
                        <a:pt x="150321" y="594642"/>
                      </a:lnTo>
                      <a:lnTo>
                        <a:pt x="146698" y="593434"/>
                      </a:lnTo>
                      <a:lnTo>
                        <a:pt x="146698" y="589209"/>
                      </a:lnTo>
                      <a:lnTo>
                        <a:pt x="152132" y="584379"/>
                      </a:lnTo>
                      <a:lnTo>
                        <a:pt x="152735" y="572909"/>
                      </a:lnTo>
                      <a:lnTo>
                        <a:pt x="156358" y="568683"/>
                      </a:lnTo>
                      <a:lnTo>
                        <a:pt x="158169" y="563853"/>
                      </a:lnTo>
                      <a:lnTo>
                        <a:pt x="167828" y="554194"/>
                      </a:lnTo>
                      <a:lnTo>
                        <a:pt x="158772" y="545139"/>
                      </a:lnTo>
                      <a:lnTo>
                        <a:pt x="153943" y="544535"/>
                      </a:lnTo>
                      <a:lnTo>
                        <a:pt x="151528" y="546950"/>
                      </a:lnTo>
                      <a:lnTo>
                        <a:pt x="146698" y="545742"/>
                      </a:lnTo>
                      <a:lnTo>
                        <a:pt x="138247" y="537894"/>
                      </a:lnTo>
                      <a:lnTo>
                        <a:pt x="141265" y="535480"/>
                      </a:lnTo>
                      <a:lnTo>
                        <a:pt x="144887" y="534876"/>
                      </a:lnTo>
                      <a:lnTo>
                        <a:pt x="146698" y="528839"/>
                      </a:lnTo>
                      <a:lnTo>
                        <a:pt x="144887" y="520991"/>
                      </a:lnTo>
                      <a:lnTo>
                        <a:pt x="153943" y="517972"/>
                      </a:lnTo>
                      <a:lnTo>
                        <a:pt x="152132" y="511935"/>
                      </a:lnTo>
                      <a:lnTo>
                        <a:pt x="154547" y="508313"/>
                      </a:lnTo>
                      <a:lnTo>
                        <a:pt x="159376" y="504087"/>
                      </a:lnTo>
                      <a:lnTo>
                        <a:pt x="158772" y="501069"/>
                      </a:lnTo>
                      <a:lnTo>
                        <a:pt x="150924" y="501069"/>
                      </a:lnTo>
                      <a:lnTo>
                        <a:pt x="153339" y="492013"/>
                      </a:lnTo>
                      <a:lnTo>
                        <a:pt x="151528" y="487787"/>
                      </a:lnTo>
                      <a:lnTo>
                        <a:pt x="156358" y="485373"/>
                      </a:lnTo>
                      <a:lnTo>
                        <a:pt x="155754" y="476317"/>
                      </a:lnTo>
                      <a:lnTo>
                        <a:pt x="157565" y="475714"/>
                      </a:lnTo>
                      <a:lnTo>
                        <a:pt x="159376" y="482958"/>
                      </a:lnTo>
                      <a:lnTo>
                        <a:pt x="166017" y="495635"/>
                      </a:lnTo>
                      <a:lnTo>
                        <a:pt x="169639" y="499861"/>
                      </a:lnTo>
                      <a:lnTo>
                        <a:pt x="170846" y="504691"/>
                      </a:lnTo>
                      <a:lnTo>
                        <a:pt x="176883" y="507709"/>
                      </a:lnTo>
                      <a:lnTo>
                        <a:pt x="185335" y="506502"/>
                      </a:lnTo>
                      <a:lnTo>
                        <a:pt x="189561" y="497447"/>
                      </a:lnTo>
                      <a:lnTo>
                        <a:pt x="196805" y="495635"/>
                      </a:lnTo>
                      <a:lnTo>
                        <a:pt x="194994" y="490202"/>
                      </a:lnTo>
                      <a:lnTo>
                        <a:pt x="195598" y="485976"/>
                      </a:lnTo>
                      <a:lnTo>
                        <a:pt x="201031" y="485976"/>
                      </a:lnTo>
                      <a:lnTo>
                        <a:pt x="201635" y="481147"/>
                      </a:lnTo>
                      <a:lnTo>
                        <a:pt x="199824" y="476317"/>
                      </a:lnTo>
                      <a:lnTo>
                        <a:pt x="196805" y="475714"/>
                      </a:lnTo>
                      <a:lnTo>
                        <a:pt x="190768" y="476921"/>
                      </a:lnTo>
                      <a:lnTo>
                        <a:pt x="177487" y="475714"/>
                      </a:lnTo>
                      <a:lnTo>
                        <a:pt x="173261" y="474506"/>
                      </a:lnTo>
                      <a:lnTo>
                        <a:pt x="172054" y="472091"/>
                      </a:lnTo>
                      <a:lnTo>
                        <a:pt x="167828" y="472091"/>
                      </a:lnTo>
                      <a:lnTo>
                        <a:pt x="167224" y="463036"/>
                      </a:lnTo>
                      <a:lnTo>
                        <a:pt x="161187" y="452773"/>
                      </a:lnTo>
                      <a:lnTo>
                        <a:pt x="160583" y="443114"/>
                      </a:lnTo>
                      <a:lnTo>
                        <a:pt x="162395" y="437077"/>
                      </a:lnTo>
                      <a:lnTo>
                        <a:pt x="166620" y="435266"/>
                      </a:lnTo>
                      <a:lnTo>
                        <a:pt x="168431" y="437680"/>
                      </a:lnTo>
                      <a:lnTo>
                        <a:pt x="169639" y="443717"/>
                      </a:lnTo>
                      <a:lnTo>
                        <a:pt x="176280" y="443114"/>
                      </a:lnTo>
                      <a:lnTo>
                        <a:pt x="179298" y="446132"/>
                      </a:lnTo>
                      <a:lnTo>
                        <a:pt x="178694" y="452773"/>
                      </a:lnTo>
                      <a:lnTo>
                        <a:pt x="186542" y="453377"/>
                      </a:lnTo>
                      <a:lnTo>
                        <a:pt x="185335" y="457603"/>
                      </a:lnTo>
                      <a:lnTo>
                        <a:pt x="199824" y="458206"/>
                      </a:lnTo>
                      <a:lnTo>
                        <a:pt x="205861" y="461828"/>
                      </a:lnTo>
                      <a:lnTo>
                        <a:pt x="211898" y="455188"/>
                      </a:lnTo>
                      <a:lnTo>
                        <a:pt x="215520" y="456999"/>
                      </a:lnTo>
                      <a:lnTo>
                        <a:pt x="221557" y="454584"/>
                      </a:lnTo>
                      <a:lnTo>
                        <a:pt x="220953" y="437680"/>
                      </a:lnTo>
                      <a:lnTo>
                        <a:pt x="225179" y="432851"/>
                      </a:lnTo>
                      <a:lnTo>
                        <a:pt x="230612" y="431644"/>
                      </a:lnTo>
                      <a:lnTo>
                        <a:pt x="231820" y="427418"/>
                      </a:lnTo>
                      <a:lnTo>
                        <a:pt x="228801" y="423192"/>
                      </a:lnTo>
                      <a:lnTo>
                        <a:pt x="230009" y="419570"/>
                      </a:lnTo>
                      <a:lnTo>
                        <a:pt x="233027" y="417155"/>
                      </a:lnTo>
                      <a:lnTo>
                        <a:pt x="238460" y="421984"/>
                      </a:lnTo>
                      <a:lnTo>
                        <a:pt x="260797" y="418966"/>
                      </a:lnTo>
                      <a:lnTo>
                        <a:pt x="269249" y="420173"/>
                      </a:lnTo>
                      <a:lnTo>
                        <a:pt x="269249" y="423796"/>
                      </a:lnTo>
                      <a:lnTo>
                        <a:pt x="262608" y="428021"/>
                      </a:lnTo>
                      <a:lnTo>
                        <a:pt x="263816" y="433455"/>
                      </a:lnTo>
                      <a:lnTo>
                        <a:pt x="266834" y="438284"/>
                      </a:lnTo>
                      <a:lnTo>
                        <a:pt x="263816" y="443717"/>
                      </a:lnTo>
                      <a:lnTo>
                        <a:pt x="262608" y="450962"/>
                      </a:lnTo>
                      <a:lnTo>
                        <a:pt x="256571" y="440699"/>
                      </a:lnTo>
                      <a:lnTo>
                        <a:pt x="255968" y="434662"/>
                      </a:lnTo>
                      <a:lnTo>
                        <a:pt x="251742" y="438284"/>
                      </a:lnTo>
                      <a:lnTo>
                        <a:pt x="256571" y="446132"/>
                      </a:lnTo>
                      <a:lnTo>
                        <a:pt x="251742" y="449151"/>
                      </a:lnTo>
                      <a:lnTo>
                        <a:pt x="251138" y="454584"/>
                      </a:lnTo>
                      <a:lnTo>
                        <a:pt x="261401" y="459414"/>
                      </a:lnTo>
                      <a:lnTo>
                        <a:pt x="264419" y="455188"/>
                      </a:lnTo>
                      <a:lnTo>
                        <a:pt x="273475" y="457603"/>
                      </a:lnTo>
                      <a:lnTo>
                        <a:pt x="280719" y="453980"/>
                      </a:lnTo>
                      <a:lnTo>
                        <a:pt x="284341" y="453980"/>
                      </a:lnTo>
                      <a:lnTo>
                        <a:pt x="283134" y="460621"/>
                      </a:lnTo>
                      <a:lnTo>
                        <a:pt x="268042" y="467865"/>
                      </a:lnTo>
                      <a:lnTo>
                        <a:pt x="265023" y="467865"/>
                      </a:lnTo>
                      <a:lnTo>
                        <a:pt x="261401" y="472091"/>
                      </a:lnTo>
                      <a:lnTo>
                        <a:pt x="258986" y="471488"/>
                      </a:lnTo>
                      <a:lnTo>
                        <a:pt x="255364" y="463640"/>
                      </a:lnTo>
                      <a:lnTo>
                        <a:pt x="246912" y="461225"/>
                      </a:lnTo>
                      <a:lnTo>
                        <a:pt x="248723" y="453377"/>
                      </a:lnTo>
                      <a:lnTo>
                        <a:pt x="238460" y="455791"/>
                      </a:lnTo>
                      <a:lnTo>
                        <a:pt x="243894" y="464243"/>
                      </a:lnTo>
                      <a:lnTo>
                        <a:pt x="248723" y="466658"/>
                      </a:lnTo>
                      <a:lnTo>
                        <a:pt x="248120" y="470280"/>
                      </a:lnTo>
                      <a:lnTo>
                        <a:pt x="242083" y="470280"/>
                      </a:lnTo>
                      <a:lnTo>
                        <a:pt x="236649" y="477525"/>
                      </a:lnTo>
                      <a:lnTo>
                        <a:pt x="237253" y="484165"/>
                      </a:lnTo>
                      <a:lnTo>
                        <a:pt x="241479" y="492617"/>
                      </a:lnTo>
                      <a:lnTo>
                        <a:pt x="243894" y="489598"/>
                      </a:lnTo>
                      <a:lnTo>
                        <a:pt x="248120" y="491410"/>
                      </a:lnTo>
                      <a:lnTo>
                        <a:pt x="252345" y="490202"/>
                      </a:lnTo>
                      <a:lnTo>
                        <a:pt x="259590" y="493221"/>
                      </a:lnTo>
                      <a:lnTo>
                        <a:pt x="269249" y="493824"/>
                      </a:lnTo>
                      <a:lnTo>
                        <a:pt x="272267" y="495635"/>
                      </a:lnTo>
                      <a:lnTo>
                        <a:pt x="290378" y="499258"/>
                      </a:lnTo>
                      <a:lnTo>
                        <a:pt x="296415" y="498050"/>
                      </a:lnTo>
                      <a:lnTo>
                        <a:pt x="307282" y="493221"/>
                      </a:lnTo>
                      <a:lnTo>
                        <a:pt x="310904" y="494428"/>
                      </a:lnTo>
                      <a:lnTo>
                        <a:pt x="316941" y="492617"/>
                      </a:lnTo>
                      <a:lnTo>
                        <a:pt x="323582" y="500465"/>
                      </a:lnTo>
                      <a:lnTo>
                        <a:pt x="332637" y="497447"/>
                      </a:lnTo>
                      <a:lnTo>
                        <a:pt x="337467" y="491410"/>
                      </a:lnTo>
                      <a:lnTo>
                        <a:pt x="350144" y="484165"/>
                      </a:lnTo>
                      <a:lnTo>
                        <a:pt x="359200" y="482958"/>
                      </a:lnTo>
                      <a:lnTo>
                        <a:pt x="362822" y="484769"/>
                      </a:lnTo>
                      <a:lnTo>
                        <a:pt x="370066" y="490806"/>
                      </a:lnTo>
                      <a:lnTo>
                        <a:pt x="370670" y="493824"/>
                      </a:lnTo>
                      <a:lnTo>
                        <a:pt x="367652" y="505295"/>
                      </a:lnTo>
                      <a:lnTo>
                        <a:pt x="370670" y="504691"/>
                      </a:lnTo>
                      <a:lnTo>
                        <a:pt x="371274" y="513143"/>
                      </a:lnTo>
                      <a:lnTo>
                        <a:pt x="372481" y="517369"/>
                      </a:lnTo>
                      <a:lnTo>
                        <a:pt x="377311" y="518576"/>
                      </a:lnTo>
                      <a:lnTo>
                        <a:pt x="379122" y="524613"/>
                      </a:lnTo>
                      <a:lnTo>
                        <a:pt x="384555" y="525820"/>
                      </a:lnTo>
                      <a:lnTo>
                        <a:pt x="383951" y="531857"/>
                      </a:lnTo>
                      <a:lnTo>
                        <a:pt x="387574" y="534272"/>
                      </a:lnTo>
                      <a:lnTo>
                        <a:pt x="383951" y="542120"/>
                      </a:lnTo>
                      <a:lnTo>
                        <a:pt x="385159" y="545139"/>
                      </a:lnTo>
                      <a:lnTo>
                        <a:pt x="384555" y="552987"/>
                      </a:lnTo>
                      <a:lnTo>
                        <a:pt x="383348" y="555401"/>
                      </a:lnTo>
                      <a:lnTo>
                        <a:pt x="374292" y="560231"/>
                      </a:lnTo>
                      <a:lnTo>
                        <a:pt x="367652" y="560835"/>
                      </a:lnTo>
                      <a:lnTo>
                        <a:pt x="364633" y="557213"/>
                      </a:lnTo>
                      <a:lnTo>
                        <a:pt x="365237" y="551176"/>
                      </a:lnTo>
                      <a:lnTo>
                        <a:pt x="359804" y="548761"/>
                      </a:lnTo>
                      <a:lnTo>
                        <a:pt x="359200" y="552383"/>
                      </a:lnTo>
                      <a:lnTo>
                        <a:pt x="353163" y="559627"/>
                      </a:lnTo>
                      <a:lnTo>
                        <a:pt x="352559" y="563853"/>
                      </a:lnTo>
                      <a:lnTo>
                        <a:pt x="348937" y="565061"/>
                      </a:lnTo>
                      <a:lnTo>
                        <a:pt x="349541" y="568079"/>
                      </a:lnTo>
                      <a:lnTo>
                        <a:pt x="348937" y="577738"/>
                      </a:lnTo>
                      <a:lnTo>
                        <a:pt x="354974" y="586190"/>
                      </a:lnTo>
                      <a:lnTo>
                        <a:pt x="361615" y="584983"/>
                      </a:lnTo>
                      <a:lnTo>
                        <a:pt x="364633" y="588001"/>
                      </a:lnTo>
                      <a:lnTo>
                        <a:pt x="364633" y="597057"/>
                      </a:lnTo>
                      <a:lnTo>
                        <a:pt x="362822" y="604301"/>
                      </a:lnTo>
                      <a:lnTo>
                        <a:pt x="356181" y="606112"/>
                      </a:lnTo>
                      <a:lnTo>
                        <a:pt x="350144" y="624827"/>
                      </a:lnTo>
                      <a:lnTo>
                        <a:pt x="357389" y="626034"/>
                      </a:lnTo>
                      <a:lnTo>
                        <a:pt x="359804" y="631468"/>
                      </a:lnTo>
                      <a:lnTo>
                        <a:pt x="364633" y="632675"/>
                      </a:lnTo>
                      <a:lnTo>
                        <a:pt x="368255" y="632071"/>
                      </a:lnTo>
                      <a:lnTo>
                        <a:pt x="368255" y="639919"/>
                      </a:lnTo>
                      <a:lnTo>
                        <a:pt x="357992" y="642334"/>
                      </a:lnTo>
                      <a:lnTo>
                        <a:pt x="357992" y="647767"/>
                      </a:lnTo>
                      <a:lnTo>
                        <a:pt x="354370" y="656822"/>
                      </a:lnTo>
                      <a:lnTo>
                        <a:pt x="348937" y="657426"/>
                      </a:lnTo>
                      <a:lnTo>
                        <a:pt x="348333" y="660445"/>
                      </a:lnTo>
                      <a:lnTo>
                        <a:pt x="341089" y="663463"/>
                      </a:lnTo>
                      <a:lnTo>
                        <a:pt x="338070" y="656822"/>
                      </a:lnTo>
                      <a:lnTo>
                        <a:pt x="338070" y="651993"/>
                      </a:lnTo>
                      <a:lnTo>
                        <a:pt x="335052" y="648371"/>
                      </a:lnTo>
                      <a:lnTo>
                        <a:pt x="329015" y="651993"/>
                      </a:lnTo>
                      <a:lnTo>
                        <a:pt x="327808" y="656219"/>
                      </a:lnTo>
                      <a:lnTo>
                        <a:pt x="319960" y="656219"/>
                      </a:lnTo>
                      <a:lnTo>
                        <a:pt x="317545" y="658030"/>
                      </a:lnTo>
                      <a:lnTo>
                        <a:pt x="314526" y="656219"/>
                      </a:lnTo>
                      <a:lnTo>
                        <a:pt x="315130" y="651993"/>
                      </a:lnTo>
                      <a:lnTo>
                        <a:pt x="306678" y="648975"/>
                      </a:lnTo>
                      <a:lnTo>
                        <a:pt x="303056" y="645352"/>
                      </a:lnTo>
                      <a:lnTo>
                        <a:pt x="298226" y="655011"/>
                      </a:lnTo>
                      <a:lnTo>
                        <a:pt x="292793" y="660445"/>
                      </a:lnTo>
                      <a:lnTo>
                        <a:pt x="290982" y="674330"/>
                      </a:lnTo>
                      <a:lnTo>
                        <a:pt x="297623" y="676141"/>
                      </a:lnTo>
                      <a:lnTo>
                        <a:pt x="300641" y="680367"/>
                      </a:lnTo>
                      <a:lnTo>
                        <a:pt x="307886" y="683989"/>
                      </a:lnTo>
                      <a:lnTo>
                        <a:pt x="312715" y="688215"/>
                      </a:lnTo>
                      <a:lnTo>
                        <a:pt x="314526" y="693648"/>
                      </a:lnTo>
                      <a:lnTo>
                        <a:pt x="313923" y="697874"/>
                      </a:lnTo>
                      <a:lnTo>
                        <a:pt x="316941" y="701496"/>
                      </a:lnTo>
                      <a:lnTo>
                        <a:pt x="324185" y="699685"/>
                      </a:lnTo>
                      <a:lnTo>
                        <a:pt x="330826" y="701496"/>
                      </a:lnTo>
                      <a:lnTo>
                        <a:pt x="338674" y="707533"/>
                      </a:lnTo>
                      <a:lnTo>
                        <a:pt x="341089" y="703911"/>
                      </a:lnTo>
                      <a:lnTo>
                        <a:pt x="339278" y="696667"/>
                      </a:lnTo>
                      <a:lnTo>
                        <a:pt x="344107" y="697874"/>
                      </a:lnTo>
                      <a:lnTo>
                        <a:pt x="345918" y="695459"/>
                      </a:lnTo>
                      <a:lnTo>
                        <a:pt x="347126" y="687007"/>
                      </a:lnTo>
                      <a:lnTo>
                        <a:pt x="341089" y="683989"/>
                      </a:lnTo>
                      <a:lnTo>
                        <a:pt x="341693" y="677952"/>
                      </a:lnTo>
                      <a:lnTo>
                        <a:pt x="347126" y="678556"/>
                      </a:lnTo>
                      <a:lnTo>
                        <a:pt x="353767" y="682782"/>
                      </a:lnTo>
                      <a:lnTo>
                        <a:pt x="353767" y="688215"/>
                      </a:lnTo>
                      <a:lnTo>
                        <a:pt x="357992" y="688819"/>
                      </a:lnTo>
                      <a:lnTo>
                        <a:pt x="362218" y="685196"/>
                      </a:lnTo>
                      <a:lnTo>
                        <a:pt x="373085" y="679763"/>
                      </a:lnTo>
                      <a:lnTo>
                        <a:pt x="377914" y="682178"/>
                      </a:lnTo>
                      <a:lnTo>
                        <a:pt x="386970" y="677952"/>
                      </a:lnTo>
                      <a:lnTo>
                        <a:pt x="388781" y="678556"/>
                      </a:lnTo>
                      <a:lnTo>
                        <a:pt x="392403" y="673726"/>
                      </a:lnTo>
                      <a:lnTo>
                        <a:pt x="398440" y="671311"/>
                      </a:lnTo>
                      <a:lnTo>
                        <a:pt x="399044" y="668896"/>
                      </a:lnTo>
                      <a:lnTo>
                        <a:pt x="399044" y="662256"/>
                      </a:lnTo>
                      <a:lnTo>
                        <a:pt x="394818" y="656822"/>
                      </a:lnTo>
                      <a:lnTo>
                        <a:pt x="394818" y="650182"/>
                      </a:lnTo>
                      <a:lnTo>
                        <a:pt x="400855" y="649578"/>
                      </a:lnTo>
                      <a:lnTo>
                        <a:pt x="408703" y="644749"/>
                      </a:lnTo>
                      <a:lnTo>
                        <a:pt x="412325" y="639315"/>
                      </a:lnTo>
                      <a:lnTo>
                        <a:pt x="423796" y="636297"/>
                      </a:lnTo>
                      <a:lnTo>
                        <a:pt x="425003" y="634486"/>
                      </a:lnTo>
                      <a:lnTo>
                        <a:pt x="431040" y="634486"/>
                      </a:lnTo>
                      <a:lnTo>
                        <a:pt x="429832" y="629053"/>
                      </a:lnTo>
                      <a:lnTo>
                        <a:pt x="431644" y="626638"/>
                      </a:lnTo>
                      <a:lnTo>
                        <a:pt x="429832" y="618186"/>
                      </a:lnTo>
                      <a:lnTo>
                        <a:pt x="428021" y="615771"/>
                      </a:lnTo>
                      <a:lnTo>
                        <a:pt x="428625" y="609734"/>
                      </a:lnTo>
                      <a:lnTo>
                        <a:pt x="434662" y="603094"/>
                      </a:lnTo>
                      <a:lnTo>
                        <a:pt x="435266" y="601283"/>
                      </a:lnTo>
                      <a:lnTo>
                        <a:pt x="432247" y="592831"/>
                      </a:lnTo>
                      <a:lnTo>
                        <a:pt x="434058" y="590416"/>
                      </a:lnTo>
                      <a:lnTo>
                        <a:pt x="438284" y="589209"/>
                      </a:lnTo>
                      <a:lnTo>
                        <a:pt x="438888" y="584983"/>
                      </a:lnTo>
                      <a:lnTo>
                        <a:pt x="441303" y="581361"/>
                      </a:lnTo>
                      <a:lnTo>
                        <a:pt x="445528" y="586190"/>
                      </a:lnTo>
                      <a:lnTo>
                        <a:pt x="443114" y="591623"/>
                      </a:lnTo>
                      <a:lnTo>
                        <a:pt x="445528" y="595245"/>
                      </a:lnTo>
                      <a:lnTo>
                        <a:pt x="445528" y="603697"/>
                      </a:lnTo>
                      <a:lnTo>
                        <a:pt x="449151" y="605508"/>
                      </a:lnTo>
                      <a:lnTo>
                        <a:pt x="453980" y="604905"/>
                      </a:lnTo>
                      <a:lnTo>
                        <a:pt x="460017" y="607320"/>
                      </a:lnTo>
                      <a:lnTo>
                        <a:pt x="463036" y="602490"/>
                      </a:lnTo>
                      <a:lnTo>
                        <a:pt x="468469" y="599471"/>
                      </a:lnTo>
                      <a:lnTo>
                        <a:pt x="475713" y="600075"/>
                      </a:lnTo>
                      <a:lnTo>
                        <a:pt x="487787" y="609131"/>
                      </a:lnTo>
                      <a:lnTo>
                        <a:pt x="490202" y="604905"/>
                      </a:lnTo>
                      <a:lnTo>
                        <a:pt x="496843" y="607320"/>
                      </a:lnTo>
                      <a:lnTo>
                        <a:pt x="498654" y="604301"/>
                      </a:lnTo>
                      <a:lnTo>
                        <a:pt x="505295" y="608527"/>
                      </a:lnTo>
                      <a:lnTo>
                        <a:pt x="507709" y="610942"/>
                      </a:lnTo>
                      <a:lnTo>
                        <a:pt x="508313" y="615771"/>
                      </a:lnTo>
                      <a:lnTo>
                        <a:pt x="510728" y="619394"/>
                      </a:lnTo>
                      <a:lnTo>
                        <a:pt x="517369" y="618186"/>
                      </a:lnTo>
                      <a:lnTo>
                        <a:pt x="522802" y="615168"/>
                      </a:lnTo>
                      <a:lnTo>
                        <a:pt x="519783" y="610942"/>
                      </a:lnTo>
                      <a:lnTo>
                        <a:pt x="520991" y="607923"/>
                      </a:lnTo>
                      <a:lnTo>
                        <a:pt x="529443" y="601283"/>
                      </a:lnTo>
                      <a:lnTo>
                        <a:pt x="530046" y="597057"/>
                      </a:lnTo>
                      <a:lnTo>
                        <a:pt x="534876" y="597057"/>
                      </a:lnTo>
                      <a:lnTo>
                        <a:pt x="543328" y="595245"/>
                      </a:lnTo>
                      <a:lnTo>
                        <a:pt x="545742" y="591623"/>
                      </a:lnTo>
                      <a:lnTo>
                        <a:pt x="548157" y="600075"/>
                      </a:lnTo>
                      <a:lnTo>
                        <a:pt x="545139" y="603697"/>
                      </a:lnTo>
                      <a:lnTo>
                        <a:pt x="542120" y="612753"/>
                      </a:lnTo>
                      <a:lnTo>
                        <a:pt x="547553" y="617582"/>
                      </a:lnTo>
                      <a:lnTo>
                        <a:pt x="551779" y="619394"/>
                      </a:lnTo>
                      <a:lnTo>
                        <a:pt x="553590" y="617582"/>
                      </a:lnTo>
                      <a:lnTo>
                        <a:pt x="559024" y="617582"/>
                      </a:lnTo>
                      <a:lnTo>
                        <a:pt x="561438" y="618790"/>
                      </a:lnTo>
                      <a:lnTo>
                        <a:pt x="566268" y="627845"/>
                      </a:lnTo>
                      <a:lnTo>
                        <a:pt x="568079" y="629053"/>
                      </a:lnTo>
                      <a:lnTo>
                        <a:pt x="573512" y="627845"/>
                      </a:lnTo>
                      <a:lnTo>
                        <a:pt x="579549" y="624827"/>
                      </a:lnTo>
                      <a:lnTo>
                        <a:pt x="583172" y="624827"/>
                      </a:lnTo>
                      <a:lnTo>
                        <a:pt x="588605" y="626638"/>
                      </a:lnTo>
                      <a:lnTo>
                        <a:pt x="592227" y="613357"/>
                      </a:lnTo>
                      <a:lnTo>
                        <a:pt x="595246" y="613960"/>
                      </a:lnTo>
                      <a:lnTo>
                        <a:pt x="597660" y="611545"/>
                      </a:lnTo>
                      <a:lnTo>
                        <a:pt x="592831" y="606112"/>
                      </a:lnTo>
                      <a:lnTo>
                        <a:pt x="592227" y="603697"/>
                      </a:lnTo>
                      <a:lnTo>
                        <a:pt x="583172" y="595245"/>
                      </a:lnTo>
                      <a:lnTo>
                        <a:pt x="580153" y="585586"/>
                      </a:lnTo>
                      <a:lnTo>
                        <a:pt x="577135" y="581964"/>
                      </a:lnTo>
                      <a:lnTo>
                        <a:pt x="575927" y="574720"/>
                      </a:lnTo>
                      <a:lnTo>
                        <a:pt x="578342" y="572909"/>
                      </a:lnTo>
                      <a:lnTo>
                        <a:pt x="578342" y="568079"/>
                      </a:lnTo>
                      <a:lnTo>
                        <a:pt x="576531" y="563853"/>
                      </a:lnTo>
                      <a:lnTo>
                        <a:pt x="578342" y="557213"/>
                      </a:lnTo>
                      <a:lnTo>
                        <a:pt x="576531" y="556005"/>
                      </a:lnTo>
                      <a:lnTo>
                        <a:pt x="578946" y="549968"/>
                      </a:lnTo>
                      <a:lnTo>
                        <a:pt x="577738" y="545742"/>
                      </a:lnTo>
                      <a:lnTo>
                        <a:pt x="575323" y="543327"/>
                      </a:lnTo>
                      <a:lnTo>
                        <a:pt x="571098" y="535480"/>
                      </a:lnTo>
                      <a:lnTo>
                        <a:pt x="577738" y="531857"/>
                      </a:lnTo>
                      <a:lnTo>
                        <a:pt x="581964" y="531857"/>
                      </a:lnTo>
                      <a:lnTo>
                        <a:pt x="583775" y="537291"/>
                      </a:lnTo>
                      <a:lnTo>
                        <a:pt x="586190" y="537291"/>
                      </a:lnTo>
                      <a:lnTo>
                        <a:pt x="588605" y="532461"/>
                      </a:lnTo>
                      <a:lnTo>
                        <a:pt x="592227" y="534876"/>
                      </a:lnTo>
                      <a:lnTo>
                        <a:pt x="591623" y="545742"/>
                      </a:lnTo>
                      <a:lnTo>
                        <a:pt x="597057" y="550572"/>
                      </a:lnTo>
                      <a:lnTo>
                        <a:pt x="601282" y="552383"/>
                      </a:lnTo>
                      <a:lnTo>
                        <a:pt x="607923" y="549364"/>
                      </a:lnTo>
                      <a:lnTo>
                        <a:pt x="614564" y="542724"/>
                      </a:lnTo>
                      <a:lnTo>
                        <a:pt x="615771" y="536687"/>
                      </a:lnTo>
                      <a:lnTo>
                        <a:pt x="619393" y="537291"/>
                      </a:lnTo>
                      <a:lnTo>
                        <a:pt x="622412" y="528839"/>
                      </a:lnTo>
                      <a:lnTo>
                        <a:pt x="621204" y="521595"/>
                      </a:lnTo>
                      <a:lnTo>
                        <a:pt x="621808" y="510728"/>
                      </a:lnTo>
                      <a:lnTo>
                        <a:pt x="616979" y="501672"/>
                      </a:lnTo>
                      <a:lnTo>
                        <a:pt x="616375" y="496843"/>
                      </a:lnTo>
                      <a:lnTo>
                        <a:pt x="613356" y="494428"/>
                      </a:lnTo>
                      <a:lnTo>
                        <a:pt x="607923" y="493824"/>
                      </a:lnTo>
                      <a:lnTo>
                        <a:pt x="603697" y="490806"/>
                      </a:lnTo>
                      <a:lnTo>
                        <a:pt x="601886" y="484165"/>
                      </a:lnTo>
                      <a:lnTo>
                        <a:pt x="598264" y="482958"/>
                      </a:lnTo>
                      <a:lnTo>
                        <a:pt x="593434" y="486580"/>
                      </a:lnTo>
                      <a:lnTo>
                        <a:pt x="589209" y="487184"/>
                      </a:lnTo>
                      <a:lnTo>
                        <a:pt x="586190" y="485373"/>
                      </a:lnTo>
                      <a:lnTo>
                        <a:pt x="580757" y="486580"/>
                      </a:lnTo>
                      <a:lnTo>
                        <a:pt x="577135" y="485976"/>
                      </a:lnTo>
                      <a:lnTo>
                        <a:pt x="577738" y="481750"/>
                      </a:lnTo>
                      <a:lnTo>
                        <a:pt x="571098" y="474506"/>
                      </a:lnTo>
                      <a:lnTo>
                        <a:pt x="568683" y="469073"/>
                      </a:lnTo>
                      <a:lnTo>
                        <a:pt x="575927" y="466054"/>
                      </a:lnTo>
                      <a:lnTo>
                        <a:pt x="587397" y="466054"/>
                      </a:lnTo>
                      <a:lnTo>
                        <a:pt x="594038" y="463640"/>
                      </a:lnTo>
                      <a:lnTo>
                        <a:pt x="598868" y="458810"/>
                      </a:lnTo>
                      <a:lnTo>
                        <a:pt x="591623" y="455188"/>
                      </a:lnTo>
                      <a:lnTo>
                        <a:pt x="594038" y="449754"/>
                      </a:lnTo>
                      <a:lnTo>
                        <a:pt x="583172" y="440095"/>
                      </a:lnTo>
                      <a:lnTo>
                        <a:pt x="581964" y="435869"/>
                      </a:lnTo>
                      <a:lnTo>
                        <a:pt x="582568" y="426814"/>
                      </a:lnTo>
                      <a:lnTo>
                        <a:pt x="584983" y="421984"/>
                      </a:lnTo>
                      <a:lnTo>
                        <a:pt x="589209" y="421984"/>
                      </a:lnTo>
                      <a:lnTo>
                        <a:pt x="599471" y="418362"/>
                      </a:lnTo>
                      <a:lnTo>
                        <a:pt x="603093" y="417155"/>
                      </a:lnTo>
                      <a:lnTo>
                        <a:pt x="606112" y="411722"/>
                      </a:lnTo>
                      <a:lnTo>
                        <a:pt x="612753" y="412929"/>
                      </a:lnTo>
                      <a:lnTo>
                        <a:pt x="625430" y="416551"/>
                      </a:lnTo>
                      <a:lnTo>
                        <a:pt x="632675" y="414136"/>
                      </a:lnTo>
                      <a:lnTo>
                        <a:pt x="635693" y="409307"/>
                      </a:lnTo>
                      <a:lnTo>
                        <a:pt x="641730" y="409307"/>
                      </a:lnTo>
                      <a:lnTo>
                        <a:pt x="644145" y="403874"/>
                      </a:lnTo>
                      <a:lnTo>
                        <a:pt x="650182" y="403270"/>
                      </a:lnTo>
                      <a:lnTo>
                        <a:pt x="655011" y="404477"/>
                      </a:lnTo>
                      <a:lnTo>
                        <a:pt x="663463" y="402666"/>
                      </a:lnTo>
                      <a:lnTo>
                        <a:pt x="667689" y="405685"/>
                      </a:lnTo>
                      <a:lnTo>
                        <a:pt x="671915" y="410514"/>
                      </a:lnTo>
                      <a:lnTo>
                        <a:pt x="677952" y="407496"/>
                      </a:lnTo>
                      <a:lnTo>
                        <a:pt x="680970" y="407496"/>
                      </a:lnTo>
                      <a:lnTo>
                        <a:pt x="688819" y="402062"/>
                      </a:lnTo>
                      <a:lnTo>
                        <a:pt x="690026" y="386970"/>
                      </a:lnTo>
                      <a:lnTo>
                        <a:pt x="695459" y="385763"/>
                      </a:lnTo>
                      <a:lnTo>
                        <a:pt x="693044" y="377914"/>
                      </a:lnTo>
                      <a:lnTo>
                        <a:pt x="687611" y="373689"/>
                      </a:lnTo>
                      <a:lnTo>
                        <a:pt x="683989" y="372481"/>
                      </a:lnTo>
                      <a:lnTo>
                        <a:pt x="681574" y="367652"/>
                      </a:lnTo>
                      <a:lnTo>
                        <a:pt x="685196" y="364633"/>
                      </a:lnTo>
                      <a:lnTo>
                        <a:pt x="686404" y="359804"/>
                      </a:lnTo>
                      <a:lnTo>
                        <a:pt x="684593" y="353767"/>
                      </a:lnTo>
                      <a:lnTo>
                        <a:pt x="680367" y="352559"/>
                      </a:lnTo>
                      <a:lnTo>
                        <a:pt x="682782" y="345919"/>
                      </a:lnTo>
                      <a:lnTo>
                        <a:pt x="680367" y="341089"/>
                      </a:lnTo>
                      <a:lnTo>
                        <a:pt x="683989" y="335656"/>
                      </a:lnTo>
                      <a:lnTo>
                        <a:pt x="672519" y="330222"/>
                      </a:lnTo>
                      <a:lnTo>
                        <a:pt x="667689" y="333241"/>
                      </a:lnTo>
                      <a:lnTo>
                        <a:pt x="662859" y="338674"/>
                      </a:lnTo>
                      <a:lnTo>
                        <a:pt x="655011" y="344711"/>
                      </a:lnTo>
                      <a:lnTo>
                        <a:pt x="654408" y="354370"/>
                      </a:lnTo>
                      <a:lnTo>
                        <a:pt x="650182" y="354370"/>
                      </a:lnTo>
                      <a:lnTo>
                        <a:pt x="648371" y="358596"/>
                      </a:lnTo>
                      <a:lnTo>
                        <a:pt x="641127" y="357993"/>
                      </a:lnTo>
                      <a:lnTo>
                        <a:pt x="633278" y="353163"/>
                      </a:lnTo>
                      <a:lnTo>
                        <a:pt x="624827" y="351956"/>
                      </a:lnTo>
                      <a:lnTo>
                        <a:pt x="622412" y="355578"/>
                      </a:lnTo>
                      <a:lnTo>
                        <a:pt x="617582" y="355578"/>
                      </a:lnTo>
                      <a:lnTo>
                        <a:pt x="614564" y="361011"/>
                      </a:lnTo>
                      <a:lnTo>
                        <a:pt x="607923" y="361011"/>
                      </a:lnTo>
                      <a:lnTo>
                        <a:pt x="600679" y="362218"/>
                      </a:lnTo>
                      <a:lnTo>
                        <a:pt x="599471" y="366444"/>
                      </a:lnTo>
                      <a:lnTo>
                        <a:pt x="594642" y="365841"/>
                      </a:lnTo>
                      <a:lnTo>
                        <a:pt x="594642" y="361615"/>
                      </a:lnTo>
                      <a:lnTo>
                        <a:pt x="587397" y="356181"/>
                      </a:lnTo>
                      <a:lnTo>
                        <a:pt x="577135" y="354370"/>
                      </a:lnTo>
                      <a:lnTo>
                        <a:pt x="562646" y="357389"/>
                      </a:lnTo>
                      <a:lnTo>
                        <a:pt x="561438" y="353163"/>
                      </a:lnTo>
                      <a:lnTo>
                        <a:pt x="556005" y="350144"/>
                      </a:lnTo>
                      <a:lnTo>
                        <a:pt x="550572" y="351352"/>
                      </a:lnTo>
                      <a:lnTo>
                        <a:pt x="543328" y="350748"/>
                      </a:lnTo>
                      <a:lnTo>
                        <a:pt x="534272" y="342900"/>
                      </a:lnTo>
                      <a:lnTo>
                        <a:pt x="531857" y="344107"/>
                      </a:lnTo>
                      <a:lnTo>
                        <a:pt x="527631" y="341089"/>
                      </a:lnTo>
                      <a:lnTo>
                        <a:pt x="524613" y="331430"/>
                      </a:lnTo>
                      <a:lnTo>
                        <a:pt x="519180" y="329015"/>
                      </a:lnTo>
                      <a:lnTo>
                        <a:pt x="518576" y="321771"/>
                      </a:lnTo>
                      <a:lnTo>
                        <a:pt x="513746" y="313319"/>
                      </a:lnTo>
                      <a:lnTo>
                        <a:pt x="510124" y="309093"/>
                      </a:lnTo>
                      <a:lnTo>
                        <a:pt x="510728" y="304264"/>
                      </a:lnTo>
                      <a:lnTo>
                        <a:pt x="508313" y="297623"/>
                      </a:lnTo>
                      <a:lnTo>
                        <a:pt x="509520" y="290982"/>
                      </a:lnTo>
                      <a:lnTo>
                        <a:pt x="509520" y="284945"/>
                      </a:lnTo>
                      <a:lnTo>
                        <a:pt x="505898" y="281927"/>
                      </a:lnTo>
                      <a:lnTo>
                        <a:pt x="508313" y="275890"/>
                      </a:lnTo>
                      <a:lnTo>
                        <a:pt x="501672" y="271060"/>
                      </a:lnTo>
                      <a:lnTo>
                        <a:pt x="502880" y="265627"/>
                      </a:lnTo>
                      <a:lnTo>
                        <a:pt x="507106" y="263212"/>
                      </a:lnTo>
                      <a:lnTo>
                        <a:pt x="511935" y="262608"/>
                      </a:lnTo>
                      <a:lnTo>
                        <a:pt x="512539" y="260194"/>
                      </a:lnTo>
                      <a:lnTo>
                        <a:pt x="510728" y="254760"/>
                      </a:lnTo>
                      <a:lnTo>
                        <a:pt x="512539" y="247516"/>
                      </a:lnTo>
                      <a:lnTo>
                        <a:pt x="516161" y="241479"/>
                      </a:lnTo>
                      <a:lnTo>
                        <a:pt x="519783" y="237857"/>
                      </a:lnTo>
                      <a:lnTo>
                        <a:pt x="524009" y="231820"/>
                      </a:lnTo>
                      <a:lnTo>
                        <a:pt x="526424" y="229405"/>
                      </a:lnTo>
                      <a:lnTo>
                        <a:pt x="533668" y="230009"/>
                      </a:lnTo>
                      <a:lnTo>
                        <a:pt x="535480" y="222764"/>
                      </a:lnTo>
                      <a:lnTo>
                        <a:pt x="542120" y="221557"/>
                      </a:lnTo>
                      <a:lnTo>
                        <a:pt x="550572" y="223972"/>
                      </a:lnTo>
                      <a:lnTo>
                        <a:pt x="554194" y="223368"/>
                      </a:lnTo>
                      <a:lnTo>
                        <a:pt x="560231" y="219142"/>
                      </a:lnTo>
                      <a:lnTo>
                        <a:pt x="560231" y="214313"/>
                      </a:lnTo>
                      <a:lnTo>
                        <a:pt x="566872" y="213709"/>
                      </a:lnTo>
                      <a:lnTo>
                        <a:pt x="571701" y="207672"/>
                      </a:lnTo>
                      <a:lnTo>
                        <a:pt x="571701" y="204654"/>
                      </a:lnTo>
                      <a:lnTo>
                        <a:pt x="576531" y="198617"/>
                      </a:lnTo>
                      <a:lnTo>
                        <a:pt x="574116" y="194391"/>
                      </a:lnTo>
                      <a:lnTo>
                        <a:pt x="582568" y="188354"/>
                      </a:lnTo>
                      <a:lnTo>
                        <a:pt x="586190" y="179902"/>
                      </a:lnTo>
                      <a:lnTo>
                        <a:pt x="589812" y="178091"/>
                      </a:lnTo>
                      <a:lnTo>
                        <a:pt x="596453" y="176883"/>
                      </a:lnTo>
                      <a:lnTo>
                        <a:pt x="607923" y="169639"/>
                      </a:lnTo>
                      <a:lnTo>
                        <a:pt x="610338" y="164809"/>
                      </a:lnTo>
                      <a:lnTo>
                        <a:pt x="613960" y="160583"/>
                      </a:lnTo>
                      <a:lnTo>
                        <a:pt x="619997" y="158169"/>
                      </a:lnTo>
                      <a:lnTo>
                        <a:pt x="626638" y="158169"/>
                      </a:lnTo>
                      <a:lnTo>
                        <a:pt x="629053" y="156358"/>
                      </a:lnTo>
                      <a:lnTo>
                        <a:pt x="632675" y="147906"/>
                      </a:lnTo>
                      <a:lnTo>
                        <a:pt x="636297" y="146095"/>
                      </a:lnTo>
                      <a:lnTo>
                        <a:pt x="643541" y="144887"/>
                      </a:lnTo>
                      <a:lnTo>
                        <a:pt x="649578" y="147302"/>
                      </a:lnTo>
                      <a:lnTo>
                        <a:pt x="658634" y="140662"/>
                      </a:lnTo>
                      <a:lnTo>
                        <a:pt x="664067" y="137643"/>
                      </a:lnTo>
                      <a:lnTo>
                        <a:pt x="673122" y="128588"/>
                      </a:lnTo>
                      <a:lnTo>
                        <a:pt x="674933" y="121343"/>
                      </a:lnTo>
                      <a:lnTo>
                        <a:pt x="684593" y="115910"/>
                      </a:lnTo>
                      <a:lnTo>
                        <a:pt x="688819" y="117721"/>
                      </a:lnTo>
                      <a:lnTo>
                        <a:pt x="692441" y="116514"/>
                      </a:lnTo>
                      <a:lnTo>
                        <a:pt x="698478" y="117117"/>
                      </a:lnTo>
                      <a:lnTo>
                        <a:pt x="699685" y="114099"/>
                      </a:lnTo>
                      <a:lnTo>
                        <a:pt x="697270" y="107458"/>
                      </a:lnTo>
                      <a:lnTo>
                        <a:pt x="706929" y="105647"/>
                      </a:lnTo>
                      <a:lnTo>
                        <a:pt x="717192" y="105647"/>
                      </a:lnTo>
                      <a:lnTo>
                        <a:pt x="723229" y="100214"/>
                      </a:lnTo>
                      <a:lnTo>
                        <a:pt x="732888" y="96592"/>
                      </a:lnTo>
                      <a:lnTo>
                        <a:pt x="738322" y="89951"/>
                      </a:lnTo>
                      <a:lnTo>
                        <a:pt x="747377" y="83914"/>
                      </a:lnTo>
                      <a:lnTo>
                        <a:pt x="752811" y="86329"/>
                      </a:lnTo>
                      <a:lnTo>
                        <a:pt x="759451" y="82707"/>
                      </a:lnTo>
                      <a:lnTo>
                        <a:pt x="761866" y="76670"/>
                      </a:lnTo>
                      <a:lnTo>
                        <a:pt x="767299" y="73651"/>
                      </a:lnTo>
                      <a:lnTo>
                        <a:pt x="773940" y="74859"/>
                      </a:lnTo>
                      <a:lnTo>
                        <a:pt x="776958" y="73651"/>
                      </a:lnTo>
                      <a:lnTo>
                        <a:pt x="779373" y="69425"/>
                      </a:lnTo>
                      <a:lnTo>
                        <a:pt x="778166" y="63388"/>
                      </a:lnTo>
                      <a:lnTo>
                        <a:pt x="782995" y="59766"/>
                      </a:lnTo>
                      <a:lnTo>
                        <a:pt x="790843" y="58559"/>
                      </a:lnTo>
                      <a:lnTo>
                        <a:pt x="792654" y="55540"/>
                      </a:lnTo>
                      <a:lnTo>
                        <a:pt x="793258" y="50711"/>
                      </a:lnTo>
                      <a:lnTo>
                        <a:pt x="795673" y="47692"/>
                      </a:lnTo>
                      <a:lnTo>
                        <a:pt x="802917" y="48900"/>
                      </a:lnTo>
                      <a:lnTo>
                        <a:pt x="808954" y="45277"/>
                      </a:lnTo>
                      <a:lnTo>
                        <a:pt x="813784" y="39240"/>
                      </a:lnTo>
                      <a:lnTo>
                        <a:pt x="825858" y="42259"/>
                      </a:lnTo>
                      <a:lnTo>
                        <a:pt x="831291" y="45277"/>
                      </a:lnTo>
                      <a:lnTo>
                        <a:pt x="833706" y="43466"/>
                      </a:lnTo>
                      <a:lnTo>
                        <a:pt x="833706" y="31392"/>
                      </a:lnTo>
                      <a:lnTo>
                        <a:pt x="838535" y="28978"/>
                      </a:lnTo>
                      <a:lnTo>
                        <a:pt x="834913" y="23544"/>
                      </a:lnTo>
                      <a:lnTo>
                        <a:pt x="834913" y="19318"/>
                      </a:lnTo>
                      <a:lnTo>
                        <a:pt x="839743" y="16300"/>
                      </a:lnTo>
                      <a:lnTo>
                        <a:pt x="845780" y="18715"/>
                      </a:lnTo>
                      <a:lnTo>
                        <a:pt x="851817" y="19318"/>
                      </a:lnTo>
                      <a:lnTo>
                        <a:pt x="852421" y="16904"/>
                      </a:lnTo>
                      <a:lnTo>
                        <a:pt x="848798" y="10867"/>
                      </a:lnTo>
                      <a:lnTo>
                        <a:pt x="858458" y="8452"/>
                      </a:lnTo>
                      <a:lnTo>
                        <a:pt x="861476" y="8452"/>
                      </a:lnTo>
                      <a:lnTo>
                        <a:pt x="868117" y="12074"/>
                      </a:lnTo>
                      <a:lnTo>
                        <a:pt x="869928" y="11470"/>
                      </a:lnTo>
                      <a:lnTo>
                        <a:pt x="870531" y="5433"/>
                      </a:lnTo>
                      <a:lnTo>
                        <a:pt x="873550" y="2415"/>
                      </a:lnTo>
                      <a:lnTo>
                        <a:pt x="885624" y="0"/>
                      </a:lnTo>
                      <a:lnTo>
                        <a:pt x="890453" y="604"/>
                      </a:lnTo>
                      <a:lnTo>
                        <a:pt x="894679" y="10867"/>
                      </a:lnTo>
                      <a:lnTo>
                        <a:pt x="903131" y="9659"/>
                      </a:lnTo>
                      <a:lnTo>
                        <a:pt x="907357" y="16300"/>
                      </a:lnTo>
                      <a:lnTo>
                        <a:pt x="909772" y="18111"/>
                      </a:lnTo>
                      <a:lnTo>
                        <a:pt x="921846" y="20526"/>
                      </a:lnTo>
                      <a:lnTo>
                        <a:pt x="932108" y="26563"/>
                      </a:lnTo>
                      <a:lnTo>
                        <a:pt x="939353" y="27166"/>
                      </a:lnTo>
                      <a:lnTo>
                        <a:pt x="943579" y="22941"/>
                      </a:lnTo>
                      <a:lnTo>
                        <a:pt x="951427" y="24148"/>
                      </a:lnTo>
                      <a:lnTo>
                        <a:pt x="955049" y="18715"/>
                      </a:lnTo>
                      <a:lnTo>
                        <a:pt x="962897" y="16904"/>
                      </a:lnTo>
                      <a:lnTo>
                        <a:pt x="963501" y="21129"/>
                      </a:lnTo>
                      <a:lnTo>
                        <a:pt x="968330" y="18715"/>
                      </a:lnTo>
                      <a:lnTo>
                        <a:pt x="972556" y="24752"/>
                      </a:lnTo>
                      <a:lnTo>
                        <a:pt x="980404" y="24148"/>
                      </a:lnTo>
                      <a:lnTo>
                        <a:pt x="982819" y="24752"/>
                      </a:lnTo>
                      <a:lnTo>
                        <a:pt x="988856" y="34411"/>
                      </a:lnTo>
                      <a:lnTo>
                        <a:pt x="993686" y="39240"/>
                      </a:lnTo>
                      <a:lnTo>
                        <a:pt x="997308" y="39240"/>
                      </a:lnTo>
                      <a:lnTo>
                        <a:pt x="1002137" y="36826"/>
                      </a:lnTo>
                      <a:lnTo>
                        <a:pt x="1011193" y="41052"/>
                      </a:lnTo>
                      <a:lnTo>
                        <a:pt x="1008778" y="46485"/>
                      </a:lnTo>
                      <a:lnTo>
                        <a:pt x="1011193" y="48900"/>
                      </a:lnTo>
                      <a:lnTo>
                        <a:pt x="1018437" y="43466"/>
                      </a:lnTo>
                      <a:lnTo>
                        <a:pt x="1022059" y="45881"/>
                      </a:lnTo>
                      <a:lnTo>
                        <a:pt x="1019041" y="52522"/>
                      </a:lnTo>
                      <a:lnTo>
                        <a:pt x="1022059" y="57351"/>
                      </a:lnTo>
                      <a:lnTo>
                        <a:pt x="1022663" y="60973"/>
                      </a:lnTo>
                      <a:lnTo>
                        <a:pt x="1017834" y="64596"/>
                      </a:lnTo>
                      <a:lnTo>
                        <a:pt x="1021456" y="69425"/>
                      </a:lnTo>
                      <a:lnTo>
                        <a:pt x="1021456" y="74255"/>
                      </a:lnTo>
                      <a:lnTo>
                        <a:pt x="1028700" y="77877"/>
                      </a:lnTo>
                      <a:lnTo>
                        <a:pt x="1028096" y="80292"/>
                      </a:lnTo>
                      <a:lnTo>
                        <a:pt x="1034133" y="85725"/>
                      </a:lnTo>
                      <a:lnTo>
                        <a:pt x="1034737" y="89951"/>
                      </a:lnTo>
                      <a:lnTo>
                        <a:pt x="1031115" y="95384"/>
                      </a:lnTo>
                      <a:lnTo>
                        <a:pt x="1035944" y="98403"/>
                      </a:lnTo>
                      <a:lnTo>
                        <a:pt x="1040774" y="95988"/>
                      </a:lnTo>
                      <a:lnTo>
                        <a:pt x="1048018" y="99006"/>
                      </a:lnTo>
                      <a:lnTo>
                        <a:pt x="1045604" y="105647"/>
                      </a:lnTo>
                      <a:lnTo>
                        <a:pt x="1038359" y="108062"/>
                      </a:lnTo>
                      <a:lnTo>
                        <a:pt x="1040170" y="114702"/>
                      </a:lnTo>
                      <a:lnTo>
                        <a:pt x="1037755" y="117721"/>
                      </a:lnTo>
                      <a:lnTo>
                        <a:pt x="1045604" y="120136"/>
                      </a:lnTo>
                      <a:lnTo>
                        <a:pt x="1048018" y="128588"/>
                      </a:lnTo>
                      <a:lnTo>
                        <a:pt x="1041981" y="129191"/>
                      </a:lnTo>
                      <a:lnTo>
                        <a:pt x="1037755" y="135228"/>
                      </a:lnTo>
                      <a:lnTo>
                        <a:pt x="1033530" y="135832"/>
                      </a:lnTo>
                      <a:lnTo>
                        <a:pt x="1031115" y="142473"/>
                      </a:lnTo>
                      <a:lnTo>
                        <a:pt x="1034737" y="144284"/>
                      </a:lnTo>
                      <a:lnTo>
                        <a:pt x="1029907" y="148510"/>
                      </a:lnTo>
                      <a:lnTo>
                        <a:pt x="1025078" y="147906"/>
                      </a:lnTo>
                      <a:lnTo>
                        <a:pt x="1025682" y="152132"/>
                      </a:lnTo>
                      <a:lnTo>
                        <a:pt x="1022059" y="155754"/>
                      </a:lnTo>
                      <a:lnTo>
                        <a:pt x="1019645" y="154547"/>
                      </a:lnTo>
                      <a:lnTo>
                        <a:pt x="1016626" y="156961"/>
                      </a:lnTo>
                      <a:lnTo>
                        <a:pt x="1022059" y="161791"/>
                      </a:lnTo>
                      <a:lnTo>
                        <a:pt x="1022059" y="165413"/>
                      </a:lnTo>
                      <a:lnTo>
                        <a:pt x="1019041" y="166620"/>
                      </a:lnTo>
                      <a:lnTo>
                        <a:pt x="1013608" y="166017"/>
                      </a:lnTo>
                      <a:lnTo>
                        <a:pt x="1009985" y="169639"/>
                      </a:lnTo>
                      <a:lnTo>
                        <a:pt x="1014815" y="172657"/>
                      </a:lnTo>
                      <a:lnTo>
                        <a:pt x="1016022" y="176280"/>
                      </a:lnTo>
                      <a:lnTo>
                        <a:pt x="1022059" y="182317"/>
                      </a:lnTo>
                      <a:lnTo>
                        <a:pt x="1017834" y="184128"/>
                      </a:lnTo>
                      <a:lnTo>
                        <a:pt x="1009985" y="192580"/>
                      </a:lnTo>
                      <a:lnTo>
                        <a:pt x="1011193" y="194994"/>
                      </a:lnTo>
                      <a:lnTo>
                        <a:pt x="1009985" y="203446"/>
                      </a:lnTo>
                      <a:lnTo>
                        <a:pt x="1003948" y="213105"/>
                      </a:lnTo>
                      <a:lnTo>
                        <a:pt x="999723" y="217935"/>
                      </a:lnTo>
                      <a:lnTo>
                        <a:pt x="996100" y="220349"/>
                      </a:lnTo>
                      <a:lnTo>
                        <a:pt x="998515" y="224575"/>
                      </a:lnTo>
                      <a:lnTo>
                        <a:pt x="997911" y="229405"/>
                      </a:lnTo>
                      <a:lnTo>
                        <a:pt x="992478" y="230612"/>
                      </a:lnTo>
                      <a:lnTo>
                        <a:pt x="989460" y="236649"/>
                      </a:lnTo>
                      <a:lnTo>
                        <a:pt x="993686" y="239064"/>
                      </a:lnTo>
                      <a:lnTo>
                        <a:pt x="993686" y="246309"/>
                      </a:lnTo>
                      <a:lnTo>
                        <a:pt x="988856" y="245705"/>
                      </a:lnTo>
                      <a:lnTo>
                        <a:pt x="988856" y="242083"/>
                      </a:lnTo>
                      <a:lnTo>
                        <a:pt x="983423" y="239668"/>
                      </a:lnTo>
                      <a:lnTo>
                        <a:pt x="984630" y="246912"/>
                      </a:lnTo>
                      <a:lnTo>
                        <a:pt x="980404" y="246912"/>
                      </a:lnTo>
                      <a:lnTo>
                        <a:pt x="976178" y="252949"/>
                      </a:lnTo>
                      <a:lnTo>
                        <a:pt x="975575" y="255968"/>
                      </a:lnTo>
                      <a:lnTo>
                        <a:pt x="969538" y="258986"/>
                      </a:lnTo>
                      <a:lnTo>
                        <a:pt x="968934" y="261401"/>
                      </a:lnTo>
                      <a:lnTo>
                        <a:pt x="972556" y="265023"/>
                      </a:lnTo>
                      <a:lnTo>
                        <a:pt x="978593" y="267438"/>
                      </a:lnTo>
                      <a:lnTo>
                        <a:pt x="982819" y="275890"/>
                      </a:lnTo>
                      <a:lnTo>
                        <a:pt x="982819" y="282530"/>
                      </a:lnTo>
                      <a:lnTo>
                        <a:pt x="981612" y="287360"/>
                      </a:lnTo>
                      <a:lnTo>
                        <a:pt x="979197" y="288567"/>
                      </a:lnTo>
                      <a:lnTo>
                        <a:pt x="966519" y="292190"/>
                      </a:lnTo>
                      <a:lnTo>
                        <a:pt x="962293" y="291586"/>
                      </a:lnTo>
                      <a:lnTo>
                        <a:pt x="955049" y="294001"/>
                      </a:lnTo>
                      <a:lnTo>
                        <a:pt x="949012" y="300641"/>
                      </a:lnTo>
                      <a:lnTo>
                        <a:pt x="943579" y="298830"/>
                      </a:lnTo>
                      <a:lnTo>
                        <a:pt x="939957" y="295812"/>
                      </a:lnTo>
                      <a:lnTo>
                        <a:pt x="935127" y="301245"/>
                      </a:lnTo>
                      <a:lnTo>
                        <a:pt x="928486" y="300641"/>
                      </a:lnTo>
                      <a:lnTo>
                        <a:pt x="924260" y="298830"/>
                      </a:lnTo>
                      <a:lnTo>
                        <a:pt x="914601" y="297019"/>
                      </a:lnTo>
                      <a:lnTo>
                        <a:pt x="907961" y="303660"/>
                      </a:lnTo>
                      <a:lnTo>
                        <a:pt x="903131" y="301849"/>
                      </a:lnTo>
                      <a:lnTo>
                        <a:pt x="899509" y="307886"/>
                      </a:lnTo>
                      <a:lnTo>
                        <a:pt x="899509" y="313923"/>
                      </a:lnTo>
                      <a:lnTo>
                        <a:pt x="902527" y="320563"/>
                      </a:lnTo>
                      <a:lnTo>
                        <a:pt x="896490" y="322374"/>
                      </a:lnTo>
                      <a:lnTo>
                        <a:pt x="895283" y="325996"/>
                      </a:lnTo>
                      <a:lnTo>
                        <a:pt x="889850" y="327808"/>
                      </a:lnTo>
                      <a:lnTo>
                        <a:pt x="887435" y="325996"/>
                      </a:lnTo>
                      <a:lnTo>
                        <a:pt x="884416" y="331430"/>
                      </a:lnTo>
                      <a:lnTo>
                        <a:pt x="883813" y="337467"/>
                      </a:lnTo>
                      <a:lnTo>
                        <a:pt x="875965" y="345919"/>
                      </a:lnTo>
                      <a:lnTo>
                        <a:pt x="882002" y="348937"/>
                      </a:lnTo>
                      <a:lnTo>
                        <a:pt x="883813" y="353163"/>
                      </a:lnTo>
                      <a:lnTo>
                        <a:pt x="878983" y="358596"/>
                      </a:lnTo>
                      <a:lnTo>
                        <a:pt x="886831" y="361615"/>
                      </a:lnTo>
                      <a:lnTo>
                        <a:pt x="886831" y="365237"/>
                      </a:lnTo>
                      <a:lnTo>
                        <a:pt x="889850" y="369463"/>
                      </a:lnTo>
                      <a:lnTo>
                        <a:pt x="888642" y="372481"/>
                      </a:lnTo>
                      <a:lnTo>
                        <a:pt x="892868" y="378518"/>
                      </a:lnTo>
                      <a:lnTo>
                        <a:pt x="897094" y="379122"/>
                      </a:lnTo>
                      <a:lnTo>
                        <a:pt x="894679" y="385159"/>
                      </a:lnTo>
                      <a:lnTo>
                        <a:pt x="898905" y="386366"/>
                      </a:lnTo>
                      <a:lnTo>
                        <a:pt x="901320" y="390592"/>
                      </a:lnTo>
                      <a:lnTo>
                        <a:pt x="906753" y="390592"/>
                      </a:lnTo>
                      <a:lnTo>
                        <a:pt x="906753" y="393611"/>
                      </a:lnTo>
                      <a:lnTo>
                        <a:pt x="902527" y="396629"/>
                      </a:lnTo>
                      <a:lnTo>
                        <a:pt x="903131" y="401459"/>
                      </a:lnTo>
                      <a:lnTo>
                        <a:pt x="895887" y="400855"/>
                      </a:lnTo>
                      <a:lnTo>
                        <a:pt x="891057" y="405685"/>
                      </a:lnTo>
                      <a:lnTo>
                        <a:pt x="883813" y="408703"/>
                      </a:lnTo>
                      <a:lnTo>
                        <a:pt x="882605" y="410514"/>
                      </a:lnTo>
                      <a:lnTo>
                        <a:pt x="883813" y="419570"/>
                      </a:lnTo>
                      <a:lnTo>
                        <a:pt x="885020" y="423192"/>
                      </a:lnTo>
                      <a:lnTo>
                        <a:pt x="883209" y="429832"/>
                      </a:lnTo>
                      <a:lnTo>
                        <a:pt x="878983" y="432247"/>
                      </a:lnTo>
                      <a:lnTo>
                        <a:pt x="875361" y="437077"/>
                      </a:lnTo>
                      <a:lnTo>
                        <a:pt x="869928" y="440699"/>
                      </a:lnTo>
                      <a:lnTo>
                        <a:pt x="868117" y="442510"/>
                      </a:lnTo>
                      <a:lnTo>
                        <a:pt x="859665" y="448547"/>
                      </a:lnTo>
                      <a:lnTo>
                        <a:pt x="856646" y="453377"/>
                      </a:lnTo>
                      <a:lnTo>
                        <a:pt x="850609" y="455791"/>
                      </a:lnTo>
                      <a:lnTo>
                        <a:pt x="849402" y="458810"/>
                      </a:lnTo>
                      <a:lnTo>
                        <a:pt x="849402" y="464243"/>
                      </a:lnTo>
                      <a:lnTo>
                        <a:pt x="854232" y="465451"/>
                      </a:lnTo>
                      <a:lnTo>
                        <a:pt x="858458" y="472091"/>
                      </a:lnTo>
                      <a:lnTo>
                        <a:pt x="862080" y="480543"/>
                      </a:lnTo>
                      <a:lnTo>
                        <a:pt x="860872" y="484769"/>
                      </a:lnTo>
                      <a:lnTo>
                        <a:pt x="862080" y="489598"/>
                      </a:lnTo>
                      <a:lnTo>
                        <a:pt x="866909" y="496239"/>
                      </a:lnTo>
                      <a:lnTo>
                        <a:pt x="870531" y="504691"/>
                      </a:lnTo>
                      <a:lnTo>
                        <a:pt x="868117" y="509521"/>
                      </a:lnTo>
                      <a:lnTo>
                        <a:pt x="871135" y="516765"/>
                      </a:lnTo>
                      <a:lnTo>
                        <a:pt x="868117" y="531254"/>
                      </a:lnTo>
                      <a:lnTo>
                        <a:pt x="861476" y="533668"/>
                      </a:lnTo>
                      <a:lnTo>
                        <a:pt x="860872" y="537894"/>
                      </a:lnTo>
                      <a:lnTo>
                        <a:pt x="864494" y="540309"/>
                      </a:lnTo>
                      <a:lnTo>
                        <a:pt x="865098" y="545742"/>
                      </a:lnTo>
                      <a:lnTo>
                        <a:pt x="869928" y="546950"/>
                      </a:lnTo>
                      <a:lnTo>
                        <a:pt x="869324" y="552383"/>
                      </a:lnTo>
                      <a:lnTo>
                        <a:pt x="870531" y="554798"/>
                      </a:lnTo>
                      <a:lnTo>
                        <a:pt x="881398" y="563250"/>
                      </a:lnTo>
                      <a:lnTo>
                        <a:pt x="885020" y="565061"/>
                      </a:lnTo>
                      <a:lnTo>
                        <a:pt x="890453" y="570494"/>
                      </a:lnTo>
                      <a:lnTo>
                        <a:pt x="882605" y="579549"/>
                      </a:lnTo>
                      <a:lnTo>
                        <a:pt x="885624" y="586794"/>
                      </a:lnTo>
                      <a:lnTo>
                        <a:pt x="889850" y="589209"/>
                      </a:lnTo>
                      <a:lnTo>
                        <a:pt x="895283" y="594642"/>
                      </a:lnTo>
                      <a:lnTo>
                        <a:pt x="899509" y="593434"/>
                      </a:lnTo>
                      <a:lnTo>
                        <a:pt x="900113" y="591020"/>
                      </a:lnTo>
                      <a:lnTo>
                        <a:pt x="904942" y="589209"/>
                      </a:lnTo>
                      <a:lnTo>
                        <a:pt x="906150" y="582568"/>
                      </a:lnTo>
                      <a:lnTo>
                        <a:pt x="912187" y="579549"/>
                      </a:lnTo>
                      <a:lnTo>
                        <a:pt x="913394" y="572909"/>
                      </a:lnTo>
                      <a:lnTo>
                        <a:pt x="918827" y="566872"/>
                      </a:lnTo>
                      <a:lnTo>
                        <a:pt x="921846" y="568079"/>
                      </a:lnTo>
                      <a:lnTo>
                        <a:pt x="924260" y="571701"/>
                      </a:lnTo>
                      <a:lnTo>
                        <a:pt x="929694" y="574720"/>
                      </a:lnTo>
                      <a:lnTo>
                        <a:pt x="934523" y="575324"/>
                      </a:lnTo>
                      <a:lnTo>
                        <a:pt x="938145" y="579549"/>
                      </a:lnTo>
                      <a:lnTo>
                        <a:pt x="939957" y="584983"/>
                      </a:lnTo>
                      <a:lnTo>
                        <a:pt x="943579" y="586190"/>
                      </a:lnTo>
                      <a:lnTo>
                        <a:pt x="942975" y="589209"/>
                      </a:lnTo>
                      <a:lnTo>
                        <a:pt x="950219" y="594642"/>
                      </a:lnTo>
                      <a:lnTo>
                        <a:pt x="953238" y="600679"/>
                      </a:lnTo>
                      <a:lnTo>
                        <a:pt x="959275" y="603094"/>
                      </a:lnTo>
                      <a:lnTo>
                        <a:pt x="963501" y="601886"/>
                      </a:lnTo>
                      <a:lnTo>
                        <a:pt x="965312" y="598868"/>
                      </a:lnTo>
                      <a:lnTo>
                        <a:pt x="969538" y="601886"/>
                      </a:lnTo>
                      <a:lnTo>
                        <a:pt x="970745" y="600075"/>
                      </a:lnTo>
                      <a:lnTo>
                        <a:pt x="974971" y="608527"/>
                      </a:lnTo>
                      <a:lnTo>
                        <a:pt x="977386" y="614564"/>
                      </a:lnTo>
                      <a:lnTo>
                        <a:pt x="981612" y="614564"/>
                      </a:lnTo>
                      <a:lnTo>
                        <a:pt x="982819" y="609131"/>
                      </a:lnTo>
                      <a:lnTo>
                        <a:pt x="985837" y="610338"/>
                      </a:lnTo>
                      <a:lnTo>
                        <a:pt x="988252" y="607923"/>
                      </a:lnTo>
                      <a:lnTo>
                        <a:pt x="992478" y="607923"/>
                      </a:lnTo>
                      <a:lnTo>
                        <a:pt x="997308" y="604301"/>
                      </a:lnTo>
                      <a:lnTo>
                        <a:pt x="996704" y="598868"/>
                      </a:lnTo>
                      <a:lnTo>
                        <a:pt x="1003345" y="594642"/>
                      </a:lnTo>
                      <a:lnTo>
                        <a:pt x="1002741" y="588001"/>
                      </a:lnTo>
                      <a:lnTo>
                        <a:pt x="1007571" y="584379"/>
                      </a:lnTo>
                      <a:lnTo>
                        <a:pt x="1014815" y="575324"/>
                      </a:lnTo>
                      <a:lnTo>
                        <a:pt x="1014815" y="571701"/>
                      </a:lnTo>
                      <a:lnTo>
                        <a:pt x="1017834" y="562042"/>
                      </a:lnTo>
                      <a:lnTo>
                        <a:pt x="1019041" y="559627"/>
                      </a:lnTo>
                      <a:lnTo>
                        <a:pt x="1017834" y="554798"/>
                      </a:lnTo>
                      <a:lnTo>
                        <a:pt x="1009985" y="556005"/>
                      </a:lnTo>
                      <a:lnTo>
                        <a:pt x="1007571" y="552383"/>
                      </a:lnTo>
                      <a:lnTo>
                        <a:pt x="1003948" y="551176"/>
                      </a:lnTo>
                      <a:lnTo>
                        <a:pt x="1000930" y="545742"/>
                      </a:lnTo>
                      <a:lnTo>
                        <a:pt x="1003948" y="542724"/>
                      </a:lnTo>
                      <a:lnTo>
                        <a:pt x="1006363" y="546346"/>
                      </a:lnTo>
                      <a:lnTo>
                        <a:pt x="1009985" y="546346"/>
                      </a:lnTo>
                      <a:lnTo>
                        <a:pt x="1014815" y="543931"/>
                      </a:lnTo>
                      <a:lnTo>
                        <a:pt x="1009985" y="540913"/>
                      </a:lnTo>
                      <a:lnTo>
                        <a:pt x="1009382" y="533065"/>
                      </a:lnTo>
                      <a:lnTo>
                        <a:pt x="1010589" y="531254"/>
                      </a:lnTo>
                      <a:lnTo>
                        <a:pt x="1003948" y="524613"/>
                      </a:lnTo>
                      <a:lnTo>
                        <a:pt x="1002137" y="519783"/>
                      </a:lnTo>
                      <a:lnTo>
                        <a:pt x="999723" y="517369"/>
                      </a:lnTo>
                      <a:lnTo>
                        <a:pt x="997308" y="511332"/>
                      </a:lnTo>
                      <a:lnTo>
                        <a:pt x="993082" y="511332"/>
                      </a:lnTo>
                      <a:lnTo>
                        <a:pt x="989460" y="513746"/>
                      </a:lnTo>
                      <a:lnTo>
                        <a:pt x="987045" y="518576"/>
                      </a:lnTo>
                      <a:lnTo>
                        <a:pt x="981008" y="518576"/>
                      </a:lnTo>
                      <a:lnTo>
                        <a:pt x="975575" y="522198"/>
                      </a:lnTo>
                      <a:lnTo>
                        <a:pt x="970745" y="519783"/>
                      </a:lnTo>
                      <a:lnTo>
                        <a:pt x="969538" y="511935"/>
                      </a:lnTo>
                      <a:lnTo>
                        <a:pt x="968330" y="507106"/>
                      </a:lnTo>
                      <a:lnTo>
                        <a:pt x="971953" y="502880"/>
                      </a:lnTo>
                      <a:lnTo>
                        <a:pt x="971953" y="499258"/>
                      </a:lnTo>
                      <a:lnTo>
                        <a:pt x="974971" y="496843"/>
                      </a:lnTo>
                      <a:lnTo>
                        <a:pt x="972556" y="482354"/>
                      </a:lnTo>
                      <a:lnTo>
                        <a:pt x="973160" y="476317"/>
                      </a:lnTo>
                      <a:lnTo>
                        <a:pt x="976178" y="471488"/>
                      </a:lnTo>
                      <a:lnTo>
                        <a:pt x="973160" y="461225"/>
                      </a:lnTo>
                      <a:lnTo>
                        <a:pt x="964708" y="456999"/>
                      </a:lnTo>
                      <a:lnTo>
                        <a:pt x="960482" y="455791"/>
                      </a:lnTo>
                      <a:lnTo>
                        <a:pt x="959275" y="453377"/>
                      </a:lnTo>
                      <a:lnTo>
                        <a:pt x="953238" y="451566"/>
                      </a:lnTo>
                      <a:lnTo>
                        <a:pt x="950219" y="442510"/>
                      </a:lnTo>
                      <a:lnTo>
                        <a:pt x="944182" y="438284"/>
                      </a:lnTo>
                      <a:lnTo>
                        <a:pt x="945994" y="433455"/>
                      </a:lnTo>
                      <a:lnTo>
                        <a:pt x="946597" y="423796"/>
                      </a:lnTo>
                      <a:lnTo>
                        <a:pt x="948408" y="421381"/>
                      </a:lnTo>
                      <a:lnTo>
                        <a:pt x="947805" y="415344"/>
                      </a:lnTo>
                      <a:lnTo>
                        <a:pt x="943579" y="408703"/>
                      </a:lnTo>
                      <a:lnTo>
                        <a:pt x="938749" y="407496"/>
                      </a:lnTo>
                      <a:lnTo>
                        <a:pt x="938749" y="400855"/>
                      </a:lnTo>
                      <a:lnTo>
                        <a:pt x="938145" y="393611"/>
                      </a:lnTo>
                      <a:lnTo>
                        <a:pt x="932712" y="383348"/>
                      </a:lnTo>
                      <a:lnTo>
                        <a:pt x="931505" y="377914"/>
                      </a:lnTo>
                      <a:lnTo>
                        <a:pt x="932712" y="370670"/>
                      </a:lnTo>
                      <a:lnTo>
                        <a:pt x="929090" y="367652"/>
                      </a:lnTo>
                      <a:lnTo>
                        <a:pt x="926071" y="367652"/>
                      </a:lnTo>
                      <a:lnTo>
                        <a:pt x="923053" y="364030"/>
                      </a:lnTo>
                      <a:lnTo>
                        <a:pt x="919431" y="365237"/>
                      </a:lnTo>
                      <a:lnTo>
                        <a:pt x="916412" y="362822"/>
                      </a:lnTo>
                      <a:lnTo>
                        <a:pt x="909168" y="368255"/>
                      </a:lnTo>
                      <a:lnTo>
                        <a:pt x="903735" y="365841"/>
                      </a:lnTo>
                      <a:lnTo>
                        <a:pt x="904338" y="362218"/>
                      </a:lnTo>
                      <a:lnTo>
                        <a:pt x="912187" y="360407"/>
                      </a:lnTo>
                      <a:lnTo>
                        <a:pt x="915809" y="356785"/>
                      </a:lnTo>
                      <a:lnTo>
                        <a:pt x="919431" y="361011"/>
                      </a:lnTo>
                      <a:lnTo>
                        <a:pt x="923657" y="359804"/>
                      </a:lnTo>
                      <a:lnTo>
                        <a:pt x="925468" y="354370"/>
                      </a:lnTo>
                      <a:lnTo>
                        <a:pt x="924260" y="346522"/>
                      </a:lnTo>
                      <a:lnTo>
                        <a:pt x="930297" y="350144"/>
                      </a:lnTo>
                      <a:lnTo>
                        <a:pt x="934523" y="349541"/>
                      </a:lnTo>
                      <a:lnTo>
                        <a:pt x="934523" y="343504"/>
                      </a:lnTo>
                      <a:lnTo>
                        <a:pt x="939957" y="334448"/>
                      </a:lnTo>
                      <a:lnTo>
                        <a:pt x="942975" y="336863"/>
                      </a:lnTo>
                      <a:lnTo>
                        <a:pt x="945994" y="336259"/>
                      </a:lnTo>
                      <a:lnTo>
                        <a:pt x="945994" y="330826"/>
                      </a:lnTo>
                      <a:lnTo>
                        <a:pt x="950823" y="328411"/>
                      </a:lnTo>
                      <a:lnTo>
                        <a:pt x="957464" y="328411"/>
                      </a:lnTo>
                      <a:lnTo>
                        <a:pt x="959879" y="332637"/>
                      </a:lnTo>
                      <a:lnTo>
                        <a:pt x="953238" y="337467"/>
                      </a:lnTo>
                      <a:lnTo>
                        <a:pt x="950823" y="341089"/>
                      </a:lnTo>
                      <a:lnTo>
                        <a:pt x="961690" y="344107"/>
                      </a:lnTo>
                      <a:lnTo>
                        <a:pt x="960482" y="347730"/>
                      </a:lnTo>
                      <a:lnTo>
                        <a:pt x="967123" y="350144"/>
                      </a:lnTo>
                      <a:lnTo>
                        <a:pt x="973160" y="347730"/>
                      </a:lnTo>
                      <a:lnTo>
                        <a:pt x="971953" y="337467"/>
                      </a:lnTo>
                      <a:lnTo>
                        <a:pt x="968934" y="335052"/>
                      </a:lnTo>
                      <a:lnTo>
                        <a:pt x="979197" y="332637"/>
                      </a:lnTo>
                      <a:lnTo>
                        <a:pt x="977989" y="329015"/>
                      </a:lnTo>
                      <a:lnTo>
                        <a:pt x="973160" y="331430"/>
                      </a:lnTo>
                      <a:lnTo>
                        <a:pt x="969538" y="327204"/>
                      </a:lnTo>
                      <a:lnTo>
                        <a:pt x="964708" y="324185"/>
                      </a:lnTo>
                      <a:lnTo>
                        <a:pt x="965312" y="318149"/>
                      </a:lnTo>
                      <a:lnTo>
                        <a:pt x="971349" y="321167"/>
                      </a:lnTo>
                      <a:lnTo>
                        <a:pt x="977989" y="319356"/>
                      </a:lnTo>
                      <a:lnTo>
                        <a:pt x="991271" y="326600"/>
                      </a:lnTo>
                      <a:lnTo>
                        <a:pt x="992478" y="322978"/>
                      </a:lnTo>
                      <a:lnTo>
                        <a:pt x="990063" y="317545"/>
                      </a:lnTo>
                      <a:lnTo>
                        <a:pt x="985837" y="314526"/>
                      </a:lnTo>
                      <a:lnTo>
                        <a:pt x="987649" y="312112"/>
                      </a:lnTo>
                      <a:lnTo>
                        <a:pt x="996100" y="310301"/>
                      </a:lnTo>
                      <a:lnTo>
                        <a:pt x="994289" y="305471"/>
                      </a:lnTo>
                      <a:lnTo>
                        <a:pt x="997911" y="301849"/>
                      </a:lnTo>
                      <a:lnTo>
                        <a:pt x="1006363" y="301849"/>
                      </a:lnTo>
                      <a:lnTo>
                        <a:pt x="1009382" y="303660"/>
                      </a:lnTo>
                      <a:lnTo>
                        <a:pt x="1009382" y="308489"/>
                      </a:lnTo>
                      <a:lnTo>
                        <a:pt x="1004552" y="312112"/>
                      </a:lnTo>
                      <a:lnTo>
                        <a:pt x="1008174" y="316941"/>
                      </a:lnTo>
                      <a:lnTo>
                        <a:pt x="1006967" y="322978"/>
                      </a:lnTo>
                      <a:lnTo>
                        <a:pt x="1001534" y="327808"/>
                      </a:lnTo>
                      <a:lnTo>
                        <a:pt x="1006967" y="332033"/>
                      </a:lnTo>
                      <a:lnTo>
                        <a:pt x="1009985" y="329015"/>
                      </a:lnTo>
                      <a:lnTo>
                        <a:pt x="1013608" y="329619"/>
                      </a:lnTo>
                      <a:lnTo>
                        <a:pt x="1015419" y="333845"/>
                      </a:lnTo>
                      <a:lnTo>
                        <a:pt x="1014815" y="339278"/>
                      </a:lnTo>
                      <a:lnTo>
                        <a:pt x="1016626" y="344711"/>
                      </a:lnTo>
                      <a:lnTo>
                        <a:pt x="1011193" y="345315"/>
                      </a:lnTo>
                      <a:lnTo>
                        <a:pt x="1008778" y="349541"/>
                      </a:lnTo>
                      <a:lnTo>
                        <a:pt x="1000326" y="346522"/>
                      </a:lnTo>
                      <a:lnTo>
                        <a:pt x="1000326" y="342900"/>
                      </a:lnTo>
                      <a:lnTo>
                        <a:pt x="1007571" y="343504"/>
                      </a:lnTo>
                      <a:lnTo>
                        <a:pt x="1009985" y="338070"/>
                      </a:lnTo>
                      <a:lnTo>
                        <a:pt x="1003948" y="338674"/>
                      </a:lnTo>
                      <a:lnTo>
                        <a:pt x="1001534" y="341089"/>
                      </a:lnTo>
                      <a:lnTo>
                        <a:pt x="996100" y="341089"/>
                      </a:lnTo>
                      <a:lnTo>
                        <a:pt x="988252" y="349541"/>
                      </a:lnTo>
                      <a:lnTo>
                        <a:pt x="987045" y="354370"/>
                      </a:lnTo>
                      <a:lnTo>
                        <a:pt x="983423" y="358596"/>
                      </a:lnTo>
                      <a:lnTo>
                        <a:pt x="978593" y="357993"/>
                      </a:lnTo>
                      <a:lnTo>
                        <a:pt x="979197" y="362822"/>
                      </a:lnTo>
                      <a:lnTo>
                        <a:pt x="982819" y="362822"/>
                      </a:lnTo>
                      <a:lnTo>
                        <a:pt x="981612" y="367652"/>
                      </a:lnTo>
                      <a:lnTo>
                        <a:pt x="987649" y="376707"/>
                      </a:lnTo>
                      <a:lnTo>
                        <a:pt x="990063" y="376103"/>
                      </a:lnTo>
                      <a:lnTo>
                        <a:pt x="993082" y="365237"/>
                      </a:lnTo>
                      <a:lnTo>
                        <a:pt x="995497" y="363426"/>
                      </a:lnTo>
                      <a:lnTo>
                        <a:pt x="991874" y="357389"/>
                      </a:lnTo>
                      <a:lnTo>
                        <a:pt x="997911" y="350748"/>
                      </a:lnTo>
                      <a:lnTo>
                        <a:pt x="1007571" y="353767"/>
                      </a:lnTo>
                      <a:lnTo>
                        <a:pt x="1012400" y="350144"/>
                      </a:lnTo>
                      <a:lnTo>
                        <a:pt x="1011797" y="358596"/>
                      </a:lnTo>
                      <a:lnTo>
                        <a:pt x="1015419" y="363426"/>
                      </a:lnTo>
                      <a:lnTo>
                        <a:pt x="1009985" y="365841"/>
                      </a:lnTo>
                      <a:lnTo>
                        <a:pt x="1009382" y="370066"/>
                      </a:lnTo>
                      <a:lnTo>
                        <a:pt x="1002741" y="367048"/>
                      </a:lnTo>
                      <a:lnTo>
                        <a:pt x="1000326" y="372481"/>
                      </a:lnTo>
                      <a:lnTo>
                        <a:pt x="995497" y="372481"/>
                      </a:lnTo>
                      <a:lnTo>
                        <a:pt x="994289" y="376707"/>
                      </a:lnTo>
                      <a:lnTo>
                        <a:pt x="997308" y="380329"/>
                      </a:lnTo>
                      <a:lnTo>
                        <a:pt x="994289" y="386366"/>
                      </a:lnTo>
                      <a:lnTo>
                        <a:pt x="996100" y="393007"/>
                      </a:lnTo>
                      <a:lnTo>
                        <a:pt x="1000930" y="388781"/>
                      </a:lnTo>
                      <a:lnTo>
                        <a:pt x="1005760" y="381537"/>
                      </a:lnTo>
                      <a:lnTo>
                        <a:pt x="1011797" y="379122"/>
                      </a:lnTo>
                      <a:lnTo>
                        <a:pt x="1015419" y="380329"/>
                      </a:lnTo>
                      <a:lnTo>
                        <a:pt x="1017834" y="384555"/>
                      </a:lnTo>
                      <a:lnTo>
                        <a:pt x="1020852" y="385159"/>
                      </a:lnTo>
                      <a:lnTo>
                        <a:pt x="1021456" y="380329"/>
                      </a:lnTo>
                      <a:lnTo>
                        <a:pt x="1020852" y="376707"/>
                      </a:lnTo>
                      <a:lnTo>
                        <a:pt x="1016022" y="374292"/>
                      </a:lnTo>
                      <a:lnTo>
                        <a:pt x="1019041" y="367048"/>
                      </a:lnTo>
                      <a:lnTo>
                        <a:pt x="1024474" y="367048"/>
                      </a:lnTo>
                      <a:lnTo>
                        <a:pt x="1024474" y="373085"/>
                      </a:lnTo>
                      <a:lnTo>
                        <a:pt x="1026889" y="376103"/>
                      </a:lnTo>
                      <a:lnTo>
                        <a:pt x="1033530" y="378518"/>
                      </a:lnTo>
                      <a:lnTo>
                        <a:pt x="1026889" y="386970"/>
                      </a:lnTo>
                      <a:lnTo>
                        <a:pt x="1029304" y="389988"/>
                      </a:lnTo>
                      <a:lnTo>
                        <a:pt x="1026285" y="397233"/>
                      </a:lnTo>
                      <a:lnTo>
                        <a:pt x="1029907" y="398440"/>
                      </a:lnTo>
                      <a:lnTo>
                        <a:pt x="1033530" y="395422"/>
                      </a:lnTo>
                      <a:lnTo>
                        <a:pt x="1034737" y="390592"/>
                      </a:lnTo>
                      <a:lnTo>
                        <a:pt x="1038963" y="385763"/>
                      </a:lnTo>
                      <a:lnTo>
                        <a:pt x="1040170" y="389385"/>
                      </a:lnTo>
                      <a:lnTo>
                        <a:pt x="1046207" y="392403"/>
                      </a:lnTo>
                      <a:lnTo>
                        <a:pt x="1043792" y="396629"/>
                      </a:lnTo>
                      <a:lnTo>
                        <a:pt x="1047415" y="400251"/>
                      </a:lnTo>
                      <a:lnTo>
                        <a:pt x="1049226" y="404477"/>
                      </a:lnTo>
                      <a:lnTo>
                        <a:pt x="1058885" y="402666"/>
                      </a:lnTo>
                      <a:lnTo>
                        <a:pt x="1056470" y="396629"/>
                      </a:lnTo>
                      <a:lnTo>
                        <a:pt x="1059489" y="395422"/>
                      </a:lnTo>
                      <a:lnTo>
                        <a:pt x="1062507" y="400251"/>
                      </a:lnTo>
                      <a:lnTo>
                        <a:pt x="1070959" y="403270"/>
                      </a:lnTo>
                      <a:lnTo>
                        <a:pt x="1070355" y="397233"/>
                      </a:lnTo>
                      <a:lnTo>
                        <a:pt x="1067940" y="393611"/>
                      </a:lnTo>
                      <a:lnTo>
                        <a:pt x="1073374" y="393007"/>
                      </a:lnTo>
                      <a:lnTo>
                        <a:pt x="1075789" y="397233"/>
                      </a:lnTo>
                      <a:lnTo>
                        <a:pt x="1073977" y="399648"/>
                      </a:lnTo>
                      <a:lnTo>
                        <a:pt x="1078807" y="402062"/>
                      </a:lnTo>
                      <a:lnTo>
                        <a:pt x="1080014" y="399044"/>
                      </a:lnTo>
                      <a:lnTo>
                        <a:pt x="1083637" y="399648"/>
                      </a:lnTo>
                      <a:lnTo>
                        <a:pt x="1086655" y="394818"/>
                      </a:lnTo>
                      <a:lnTo>
                        <a:pt x="1083637" y="389988"/>
                      </a:lnTo>
                      <a:lnTo>
                        <a:pt x="1080014" y="386366"/>
                      </a:lnTo>
                      <a:lnTo>
                        <a:pt x="1078807" y="381537"/>
                      </a:lnTo>
                      <a:lnTo>
                        <a:pt x="1081826" y="374896"/>
                      </a:lnTo>
                      <a:lnTo>
                        <a:pt x="1085448" y="379726"/>
                      </a:lnTo>
                      <a:lnTo>
                        <a:pt x="1088466" y="379122"/>
                      </a:lnTo>
                      <a:lnTo>
                        <a:pt x="1090277" y="383951"/>
                      </a:lnTo>
                      <a:lnTo>
                        <a:pt x="1093296" y="380933"/>
                      </a:lnTo>
                      <a:lnTo>
                        <a:pt x="1092088" y="377311"/>
                      </a:lnTo>
                      <a:lnTo>
                        <a:pt x="1091485" y="367652"/>
                      </a:lnTo>
                      <a:lnTo>
                        <a:pt x="1086655" y="370066"/>
                      </a:lnTo>
                      <a:lnTo>
                        <a:pt x="1080618" y="365841"/>
                      </a:lnTo>
                      <a:lnTo>
                        <a:pt x="1077600" y="368859"/>
                      </a:lnTo>
                      <a:lnTo>
                        <a:pt x="1074581" y="365841"/>
                      </a:lnTo>
                      <a:lnTo>
                        <a:pt x="1075185" y="359200"/>
                      </a:lnTo>
                      <a:lnTo>
                        <a:pt x="1082429" y="351956"/>
                      </a:lnTo>
                      <a:lnTo>
                        <a:pt x="1092692" y="353767"/>
                      </a:lnTo>
                      <a:lnTo>
                        <a:pt x="1090881" y="357389"/>
                      </a:lnTo>
                      <a:lnTo>
                        <a:pt x="1093899" y="364030"/>
                      </a:lnTo>
                      <a:lnTo>
                        <a:pt x="1094503" y="369463"/>
                      </a:lnTo>
                      <a:lnTo>
                        <a:pt x="1096918" y="368859"/>
                      </a:lnTo>
                      <a:lnTo>
                        <a:pt x="1098729" y="362822"/>
                      </a:lnTo>
                      <a:lnTo>
                        <a:pt x="1104766" y="365841"/>
                      </a:lnTo>
                      <a:lnTo>
                        <a:pt x="1104162" y="370066"/>
                      </a:lnTo>
                      <a:lnTo>
                        <a:pt x="1115029" y="371274"/>
                      </a:lnTo>
                      <a:lnTo>
                        <a:pt x="1111407" y="374292"/>
                      </a:lnTo>
                      <a:lnTo>
                        <a:pt x="1109595" y="378518"/>
                      </a:lnTo>
                      <a:lnTo>
                        <a:pt x="1112614" y="379122"/>
                      </a:lnTo>
                      <a:lnTo>
                        <a:pt x="1110803" y="383348"/>
                      </a:lnTo>
                      <a:lnTo>
                        <a:pt x="1105973" y="382140"/>
                      </a:lnTo>
                      <a:lnTo>
                        <a:pt x="1104766" y="386366"/>
                      </a:lnTo>
                      <a:lnTo>
                        <a:pt x="1100540" y="390592"/>
                      </a:lnTo>
                      <a:lnTo>
                        <a:pt x="1099936" y="395422"/>
                      </a:lnTo>
                      <a:lnTo>
                        <a:pt x="1101747" y="402062"/>
                      </a:lnTo>
                      <a:lnTo>
                        <a:pt x="1105973" y="403270"/>
                      </a:lnTo>
                      <a:lnTo>
                        <a:pt x="1107784" y="399044"/>
                      </a:lnTo>
                      <a:lnTo>
                        <a:pt x="1111407" y="400855"/>
                      </a:lnTo>
                      <a:lnTo>
                        <a:pt x="1111407" y="405081"/>
                      </a:lnTo>
                      <a:lnTo>
                        <a:pt x="1118651" y="399648"/>
                      </a:lnTo>
                      <a:lnTo>
                        <a:pt x="1116840" y="407496"/>
                      </a:lnTo>
                      <a:lnTo>
                        <a:pt x="1122877" y="410514"/>
                      </a:lnTo>
                      <a:lnTo>
                        <a:pt x="1124688" y="406892"/>
                      </a:lnTo>
                      <a:lnTo>
                        <a:pt x="1128310" y="406288"/>
                      </a:lnTo>
                      <a:lnTo>
                        <a:pt x="1127706" y="400855"/>
                      </a:lnTo>
                      <a:lnTo>
                        <a:pt x="1130725" y="398440"/>
                      </a:lnTo>
                      <a:lnTo>
                        <a:pt x="1134951" y="391196"/>
                      </a:lnTo>
                      <a:lnTo>
                        <a:pt x="1139177" y="389385"/>
                      </a:lnTo>
                      <a:lnTo>
                        <a:pt x="1139780" y="393611"/>
                      </a:lnTo>
                      <a:lnTo>
                        <a:pt x="1145214" y="396629"/>
                      </a:lnTo>
                      <a:lnTo>
                        <a:pt x="1149439" y="397233"/>
                      </a:lnTo>
                      <a:lnTo>
                        <a:pt x="1151854" y="399648"/>
                      </a:lnTo>
                      <a:lnTo>
                        <a:pt x="1159099" y="400855"/>
                      </a:lnTo>
                      <a:lnTo>
                        <a:pt x="1160910" y="398440"/>
                      </a:lnTo>
                      <a:lnTo>
                        <a:pt x="1167550" y="399044"/>
                      </a:lnTo>
                      <a:lnTo>
                        <a:pt x="1174191" y="397233"/>
                      </a:lnTo>
                      <a:lnTo>
                        <a:pt x="1180228" y="400855"/>
                      </a:lnTo>
                      <a:lnTo>
                        <a:pt x="1192302" y="406892"/>
                      </a:lnTo>
                      <a:lnTo>
                        <a:pt x="1198339" y="407496"/>
                      </a:lnTo>
                      <a:lnTo>
                        <a:pt x="1195321" y="403270"/>
                      </a:lnTo>
                      <a:lnTo>
                        <a:pt x="1198943" y="394214"/>
                      </a:lnTo>
                      <a:lnTo>
                        <a:pt x="1199546" y="389385"/>
                      </a:lnTo>
                      <a:lnTo>
                        <a:pt x="1197132" y="383348"/>
                      </a:lnTo>
                      <a:lnTo>
                        <a:pt x="1199546" y="379726"/>
                      </a:lnTo>
                      <a:lnTo>
                        <a:pt x="1195924" y="375500"/>
                      </a:lnTo>
                      <a:lnTo>
                        <a:pt x="1201357" y="371878"/>
                      </a:lnTo>
                      <a:lnTo>
                        <a:pt x="1205583" y="373689"/>
                      </a:lnTo>
                      <a:lnTo>
                        <a:pt x="1211620" y="372481"/>
                      </a:lnTo>
                      <a:lnTo>
                        <a:pt x="1217054" y="369463"/>
                      </a:lnTo>
                      <a:lnTo>
                        <a:pt x="1227316" y="368255"/>
                      </a:lnTo>
                      <a:lnTo>
                        <a:pt x="1226713" y="364030"/>
                      </a:lnTo>
                      <a:lnTo>
                        <a:pt x="1230335" y="361011"/>
                      </a:lnTo>
                      <a:lnTo>
                        <a:pt x="1229731" y="355578"/>
                      </a:lnTo>
                      <a:lnTo>
                        <a:pt x="1232146" y="351352"/>
                      </a:lnTo>
                      <a:lnTo>
                        <a:pt x="1242409" y="351352"/>
                      </a:lnTo>
                      <a:lnTo>
                        <a:pt x="1244824" y="348333"/>
                      </a:lnTo>
                      <a:lnTo>
                        <a:pt x="1253879" y="351956"/>
                      </a:lnTo>
                      <a:lnTo>
                        <a:pt x="1256294" y="348333"/>
                      </a:lnTo>
                      <a:lnTo>
                        <a:pt x="1260520" y="345919"/>
                      </a:lnTo>
                      <a:lnTo>
                        <a:pt x="1260520" y="343504"/>
                      </a:lnTo>
                      <a:lnTo>
                        <a:pt x="1266557" y="342296"/>
                      </a:lnTo>
                      <a:lnTo>
                        <a:pt x="1266557" y="336863"/>
                      </a:lnTo>
                      <a:lnTo>
                        <a:pt x="1271990" y="337467"/>
                      </a:lnTo>
                      <a:lnTo>
                        <a:pt x="1275009" y="336259"/>
                      </a:lnTo>
                      <a:lnTo>
                        <a:pt x="1278631" y="337467"/>
                      </a:lnTo>
                      <a:lnTo>
                        <a:pt x="1280442" y="332033"/>
                      </a:lnTo>
                      <a:lnTo>
                        <a:pt x="1284064" y="332637"/>
                      </a:lnTo>
                      <a:lnTo>
                        <a:pt x="1291308" y="340485"/>
                      </a:lnTo>
                      <a:lnTo>
                        <a:pt x="1292516" y="344711"/>
                      </a:lnTo>
                      <a:lnTo>
                        <a:pt x="1290101" y="347730"/>
                      </a:lnTo>
                      <a:lnTo>
                        <a:pt x="1291912" y="353767"/>
                      </a:lnTo>
                      <a:lnTo>
                        <a:pt x="1291912" y="358596"/>
                      </a:lnTo>
                      <a:lnTo>
                        <a:pt x="1290101" y="362218"/>
                      </a:lnTo>
                      <a:lnTo>
                        <a:pt x="1291912" y="365237"/>
                      </a:lnTo>
                      <a:lnTo>
                        <a:pt x="1297949" y="366444"/>
                      </a:lnTo>
                      <a:lnTo>
                        <a:pt x="1301571" y="372481"/>
                      </a:lnTo>
                      <a:lnTo>
                        <a:pt x="1305797" y="375500"/>
                      </a:lnTo>
                      <a:lnTo>
                        <a:pt x="1310023" y="374292"/>
                      </a:lnTo>
                      <a:lnTo>
                        <a:pt x="1310627" y="379122"/>
                      </a:lnTo>
                      <a:lnTo>
                        <a:pt x="1315456" y="389988"/>
                      </a:lnTo>
                      <a:lnTo>
                        <a:pt x="1313645" y="391800"/>
                      </a:lnTo>
                      <a:lnTo>
                        <a:pt x="1307608" y="392403"/>
                      </a:lnTo>
                      <a:lnTo>
                        <a:pt x="1299760" y="397837"/>
                      </a:lnTo>
                      <a:lnTo>
                        <a:pt x="1299157" y="400251"/>
                      </a:lnTo>
                      <a:lnTo>
                        <a:pt x="1294327" y="405081"/>
                      </a:lnTo>
                      <a:lnTo>
                        <a:pt x="1290705" y="412325"/>
                      </a:lnTo>
                      <a:lnTo>
                        <a:pt x="1285875" y="415344"/>
                      </a:lnTo>
                      <a:lnTo>
                        <a:pt x="1282857" y="422588"/>
                      </a:lnTo>
                      <a:lnTo>
                        <a:pt x="1287686" y="425003"/>
                      </a:lnTo>
                      <a:lnTo>
                        <a:pt x="1292516" y="428625"/>
                      </a:lnTo>
                      <a:lnTo>
                        <a:pt x="1294931" y="428625"/>
                      </a:lnTo>
                      <a:lnTo>
                        <a:pt x="1303382" y="423796"/>
                      </a:lnTo>
                      <a:lnTo>
                        <a:pt x="1306401" y="427418"/>
                      </a:lnTo>
                      <a:lnTo>
                        <a:pt x="1305797" y="417155"/>
                      </a:lnTo>
                      <a:lnTo>
                        <a:pt x="1308816" y="413533"/>
                      </a:lnTo>
                      <a:lnTo>
                        <a:pt x="1314852" y="413533"/>
                      </a:lnTo>
                      <a:lnTo>
                        <a:pt x="1318475" y="411118"/>
                      </a:lnTo>
                      <a:lnTo>
                        <a:pt x="1322701" y="413533"/>
                      </a:lnTo>
                      <a:lnTo>
                        <a:pt x="1324512" y="419570"/>
                      </a:lnTo>
                      <a:lnTo>
                        <a:pt x="1331152" y="415344"/>
                      </a:lnTo>
                      <a:lnTo>
                        <a:pt x="1328134" y="408703"/>
                      </a:lnTo>
                      <a:lnTo>
                        <a:pt x="1332963" y="406892"/>
                      </a:lnTo>
                      <a:lnTo>
                        <a:pt x="1334775" y="411118"/>
                      </a:lnTo>
                      <a:lnTo>
                        <a:pt x="1339604" y="414136"/>
                      </a:lnTo>
                      <a:lnTo>
                        <a:pt x="1346849" y="409307"/>
                      </a:lnTo>
                      <a:lnTo>
                        <a:pt x="1352886" y="412325"/>
                      </a:lnTo>
                      <a:lnTo>
                        <a:pt x="1349263" y="405081"/>
                      </a:lnTo>
                      <a:lnTo>
                        <a:pt x="1350471" y="394214"/>
                      </a:lnTo>
                      <a:lnTo>
                        <a:pt x="1355904" y="402062"/>
                      </a:lnTo>
                      <a:lnTo>
                        <a:pt x="1353489" y="406892"/>
                      </a:lnTo>
                      <a:lnTo>
                        <a:pt x="1360130" y="408703"/>
                      </a:lnTo>
                      <a:lnTo>
                        <a:pt x="1362545" y="412325"/>
                      </a:lnTo>
                      <a:lnTo>
                        <a:pt x="1367978" y="411118"/>
                      </a:lnTo>
                      <a:lnTo>
                        <a:pt x="1366770" y="417155"/>
                      </a:lnTo>
                      <a:lnTo>
                        <a:pt x="1377637" y="413533"/>
                      </a:lnTo>
                      <a:lnTo>
                        <a:pt x="1378844" y="415344"/>
                      </a:lnTo>
                      <a:lnTo>
                        <a:pt x="1387900" y="415344"/>
                      </a:lnTo>
                      <a:lnTo>
                        <a:pt x="1387900" y="410514"/>
                      </a:lnTo>
                      <a:lnTo>
                        <a:pt x="1381259" y="406892"/>
                      </a:lnTo>
                      <a:lnTo>
                        <a:pt x="1375826" y="405685"/>
                      </a:lnTo>
                      <a:lnTo>
                        <a:pt x="1375826" y="400251"/>
                      </a:lnTo>
                      <a:lnTo>
                        <a:pt x="1382467" y="397233"/>
                      </a:lnTo>
                      <a:lnTo>
                        <a:pt x="1389107" y="398440"/>
                      </a:lnTo>
                      <a:lnTo>
                        <a:pt x="1392730" y="396025"/>
                      </a:lnTo>
                      <a:lnTo>
                        <a:pt x="1396352" y="399648"/>
                      </a:lnTo>
                      <a:lnTo>
                        <a:pt x="1399370" y="397233"/>
                      </a:lnTo>
                      <a:lnTo>
                        <a:pt x="1401181" y="391196"/>
                      </a:lnTo>
                      <a:lnTo>
                        <a:pt x="1399974" y="385763"/>
                      </a:lnTo>
                      <a:lnTo>
                        <a:pt x="1407218" y="386970"/>
                      </a:lnTo>
                      <a:lnTo>
                        <a:pt x="1414463" y="392403"/>
                      </a:lnTo>
                      <a:lnTo>
                        <a:pt x="1410237" y="397837"/>
                      </a:lnTo>
                      <a:lnTo>
                        <a:pt x="1406011" y="401459"/>
                      </a:lnTo>
                      <a:lnTo>
                        <a:pt x="1407822" y="406288"/>
                      </a:lnTo>
                      <a:lnTo>
                        <a:pt x="1406011" y="409307"/>
                      </a:lnTo>
                      <a:lnTo>
                        <a:pt x="1407218" y="413533"/>
                      </a:lnTo>
                      <a:lnTo>
                        <a:pt x="1401181" y="417759"/>
                      </a:lnTo>
                      <a:lnTo>
                        <a:pt x="1398767" y="422588"/>
                      </a:lnTo>
                      <a:lnTo>
                        <a:pt x="1402992" y="428625"/>
                      </a:lnTo>
                      <a:lnTo>
                        <a:pt x="1396352" y="435869"/>
                      </a:lnTo>
                      <a:lnTo>
                        <a:pt x="1392730" y="435266"/>
                      </a:lnTo>
                      <a:lnTo>
                        <a:pt x="1393333" y="442510"/>
                      </a:lnTo>
                      <a:lnTo>
                        <a:pt x="1396955" y="444321"/>
                      </a:lnTo>
                      <a:lnTo>
                        <a:pt x="1404200" y="444321"/>
                      </a:lnTo>
                      <a:lnTo>
                        <a:pt x="1410840" y="441303"/>
                      </a:lnTo>
                      <a:lnTo>
                        <a:pt x="1412652" y="439492"/>
                      </a:lnTo>
                      <a:lnTo>
                        <a:pt x="1421103" y="435869"/>
                      </a:lnTo>
                      <a:lnTo>
                        <a:pt x="1424122" y="443114"/>
                      </a:lnTo>
                      <a:lnTo>
                        <a:pt x="1433781" y="443114"/>
                      </a:lnTo>
                      <a:lnTo>
                        <a:pt x="1439214" y="440095"/>
                      </a:lnTo>
                      <a:lnTo>
                        <a:pt x="1449477" y="440699"/>
                      </a:lnTo>
                      <a:lnTo>
                        <a:pt x="1452496" y="446736"/>
                      </a:lnTo>
                      <a:lnTo>
                        <a:pt x="1460344" y="453980"/>
                      </a:lnTo>
                      <a:lnTo>
                        <a:pt x="1462758" y="448547"/>
                      </a:lnTo>
                      <a:lnTo>
                        <a:pt x="1465777" y="444925"/>
                      </a:lnTo>
                      <a:lnTo>
                        <a:pt x="1466984" y="438888"/>
                      </a:lnTo>
                      <a:lnTo>
                        <a:pt x="1476643" y="443717"/>
                      </a:lnTo>
                      <a:lnTo>
                        <a:pt x="1475436" y="436473"/>
                      </a:lnTo>
                      <a:lnTo>
                        <a:pt x="1477851" y="434662"/>
                      </a:lnTo>
                      <a:lnTo>
                        <a:pt x="1475436" y="430436"/>
                      </a:lnTo>
                      <a:lnTo>
                        <a:pt x="1479662" y="428021"/>
                      </a:lnTo>
                      <a:lnTo>
                        <a:pt x="1485095" y="420173"/>
                      </a:lnTo>
                      <a:lnTo>
                        <a:pt x="1488114" y="414136"/>
                      </a:lnTo>
                      <a:lnTo>
                        <a:pt x="1487510" y="409911"/>
                      </a:lnTo>
                      <a:lnTo>
                        <a:pt x="1484491" y="405685"/>
                      </a:lnTo>
                      <a:lnTo>
                        <a:pt x="1486906" y="403270"/>
                      </a:lnTo>
                      <a:lnTo>
                        <a:pt x="1487510" y="397233"/>
                      </a:lnTo>
                      <a:lnTo>
                        <a:pt x="1490528" y="394818"/>
                      </a:lnTo>
                      <a:lnTo>
                        <a:pt x="1489321" y="391800"/>
                      </a:lnTo>
                      <a:lnTo>
                        <a:pt x="1501999" y="390592"/>
                      </a:lnTo>
                      <a:lnTo>
                        <a:pt x="1506225" y="391800"/>
                      </a:lnTo>
                      <a:lnTo>
                        <a:pt x="1509243" y="396629"/>
                      </a:lnTo>
                      <a:lnTo>
                        <a:pt x="1514073" y="401459"/>
                      </a:lnTo>
                      <a:lnTo>
                        <a:pt x="1521921" y="399044"/>
                      </a:lnTo>
                      <a:lnTo>
                        <a:pt x="1524335" y="403874"/>
                      </a:lnTo>
                      <a:lnTo>
                        <a:pt x="1523732" y="407496"/>
                      </a:lnTo>
                      <a:lnTo>
                        <a:pt x="1533995" y="412325"/>
                      </a:lnTo>
                      <a:lnTo>
                        <a:pt x="1535806" y="411118"/>
                      </a:lnTo>
                      <a:lnTo>
                        <a:pt x="1535806" y="404477"/>
                      </a:lnTo>
                      <a:lnTo>
                        <a:pt x="1532183" y="402062"/>
                      </a:lnTo>
                      <a:lnTo>
                        <a:pt x="1532183" y="397837"/>
                      </a:lnTo>
                      <a:lnTo>
                        <a:pt x="1535202" y="396025"/>
                      </a:lnTo>
                      <a:lnTo>
                        <a:pt x="1540635" y="394818"/>
                      </a:lnTo>
                      <a:lnTo>
                        <a:pt x="1542446" y="391800"/>
                      </a:lnTo>
                      <a:lnTo>
                        <a:pt x="1539428" y="389988"/>
                      </a:lnTo>
                      <a:lnTo>
                        <a:pt x="1539428" y="386970"/>
                      </a:lnTo>
                      <a:lnTo>
                        <a:pt x="1543654" y="387574"/>
                      </a:lnTo>
                      <a:lnTo>
                        <a:pt x="1550898" y="385159"/>
                      </a:lnTo>
                      <a:lnTo>
                        <a:pt x="1555124" y="387574"/>
                      </a:lnTo>
                      <a:lnTo>
                        <a:pt x="1553917" y="391196"/>
                      </a:lnTo>
                      <a:lnTo>
                        <a:pt x="1558746" y="391800"/>
                      </a:lnTo>
                      <a:lnTo>
                        <a:pt x="1561765" y="394214"/>
                      </a:lnTo>
                      <a:lnTo>
                        <a:pt x="1556331" y="398440"/>
                      </a:lnTo>
                      <a:lnTo>
                        <a:pt x="1555728" y="401459"/>
                      </a:lnTo>
                      <a:lnTo>
                        <a:pt x="1561161" y="401459"/>
                      </a:lnTo>
                      <a:lnTo>
                        <a:pt x="1564180" y="406288"/>
                      </a:lnTo>
                      <a:lnTo>
                        <a:pt x="1556331" y="412325"/>
                      </a:lnTo>
                      <a:lnTo>
                        <a:pt x="1562368" y="416551"/>
                      </a:lnTo>
                      <a:lnTo>
                        <a:pt x="1567198" y="412325"/>
                      </a:lnTo>
                      <a:lnTo>
                        <a:pt x="1573839" y="414740"/>
                      </a:lnTo>
                      <a:lnTo>
                        <a:pt x="1574442" y="419570"/>
                      </a:lnTo>
                      <a:lnTo>
                        <a:pt x="1579272" y="420777"/>
                      </a:lnTo>
                      <a:lnTo>
                        <a:pt x="1581687" y="417759"/>
                      </a:lnTo>
                      <a:lnTo>
                        <a:pt x="1597383" y="427418"/>
                      </a:lnTo>
                      <a:lnTo>
                        <a:pt x="1605231" y="425003"/>
                      </a:lnTo>
                      <a:lnTo>
                        <a:pt x="1608249" y="428021"/>
                      </a:lnTo>
                      <a:lnTo>
                        <a:pt x="1614286" y="429229"/>
                      </a:lnTo>
                      <a:lnTo>
                        <a:pt x="1619720" y="433455"/>
                      </a:lnTo>
                      <a:lnTo>
                        <a:pt x="1620323" y="442510"/>
                      </a:lnTo>
                      <a:lnTo>
                        <a:pt x="1621531" y="447943"/>
                      </a:lnTo>
                      <a:lnTo>
                        <a:pt x="1619116" y="450962"/>
                      </a:lnTo>
                      <a:lnTo>
                        <a:pt x="1620323" y="455791"/>
                      </a:lnTo>
                      <a:lnTo>
                        <a:pt x="1625153" y="458206"/>
                      </a:lnTo>
                      <a:lnTo>
                        <a:pt x="1625153" y="461225"/>
                      </a:lnTo>
                      <a:lnTo>
                        <a:pt x="1632397" y="467865"/>
                      </a:lnTo>
                      <a:lnTo>
                        <a:pt x="1633001" y="465451"/>
                      </a:lnTo>
                      <a:lnTo>
                        <a:pt x="1640849" y="463640"/>
                      </a:lnTo>
                      <a:lnTo>
                        <a:pt x="1645075" y="464847"/>
                      </a:lnTo>
                      <a:lnTo>
                        <a:pt x="1653527" y="469677"/>
                      </a:lnTo>
                      <a:lnTo>
                        <a:pt x="1657149" y="470280"/>
                      </a:lnTo>
                      <a:lnTo>
                        <a:pt x="1660771" y="472695"/>
                      </a:lnTo>
                      <a:lnTo>
                        <a:pt x="1663186" y="476921"/>
                      </a:lnTo>
                      <a:lnTo>
                        <a:pt x="1667412" y="473902"/>
                      </a:lnTo>
                      <a:lnTo>
                        <a:pt x="1672845" y="476921"/>
                      </a:lnTo>
                      <a:lnTo>
                        <a:pt x="1675864" y="475110"/>
                      </a:lnTo>
                      <a:lnTo>
                        <a:pt x="1683108" y="475714"/>
                      </a:lnTo>
                      <a:lnTo>
                        <a:pt x="1680693" y="483561"/>
                      </a:lnTo>
                      <a:lnTo>
                        <a:pt x="1687334" y="482958"/>
                      </a:lnTo>
                      <a:lnTo>
                        <a:pt x="1689145" y="485373"/>
                      </a:lnTo>
                      <a:lnTo>
                        <a:pt x="1690352" y="497447"/>
                      </a:lnTo>
                      <a:lnTo>
                        <a:pt x="1687334" y="499861"/>
                      </a:lnTo>
                      <a:lnTo>
                        <a:pt x="1687334" y="503484"/>
                      </a:lnTo>
                      <a:lnTo>
                        <a:pt x="1695785" y="501672"/>
                      </a:lnTo>
                      <a:lnTo>
                        <a:pt x="1700615" y="505898"/>
                      </a:lnTo>
                      <a:lnTo>
                        <a:pt x="1701822" y="514350"/>
                      </a:lnTo>
                      <a:lnTo>
                        <a:pt x="1703634" y="517369"/>
                      </a:lnTo>
                      <a:lnTo>
                        <a:pt x="1707859" y="514954"/>
                      </a:lnTo>
                      <a:lnTo>
                        <a:pt x="1711482" y="516161"/>
                      </a:lnTo>
                      <a:lnTo>
                        <a:pt x="1714500" y="519783"/>
                      </a:lnTo>
                      <a:lnTo>
                        <a:pt x="1724763" y="520991"/>
                      </a:lnTo>
                      <a:lnTo>
                        <a:pt x="1723556" y="512539"/>
                      </a:lnTo>
                      <a:lnTo>
                        <a:pt x="1724763" y="507106"/>
                      </a:lnTo>
                      <a:lnTo>
                        <a:pt x="1722952" y="501672"/>
                      </a:lnTo>
                      <a:lnTo>
                        <a:pt x="1726574" y="496843"/>
                      </a:lnTo>
                      <a:lnTo>
                        <a:pt x="1728989" y="496239"/>
                      </a:lnTo>
                      <a:lnTo>
                        <a:pt x="1732611" y="499861"/>
                      </a:lnTo>
                      <a:lnTo>
                        <a:pt x="1732611" y="502880"/>
                      </a:lnTo>
                      <a:lnTo>
                        <a:pt x="1738648" y="501672"/>
                      </a:lnTo>
                      <a:lnTo>
                        <a:pt x="1740459" y="503484"/>
                      </a:lnTo>
                      <a:lnTo>
                        <a:pt x="1747100" y="502880"/>
                      </a:lnTo>
                      <a:lnTo>
                        <a:pt x="1749514" y="508917"/>
                      </a:lnTo>
                      <a:lnTo>
                        <a:pt x="1758570" y="505898"/>
                      </a:lnTo>
                      <a:lnTo>
                        <a:pt x="1761588" y="503484"/>
                      </a:lnTo>
                      <a:lnTo>
                        <a:pt x="1771248" y="500465"/>
                      </a:lnTo>
                      <a:lnTo>
                        <a:pt x="1777285" y="498050"/>
                      </a:lnTo>
                      <a:lnTo>
                        <a:pt x="1783322" y="503484"/>
                      </a:lnTo>
                      <a:lnTo>
                        <a:pt x="1782718" y="509521"/>
                      </a:lnTo>
                      <a:lnTo>
                        <a:pt x="1785133" y="510728"/>
                      </a:lnTo>
                      <a:lnTo>
                        <a:pt x="1789962" y="510124"/>
                      </a:lnTo>
                      <a:lnTo>
                        <a:pt x="1797810" y="510728"/>
                      </a:lnTo>
                      <a:lnTo>
                        <a:pt x="1798414" y="520991"/>
                      </a:lnTo>
                      <a:lnTo>
                        <a:pt x="1804451" y="520387"/>
                      </a:lnTo>
                      <a:lnTo>
                        <a:pt x="1805055" y="531254"/>
                      </a:lnTo>
                      <a:lnTo>
                        <a:pt x="1794188" y="533668"/>
                      </a:lnTo>
                      <a:lnTo>
                        <a:pt x="1787548" y="530046"/>
                      </a:lnTo>
                      <a:lnTo>
                        <a:pt x="1787548" y="540309"/>
                      </a:lnTo>
                      <a:lnTo>
                        <a:pt x="1791773" y="543327"/>
                      </a:lnTo>
                      <a:lnTo>
                        <a:pt x="1789359" y="548761"/>
                      </a:lnTo>
                      <a:lnTo>
                        <a:pt x="1789962" y="559627"/>
                      </a:lnTo>
                      <a:lnTo>
                        <a:pt x="1787548" y="562042"/>
                      </a:lnTo>
                      <a:lnTo>
                        <a:pt x="1785736" y="569287"/>
                      </a:lnTo>
                      <a:lnTo>
                        <a:pt x="1788151" y="572305"/>
                      </a:lnTo>
                      <a:lnTo>
                        <a:pt x="1797207" y="571701"/>
                      </a:lnTo>
                      <a:lnTo>
                        <a:pt x="1797810" y="577738"/>
                      </a:lnTo>
                      <a:lnTo>
                        <a:pt x="1796603" y="584379"/>
                      </a:lnTo>
                      <a:lnTo>
                        <a:pt x="1797810" y="590416"/>
                      </a:lnTo>
                      <a:lnTo>
                        <a:pt x="1794792" y="595849"/>
                      </a:lnTo>
                      <a:lnTo>
                        <a:pt x="1794792" y="603094"/>
                      </a:lnTo>
                      <a:lnTo>
                        <a:pt x="1789962" y="605508"/>
                      </a:lnTo>
                      <a:lnTo>
                        <a:pt x="1791773" y="618186"/>
                      </a:lnTo>
                      <a:lnTo>
                        <a:pt x="1789359" y="620601"/>
                      </a:lnTo>
                      <a:lnTo>
                        <a:pt x="1788755" y="624827"/>
                      </a:lnTo>
                      <a:lnTo>
                        <a:pt x="1782114" y="623619"/>
                      </a:lnTo>
                      <a:lnTo>
                        <a:pt x="1778492" y="620601"/>
                      </a:lnTo>
                      <a:lnTo>
                        <a:pt x="1775474" y="626034"/>
                      </a:lnTo>
                      <a:lnTo>
                        <a:pt x="1776681" y="628449"/>
                      </a:lnTo>
                      <a:lnTo>
                        <a:pt x="1784529" y="634486"/>
                      </a:lnTo>
                      <a:lnTo>
                        <a:pt x="1786340" y="638108"/>
                      </a:lnTo>
                      <a:lnTo>
                        <a:pt x="1789962" y="637504"/>
                      </a:lnTo>
                      <a:lnTo>
                        <a:pt x="1795999" y="639919"/>
                      </a:lnTo>
                      <a:lnTo>
                        <a:pt x="1795999" y="646560"/>
                      </a:lnTo>
                      <a:lnTo>
                        <a:pt x="1792981" y="648975"/>
                      </a:lnTo>
                      <a:lnTo>
                        <a:pt x="1794188" y="653200"/>
                      </a:lnTo>
                      <a:lnTo>
                        <a:pt x="1805658" y="656219"/>
                      </a:lnTo>
                      <a:lnTo>
                        <a:pt x="1805055" y="661652"/>
                      </a:lnTo>
                      <a:lnTo>
                        <a:pt x="1806866" y="664671"/>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0" name="Maharashtra" descr="{&quot;Key&quot;:&quot;maharashtra&quot;,&quot;Name&quot;:&quot;Maharashtra&quot;,&quot;Value&quot;:1.0,&quot;Formula&quot;:&quot;&quot;,&quot;Text&quot;:&quot;&quot;,&quot;OfficeApplication&quot;:1,&quot;HasValue&quot;:true}">
                  <a:extLst>
                    <a:ext uri="{FF2B5EF4-FFF2-40B4-BE49-F238E27FC236}">
                      <a16:creationId xmlns:a16="http://schemas.microsoft.com/office/drawing/2014/main" id="{DFE4A56D-E246-4582-A68F-3A791AA11B98}"/>
                    </a:ext>
                  </a:extLst>
                </p:cNvPr>
                <p:cNvSpPr/>
                <p:nvPr/>
              </p:nvSpPr>
              <p:spPr>
                <a:xfrm>
                  <a:off x="4003585" y="3589583"/>
                  <a:ext cx="1696389" cy="1400577"/>
                </a:xfrm>
                <a:custGeom>
                  <a:avLst/>
                  <a:gdLst>
                    <a:gd name="connsiteX0" fmla="*/ 1650508 w 1696389"/>
                    <a:gd name="connsiteY0" fmla="*/ 155150 h 1400577"/>
                    <a:gd name="connsiteX1" fmla="*/ 1654130 w 1696389"/>
                    <a:gd name="connsiteY1" fmla="*/ 159376 h 1400577"/>
                    <a:gd name="connsiteX2" fmla="*/ 1654130 w 1696389"/>
                    <a:gd name="connsiteY2" fmla="*/ 162395 h 1400577"/>
                    <a:gd name="connsiteX3" fmla="*/ 1649905 w 1696389"/>
                    <a:gd name="connsiteY3" fmla="*/ 164206 h 1400577"/>
                    <a:gd name="connsiteX4" fmla="*/ 1646886 w 1696389"/>
                    <a:gd name="connsiteY4" fmla="*/ 172054 h 1400577"/>
                    <a:gd name="connsiteX5" fmla="*/ 1639642 w 1696389"/>
                    <a:gd name="connsiteY5" fmla="*/ 178091 h 1400577"/>
                    <a:gd name="connsiteX6" fmla="*/ 1633001 w 1696389"/>
                    <a:gd name="connsiteY6" fmla="*/ 180506 h 1400577"/>
                    <a:gd name="connsiteX7" fmla="*/ 1630586 w 1696389"/>
                    <a:gd name="connsiteY7" fmla="*/ 182921 h 1400577"/>
                    <a:gd name="connsiteX8" fmla="*/ 1625757 w 1696389"/>
                    <a:gd name="connsiteY8" fmla="*/ 184128 h 1400577"/>
                    <a:gd name="connsiteX9" fmla="*/ 1622738 w 1696389"/>
                    <a:gd name="connsiteY9" fmla="*/ 183524 h 1400577"/>
                    <a:gd name="connsiteX10" fmla="*/ 1620323 w 1696389"/>
                    <a:gd name="connsiteY10" fmla="*/ 187750 h 1400577"/>
                    <a:gd name="connsiteX11" fmla="*/ 1613079 w 1696389"/>
                    <a:gd name="connsiteY11" fmla="*/ 190165 h 1400577"/>
                    <a:gd name="connsiteX12" fmla="*/ 1609457 w 1696389"/>
                    <a:gd name="connsiteY12" fmla="*/ 190165 h 1400577"/>
                    <a:gd name="connsiteX13" fmla="*/ 1604627 w 1696389"/>
                    <a:gd name="connsiteY13" fmla="*/ 206465 h 1400577"/>
                    <a:gd name="connsiteX14" fmla="*/ 1607646 w 1696389"/>
                    <a:gd name="connsiteY14" fmla="*/ 217331 h 1400577"/>
                    <a:gd name="connsiteX15" fmla="*/ 1607042 w 1696389"/>
                    <a:gd name="connsiteY15" fmla="*/ 221557 h 1400577"/>
                    <a:gd name="connsiteX16" fmla="*/ 1602816 w 1696389"/>
                    <a:gd name="connsiteY16" fmla="*/ 226386 h 1400577"/>
                    <a:gd name="connsiteX17" fmla="*/ 1605231 w 1696389"/>
                    <a:gd name="connsiteY17" fmla="*/ 230009 h 1400577"/>
                    <a:gd name="connsiteX18" fmla="*/ 1605835 w 1696389"/>
                    <a:gd name="connsiteY18" fmla="*/ 234235 h 1400577"/>
                    <a:gd name="connsiteX19" fmla="*/ 1610061 w 1696389"/>
                    <a:gd name="connsiteY19" fmla="*/ 243894 h 1400577"/>
                    <a:gd name="connsiteX20" fmla="*/ 1625757 w 1696389"/>
                    <a:gd name="connsiteY20" fmla="*/ 243290 h 1400577"/>
                    <a:gd name="connsiteX21" fmla="*/ 1628775 w 1696389"/>
                    <a:gd name="connsiteY21" fmla="*/ 252949 h 1400577"/>
                    <a:gd name="connsiteX22" fmla="*/ 1628775 w 1696389"/>
                    <a:gd name="connsiteY22" fmla="*/ 262608 h 1400577"/>
                    <a:gd name="connsiteX23" fmla="*/ 1629983 w 1696389"/>
                    <a:gd name="connsiteY23" fmla="*/ 268042 h 1400577"/>
                    <a:gd name="connsiteX24" fmla="*/ 1626964 w 1696389"/>
                    <a:gd name="connsiteY24" fmla="*/ 274079 h 1400577"/>
                    <a:gd name="connsiteX25" fmla="*/ 1627568 w 1696389"/>
                    <a:gd name="connsiteY25" fmla="*/ 280116 h 1400577"/>
                    <a:gd name="connsiteX26" fmla="*/ 1629379 w 1696389"/>
                    <a:gd name="connsiteY26" fmla="*/ 284342 h 1400577"/>
                    <a:gd name="connsiteX27" fmla="*/ 1630586 w 1696389"/>
                    <a:gd name="connsiteY27" fmla="*/ 291586 h 1400577"/>
                    <a:gd name="connsiteX28" fmla="*/ 1633605 w 1696389"/>
                    <a:gd name="connsiteY28" fmla="*/ 294605 h 1400577"/>
                    <a:gd name="connsiteX29" fmla="*/ 1634208 w 1696389"/>
                    <a:gd name="connsiteY29" fmla="*/ 298830 h 1400577"/>
                    <a:gd name="connsiteX30" fmla="*/ 1622135 w 1696389"/>
                    <a:gd name="connsiteY30" fmla="*/ 303056 h 1400577"/>
                    <a:gd name="connsiteX31" fmla="*/ 1616098 w 1696389"/>
                    <a:gd name="connsiteY31" fmla="*/ 307886 h 1400577"/>
                    <a:gd name="connsiteX32" fmla="*/ 1614286 w 1696389"/>
                    <a:gd name="connsiteY32" fmla="*/ 312715 h 1400577"/>
                    <a:gd name="connsiteX33" fmla="*/ 1618512 w 1696389"/>
                    <a:gd name="connsiteY33" fmla="*/ 319356 h 1400577"/>
                    <a:gd name="connsiteX34" fmla="*/ 1622135 w 1696389"/>
                    <a:gd name="connsiteY34" fmla="*/ 319960 h 1400577"/>
                    <a:gd name="connsiteX35" fmla="*/ 1634208 w 1696389"/>
                    <a:gd name="connsiteY35" fmla="*/ 313319 h 1400577"/>
                    <a:gd name="connsiteX36" fmla="*/ 1643264 w 1696389"/>
                    <a:gd name="connsiteY36" fmla="*/ 315734 h 1400577"/>
                    <a:gd name="connsiteX37" fmla="*/ 1641453 w 1696389"/>
                    <a:gd name="connsiteY37" fmla="*/ 318752 h 1400577"/>
                    <a:gd name="connsiteX38" fmla="*/ 1642660 w 1696389"/>
                    <a:gd name="connsiteY38" fmla="*/ 323582 h 1400577"/>
                    <a:gd name="connsiteX39" fmla="*/ 1640849 w 1696389"/>
                    <a:gd name="connsiteY39" fmla="*/ 325996 h 1400577"/>
                    <a:gd name="connsiteX40" fmla="*/ 1640849 w 1696389"/>
                    <a:gd name="connsiteY40" fmla="*/ 331430 h 1400577"/>
                    <a:gd name="connsiteX41" fmla="*/ 1639642 w 1696389"/>
                    <a:gd name="connsiteY41" fmla="*/ 346522 h 1400577"/>
                    <a:gd name="connsiteX42" fmla="*/ 1637831 w 1696389"/>
                    <a:gd name="connsiteY42" fmla="*/ 350144 h 1400577"/>
                    <a:gd name="connsiteX43" fmla="*/ 1639642 w 1696389"/>
                    <a:gd name="connsiteY43" fmla="*/ 353163 h 1400577"/>
                    <a:gd name="connsiteX44" fmla="*/ 1636623 w 1696389"/>
                    <a:gd name="connsiteY44" fmla="*/ 357389 h 1400577"/>
                    <a:gd name="connsiteX45" fmla="*/ 1636019 w 1696389"/>
                    <a:gd name="connsiteY45" fmla="*/ 362218 h 1400577"/>
                    <a:gd name="connsiteX46" fmla="*/ 1639038 w 1696389"/>
                    <a:gd name="connsiteY46" fmla="*/ 365841 h 1400577"/>
                    <a:gd name="connsiteX47" fmla="*/ 1642056 w 1696389"/>
                    <a:gd name="connsiteY47" fmla="*/ 376707 h 1400577"/>
                    <a:gd name="connsiteX48" fmla="*/ 1626964 w 1696389"/>
                    <a:gd name="connsiteY48" fmla="*/ 380933 h 1400577"/>
                    <a:gd name="connsiteX49" fmla="*/ 1620323 w 1696389"/>
                    <a:gd name="connsiteY49" fmla="*/ 389385 h 1400577"/>
                    <a:gd name="connsiteX50" fmla="*/ 1617305 w 1696389"/>
                    <a:gd name="connsiteY50" fmla="*/ 388178 h 1400577"/>
                    <a:gd name="connsiteX51" fmla="*/ 1609457 w 1696389"/>
                    <a:gd name="connsiteY51" fmla="*/ 389385 h 1400577"/>
                    <a:gd name="connsiteX52" fmla="*/ 1601609 w 1696389"/>
                    <a:gd name="connsiteY52" fmla="*/ 393007 h 1400577"/>
                    <a:gd name="connsiteX53" fmla="*/ 1594364 w 1696389"/>
                    <a:gd name="connsiteY53" fmla="*/ 395422 h 1400577"/>
                    <a:gd name="connsiteX54" fmla="*/ 1597383 w 1696389"/>
                    <a:gd name="connsiteY54" fmla="*/ 401459 h 1400577"/>
                    <a:gd name="connsiteX55" fmla="*/ 1600401 w 1696389"/>
                    <a:gd name="connsiteY55" fmla="*/ 403874 h 1400577"/>
                    <a:gd name="connsiteX56" fmla="*/ 1600401 w 1696389"/>
                    <a:gd name="connsiteY56" fmla="*/ 406892 h 1400577"/>
                    <a:gd name="connsiteX57" fmla="*/ 1596779 w 1696389"/>
                    <a:gd name="connsiteY57" fmla="*/ 408703 h 1400577"/>
                    <a:gd name="connsiteX58" fmla="*/ 1594364 w 1696389"/>
                    <a:gd name="connsiteY58" fmla="*/ 413533 h 1400577"/>
                    <a:gd name="connsiteX59" fmla="*/ 1596175 w 1696389"/>
                    <a:gd name="connsiteY59" fmla="*/ 416551 h 1400577"/>
                    <a:gd name="connsiteX60" fmla="*/ 1603420 w 1696389"/>
                    <a:gd name="connsiteY60" fmla="*/ 419570 h 1400577"/>
                    <a:gd name="connsiteX61" fmla="*/ 1606438 w 1696389"/>
                    <a:gd name="connsiteY61" fmla="*/ 419570 h 1400577"/>
                    <a:gd name="connsiteX62" fmla="*/ 1608249 w 1696389"/>
                    <a:gd name="connsiteY62" fmla="*/ 416551 h 1400577"/>
                    <a:gd name="connsiteX63" fmla="*/ 1623342 w 1696389"/>
                    <a:gd name="connsiteY63" fmla="*/ 420777 h 1400577"/>
                    <a:gd name="connsiteX64" fmla="*/ 1626360 w 1696389"/>
                    <a:gd name="connsiteY64" fmla="*/ 424399 h 1400577"/>
                    <a:gd name="connsiteX65" fmla="*/ 1625757 w 1696389"/>
                    <a:gd name="connsiteY65" fmla="*/ 429832 h 1400577"/>
                    <a:gd name="connsiteX66" fmla="*/ 1627568 w 1696389"/>
                    <a:gd name="connsiteY66" fmla="*/ 434058 h 1400577"/>
                    <a:gd name="connsiteX67" fmla="*/ 1625153 w 1696389"/>
                    <a:gd name="connsiteY67" fmla="*/ 447340 h 1400577"/>
                    <a:gd name="connsiteX68" fmla="*/ 1627568 w 1696389"/>
                    <a:gd name="connsiteY68" fmla="*/ 452169 h 1400577"/>
                    <a:gd name="connsiteX69" fmla="*/ 1625153 w 1696389"/>
                    <a:gd name="connsiteY69" fmla="*/ 455791 h 1400577"/>
                    <a:gd name="connsiteX70" fmla="*/ 1622738 w 1696389"/>
                    <a:gd name="connsiteY70" fmla="*/ 463640 h 1400577"/>
                    <a:gd name="connsiteX71" fmla="*/ 1618512 w 1696389"/>
                    <a:gd name="connsiteY71" fmla="*/ 464847 h 1400577"/>
                    <a:gd name="connsiteX72" fmla="*/ 1611872 w 1696389"/>
                    <a:gd name="connsiteY72" fmla="*/ 463036 h 1400577"/>
                    <a:gd name="connsiteX73" fmla="*/ 1610664 w 1696389"/>
                    <a:gd name="connsiteY73" fmla="*/ 460017 h 1400577"/>
                    <a:gd name="connsiteX74" fmla="*/ 1606438 w 1696389"/>
                    <a:gd name="connsiteY74" fmla="*/ 458810 h 1400577"/>
                    <a:gd name="connsiteX75" fmla="*/ 1602816 w 1696389"/>
                    <a:gd name="connsiteY75" fmla="*/ 461828 h 1400577"/>
                    <a:gd name="connsiteX76" fmla="*/ 1599194 w 1696389"/>
                    <a:gd name="connsiteY76" fmla="*/ 463036 h 1400577"/>
                    <a:gd name="connsiteX77" fmla="*/ 1597987 w 1696389"/>
                    <a:gd name="connsiteY77" fmla="*/ 468469 h 1400577"/>
                    <a:gd name="connsiteX78" fmla="*/ 1607042 w 1696389"/>
                    <a:gd name="connsiteY78" fmla="*/ 471488 h 1400577"/>
                    <a:gd name="connsiteX79" fmla="*/ 1610061 w 1696389"/>
                    <a:gd name="connsiteY79" fmla="*/ 469677 h 1400577"/>
                    <a:gd name="connsiteX80" fmla="*/ 1616098 w 1696389"/>
                    <a:gd name="connsiteY80" fmla="*/ 471488 h 1400577"/>
                    <a:gd name="connsiteX81" fmla="*/ 1617909 w 1696389"/>
                    <a:gd name="connsiteY81" fmla="*/ 476921 h 1400577"/>
                    <a:gd name="connsiteX82" fmla="*/ 1613079 w 1696389"/>
                    <a:gd name="connsiteY82" fmla="*/ 479939 h 1400577"/>
                    <a:gd name="connsiteX83" fmla="*/ 1610061 w 1696389"/>
                    <a:gd name="connsiteY83" fmla="*/ 485976 h 1400577"/>
                    <a:gd name="connsiteX84" fmla="*/ 1604024 w 1696389"/>
                    <a:gd name="connsiteY84" fmla="*/ 490202 h 1400577"/>
                    <a:gd name="connsiteX85" fmla="*/ 1597383 w 1696389"/>
                    <a:gd name="connsiteY85" fmla="*/ 488391 h 1400577"/>
                    <a:gd name="connsiteX86" fmla="*/ 1597383 w 1696389"/>
                    <a:gd name="connsiteY86" fmla="*/ 493825 h 1400577"/>
                    <a:gd name="connsiteX87" fmla="*/ 1601005 w 1696389"/>
                    <a:gd name="connsiteY87" fmla="*/ 492617 h 1400577"/>
                    <a:gd name="connsiteX88" fmla="*/ 1608249 w 1696389"/>
                    <a:gd name="connsiteY88" fmla="*/ 493825 h 1400577"/>
                    <a:gd name="connsiteX89" fmla="*/ 1614890 w 1696389"/>
                    <a:gd name="connsiteY89" fmla="*/ 496239 h 1400577"/>
                    <a:gd name="connsiteX90" fmla="*/ 1613079 w 1696389"/>
                    <a:gd name="connsiteY90" fmla="*/ 491410 h 1400577"/>
                    <a:gd name="connsiteX91" fmla="*/ 1610061 w 1696389"/>
                    <a:gd name="connsiteY91" fmla="*/ 489599 h 1400577"/>
                    <a:gd name="connsiteX92" fmla="*/ 1613079 w 1696389"/>
                    <a:gd name="connsiteY92" fmla="*/ 485976 h 1400577"/>
                    <a:gd name="connsiteX93" fmla="*/ 1622135 w 1696389"/>
                    <a:gd name="connsiteY93" fmla="*/ 485976 h 1400577"/>
                    <a:gd name="connsiteX94" fmla="*/ 1627568 w 1696389"/>
                    <a:gd name="connsiteY94" fmla="*/ 489599 h 1400577"/>
                    <a:gd name="connsiteX95" fmla="*/ 1626360 w 1696389"/>
                    <a:gd name="connsiteY95" fmla="*/ 498050 h 1400577"/>
                    <a:gd name="connsiteX96" fmla="*/ 1633001 w 1696389"/>
                    <a:gd name="connsiteY96" fmla="*/ 502276 h 1400577"/>
                    <a:gd name="connsiteX97" fmla="*/ 1635416 w 1696389"/>
                    <a:gd name="connsiteY97" fmla="*/ 505899 h 1400577"/>
                    <a:gd name="connsiteX98" fmla="*/ 1645679 w 1696389"/>
                    <a:gd name="connsiteY98" fmla="*/ 510124 h 1400577"/>
                    <a:gd name="connsiteX99" fmla="*/ 1652319 w 1696389"/>
                    <a:gd name="connsiteY99" fmla="*/ 515558 h 1400577"/>
                    <a:gd name="connsiteX100" fmla="*/ 1650508 w 1696389"/>
                    <a:gd name="connsiteY100" fmla="*/ 530650 h 1400577"/>
                    <a:gd name="connsiteX101" fmla="*/ 1651716 w 1696389"/>
                    <a:gd name="connsiteY101" fmla="*/ 534272 h 1400577"/>
                    <a:gd name="connsiteX102" fmla="*/ 1663790 w 1696389"/>
                    <a:gd name="connsiteY102" fmla="*/ 534272 h 1400577"/>
                    <a:gd name="connsiteX103" fmla="*/ 1672845 w 1696389"/>
                    <a:gd name="connsiteY103" fmla="*/ 539102 h 1400577"/>
                    <a:gd name="connsiteX104" fmla="*/ 1673449 w 1696389"/>
                    <a:gd name="connsiteY104" fmla="*/ 542724 h 1400577"/>
                    <a:gd name="connsiteX105" fmla="*/ 1677071 w 1696389"/>
                    <a:gd name="connsiteY105" fmla="*/ 544535 h 1400577"/>
                    <a:gd name="connsiteX106" fmla="*/ 1684315 w 1696389"/>
                    <a:gd name="connsiteY106" fmla="*/ 543327 h 1400577"/>
                    <a:gd name="connsiteX107" fmla="*/ 1686730 w 1696389"/>
                    <a:gd name="connsiteY107" fmla="*/ 545742 h 1400577"/>
                    <a:gd name="connsiteX108" fmla="*/ 1688541 w 1696389"/>
                    <a:gd name="connsiteY108" fmla="*/ 550572 h 1400577"/>
                    <a:gd name="connsiteX109" fmla="*/ 1690956 w 1696389"/>
                    <a:gd name="connsiteY109" fmla="*/ 552383 h 1400577"/>
                    <a:gd name="connsiteX110" fmla="*/ 1696389 w 1696389"/>
                    <a:gd name="connsiteY110" fmla="*/ 553590 h 1400577"/>
                    <a:gd name="connsiteX111" fmla="*/ 1698804 w 1696389"/>
                    <a:gd name="connsiteY111" fmla="*/ 557816 h 1400577"/>
                    <a:gd name="connsiteX112" fmla="*/ 1698804 w 1696389"/>
                    <a:gd name="connsiteY112" fmla="*/ 565664 h 1400577"/>
                    <a:gd name="connsiteX113" fmla="*/ 1693974 w 1696389"/>
                    <a:gd name="connsiteY113" fmla="*/ 570494 h 1400577"/>
                    <a:gd name="connsiteX114" fmla="*/ 1687334 w 1696389"/>
                    <a:gd name="connsiteY114" fmla="*/ 570494 h 1400577"/>
                    <a:gd name="connsiteX115" fmla="*/ 1677675 w 1696389"/>
                    <a:gd name="connsiteY115" fmla="*/ 574116 h 1400577"/>
                    <a:gd name="connsiteX116" fmla="*/ 1681900 w 1696389"/>
                    <a:gd name="connsiteY116" fmla="*/ 580153 h 1400577"/>
                    <a:gd name="connsiteX117" fmla="*/ 1682504 w 1696389"/>
                    <a:gd name="connsiteY117" fmla="*/ 583775 h 1400577"/>
                    <a:gd name="connsiteX118" fmla="*/ 1689145 w 1696389"/>
                    <a:gd name="connsiteY118" fmla="*/ 587398 h 1400577"/>
                    <a:gd name="connsiteX119" fmla="*/ 1687937 w 1696389"/>
                    <a:gd name="connsiteY119" fmla="*/ 589812 h 1400577"/>
                    <a:gd name="connsiteX120" fmla="*/ 1672845 w 1696389"/>
                    <a:gd name="connsiteY120" fmla="*/ 600075 h 1400577"/>
                    <a:gd name="connsiteX121" fmla="*/ 1669827 w 1696389"/>
                    <a:gd name="connsiteY121" fmla="*/ 604301 h 1400577"/>
                    <a:gd name="connsiteX122" fmla="*/ 1659564 w 1696389"/>
                    <a:gd name="connsiteY122" fmla="*/ 605509 h 1400577"/>
                    <a:gd name="connsiteX123" fmla="*/ 1655942 w 1696389"/>
                    <a:gd name="connsiteY123" fmla="*/ 604301 h 1400577"/>
                    <a:gd name="connsiteX124" fmla="*/ 1656545 w 1696389"/>
                    <a:gd name="connsiteY124" fmla="*/ 598868 h 1400577"/>
                    <a:gd name="connsiteX125" fmla="*/ 1652319 w 1696389"/>
                    <a:gd name="connsiteY125" fmla="*/ 595849 h 1400577"/>
                    <a:gd name="connsiteX126" fmla="*/ 1642660 w 1696389"/>
                    <a:gd name="connsiteY126" fmla="*/ 600679 h 1400577"/>
                    <a:gd name="connsiteX127" fmla="*/ 1639642 w 1696389"/>
                    <a:gd name="connsiteY127" fmla="*/ 598868 h 1400577"/>
                    <a:gd name="connsiteX128" fmla="*/ 1636019 w 1696389"/>
                    <a:gd name="connsiteY128" fmla="*/ 589812 h 1400577"/>
                    <a:gd name="connsiteX129" fmla="*/ 1635416 w 1696389"/>
                    <a:gd name="connsiteY129" fmla="*/ 584983 h 1400577"/>
                    <a:gd name="connsiteX130" fmla="*/ 1633001 w 1696389"/>
                    <a:gd name="connsiteY130" fmla="*/ 580153 h 1400577"/>
                    <a:gd name="connsiteX131" fmla="*/ 1630586 w 1696389"/>
                    <a:gd name="connsiteY131" fmla="*/ 580153 h 1400577"/>
                    <a:gd name="connsiteX132" fmla="*/ 1624549 w 1696389"/>
                    <a:gd name="connsiteY132" fmla="*/ 585586 h 1400577"/>
                    <a:gd name="connsiteX133" fmla="*/ 1620927 w 1696389"/>
                    <a:gd name="connsiteY133" fmla="*/ 591020 h 1400577"/>
                    <a:gd name="connsiteX134" fmla="*/ 1614286 w 1696389"/>
                    <a:gd name="connsiteY134" fmla="*/ 593435 h 1400577"/>
                    <a:gd name="connsiteX135" fmla="*/ 1611872 w 1696389"/>
                    <a:gd name="connsiteY135" fmla="*/ 595246 h 1400577"/>
                    <a:gd name="connsiteX136" fmla="*/ 1607042 w 1696389"/>
                    <a:gd name="connsiteY136" fmla="*/ 607923 h 1400577"/>
                    <a:gd name="connsiteX137" fmla="*/ 1601609 w 1696389"/>
                    <a:gd name="connsiteY137" fmla="*/ 612753 h 1400577"/>
                    <a:gd name="connsiteX138" fmla="*/ 1594968 w 1696389"/>
                    <a:gd name="connsiteY138" fmla="*/ 613960 h 1400577"/>
                    <a:gd name="connsiteX139" fmla="*/ 1593157 w 1696389"/>
                    <a:gd name="connsiteY139" fmla="*/ 619394 h 1400577"/>
                    <a:gd name="connsiteX140" fmla="*/ 1594968 w 1696389"/>
                    <a:gd name="connsiteY140" fmla="*/ 624223 h 1400577"/>
                    <a:gd name="connsiteX141" fmla="*/ 1593761 w 1696389"/>
                    <a:gd name="connsiteY141" fmla="*/ 627845 h 1400577"/>
                    <a:gd name="connsiteX142" fmla="*/ 1586516 w 1696389"/>
                    <a:gd name="connsiteY142" fmla="*/ 631468 h 1400577"/>
                    <a:gd name="connsiteX143" fmla="*/ 1582290 w 1696389"/>
                    <a:gd name="connsiteY143" fmla="*/ 636297 h 1400577"/>
                    <a:gd name="connsiteX144" fmla="*/ 1581083 w 1696389"/>
                    <a:gd name="connsiteY144" fmla="*/ 639919 h 1400577"/>
                    <a:gd name="connsiteX145" fmla="*/ 1583498 w 1696389"/>
                    <a:gd name="connsiteY145" fmla="*/ 644749 h 1400577"/>
                    <a:gd name="connsiteX146" fmla="*/ 1581083 w 1696389"/>
                    <a:gd name="connsiteY146" fmla="*/ 647767 h 1400577"/>
                    <a:gd name="connsiteX147" fmla="*/ 1580479 w 1696389"/>
                    <a:gd name="connsiteY147" fmla="*/ 653200 h 1400577"/>
                    <a:gd name="connsiteX148" fmla="*/ 1574442 w 1696389"/>
                    <a:gd name="connsiteY148" fmla="*/ 656823 h 1400577"/>
                    <a:gd name="connsiteX149" fmla="*/ 1576253 w 1696389"/>
                    <a:gd name="connsiteY149" fmla="*/ 661048 h 1400577"/>
                    <a:gd name="connsiteX150" fmla="*/ 1570217 w 1696389"/>
                    <a:gd name="connsiteY150" fmla="*/ 670104 h 1400577"/>
                    <a:gd name="connsiteX151" fmla="*/ 1569613 w 1696389"/>
                    <a:gd name="connsiteY151" fmla="*/ 679763 h 1400577"/>
                    <a:gd name="connsiteX152" fmla="*/ 1570820 w 1696389"/>
                    <a:gd name="connsiteY152" fmla="*/ 683385 h 1400577"/>
                    <a:gd name="connsiteX153" fmla="*/ 1575046 w 1696389"/>
                    <a:gd name="connsiteY153" fmla="*/ 687008 h 1400577"/>
                    <a:gd name="connsiteX154" fmla="*/ 1584101 w 1696389"/>
                    <a:gd name="connsiteY154" fmla="*/ 698478 h 1400577"/>
                    <a:gd name="connsiteX155" fmla="*/ 1587120 w 1696389"/>
                    <a:gd name="connsiteY155" fmla="*/ 705722 h 1400577"/>
                    <a:gd name="connsiteX156" fmla="*/ 1586516 w 1696389"/>
                    <a:gd name="connsiteY156" fmla="*/ 708137 h 1400577"/>
                    <a:gd name="connsiteX157" fmla="*/ 1581083 w 1696389"/>
                    <a:gd name="connsiteY157" fmla="*/ 711759 h 1400577"/>
                    <a:gd name="connsiteX158" fmla="*/ 1576857 w 1696389"/>
                    <a:gd name="connsiteY158" fmla="*/ 712363 h 1400577"/>
                    <a:gd name="connsiteX159" fmla="*/ 1571424 w 1696389"/>
                    <a:gd name="connsiteY159" fmla="*/ 719004 h 1400577"/>
                    <a:gd name="connsiteX160" fmla="*/ 1567802 w 1696389"/>
                    <a:gd name="connsiteY160" fmla="*/ 717796 h 1400577"/>
                    <a:gd name="connsiteX161" fmla="*/ 1564783 w 1696389"/>
                    <a:gd name="connsiteY161" fmla="*/ 722022 h 1400577"/>
                    <a:gd name="connsiteX162" fmla="*/ 1570217 w 1696389"/>
                    <a:gd name="connsiteY162" fmla="*/ 728663 h 1400577"/>
                    <a:gd name="connsiteX163" fmla="*/ 1565991 w 1696389"/>
                    <a:gd name="connsiteY163" fmla="*/ 732285 h 1400577"/>
                    <a:gd name="connsiteX164" fmla="*/ 1556935 w 1696389"/>
                    <a:gd name="connsiteY164" fmla="*/ 732889 h 1400577"/>
                    <a:gd name="connsiteX165" fmla="*/ 1553917 w 1696389"/>
                    <a:gd name="connsiteY165" fmla="*/ 737718 h 1400577"/>
                    <a:gd name="connsiteX166" fmla="*/ 1549691 w 1696389"/>
                    <a:gd name="connsiteY166" fmla="*/ 736511 h 1400577"/>
                    <a:gd name="connsiteX167" fmla="*/ 1547880 w 1696389"/>
                    <a:gd name="connsiteY167" fmla="*/ 733492 h 1400577"/>
                    <a:gd name="connsiteX168" fmla="*/ 1537013 w 1696389"/>
                    <a:gd name="connsiteY168" fmla="*/ 737115 h 1400577"/>
                    <a:gd name="connsiteX169" fmla="*/ 1532184 w 1696389"/>
                    <a:gd name="connsiteY169" fmla="*/ 731681 h 1400577"/>
                    <a:gd name="connsiteX170" fmla="*/ 1524939 w 1696389"/>
                    <a:gd name="connsiteY170" fmla="*/ 728059 h 1400577"/>
                    <a:gd name="connsiteX171" fmla="*/ 1521921 w 1696389"/>
                    <a:gd name="connsiteY171" fmla="*/ 722626 h 1400577"/>
                    <a:gd name="connsiteX172" fmla="*/ 1517695 w 1696389"/>
                    <a:gd name="connsiteY172" fmla="*/ 717796 h 1400577"/>
                    <a:gd name="connsiteX173" fmla="*/ 1501395 w 1696389"/>
                    <a:gd name="connsiteY173" fmla="*/ 714174 h 1400577"/>
                    <a:gd name="connsiteX174" fmla="*/ 1497773 w 1696389"/>
                    <a:gd name="connsiteY174" fmla="*/ 711156 h 1400577"/>
                    <a:gd name="connsiteX175" fmla="*/ 1493547 w 1696389"/>
                    <a:gd name="connsiteY175" fmla="*/ 703911 h 1400577"/>
                    <a:gd name="connsiteX176" fmla="*/ 1499584 w 1696389"/>
                    <a:gd name="connsiteY176" fmla="*/ 702704 h 1400577"/>
                    <a:gd name="connsiteX177" fmla="*/ 1502602 w 1696389"/>
                    <a:gd name="connsiteY177" fmla="*/ 697874 h 1400577"/>
                    <a:gd name="connsiteX178" fmla="*/ 1503206 w 1696389"/>
                    <a:gd name="connsiteY178" fmla="*/ 680971 h 1400577"/>
                    <a:gd name="connsiteX179" fmla="*/ 1500791 w 1696389"/>
                    <a:gd name="connsiteY179" fmla="*/ 672519 h 1400577"/>
                    <a:gd name="connsiteX180" fmla="*/ 1501395 w 1696389"/>
                    <a:gd name="connsiteY180" fmla="*/ 662256 h 1400577"/>
                    <a:gd name="connsiteX181" fmla="*/ 1500188 w 1696389"/>
                    <a:gd name="connsiteY181" fmla="*/ 658030 h 1400577"/>
                    <a:gd name="connsiteX182" fmla="*/ 1492943 w 1696389"/>
                    <a:gd name="connsiteY182" fmla="*/ 657426 h 1400577"/>
                    <a:gd name="connsiteX183" fmla="*/ 1488717 w 1696389"/>
                    <a:gd name="connsiteY183" fmla="*/ 659237 h 1400577"/>
                    <a:gd name="connsiteX184" fmla="*/ 1485699 w 1696389"/>
                    <a:gd name="connsiteY184" fmla="*/ 658030 h 1400577"/>
                    <a:gd name="connsiteX185" fmla="*/ 1486303 w 1696389"/>
                    <a:gd name="connsiteY185" fmla="*/ 653804 h 1400577"/>
                    <a:gd name="connsiteX186" fmla="*/ 1485699 w 1696389"/>
                    <a:gd name="connsiteY186" fmla="*/ 644145 h 1400577"/>
                    <a:gd name="connsiteX187" fmla="*/ 1488717 w 1696389"/>
                    <a:gd name="connsiteY187" fmla="*/ 640523 h 1400577"/>
                    <a:gd name="connsiteX188" fmla="*/ 1495962 w 1696389"/>
                    <a:gd name="connsiteY188" fmla="*/ 636297 h 1400577"/>
                    <a:gd name="connsiteX189" fmla="*/ 1503206 w 1696389"/>
                    <a:gd name="connsiteY189" fmla="*/ 628449 h 1400577"/>
                    <a:gd name="connsiteX190" fmla="*/ 1498980 w 1696389"/>
                    <a:gd name="connsiteY190" fmla="*/ 622412 h 1400577"/>
                    <a:gd name="connsiteX191" fmla="*/ 1498980 w 1696389"/>
                    <a:gd name="connsiteY191" fmla="*/ 617583 h 1400577"/>
                    <a:gd name="connsiteX192" fmla="*/ 1503810 w 1696389"/>
                    <a:gd name="connsiteY192" fmla="*/ 604905 h 1400577"/>
                    <a:gd name="connsiteX193" fmla="*/ 1507432 w 1696389"/>
                    <a:gd name="connsiteY193" fmla="*/ 601886 h 1400577"/>
                    <a:gd name="connsiteX194" fmla="*/ 1506225 w 1696389"/>
                    <a:gd name="connsiteY194" fmla="*/ 594038 h 1400577"/>
                    <a:gd name="connsiteX195" fmla="*/ 1508036 w 1696389"/>
                    <a:gd name="connsiteY195" fmla="*/ 590416 h 1400577"/>
                    <a:gd name="connsiteX196" fmla="*/ 1509847 w 1696389"/>
                    <a:gd name="connsiteY196" fmla="*/ 579549 h 1400577"/>
                    <a:gd name="connsiteX197" fmla="*/ 1503810 w 1696389"/>
                    <a:gd name="connsiteY197" fmla="*/ 571098 h 1400577"/>
                    <a:gd name="connsiteX198" fmla="*/ 1503810 w 1696389"/>
                    <a:gd name="connsiteY198" fmla="*/ 566872 h 1400577"/>
                    <a:gd name="connsiteX199" fmla="*/ 1496565 w 1696389"/>
                    <a:gd name="connsiteY199" fmla="*/ 559627 h 1400577"/>
                    <a:gd name="connsiteX200" fmla="*/ 1489925 w 1696389"/>
                    <a:gd name="connsiteY200" fmla="*/ 557816 h 1400577"/>
                    <a:gd name="connsiteX201" fmla="*/ 1479662 w 1696389"/>
                    <a:gd name="connsiteY201" fmla="*/ 549968 h 1400577"/>
                    <a:gd name="connsiteX202" fmla="*/ 1477247 w 1696389"/>
                    <a:gd name="connsiteY202" fmla="*/ 542724 h 1400577"/>
                    <a:gd name="connsiteX203" fmla="*/ 1472417 w 1696389"/>
                    <a:gd name="connsiteY203" fmla="*/ 540309 h 1400577"/>
                    <a:gd name="connsiteX204" fmla="*/ 1469399 w 1696389"/>
                    <a:gd name="connsiteY204" fmla="*/ 536687 h 1400577"/>
                    <a:gd name="connsiteX205" fmla="*/ 1461551 w 1696389"/>
                    <a:gd name="connsiteY205" fmla="*/ 535480 h 1400577"/>
                    <a:gd name="connsiteX206" fmla="*/ 1456118 w 1696389"/>
                    <a:gd name="connsiteY206" fmla="*/ 539705 h 1400577"/>
                    <a:gd name="connsiteX207" fmla="*/ 1448873 w 1696389"/>
                    <a:gd name="connsiteY207" fmla="*/ 540913 h 1400577"/>
                    <a:gd name="connsiteX208" fmla="*/ 1441025 w 1696389"/>
                    <a:gd name="connsiteY208" fmla="*/ 541516 h 1400577"/>
                    <a:gd name="connsiteX209" fmla="*/ 1437403 w 1696389"/>
                    <a:gd name="connsiteY209" fmla="*/ 543931 h 1400577"/>
                    <a:gd name="connsiteX210" fmla="*/ 1434385 w 1696389"/>
                    <a:gd name="connsiteY210" fmla="*/ 549364 h 1400577"/>
                    <a:gd name="connsiteX211" fmla="*/ 1432574 w 1696389"/>
                    <a:gd name="connsiteY211" fmla="*/ 556005 h 1400577"/>
                    <a:gd name="connsiteX212" fmla="*/ 1430762 w 1696389"/>
                    <a:gd name="connsiteY212" fmla="*/ 557213 h 1400577"/>
                    <a:gd name="connsiteX213" fmla="*/ 1425329 w 1696389"/>
                    <a:gd name="connsiteY213" fmla="*/ 555401 h 1400577"/>
                    <a:gd name="connsiteX214" fmla="*/ 1421707 w 1696389"/>
                    <a:gd name="connsiteY214" fmla="*/ 552383 h 1400577"/>
                    <a:gd name="connsiteX215" fmla="*/ 1421103 w 1696389"/>
                    <a:gd name="connsiteY215" fmla="*/ 547553 h 1400577"/>
                    <a:gd name="connsiteX216" fmla="*/ 1415066 w 1696389"/>
                    <a:gd name="connsiteY216" fmla="*/ 548761 h 1400577"/>
                    <a:gd name="connsiteX217" fmla="*/ 1415066 w 1696389"/>
                    <a:gd name="connsiteY217" fmla="*/ 554194 h 1400577"/>
                    <a:gd name="connsiteX218" fmla="*/ 1406011 w 1696389"/>
                    <a:gd name="connsiteY218" fmla="*/ 558420 h 1400577"/>
                    <a:gd name="connsiteX219" fmla="*/ 1403596 w 1696389"/>
                    <a:gd name="connsiteY219" fmla="*/ 553590 h 1400577"/>
                    <a:gd name="connsiteX220" fmla="*/ 1399974 w 1696389"/>
                    <a:gd name="connsiteY220" fmla="*/ 550572 h 1400577"/>
                    <a:gd name="connsiteX221" fmla="*/ 1394541 w 1696389"/>
                    <a:gd name="connsiteY221" fmla="*/ 550572 h 1400577"/>
                    <a:gd name="connsiteX222" fmla="*/ 1385485 w 1696389"/>
                    <a:gd name="connsiteY222" fmla="*/ 544535 h 1400577"/>
                    <a:gd name="connsiteX223" fmla="*/ 1384881 w 1696389"/>
                    <a:gd name="connsiteY223" fmla="*/ 542120 h 1400577"/>
                    <a:gd name="connsiteX224" fmla="*/ 1379448 w 1696389"/>
                    <a:gd name="connsiteY224" fmla="*/ 541516 h 1400577"/>
                    <a:gd name="connsiteX225" fmla="*/ 1374015 w 1696389"/>
                    <a:gd name="connsiteY225" fmla="*/ 543327 h 1400577"/>
                    <a:gd name="connsiteX226" fmla="*/ 1371600 w 1696389"/>
                    <a:gd name="connsiteY226" fmla="*/ 537894 h 1400577"/>
                    <a:gd name="connsiteX227" fmla="*/ 1361337 w 1696389"/>
                    <a:gd name="connsiteY227" fmla="*/ 533668 h 1400577"/>
                    <a:gd name="connsiteX228" fmla="*/ 1357715 w 1696389"/>
                    <a:gd name="connsiteY228" fmla="*/ 533668 h 1400577"/>
                    <a:gd name="connsiteX229" fmla="*/ 1360734 w 1696389"/>
                    <a:gd name="connsiteY229" fmla="*/ 540913 h 1400577"/>
                    <a:gd name="connsiteX230" fmla="*/ 1358319 w 1696389"/>
                    <a:gd name="connsiteY230" fmla="*/ 545139 h 1400577"/>
                    <a:gd name="connsiteX231" fmla="*/ 1357715 w 1696389"/>
                    <a:gd name="connsiteY231" fmla="*/ 551779 h 1400577"/>
                    <a:gd name="connsiteX232" fmla="*/ 1353489 w 1696389"/>
                    <a:gd name="connsiteY232" fmla="*/ 555401 h 1400577"/>
                    <a:gd name="connsiteX233" fmla="*/ 1352282 w 1696389"/>
                    <a:gd name="connsiteY233" fmla="*/ 561438 h 1400577"/>
                    <a:gd name="connsiteX234" fmla="*/ 1354093 w 1696389"/>
                    <a:gd name="connsiteY234" fmla="*/ 565664 h 1400577"/>
                    <a:gd name="connsiteX235" fmla="*/ 1348056 w 1696389"/>
                    <a:gd name="connsiteY235" fmla="*/ 566872 h 1400577"/>
                    <a:gd name="connsiteX236" fmla="*/ 1343830 w 1696389"/>
                    <a:gd name="connsiteY236" fmla="*/ 565061 h 1400577"/>
                    <a:gd name="connsiteX237" fmla="*/ 1337793 w 1696389"/>
                    <a:gd name="connsiteY237" fmla="*/ 557816 h 1400577"/>
                    <a:gd name="connsiteX238" fmla="*/ 1330549 w 1696389"/>
                    <a:gd name="connsiteY238" fmla="*/ 555401 h 1400577"/>
                    <a:gd name="connsiteX239" fmla="*/ 1329945 w 1696389"/>
                    <a:gd name="connsiteY239" fmla="*/ 551779 h 1400577"/>
                    <a:gd name="connsiteX240" fmla="*/ 1322097 w 1696389"/>
                    <a:gd name="connsiteY240" fmla="*/ 551176 h 1400577"/>
                    <a:gd name="connsiteX241" fmla="*/ 1319682 w 1696389"/>
                    <a:gd name="connsiteY241" fmla="*/ 548157 h 1400577"/>
                    <a:gd name="connsiteX242" fmla="*/ 1313041 w 1696389"/>
                    <a:gd name="connsiteY242" fmla="*/ 549364 h 1400577"/>
                    <a:gd name="connsiteX243" fmla="*/ 1307608 w 1696389"/>
                    <a:gd name="connsiteY243" fmla="*/ 544535 h 1400577"/>
                    <a:gd name="connsiteX244" fmla="*/ 1304590 w 1696389"/>
                    <a:gd name="connsiteY244" fmla="*/ 546950 h 1400577"/>
                    <a:gd name="connsiteX245" fmla="*/ 1299760 w 1696389"/>
                    <a:gd name="connsiteY245" fmla="*/ 543931 h 1400577"/>
                    <a:gd name="connsiteX246" fmla="*/ 1304590 w 1696389"/>
                    <a:gd name="connsiteY246" fmla="*/ 540309 h 1400577"/>
                    <a:gd name="connsiteX247" fmla="*/ 1301571 w 1696389"/>
                    <a:gd name="connsiteY247" fmla="*/ 532461 h 1400577"/>
                    <a:gd name="connsiteX248" fmla="*/ 1302779 w 1696389"/>
                    <a:gd name="connsiteY248" fmla="*/ 525217 h 1400577"/>
                    <a:gd name="connsiteX249" fmla="*/ 1297345 w 1696389"/>
                    <a:gd name="connsiteY249" fmla="*/ 521595 h 1400577"/>
                    <a:gd name="connsiteX250" fmla="*/ 1291912 w 1696389"/>
                    <a:gd name="connsiteY250" fmla="*/ 520991 h 1400577"/>
                    <a:gd name="connsiteX251" fmla="*/ 1286479 w 1696389"/>
                    <a:gd name="connsiteY251" fmla="*/ 524009 h 1400577"/>
                    <a:gd name="connsiteX252" fmla="*/ 1279838 w 1696389"/>
                    <a:gd name="connsiteY252" fmla="*/ 523406 h 1400577"/>
                    <a:gd name="connsiteX253" fmla="*/ 1281046 w 1696389"/>
                    <a:gd name="connsiteY253" fmla="*/ 514954 h 1400577"/>
                    <a:gd name="connsiteX254" fmla="*/ 1279234 w 1696389"/>
                    <a:gd name="connsiteY254" fmla="*/ 507106 h 1400577"/>
                    <a:gd name="connsiteX255" fmla="*/ 1277423 w 1696389"/>
                    <a:gd name="connsiteY255" fmla="*/ 501069 h 1400577"/>
                    <a:gd name="connsiteX256" fmla="*/ 1269575 w 1696389"/>
                    <a:gd name="connsiteY256" fmla="*/ 501673 h 1400577"/>
                    <a:gd name="connsiteX257" fmla="*/ 1264746 w 1696389"/>
                    <a:gd name="connsiteY257" fmla="*/ 496843 h 1400577"/>
                    <a:gd name="connsiteX258" fmla="*/ 1255087 w 1696389"/>
                    <a:gd name="connsiteY258" fmla="*/ 496843 h 1400577"/>
                    <a:gd name="connsiteX259" fmla="*/ 1250257 w 1696389"/>
                    <a:gd name="connsiteY259" fmla="*/ 499258 h 1400577"/>
                    <a:gd name="connsiteX260" fmla="*/ 1247239 w 1696389"/>
                    <a:gd name="connsiteY260" fmla="*/ 495636 h 1400577"/>
                    <a:gd name="connsiteX261" fmla="*/ 1230335 w 1696389"/>
                    <a:gd name="connsiteY261" fmla="*/ 490202 h 1400577"/>
                    <a:gd name="connsiteX262" fmla="*/ 1227317 w 1696389"/>
                    <a:gd name="connsiteY262" fmla="*/ 488391 h 1400577"/>
                    <a:gd name="connsiteX263" fmla="*/ 1223694 w 1696389"/>
                    <a:gd name="connsiteY263" fmla="*/ 489599 h 1400577"/>
                    <a:gd name="connsiteX264" fmla="*/ 1211620 w 1696389"/>
                    <a:gd name="connsiteY264" fmla="*/ 487184 h 1400577"/>
                    <a:gd name="connsiteX265" fmla="*/ 1204376 w 1696389"/>
                    <a:gd name="connsiteY265" fmla="*/ 493825 h 1400577"/>
                    <a:gd name="connsiteX266" fmla="*/ 1200754 w 1696389"/>
                    <a:gd name="connsiteY266" fmla="*/ 488391 h 1400577"/>
                    <a:gd name="connsiteX267" fmla="*/ 1191095 w 1696389"/>
                    <a:gd name="connsiteY267" fmla="*/ 487184 h 1400577"/>
                    <a:gd name="connsiteX268" fmla="*/ 1185058 w 1696389"/>
                    <a:gd name="connsiteY268" fmla="*/ 484165 h 1400577"/>
                    <a:gd name="connsiteX269" fmla="*/ 1182643 w 1696389"/>
                    <a:gd name="connsiteY269" fmla="*/ 480543 h 1400577"/>
                    <a:gd name="connsiteX270" fmla="*/ 1182039 w 1696389"/>
                    <a:gd name="connsiteY270" fmla="*/ 475110 h 1400577"/>
                    <a:gd name="connsiteX271" fmla="*/ 1172380 w 1696389"/>
                    <a:gd name="connsiteY271" fmla="*/ 473902 h 1400577"/>
                    <a:gd name="connsiteX272" fmla="*/ 1166947 w 1696389"/>
                    <a:gd name="connsiteY272" fmla="*/ 467262 h 1400577"/>
                    <a:gd name="connsiteX273" fmla="*/ 1163325 w 1696389"/>
                    <a:gd name="connsiteY273" fmla="*/ 481147 h 1400577"/>
                    <a:gd name="connsiteX274" fmla="*/ 1172984 w 1696389"/>
                    <a:gd name="connsiteY274" fmla="*/ 483562 h 1400577"/>
                    <a:gd name="connsiteX275" fmla="*/ 1172984 w 1696389"/>
                    <a:gd name="connsiteY275" fmla="*/ 488995 h 1400577"/>
                    <a:gd name="connsiteX276" fmla="*/ 1177210 w 1696389"/>
                    <a:gd name="connsiteY276" fmla="*/ 490806 h 1400577"/>
                    <a:gd name="connsiteX277" fmla="*/ 1178417 w 1696389"/>
                    <a:gd name="connsiteY277" fmla="*/ 496239 h 1400577"/>
                    <a:gd name="connsiteX278" fmla="*/ 1177210 w 1696389"/>
                    <a:gd name="connsiteY278" fmla="*/ 502276 h 1400577"/>
                    <a:gd name="connsiteX279" fmla="*/ 1174191 w 1696389"/>
                    <a:gd name="connsiteY279" fmla="*/ 506502 h 1400577"/>
                    <a:gd name="connsiteX280" fmla="*/ 1174191 w 1696389"/>
                    <a:gd name="connsiteY280" fmla="*/ 511332 h 1400577"/>
                    <a:gd name="connsiteX281" fmla="*/ 1169362 w 1696389"/>
                    <a:gd name="connsiteY281" fmla="*/ 513143 h 1400577"/>
                    <a:gd name="connsiteX282" fmla="*/ 1168154 w 1696389"/>
                    <a:gd name="connsiteY282" fmla="*/ 516161 h 1400577"/>
                    <a:gd name="connsiteX283" fmla="*/ 1161513 w 1696389"/>
                    <a:gd name="connsiteY283" fmla="*/ 516161 h 1400577"/>
                    <a:gd name="connsiteX284" fmla="*/ 1158495 w 1696389"/>
                    <a:gd name="connsiteY284" fmla="*/ 522198 h 1400577"/>
                    <a:gd name="connsiteX285" fmla="*/ 1162117 w 1696389"/>
                    <a:gd name="connsiteY285" fmla="*/ 524009 h 1400577"/>
                    <a:gd name="connsiteX286" fmla="*/ 1166947 w 1696389"/>
                    <a:gd name="connsiteY286" fmla="*/ 534876 h 1400577"/>
                    <a:gd name="connsiteX287" fmla="*/ 1166947 w 1696389"/>
                    <a:gd name="connsiteY287" fmla="*/ 542120 h 1400577"/>
                    <a:gd name="connsiteX288" fmla="*/ 1163928 w 1696389"/>
                    <a:gd name="connsiteY288" fmla="*/ 545139 h 1400577"/>
                    <a:gd name="connsiteX289" fmla="*/ 1164532 w 1696389"/>
                    <a:gd name="connsiteY289" fmla="*/ 557213 h 1400577"/>
                    <a:gd name="connsiteX290" fmla="*/ 1166947 w 1696389"/>
                    <a:gd name="connsiteY290" fmla="*/ 560835 h 1400577"/>
                    <a:gd name="connsiteX291" fmla="*/ 1166947 w 1696389"/>
                    <a:gd name="connsiteY291" fmla="*/ 565061 h 1400577"/>
                    <a:gd name="connsiteX292" fmla="*/ 1163928 w 1696389"/>
                    <a:gd name="connsiteY292" fmla="*/ 569287 h 1400577"/>
                    <a:gd name="connsiteX293" fmla="*/ 1159099 w 1696389"/>
                    <a:gd name="connsiteY293" fmla="*/ 568079 h 1400577"/>
                    <a:gd name="connsiteX294" fmla="*/ 1154873 w 1696389"/>
                    <a:gd name="connsiteY294" fmla="*/ 572909 h 1400577"/>
                    <a:gd name="connsiteX295" fmla="*/ 1148836 w 1696389"/>
                    <a:gd name="connsiteY295" fmla="*/ 572305 h 1400577"/>
                    <a:gd name="connsiteX296" fmla="*/ 1141592 w 1696389"/>
                    <a:gd name="connsiteY296" fmla="*/ 580757 h 1400577"/>
                    <a:gd name="connsiteX297" fmla="*/ 1139780 w 1696389"/>
                    <a:gd name="connsiteY297" fmla="*/ 589812 h 1400577"/>
                    <a:gd name="connsiteX298" fmla="*/ 1143403 w 1696389"/>
                    <a:gd name="connsiteY298" fmla="*/ 594642 h 1400577"/>
                    <a:gd name="connsiteX299" fmla="*/ 1142799 w 1696389"/>
                    <a:gd name="connsiteY299" fmla="*/ 600679 h 1400577"/>
                    <a:gd name="connsiteX300" fmla="*/ 1140384 w 1696389"/>
                    <a:gd name="connsiteY300" fmla="*/ 606112 h 1400577"/>
                    <a:gd name="connsiteX301" fmla="*/ 1140384 w 1696389"/>
                    <a:gd name="connsiteY301" fmla="*/ 614564 h 1400577"/>
                    <a:gd name="connsiteX302" fmla="*/ 1133744 w 1696389"/>
                    <a:gd name="connsiteY302" fmla="*/ 616979 h 1400577"/>
                    <a:gd name="connsiteX303" fmla="*/ 1128914 w 1696389"/>
                    <a:gd name="connsiteY303" fmla="*/ 613357 h 1400577"/>
                    <a:gd name="connsiteX304" fmla="*/ 1123481 w 1696389"/>
                    <a:gd name="connsiteY304" fmla="*/ 613357 h 1400577"/>
                    <a:gd name="connsiteX305" fmla="*/ 1119858 w 1696389"/>
                    <a:gd name="connsiteY305" fmla="*/ 611546 h 1400577"/>
                    <a:gd name="connsiteX306" fmla="*/ 1114425 w 1696389"/>
                    <a:gd name="connsiteY306" fmla="*/ 614564 h 1400577"/>
                    <a:gd name="connsiteX307" fmla="*/ 1112614 w 1696389"/>
                    <a:gd name="connsiteY307" fmla="*/ 613357 h 1400577"/>
                    <a:gd name="connsiteX308" fmla="*/ 1112010 w 1696389"/>
                    <a:gd name="connsiteY308" fmla="*/ 607923 h 1400577"/>
                    <a:gd name="connsiteX309" fmla="*/ 1108388 w 1696389"/>
                    <a:gd name="connsiteY309" fmla="*/ 606112 h 1400577"/>
                    <a:gd name="connsiteX310" fmla="*/ 1105370 w 1696389"/>
                    <a:gd name="connsiteY310" fmla="*/ 601283 h 1400577"/>
                    <a:gd name="connsiteX311" fmla="*/ 1099936 w 1696389"/>
                    <a:gd name="connsiteY311" fmla="*/ 599472 h 1400577"/>
                    <a:gd name="connsiteX312" fmla="*/ 1092088 w 1696389"/>
                    <a:gd name="connsiteY312" fmla="*/ 592831 h 1400577"/>
                    <a:gd name="connsiteX313" fmla="*/ 1087862 w 1696389"/>
                    <a:gd name="connsiteY313" fmla="*/ 594642 h 1400577"/>
                    <a:gd name="connsiteX314" fmla="*/ 1084844 w 1696389"/>
                    <a:gd name="connsiteY314" fmla="*/ 597660 h 1400577"/>
                    <a:gd name="connsiteX315" fmla="*/ 1073977 w 1696389"/>
                    <a:gd name="connsiteY315" fmla="*/ 601283 h 1400577"/>
                    <a:gd name="connsiteX316" fmla="*/ 1074581 w 1696389"/>
                    <a:gd name="connsiteY316" fmla="*/ 604905 h 1400577"/>
                    <a:gd name="connsiteX317" fmla="*/ 1082429 w 1696389"/>
                    <a:gd name="connsiteY317" fmla="*/ 606716 h 1400577"/>
                    <a:gd name="connsiteX318" fmla="*/ 1075789 w 1696389"/>
                    <a:gd name="connsiteY318" fmla="*/ 613357 h 1400577"/>
                    <a:gd name="connsiteX319" fmla="*/ 1070959 w 1696389"/>
                    <a:gd name="connsiteY319" fmla="*/ 626034 h 1400577"/>
                    <a:gd name="connsiteX320" fmla="*/ 1072770 w 1696389"/>
                    <a:gd name="connsiteY320" fmla="*/ 628449 h 1400577"/>
                    <a:gd name="connsiteX321" fmla="*/ 1071563 w 1696389"/>
                    <a:gd name="connsiteY321" fmla="*/ 633279 h 1400577"/>
                    <a:gd name="connsiteX322" fmla="*/ 1068544 w 1696389"/>
                    <a:gd name="connsiteY322" fmla="*/ 638108 h 1400577"/>
                    <a:gd name="connsiteX323" fmla="*/ 1070959 w 1696389"/>
                    <a:gd name="connsiteY323" fmla="*/ 642334 h 1400577"/>
                    <a:gd name="connsiteX324" fmla="*/ 1070355 w 1696389"/>
                    <a:gd name="connsiteY324" fmla="*/ 648371 h 1400577"/>
                    <a:gd name="connsiteX325" fmla="*/ 1067337 w 1696389"/>
                    <a:gd name="connsiteY325" fmla="*/ 648371 h 1400577"/>
                    <a:gd name="connsiteX326" fmla="*/ 1064922 w 1696389"/>
                    <a:gd name="connsiteY326" fmla="*/ 644749 h 1400577"/>
                    <a:gd name="connsiteX327" fmla="*/ 1061903 w 1696389"/>
                    <a:gd name="connsiteY327" fmla="*/ 645352 h 1400577"/>
                    <a:gd name="connsiteX328" fmla="*/ 1060092 w 1696389"/>
                    <a:gd name="connsiteY328" fmla="*/ 651389 h 1400577"/>
                    <a:gd name="connsiteX329" fmla="*/ 1061300 w 1696389"/>
                    <a:gd name="connsiteY329" fmla="*/ 655615 h 1400577"/>
                    <a:gd name="connsiteX330" fmla="*/ 1053452 w 1696389"/>
                    <a:gd name="connsiteY330" fmla="*/ 653804 h 1400577"/>
                    <a:gd name="connsiteX331" fmla="*/ 1052848 w 1696389"/>
                    <a:gd name="connsiteY331" fmla="*/ 661048 h 1400577"/>
                    <a:gd name="connsiteX332" fmla="*/ 1054055 w 1696389"/>
                    <a:gd name="connsiteY332" fmla="*/ 662860 h 1400577"/>
                    <a:gd name="connsiteX333" fmla="*/ 1054659 w 1696389"/>
                    <a:gd name="connsiteY333" fmla="*/ 671311 h 1400577"/>
                    <a:gd name="connsiteX334" fmla="*/ 1064922 w 1696389"/>
                    <a:gd name="connsiteY334" fmla="*/ 670708 h 1400577"/>
                    <a:gd name="connsiteX335" fmla="*/ 1064318 w 1696389"/>
                    <a:gd name="connsiteY335" fmla="*/ 677952 h 1400577"/>
                    <a:gd name="connsiteX336" fmla="*/ 1072770 w 1696389"/>
                    <a:gd name="connsiteY336" fmla="*/ 677348 h 1400577"/>
                    <a:gd name="connsiteX337" fmla="*/ 1069752 w 1696389"/>
                    <a:gd name="connsiteY337" fmla="*/ 686404 h 1400577"/>
                    <a:gd name="connsiteX338" fmla="*/ 1078203 w 1696389"/>
                    <a:gd name="connsiteY338" fmla="*/ 687008 h 1400577"/>
                    <a:gd name="connsiteX339" fmla="*/ 1081826 w 1696389"/>
                    <a:gd name="connsiteY339" fmla="*/ 696063 h 1400577"/>
                    <a:gd name="connsiteX340" fmla="*/ 1087259 w 1696389"/>
                    <a:gd name="connsiteY340" fmla="*/ 697874 h 1400577"/>
                    <a:gd name="connsiteX341" fmla="*/ 1091485 w 1696389"/>
                    <a:gd name="connsiteY341" fmla="*/ 701496 h 1400577"/>
                    <a:gd name="connsiteX342" fmla="*/ 1090881 w 1696389"/>
                    <a:gd name="connsiteY342" fmla="*/ 705722 h 1400577"/>
                    <a:gd name="connsiteX343" fmla="*/ 1083637 w 1696389"/>
                    <a:gd name="connsiteY343" fmla="*/ 704515 h 1400577"/>
                    <a:gd name="connsiteX344" fmla="*/ 1069148 w 1696389"/>
                    <a:gd name="connsiteY344" fmla="*/ 708741 h 1400577"/>
                    <a:gd name="connsiteX345" fmla="*/ 1066129 w 1696389"/>
                    <a:gd name="connsiteY345" fmla="*/ 717796 h 1400577"/>
                    <a:gd name="connsiteX346" fmla="*/ 1061903 w 1696389"/>
                    <a:gd name="connsiteY346" fmla="*/ 726248 h 1400577"/>
                    <a:gd name="connsiteX347" fmla="*/ 1061903 w 1696389"/>
                    <a:gd name="connsiteY347" fmla="*/ 728663 h 1400577"/>
                    <a:gd name="connsiteX348" fmla="*/ 1058885 w 1696389"/>
                    <a:gd name="connsiteY348" fmla="*/ 733492 h 1400577"/>
                    <a:gd name="connsiteX349" fmla="*/ 1051037 w 1696389"/>
                    <a:gd name="connsiteY349" fmla="*/ 734700 h 1400577"/>
                    <a:gd name="connsiteX350" fmla="*/ 1048018 w 1696389"/>
                    <a:gd name="connsiteY350" fmla="*/ 737718 h 1400577"/>
                    <a:gd name="connsiteX351" fmla="*/ 1046811 w 1696389"/>
                    <a:gd name="connsiteY351" fmla="*/ 744963 h 1400577"/>
                    <a:gd name="connsiteX352" fmla="*/ 1049829 w 1696389"/>
                    <a:gd name="connsiteY352" fmla="*/ 749792 h 1400577"/>
                    <a:gd name="connsiteX353" fmla="*/ 1050433 w 1696389"/>
                    <a:gd name="connsiteY353" fmla="*/ 756433 h 1400577"/>
                    <a:gd name="connsiteX354" fmla="*/ 1046811 w 1696389"/>
                    <a:gd name="connsiteY354" fmla="*/ 764884 h 1400577"/>
                    <a:gd name="connsiteX355" fmla="*/ 1043792 w 1696389"/>
                    <a:gd name="connsiteY355" fmla="*/ 764281 h 1400577"/>
                    <a:gd name="connsiteX356" fmla="*/ 1032322 w 1696389"/>
                    <a:gd name="connsiteY356" fmla="*/ 770318 h 1400577"/>
                    <a:gd name="connsiteX357" fmla="*/ 1028700 w 1696389"/>
                    <a:gd name="connsiteY357" fmla="*/ 764281 h 1400577"/>
                    <a:gd name="connsiteX358" fmla="*/ 1019645 w 1696389"/>
                    <a:gd name="connsiteY358" fmla="*/ 765488 h 1400577"/>
                    <a:gd name="connsiteX359" fmla="*/ 1017834 w 1696389"/>
                    <a:gd name="connsiteY359" fmla="*/ 775147 h 1400577"/>
                    <a:gd name="connsiteX360" fmla="*/ 1020852 w 1696389"/>
                    <a:gd name="connsiteY360" fmla="*/ 777562 h 1400577"/>
                    <a:gd name="connsiteX361" fmla="*/ 1020852 w 1696389"/>
                    <a:gd name="connsiteY361" fmla="*/ 781788 h 1400577"/>
                    <a:gd name="connsiteX362" fmla="*/ 1015419 w 1696389"/>
                    <a:gd name="connsiteY362" fmla="*/ 779373 h 1400577"/>
                    <a:gd name="connsiteX363" fmla="*/ 1014211 w 1696389"/>
                    <a:gd name="connsiteY363" fmla="*/ 782995 h 1400577"/>
                    <a:gd name="connsiteX364" fmla="*/ 1016626 w 1696389"/>
                    <a:gd name="connsiteY364" fmla="*/ 788429 h 1400577"/>
                    <a:gd name="connsiteX365" fmla="*/ 1012400 w 1696389"/>
                    <a:gd name="connsiteY365" fmla="*/ 790240 h 1400577"/>
                    <a:gd name="connsiteX366" fmla="*/ 1005760 w 1696389"/>
                    <a:gd name="connsiteY366" fmla="*/ 789032 h 1400577"/>
                    <a:gd name="connsiteX367" fmla="*/ 1005156 w 1696389"/>
                    <a:gd name="connsiteY367" fmla="*/ 791447 h 1400577"/>
                    <a:gd name="connsiteX368" fmla="*/ 1011193 w 1696389"/>
                    <a:gd name="connsiteY368" fmla="*/ 793862 h 1400577"/>
                    <a:gd name="connsiteX369" fmla="*/ 1009986 w 1696389"/>
                    <a:gd name="connsiteY369" fmla="*/ 800503 h 1400577"/>
                    <a:gd name="connsiteX370" fmla="*/ 1003949 w 1696389"/>
                    <a:gd name="connsiteY370" fmla="*/ 805332 h 1400577"/>
                    <a:gd name="connsiteX371" fmla="*/ 1005156 w 1696389"/>
                    <a:gd name="connsiteY371" fmla="*/ 810766 h 1400577"/>
                    <a:gd name="connsiteX372" fmla="*/ 1010589 w 1696389"/>
                    <a:gd name="connsiteY372" fmla="*/ 812577 h 1400577"/>
                    <a:gd name="connsiteX373" fmla="*/ 1014211 w 1696389"/>
                    <a:gd name="connsiteY373" fmla="*/ 817406 h 1400577"/>
                    <a:gd name="connsiteX374" fmla="*/ 1009986 w 1696389"/>
                    <a:gd name="connsiteY374" fmla="*/ 821028 h 1400577"/>
                    <a:gd name="connsiteX375" fmla="*/ 1003949 w 1696389"/>
                    <a:gd name="connsiteY375" fmla="*/ 818010 h 1400577"/>
                    <a:gd name="connsiteX376" fmla="*/ 1001534 w 1696389"/>
                    <a:gd name="connsiteY376" fmla="*/ 819217 h 1400577"/>
                    <a:gd name="connsiteX377" fmla="*/ 1002137 w 1696389"/>
                    <a:gd name="connsiteY377" fmla="*/ 823443 h 1400577"/>
                    <a:gd name="connsiteX378" fmla="*/ 997912 w 1696389"/>
                    <a:gd name="connsiteY378" fmla="*/ 827065 h 1400577"/>
                    <a:gd name="connsiteX379" fmla="*/ 992478 w 1696389"/>
                    <a:gd name="connsiteY379" fmla="*/ 828273 h 1400577"/>
                    <a:gd name="connsiteX380" fmla="*/ 987045 w 1696389"/>
                    <a:gd name="connsiteY380" fmla="*/ 823443 h 1400577"/>
                    <a:gd name="connsiteX381" fmla="*/ 986441 w 1696389"/>
                    <a:gd name="connsiteY381" fmla="*/ 818010 h 1400577"/>
                    <a:gd name="connsiteX382" fmla="*/ 981008 w 1696389"/>
                    <a:gd name="connsiteY382" fmla="*/ 819217 h 1400577"/>
                    <a:gd name="connsiteX383" fmla="*/ 971349 w 1696389"/>
                    <a:gd name="connsiteY383" fmla="*/ 817406 h 1400577"/>
                    <a:gd name="connsiteX384" fmla="*/ 972556 w 1696389"/>
                    <a:gd name="connsiteY384" fmla="*/ 814388 h 1400577"/>
                    <a:gd name="connsiteX385" fmla="*/ 977386 w 1696389"/>
                    <a:gd name="connsiteY385" fmla="*/ 810766 h 1400577"/>
                    <a:gd name="connsiteX386" fmla="*/ 977386 w 1696389"/>
                    <a:gd name="connsiteY386" fmla="*/ 805332 h 1400577"/>
                    <a:gd name="connsiteX387" fmla="*/ 981008 w 1696389"/>
                    <a:gd name="connsiteY387" fmla="*/ 802314 h 1400577"/>
                    <a:gd name="connsiteX388" fmla="*/ 979197 w 1696389"/>
                    <a:gd name="connsiteY388" fmla="*/ 798088 h 1400577"/>
                    <a:gd name="connsiteX389" fmla="*/ 973160 w 1696389"/>
                    <a:gd name="connsiteY389" fmla="*/ 797484 h 1400577"/>
                    <a:gd name="connsiteX390" fmla="*/ 971953 w 1696389"/>
                    <a:gd name="connsiteY390" fmla="*/ 791447 h 1400577"/>
                    <a:gd name="connsiteX391" fmla="*/ 967123 w 1696389"/>
                    <a:gd name="connsiteY391" fmla="*/ 790843 h 1400577"/>
                    <a:gd name="connsiteX392" fmla="*/ 963501 w 1696389"/>
                    <a:gd name="connsiteY392" fmla="*/ 785410 h 1400577"/>
                    <a:gd name="connsiteX393" fmla="*/ 961086 w 1696389"/>
                    <a:gd name="connsiteY393" fmla="*/ 789032 h 1400577"/>
                    <a:gd name="connsiteX394" fmla="*/ 945994 w 1696389"/>
                    <a:gd name="connsiteY394" fmla="*/ 795673 h 1400577"/>
                    <a:gd name="connsiteX395" fmla="*/ 944786 w 1696389"/>
                    <a:gd name="connsiteY395" fmla="*/ 800503 h 1400577"/>
                    <a:gd name="connsiteX396" fmla="*/ 943579 w 1696389"/>
                    <a:gd name="connsiteY396" fmla="*/ 809558 h 1400577"/>
                    <a:gd name="connsiteX397" fmla="*/ 939957 w 1696389"/>
                    <a:gd name="connsiteY397" fmla="*/ 816199 h 1400577"/>
                    <a:gd name="connsiteX398" fmla="*/ 936938 w 1696389"/>
                    <a:gd name="connsiteY398" fmla="*/ 816803 h 1400577"/>
                    <a:gd name="connsiteX399" fmla="*/ 939353 w 1696389"/>
                    <a:gd name="connsiteY399" fmla="*/ 824047 h 1400577"/>
                    <a:gd name="connsiteX400" fmla="*/ 933316 w 1696389"/>
                    <a:gd name="connsiteY400" fmla="*/ 823443 h 1400577"/>
                    <a:gd name="connsiteX401" fmla="*/ 929090 w 1696389"/>
                    <a:gd name="connsiteY401" fmla="*/ 829480 h 1400577"/>
                    <a:gd name="connsiteX402" fmla="*/ 925468 w 1696389"/>
                    <a:gd name="connsiteY402" fmla="*/ 839743 h 1400577"/>
                    <a:gd name="connsiteX403" fmla="*/ 921846 w 1696389"/>
                    <a:gd name="connsiteY403" fmla="*/ 839743 h 1400577"/>
                    <a:gd name="connsiteX404" fmla="*/ 916412 w 1696389"/>
                    <a:gd name="connsiteY404" fmla="*/ 842158 h 1400577"/>
                    <a:gd name="connsiteX405" fmla="*/ 920638 w 1696389"/>
                    <a:gd name="connsiteY405" fmla="*/ 848195 h 1400577"/>
                    <a:gd name="connsiteX406" fmla="*/ 918827 w 1696389"/>
                    <a:gd name="connsiteY406" fmla="*/ 851213 h 1400577"/>
                    <a:gd name="connsiteX407" fmla="*/ 908564 w 1696389"/>
                    <a:gd name="connsiteY407" fmla="*/ 851213 h 1400577"/>
                    <a:gd name="connsiteX408" fmla="*/ 906753 w 1696389"/>
                    <a:gd name="connsiteY408" fmla="*/ 846987 h 1400577"/>
                    <a:gd name="connsiteX409" fmla="*/ 903735 w 1696389"/>
                    <a:gd name="connsiteY409" fmla="*/ 844573 h 1400577"/>
                    <a:gd name="connsiteX410" fmla="*/ 901320 w 1696389"/>
                    <a:gd name="connsiteY410" fmla="*/ 849402 h 1400577"/>
                    <a:gd name="connsiteX411" fmla="*/ 896490 w 1696389"/>
                    <a:gd name="connsiteY411" fmla="*/ 848195 h 1400577"/>
                    <a:gd name="connsiteX412" fmla="*/ 894679 w 1696389"/>
                    <a:gd name="connsiteY412" fmla="*/ 843969 h 1400577"/>
                    <a:gd name="connsiteX413" fmla="*/ 887435 w 1696389"/>
                    <a:gd name="connsiteY413" fmla="*/ 844573 h 1400577"/>
                    <a:gd name="connsiteX414" fmla="*/ 885020 w 1696389"/>
                    <a:gd name="connsiteY414" fmla="*/ 851213 h 1400577"/>
                    <a:gd name="connsiteX415" fmla="*/ 880794 w 1696389"/>
                    <a:gd name="connsiteY415" fmla="*/ 859061 h 1400577"/>
                    <a:gd name="connsiteX416" fmla="*/ 886831 w 1696389"/>
                    <a:gd name="connsiteY416" fmla="*/ 860872 h 1400577"/>
                    <a:gd name="connsiteX417" fmla="*/ 889850 w 1696389"/>
                    <a:gd name="connsiteY417" fmla="*/ 863287 h 1400577"/>
                    <a:gd name="connsiteX418" fmla="*/ 886228 w 1696389"/>
                    <a:gd name="connsiteY418" fmla="*/ 866909 h 1400577"/>
                    <a:gd name="connsiteX419" fmla="*/ 886831 w 1696389"/>
                    <a:gd name="connsiteY419" fmla="*/ 876568 h 1400577"/>
                    <a:gd name="connsiteX420" fmla="*/ 879587 w 1696389"/>
                    <a:gd name="connsiteY420" fmla="*/ 877172 h 1400577"/>
                    <a:gd name="connsiteX421" fmla="*/ 880191 w 1696389"/>
                    <a:gd name="connsiteY421" fmla="*/ 887435 h 1400577"/>
                    <a:gd name="connsiteX422" fmla="*/ 878983 w 1696389"/>
                    <a:gd name="connsiteY422" fmla="*/ 898302 h 1400577"/>
                    <a:gd name="connsiteX423" fmla="*/ 879587 w 1696389"/>
                    <a:gd name="connsiteY423" fmla="*/ 903131 h 1400577"/>
                    <a:gd name="connsiteX424" fmla="*/ 875965 w 1696389"/>
                    <a:gd name="connsiteY424" fmla="*/ 903131 h 1400577"/>
                    <a:gd name="connsiteX425" fmla="*/ 872342 w 1696389"/>
                    <a:gd name="connsiteY425" fmla="*/ 907961 h 1400577"/>
                    <a:gd name="connsiteX426" fmla="*/ 866306 w 1696389"/>
                    <a:gd name="connsiteY426" fmla="*/ 906753 h 1400577"/>
                    <a:gd name="connsiteX427" fmla="*/ 857250 w 1696389"/>
                    <a:gd name="connsiteY427" fmla="*/ 909772 h 1400577"/>
                    <a:gd name="connsiteX428" fmla="*/ 856043 w 1696389"/>
                    <a:gd name="connsiteY428" fmla="*/ 912790 h 1400577"/>
                    <a:gd name="connsiteX429" fmla="*/ 850006 w 1696389"/>
                    <a:gd name="connsiteY429" fmla="*/ 910979 h 1400577"/>
                    <a:gd name="connsiteX430" fmla="*/ 848195 w 1696389"/>
                    <a:gd name="connsiteY430" fmla="*/ 906753 h 1400577"/>
                    <a:gd name="connsiteX431" fmla="*/ 843365 w 1696389"/>
                    <a:gd name="connsiteY431" fmla="*/ 906753 h 1400577"/>
                    <a:gd name="connsiteX432" fmla="*/ 842761 w 1696389"/>
                    <a:gd name="connsiteY432" fmla="*/ 915205 h 1400577"/>
                    <a:gd name="connsiteX433" fmla="*/ 848195 w 1696389"/>
                    <a:gd name="connsiteY433" fmla="*/ 917016 h 1400577"/>
                    <a:gd name="connsiteX434" fmla="*/ 853024 w 1696389"/>
                    <a:gd name="connsiteY434" fmla="*/ 921846 h 1400577"/>
                    <a:gd name="connsiteX435" fmla="*/ 850609 w 1696389"/>
                    <a:gd name="connsiteY435" fmla="*/ 927883 h 1400577"/>
                    <a:gd name="connsiteX436" fmla="*/ 847591 w 1696389"/>
                    <a:gd name="connsiteY436" fmla="*/ 930901 h 1400577"/>
                    <a:gd name="connsiteX437" fmla="*/ 842761 w 1696389"/>
                    <a:gd name="connsiteY437" fmla="*/ 932109 h 1400577"/>
                    <a:gd name="connsiteX438" fmla="*/ 838535 w 1696389"/>
                    <a:gd name="connsiteY438" fmla="*/ 930901 h 1400577"/>
                    <a:gd name="connsiteX439" fmla="*/ 838535 w 1696389"/>
                    <a:gd name="connsiteY439" fmla="*/ 939353 h 1400577"/>
                    <a:gd name="connsiteX440" fmla="*/ 833102 w 1696389"/>
                    <a:gd name="connsiteY440" fmla="*/ 948409 h 1400577"/>
                    <a:gd name="connsiteX441" fmla="*/ 833102 w 1696389"/>
                    <a:gd name="connsiteY441" fmla="*/ 953842 h 1400577"/>
                    <a:gd name="connsiteX442" fmla="*/ 827065 w 1696389"/>
                    <a:gd name="connsiteY442" fmla="*/ 952031 h 1400577"/>
                    <a:gd name="connsiteX443" fmla="*/ 825858 w 1696389"/>
                    <a:gd name="connsiteY443" fmla="*/ 945994 h 1400577"/>
                    <a:gd name="connsiteX444" fmla="*/ 820424 w 1696389"/>
                    <a:gd name="connsiteY444" fmla="*/ 942975 h 1400577"/>
                    <a:gd name="connsiteX445" fmla="*/ 819821 w 1696389"/>
                    <a:gd name="connsiteY445" fmla="*/ 937542 h 1400577"/>
                    <a:gd name="connsiteX446" fmla="*/ 814991 w 1696389"/>
                    <a:gd name="connsiteY446" fmla="*/ 937542 h 1400577"/>
                    <a:gd name="connsiteX447" fmla="*/ 813784 w 1696389"/>
                    <a:gd name="connsiteY447" fmla="*/ 943579 h 1400577"/>
                    <a:gd name="connsiteX448" fmla="*/ 811369 w 1696389"/>
                    <a:gd name="connsiteY448" fmla="*/ 947805 h 1400577"/>
                    <a:gd name="connsiteX449" fmla="*/ 807747 w 1696389"/>
                    <a:gd name="connsiteY449" fmla="*/ 948409 h 1400577"/>
                    <a:gd name="connsiteX450" fmla="*/ 807747 w 1696389"/>
                    <a:gd name="connsiteY450" fmla="*/ 940561 h 1400577"/>
                    <a:gd name="connsiteX451" fmla="*/ 805936 w 1696389"/>
                    <a:gd name="connsiteY451" fmla="*/ 935731 h 1400577"/>
                    <a:gd name="connsiteX452" fmla="*/ 798692 w 1696389"/>
                    <a:gd name="connsiteY452" fmla="*/ 936938 h 1400577"/>
                    <a:gd name="connsiteX453" fmla="*/ 798692 w 1696389"/>
                    <a:gd name="connsiteY453" fmla="*/ 945994 h 1400577"/>
                    <a:gd name="connsiteX454" fmla="*/ 790843 w 1696389"/>
                    <a:gd name="connsiteY454" fmla="*/ 946598 h 1400577"/>
                    <a:gd name="connsiteX455" fmla="*/ 790240 w 1696389"/>
                    <a:gd name="connsiteY455" fmla="*/ 956257 h 1400577"/>
                    <a:gd name="connsiteX456" fmla="*/ 778769 w 1696389"/>
                    <a:gd name="connsiteY456" fmla="*/ 961690 h 1400577"/>
                    <a:gd name="connsiteX457" fmla="*/ 776355 w 1696389"/>
                    <a:gd name="connsiteY457" fmla="*/ 970141 h 1400577"/>
                    <a:gd name="connsiteX458" fmla="*/ 758847 w 1696389"/>
                    <a:gd name="connsiteY458" fmla="*/ 971952 h 1400577"/>
                    <a:gd name="connsiteX459" fmla="*/ 760659 w 1696389"/>
                    <a:gd name="connsiteY459" fmla="*/ 983423 h 1400577"/>
                    <a:gd name="connsiteX460" fmla="*/ 764884 w 1696389"/>
                    <a:gd name="connsiteY460" fmla="*/ 984630 h 1400577"/>
                    <a:gd name="connsiteX461" fmla="*/ 766092 w 1696389"/>
                    <a:gd name="connsiteY461" fmla="*/ 988856 h 1400577"/>
                    <a:gd name="connsiteX462" fmla="*/ 761866 w 1696389"/>
                    <a:gd name="connsiteY462" fmla="*/ 990063 h 1400577"/>
                    <a:gd name="connsiteX463" fmla="*/ 762470 w 1696389"/>
                    <a:gd name="connsiteY463" fmla="*/ 998515 h 1400577"/>
                    <a:gd name="connsiteX464" fmla="*/ 758847 w 1696389"/>
                    <a:gd name="connsiteY464" fmla="*/ 999723 h 1400577"/>
                    <a:gd name="connsiteX465" fmla="*/ 759451 w 1696389"/>
                    <a:gd name="connsiteY465" fmla="*/ 1007571 h 1400577"/>
                    <a:gd name="connsiteX466" fmla="*/ 767299 w 1696389"/>
                    <a:gd name="connsiteY466" fmla="*/ 1006967 h 1400577"/>
                    <a:gd name="connsiteX467" fmla="*/ 764884 w 1696389"/>
                    <a:gd name="connsiteY467" fmla="*/ 1019645 h 1400577"/>
                    <a:gd name="connsiteX468" fmla="*/ 774544 w 1696389"/>
                    <a:gd name="connsiteY468" fmla="*/ 1020852 h 1400577"/>
                    <a:gd name="connsiteX469" fmla="*/ 775147 w 1696389"/>
                    <a:gd name="connsiteY469" fmla="*/ 1025682 h 1400577"/>
                    <a:gd name="connsiteX470" fmla="*/ 771525 w 1696389"/>
                    <a:gd name="connsiteY470" fmla="*/ 1028097 h 1400577"/>
                    <a:gd name="connsiteX471" fmla="*/ 769110 w 1696389"/>
                    <a:gd name="connsiteY471" fmla="*/ 1033530 h 1400577"/>
                    <a:gd name="connsiteX472" fmla="*/ 763073 w 1696389"/>
                    <a:gd name="connsiteY472" fmla="*/ 1033530 h 1400577"/>
                    <a:gd name="connsiteX473" fmla="*/ 761262 w 1696389"/>
                    <a:gd name="connsiteY473" fmla="*/ 1025078 h 1400577"/>
                    <a:gd name="connsiteX474" fmla="*/ 755225 w 1696389"/>
                    <a:gd name="connsiteY474" fmla="*/ 1026889 h 1400577"/>
                    <a:gd name="connsiteX475" fmla="*/ 755829 w 1696389"/>
                    <a:gd name="connsiteY475" fmla="*/ 1029304 h 1400577"/>
                    <a:gd name="connsiteX476" fmla="*/ 747377 w 1696389"/>
                    <a:gd name="connsiteY476" fmla="*/ 1029304 h 1400577"/>
                    <a:gd name="connsiteX477" fmla="*/ 746170 w 1696389"/>
                    <a:gd name="connsiteY477" fmla="*/ 1023871 h 1400577"/>
                    <a:gd name="connsiteX478" fmla="*/ 737718 w 1696389"/>
                    <a:gd name="connsiteY478" fmla="*/ 1022060 h 1400577"/>
                    <a:gd name="connsiteX479" fmla="*/ 728059 w 1696389"/>
                    <a:gd name="connsiteY479" fmla="*/ 1023871 h 1400577"/>
                    <a:gd name="connsiteX480" fmla="*/ 726248 w 1696389"/>
                    <a:gd name="connsiteY480" fmla="*/ 1025682 h 1400577"/>
                    <a:gd name="connsiteX481" fmla="*/ 727455 w 1696389"/>
                    <a:gd name="connsiteY481" fmla="*/ 1032926 h 1400577"/>
                    <a:gd name="connsiteX482" fmla="*/ 724437 w 1696389"/>
                    <a:gd name="connsiteY482" fmla="*/ 1035945 h 1400577"/>
                    <a:gd name="connsiteX483" fmla="*/ 724437 w 1696389"/>
                    <a:gd name="connsiteY483" fmla="*/ 1026889 h 1400577"/>
                    <a:gd name="connsiteX484" fmla="*/ 715381 w 1696389"/>
                    <a:gd name="connsiteY484" fmla="*/ 1021456 h 1400577"/>
                    <a:gd name="connsiteX485" fmla="*/ 711759 w 1696389"/>
                    <a:gd name="connsiteY485" fmla="*/ 1022663 h 1400577"/>
                    <a:gd name="connsiteX486" fmla="*/ 706929 w 1696389"/>
                    <a:gd name="connsiteY486" fmla="*/ 1029304 h 1400577"/>
                    <a:gd name="connsiteX487" fmla="*/ 703307 w 1696389"/>
                    <a:gd name="connsiteY487" fmla="*/ 1024474 h 1400577"/>
                    <a:gd name="connsiteX488" fmla="*/ 693648 w 1696389"/>
                    <a:gd name="connsiteY488" fmla="*/ 1025078 h 1400577"/>
                    <a:gd name="connsiteX489" fmla="*/ 690630 w 1696389"/>
                    <a:gd name="connsiteY489" fmla="*/ 1027493 h 1400577"/>
                    <a:gd name="connsiteX490" fmla="*/ 684593 w 1696389"/>
                    <a:gd name="connsiteY490" fmla="*/ 1028097 h 1400577"/>
                    <a:gd name="connsiteX491" fmla="*/ 676141 w 1696389"/>
                    <a:gd name="connsiteY491" fmla="*/ 1030511 h 1400577"/>
                    <a:gd name="connsiteX492" fmla="*/ 671915 w 1696389"/>
                    <a:gd name="connsiteY492" fmla="*/ 1026285 h 1400577"/>
                    <a:gd name="connsiteX493" fmla="*/ 668293 w 1696389"/>
                    <a:gd name="connsiteY493" fmla="*/ 1024474 h 1400577"/>
                    <a:gd name="connsiteX494" fmla="*/ 668897 w 1696389"/>
                    <a:gd name="connsiteY494" fmla="*/ 1013004 h 1400577"/>
                    <a:gd name="connsiteX495" fmla="*/ 661652 w 1696389"/>
                    <a:gd name="connsiteY495" fmla="*/ 1016626 h 1400577"/>
                    <a:gd name="connsiteX496" fmla="*/ 661048 w 1696389"/>
                    <a:gd name="connsiteY496" fmla="*/ 1012400 h 1400577"/>
                    <a:gd name="connsiteX497" fmla="*/ 657426 w 1696389"/>
                    <a:gd name="connsiteY497" fmla="*/ 1009986 h 1400577"/>
                    <a:gd name="connsiteX498" fmla="*/ 653804 w 1696389"/>
                    <a:gd name="connsiteY498" fmla="*/ 1009986 h 1400577"/>
                    <a:gd name="connsiteX499" fmla="*/ 651389 w 1696389"/>
                    <a:gd name="connsiteY499" fmla="*/ 1020852 h 1400577"/>
                    <a:gd name="connsiteX500" fmla="*/ 645352 w 1696389"/>
                    <a:gd name="connsiteY500" fmla="*/ 1019041 h 1400577"/>
                    <a:gd name="connsiteX501" fmla="*/ 642938 w 1696389"/>
                    <a:gd name="connsiteY501" fmla="*/ 1013004 h 1400577"/>
                    <a:gd name="connsiteX502" fmla="*/ 636297 w 1696389"/>
                    <a:gd name="connsiteY502" fmla="*/ 1009382 h 1400577"/>
                    <a:gd name="connsiteX503" fmla="*/ 630260 w 1696389"/>
                    <a:gd name="connsiteY503" fmla="*/ 1012400 h 1400577"/>
                    <a:gd name="connsiteX504" fmla="*/ 626638 w 1696389"/>
                    <a:gd name="connsiteY504" fmla="*/ 1011797 h 1400577"/>
                    <a:gd name="connsiteX505" fmla="*/ 624827 w 1696389"/>
                    <a:gd name="connsiteY505" fmla="*/ 1006363 h 1400577"/>
                    <a:gd name="connsiteX506" fmla="*/ 624827 w 1696389"/>
                    <a:gd name="connsiteY506" fmla="*/ 1002741 h 1400577"/>
                    <a:gd name="connsiteX507" fmla="*/ 620601 w 1696389"/>
                    <a:gd name="connsiteY507" fmla="*/ 1001534 h 1400577"/>
                    <a:gd name="connsiteX508" fmla="*/ 615168 w 1696389"/>
                    <a:gd name="connsiteY508" fmla="*/ 997308 h 1400577"/>
                    <a:gd name="connsiteX509" fmla="*/ 613356 w 1696389"/>
                    <a:gd name="connsiteY509" fmla="*/ 1001534 h 1400577"/>
                    <a:gd name="connsiteX510" fmla="*/ 610942 w 1696389"/>
                    <a:gd name="connsiteY510" fmla="*/ 1009382 h 1400577"/>
                    <a:gd name="connsiteX511" fmla="*/ 611545 w 1696389"/>
                    <a:gd name="connsiteY511" fmla="*/ 1016023 h 1400577"/>
                    <a:gd name="connsiteX512" fmla="*/ 603697 w 1696389"/>
                    <a:gd name="connsiteY512" fmla="*/ 1017834 h 1400577"/>
                    <a:gd name="connsiteX513" fmla="*/ 604905 w 1696389"/>
                    <a:gd name="connsiteY513" fmla="*/ 1025078 h 1400577"/>
                    <a:gd name="connsiteX514" fmla="*/ 610942 w 1696389"/>
                    <a:gd name="connsiteY514" fmla="*/ 1026889 h 1400577"/>
                    <a:gd name="connsiteX515" fmla="*/ 611545 w 1696389"/>
                    <a:gd name="connsiteY515" fmla="*/ 1029908 h 1400577"/>
                    <a:gd name="connsiteX516" fmla="*/ 609131 w 1696389"/>
                    <a:gd name="connsiteY516" fmla="*/ 1035341 h 1400577"/>
                    <a:gd name="connsiteX517" fmla="*/ 613356 w 1696389"/>
                    <a:gd name="connsiteY517" fmla="*/ 1037152 h 1400577"/>
                    <a:gd name="connsiteX518" fmla="*/ 614564 w 1696389"/>
                    <a:gd name="connsiteY518" fmla="*/ 1041982 h 1400577"/>
                    <a:gd name="connsiteX519" fmla="*/ 619997 w 1696389"/>
                    <a:gd name="connsiteY519" fmla="*/ 1042585 h 1400577"/>
                    <a:gd name="connsiteX520" fmla="*/ 621204 w 1696389"/>
                    <a:gd name="connsiteY520" fmla="*/ 1054659 h 1400577"/>
                    <a:gd name="connsiteX521" fmla="*/ 614564 w 1696389"/>
                    <a:gd name="connsiteY521" fmla="*/ 1060696 h 1400577"/>
                    <a:gd name="connsiteX522" fmla="*/ 614564 w 1696389"/>
                    <a:gd name="connsiteY522" fmla="*/ 1066130 h 1400577"/>
                    <a:gd name="connsiteX523" fmla="*/ 618790 w 1696389"/>
                    <a:gd name="connsiteY523" fmla="*/ 1072166 h 1400577"/>
                    <a:gd name="connsiteX524" fmla="*/ 618790 w 1696389"/>
                    <a:gd name="connsiteY524" fmla="*/ 1076392 h 1400577"/>
                    <a:gd name="connsiteX525" fmla="*/ 623016 w 1696389"/>
                    <a:gd name="connsiteY525" fmla="*/ 1076392 h 1400577"/>
                    <a:gd name="connsiteX526" fmla="*/ 624827 w 1696389"/>
                    <a:gd name="connsiteY526" fmla="*/ 1085448 h 1400577"/>
                    <a:gd name="connsiteX527" fmla="*/ 618186 w 1696389"/>
                    <a:gd name="connsiteY527" fmla="*/ 1090881 h 1400577"/>
                    <a:gd name="connsiteX528" fmla="*/ 619393 w 1696389"/>
                    <a:gd name="connsiteY528" fmla="*/ 1093899 h 1400577"/>
                    <a:gd name="connsiteX529" fmla="*/ 623016 w 1696389"/>
                    <a:gd name="connsiteY529" fmla="*/ 1092692 h 1400577"/>
                    <a:gd name="connsiteX530" fmla="*/ 622412 w 1696389"/>
                    <a:gd name="connsiteY530" fmla="*/ 1104162 h 1400577"/>
                    <a:gd name="connsiteX531" fmla="*/ 624223 w 1696389"/>
                    <a:gd name="connsiteY531" fmla="*/ 1108388 h 1400577"/>
                    <a:gd name="connsiteX532" fmla="*/ 617582 w 1696389"/>
                    <a:gd name="connsiteY532" fmla="*/ 1111407 h 1400577"/>
                    <a:gd name="connsiteX533" fmla="*/ 615771 w 1696389"/>
                    <a:gd name="connsiteY533" fmla="*/ 1107784 h 1400577"/>
                    <a:gd name="connsiteX534" fmla="*/ 610338 w 1696389"/>
                    <a:gd name="connsiteY534" fmla="*/ 1107181 h 1400577"/>
                    <a:gd name="connsiteX535" fmla="*/ 609734 w 1696389"/>
                    <a:gd name="connsiteY535" fmla="*/ 1099936 h 1400577"/>
                    <a:gd name="connsiteX536" fmla="*/ 601886 w 1696389"/>
                    <a:gd name="connsiteY536" fmla="*/ 1099333 h 1400577"/>
                    <a:gd name="connsiteX537" fmla="*/ 601886 w 1696389"/>
                    <a:gd name="connsiteY537" fmla="*/ 1108388 h 1400577"/>
                    <a:gd name="connsiteX538" fmla="*/ 593434 w 1696389"/>
                    <a:gd name="connsiteY538" fmla="*/ 1107784 h 1400577"/>
                    <a:gd name="connsiteX539" fmla="*/ 591020 w 1696389"/>
                    <a:gd name="connsiteY539" fmla="*/ 1110803 h 1400577"/>
                    <a:gd name="connsiteX540" fmla="*/ 586190 w 1696389"/>
                    <a:gd name="connsiteY540" fmla="*/ 1112614 h 1400577"/>
                    <a:gd name="connsiteX541" fmla="*/ 585586 w 1696389"/>
                    <a:gd name="connsiteY541" fmla="*/ 1108388 h 1400577"/>
                    <a:gd name="connsiteX542" fmla="*/ 580757 w 1696389"/>
                    <a:gd name="connsiteY542" fmla="*/ 1103559 h 1400577"/>
                    <a:gd name="connsiteX543" fmla="*/ 575927 w 1696389"/>
                    <a:gd name="connsiteY543" fmla="*/ 1105370 h 1400577"/>
                    <a:gd name="connsiteX544" fmla="*/ 572909 w 1696389"/>
                    <a:gd name="connsiteY544" fmla="*/ 1108388 h 1400577"/>
                    <a:gd name="connsiteX545" fmla="*/ 565664 w 1696389"/>
                    <a:gd name="connsiteY545" fmla="*/ 1105973 h 1400577"/>
                    <a:gd name="connsiteX546" fmla="*/ 560835 w 1696389"/>
                    <a:gd name="connsiteY546" fmla="*/ 1107181 h 1400577"/>
                    <a:gd name="connsiteX547" fmla="*/ 555401 w 1696389"/>
                    <a:gd name="connsiteY547" fmla="*/ 1110803 h 1400577"/>
                    <a:gd name="connsiteX548" fmla="*/ 542724 w 1696389"/>
                    <a:gd name="connsiteY548" fmla="*/ 1110803 h 1400577"/>
                    <a:gd name="connsiteX549" fmla="*/ 543328 w 1696389"/>
                    <a:gd name="connsiteY549" fmla="*/ 1120462 h 1400577"/>
                    <a:gd name="connsiteX550" fmla="*/ 544535 w 1696389"/>
                    <a:gd name="connsiteY550" fmla="*/ 1122273 h 1400577"/>
                    <a:gd name="connsiteX551" fmla="*/ 542724 w 1696389"/>
                    <a:gd name="connsiteY551" fmla="*/ 1127707 h 1400577"/>
                    <a:gd name="connsiteX552" fmla="*/ 539705 w 1696389"/>
                    <a:gd name="connsiteY552" fmla="*/ 1130725 h 1400577"/>
                    <a:gd name="connsiteX553" fmla="*/ 534272 w 1696389"/>
                    <a:gd name="connsiteY553" fmla="*/ 1130121 h 1400577"/>
                    <a:gd name="connsiteX554" fmla="*/ 531857 w 1696389"/>
                    <a:gd name="connsiteY554" fmla="*/ 1134951 h 1400577"/>
                    <a:gd name="connsiteX555" fmla="*/ 522198 w 1696389"/>
                    <a:gd name="connsiteY555" fmla="*/ 1134951 h 1400577"/>
                    <a:gd name="connsiteX556" fmla="*/ 524009 w 1696389"/>
                    <a:gd name="connsiteY556" fmla="*/ 1128914 h 1400577"/>
                    <a:gd name="connsiteX557" fmla="*/ 519783 w 1696389"/>
                    <a:gd name="connsiteY557" fmla="*/ 1129518 h 1400577"/>
                    <a:gd name="connsiteX558" fmla="*/ 513143 w 1696389"/>
                    <a:gd name="connsiteY558" fmla="*/ 1127707 h 1400577"/>
                    <a:gd name="connsiteX559" fmla="*/ 513143 w 1696389"/>
                    <a:gd name="connsiteY559" fmla="*/ 1123481 h 1400577"/>
                    <a:gd name="connsiteX560" fmla="*/ 504087 w 1696389"/>
                    <a:gd name="connsiteY560" fmla="*/ 1117444 h 1400577"/>
                    <a:gd name="connsiteX561" fmla="*/ 503484 w 1696389"/>
                    <a:gd name="connsiteY561" fmla="*/ 1112010 h 1400577"/>
                    <a:gd name="connsiteX562" fmla="*/ 494428 w 1696389"/>
                    <a:gd name="connsiteY562" fmla="*/ 1113821 h 1400577"/>
                    <a:gd name="connsiteX563" fmla="*/ 485373 w 1696389"/>
                    <a:gd name="connsiteY563" fmla="*/ 1112614 h 1400577"/>
                    <a:gd name="connsiteX564" fmla="*/ 481147 w 1696389"/>
                    <a:gd name="connsiteY564" fmla="*/ 1116236 h 1400577"/>
                    <a:gd name="connsiteX565" fmla="*/ 475110 w 1696389"/>
                    <a:gd name="connsiteY565" fmla="*/ 1115633 h 1400577"/>
                    <a:gd name="connsiteX566" fmla="*/ 471488 w 1696389"/>
                    <a:gd name="connsiteY566" fmla="*/ 1113218 h 1400577"/>
                    <a:gd name="connsiteX567" fmla="*/ 469073 w 1696389"/>
                    <a:gd name="connsiteY567" fmla="*/ 1116840 h 1400577"/>
                    <a:gd name="connsiteX568" fmla="*/ 474506 w 1696389"/>
                    <a:gd name="connsiteY568" fmla="*/ 1121066 h 1400577"/>
                    <a:gd name="connsiteX569" fmla="*/ 477525 w 1696389"/>
                    <a:gd name="connsiteY569" fmla="*/ 1121066 h 1400577"/>
                    <a:gd name="connsiteX570" fmla="*/ 476921 w 1696389"/>
                    <a:gd name="connsiteY570" fmla="*/ 1127103 h 1400577"/>
                    <a:gd name="connsiteX571" fmla="*/ 473902 w 1696389"/>
                    <a:gd name="connsiteY571" fmla="*/ 1126499 h 1400577"/>
                    <a:gd name="connsiteX572" fmla="*/ 466054 w 1696389"/>
                    <a:gd name="connsiteY572" fmla="*/ 1131932 h 1400577"/>
                    <a:gd name="connsiteX573" fmla="*/ 467262 w 1696389"/>
                    <a:gd name="connsiteY573" fmla="*/ 1147025 h 1400577"/>
                    <a:gd name="connsiteX574" fmla="*/ 468469 w 1696389"/>
                    <a:gd name="connsiteY574" fmla="*/ 1150043 h 1400577"/>
                    <a:gd name="connsiteX575" fmla="*/ 454584 w 1696389"/>
                    <a:gd name="connsiteY575" fmla="*/ 1150043 h 1400577"/>
                    <a:gd name="connsiteX576" fmla="*/ 453377 w 1696389"/>
                    <a:gd name="connsiteY576" fmla="*/ 1152458 h 1400577"/>
                    <a:gd name="connsiteX577" fmla="*/ 438888 w 1696389"/>
                    <a:gd name="connsiteY577" fmla="*/ 1154873 h 1400577"/>
                    <a:gd name="connsiteX578" fmla="*/ 429832 w 1696389"/>
                    <a:gd name="connsiteY578" fmla="*/ 1162117 h 1400577"/>
                    <a:gd name="connsiteX579" fmla="*/ 421984 w 1696389"/>
                    <a:gd name="connsiteY579" fmla="*/ 1162117 h 1400577"/>
                    <a:gd name="connsiteX580" fmla="*/ 421381 w 1696389"/>
                    <a:gd name="connsiteY580" fmla="*/ 1170569 h 1400577"/>
                    <a:gd name="connsiteX581" fmla="*/ 416551 w 1696389"/>
                    <a:gd name="connsiteY581" fmla="*/ 1172984 h 1400577"/>
                    <a:gd name="connsiteX582" fmla="*/ 414136 w 1696389"/>
                    <a:gd name="connsiteY582" fmla="*/ 1179021 h 1400577"/>
                    <a:gd name="connsiteX583" fmla="*/ 421381 w 1696389"/>
                    <a:gd name="connsiteY583" fmla="*/ 1183247 h 1400577"/>
                    <a:gd name="connsiteX584" fmla="*/ 414740 w 1696389"/>
                    <a:gd name="connsiteY584" fmla="*/ 1186869 h 1400577"/>
                    <a:gd name="connsiteX585" fmla="*/ 410514 w 1696389"/>
                    <a:gd name="connsiteY585" fmla="*/ 1185661 h 1400577"/>
                    <a:gd name="connsiteX586" fmla="*/ 410514 w 1696389"/>
                    <a:gd name="connsiteY586" fmla="*/ 1190491 h 1400577"/>
                    <a:gd name="connsiteX587" fmla="*/ 405081 w 1696389"/>
                    <a:gd name="connsiteY587" fmla="*/ 1193509 h 1400577"/>
                    <a:gd name="connsiteX588" fmla="*/ 396629 w 1696389"/>
                    <a:gd name="connsiteY588" fmla="*/ 1197132 h 1400577"/>
                    <a:gd name="connsiteX589" fmla="*/ 393611 w 1696389"/>
                    <a:gd name="connsiteY589" fmla="*/ 1195320 h 1400577"/>
                    <a:gd name="connsiteX590" fmla="*/ 394818 w 1696389"/>
                    <a:gd name="connsiteY590" fmla="*/ 1188680 h 1400577"/>
                    <a:gd name="connsiteX591" fmla="*/ 391800 w 1696389"/>
                    <a:gd name="connsiteY591" fmla="*/ 1188680 h 1400577"/>
                    <a:gd name="connsiteX592" fmla="*/ 391800 w 1696389"/>
                    <a:gd name="connsiteY592" fmla="*/ 1179625 h 1400577"/>
                    <a:gd name="connsiteX593" fmla="*/ 380329 w 1696389"/>
                    <a:gd name="connsiteY593" fmla="*/ 1180832 h 1400577"/>
                    <a:gd name="connsiteX594" fmla="*/ 376707 w 1696389"/>
                    <a:gd name="connsiteY594" fmla="*/ 1173588 h 1400577"/>
                    <a:gd name="connsiteX595" fmla="*/ 374292 w 1696389"/>
                    <a:gd name="connsiteY595" fmla="*/ 1175399 h 1400577"/>
                    <a:gd name="connsiteX596" fmla="*/ 375500 w 1696389"/>
                    <a:gd name="connsiteY596" fmla="*/ 1185661 h 1400577"/>
                    <a:gd name="connsiteX597" fmla="*/ 368859 w 1696389"/>
                    <a:gd name="connsiteY597" fmla="*/ 1186869 h 1400577"/>
                    <a:gd name="connsiteX598" fmla="*/ 366444 w 1696389"/>
                    <a:gd name="connsiteY598" fmla="*/ 1190491 h 1400577"/>
                    <a:gd name="connsiteX599" fmla="*/ 361615 w 1696389"/>
                    <a:gd name="connsiteY599" fmla="*/ 1191698 h 1400577"/>
                    <a:gd name="connsiteX600" fmla="*/ 359804 w 1696389"/>
                    <a:gd name="connsiteY600" fmla="*/ 1195320 h 1400577"/>
                    <a:gd name="connsiteX601" fmla="*/ 359804 w 1696389"/>
                    <a:gd name="connsiteY601" fmla="*/ 1200754 h 1400577"/>
                    <a:gd name="connsiteX602" fmla="*/ 357389 w 1696389"/>
                    <a:gd name="connsiteY602" fmla="*/ 1202565 h 1400577"/>
                    <a:gd name="connsiteX603" fmla="*/ 346522 w 1696389"/>
                    <a:gd name="connsiteY603" fmla="*/ 1196528 h 1400577"/>
                    <a:gd name="connsiteX604" fmla="*/ 341693 w 1696389"/>
                    <a:gd name="connsiteY604" fmla="*/ 1201961 h 1400577"/>
                    <a:gd name="connsiteX605" fmla="*/ 335052 w 1696389"/>
                    <a:gd name="connsiteY605" fmla="*/ 1198943 h 1400577"/>
                    <a:gd name="connsiteX606" fmla="*/ 335052 w 1696389"/>
                    <a:gd name="connsiteY606" fmla="*/ 1203772 h 1400577"/>
                    <a:gd name="connsiteX607" fmla="*/ 337467 w 1696389"/>
                    <a:gd name="connsiteY607" fmla="*/ 1206791 h 1400577"/>
                    <a:gd name="connsiteX608" fmla="*/ 332637 w 1696389"/>
                    <a:gd name="connsiteY608" fmla="*/ 1208602 h 1400577"/>
                    <a:gd name="connsiteX609" fmla="*/ 333845 w 1696389"/>
                    <a:gd name="connsiteY609" fmla="*/ 1213431 h 1400577"/>
                    <a:gd name="connsiteX610" fmla="*/ 337467 w 1696389"/>
                    <a:gd name="connsiteY610" fmla="*/ 1207394 h 1400577"/>
                    <a:gd name="connsiteX611" fmla="*/ 339882 w 1696389"/>
                    <a:gd name="connsiteY611" fmla="*/ 1207998 h 1400577"/>
                    <a:gd name="connsiteX612" fmla="*/ 338674 w 1696389"/>
                    <a:gd name="connsiteY612" fmla="*/ 1214035 h 1400577"/>
                    <a:gd name="connsiteX613" fmla="*/ 344711 w 1696389"/>
                    <a:gd name="connsiteY613" fmla="*/ 1218865 h 1400577"/>
                    <a:gd name="connsiteX614" fmla="*/ 347730 w 1696389"/>
                    <a:gd name="connsiteY614" fmla="*/ 1218865 h 1400577"/>
                    <a:gd name="connsiteX615" fmla="*/ 348937 w 1696389"/>
                    <a:gd name="connsiteY615" fmla="*/ 1229731 h 1400577"/>
                    <a:gd name="connsiteX616" fmla="*/ 353163 w 1696389"/>
                    <a:gd name="connsiteY616" fmla="*/ 1229128 h 1400577"/>
                    <a:gd name="connsiteX617" fmla="*/ 354370 w 1696389"/>
                    <a:gd name="connsiteY617" fmla="*/ 1231542 h 1400577"/>
                    <a:gd name="connsiteX618" fmla="*/ 347126 w 1696389"/>
                    <a:gd name="connsiteY618" fmla="*/ 1232146 h 1400577"/>
                    <a:gd name="connsiteX619" fmla="*/ 344711 w 1696389"/>
                    <a:gd name="connsiteY619" fmla="*/ 1239994 h 1400577"/>
                    <a:gd name="connsiteX620" fmla="*/ 347126 w 1696389"/>
                    <a:gd name="connsiteY620" fmla="*/ 1242409 h 1400577"/>
                    <a:gd name="connsiteX621" fmla="*/ 350144 w 1696389"/>
                    <a:gd name="connsiteY621" fmla="*/ 1253276 h 1400577"/>
                    <a:gd name="connsiteX622" fmla="*/ 345919 w 1696389"/>
                    <a:gd name="connsiteY622" fmla="*/ 1255690 h 1400577"/>
                    <a:gd name="connsiteX623" fmla="*/ 347730 w 1696389"/>
                    <a:gd name="connsiteY623" fmla="*/ 1258709 h 1400577"/>
                    <a:gd name="connsiteX624" fmla="*/ 353163 w 1696389"/>
                    <a:gd name="connsiteY624" fmla="*/ 1253879 h 1400577"/>
                    <a:gd name="connsiteX625" fmla="*/ 356785 w 1696389"/>
                    <a:gd name="connsiteY625" fmla="*/ 1252672 h 1400577"/>
                    <a:gd name="connsiteX626" fmla="*/ 358596 w 1696389"/>
                    <a:gd name="connsiteY626" fmla="*/ 1256294 h 1400577"/>
                    <a:gd name="connsiteX627" fmla="*/ 365237 w 1696389"/>
                    <a:gd name="connsiteY627" fmla="*/ 1255690 h 1400577"/>
                    <a:gd name="connsiteX628" fmla="*/ 365237 w 1696389"/>
                    <a:gd name="connsiteY628" fmla="*/ 1260520 h 1400577"/>
                    <a:gd name="connsiteX629" fmla="*/ 377914 w 1696389"/>
                    <a:gd name="connsiteY629" fmla="*/ 1262935 h 1400577"/>
                    <a:gd name="connsiteX630" fmla="*/ 382744 w 1696389"/>
                    <a:gd name="connsiteY630" fmla="*/ 1267764 h 1400577"/>
                    <a:gd name="connsiteX631" fmla="*/ 382140 w 1696389"/>
                    <a:gd name="connsiteY631" fmla="*/ 1270179 h 1400577"/>
                    <a:gd name="connsiteX632" fmla="*/ 383951 w 1696389"/>
                    <a:gd name="connsiteY632" fmla="*/ 1275009 h 1400577"/>
                    <a:gd name="connsiteX633" fmla="*/ 380933 w 1696389"/>
                    <a:gd name="connsiteY633" fmla="*/ 1276820 h 1400577"/>
                    <a:gd name="connsiteX634" fmla="*/ 379122 w 1696389"/>
                    <a:gd name="connsiteY634" fmla="*/ 1285272 h 1400577"/>
                    <a:gd name="connsiteX635" fmla="*/ 380933 w 1696389"/>
                    <a:gd name="connsiteY635" fmla="*/ 1291308 h 1400577"/>
                    <a:gd name="connsiteX636" fmla="*/ 379122 w 1696389"/>
                    <a:gd name="connsiteY636" fmla="*/ 1296742 h 1400577"/>
                    <a:gd name="connsiteX637" fmla="*/ 373689 w 1696389"/>
                    <a:gd name="connsiteY637" fmla="*/ 1293723 h 1400577"/>
                    <a:gd name="connsiteX638" fmla="*/ 367652 w 1696389"/>
                    <a:gd name="connsiteY638" fmla="*/ 1291912 h 1400577"/>
                    <a:gd name="connsiteX639" fmla="*/ 361615 w 1696389"/>
                    <a:gd name="connsiteY639" fmla="*/ 1296138 h 1400577"/>
                    <a:gd name="connsiteX640" fmla="*/ 354370 w 1696389"/>
                    <a:gd name="connsiteY640" fmla="*/ 1302779 h 1400577"/>
                    <a:gd name="connsiteX641" fmla="*/ 358596 w 1696389"/>
                    <a:gd name="connsiteY641" fmla="*/ 1308212 h 1400577"/>
                    <a:gd name="connsiteX642" fmla="*/ 362822 w 1696389"/>
                    <a:gd name="connsiteY642" fmla="*/ 1305193 h 1400577"/>
                    <a:gd name="connsiteX643" fmla="*/ 368859 w 1696389"/>
                    <a:gd name="connsiteY643" fmla="*/ 1303382 h 1400577"/>
                    <a:gd name="connsiteX644" fmla="*/ 374896 w 1696389"/>
                    <a:gd name="connsiteY644" fmla="*/ 1305797 h 1400577"/>
                    <a:gd name="connsiteX645" fmla="*/ 373689 w 1696389"/>
                    <a:gd name="connsiteY645" fmla="*/ 1310627 h 1400577"/>
                    <a:gd name="connsiteX646" fmla="*/ 370670 w 1696389"/>
                    <a:gd name="connsiteY646" fmla="*/ 1316060 h 1400577"/>
                    <a:gd name="connsiteX647" fmla="*/ 370670 w 1696389"/>
                    <a:gd name="connsiteY647" fmla="*/ 1319078 h 1400577"/>
                    <a:gd name="connsiteX648" fmla="*/ 367652 w 1696389"/>
                    <a:gd name="connsiteY648" fmla="*/ 1326323 h 1400577"/>
                    <a:gd name="connsiteX649" fmla="*/ 359200 w 1696389"/>
                    <a:gd name="connsiteY649" fmla="*/ 1337189 h 1400577"/>
                    <a:gd name="connsiteX650" fmla="*/ 360407 w 1696389"/>
                    <a:gd name="connsiteY650" fmla="*/ 1342623 h 1400577"/>
                    <a:gd name="connsiteX651" fmla="*/ 354370 w 1696389"/>
                    <a:gd name="connsiteY651" fmla="*/ 1342623 h 1400577"/>
                    <a:gd name="connsiteX652" fmla="*/ 350748 w 1696389"/>
                    <a:gd name="connsiteY652" fmla="*/ 1345641 h 1400577"/>
                    <a:gd name="connsiteX653" fmla="*/ 351352 w 1696389"/>
                    <a:gd name="connsiteY653" fmla="*/ 1348056 h 1400577"/>
                    <a:gd name="connsiteX654" fmla="*/ 357992 w 1696389"/>
                    <a:gd name="connsiteY654" fmla="*/ 1348660 h 1400577"/>
                    <a:gd name="connsiteX655" fmla="*/ 354370 w 1696389"/>
                    <a:gd name="connsiteY655" fmla="*/ 1355904 h 1400577"/>
                    <a:gd name="connsiteX656" fmla="*/ 355578 w 1696389"/>
                    <a:gd name="connsiteY656" fmla="*/ 1359526 h 1400577"/>
                    <a:gd name="connsiteX657" fmla="*/ 353163 w 1696389"/>
                    <a:gd name="connsiteY657" fmla="*/ 1364356 h 1400577"/>
                    <a:gd name="connsiteX658" fmla="*/ 350748 w 1696389"/>
                    <a:gd name="connsiteY658" fmla="*/ 1366167 h 1400577"/>
                    <a:gd name="connsiteX659" fmla="*/ 345919 w 1696389"/>
                    <a:gd name="connsiteY659" fmla="*/ 1364960 h 1400577"/>
                    <a:gd name="connsiteX660" fmla="*/ 344711 w 1696389"/>
                    <a:gd name="connsiteY660" fmla="*/ 1367978 h 1400577"/>
                    <a:gd name="connsiteX661" fmla="*/ 338674 w 1696389"/>
                    <a:gd name="connsiteY661" fmla="*/ 1371600 h 1400577"/>
                    <a:gd name="connsiteX662" fmla="*/ 334448 w 1696389"/>
                    <a:gd name="connsiteY662" fmla="*/ 1368582 h 1400577"/>
                    <a:gd name="connsiteX663" fmla="*/ 328411 w 1696389"/>
                    <a:gd name="connsiteY663" fmla="*/ 1370393 h 1400577"/>
                    <a:gd name="connsiteX664" fmla="*/ 326600 w 1696389"/>
                    <a:gd name="connsiteY664" fmla="*/ 1367374 h 1400577"/>
                    <a:gd name="connsiteX665" fmla="*/ 327808 w 1696389"/>
                    <a:gd name="connsiteY665" fmla="*/ 1362545 h 1400577"/>
                    <a:gd name="connsiteX666" fmla="*/ 322978 w 1696389"/>
                    <a:gd name="connsiteY666" fmla="*/ 1363149 h 1400577"/>
                    <a:gd name="connsiteX667" fmla="*/ 321771 w 1696389"/>
                    <a:gd name="connsiteY667" fmla="*/ 1367374 h 1400577"/>
                    <a:gd name="connsiteX668" fmla="*/ 318752 w 1696389"/>
                    <a:gd name="connsiteY668" fmla="*/ 1369186 h 1400577"/>
                    <a:gd name="connsiteX669" fmla="*/ 312715 w 1696389"/>
                    <a:gd name="connsiteY669" fmla="*/ 1369186 h 1400577"/>
                    <a:gd name="connsiteX670" fmla="*/ 310904 w 1696389"/>
                    <a:gd name="connsiteY670" fmla="*/ 1372808 h 1400577"/>
                    <a:gd name="connsiteX671" fmla="*/ 306075 w 1696389"/>
                    <a:gd name="connsiteY671" fmla="*/ 1375223 h 1400577"/>
                    <a:gd name="connsiteX672" fmla="*/ 307282 w 1696389"/>
                    <a:gd name="connsiteY672" fmla="*/ 1380052 h 1400577"/>
                    <a:gd name="connsiteX673" fmla="*/ 305471 w 1696389"/>
                    <a:gd name="connsiteY673" fmla="*/ 1384882 h 1400577"/>
                    <a:gd name="connsiteX674" fmla="*/ 298226 w 1696389"/>
                    <a:gd name="connsiteY674" fmla="*/ 1387296 h 1400577"/>
                    <a:gd name="connsiteX675" fmla="*/ 304263 w 1696389"/>
                    <a:gd name="connsiteY675" fmla="*/ 1390919 h 1400577"/>
                    <a:gd name="connsiteX676" fmla="*/ 294604 w 1696389"/>
                    <a:gd name="connsiteY676" fmla="*/ 1395748 h 1400577"/>
                    <a:gd name="connsiteX677" fmla="*/ 286153 w 1696389"/>
                    <a:gd name="connsiteY677" fmla="*/ 1396955 h 1400577"/>
                    <a:gd name="connsiteX678" fmla="*/ 283738 w 1696389"/>
                    <a:gd name="connsiteY678" fmla="*/ 1400578 h 1400577"/>
                    <a:gd name="connsiteX679" fmla="*/ 278908 w 1696389"/>
                    <a:gd name="connsiteY679" fmla="*/ 1399370 h 1400577"/>
                    <a:gd name="connsiteX680" fmla="*/ 273475 w 1696389"/>
                    <a:gd name="connsiteY680" fmla="*/ 1395144 h 1400577"/>
                    <a:gd name="connsiteX681" fmla="*/ 271664 w 1696389"/>
                    <a:gd name="connsiteY681" fmla="*/ 1392126 h 1400577"/>
                    <a:gd name="connsiteX682" fmla="*/ 272871 w 1696389"/>
                    <a:gd name="connsiteY682" fmla="*/ 1388504 h 1400577"/>
                    <a:gd name="connsiteX683" fmla="*/ 272267 w 1696389"/>
                    <a:gd name="connsiteY683" fmla="*/ 1382467 h 1400577"/>
                    <a:gd name="connsiteX684" fmla="*/ 269249 w 1696389"/>
                    <a:gd name="connsiteY684" fmla="*/ 1380656 h 1400577"/>
                    <a:gd name="connsiteX685" fmla="*/ 269853 w 1696389"/>
                    <a:gd name="connsiteY685" fmla="*/ 1377637 h 1400577"/>
                    <a:gd name="connsiteX686" fmla="*/ 266834 w 1696389"/>
                    <a:gd name="connsiteY686" fmla="*/ 1370997 h 1400577"/>
                    <a:gd name="connsiteX687" fmla="*/ 259590 w 1696389"/>
                    <a:gd name="connsiteY687" fmla="*/ 1370997 h 1400577"/>
                    <a:gd name="connsiteX688" fmla="*/ 253553 w 1696389"/>
                    <a:gd name="connsiteY688" fmla="*/ 1368582 h 1400577"/>
                    <a:gd name="connsiteX689" fmla="*/ 254760 w 1696389"/>
                    <a:gd name="connsiteY689" fmla="*/ 1364960 h 1400577"/>
                    <a:gd name="connsiteX690" fmla="*/ 250534 w 1696389"/>
                    <a:gd name="connsiteY690" fmla="*/ 1358923 h 1400577"/>
                    <a:gd name="connsiteX691" fmla="*/ 245101 w 1696389"/>
                    <a:gd name="connsiteY691" fmla="*/ 1366771 h 1400577"/>
                    <a:gd name="connsiteX692" fmla="*/ 243894 w 1696389"/>
                    <a:gd name="connsiteY692" fmla="*/ 1372204 h 1400577"/>
                    <a:gd name="connsiteX693" fmla="*/ 240875 w 1696389"/>
                    <a:gd name="connsiteY693" fmla="*/ 1371600 h 1400577"/>
                    <a:gd name="connsiteX694" fmla="*/ 234235 w 1696389"/>
                    <a:gd name="connsiteY694" fmla="*/ 1375223 h 1400577"/>
                    <a:gd name="connsiteX695" fmla="*/ 231820 w 1696389"/>
                    <a:gd name="connsiteY695" fmla="*/ 1373411 h 1400577"/>
                    <a:gd name="connsiteX696" fmla="*/ 226386 w 1696389"/>
                    <a:gd name="connsiteY696" fmla="*/ 1373411 h 1400577"/>
                    <a:gd name="connsiteX697" fmla="*/ 224575 w 1696389"/>
                    <a:gd name="connsiteY697" fmla="*/ 1375826 h 1400577"/>
                    <a:gd name="connsiteX698" fmla="*/ 220349 w 1696389"/>
                    <a:gd name="connsiteY698" fmla="*/ 1375223 h 1400577"/>
                    <a:gd name="connsiteX699" fmla="*/ 217935 w 1696389"/>
                    <a:gd name="connsiteY699" fmla="*/ 1375223 h 1400577"/>
                    <a:gd name="connsiteX700" fmla="*/ 214916 w 1696389"/>
                    <a:gd name="connsiteY700" fmla="*/ 1374015 h 1400577"/>
                    <a:gd name="connsiteX701" fmla="*/ 212501 w 1696389"/>
                    <a:gd name="connsiteY701" fmla="*/ 1374619 h 1400577"/>
                    <a:gd name="connsiteX702" fmla="*/ 206465 w 1696389"/>
                    <a:gd name="connsiteY702" fmla="*/ 1370997 h 1400577"/>
                    <a:gd name="connsiteX703" fmla="*/ 208879 w 1696389"/>
                    <a:gd name="connsiteY703" fmla="*/ 1367374 h 1400577"/>
                    <a:gd name="connsiteX704" fmla="*/ 205861 w 1696389"/>
                    <a:gd name="connsiteY704" fmla="*/ 1358319 h 1400577"/>
                    <a:gd name="connsiteX705" fmla="*/ 201031 w 1696389"/>
                    <a:gd name="connsiteY705" fmla="*/ 1347452 h 1400577"/>
                    <a:gd name="connsiteX706" fmla="*/ 198013 w 1696389"/>
                    <a:gd name="connsiteY706" fmla="*/ 1343830 h 1400577"/>
                    <a:gd name="connsiteX707" fmla="*/ 192579 w 1696389"/>
                    <a:gd name="connsiteY707" fmla="*/ 1334775 h 1400577"/>
                    <a:gd name="connsiteX708" fmla="*/ 185335 w 1696389"/>
                    <a:gd name="connsiteY708" fmla="*/ 1331152 h 1400577"/>
                    <a:gd name="connsiteX709" fmla="*/ 176883 w 1696389"/>
                    <a:gd name="connsiteY709" fmla="*/ 1328738 h 1400577"/>
                    <a:gd name="connsiteX710" fmla="*/ 176280 w 1696389"/>
                    <a:gd name="connsiteY710" fmla="*/ 1323908 h 1400577"/>
                    <a:gd name="connsiteX711" fmla="*/ 173261 w 1696389"/>
                    <a:gd name="connsiteY711" fmla="*/ 1319682 h 1400577"/>
                    <a:gd name="connsiteX712" fmla="*/ 173261 w 1696389"/>
                    <a:gd name="connsiteY712" fmla="*/ 1313041 h 1400577"/>
                    <a:gd name="connsiteX713" fmla="*/ 171450 w 1696389"/>
                    <a:gd name="connsiteY713" fmla="*/ 1307608 h 1400577"/>
                    <a:gd name="connsiteX714" fmla="*/ 166017 w 1696389"/>
                    <a:gd name="connsiteY714" fmla="*/ 1303382 h 1400577"/>
                    <a:gd name="connsiteX715" fmla="*/ 167828 w 1696389"/>
                    <a:gd name="connsiteY715" fmla="*/ 1300364 h 1400577"/>
                    <a:gd name="connsiteX716" fmla="*/ 164809 w 1696389"/>
                    <a:gd name="connsiteY716" fmla="*/ 1282253 h 1400577"/>
                    <a:gd name="connsiteX717" fmla="*/ 161791 w 1696389"/>
                    <a:gd name="connsiteY717" fmla="*/ 1273198 h 1400577"/>
                    <a:gd name="connsiteX718" fmla="*/ 158169 w 1696389"/>
                    <a:gd name="connsiteY718" fmla="*/ 1262935 h 1400577"/>
                    <a:gd name="connsiteX719" fmla="*/ 155754 w 1696389"/>
                    <a:gd name="connsiteY719" fmla="*/ 1252068 h 1400577"/>
                    <a:gd name="connsiteX720" fmla="*/ 151528 w 1696389"/>
                    <a:gd name="connsiteY720" fmla="*/ 1243013 h 1400577"/>
                    <a:gd name="connsiteX721" fmla="*/ 152132 w 1696389"/>
                    <a:gd name="connsiteY721" fmla="*/ 1239391 h 1400577"/>
                    <a:gd name="connsiteX722" fmla="*/ 147906 w 1696389"/>
                    <a:gd name="connsiteY722" fmla="*/ 1237579 h 1400577"/>
                    <a:gd name="connsiteX723" fmla="*/ 147302 w 1696389"/>
                    <a:gd name="connsiteY723" fmla="*/ 1230335 h 1400577"/>
                    <a:gd name="connsiteX724" fmla="*/ 145491 w 1696389"/>
                    <a:gd name="connsiteY724" fmla="*/ 1220072 h 1400577"/>
                    <a:gd name="connsiteX725" fmla="*/ 140058 w 1696389"/>
                    <a:gd name="connsiteY725" fmla="*/ 1210413 h 1400577"/>
                    <a:gd name="connsiteX726" fmla="*/ 138850 w 1696389"/>
                    <a:gd name="connsiteY726" fmla="*/ 1205583 h 1400577"/>
                    <a:gd name="connsiteX727" fmla="*/ 136436 w 1696389"/>
                    <a:gd name="connsiteY727" fmla="*/ 1200754 h 1400577"/>
                    <a:gd name="connsiteX728" fmla="*/ 139454 w 1696389"/>
                    <a:gd name="connsiteY728" fmla="*/ 1195924 h 1400577"/>
                    <a:gd name="connsiteX729" fmla="*/ 142473 w 1696389"/>
                    <a:gd name="connsiteY729" fmla="*/ 1194113 h 1400577"/>
                    <a:gd name="connsiteX730" fmla="*/ 138247 w 1696389"/>
                    <a:gd name="connsiteY730" fmla="*/ 1190491 h 1400577"/>
                    <a:gd name="connsiteX731" fmla="*/ 137039 w 1696389"/>
                    <a:gd name="connsiteY731" fmla="*/ 1186869 h 1400577"/>
                    <a:gd name="connsiteX732" fmla="*/ 142473 w 1696389"/>
                    <a:gd name="connsiteY732" fmla="*/ 1186265 h 1400577"/>
                    <a:gd name="connsiteX733" fmla="*/ 144284 w 1696389"/>
                    <a:gd name="connsiteY733" fmla="*/ 1182039 h 1400577"/>
                    <a:gd name="connsiteX734" fmla="*/ 140661 w 1696389"/>
                    <a:gd name="connsiteY734" fmla="*/ 1177813 h 1400577"/>
                    <a:gd name="connsiteX735" fmla="*/ 140058 w 1696389"/>
                    <a:gd name="connsiteY735" fmla="*/ 1168154 h 1400577"/>
                    <a:gd name="connsiteX736" fmla="*/ 135228 w 1696389"/>
                    <a:gd name="connsiteY736" fmla="*/ 1159099 h 1400577"/>
                    <a:gd name="connsiteX737" fmla="*/ 134625 w 1696389"/>
                    <a:gd name="connsiteY737" fmla="*/ 1150647 h 1400577"/>
                    <a:gd name="connsiteX738" fmla="*/ 137643 w 1696389"/>
                    <a:gd name="connsiteY738" fmla="*/ 1144610 h 1400577"/>
                    <a:gd name="connsiteX739" fmla="*/ 137039 w 1696389"/>
                    <a:gd name="connsiteY739" fmla="*/ 1142195 h 1400577"/>
                    <a:gd name="connsiteX740" fmla="*/ 132813 w 1696389"/>
                    <a:gd name="connsiteY740" fmla="*/ 1140384 h 1400577"/>
                    <a:gd name="connsiteX741" fmla="*/ 132210 w 1696389"/>
                    <a:gd name="connsiteY741" fmla="*/ 1128310 h 1400577"/>
                    <a:gd name="connsiteX742" fmla="*/ 134021 w 1696389"/>
                    <a:gd name="connsiteY742" fmla="*/ 1124084 h 1400577"/>
                    <a:gd name="connsiteX743" fmla="*/ 129795 w 1696389"/>
                    <a:gd name="connsiteY743" fmla="*/ 1121066 h 1400577"/>
                    <a:gd name="connsiteX744" fmla="*/ 131002 w 1696389"/>
                    <a:gd name="connsiteY744" fmla="*/ 1118651 h 1400577"/>
                    <a:gd name="connsiteX745" fmla="*/ 130399 w 1696389"/>
                    <a:gd name="connsiteY745" fmla="*/ 1112010 h 1400577"/>
                    <a:gd name="connsiteX746" fmla="*/ 132210 w 1696389"/>
                    <a:gd name="connsiteY746" fmla="*/ 1110199 h 1400577"/>
                    <a:gd name="connsiteX747" fmla="*/ 132813 w 1696389"/>
                    <a:gd name="connsiteY747" fmla="*/ 1103559 h 1400577"/>
                    <a:gd name="connsiteX748" fmla="*/ 129191 w 1696389"/>
                    <a:gd name="connsiteY748" fmla="*/ 1102351 h 1400577"/>
                    <a:gd name="connsiteX749" fmla="*/ 130399 w 1696389"/>
                    <a:gd name="connsiteY749" fmla="*/ 1098125 h 1400577"/>
                    <a:gd name="connsiteX750" fmla="*/ 129191 w 1696389"/>
                    <a:gd name="connsiteY750" fmla="*/ 1095710 h 1400577"/>
                    <a:gd name="connsiteX751" fmla="*/ 125569 w 1696389"/>
                    <a:gd name="connsiteY751" fmla="*/ 1096314 h 1400577"/>
                    <a:gd name="connsiteX752" fmla="*/ 124965 w 1696389"/>
                    <a:gd name="connsiteY752" fmla="*/ 1090277 h 1400577"/>
                    <a:gd name="connsiteX753" fmla="*/ 131002 w 1696389"/>
                    <a:gd name="connsiteY753" fmla="*/ 1092692 h 1400577"/>
                    <a:gd name="connsiteX754" fmla="*/ 131606 w 1696389"/>
                    <a:gd name="connsiteY754" fmla="*/ 1084240 h 1400577"/>
                    <a:gd name="connsiteX755" fmla="*/ 131002 w 1696389"/>
                    <a:gd name="connsiteY755" fmla="*/ 1077600 h 1400577"/>
                    <a:gd name="connsiteX756" fmla="*/ 127984 w 1696389"/>
                    <a:gd name="connsiteY756" fmla="*/ 1074581 h 1400577"/>
                    <a:gd name="connsiteX757" fmla="*/ 122551 w 1696389"/>
                    <a:gd name="connsiteY757" fmla="*/ 1055867 h 1400577"/>
                    <a:gd name="connsiteX758" fmla="*/ 117721 w 1696389"/>
                    <a:gd name="connsiteY758" fmla="*/ 1043189 h 1400577"/>
                    <a:gd name="connsiteX759" fmla="*/ 114099 w 1696389"/>
                    <a:gd name="connsiteY759" fmla="*/ 1042585 h 1400577"/>
                    <a:gd name="connsiteX760" fmla="*/ 112891 w 1696389"/>
                    <a:gd name="connsiteY760" fmla="*/ 1038359 h 1400577"/>
                    <a:gd name="connsiteX761" fmla="*/ 121947 w 1696389"/>
                    <a:gd name="connsiteY761" fmla="*/ 1032322 h 1400577"/>
                    <a:gd name="connsiteX762" fmla="*/ 117117 w 1696389"/>
                    <a:gd name="connsiteY762" fmla="*/ 1029304 h 1400577"/>
                    <a:gd name="connsiteX763" fmla="*/ 117117 w 1696389"/>
                    <a:gd name="connsiteY763" fmla="*/ 1024474 h 1400577"/>
                    <a:gd name="connsiteX764" fmla="*/ 114702 w 1696389"/>
                    <a:gd name="connsiteY764" fmla="*/ 1017834 h 1400577"/>
                    <a:gd name="connsiteX765" fmla="*/ 108665 w 1696389"/>
                    <a:gd name="connsiteY765" fmla="*/ 1017230 h 1400577"/>
                    <a:gd name="connsiteX766" fmla="*/ 106251 w 1696389"/>
                    <a:gd name="connsiteY766" fmla="*/ 1013004 h 1400577"/>
                    <a:gd name="connsiteX767" fmla="*/ 109873 w 1696389"/>
                    <a:gd name="connsiteY767" fmla="*/ 1011797 h 1400577"/>
                    <a:gd name="connsiteX768" fmla="*/ 109873 w 1696389"/>
                    <a:gd name="connsiteY768" fmla="*/ 1002137 h 1400577"/>
                    <a:gd name="connsiteX769" fmla="*/ 111684 w 1696389"/>
                    <a:gd name="connsiteY769" fmla="*/ 1000326 h 1400577"/>
                    <a:gd name="connsiteX770" fmla="*/ 109269 w 1696389"/>
                    <a:gd name="connsiteY770" fmla="*/ 991271 h 1400577"/>
                    <a:gd name="connsiteX771" fmla="*/ 101421 w 1696389"/>
                    <a:gd name="connsiteY771" fmla="*/ 982819 h 1400577"/>
                    <a:gd name="connsiteX772" fmla="*/ 100818 w 1696389"/>
                    <a:gd name="connsiteY772" fmla="*/ 977989 h 1400577"/>
                    <a:gd name="connsiteX773" fmla="*/ 105647 w 1696389"/>
                    <a:gd name="connsiteY773" fmla="*/ 976178 h 1400577"/>
                    <a:gd name="connsiteX774" fmla="*/ 105647 w 1696389"/>
                    <a:gd name="connsiteY774" fmla="*/ 973764 h 1400577"/>
                    <a:gd name="connsiteX775" fmla="*/ 102025 w 1696389"/>
                    <a:gd name="connsiteY775" fmla="*/ 970745 h 1400577"/>
                    <a:gd name="connsiteX776" fmla="*/ 98403 w 1696389"/>
                    <a:gd name="connsiteY776" fmla="*/ 962897 h 1400577"/>
                    <a:gd name="connsiteX777" fmla="*/ 99610 w 1696389"/>
                    <a:gd name="connsiteY777" fmla="*/ 959879 h 1400577"/>
                    <a:gd name="connsiteX778" fmla="*/ 97195 w 1696389"/>
                    <a:gd name="connsiteY778" fmla="*/ 956860 h 1400577"/>
                    <a:gd name="connsiteX779" fmla="*/ 95384 w 1696389"/>
                    <a:gd name="connsiteY779" fmla="*/ 952031 h 1400577"/>
                    <a:gd name="connsiteX780" fmla="*/ 99610 w 1696389"/>
                    <a:gd name="connsiteY780" fmla="*/ 947805 h 1400577"/>
                    <a:gd name="connsiteX781" fmla="*/ 98403 w 1696389"/>
                    <a:gd name="connsiteY781" fmla="*/ 941164 h 1400577"/>
                    <a:gd name="connsiteX782" fmla="*/ 94781 w 1696389"/>
                    <a:gd name="connsiteY782" fmla="*/ 930901 h 1400577"/>
                    <a:gd name="connsiteX783" fmla="*/ 91762 w 1696389"/>
                    <a:gd name="connsiteY783" fmla="*/ 925468 h 1400577"/>
                    <a:gd name="connsiteX784" fmla="*/ 88744 w 1696389"/>
                    <a:gd name="connsiteY784" fmla="*/ 912790 h 1400577"/>
                    <a:gd name="connsiteX785" fmla="*/ 86932 w 1696389"/>
                    <a:gd name="connsiteY785" fmla="*/ 908564 h 1400577"/>
                    <a:gd name="connsiteX786" fmla="*/ 83310 w 1696389"/>
                    <a:gd name="connsiteY786" fmla="*/ 906150 h 1400577"/>
                    <a:gd name="connsiteX787" fmla="*/ 82707 w 1696389"/>
                    <a:gd name="connsiteY787" fmla="*/ 899509 h 1400577"/>
                    <a:gd name="connsiteX788" fmla="*/ 77877 w 1696389"/>
                    <a:gd name="connsiteY788" fmla="*/ 896490 h 1400577"/>
                    <a:gd name="connsiteX789" fmla="*/ 77877 w 1696389"/>
                    <a:gd name="connsiteY789" fmla="*/ 891661 h 1400577"/>
                    <a:gd name="connsiteX790" fmla="*/ 80292 w 1696389"/>
                    <a:gd name="connsiteY790" fmla="*/ 889246 h 1400577"/>
                    <a:gd name="connsiteX791" fmla="*/ 76670 w 1696389"/>
                    <a:gd name="connsiteY791" fmla="*/ 886831 h 1400577"/>
                    <a:gd name="connsiteX792" fmla="*/ 73047 w 1696389"/>
                    <a:gd name="connsiteY792" fmla="*/ 881398 h 1400577"/>
                    <a:gd name="connsiteX793" fmla="*/ 74859 w 1696389"/>
                    <a:gd name="connsiteY793" fmla="*/ 876568 h 1400577"/>
                    <a:gd name="connsiteX794" fmla="*/ 73047 w 1696389"/>
                    <a:gd name="connsiteY794" fmla="*/ 872946 h 1400577"/>
                    <a:gd name="connsiteX795" fmla="*/ 70029 w 1696389"/>
                    <a:gd name="connsiteY795" fmla="*/ 872342 h 1400577"/>
                    <a:gd name="connsiteX796" fmla="*/ 71236 w 1696389"/>
                    <a:gd name="connsiteY796" fmla="*/ 868117 h 1400577"/>
                    <a:gd name="connsiteX797" fmla="*/ 70029 w 1696389"/>
                    <a:gd name="connsiteY797" fmla="*/ 863287 h 1400577"/>
                    <a:gd name="connsiteX798" fmla="*/ 67614 w 1696389"/>
                    <a:gd name="connsiteY798" fmla="*/ 860872 h 1400577"/>
                    <a:gd name="connsiteX799" fmla="*/ 65803 w 1696389"/>
                    <a:gd name="connsiteY799" fmla="*/ 855439 h 1400577"/>
                    <a:gd name="connsiteX800" fmla="*/ 68218 w 1696389"/>
                    <a:gd name="connsiteY800" fmla="*/ 854835 h 1400577"/>
                    <a:gd name="connsiteX801" fmla="*/ 69425 w 1696389"/>
                    <a:gd name="connsiteY801" fmla="*/ 849402 h 1400577"/>
                    <a:gd name="connsiteX802" fmla="*/ 68218 w 1696389"/>
                    <a:gd name="connsiteY802" fmla="*/ 842762 h 1400577"/>
                    <a:gd name="connsiteX803" fmla="*/ 59766 w 1696389"/>
                    <a:gd name="connsiteY803" fmla="*/ 833706 h 1400577"/>
                    <a:gd name="connsiteX804" fmla="*/ 58559 w 1696389"/>
                    <a:gd name="connsiteY804" fmla="*/ 823443 h 1400577"/>
                    <a:gd name="connsiteX805" fmla="*/ 60973 w 1696389"/>
                    <a:gd name="connsiteY805" fmla="*/ 822840 h 1400577"/>
                    <a:gd name="connsiteX806" fmla="*/ 65803 w 1696389"/>
                    <a:gd name="connsiteY806" fmla="*/ 825858 h 1400577"/>
                    <a:gd name="connsiteX807" fmla="*/ 66407 w 1696389"/>
                    <a:gd name="connsiteY807" fmla="*/ 830688 h 1400577"/>
                    <a:gd name="connsiteX808" fmla="*/ 72444 w 1696389"/>
                    <a:gd name="connsiteY808" fmla="*/ 830688 h 1400577"/>
                    <a:gd name="connsiteX809" fmla="*/ 83914 w 1696389"/>
                    <a:gd name="connsiteY809" fmla="*/ 834914 h 1400577"/>
                    <a:gd name="connsiteX810" fmla="*/ 85121 w 1696389"/>
                    <a:gd name="connsiteY810" fmla="*/ 824651 h 1400577"/>
                    <a:gd name="connsiteX811" fmla="*/ 79084 w 1696389"/>
                    <a:gd name="connsiteY811" fmla="*/ 827065 h 1400577"/>
                    <a:gd name="connsiteX812" fmla="*/ 73651 w 1696389"/>
                    <a:gd name="connsiteY812" fmla="*/ 822840 h 1400577"/>
                    <a:gd name="connsiteX813" fmla="*/ 70029 w 1696389"/>
                    <a:gd name="connsiteY813" fmla="*/ 824651 h 1400577"/>
                    <a:gd name="connsiteX814" fmla="*/ 68218 w 1696389"/>
                    <a:gd name="connsiteY814" fmla="*/ 819217 h 1400577"/>
                    <a:gd name="connsiteX815" fmla="*/ 63388 w 1696389"/>
                    <a:gd name="connsiteY815" fmla="*/ 816803 h 1400577"/>
                    <a:gd name="connsiteX816" fmla="*/ 62181 w 1696389"/>
                    <a:gd name="connsiteY816" fmla="*/ 811973 h 1400577"/>
                    <a:gd name="connsiteX817" fmla="*/ 58559 w 1696389"/>
                    <a:gd name="connsiteY817" fmla="*/ 808954 h 1400577"/>
                    <a:gd name="connsiteX818" fmla="*/ 54333 w 1696389"/>
                    <a:gd name="connsiteY818" fmla="*/ 807747 h 1400577"/>
                    <a:gd name="connsiteX819" fmla="*/ 56144 w 1696389"/>
                    <a:gd name="connsiteY819" fmla="*/ 803521 h 1400577"/>
                    <a:gd name="connsiteX820" fmla="*/ 56144 w 1696389"/>
                    <a:gd name="connsiteY820" fmla="*/ 799295 h 1400577"/>
                    <a:gd name="connsiteX821" fmla="*/ 53125 w 1696389"/>
                    <a:gd name="connsiteY821" fmla="*/ 798088 h 1400577"/>
                    <a:gd name="connsiteX822" fmla="*/ 52522 w 1696389"/>
                    <a:gd name="connsiteY822" fmla="*/ 789032 h 1400577"/>
                    <a:gd name="connsiteX823" fmla="*/ 50107 w 1696389"/>
                    <a:gd name="connsiteY823" fmla="*/ 784806 h 1400577"/>
                    <a:gd name="connsiteX824" fmla="*/ 53729 w 1696389"/>
                    <a:gd name="connsiteY824" fmla="*/ 770318 h 1400577"/>
                    <a:gd name="connsiteX825" fmla="*/ 57351 w 1696389"/>
                    <a:gd name="connsiteY825" fmla="*/ 767903 h 1400577"/>
                    <a:gd name="connsiteX826" fmla="*/ 55540 w 1696389"/>
                    <a:gd name="connsiteY826" fmla="*/ 763073 h 1400577"/>
                    <a:gd name="connsiteX827" fmla="*/ 48296 w 1696389"/>
                    <a:gd name="connsiteY827" fmla="*/ 745566 h 1400577"/>
                    <a:gd name="connsiteX828" fmla="*/ 45277 w 1696389"/>
                    <a:gd name="connsiteY828" fmla="*/ 745566 h 1400577"/>
                    <a:gd name="connsiteX829" fmla="*/ 42259 w 1696389"/>
                    <a:gd name="connsiteY829" fmla="*/ 733492 h 1400577"/>
                    <a:gd name="connsiteX830" fmla="*/ 44070 w 1696389"/>
                    <a:gd name="connsiteY830" fmla="*/ 728059 h 1400577"/>
                    <a:gd name="connsiteX831" fmla="*/ 44674 w 1696389"/>
                    <a:gd name="connsiteY831" fmla="*/ 719607 h 1400577"/>
                    <a:gd name="connsiteX832" fmla="*/ 44070 w 1696389"/>
                    <a:gd name="connsiteY832" fmla="*/ 712363 h 1400577"/>
                    <a:gd name="connsiteX833" fmla="*/ 46485 w 1696389"/>
                    <a:gd name="connsiteY833" fmla="*/ 710552 h 1400577"/>
                    <a:gd name="connsiteX834" fmla="*/ 51314 w 1696389"/>
                    <a:gd name="connsiteY834" fmla="*/ 709948 h 1400577"/>
                    <a:gd name="connsiteX835" fmla="*/ 54936 w 1696389"/>
                    <a:gd name="connsiteY835" fmla="*/ 712363 h 1400577"/>
                    <a:gd name="connsiteX836" fmla="*/ 60370 w 1696389"/>
                    <a:gd name="connsiteY836" fmla="*/ 704515 h 1400577"/>
                    <a:gd name="connsiteX837" fmla="*/ 63388 w 1696389"/>
                    <a:gd name="connsiteY837" fmla="*/ 710552 h 1400577"/>
                    <a:gd name="connsiteX838" fmla="*/ 66407 w 1696389"/>
                    <a:gd name="connsiteY838" fmla="*/ 712967 h 1400577"/>
                    <a:gd name="connsiteX839" fmla="*/ 68218 w 1696389"/>
                    <a:gd name="connsiteY839" fmla="*/ 708741 h 1400577"/>
                    <a:gd name="connsiteX840" fmla="*/ 67614 w 1696389"/>
                    <a:gd name="connsiteY840" fmla="*/ 696667 h 1400577"/>
                    <a:gd name="connsiteX841" fmla="*/ 60370 w 1696389"/>
                    <a:gd name="connsiteY841" fmla="*/ 700893 h 1400577"/>
                    <a:gd name="connsiteX842" fmla="*/ 56748 w 1696389"/>
                    <a:gd name="connsiteY842" fmla="*/ 699685 h 1400577"/>
                    <a:gd name="connsiteX843" fmla="*/ 53125 w 1696389"/>
                    <a:gd name="connsiteY843" fmla="*/ 691837 h 1400577"/>
                    <a:gd name="connsiteX844" fmla="*/ 53125 w 1696389"/>
                    <a:gd name="connsiteY844" fmla="*/ 688215 h 1400577"/>
                    <a:gd name="connsiteX845" fmla="*/ 56144 w 1696389"/>
                    <a:gd name="connsiteY845" fmla="*/ 686404 h 1400577"/>
                    <a:gd name="connsiteX846" fmla="*/ 63388 w 1696389"/>
                    <a:gd name="connsiteY846" fmla="*/ 687008 h 1400577"/>
                    <a:gd name="connsiteX847" fmla="*/ 63992 w 1696389"/>
                    <a:gd name="connsiteY847" fmla="*/ 684593 h 1400577"/>
                    <a:gd name="connsiteX848" fmla="*/ 59766 w 1696389"/>
                    <a:gd name="connsiteY848" fmla="*/ 678556 h 1400577"/>
                    <a:gd name="connsiteX849" fmla="*/ 62785 w 1696389"/>
                    <a:gd name="connsiteY849" fmla="*/ 674934 h 1400577"/>
                    <a:gd name="connsiteX850" fmla="*/ 72444 w 1696389"/>
                    <a:gd name="connsiteY850" fmla="*/ 673122 h 1400577"/>
                    <a:gd name="connsiteX851" fmla="*/ 75462 w 1696389"/>
                    <a:gd name="connsiteY851" fmla="*/ 671311 h 1400577"/>
                    <a:gd name="connsiteX852" fmla="*/ 72444 w 1696389"/>
                    <a:gd name="connsiteY852" fmla="*/ 664671 h 1400577"/>
                    <a:gd name="connsiteX853" fmla="*/ 73047 w 1696389"/>
                    <a:gd name="connsiteY853" fmla="*/ 660445 h 1400577"/>
                    <a:gd name="connsiteX854" fmla="*/ 70633 w 1696389"/>
                    <a:gd name="connsiteY854" fmla="*/ 654408 h 1400577"/>
                    <a:gd name="connsiteX855" fmla="*/ 64596 w 1696389"/>
                    <a:gd name="connsiteY855" fmla="*/ 654408 h 1400577"/>
                    <a:gd name="connsiteX856" fmla="*/ 62785 w 1696389"/>
                    <a:gd name="connsiteY856" fmla="*/ 661048 h 1400577"/>
                    <a:gd name="connsiteX857" fmla="*/ 54936 w 1696389"/>
                    <a:gd name="connsiteY857" fmla="*/ 667085 h 1400577"/>
                    <a:gd name="connsiteX858" fmla="*/ 43466 w 1696389"/>
                    <a:gd name="connsiteY858" fmla="*/ 666482 h 1400577"/>
                    <a:gd name="connsiteX859" fmla="*/ 40448 w 1696389"/>
                    <a:gd name="connsiteY859" fmla="*/ 677348 h 1400577"/>
                    <a:gd name="connsiteX860" fmla="*/ 39844 w 1696389"/>
                    <a:gd name="connsiteY860" fmla="*/ 682782 h 1400577"/>
                    <a:gd name="connsiteX861" fmla="*/ 37429 w 1696389"/>
                    <a:gd name="connsiteY861" fmla="*/ 685800 h 1400577"/>
                    <a:gd name="connsiteX862" fmla="*/ 35014 w 1696389"/>
                    <a:gd name="connsiteY862" fmla="*/ 677952 h 1400577"/>
                    <a:gd name="connsiteX863" fmla="*/ 30789 w 1696389"/>
                    <a:gd name="connsiteY863" fmla="*/ 676141 h 1400577"/>
                    <a:gd name="connsiteX864" fmla="*/ 33807 w 1696389"/>
                    <a:gd name="connsiteY864" fmla="*/ 671311 h 1400577"/>
                    <a:gd name="connsiteX865" fmla="*/ 33203 w 1696389"/>
                    <a:gd name="connsiteY865" fmla="*/ 666482 h 1400577"/>
                    <a:gd name="connsiteX866" fmla="*/ 38033 w 1696389"/>
                    <a:gd name="connsiteY866" fmla="*/ 661652 h 1400577"/>
                    <a:gd name="connsiteX867" fmla="*/ 38637 w 1696389"/>
                    <a:gd name="connsiteY867" fmla="*/ 657426 h 1400577"/>
                    <a:gd name="connsiteX868" fmla="*/ 35618 w 1696389"/>
                    <a:gd name="connsiteY868" fmla="*/ 655615 h 1400577"/>
                    <a:gd name="connsiteX869" fmla="*/ 36222 w 1696389"/>
                    <a:gd name="connsiteY869" fmla="*/ 646560 h 1400577"/>
                    <a:gd name="connsiteX870" fmla="*/ 34411 w 1696389"/>
                    <a:gd name="connsiteY870" fmla="*/ 639919 h 1400577"/>
                    <a:gd name="connsiteX871" fmla="*/ 28374 w 1696389"/>
                    <a:gd name="connsiteY871" fmla="*/ 634486 h 1400577"/>
                    <a:gd name="connsiteX872" fmla="*/ 27770 w 1696389"/>
                    <a:gd name="connsiteY872" fmla="*/ 631468 h 1400577"/>
                    <a:gd name="connsiteX873" fmla="*/ 30185 w 1696389"/>
                    <a:gd name="connsiteY873" fmla="*/ 628449 h 1400577"/>
                    <a:gd name="connsiteX874" fmla="*/ 30185 w 1696389"/>
                    <a:gd name="connsiteY874" fmla="*/ 623620 h 1400577"/>
                    <a:gd name="connsiteX875" fmla="*/ 25959 w 1696389"/>
                    <a:gd name="connsiteY875" fmla="*/ 618790 h 1400577"/>
                    <a:gd name="connsiteX876" fmla="*/ 27166 w 1696389"/>
                    <a:gd name="connsiteY876" fmla="*/ 612149 h 1400577"/>
                    <a:gd name="connsiteX877" fmla="*/ 27770 w 1696389"/>
                    <a:gd name="connsiteY877" fmla="*/ 601283 h 1400577"/>
                    <a:gd name="connsiteX878" fmla="*/ 30789 w 1696389"/>
                    <a:gd name="connsiteY878" fmla="*/ 594642 h 1400577"/>
                    <a:gd name="connsiteX879" fmla="*/ 21733 w 1696389"/>
                    <a:gd name="connsiteY879" fmla="*/ 584983 h 1400577"/>
                    <a:gd name="connsiteX880" fmla="*/ 22337 w 1696389"/>
                    <a:gd name="connsiteY880" fmla="*/ 576531 h 1400577"/>
                    <a:gd name="connsiteX881" fmla="*/ 19318 w 1696389"/>
                    <a:gd name="connsiteY881" fmla="*/ 566268 h 1400577"/>
                    <a:gd name="connsiteX882" fmla="*/ 26563 w 1696389"/>
                    <a:gd name="connsiteY882" fmla="*/ 559627 h 1400577"/>
                    <a:gd name="connsiteX883" fmla="*/ 18715 w 1696389"/>
                    <a:gd name="connsiteY883" fmla="*/ 554194 h 1400577"/>
                    <a:gd name="connsiteX884" fmla="*/ 16300 w 1696389"/>
                    <a:gd name="connsiteY884" fmla="*/ 551779 h 1400577"/>
                    <a:gd name="connsiteX885" fmla="*/ 12678 w 1696389"/>
                    <a:gd name="connsiteY885" fmla="*/ 536687 h 1400577"/>
                    <a:gd name="connsiteX886" fmla="*/ 16300 w 1696389"/>
                    <a:gd name="connsiteY886" fmla="*/ 536083 h 1400577"/>
                    <a:gd name="connsiteX887" fmla="*/ 15696 w 1696389"/>
                    <a:gd name="connsiteY887" fmla="*/ 530650 h 1400577"/>
                    <a:gd name="connsiteX888" fmla="*/ 13281 w 1696389"/>
                    <a:gd name="connsiteY888" fmla="*/ 527028 h 1400577"/>
                    <a:gd name="connsiteX889" fmla="*/ 11470 w 1696389"/>
                    <a:gd name="connsiteY889" fmla="*/ 518576 h 1400577"/>
                    <a:gd name="connsiteX890" fmla="*/ 12074 w 1696389"/>
                    <a:gd name="connsiteY890" fmla="*/ 512539 h 1400577"/>
                    <a:gd name="connsiteX891" fmla="*/ 7244 w 1696389"/>
                    <a:gd name="connsiteY891" fmla="*/ 503484 h 1400577"/>
                    <a:gd name="connsiteX892" fmla="*/ 7244 w 1696389"/>
                    <a:gd name="connsiteY892" fmla="*/ 493221 h 1400577"/>
                    <a:gd name="connsiteX893" fmla="*/ 6037 w 1696389"/>
                    <a:gd name="connsiteY893" fmla="*/ 488995 h 1400577"/>
                    <a:gd name="connsiteX894" fmla="*/ 604 w 1696389"/>
                    <a:gd name="connsiteY894" fmla="*/ 485976 h 1400577"/>
                    <a:gd name="connsiteX895" fmla="*/ 0 w 1696389"/>
                    <a:gd name="connsiteY895" fmla="*/ 479336 h 1400577"/>
                    <a:gd name="connsiteX896" fmla="*/ 3622 w 1696389"/>
                    <a:gd name="connsiteY896" fmla="*/ 481147 h 1400577"/>
                    <a:gd name="connsiteX897" fmla="*/ 6037 w 1696389"/>
                    <a:gd name="connsiteY897" fmla="*/ 478128 h 1400577"/>
                    <a:gd name="connsiteX898" fmla="*/ 6641 w 1696389"/>
                    <a:gd name="connsiteY898" fmla="*/ 472091 h 1400577"/>
                    <a:gd name="connsiteX899" fmla="*/ 5433 w 1696389"/>
                    <a:gd name="connsiteY899" fmla="*/ 466054 h 1400577"/>
                    <a:gd name="connsiteX900" fmla="*/ 3018 w 1696389"/>
                    <a:gd name="connsiteY900" fmla="*/ 462432 h 1400577"/>
                    <a:gd name="connsiteX901" fmla="*/ 7848 w 1696389"/>
                    <a:gd name="connsiteY901" fmla="*/ 457603 h 1400577"/>
                    <a:gd name="connsiteX902" fmla="*/ 13281 w 1696389"/>
                    <a:gd name="connsiteY902" fmla="*/ 453980 h 1400577"/>
                    <a:gd name="connsiteX903" fmla="*/ 14489 w 1696389"/>
                    <a:gd name="connsiteY903" fmla="*/ 450962 h 1400577"/>
                    <a:gd name="connsiteX904" fmla="*/ 13281 w 1696389"/>
                    <a:gd name="connsiteY904" fmla="*/ 439492 h 1400577"/>
                    <a:gd name="connsiteX905" fmla="*/ 12074 w 1696389"/>
                    <a:gd name="connsiteY905" fmla="*/ 433455 h 1400577"/>
                    <a:gd name="connsiteX906" fmla="*/ 15696 w 1696389"/>
                    <a:gd name="connsiteY906" fmla="*/ 430436 h 1400577"/>
                    <a:gd name="connsiteX907" fmla="*/ 18111 w 1696389"/>
                    <a:gd name="connsiteY907" fmla="*/ 423192 h 1400577"/>
                    <a:gd name="connsiteX908" fmla="*/ 18111 w 1696389"/>
                    <a:gd name="connsiteY908" fmla="*/ 418362 h 1400577"/>
                    <a:gd name="connsiteX909" fmla="*/ 28374 w 1696389"/>
                    <a:gd name="connsiteY909" fmla="*/ 419570 h 1400577"/>
                    <a:gd name="connsiteX910" fmla="*/ 31392 w 1696389"/>
                    <a:gd name="connsiteY910" fmla="*/ 415948 h 1400577"/>
                    <a:gd name="connsiteX911" fmla="*/ 36826 w 1696389"/>
                    <a:gd name="connsiteY911" fmla="*/ 414137 h 1400577"/>
                    <a:gd name="connsiteX912" fmla="*/ 37429 w 1696389"/>
                    <a:gd name="connsiteY912" fmla="*/ 408100 h 1400577"/>
                    <a:gd name="connsiteX913" fmla="*/ 41051 w 1696389"/>
                    <a:gd name="connsiteY913" fmla="*/ 402666 h 1400577"/>
                    <a:gd name="connsiteX914" fmla="*/ 45881 w 1696389"/>
                    <a:gd name="connsiteY914" fmla="*/ 402666 h 1400577"/>
                    <a:gd name="connsiteX915" fmla="*/ 48296 w 1696389"/>
                    <a:gd name="connsiteY915" fmla="*/ 398440 h 1400577"/>
                    <a:gd name="connsiteX916" fmla="*/ 57351 w 1696389"/>
                    <a:gd name="connsiteY916" fmla="*/ 399044 h 1400577"/>
                    <a:gd name="connsiteX917" fmla="*/ 65803 w 1696389"/>
                    <a:gd name="connsiteY917" fmla="*/ 401459 h 1400577"/>
                    <a:gd name="connsiteX918" fmla="*/ 67010 w 1696389"/>
                    <a:gd name="connsiteY918" fmla="*/ 408703 h 1400577"/>
                    <a:gd name="connsiteX919" fmla="*/ 68822 w 1696389"/>
                    <a:gd name="connsiteY919" fmla="*/ 409307 h 1400577"/>
                    <a:gd name="connsiteX920" fmla="*/ 69425 w 1696389"/>
                    <a:gd name="connsiteY920" fmla="*/ 410514 h 1400577"/>
                    <a:gd name="connsiteX921" fmla="*/ 69425 w 1696389"/>
                    <a:gd name="connsiteY921" fmla="*/ 412929 h 1400577"/>
                    <a:gd name="connsiteX922" fmla="*/ 68822 w 1696389"/>
                    <a:gd name="connsiteY922" fmla="*/ 413533 h 1400577"/>
                    <a:gd name="connsiteX923" fmla="*/ 66407 w 1696389"/>
                    <a:gd name="connsiteY923" fmla="*/ 419570 h 1400577"/>
                    <a:gd name="connsiteX924" fmla="*/ 68822 w 1696389"/>
                    <a:gd name="connsiteY924" fmla="*/ 423192 h 1400577"/>
                    <a:gd name="connsiteX925" fmla="*/ 73047 w 1696389"/>
                    <a:gd name="connsiteY925" fmla="*/ 422588 h 1400577"/>
                    <a:gd name="connsiteX926" fmla="*/ 73651 w 1696389"/>
                    <a:gd name="connsiteY926" fmla="*/ 420173 h 1400577"/>
                    <a:gd name="connsiteX927" fmla="*/ 73651 w 1696389"/>
                    <a:gd name="connsiteY927" fmla="*/ 419570 h 1400577"/>
                    <a:gd name="connsiteX928" fmla="*/ 75462 w 1696389"/>
                    <a:gd name="connsiteY928" fmla="*/ 418966 h 1400577"/>
                    <a:gd name="connsiteX929" fmla="*/ 75462 w 1696389"/>
                    <a:gd name="connsiteY929" fmla="*/ 419570 h 1400577"/>
                    <a:gd name="connsiteX930" fmla="*/ 74255 w 1696389"/>
                    <a:gd name="connsiteY930" fmla="*/ 424399 h 1400577"/>
                    <a:gd name="connsiteX931" fmla="*/ 81499 w 1696389"/>
                    <a:gd name="connsiteY931" fmla="*/ 432851 h 1400577"/>
                    <a:gd name="connsiteX932" fmla="*/ 83914 w 1696389"/>
                    <a:gd name="connsiteY932" fmla="*/ 433455 h 1400577"/>
                    <a:gd name="connsiteX933" fmla="*/ 83914 w 1696389"/>
                    <a:gd name="connsiteY933" fmla="*/ 427418 h 1400577"/>
                    <a:gd name="connsiteX934" fmla="*/ 89951 w 1696389"/>
                    <a:gd name="connsiteY934" fmla="*/ 427418 h 1400577"/>
                    <a:gd name="connsiteX935" fmla="*/ 93573 w 1696389"/>
                    <a:gd name="connsiteY935" fmla="*/ 429229 h 1400577"/>
                    <a:gd name="connsiteX936" fmla="*/ 94781 w 1696389"/>
                    <a:gd name="connsiteY936" fmla="*/ 429832 h 1400577"/>
                    <a:gd name="connsiteX937" fmla="*/ 94781 w 1696389"/>
                    <a:gd name="connsiteY937" fmla="*/ 430436 h 1400577"/>
                    <a:gd name="connsiteX938" fmla="*/ 97195 w 1696389"/>
                    <a:gd name="connsiteY938" fmla="*/ 431040 h 1400577"/>
                    <a:gd name="connsiteX939" fmla="*/ 98403 w 1696389"/>
                    <a:gd name="connsiteY939" fmla="*/ 431040 h 1400577"/>
                    <a:gd name="connsiteX940" fmla="*/ 100214 w 1696389"/>
                    <a:gd name="connsiteY940" fmla="*/ 429832 h 1400577"/>
                    <a:gd name="connsiteX941" fmla="*/ 102025 w 1696389"/>
                    <a:gd name="connsiteY941" fmla="*/ 431040 h 1400577"/>
                    <a:gd name="connsiteX942" fmla="*/ 106854 w 1696389"/>
                    <a:gd name="connsiteY942" fmla="*/ 434058 h 1400577"/>
                    <a:gd name="connsiteX943" fmla="*/ 108062 w 1696389"/>
                    <a:gd name="connsiteY943" fmla="*/ 435869 h 1400577"/>
                    <a:gd name="connsiteX944" fmla="*/ 109873 w 1696389"/>
                    <a:gd name="connsiteY944" fmla="*/ 437077 h 1400577"/>
                    <a:gd name="connsiteX945" fmla="*/ 110477 w 1696389"/>
                    <a:gd name="connsiteY945" fmla="*/ 436473 h 1400577"/>
                    <a:gd name="connsiteX946" fmla="*/ 112891 w 1696389"/>
                    <a:gd name="connsiteY946" fmla="*/ 434662 h 1400577"/>
                    <a:gd name="connsiteX947" fmla="*/ 112891 w 1696389"/>
                    <a:gd name="connsiteY947" fmla="*/ 431040 h 1400577"/>
                    <a:gd name="connsiteX948" fmla="*/ 115910 w 1696389"/>
                    <a:gd name="connsiteY948" fmla="*/ 428625 h 1400577"/>
                    <a:gd name="connsiteX949" fmla="*/ 117117 w 1696389"/>
                    <a:gd name="connsiteY949" fmla="*/ 425003 h 1400577"/>
                    <a:gd name="connsiteX950" fmla="*/ 116514 w 1696389"/>
                    <a:gd name="connsiteY950" fmla="*/ 421381 h 1400577"/>
                    <a:gd name="connsiteX951" fmla="*/ 120739 w 1696389"/>
                    <a:gd name="connsiteY951" fmla="*/ 420173 h 1400577"/>
                    <a:gd name="connsiteX952" fmla="*/ 126173 w 1696389"/>
                    <a:gd name="connsiteY952" fmla="*/ 420173 h 1400577"/>
                    <a:gd name="connsiteX953" fmla="*/ 127380 w 1696389"/>
                    <a:gd name="connsiteY953" fmla="*/ 417759 h 1400577"/>
                    <a:gd name="connsiteX954" fmla="*/ 132813 w 1696389"/>
                    <a:gd name="connsiteY954" fmla="*/ 414740 h 1400577"/>
                    <a:gd name="connsiteX955" fmla="*/ 132813 w 1696389"/>
                    <a:gd name="connsiteY955" fmla="*/ 405685 h 1400577"/>
                    <a:gd name="connsiteX956" fmla="*/ 136436 w 1696389"/>
                    <a:gd name="connsiteY956" fmla="*/ 402666 h 1400577"/>
                    <a:gd name="connsiteX957" fmla="*/ 149717 w 1696389"/>
                    <a:gd name="connsiteY957" fmla="*/ 405685 h 1400577"/>
                    <a:gd name="connsiteX958" fmla="*/ 159980 w 1696389"/>
                    <a:gd name="connsiteY958" fmla="*/ 403874 h 1400577"/>
                    <a:gd name="connsiteX959" fmla="*/ 158772 w 1696389"/>
                    <a:gd name="connsiteY959" fmla="*/ 391800 h 1400577"/>
                    <a:gd name="connsiteX960" fmla="*/ 159376 w 1696389"/>
                    <a:gd name="connsiteY960" fmla="*/ 387574 h 1400577"/>
                    <a:gd name="connsiteX961" fmla="*/ 161791 w 1696389"/>
                    <a:gd name="connsiteY961" fmla="*/ 386366 h 1400577"/>
                    <a:gd name="connsiteX962" fmla="*/ 159980 w 1696389"/>
                    <a:gd name="connsiteY962" fmla="*/ 377915 h 1400577"/>
                    <a:gd name="connsiteX963" fmla="*/ 159980 w 1696389"/>
                    <a:gd name="connsiteY963" fmla="*/ 374292 h 1400577"/>
                    <a:gd name="connsiteX964" fmla="*/ 157565 w 1696389"/>
                    <a:gd name="connsiteY964" fmla="*/ 364633 h 1400577"/>
                    <a:gd name="connsiteX965" fmla="*/ 152735 w 1696389"/>
                    <a:gd name="connsiteY965" fmla="*/ 366444 h 1400577"/>
                    <a:gd name="connsiteX966" fmla="*/ 153943 w 1696389"/>
                    <a:gd name="connsiteY966" fmla="*/ 360407 h 1400577"/>
                    <a:gd name="connsiteX967" fmla="*/ 159376 w 1696389"/>
                    <a:gd name="connsiteY967" fmla="*/ 357389 h 1400577"/>
                    <a:gd name="connsiteX968" fmla="*/ 164809 w 1696389"/>
                    <a:gd name="connsiteY968" fmla="*/ 345919 h 1400577"/>
                    <a:gd name="connsiteX969" fmla="*/ 170243 w 1696389"/>
                    <a:gd name="connsiteY969" fmla="*/ 339882 h 1400577"/>
                    <a:gd name="connsiteX970" fmla="*/ 169639 w 1696389"/>
                    <a:gd name="connsiteY970" fmla="*/ 335656 h 1400577"/>
                    <a:gd name="connsiteX971" fmla="*/ 175072 w 1696389"/>
                    <a:gd name="connsiteY971" fmla="*/ 329619 h 1400577"/>
                    <a:gd name="connsiteX972" fmla="*/ 171450 w 1696389"/>
                    <a:gd name="connsiteY972" fmla="*/ 329015 h 1400577"/>
                    <a:gd name="connsiteX973" fmla="*/ 172054 w 1696389"/>
                    <a:gd name="connsiteY973" fmla="*/ 324185 h 1400577"/>
                    <a:gd name="connsiteX974" fmla="*/ 170846 w 1696389"/>
                    <a:gd name="connsiteY974" fmla="*/ 319960 h 1400577"/>
                    <a:gd name="connsiteX975" fmla="*/ 162998 w 1696389"/>
                    <a:gd name="connsiteY975" fmla="*/ 317545 h 1400577"/>
                    <a:gd name="connsiteX976" fmla="*/ 159980 w 1696389"/>
                    <a:gd name="connsiteY976" fmla="*/ 310904 h 1400577"/>
                    <a:gd name="connsiteX977" fmla="*/ 155150 w 1696389"/>
                    <a:gd name="connsiteY977" fmla="*/ 307282 h 1400577"/>
                    <a:gd name="connsiteX978" fmla="*/ 155150 w 1696389"/>
                    <a:gd name="connsiteY978" fmla="*/ 304867 h 1400577"/>
                    <a:gd name="connsiteX979" fmla="*/ 162395 w 1696389"/>
                    <a:gd name="connsiteY979" fmla="*/ 302453 h 1400577"/>
                    <a:gd name="connsiteX980" fmla="*/ 166017 w 1696389"/>
                    <a:gd name="connsiteY980" fmla="*/ 295812 h 1400577"/>
                    <a:gd name="connsiteX981" fmla="*/ 166620 w 1696389"/>
                    <a:gd name="connsiteY981" fmla="*/ 290982 h 1400577"/>
                    <a:gd name="connsiteX982" fmla="*/ 171450 w 1696389"/>
                    <a:gd name="connsiteY982" fmla="*/ 290379 h 1400577"/>
                    <a:gd name="connsiteX983" fmla="*/ 174469 w 1696389"/>
                    <a:gd name="connsiteY983" fmla="*/ 297623 h 1400577"/>
                    <a:gd name="connsiteX984" fmla="*/ 172657 w 1696389"/>
                    <a:gd name="connsiteY984" fmla="*/ 300038 h 1400577"/>
                    <a:gd name="connsiteX985" fmla="*/ 174469 w 1696389"/>
                    <a:gd name="connsiteY985" fmla="*/ 304867 h 1400577"/>
                    <a:gd name="connsiteX986" fmla="*/ 181109 w 1696389"/>
                    <a:gd name="connsiteY986" fmla="*/ 300642 h 1400577"/>
                    <a:gd name="connsiteX987" fmla="*/ 184128 w 1696389"/>
                    <a:gd name="connsiteY987" fmla="*/ 301245 h 1400577"/>
                    <a:gd name="connsiteX988" fmla="*/ 188354 w 1696389"/>
                    <a:gd name="connsiteY988" fmla="*/ 306075 h 1400577"/>
                    <a:gd name="connsiteX989" fmla="*/ 193787 w 1696389"/>
                    <a:gd name="connsiteY989" fmla="*/ 306678 h 1400577"/>
                    <a:gd name="connsiteX990" fmla="*/ 200428 w 1696389"/>
                    <a:gd name="connsiteY990" fmla="*/ 310904 h 1400577"/>
                    <a:gd name="connsiteX991" fmla="*/ 203446 w 1696389"/>
                    <a:gd name="connsiteY991" fmla="*/ 321167 h 1400577"/>
                    <a:gd name="connsiteX992" fmla="*/ 209483 w 1696389"/>
                    <a:gd name="connsiteY992" fmla="*/ 324789 h 1400577"/>
                    <a:gd name="connsiteX993" fmla="*/ 216727 w 1696389"/>
                    <a:gd name="connsiteY993" fmla="*/ 321167 h 1400577"/>
                    <a:gd name="connsiteX994" fmla="*/ 223972 w 1696389"/>
                    <a:gd name="connsiteY994" fmla="*/ 322374 h 1400577"/>
                    <a:gd name="connsiteX995" fmla="*/ 226386 w 1696389"/>
                    <a:gd name="connsiteY995" fmla="*/ 323582 h 1400577"/>
                    <a:gd name="connsiteX996" fmla="*/ 234235 w 1696389"/>
                    <a:gd name="connsiteY996" fmla="*/ 315734 h 1400577"/>
                    <a:gd name="connsiteX997" fmla="*/ 238460 w 1696389"/>
                    <a:gd name="connsiteY997" fmla="*/ 316337 h 1400577"/>
                    <a:gd name="connsiteX998" fmla="*/ 246308 w 1696389"/>
                    <a:gd name="connsiteY998" fmla="*/ 311508 h 1400577"/>
                    <a:gd name="connsiteX999" fmla="*/ 246912 w 1696389"/>
                    <a:gd name="connsiteY999" fmla="*/ 304264 h 1400577"/>
                    <a:gd name="connsiteX1000" fmla="*/ 245705 w 1696389"/>
                    <a:gd name="connsiteY1000" fmla="*/ 300038 h 1400577"/>
                    <a:gd name="connsiteX1001" fmla="*/ 242083 w 1696389"/>
                    <a:gd name="connsiteY1001" fmla="*/ 300038 h 1400577"/>
                    <a:gd name="connsiteX1002" fmla="*/ 241479 w 1696389"/>
                    <a:gd name="connsiteY1002" fmla="*/ 295812 h 1400577"/>
                    <a:gd name="connsiteX1003" fmla="*/ 245705 w 1696389"/>
                    <a:gd name="connsiteY1003" fmla="*/ 294001 h 1400577"/>
                    <a:gd name="connsiteX1004" fmla="*/ 249931 w 1696389"/>
                    <a:gd name="connsiteY1004" fmla="*/ 295812 h 1400577"/>
                    <a:gd name="connsiteX1005" fmla="*/ 252949 w 1696389"/>
                    <a:gd name="connsiteY1005" fmla="*/ 289775 h 1400577"/>
                    <a:gd name="connsiteX1006" fmla="*/ 255364 w 1696389"/>
                    <a:gd name="connsiteY1006" fmla="*/ 287360 h 1400577"/>
                    <a:gd name="connsiteX1007" fmla="*/ 262005 w 1696389"/>
                    <a:gd name="connsiteY1007" fmla="*/ 289171 h 1400577"/>
                    <a:gd name="connsiteX1008" fmla="*/ 268042 w 1696389"/>
                    <a:gd name="connsiteY1008" fmla="*/ 284945 h 1400577"/>
                    <a:gd name="connsiteX1009" fmla="*/ 265627 w 1696389"/>
                    <a:gd name="connsiteY1009" fmla="*/ 279512 h 1400577"/>
                    <a:gd name="connsiteX1010" fmla="*/ 265627 w 1696389"/>
                    <a:gd name="connsiteY1010" fmla="*/ 270457 h 1400577"/>
                    <a:gd name="connsiteX1011" fmla="*/ 266834 w 1696389"/>
                    <a:gd name="connsiteY1011" fmla="*/ 263816 h 1400577"/>
                    <a:gd name="connsiteX1012" fmla="*/ 263816 w 1696389"/>
                    <a:gd name="connsiteY1012" fmla="*/ 262005 h 1400577"/>
                    <a:gd name="connsiteX1013" fmla="*/ 263816 w 1696389"/>
                    <a:gd name="connsiteY1013" fmla="*/ 253553 h 1400577"/>
                    <a:gd name="connsiteX1014" fmla="*/ 260797 w 1696389"/>
                    <a:gd name="connsiteY1014" fmla="*/ 246912 h 1400577"/>
                    <a:gd name="connsiteX1015" fmla="*/ 256571 w 1696389"/>
                    <a:gd name="connsiteY1015" fmla="*/ 243290 h 1400577"/>
                    <a:gd name="connsiteX1016" fmla="*/ 258986 w 1696389"/>
                    <a:gd name="connsiteY1016" fmla="*/ 231820 h 1400577"/>
                    <a:gd name="connsiteX1017" fmla="*/ 246308 w 1696389"/>
                    <a:gd name="connsiteY1017" fmla="*/ 229405 h 1400577"/>
                    <a:gd name="connsiteX1018" fmla="*/ 240272 w 1696389"/>
                    <a:gd name="connsiteY1018" fmla="*/ 229405 h 1400577"/>
                    <a:gd name="connsiteX1019" fmla="*/ 238460 w 1696389"/>
                    <a:gd name="connsiteY1019" fmla="*/ 223368 h 1400577"/>
                    <a:gd name="connsiteX1020" fmla="*/ 233631 w 1696389"/>
                    <a:gd name="connsiteY1020" fmla="*/ 223972 h 1400577"/>
                    <a:gd name="connsiteX1021" fmla="*/ 230009 w 1696389"/>
                    <a:gd name="connsiteY1021" fmla="*/ 219142 h 1400577"/>
                    <a:gd name="connsiteX1022" fmla="*/ 226386 w 1696389"/>
                    <a:gd name="connsiteY1022" fmla="*/ 219142 h 1400577"/>
                    <a:gd name="connsiteX1023" fmla="*/ 225179 w 1696389"/>
                    <a:gd name="connsiteY1023" fmla="*/ 216124 h 1400577"/>
                    <a:gd name="connsiteX1024" fmla="*/ 225179 w 1696389"/>
                    <a:gd name="connsiteY1024" fmla="*/ 210087 h 1400577"/>
                    <a:gd name="connsiteX1025" fmla="*/ 223972 w 1696389"/>
                    <a:gd name="connsiteY1025" fmla="*/ 205257 h 1400577"/>
                    <a:gd name="connsiteX1026" fmla="*/ 217935 w 1696389"/>
                    <a:gd name="connsiteY1026" fmla="*/ 203446 h 1400577"/>
                    <a:gd name="connsiteX1027" fmla="*/ 214916 w 1696389"/>
                    <a:gd name="connsiteY1027" fmla="*/ 205861 h 1400577"/>
                    <a:gd name="connsiteX1028" fmla="*/ 207672 w 1696389"/>
                    <a:gd name="connsiteY1028" fmla="*/ 201635 h 1400577"/>
                    <a:gd name="connsiteX1029" fmla="*/ 201635 w 1696389"/>
                    <a:gd name="connsiteY1029" fmla="*/ 201635 h 1400577"/>
                    <a:gd name="connsiteX1030" fmla="*/ 198013 w 1696389"/>
                    <a:gd name="connsiteY1030" fmla="*/ 194391 h 1400577"/>
                    <a:gd name="connsiteX1031" fmla="*/ 193183 w 1696389"/>
                    <a:gd name="connsiteY1031" fmla="*/ 194391 h 1400577"/>
                    <a:gd name="connsiteX1032" fmla="*/ 193183 w 1696389"/>
                    <a:gd name="connsiteY1032" fmla="*/ 191372 h 1400577"/>
                    <a:gd name="connsiteX1033" fmla="*/ 197409 w 1696389"/>
                    <a:gd name="connsiteY1033" fmla="*/ 188958 h 1400577"/>
                    <a:gd name="connsiteX1034" fmla="*/ 199824 w 1696389"/>
                    <a:gd name="connsiteY1034" fmla="*/ 193183 h 1400577"/>
                    <a:gd name="connsiteX1035" fmla="*/ 203446 w 1696389"/>
                    <a:gd name="connsiteY1035" fmla="*/ 194391 h 1400577"/>
                    <a:gd name="connsiteX1036" fmla="*/ 203446 w 1696389"/>
                    <a:gd name="connsiteY1036" fmla="*/ 199220 h 1400577"/>
                    <a:gd name="connsiteX1037" fmla="*/ 212501 w 1696389"/>
                    <a:gd name="connsiteY1037" fmla="*/ 194391 h 1400577"/>
                    <a:gd name="connsiteX1038" fmla="*/ 219142 w 1696389"/>
                    <a:gd name="connsiteY1038" fmla="*/ 194994 h 1400577"/>
                    <a:gd name="connsiteX1039" fmla="*/ 223972 w 1696389"/>
                    <a:gd name="connsiteY1039" fmla="*/ 197409 h 1400577"/>
                    <a:gd name="connsiteX1040" fmla="*/ 226386 w 1696389"/>
                    <a:gd name="connsiteY1040" fmla="*/ 194994 h 1400577"/>
                    <a:gd name="connsiteX1041" fmla="*/ 225179 w 1696389"/>
                    <a:gd name="connsiteY1041" fmla="*/ 191372 h 1400577"/>
                    <a:gd name="connsiteX1042" fmla="*/ 233027 w 1696389"/>
                    <a:gd name="connsiteY1042" fmla="*/ 191976 h 1400577"/>
                    <a:gd name="connsiteX1043" fmla="*/ 236046 w 1696389"/>
                    <a:gd name="connsiteY1043" fmla="*/ 188354 h 1400577"/>
                    <a:gd name="connsiteX1044" fmla="*/ 241479 w 1696389"/>
                    <a:gd name="connsiteY1044" fmla="*/ 190165 h 1400577"/>
                    <a:gd name="connsiteX1045" fmla="*/ 240875 w 1696389"/>
                    <a:gd name="connsiteY1045" fmla="*/ 179298 h 1400577"/>
                    <a:gd name="connsiteX1046" fmla="*/ 244497 w 1696389"/>
                    <a:gd name="connsiteY1046" fmla="*/ 174469 h 1400577"/>
                    <a:gd name="connsiteX1047" fmla="*/ 243290 w 1696389"/>
                    <a:gd name="connsiteY1047" fmla="*/ 169035 h 1400577"/>
                    <a:gd name="connsiteX1048" fmla="*/ 248723 w 1696389"/>
                    <a:gd name="connsiteY1048" fmla="*/ 168432 h 1400577"/>
                    <a:gd name="connsiteX1049" fmla="*/ 255968 w 1696389"/>
                    <a:gd name="connsiteY1049" fmla="*/ 170243 h 1400577"/>
                    <a:gd name="connsiteX1050" fmla="*/ 264419 w 1696389"/>
                    <a:gd name="connsiteY1050" fmla="*/ 165413 h 1400577"/>
                    <a:gd name="connsiteX1051" fmla="*/ 267438 w 1696389"/>
                    <a:gd name="connsiteY1051" fmla="*/ 162395 h 1400577"/>
                    <a:gd name="connsiteX1052" fmla="*/ 269249 w 1696389"/>
                    <a:gd name="connsiteY1052" fmla="*/ 152132 h 1400577"/>
                    <a:gd name="connsiteX1053" fmla="*/ 269249 w 1696389"/>
                    <a:gd name="connsiteY1053" fmla="*/ 145491 h 1400577"/>
                    <a:gd name="connsiteX1054" fmla="*/ 270456 w 1696389"/>
                    <a:gd name="connsiteY1054" fmla="*/ 141265 h 1400577"/>
                    <a:gd name="connsiteX1055" fmla="*/ 274079 w 1696389"/>
                    <a:gd name="connsiteY1055" fmla="*/ 140662 h 1400577"/>
                    <a:gd name="connsiteX1056" fmla="*/ 280116 w 1696389"/>
                    <a:gd name="connsiteY1056" fmla="*/ 137039 h 1400577"/>
                    <a:gd name="connsiteX1057" fmla="*/ 288567 w 1696389"/>
                    <a:gd name="connsiteY1057" fmla="*/ 134021 h 1400577"/>
                    <a:gd name="connsiteX1058" fmla="*/ 289775 w 1696389"/>
                    <a:gd name="connsiteY1058" fmla="*/ 127380 h 1400577"/>
                    <a:gd name="connsiteX1059" fmla="*/ 292190 w 1696389"/>
                    <a:gd name="connsiteY1059" fmla="*/ 121947 h 1400577"/>
                    <a:gd name="connsiteX1060" fmla="*/ 294604 w 1696389"/>
                    <a:gd name="connsiteY1060" fmla="*/ 127380 h 1400577"/>
                    <a:gd name="connsiteX1061" fmla="*/ 303056 w 1696389"/>
                    <a:gd name="connsiteY1061" fmla="*/ 128588 h 1400577"/>
                    <a:gd name="connsiteX1062" fmla="*/ 307282 w 1696389"/>
                    <a:gd name="connsiteY1062" fmla="*/ 126173 h 1400577"/>
                    <a:gd name="connsiteX1063" fmla="*/ 311508 w 1696389"/>
                    <a:gd name="connsiteY1063" fmla="*/ 127984 h 1400577"/>
                    <a:gd name="connsiteX1064" fmla="*/ 316337 w 1696389"/>
                    <a:gd name="connsiteY1064" fmla="*/ 124965 h 1400577"/>
                    <a:gd name="connsiteX1065" fmla="*/ 324185 w 1696389"/>
                    <a:gd name="connsiteY1065" fmla="*/ 126776 h 1400577"/>
                    <a:gd name="connsiteX1066" fmla="*/ 332637 w 1696389"/>
                    <a:gd name="connsiteY1066" fmla="*/ 124965 h 1400577"/>
                    <a:gd name="connsiteX1067" fmla="*/ 334448 w 1696389"/>
                    <a:gd name="connsiteY1067" fmla="*/ 123154 h 1400577"/>
                    <a:gd name="connsiteX1068" fmla="*/ 341693 w 1696389"/>
                    <a:gd name="connsiteY1068" fmla="*/ 121947 h 1400577"/>
                    <a:gd name="connsiteX1069" fmla="*/ 345919 w 1696389"/>
                    <a:gd name="connsiteY1069" fmla="*/ 118325 h 1400577"/>
                    <a:gd name="connsiteX1070" fmla="*/ 347126 w 1696389"/>
                    <a:gd name="connsiteY1070" fmla="*/ 108665 h 1400577"/>
                    <a:gd name="connsiteX1071" fmla="*/ 342900 w 1696389"/>
                    <a:gd name="connsiteY1071" fmla="*/ 107458 h 1400577"/>
                    <a:gd name="connsiteX1072" fmla="*/ 342296 w 1696389"/>
                    <a:gd name="connsiteY1072" fmla="*/ 103232 h 1400577"/>
                    <a:gd name="connsiteX1073" fmla="*/ 338070 w 1696389"/>
                    <a:gd name="connsiteY1073" fmla="*/ 104440 h 1400577"/>
                    <a:gd name="connsiteX1074" fmla="*/ 334448 w 1696389"/>
                    <a:gd name="connsiteY1074" fmla="*/ 109873 h 1400577"/>
                    <a:gd name="connsiteX1075" fmla="*/ 330826 w 1696389"/>
                    <a:gd name="connsiteY1075" fmla="*/ 109873 h 1400577"/>
                    <a:gd name="connsiteX1076" fmla="*/ 327204 w 1696389"/>
                    <a:gd name="connsiteY1076" fmla="*/ 106251 h 1400577"/>
                    <a:gd name="connsiteX1077" fmla="*/ 320563 w 1696389"/>
                    <a:gd name="connsiteY1077" fmla="*/ 111080 h 1400577"/>
                    <a:gd name="connsiteX1078" fmla="*/ 316337 w 1696389"/>
                    <a:gd name="connsiteY1078" fmla="*/ 104440 h 1400577"/>
                    <a:gd name="connsiteX1079" fmla="*/ 306075 w 1696389"/>
                    <a:gd name="connsiteY1079" fmla="*/ 105043 h 1400577"/>
                    <a:gd name="connsiteX1080" fmla="*/ 292190 w 1696389"/>
                    <a:gd name="connsiteY1080" fmla="*/ 104440 h 1400577"/>
                    <a:gd name="connsiteX1081" fmla="*/ 287964 w 1696389"/>
                    <a:gd name="connsiteY1081" fmla="*/ 106854 h 1400577"/>
                    <a:gd name="connsiteX1082" fmla="*/ 283134 w 1696389"/>
                    <a:gd name="connsiteY1082" fmla="*/ 106251 h 1400577"/>
                    <a:gd name="connsiteX1083" fmla="*/ 279512 w 1696389"/>
                    <a:gd name="connsiteY1083" fmla="*/ 108665 h 1400577"/>
                    <a:gd name="connsiteX1084" fmla="*/ 274682 w 1696389"/>
                    <a:gd name="connsiteY1084" fmla="*/ 108062 h 1400577"/>
                    <a:gd name="connsiteX1085" fmla="*/ 272871 w 1696389"/>
                    <a:gd name="connsiteY1085" fmla="*/ 112288 h 1400577"/>
                    <a:gd name="connsiteX1086" fmla="*/ 265627 w 1696389"/>
                    <a:gd name="connsiteY1086" fmla="*/ 115306 h 1400577"/>
                    <a:gd name="connsiteX1087" fmla="*/ 265023 w 1696389"/>
                    <a:gd name="connsiteY1087" fmla="*/ 112891 h 1400577"/>
                    <a:gd name="connsiteX1088" fmla="*/ 249327 w 1696389"/>
                    <a:gd name="connsiteY1088" fmla="*/ 118325 h 1400577"/>
                    <a:gd name="connsiteX1089" fmla="*/ 247516 w 1696389"/>
                    <a:gd name="connsiteY1089" fmla="*/ 115306 h 1400577"/>
                    <a:gd name="connsiteX1090" fmla="*/ 243894 w 1696389"/>
                    <a:gd name="connsiteY1090" fmla="*/ 105647 h 1400577"/>
                    <a:gd name="connsiteX1091" fmla="*/ 242083 w 1696389"/>
                    <a:gd name="connsiteY1091" fmla="*/ 95988 h 1400577"/>
                    <a:gd name="connsiteX1092" fmla="*/ 238460 w 1696389"/>
                    <a:gd name="connsiteY1092" fmla="*/ 94781 h 1400577"/>
                    <a:gd name="connsiteX1093" fmla="*/ 234235 w 1696389"/>
                    <a:gd name="connsiteY1093" fmla="*/ 89951 h 1400577"/>
                    <a:gd name="connsiteX1094" fmla="*/ 237253 w 1696389"/>
                    <a:gd name="connsiteY1094" fmla="*/ 87536 h 1400577"/>
                    <a:gd name="connsiteX1095" fmla="*/ 242686 w 1696389"/>
                    <a:gd name="connsiteY1095" fmla="*/ 86933 h 1400577"/>
                    <a:gd name="connsiteX1096" fmla="*/ 246308 w 1696389"/>
                    <a:gd name="connsiteY1096" fmla="*/ 88140 h 1400577"/>
                    <a:gd name="connsiteX1097" fmla="*/ 249327 w 1696389"/>
                    <a:gd name="connsiteY1097" fmla="*/ 86329 h 1400577"/>
                    <a:gd name="connsiteX1098" fmla="*/ 254760 w 1696389"/>
                    <a:gd name="connsiteY1098" fmla="*/ 85725 h 1400577"/>
                    <a:gd name="connsiteX1099" fmla="*/ 257175 w 1696389"/>
                    <a:gd name="connsiteY1099" fmla="*/ 80292 h 1400577"/>
                    <a:gd name="connsiteX1100" fmla="*/ 256571 w 1696389"/>
                    <a:gd name="connsiteY1100" fmla="*/ 73048 h 1400577"/>
                    <a:gd name="connsiteX1101" fmla="*/ 255364 w 1696389"/>
                    <a:gd name="connsiteY1101" fmla="*/ 70633 h 1400577"/>
                    <a:gd name="connsiteX1102" fmla="*/ 246308 w 1696389"/>
                    <a:gd name="connsiteY1102" fmla="*/ 63992 h 1400577"/>
                    <a:gd name="connsiteX1103" fmla="*/ 243290 w 1696389"/>
                    <a:gd name="connsiteY1103" fmla="*/ 59163 h 1400577"/>
                    <a:gd name="connsiteX1104" fmla="*/ 245705 w 1696389"/>
                    <a:gd name="connsiteY1104" fmla="*/ 57351 h 1400577"/>
                    <a:gd name="connsiteX1105" fmla="*/ 242686 w 1696389"/>
                    <a:gd name="connsiteY1105" fmla="*/ 48296 h 1400577"/>
                    <a:gd name="connsiteX1106" fmla="*/ 239064 w 1696389"/>
                    <a:gd name="connsiteY1106" fmla="*/ 45881 h 1400577"/>
                    <a:gd name="connsiteX1107" fmla="*/ 245705 w 1696389"/>
                    <a:gd name="connsiteY1107" fmla="*/ 42259 h 1400577"/>
                    <a:gd name="connsiteX1108" fmla="*/ 253553 w 1696389"/>
                    <a:gd name="connsiteY1108" fmla="*/ 42259 h 1400577"/>
                    <a:gd name="connsiteX1109" fmla="*/ 257175 w 1696389"/>
                    <a:gd name="connsiteY1109" fmla="*/ 39240 h 1400577"/>
                    <a:gd name="connsiteX1110" fmla="*/ 262005 w 1696389"/>
                    <a:gd name="connsiteY1110" fmla="*/ 38637 h 1400577"/>
                    <a:gd name="connsiteX1111" fmla="*/ 274079 w 1696389"/>
                    <a:gd name="connsiteY1111" fmla="*/ 31392 h 1400577"/>
                    <a:gd name="connsiteX1112" fmla="*/ 283134 w 1696389"/>
                    <a:gd name="connsiteY1112" fmla="*/ 27770 h 1400577"/>
                    <a:gd name="connsiteX1113" fmla="*/ 287964 w 1696389"/>
                    <a:gd name="connsiteY1113" fmla="*/ 23544 h 1400577"/>
                    <a:gd name="connsiteX1114" fmla="*/ 308489 w 1696389"/>
                    <a:gd name="connsiteY1114" fmla="*/ 16904 h 1400577"/>
                    <a:gd name="connsiteX1115" fmla="*/ 313319 w 1696389"/>
                    <a:gd name="connsiteY1115" fmla="*/ 18715 h 1400577"/>
                    <a:gd name="connsiteX1116" fmla="*/ 319356 w 1696389"/>
                    <a:gd name="connsiteY1116" fmla="*/ 22941 h 1400577"/>
                    <a:gd name="connsiteX1117" fmla="*/ 338674 w 1696389"/>
                    <a:gd name="connsiteY1117" fmla="*/ 20526 h 1400577"/>
                    <a:gd name="connsiteX1118" fmla="*/ 340485 w 1696389"/>
                    <a:gd name="connsiteY1118" fmla="*/ 13885 h 1400577"/>
                    <a:gd name="connsiteX1119" fmla="*/ 349541 w 1696389"/>
                    <a:gd name="connsiteY1119" fmla="*/ 12074 h 1400577"/>
                    <a:gd name="connsiteX1120" fmla="*/ 356181 w 1696389"/>
                    <a:gd name="connsiteY1120" fmla="*/ 6037 h 1400577"/>
                    <a:gd name="connsiteX1121" fmla="*/ 357992 w 1696389"/>
                    <a:gd name="connsiteY1121" fmla="*/ 2415 h 1400577"/>
                    <a:gd name="connsiteX1122" fmla="*/ 368255 w 1696389"/>
                    <a:gd name="connsiteY1122" fmla="*/ 0 h 1400577"/>
                    <a:gd name="connsiteX1123" fmla="*/ 370066 w 1696389"/>
                    <a:gd name="connsiteY1123" fmla="*/ 3018 h 1400577"/>
                    <a:gd name="connsiteX1124" fmla="*/ 369463 w 1696389"/>
                    <a:gd name="connsiteY1124" fmla="*/ 10263 h 1400577"/>
                    <a:gd name="connsiteX1125" fmla="*/ 371274 w 1696389"/>
                    <a:gd name="connsiteY1125" fmla="*/ 13885 h 1400577"/>
                    <a:gd name="connsiteX1126" fmla="*/ 375500 w 1696389"/>
                    <a:gd name="connsiteY1126" fmla="*/ 14489 h 1400577"/>
                    <a:gd name="connsiteX1127" fmla="*/ 379726 w 1696389"/>
                    <a:gd name="connsiteY1127" fmla="*/ 16904 h 1400577"/>
                    <a:gd name="connsiteX1128" fmla="*/ 384555 w 1696389"/>
                    <a:gd name="connsiteY1128" fmla="*/ 21129 h 1400577"/>
                    <a:gd name="connsiteX1129" fmla="*/ 386970 w 1696389"/>
                    <a:gd name="connsiteY1129" fmla="*/ 27166 h 1400577"/>
                    <a:gd name="connsiteX1130" fmla="*/ 385159 w 1696389"/>
                    <a:gd name="connsiteY1130" fmla="*/ 31996 h 1400577"/>
                    <a:gd name="connsiteX1131" fmla="*/ 383951 w 1696389"/>
                    <a:gd name="connsiteY1131" fmla="*/ 46485 h 1400577"/>
                    <a:gd name="connsiteX1132" fmla="*/ 382140 w 1696389"/>
                    <a:gd name="connsiteY1132" fmla="*/ 49503 h 1400577"/>
                    <a:gd name="connsiteX1133" fmla="*/ 383348 w 1696389"/>
                    <a:gd name="connsiteY1133" fmla="*/ 56748 h 1400577"/>
                    <a:gd name="connsiteX1134" fmla="*/ 384555 w 1696389"/>
                    <a:gd name="connsiteY1134" fmla="*/ 58559 h 1400577"/>
                    <a:gd name="connsiteX1135" fmla="*/ 383348 w 1696389"/>
                    <a:gd name="connsiteY1135" fmla="*/ 67011 h 1400577"/>
                    <a:gd name="connsiteX1136" fmla="*/ 386366 w 1696389"/>
                    <a:gd name="connsiteY1136" fmla="*/ 69425 h 1400577"/>
                    <a:gd name="connsiteX1137" fmla="*/ 391800 w 1696389"/>
                    <a:gd name="connsiteY1137" fmla="*/ 68822 h 1400577"/>
                    <a:gd name="connsiteX1138" fmla="*/ 393611 w 1696389"/>
                    <a:gd name="connsiteY1138" fmla="*/ 76066 h 1400577"/>
                    <a:gd name="connsiteX1139" fmla="*/ 398440 w 1696389"/>
                    <a:gd name="connsiteY1139" fmla="*/ 76670 h 1400577"/>
                    <a:gd name="connsiteX1140" fmla="*/ 399648 w 1696389"/>
                    <a:gd name="connsiteY1140" fmla="*/ 80896 h 1400577"/>
                    <a:gd name="connsiteX1141" fmla="*/ 413533 w 1696389"/>
                    <a:gd name="connsiteY1141" fmla="*/ 83311 h 1400577"/>
                    <a:gd name="connsiteX1142" fmla="*/ 421381 w 1696389"/>
                    <a:gd name="connsiteY1142" fmla="*/ 88140 h 1400577"/>
                    <a:gd name="connsiteX1143" fmla="*/ 427418 w 1696389"/>
                    <a:gd name="connsiteY1143" fmla="*/ 89951 h 1400577"/>
                    <a:gd name="connsiteX1144" fmla="*/ 443114 w 1696389"/>
                    <a:gd name="connsiteY1144" fmla="*/ 93573 h 1400577"/>
                    <a:gd name="connsiteX1145" fmla="*/ 448547 w 1696389"/>
                    <a:gd name="connsiteY1145" fmla="*/ 92970 h 1400577"/>
                    <a:gd name="connsiteX1146" fmla="*/ 456999 w 1696389"/>
                    <a:gd name="connsiteY1146" fmla="*/ 88744 h 1400577"/>
                    <a:gd name="connsiteX1147" fmla="*/ 464243 w 1696389"/>
                    <a:gd name="connsiteY1147" fmla="*/ 88744 h 1400577"/>
                    <a:gd name="connsiteX1148" fmla="*/ 469073 w 1696389"/>
                    <a:gd name="connsiteY1148" fmla="*/ 92970 h 1400577"/>
                    <a:gd name="connsiteX1149" fmla="*/ 480543 w 1696389"/>
                    <a:gd name="connsiteY1149" fmla="*/ 96592 h 1400577"/>
                    <a:gd name="connsiteX1150" fmla="*/ 487184 w 1696389"/>
                    <a:gd name="connsiteY1150" fmla="*/ 99610 h 1400577"/>
                    <a:gd name="connsiteX1151" fmla="*/ 487787 w 1696389"/>
                    <a:gd name="connsiteY1151" fmla="*/ 101421 h 1400577"/>
                    <a:gd name="connsiteX1152" fmla="*/ 496239 w 1696389"/>
                    <a:gd name="connsiteY1152" fmla="*/ 103232 h 1400577"/>
                    <a:gd name="connsiteX1153" fmla="*/ 502880 w 1696389"/>
                    <a:gd name="connsiteY1153" fmla="*/ 114702 h 1400577"/>
                    <a:gd name="connsiteX1154" fmla="*/ 506502 w 1696389"/>
                    <a:gd name="connsiteY1154" fmla="*/ 124362 h 1400577"/>
                    <a:gd name="connsiteX1155" fmla="*/ 511332 w 1696389"/>
                    <a:gd name="connsiteY1155" fmla="*/ 128588 h 1400577"/>
                    <a:gd name="connsiteX1156" fmla="*/ 522802 w 1696389"/>
                    <a:gd name="connsiteY1156" fmla="*/ 134021 h 1400577"/>
                    <a:gd name="connsiteX1157" fmla="*/ 529443 w 1696389"/>
                    <a:gd name="connsiteY1157" fmla="*/ 137643 h 1400577"/>
                    <a:gd name="connsiteX1158" fmla="*/ 532461 w 1696389"/>
                    <a:gd name="connsiteY1158" fmla="*/ 135832 h 1400577"/>
                    <a:gd name="connsiteX1159" fmla="*/ 536687 w 1696389"/>
                    <a:gd name="connsiteY1159" fmla="*/ 138247 h 1400577"/>
                    <a:gd name="connsiteX1160" fmla="*/ 546346 w 1696389"/>
                    <a:gd name="connsiteY1160" fmla="*/ 136436 h 1400577"/>
                    <a:gd name="connsiteX1161" fmla="*/ 546950 w 1696389"/>
                    <a:gd name="connsiteY1161" fmla="*/ 140662 h 1400577"/>
                    <a:gd name="connsiteX1162" fmla="*/ 557213 w 1696389"/>
                    <a:gd name="connsiteY1162" fmla="*/ 141265 h 1400577"/>
                    <a:gd name="connsiteX1163" fmla="*/ 559024 w 1696389"/>
                    <a:gd name="connsiteY1163" fmla="*/ 138850 h 1400577"/>
                    <a:gd name="connsiteX1164" fmla="*/ 563853 w 1696389"/>
                    <a:gd name="connsiteY1164" fmla="*/ 143076 h 1400577"/>
                    <a:gd name="connsiteX1165" fmla="*/ 580757 w 1696389"/>
                    <a:gd name="connsiteY1165" fmla="*/ 141265 h 1400577"/>
                    <a:gd name="connsiteX1166" fmla="*/ 592227 w 1696389"/>
                    <a:gd name="connsiteY1166" fmla="*/ 142473 h 1400577"/>
                    <a:gd name="connsiteX1167" fmla="*/ 597057 w 1696389"/>
                    <a:gd name="connsiteY1167" fmla="*/ 146095 h 1400577"/>
                    <a:gd name="connsiteX1168" fmla="*/ 604301 w 1696389"/>
                    <a:gd name="connsiteY1168" fmla="*/ 144284 h 1400577"/>
                    <a:gd name="connsiteX1169" fmla="*/ 606112 w 1696389"/>
                    <a:gd name="connsiteY1169" fmla="*/ 141869 h 1400577"/>
                    <a:gd name="connsiteX1170" fmla="*/ 612149 w 1696389"/>
                    <a:gd name="connsiteY1170" fmla="*/ 141265 h 1400577"/>
                    <a:gd name="connsiteX1171" fmla="*/ 613960 w 1696389"/>
                    <a:gd name="connsiteY1171" fmla="*/ 143680 h 1400577"/>
                    <a:gd name="connsiteX1172" fmla="*/ 623016 w 1696389"/>
                    <a:gd name="connsiteY1172" fmla="*/ 144284 h 1400577"/>
                    <a:gd name="connsiteX1173" fmla="*/ 630260 w 1696389"/>
                    <a:gd name="connsiteY1173" fmla="*/ 141869 h 1400577"/>
                    <a:gd name="connsiteX1174" fmla="*/ 637504 w 1696389"/>
                    <a:gd name="connsiteY1174" fmla="*/ 141265 h 1400577"/>
                    <a:gd name="connsiteX1175" fmla="*/ 640523 w 1696389"/>
                    <a:gd name="connsiteY1175" fmla="*/ 143076 h 1400577"/>
                    <a:gd name="connsiteX1176" fmla="*/ 649578 w 1696389"/>
                    <a:gd name="connsiteY1176" fmla="*/ 141869 h 1400577"/>
                    <a:gd name="connsiteX1177" fmla="*/ 656219 w 1696389"/>
                    <a:gd name="connsiteY1177" fmla="*/ 143680 h 1400577"/>
                    <a:gd name="connsiteX1178" fmla="*/ 662256 w 1696389"/>
                    <a:gd name="connsiteY1178" fmla="*/ 142473 h 1400577"/>
                    <a:gd name="connsiteX1179" fmla="*/ 667689 w 1696389"/>
                    <a:gd name="connsiteY1179" fmla="*/ 140058 h 1400577"/>
                    <a:gd name="connsiteX1180" fmla="*/ 673122 w 1696389"/>
                    <a:gd name="connsiteY1180" fmla="*/ 141869 h 1400577"/>
                    <a:gd name="connsiteX1181" fmla="*/ 683989 w 1696389"/>
                    <a:gd name="connsiteY1181" fmla="*/ 141265 h 1400577"/>
                    <a:gd name="connsiteX1182" fmla="*/ 687611 w 1696389"/>
                    <a:gd name="connsiteY1182" fmla="*/ 144887 h 1400577"/>
                    <a:gd name="connsiteX1183" fmla="*/ 697874 w 1696389"/>
                    <a:gd name="connsiteY1183" fmla="*/ 147302 h 1400577"/>
                    <a:gd name="connsiteX1184" fmla="*/ 701496 w 1696389"/>
                    <a:gd name="connsiteY1184" fmla="*/ 150321 h 1400577"/>
                    <a:gd name="connsiteX1185" fmla="*/ 710552 w 1696389"/>
                    <a:gd name="connsiteY1185" fmla="*/ 145491 h 1400577"/>
                    <a:gd name="connsiteX1186" fmla="*/ 712363 w 1696389"/>
                    <a:gd name="connsiteY1186" fmla="*/ 148510 h 1400577"/>
                    <a:gd name="connsiteX1187" fmla="*/ 717192 w 1696389"/>
                    <a:gd name="connsiteY1187" fmla="*/ 162395 h 1400577"/>
                    <a:gd name="connsiteX1188" fmla="*/ 720211 w 1696389"/>
                    <a:gd name="connsiteY1188" fmla="*/ 164810 h 1400577"/>
                    <a:gd name="connsiteX1189" fmla="*/ 723229 w 1696389"/>
                    <a:gd name="connsiteY1189" fmla="*/ 170847 h 1400577"/>
                    <a:gd name="connsiteX1190" fmla="*/ 720211 w 1696389"/>
                    <a:gd name="connsiteY1190" fmla="*/ 176884 h 1400577"/>
                    <a:gd name="connsiteX1191" fmla="*/ 724437 w 1696389"/>
                    <a:gd name="connsiteY1191" fmla="*/ 178695 h 1400577"/>
                    <a:gd name="connsiteX1192" fmla="*/ 725040 w 1696389"/>
                    <a:gd name="connsiteY1192" fmla="*/ 190769 h 1400577"/>
                    <a:gd name="connsiteX1193" fmla="*/ 716589 w 1696389"/>
                    <a:gd name="connsiteY1193" fmla="*/ 188958 h 1400577"/>
                    <a:gd name="connsiteX1194" fmla="*/ 714174 w 1696389"/>
                    <a:gd name="connsiteY1194" fmla="*/ 191976 h 1400577"/>
                    <a:gd name="connsiteX1195" fmla="*/ 719607 w 1696389"/>
                    <a:gd name="connsiteY1195" fmla="*/ 197409 h 1400577"/>
                    <a:gd name="connsiteX1196" fmla="*/ 718400 w 1696389"/>
                    <a:gd name="connsiteY1196" fmla="*/ 200428 h 1400577"/>
                    <a:gd name="connsiteX1197" fmla="*/ 725040 w 1696389"/>
                    <a:gd name="connsiteY1197" fmla="*/ 205257 h 1400577"/>
                    <a:gd name="connsiteX1198" fmla="*/ 728663 w 1696389"/>
                    <a:gd name="connsiteY1198" fmla="*/ 208276 h 1400577"/>
                    <a:gd name="connsiteX1199" fmla="*/ 746170 w 1696389"/>
                    <a:gd name="connsiteY1199" fmla="*/ 207672 h 1400577"/>
                    <a:gd name="connsiteX1200" fmla="*/ 748585 w 1696389"/>
                    <a:gd name="connsiteY1200" fmla="*/ 211898 h 1400577"/>
                    <a:gd name="connsiteX1201" fmla="*/ 764884 w 1696389"/>
                    <a:gd name="connsiteY1201" fmla="*/ 210690 h 1400577"/>
                    <a:gd name="connsiteX1202" fmla="*/ 767903 w 1696389"/>
                    <a:gd name="connsiteY1202" fmla="*/ 211294 h 1400577"/>
                    <a:gd name="connsiteX1203" fmla="*/ 775147 w 1696389"/>
                    <a:gd name="connsiteY1203" fmla="*/ 207672 h 1400577"/>
                    <a:gd name="connsiteX1204" fmla="*/ 775147 w 1696389"/>
                    <a:gd name="connsiteY1204" fmla="*/ 204654 h 1400577"/>
                    <a:gd name="connsiteX1205" fmla="*/ 779977 w 1696389"/>
                    <a:gd name="connsiteY1205" fmla="*/ 204654 h 1400577"/>
                    <a:gd name="connsiteX1206" fmla="*/ 783599 w 1696389"/>
                    <a:gd name="connsiteY1206" fmla="*/ 202842 h 1400577"/>
                    <a:gd name="connsiteX1207" fmla="*/ 784806 w 1696389"/>
                    <a:gd name="connsiteY1207" fmla="*/ 197409 h 1400577"/>
                    <a:gd name="connsiteX1208" fmla="*/ 788429 w 1696389"/>
                    <a:gd name="connsiteY1208" fmla="*/ 194391 h 1400577"/>
                    <a:gd name="connsiteX1209" fmla="*/ 790240 w 1696389"/>
                    <a:gd name="connsiteY1209" fmla="*/ 186543 h 1400577"/>
                    <a:gd name="connsiteX1210" fmla="*/ 792051 w 1696389"/>
                    <a:gd name="connsiteY1210" fmla="*/ 184732 h 1400577"/>
                    <a:gd name="connsiteX1211" fmla="*/ 799899 w 1696389"/>
                    <a:gd name="connsiteY1211" fmla="*/ 186543 h 1400577"/>
                    <a:gd name="connsiteX1212" fmla="*/ 805936 w 1696389"/>
                    <a:gd name="connsiteY1212" fmla="*/ 182921 h 1400577"/>
                    <a:gd name="connsiteX1213" fmla="*/ 819217 w 1696389"/>
                    <a:gd name="connsiteY1213" fmla="*/ 185939 h 1400577"/>
                    <a:gd name="connsiteX1214" fmla="*/ 820424 w 1696389"/>
                    <a:gd name="connsiteY1214" fmla="*/ 182921 h 1400577"/>
                    <a:gd name="connsiteX1215" fmla="*/ 821028 w 1696389"/>
                    <a:gd name="connsiteY1215" fmla="*/ 177487 h 1400577"/>
                    <a:gd name="connsiteX1216" fmla="*/ 822839 w 1696389"/>
                    <a:gd name="connsiteY1216" fmla="*/ 173261 h 1400577"/>
                    <a:gd name="connsiteX1217" fmla="*/ 826461 w 1696389"/>
                    <a:gd name="connsiteY1217" fmla="*/ 173261 h 1400577"/>
                    <a:gd name="connsiteX1218" fmla="*/ 827065 w 1696389"/>
                    <a:gd name="connsiteY1218" fmla="*/ 166017 h 1400577"/>
                    <a:gd name="connsiteX1219" fmla="*/ 819821 w 1696389"/>
                    <a:gd name="connsiteY1219" fmla="*/ 155150 h 1400577"/>
                    <a:gd name="connsiteX1220" fmla="*/ 819821 w 1696389"/>
                    <a:gd name="connsiteY1220" fmla="*/ 153339 h 1400577"/>
                    <a:gd name="connsiteX1221" fmla="*/ 828273 w 1696389"/>
                    <a:gd name="connsiteY1221" fmla="*/ 146699 h 1400577"/>
                    <a:gd name="connsiteX1222" fmla="*/ 841554 w 1696389"/>
                    <a:gd name="connsiteY1222" fmla="*/ 137643 h 1400577"/>
                    <a:gd name="connsiteX1223" fmla="*/ 843969 w 1696389"/>
                    <a:gd name="connsiteY1223" fmla="*/ 130399 h 1400577"/>
                    <a:gd name="connsiteX1224" fmla="*/ 852421 w 1696389"/>
                    <a:gd name="connsiteY1224" fmla="*/ 124965 h 1400577"/>
                    <a:gd name="connsiteX1225" fmla="*/ 853628 w 1696389"/>
                    <a:gd name="connsiteY1225" fmla="*/ 120136 h 1400577"/>
                    <a:gd name="connsiteX1226" fmla="*/ 847591 w 1696389"/>
                    <a:gd name="connsiteY1226" fmla="*/ 112891 h 1400577"/>
                    <a:gd name="connsiteX1227" fmla="*/ 852421 w 1696389"/>
                    <a:gd name="connsiteY1227" fmla="*/ 109873 h 1400577"/>
                    <a:gd name="connsiteX1228" fmla="*/ 851213 w 1696389"/>
                    <a:gd name="connsiteY1228" fmla="*/ 103836 h 1400577"/>
                    <a:gd name="connsiteX1229" fmla="*/ 854232 w 1696389"/>
                    <a:gd name="connsiteY1229" fmla="*/ 95988 h 1400577"/>
                    <a:gd name="connsiteX1230" fmla="*/ 862080 w 1696389"/>
                    <a:gd name="connsiteY1230" fmla="*/ 97195 h 1400577"/>
                    <a:gd name="connsiteX1231" fmla="*/ 866306 w 1696389"/>
                    <a:gd name="connsiteY1231" fmla="*/ 92366 h 1400577"/>
                    <a:gd name="connsiteX1232" fmla="*/ 874154 w 1696389"/>
                    <a:gd name="connsiteY1232" fmla="*/ 95384 h 1400577"/>
                    <a:gd name="connsiteX1233" fmla="*/ 895887 w 1696389"/>
                    <a:gd name="connsiteY1233" fmla="*/ 77274 h 1400577"/>
                    <a:gd name="connsiteX1234" fmla="*/ 909168 w 1696389"/>
                    <a:gd name="connsiteY1234" fmla="*/ 71237 h 1400577"/>
                    <a:gd name="connsiteX1235" fmla="*/ 910979 w 1696389"/>
                    <a:gd name="connsiteY1235" fmla="*/ 68218 h 1400577"/>
                    <a:gd name="connsiteX1236" fmla="*/ 915809 w 1696389"/>
                    <a:gd name="connsiteY1236" fmla="*/ 68822 h 1400577"/>
                    <a:gd name="connsiteX1237" fmla="*/ 921846 w 1696389"/>
                    <a:gd name="connsiteY1237" fmla="*/ 67614 h 1400577"/>
                    <a:gd name="connsiteX1238" fmla="*/ 927279 w 1696389"/>
                    <a:gd name="connsiteY1238" fmla="*/ 70029 h 1400577"/>
                    <a:gd name="connsiteX1239" fmla="*/ 935731 w 1696389"/>
                    <a:gd name="connsiteY1239" fmla="*/ 68218 h 1400577"/>
                    <a:gd name="connsiteX1240" fmla="*/ 934523 w 1696389"/>
                    <a:gd name="connsiteY1240" fmla="*/ 72444 h 1400577"/>
                    <a:gd name="connsiteX1241" fmla="*/ 939353 w 1696389"/>
                    <a:gd name="connsiteY1241" fmla="*/ 74859 h 1400577"/>
                    <a:gd name="connsiteX1242" fmla="*/ 942371 w 1696389"/>
                    <a:gd name="connsiteY1242" fmla="*/ 73048 h 1400577"/>
                    <a:gd name="connsiteX1243" fmla="*/ 942975 w 1696389"/>
                    <a:gd name="connsiteY1243" fmla="*/ 69425 h 1400577"/>
                    <a:gd name="connsiteX1244" fmla="*/ 949616 w 1696389"/>
                    <a:gd name="connsiteY1244" fmla="*/ 70029 h 1400577"/>
                    <a:gd name="connsiteX1245" fmla="*/ 952031 w 1696389"/>
                    <a:gd name="connsiteY1245" fmla="*/ 67011 h 1400577"/>
                    <a:gd name="connsiteX1246" fmla="*/ 955653 w 1696389"/>
                    <a:gd name="connsiteY1246" fmla="*/ 65200 h 1400577"/>
                    <a:gd name="connsiteX1247" fmla="*/ 953842 w 1696389"/>
                    <a:gd name="connsiteY1247" fmla="*/ 59766 h 1400577"/>
                    <a:gd name="connsiteX1248" fmla="*/ 962897 w 1696389"/>
                    <a:gd name="connsiteY1248" fmla="*/ 60370 h 1400577"/>
                    <a:gd name="connsiteX1249" fmla="*/ 966519 w 1696389"/>
                    <a:gd name="connsiteY1249" fmla="*/ 59766 h 1400577"/>
                    <a:gd name="connsiteX1250" fmla="*/ 979197 w 1696389"/>
                    <a:gd name="connsiteY1250" fmla="*/ 60974 h 1400577"/>
                    <a:gd name="connsiteX1251" fmla="*/ 989460 w 1696389"/>
                    <a:gd name="connsiteY1251" fmla="*/ 59163 h 1400577"/>
                    <a:gd name="connsiteX1252" fmla="*/ 993686 w 1696389"/>
                    <a:gd name="connsiteY1252" fmla="*/ 57351 h 1400577"/>
                    <a:gd name="connsiteX1253" fmla="*/ 994893 w 1696389"/>
                    <a:gd name="connsiteY1253" fmla="*/ 60370 h 1400577"/>
                    <a:gd name="connsiteX1254" fmla="*/ 999119 w 1696389"/>
                    <a:gd name="connsiteY1254" fmla="*/ 62181 h 1400577"/>
                    <a:gd name="connsiteX1255" fmla="*/ 1008174 w 1696389"/>
                    <a:gd name="connsiteY1255" fmla="*/ 73048 h 1400577"/>
                    <a:gd name="connsiteX1256" fmla="*/ 1011797 w 1696389"/>
                    <a:gd name="connsiteY1256" fmla="*/ 80292 h 1400577"/>
                    <a:gd name="connsiteX1257" fmla="*/ 1014815 w 1696389"/>
                    <a:gd name="connsiteY1257" fmla="*/ 98403 h 1400577"/>
                    <a:gd name="connsiteX1258" fmla="*/ 1014211 w 1696389"/>
                    <a:gd name="connsiteY1258" fmla="*/ 103836 h 1400577"/>
                    <a:gd name="connsiteX1259" fmla="*/ 1018437 w 1696389"/>
                    <a:gd name="connsiteY1259" fmla="*/ 103836 h 1400577"/>
                    <a:gd name="connsiteX1260" fmla="*/ 1022060 w 1696389"/>
                    <a:gd name="connsiteY1260" fmla="*/ 108062 h 1400577"/>
                    <a:gd name="connsiteX1261" fmla="*/ 1018437 w 1696389"/>
                    <a:gd name="connsiteY1261" fmla="*/ 111080 h 1400577"/>
                    <a:gd name="connsiteX1262" fmla="*/ 1013608 w 1696389"/>
                    <a:gd name="connsiteY1262" fmla="*/ 111080 h 1400577"/>
                    <a:gd name="connsiteX1263" fmla="*/ 1005760 w 1696389"/>
                    <a:gd name="connsiteY1263" fmla="*/ 108665 h 1400577"/>
                    <a:gd name="connsiteX1264" fmla="*/ 1000930 w 1696389"/>
                    <a:gd name="connsiteY1264" fmla="*/ 105647 h 1400577"/>
                    <a:gd name="connsiteX1265" fmla="*/ 991271 w 1696389"/>
                    <a:gd name="connsiteY1265" fmla="*/ 105043 h 1400577"/>
                    <a:gd name="connsiteX1266" fmla="*/ 987649 w 1696389"/>
                    <a:gd name="connsiteY1266" fmla="*/ 107458 h 1400577"/>
                    <a:gd name="connsiteX1267" fmla="*/ 984026 w 1696389"/>
                    <a:gd name="connsiteY1267" fmla="*/ 108062 h 1400577"/>
                    <a:gd name="connsiteX1268" fmla="*/ 983423 w 1696389"/>
                    <a:gd name="connsiteY1268" fmla="*/ 114099 h 1400577"/>
                    <a:gd name="connsiteX1269" fmla="*/ 987045 w 1696389"/>
                    <a:gd name="connsiteY1269" fmla="*/ 120136 h 1400577"/>
                    <a:gd name="connsiteX1270" fmla="*/ 987045 w 1696389"/>
                    <a:gd name="connsiteY1270" fmla="*/ 123758 h 1400577"/>
                    <a:gd name="connsiteX1271" fmla="*/ 993686 w 1696389"/>
                    <a:gd name="connsiteY1271" fmla="*/ 127380 h 1400577"/>
                    <a:gd name="connsiteX1272" fmla="*/ 993686 w 1696389"/>
                    <a:gd name="connsiteY1272" fmla="*/ 131606 h 1400577"/>
                    <a:gd name="connsiteX1273" fmla="*/ 996100 w 1696389"/>
                    <a:gd name="connsiteY1273" fmla="*/ 136436 h 1400577"/>
                    <a:gd name="connsiteX1274" fmla="*/ 997308 w 1696389"/>
                    <a:gd name="connsiteY1274" fmla="*/ 144887 h 1400577"/>
                    <a:gd name="connsiteX1275" fmla="*/ 1009986 w 1696389"/>
                    <a:gd name="connsiteY1275" fmla="*/ 143680 h 1400577"/>
                    <a:gd name="connsiteX1276" fmla="*/ 1012400 w 1696389"/>
                    <a:gd name="connsiteY1276" fmla="*/ 145491 h 1400577"/>
                    <a:gd name="connsiteX1277" fmla="*/ 1020852 w 1696389"/>
                    <a:gd name="connsiteY1277" fmla="*/ 147302 h 1400577"/>
                    <a:gd name="connsiteX1278" fmla="*/ 1020248 w 1696389"/>
                    <a:gd name="connsiteY1278" fmla="*/ 142473 h 1400577"/>
                    <a:gd name="connsiteX1279" fmla="*/ 1029907 w 1696389"/>
                    <a:gd name="connsiteY1279" fmla="*/ 141265 h 1400577"/>
                    <a:gd name="connsiteX1280" fmla="*/ 1032926 w 1696389"/>
                    <a:gd name="connsiteY1280" fmla="*/ 142473 h 1400577"/>
                    <a:gd name="connsiteX1281" fmla="*/ 1034737 w 1696389"/>
                    <a:gd name="connsiteY1281" fmla="*/ 145491 h 1400577"/>
                    <a:gd name="connsiteX1282" fmla="*/ 1041981 w 1696389"/>
                    <a:gd name="connsiteY1282" fmla="*/ 144887 h 1400577"/>
                    <a:gd name="connsiteX1283" fmla="*/ 1041981 w 1696389"/>
                    <a:gd name="connsiteY1283" fmla="*/ 149113 h 1400577"/>
                    <a:gd name="connsiteX1284" fmla="*/ 1048622 w 1696389"/>
                    <a:gd name="connsiteY1284" fmla="*/ 147302 h 1400577"/>
                    <a:gd name="connsiteX1285" fmla="*/ 1050433 w 1696389"/>
                    <a:gd name="connsiteY1285" fmla="*/ 143076 h 1400577"/>
                    <a:gd name="connsiteX1286" fmla="*/ 1060092 w 1696389"/>
                    <a:gd name="connsiteY1286" fmla="*/ 141869 h 1400577"/>
                    <a:gd name="connsiteX1287" fmla="*/ 1061300 w 1696389"/>
                    <a:gd name="connsiteY1287" fmla="*/ 137039 h 1400577"/>
                    <a:gd name="connsiteX1288" fmla="*/ 1065526 w 1696389"/>
                    <a:gd name="connsiteY1288" fmla="*/ 137643 h 1400577"/>
                    <a:gd name="connsiteX1289" fmla="*/ 1074581 w 1696389"/>
                    <a:gd name="connsiteY1289" fmla="*/ 142473 h 1400577"/>
                    <a:gd name="connsiteX1290" fmla="*/ 1081826 w 1696389"/>
                    <a:gd name="connsiteY1290" fmla="*/ 144284 h 1400577"/>
                    <a:gd name="connsiteX1291" fmla="*/ 1090277 w 1696389"/>
                    <a:gd name="connsiteY1291" fmla="*/ 142473 h 1400577"/>
                    <a:gd name="connsiteX1292" fmla="*/ 1090881 w 1696389"/>
                    <a:gd name="connsiteY1292" fmla="*/ 140058 h 1400577"/>
                    <a:gd name="connsiteX1293" fmla="*/ 1098729 w 1696389"/>
                    <a:gd name="connsiteY1293" fmla="*/ 139454 h 1400577"/>
                    <a:gd name="connsiteX1294" fmla="*/ 1102955 w 1696389"/>
                    <a:gd name="connsiteY1294" fmla="*/ 136436 h 1400577"/>
                    <a:gd name="connsiteX1295" fmla="*/ 1106577 w 1696389"/>
                    <a:gd name="connsiteY1295" fmla="*/ 135228 h 1400577"/>
                    <a:gd name="connsiteX1296" fmla="*/ 1112010 w 1696389"/>
                    <a:gd name="connsiteY1296" fmla="*/ 132210 h 1400577"/>
                    <a:gd name="connsiteX1297" fmla="*/ 1116236 w 1696389"/>
                    <a:gd name="connsiteY1297" fmla="*/ 131002 h 1400577"/>
                    <a:gd name="connsiteX1298" fmla="*/ 1137969 w 1696389"/>
                    <a:gd name="connsiteY1298" fmla="*/ 117721 h 1400577"/>
                    <a:gd name="connsiteX1299" fmla="*/ 1139177 w 1696389"/>
                    <a:gd name="connsiteY1299" fmla="*/ 114702 h 1400577"/>
                    <a:gd name="connsiteX1300" fmla="*/ 1137969 w 1696389"/>
                    <a:gd name="connsiteY1300" fmla="*/ 111080 h 1400577"/>
                    <a:gd name="connsiteX1301" fmla="*/ 1138573 w 1696389"/>
                    <a:gd name="connsiteY1301" fmla="*/ 105647 h 1400577"/>
                    <a:gd name="connsiteX1302" fmla="*/ 1140384 w 1696389"/>
                    <a:gd name="connsiteY1302" fmla="*/ 104440 h 1400577"/>
                    <a:gd name="connsiteX1303" fmla="*/ 1147025 w 1696389"/>
                    <a:gd name="connsiteY1303" fmla="*/ 105647 h 1400577"/>
                    <a:gd name="connsiteX1304" fmla="*/ 1151854 w 1696389"/>
                    <a:gd name="connsiteY1304" fmla="*/ 103232 h 1400577"/>
                    <a:gd name="connsiteX1305" fmla="*/ 1158495 w 1696389"/>
                    <a:gd name="connsiteY1305" fmla="*/ 102025 h 1400577"/>
                    <a:gd name="connsiteX1306" fmla="*/ 1158495 w 1696389"/>
                    <a:gd name="connsiteY1306" fmla="*/ 97195 h 1400577"/>
                    <a:gd name="connsiteX1307" fmla="*/ 1168758 w 1696389"/>
                    <a:gd name="connsiteY1307" fmla="*/ 100818 h 1400577"/>
                    <a:gd name="connsiteX1308" fmla="*/ 1172380 w 1696389"/>
                    <a:gd name="connsiteY1308" fmla="*/ 97799 h 1400577"/>
                    <a:gd name="connsiteX1309" fmla="*/ 1177210 w 1696389"/>
                    <a:gd name="connsiteY1309" fmla="*/ 100214 h 1400577"/>
                    <a:gd name="connsiteX1310" fmla="*/ 1180832 w 1696389"/>
                    <a:gd name="connsiteY1310" fmla="*/ 96592 h 1400577"/>
                    <a:gd name="connsiteX1311" fmla="*/ 1179624 w 1696389"/>
                    <a:gd name="connsiteY1311" fmla="*/ 92366 h 1400577"/>
                    <a:gd name="connsiteX1312" fmla="*/ 1186265 w 1696389"/>
                    <a:gd name="connsiteY1312" fmla="*/ 92970 h 1400577"/>
                    <a:gd name="connsiteX1313" fmla="*/ 1189887 w 1696389"/>
                    <a:gd name="connsiteY1313" fmla="*/ 94781 h 1400577"/>
                    <a:gd name="connsiteX1314" fmla="*/ 1188076 w 1696389"/>
                    <a:gd name="connsiteY1314" fmla="*/ 100214 h 1400577"/>
                    <a:gd name="connsiteX1315" fmla="*/ 1189887 w 1696389"/>
                    <a:gd name="connsiteY1315" fmla="*/ 103232 h 1400577"/>
                    <a:gd name="connsiteX1316" fmla="*/ 1193510 w 1696389"/>
                    <a:gd name="connsiteY1316" fmla="*/ 116514 h 1400577"/>
                    <a:gd name="connsiteX1317" fmla="*/ 1201961 w 1696389"/>
                    <a:gd name="connsiteY1317" fmla="*/ 116514 h 1400577"/>
                    <a:gd name="connsiteX1318" fmla="*/ 1207394 w 1696389"/>
                    <a:gd name="connsiteY1318" fmla="*/ 111080 h 1400577"/>
                    <a:gd name="connsiteX1319" fmla="*/ 1213431 w 1696389"/>
                    <a:gd name="connsiteY1319" fmla="*/ 112288 h 1400577"/>
                    <a:gd name="connsiteX1320" fmla="*/ 1218261 w 1696389"/>
                    <a:gd name="connsiteY1320" fmla="*/ 114702 h 1400577"/>
                    <a:gd name="connsiteX1321" fmla="*/ 1223694 w 1696389"/>
                    <a:gd name="connsiteY1321" fmla="*/ 120739 h 1400577"/>
                    <a:gd name="connsiteX1322" fmla="*/ 1227920 w 1696389"/>
                    <a:gd name="connsiteY1322" fmla="*/ 120136 h 1400577"/>
                    <a:gd name="connsiteX1323" fmla="*/ 1230939 w 1696389"/>
                    <a:gd name="connsiteY1323" fmla="*/ 122551 h 1400577"/>
                    <a:gd name="connsiteX1324" fmla="*/ 1233957 w 1696389"/>
                    <a:gd name="connsiteY1324" fmla="*/ 121343 h 1400577"/>
                    <a:gd name="connsiteX1325" fmla="*/ 1238787 w 1696389"/>
                    <a:gd name="connsiteY1325" fmla="*/ 122551 h 1400577"/>
                    <a:gd name="connsiteX1326" fmla="*/ 1243616 w 1696389"/>
                    <a:gd name="connsiteY1326" fmla="*/ 121343 h 1400577"/>
                    <a:gd name="connsiteX1327" fmla="*/ 1252068 w 1696389"/>
                    <a:gd name="connsiteY1327" fmla="*/ 125569 h 1400577"/>
                    <a:gd name="connsiteX1328" fmla="*/ 1255087 w 1696389"/>
                    <a:gd name="connsiteY1328" fmla="*/ 123758 h 1400577"/>
                    <a:gd name="connsiteX1329" fmla="*/ 1256898 w 1696389"/>
                    <a:gd name="connsiteY1329" fmla="*/ 118928 h 1400577"/>
                    <a:gd name="connsiteX1330" fmla="*/ 1259916 w 1696389"/>
                    <a:gd name="connsiteY1330" fmla="*/ 120136 h 1400577"/>
                    <a:gd name="connsiteX1331" fmla="*/ 1262331 w 1696389"/>
                    <a:gd name="connsiteY1331" fmla="*/ 124965 h 1400577"/>
                    <a:gd name="connsiteX1332" fmla="*/ 1264746 w 1696389"/>
                    <a:gd name="connsiteY1332" fmla="*/ 120136 h 1400577"/>
                    <a:gd name="connsiteX1333" fmla="*/ 1276820 w 1696389"/>
                    <a:gd name="connsiteY1333" fmla="*/ 120136 h 1400577"/>
                    <a:gd name="connsiteX1334" fmla="*/ 1278631 w 1696389"/>
                    <a:gd name="connsiteY1334" fmla="*/ 118325 h 1400577"/>
                    <a:gd name="connsiteX1335" fmla="*/ 1285271 w 1696389"/>
                    <a:gd name="connsiteY1335" fmla="*/ 120739 h 1400577"/>
                    <a:gd name="connsiteX1336" fmla="*/ 1287686 w 1696389"/>
                    <a:gd name="connsiteY1336" fmla="*/ 117721 h 1400577"/>
                    <a:gd name="connsiteX1337" fmla="*/ 1294931 w 1696389"/>
                    <a:gd name="connsiteY1337" fmla="*/ 120136 h 1400577"/>
                    <a:gd name="connsiteX1338" fmla="*/ 1296138 w 1696389"/>
                    <a:gd name="connsiteY1338" fmla="*/ 113495 h 1400577"/>
                    <a:gd name="connsiteX1339" fmla="*/ 1293120 w 1696389"/>
                    <a:gd name="connsiteY1339" fmla="*/ 112288 h 1400577"/>
                    <a:gd name="connsiteX1340" fmla="*/ 1290705 w 1696389"/>
                    <a:gd name="connsiteY1340" fmla="*/ 103836 h 1400577"/>
                    <a:gd name="connsiteX1341" fmla="*/ 1291308 w 1696389"/>
                    <a:gd name="connsiteY1341" fmla="*/ 97195 h 1400577"/>
                    <a:gd name="connsiteX1342" fmla="*/ 1296742 w 1696389"/>
                    <a:gd name="connsiteY1342" fmla="*/ 96592 h 1400577"/>
                    <a:gd name="connsiteX1343" fmla="*/ 1303986 w 1696389"/>
                    <a:gd name="connsiteY1343" fmla="*/ 91762 h 1400577"/>
                    <a:gd name="connsiteX1344" fmla="*/ 1307608 w 1696389"/>
                    <a:gd name="connsiteY1344" fmla="*/ 91158 h 1400577"/>
                    <a:gd name="connsiteX1345" fmla="*/ 1311230 w 1696389"/>
                    <a:gd name="connsiteY1345" fmla="*/ 95384 h 1400577"/>
                    <a:gd name="connsiteX1346" fmla="*/ 1315456 w 1696389"/>
                    <a:gd name="connsiteY1346" fmla="*/ 94177 h 1400577"/>
                    <a:gd name="connsiteX1347" fmla="*/ 1330549 w 1696389"/>
                    <a:gd name="connsiteY1347" fmla="*/ 93573 h 1400577"/>
                    <a:gd name="connsiteX1348" fmla="*/ 1329341 w 1696389"/>
                    <a:gd name="connsiteY1348" fmla="*/ 91158 h 1400577"/>
                    <a:gd name="connsiteX1349" fmla="*/ 1335378 w 1696389"/>
                    <a:gd name="connsiteY1349" fmla="*/ 89347 h 1400577"/>
                    <a:gd name="connsiteX1350" fmla="*/ 1337793 w 1696389"/>
                    <a:gd name="connsiteY1350" fmla="*/ 86933 h 1400577"/>
                    <a:gd name="connsiteX1351" fmla="*/ 1339604 w 1696389"/>
                    <a:gd name="connsiteY1351" fmla="*/ 82103 h 1400577"/>
                    <a:gd name="connsiteX1352" fmla="*/ 1353489 w 1696389"/>
                    <a:gd name="connsiteY1352" fmla="*/ 84518 h 1400577"/>
                    <a:gd name="connsiteX1353" fmla="*/ 1355904 w 1696389"/>
                    <a:gd name="connsiteY1353" fmla="*/ 79688 h 1400577"/>
                    <a:gd name="connsiteX1354" fmla="*/ 1354093 w 1696389"/>
                    <a:gd name="connsiteY1354" fmla="*/ 77274 h 1400577"/>
                    <a:gd name="connsiteX1355" fmla="*/ 1354697 w 1696389"/>
                    <a:gd name="connsiteY1355" fmla="*/ 73048 h 1400577"/>
                    <a:gd name="connsiteX1356" fmla="*/ 1357111 w 1696389"/>
                    <a:gd name="connsiteY1356" fmla="*/ 70029 h 1400577"/>
                    <a:gd name="connsiteX1357" fmla="*/ 1361941 w 1696389"/>
                    <a:gd name="connsiteY1357" fmla="*/ 69425 h 1400577"/>
                    <a:gd name="connsiteX1358" fmla="*/ 1367978 w 1696389"/>
                    <a:gd name="connsiteY1358" fmla="*/ 74859 h 1400577"/>
                    <a:gd name="connsiteX1359" fmla="*/ 1390315 w 1696389"/>
                    <a:gd name="connsiteY1359" fmla="*/ 79085 h 1400577"/>
                    <a:gd name="connsiteX1360" fmla="*/ 1393937 w 1696389"/>
                    <a:gd name="connsiteY1360" fmla="*/ 75462 h 1400577"/>
                    <a:gd name="connsiteX1361" fmla="*/ 1399974 w 1696389"/>
                    <a:gd name="connsiteY1361" fmla="*/ 77274 h 1400577"/>
                    <a:gd name="connsiteX1362" fmla="*/ 1403596 w 1696389"/>
                    <a:gd name="connsiteY1362" fmla="*/ 76066 h 1400577"/>
                    <a:gd name="connsiteX1363" fmla="*/ 1409633 w 1696389"/>
                    <a:gd name="connsiteY1363" fmla="*/ 79085 h 1400577"/>
                    <a:gd name="connsiteX1364" fmla="*/ 1414463 w 1696389"/>
                    <a:gd name="connsiteY1364" fmla="*/ 89347 h 1400577"/>
                    <a:gd name="connsiteX1365" fmla="*/ 1411444 w 1696389"/>
                    <a:gd name="connsiteY1365" fmla="*/ 92970 h 1400577"/>
                    <a:gd name="connsiteX1366" fmla="*/ 1413255 w 1696389"/>
                    <a:gd name="connsiteY1366" fmla="*/ 97799 h 1400577"/>
                    <a:gd name="connsiteX1367" fmla="*/ 1420500 w 1696389"/>
                    <a:gd name="connsiteY1367" fmla="*/ 103232 h 1400577"/>
                    <a:gd name="connsiteX1368" fmla="*/ 1419896 w 1696389"/>
                    <a:gd name="connsiteY1368" fmla="*/ 108062 h 1400577"/>
                    <a:gd name="connsiteX1369" fmla="*/ 1427744 w 1696389"/>
                    <a:gd name="connsiteY1369" fmla="*/ 108062 h 1400577"/>
                    <a:gd name="connsiteX1370" fmla="*/ 1434385 w 1696389"/>
                    <a:gd name="connsiteY1370" fmla="*/ 105043 h 1400577"/>
                    <a:gd name="connsiteX1371" fmla="*/ 1442836 w 1696389"/>
                    <a:gd name="connsiteY1371" fmla="*/ 104440 h 1400577"/>
                    <a:gd name="connsiteX1372" fmla="*/ 1444648 w 1696389"/>
                    <a:gd name="connsiteY1372" fmla="*/ 100214 h 1400577"/>
                    <a:gd name="connsiteX1373" fmla="*/ 1450081 w 1696389"/>
                    <a:gd name="connsiteY1373" fmla="*/ 99610 h 1400577"/>
                    <a:gd name="connsiteX1374" fmla="*/ 1451892 w 1696389"/>
                    <a:gd name="connsiteY1374" fmla="*/ 97195 h 1400577"/>
                    <a:gd name="connsiteX1375" fmla="*/ 1456118 w 1696389"/>
                    <a:gd name="connsiteY1375" fmla="*/ 97195 h 1400577"/>
                    <a:gd name="connsiteX1376" fmla="*/ 1459740 w 1696389"/>
                    <a:gd name="connsiteY1376" fmla="*/ 94781 h 1400577"/>
                    <a:gd name="connsiteX1377" fmla="*/ 1472417 w 1696389"/>
                    <a:gd name="connsiteY1377" fmla="*/ 99610 h 1400577"/>
                    <a:gd name="connsiteX1378" fmla="*/ 1477851 w 1696389"/>
                    <a:gd name="connsiteY1378" fmla="*/ 104440 h 1400577"/>
                    <a:gd name="connsiteX1379" fmla="*/ 1479058 w 1696389"/>
                    <a:gd name="connsiteY1379" fmla="*/ 107458 h 1400577"/>
                    <a:gd name="connsiteX1380" fmla="*/ 1485699 w 1696389"/>
                    <a:gd name="connsiteY1380" fmla="*/ 111080 h 1400577"/>
                    <a:gd name="connsiteX1381" fmla="*/ 1492340 w 1696389"/>
                    <a:gd name="connsiteY1381" fmla="*/ 112288 h 1400577"/>
                    <a:gd name="connsiteX1382" fmla="*/ 1497773 w 1696389"/>
                    <a:gd name="connsiteY1382" fmla="*/ 112288 h 1400577"/>
                    <a:gd name="connsiteX1383" fmla="*/ 1500188 w 1696389"/>
                    <a:gd name="connsiteY1383" fmla="*/ 105647 h 1400577"/>
                    <a:gd name="connsiteX1384" fmla="*/ 1509243 w 1696389"/>
                    <a:gd name="connsiteY1384" fmla="*/ 105647 h 1400577"/>
                    <a:gd name="connsiteX1385" fmla="*/ 1514073 w 1696389"/>
                    <a:gd name="connsiteY1385" fmla="*/ 109873 h 1400577"/>
                    <a:gd name="connsiteX1386" fmla="*/ 1520713 w 1696389"/>
                    <a:gd name="connsiteY1386" fmla="*/ 105043 h 1400577"/>
                    <a:gd name="connsiteX1387" fmla="*/ 1528561 w 1696389"/>
                    <a:gd name="connsiteY1387" fmla="*/ 105647 h 1400577"/>
                    <a:gd name="connsiteX1388" fmla="*/ 1534598 w 1696389"/>
                    <a:gd name="connsiteY1388" fmla="*/ 98403 h 1400577"/>
                    <a:gd name="connsiteX1389" fmla="*/ 1537617 w 1696389"/>
                    <a:gd name="connsiteY1389" fmla="*/ 97195 h 1400577"/>
                    <a:gd name="connsiteX1390" fmla="*/ 1539428 w 1696389"/>
                    <a:gd name="connsiteY1390" fmla="*/ 93573 h 1400577"/>
                    <a:gd name="connsiteX1391" fmla="*/ 1544861 w 1696389"/>
                    <a:gd name="connsiteY1391" fmla="*/ 94177 h 1400577"/>
                    <a:gd name="connsiteX1392" fmla="*/ 1553917 w 1696389"/>
                    <a:gd name="connsiteY1392" fmla="*/ 88140 h 1400577"/>
                    <a:gd name="connsiteX1393" fmla="*/ 1557539 w 1696389"/>
                    <a:gd name="connsiteY1393" fmla="*/ 88140 h 1400577"/>
                    <a:gd name="connsiteX1394" fmla="*/ 1560557 w 1696389"/>
                    <a:gd name="connsiteY1394" fmla="*/ 91158 h 1400577"/>
                    <a:gd name="connsiteX1395" fmla="*/ 1569009 w 1696389"/>
                    <a:gd name="connsiteY1395" fmla="*/ 91158 h 1400577"/>
                    <a:gd name="connsiteX1396" fmla="*/ 1576253 w 1696389"/>
                    <a:gd name="connsiteY1396" fmla="*/ 100818 h 1400577"/>
                    <a:gd name="connsiteX1397" fmla="*/ 1581083 w 1696389"/>
                    <a:gd name="connsiteY1397" fmla="*/ 101421 h 1400577"/>
                    <a:gd name="connsiteX1398" fmla="*/ 1584705 w 1696389"/>
                    <a:gd name="connsiteY1398" fmla="*/ 109269 h 1400577"/>
                    <a:gd name="connsiteX1399" fmla="*/ 1591346 w 1696389"/>
                    <a:gd name="connsiteY1399" fmla="*/ 112891 h 1400577"/>
                    <a:gd name="connsiteX1400" fmla="*/ 1592553 w 1696389"/>
                    <a:gd name="connsiteY1400" fmla="*/ 119532 h 1400577"/>
                    <a:gd name="connsiteX1401" fmla="*/ 1597987 w 1696389"/>
                    <a:gd name="connsiteY1401" fmla="*/ 125569 h 1400577"/>
                    <a:gd name="connsiteX1402" fmla="*/ 1599798 w 1696389"/>
                    <a:gd name="connsiteY1402" fmla="*/ 131606 h 1400577"/>
                    <a:gd name="connsiteX1403" fmla="*/ 1595572 w 1696389"/>
                    <a:gd name="connsiteY1403" fmla="*/ 138247 h 1400577"/>
                    <a:gd name="connsiteX1404" fmla="*/ 1597383 w 1696389"/>
                    <a:gd name="connsiteY1404" fmla="*/ 144284 h 1400577"/>
                    <a:gd name="connsiteX1405" fmla="*/ 1604627 w 1696389"/>
                    <a:gd name="connsiteY1405" fmla="*/ 146095 h 1400577"/>
                    <a:gd name="connsiteX1406" fmla="*/ 1606438 w 1696389"/>
                    <a:gd name="connsiteY1406" fmla="*/ 145491 h 1400577"/>
                    <a:gd name="connsiteX1407" fmla="*/ 1607646 w 1696389"/>
                    <a:gd name="connsiteY1407" fmla="*/ 139454 h 1400577"/>
                    <a:gd name="connsiteX1408" fmla="*/ 1613079 w 1696389"/>
                    <a:gd name="connsiteY1408" fmla="*/ 140662 h 1400577"/>
                    <a:gd name="connsiteX1409" fmla="*/ 1622135 w 1696389"/>
                    <a:gd name="connsiteY1409" fmla="*/ 141869 h 1400577"/>
                    <a:gd name="connsiteX1410" fmla="*/ 1625757 w 1696389"/>
                    <a:gd name="connsiteY1410" fmla="*/ 146699 h 1400577"/>
                    <a:gd name="connsiteX1411" fmla="*/ 1631190 w 1696389"/>
                    <a:gd name="connsiteY1411" fmla="*/ 149113 h 1400577"/>
                    <a:gd name="connsiteX1412" fmla="*/ 1631190 w 1696389"/>
                    <a:gd name="connsiteY1412" fmla="*/ 152132 h 1400577"/>
                    <a:gd name="connsiteX1413" fmla="*/ 1634812 w 1696389"/>
                    <a:gd name="connsiteY1413" fmla="*/ 152736 h 1400577"/>
                    <a:gd name="connsiteX1414" fmla="*/ 1637227 w 1696389"/>
                    <a:gd name="connsiteY1414" fmla="*/ 156358 h 1400577"/>
                    <a:gd name="connsiteX1415" fmla="*/ 1642660 w 1696389"/>
                    <a:gd name="connsiteY1415" fmla="*/ 157565 h 1400577"/>
                    <a:gd name="connsiteX1416" fmla="*/ 1650508 w 1696389"/>
                    <a:gd name="connsiteY1416" fmla="*/ 155150 h 140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Lst>
                  <a:rect l="l" t="t" r="r" b="b"/>
                  <a:pathLst>
                    <a:path w="1696389" h="1400577">
                      <a:moveTo>
                        <a:pt x="1650508" y="155150"/>
                      </a:moveTo>
                      <a:lnTo>
                        <a:pt x="1654130" y="159376"/>
                      </a:lnTo>
                      <a:lnTo>
                        <a:pt x="1654130" y="162395"/>
                      </a:lnTo>
                      <a:lnTo>
                        <a:pt x="1649905" y="164206"/>
                      </a:lnTo>
                      <a:lnTo>
                        <a:pt x="1646886" y="172054"/>
                      </a:lnTo>
                      <a:lnTo>
                        <a:pt x="1639642" y="178091"/>
                      </a:lnTo>
                      <a:lnTo>
                        <a:pt x="1633001" y="180506"/>
                      </a:lnTo>
                      <a:lnTo>
                        <a:pt x="1630586" y="182921"/>
                      </a:lnTo>
                      <a:lnTo>
                        <a:pt x="1625757" y="184128"/>
                      </a:lnTo>
                      <a:lnTo>
                        <a:pt x="1622738" y="183524"/>
                      </a:lnTo>
                      <a:lnTo>
                        <a:pt x="1620323" y="187750"/>
                      </a:lnTo>
                      <a:lnTo>
                        <a:pt x="1613079" y="190165"/>
                      </a:lnTo>
                      <a:lnTo>
                        <a:pt x="1609457" y="190165"/>
                      </a:lnTo>
                      <a:lnTo>
                        <a:pt x="1604627" y="206465"/>
                      </a:lnTo>
                      <a:lnTo>
                        <a:pt x="1607646" y="217331"/>
                      </a:lnTo>
                      <a:lnTo>
                        <a:pt x="1607042" y="221557"/>
                      </a:lnTo>
                      <a:lnTo>
                        <a:pt x="1602816" y="226386"/>
                      </a:lnTo>
                      <a:lnTo>
                        <a:pt x="1605231" y="230009"/>
                      </a:lnTo>
                      <a:lnTo>
                        <a:pt x="1605835" y="234235"/>
                      </a:lnTo>
                      <a:lnTo>
                        <a:pt x="1610061" y="243894"/>
                      </a:lnTo>
                      <a:lnTo>
                        <a:pt x="1625757" y="243290"/>
                      </a:lnTo>
                      <a:lnTo>
                        <a:pt x="1628775" y="252949"/>
                      </a:lnTo>
                      <a:lnTo>
                        <a:pt x="1628775" y="262608"/>
                      </a:lnTo>
                      <a:lnTo>
                        <a:pt x="1629983" y="268042"/>
                      </a:lnTo>
                      <a:lnTo>
                        <a:pt x="1626964" y="274079"/>
                      </a:lnTo>
                      <a:lnTo>
                        <a:pt x="1627568" y="280116"/>
                      </a:lnTo>
                      <a:lnTo>
                        <a:pt x="1629379" y="284342"/>
                      </a:lnTo>
                      <a:lnTo>
                        <a:pt x="1630586" y="291586"/>
                      </a:lnTo>
                      <a:lnTo>
                        <a:pt x="1633605" y="294605"/>
                      </a:lnTo>
                      <a:lnTo>
                        <a:pt x="1634208" y="298830"/>
                      </a:lnTo>
                      <a:lnTo>
                        <a:pt x="1622135" y="303056"/>
                      </a:lnTo>
                      <a:lnTo>
                        <a:pt x="1616098" y="307886"/>
                      </a:lnTo>
                      <a:lnTo>
                        <a:pt x="1614286" y="312715"/>
                      </a:lnTo>
                      <a:lnTo>
                        <a:pt x="1618512" y="319356"/>
                      </a:lnTo>
                      <a:lnTo>
                        <a:pt x="1622135" y="319960"/>
                      </a:lnTo>
                      <a:lnTo>
                        <a:pt x="1634208" y="313319"/>
                      </a:lnTo>
                      <a:lnTo>
                        <a:pt x="1643264" y="315734"/>
                      </a:lnTo>
                      <a:lnTo>
                        <a:pt x="1641453" y="318752"/>
                      </a:lnTo>
                      <a:lnTo>
                        <a:pt x="1642660" y="323582"/>
                      </a:lnTo>
                      <a:lnTo>
                        <a:pt x="1640849" y="325996"/>
                      </a:lnTo>
                      <a:lnTo>
                        <a:pt x="1640849" y="331430"/>
                      </a:lnTo>
                      <a:lnTo>
                        <a:pt x="1639642" y="346522"/>
                      </a:lnTo>
                      <a:lnTo>
                        <a:pt x="1637831" y="350144"/>
                      </a:lnTo>
                      <a:lnTo>
                        <a:pt x="1639642" y="353163"/>
                      </a:lnTo>
                      <a:lnTo>
                        <a:pt x="1636623" y="357389"/>
                      </a:lnTo>
                      <a:lnTo>
                        <a:pt x="1636019" y="362218"/>
                      </a:lnTo>
                      <a:lnTo>
                        <a:pt x="1639038" y="365841"/>
                      </a:lnTo>
                      <a:lnTo>
                        <a:pt x="1642056" y="376707"/>
                      </a:lnTo>
                      <a:lnTo>
                        <a:pt x="1626964" y="380933"/>
                      </a:lnTo>
                      <a:lnTo>
                        <a:pt x="1620323" y="389385"/>
                      </a:lnTo>
                      <a:lnTo>
                        <a:pt x="1617305" y="388178"/>
                      </a:lnTo>
                      <a:lnTo>
                        <a:pt x="1609457" y="389385"/>
                      </a:lnTo>
                      <a:lnTo>
                        <a:pt x="1601609" y="393007"/>
                      </a:lnTo>
                      <a:lnTo>
                        <a:pt x="1594364" y="395422"/>
                      </a:lnTo>
                      <a:lnTo>
                        <a:pt x="1597383" y="401459"/>
                      </a:lnTo>
                      <a:lnTo>
                        <a:pt x="1600401" y="403874"/>
                      </a:lnTo>
                      <a:lnTo>
                        <a:pt x="1600401" y="406892"/>
                      </a:lnTo>
                      <a:lnTo>
                        <a:pt x="1596779" y="408703"/>
                      </a:lnTo>
                      <a:lnTo>
                        <a:pt x="1594364" y="413533"/>
                      </a:lnTo>
                      <a:lnTo>
                        <a:pt x="1596175" y="416551"/>
                      </a:lnTo>
                      <a:lnTo>
                        <a:pt x="1603420" y="419570"/>
                      </a:lnTo>
                      <a:lnTo>
                        <a:pt x="1606438" y="419570"/>
                      </a:lnTo>
                      <a:lnTo>
                        <a:pt x="1608249" y="416551"/>
                      </a:lnTo>
                      <a:lnTo>
                        <a:pt x="1623342" y="420777"/>
                      </a:lnTo>
                      <a:lnTo>
                        <a:pt x="1626360" y="424399"/>
                      </a:lnTo>
                      <a:lnTo>
                        <a:pt x="1625757" y="429832"/>
                      </a:lnTo>
                      <a:lnTo>
                        <a:pt x="1627568" y="434058"/>
                      </a:lnTo>
                      <a:lnTo>
                        <a:pt x="1625153" y="447340"/>
                      </a:lnTo>
                      <a:lnTo>
                        <a:pt x="1627568" y="452169"/>
                      </a:lnTo>
                      <a:lnTo>
                        <a:pt x="1625153" y="455791"/>
                      </a:lnTo>
                      <a:lnTo>
                        <a:pt x="1622738" y="463640"/>
                      </a:lnTo>
                      <a:lnTo>
                        <a:pt x="1618512" y="464847"/>
                      </a:lnTo>
                      <a:lnTo>
                        <a:pt x="1611872" y="463036"/>
                      </a:lnTo>
                      <a:lnTo>
                        <a:pt x="1610664" y="460017"/>
                      </a:lnTo>
                      <a:lnTo>
                        <a:pt x="1606438" y="458810"/>
                      </a:lnTo>
                      <a:lnTo>
                        <a:pt x="1602816" y="461828"/>
                      </a:lnTo>
                      <a:lnTo>
                        <a:pt x="1599194" y="463036"/>
                      </a:lnTo>
                      <a:lnTo>
                        <a:pt x="1597987" y="468469"/>
                      </a:lnTo>
                      <a:lnTo>
                        <a:pt x="1607042" y="471488"/>
                      </a:lnTo>
                      <a:lnTo>
                        <a:pt x="1610061" y="469677"/>
                      </a:lnTo>
                      <a:lnTo>
                        <a:pt x="1616098" y="471488"/>
                      </a:lnTo>
                      <a:lnTo>
                        <a:pt x="1617909" y="476921"/>
                      </a:lnTo>
                      <a:lnTo>
                        <a:pt x="1613079" y="479939"/>
                      </a:lnTo>
                      <a:lnTo>
                        <a:pt x="1610061" y="485976"/>
                      </a:lnTo>
                      <a:lnTo>
                        <a:pt x="1604024" y="490202"/>
                      </a:lnTo>
                      <a:lnTo>
                        <a:pt x="1597383" y="488391"/>
                      </a:lnTo>
                      <a:lnTo>
                        <a:pt x="1597383" y="493825"/>
                      </a:lnTo>
                      <a:lnTo>
                        <a:pt x="1601005" y="492617"/>
                      </a:lnTo>
                      <a:lnTo>
                        <a:pt x="1608249" y="493825"/>
                      </a:lnTo>
                      <a:lnTo>
                        <a:pt x="1614890" y="496239"/>
                      </a:lnTo>
                      <a:lnTo>
                        <a:pt x="1613079" y="491410"/>
                      </a:lnTo>
                      <a:lnTo>
                        <a:pt x="1610061" y="489599"/>
                      </a:lnTo>
                      <a:lnTo>
                        <a:pt x="1613079" y="485976"/>
                      </a:lnTo>
                      <a:lnTo>
                        <a:pt x="1622135" y="485976"/>
                      </a:lnTo>
                      <a:lnTo>
                        <a:pt x="1627568" y="489599"/>
                      </a:lnTo>
                      <a:lnTo>
                        <a:pt x="1626360" y="498050"/>
                      </a:lnTo>
                      <a:lnTo>
                        <a:pt x="1633001" y="502276"/>
                      </a:lnTo>
                      <a:lnTo>
                        <a:pt x="1635416" y="505899"/>
                      </a:lnTo>
                      <a:lnTo>
                        <a:pt x="1645679" y="510124"/>
                      </a:lnTo>
                      <a:lnTo>
                        <a:pt x="1652319" y="515558"/>
                      </a:lnTo>
                      <a:lnTo>
                        <a:pt x="1650508" y="530650"/>
                      </a:lnTo>
                      <a:lnTo>
                        <a:pt x="1651716" y="534272"/>
                      </a:lnTo>
                      <a:lnTo>
                        <a:pt x="1663790" y="534272"/>
                      </a:lnTo>
                      <a:lnTo>
                        <a:pt x="1672845" y="539102"/>
                      </a:lnTo>
                      <a:lnTo>
                        <a:pt x="1673449" y="542724"/>
                      </a:lnTo>
                      <a:lnTo>
                        <a:pt x="1677071" y="544535"/>
                      </a:lnTo>
                      <a:lnTo>
                        <a:pt x="1684315" y="543327"/>
                      </a:lnTo>
                      <a:lnTo>
                        <a:pt x="1686730" y="545742"/>
                      </a:lnTo>
                      <a:lnTo>
                        <a:pt x="1688541" y="550572"/>
                      </a:lnTo>
                      <a:lnTo>
                        <a:pt x="1690956" y="552383"/>
                      </a:lnTo>
                      <a:lnTo>
                        <a:pt x="1696389" y="553590"/>
                      </a:lnTo>
                      <a:lnTo>
                        <a:pt x="1698804" y="557816"/>
                      </a:lnTo>
                      <a:lnTo>
                        <a:pt x="1698804" y="565664"/>
                      </a:lnTo>
                      <a:lnTo>
                        <a:pt x="1693974" y="570494"/>
                      </a:lnTo>
                      <a:lnTo>
                        <a:pt x="1687334" y="570494"/>
                      </a:lnTo>
                      <a:lnTo>
                        <a:pt x="1677675" y="574116"/>
                      </a:lnTo>
                      <a:lnTo>
                        <a:pt x="1681900" y="580153"/>
                      </a:lnTo>
                      <a:lnTo>
                        <a:pt x="1682504" y="583775"/>
                      </a:lnTo>
                      <a:lnTo>
                        <a:pt x="1689145" y="587398"/>
                      </a:lnTo>
                      <a:lnTo>
                        <a:pt x="1687937" y="589812"/>
                      </a:lnTo>
                      <a:lnTo>
                        <a:pt x="1672845" y="600075"/>
                      </a:lnTo>
                      <a:lnTo>
                        <a:pt x="1669827" y="604301"/>
                      </a:lnTo>
                      <a:lnTo>
                        <a:pt x="1659564" y="605509"/>
                      </a:lnTo>
                      <a:lnTo>
                        <a:pt x="1655942" y="604301"/>
                      </a:lnTo>
                      <a:lnTo>
                        <a:pt x="1656545" y="598868"/>
                      </a:lnTo>
                      <a:lnTo>
                        <a:pt x="1652319" y="595849"/>
                      </a:lnTo>
                      <a:lnTo>
                        <a:pt x="1642660" y="600679"/>
                      </a:lnTo>
                      <a:lnTo>
                        <a:pt x="1639642" y="598868"/>
                      </a:lnTo>
                      <a:lnTo>
                        <a:pt x="1636019" y="589812"/>
                      </a:lnTo>
                      <a:lnTo>
                        <a:pt x="1635416" y="584983"/>
                      </a:lnTo>
                      <a:lnTo>
                        <a:pt x="1633001" y="580153"/>
                      </a:lnTo>
                      <a:lnTo>
                        <a:pt x="1630586" y="580153"/>
                      </a:lnTo>
                      <a:lnTo>
                        <a:pt x="1624549" y="585586"/>
                      </a:lnTo>
                      <a:lnTo>
                        <a:pt x="1620927" y="591020"/>
                      </a:lnTo>
                      <a:lnTo>
                        <a:pt x="1614286" y="593435"/>
                      </a:lnTo>
                      <a:lnTo>
                        <a:pt x="1611872" y="595246"/>
                      </a:lnTo>
                      <a:lnTo>
                        <a:pt x="1607042" y="607923"/>
                      </a:lnTo>
                      <a:lnTo>
                        <a:pt x="1601609" y="612753"/>
                      </a:lnTo>
                      <a:lnTo>
                        <a:pt x="1594968" y="613960"/>
                      </a:lnTo>
                      <a:lnTo>
                        <a:pt x="1593157" y="619394"/>
                      </a:lnTo>
                      <a:lnTo>
                        <a:pt x="1594968" y="624223"/>
                      </a:lnTo>
                      <a:lnTo>
                        <a:pt x="1593761" y="627845"/>
                      </a:lnTo>
                      <a:lnTo>
                        <a:pt x="1586516" y="631468"/>
                      </a:lnTo>
                      <a:lnTo>
                        <a:pt x="1582290" y="636297"/>
                      </a:lnTo>
                      <a:lnTo>
                        <a:pt x="1581083" y="639919"/>
                      </a:lnTo>
                      <a:lnTo>
                        <a:pt x="1583498" y="644749"/>
                      </a:lnTo>
                      <a:lnTo>
                        <a:pt x="1581083" y="647767"/>
                      </a:lnTo>
                      <a:lnTo>
                        <a:pt x="1580479" y="653200"/>
                      </a:lnTo>
                      <a:lnTo>
                        <a:pt x="1574442" y="656823"/>
                      </a:lnTo>
                      <a:lnTo>
                        <a:pt x="1576253" y="661048"/>
                      </a:lnTo>
                      <a:lnTo>
                        <a:pt x="1570217" y="670104"/>
                      </a:lnTo>
                      <a:lnTo>
                        <a:pt x="1569613" y="679763"/>
                      </a:lnTo>
                      <a:lnTo>
                        <a:pt x="1570820" y="683385"/>
                      </a:lnTo>
                      <a:lnTo>
                        <a:pt x="1575046" y="687008"/>
                      </a:lnTo>
                      <a:lnTo>
                        <a:pt x="1584101" y="698478"/>
                      </a:lnTo>
                      <a:lnTo>
                        <a:pt x="1587120" y="705722"/>
                      </a:lnTo>
                      <a:lnTo>
                        <a:pt x="1586516" y="708137"/>
                      </a:lnTo>
                      <a:lnTo>
                        <a:pt x="1581083" y="711759"/>
                      </a:lnTo>
                      <a:lnTo>
                        <a:pt x="1576857" y="712363"/>
                      </a:lnTo>
                      <a:lnTo>
                        <a:pt x="1571424" y="719004"/>
                      </a:lnTo>
                      <a:lnTo>
                        <a:pt x="1567802" y="717796"/>
                      </a:lnTo>
                      <a:lnTo>
                        <a:pt x="1564783" y="722022"/>
                      </a:lnTo>
                      <a:lnTo>
                        <a:pt x="1570217" y="728663"/>
                      </a:lnTo>
                      <a:lnTo>
                        <a:pt x="1565991" y="732285"/>
                      </a:lnTo>
                      <a:lnTo>
                        <a:pt x="1556935" y="732889"/>
                      </a:lnTo>
                      <a:lnTo>
                        <a:pt x="1553917" y="737718"/>
                      </a:lnTo>
                      <a:lnTo>
                        <a:pt x="1549691" y="736511"/>
                      </a:lnTo>
                      <a:lnTo>
                        <a:pt x="1547880" y="733492"/>
                      </a:lnTo>
                      <a:lnTo>
                        <a:pt x="1537013" y="737115"/>
                      </a:lnTo>
                      <a:lnTo>
                        <a:pt x="1532184" y="731681"/>
                      </a:lnTo>
                      <a:lnTo>
                        <a:pt x="1524939" y="728059"/>
                      </a:lnTo>
                      <a:lnTo>
                        <a:pt x="1521921" y="722626"/>
                      </a:lnTo>
                      <a:lnTo>
                        <a:pt x="1517695" y="717796"/>
                      </a:lnTo>
                      <a:lnTo>
                        <a:pt x="1501395" y="714174"/>
                      </a:lnTo>
                      <a:lnTo>
                        <a:pt x="1497773" y="711156"/>
                      </a:lnTo>
                      <a:lnTo>
                        <a:pt x="1493547" y="703911"/>
                      </a:lnTo>
                      <a:lnTo>
                        <a:pt x="1499584" y="702704"/>
                      </a:lnTo>
                      <a:lnTo>
                        <a:pt x="1502602" y="697874"/>
                      </a:lnTo>
                      <a:lnTo>
                        <a:pt x="1503206" y="680971"/>
                      </a:lnTo>
                      <a:lnTo>
                        <a:pt x="1500791" y="672519"/>
                      </a:lnTo>
                      <a:lnTo>
                        <a:pt x="1501395" y="662256"/>
                      </a:lnTo>
                      <a:lnTo>
                        <a:pt x="1500188" y="658030"/>
                      </a:lnTo>
                      <a:lnTo>
                        <a:pt x="1492943" y="657426"/>
                      </a:lnTo>
                      <a:lnTo>
                        <a:pt x="1488717" y="659237"/>
                      </a:lnTo>
                      <a:lnTo>
                        <a:pt x="1485699" y="658030"/>
                      </a:lnTo>
                      <a:lnTo>
                        <a:pt x="1486303" y="653804"/>
                      </a:lnTo>
                      <a:lnTo>
                        <a:pt x="1485699" y="644145"/>
                      </a:lnTo>
                      <a:lnTo>
                        <a:pt x="1488717" y="640523"/>
                      </a:lnTo>
                      <a:lnTo>
                        <a:pt x="1495962" y="636297"/>
                      </a:lnTo>
                      <a:lnTo>
                        <a:pt x="1503206" y="628449"/>
                      </a:lnTo>
                      <a:lnTo>
                        <a:pt x="1498980" y="622412"/>
                      </a:lnTo>
                      <a:lnTo>
                        <a:pt x="1498980" y="617583"/>
                      </a:lnTo>
                      <a:lnTo>
                        <a:pt x="1503810" y="604905"/>
                      </a:lnTo>
                      <a:lnTo>
                        <a:pt x="1507432" y="601886"/>
                      </a:lnTo>
                      <a:lnTo>
                        <a:pt x="1506225" y="594038"/>
                      </a:lnTo>
                      <a:lnTo>
                        <a:pt x="1508036" y="590416"/>
                      </a:lnTo>
                      <a:lnTo>
                        <a:pt x="1509847" y="579549"/>
                      </a:lnTo>
                      <a:lnTo>
                        <a:pt x="1503810" y="571098"/>
                      </a:lnTo>
                      <a:lnTo>
                        <a:pt x="1503810" y="566872"/>
                      </a:lnTo>
                      <a:lnTo>
                        <a:pt x="1496565" y="559627"/>
                      </a:lnTo>
                      <a:lnTo>
                        <a:pt x="1489925" y="557816"/>
                      </a:lnTo>
                      <a:lnTo>
                        <a:pt x="1479662" y="549968"/>
                      </a:lnTo>
                      <a:lnTo>
                        <a:pt x="1477247" y="542724"/>
                      </a:lnTo>
                      <a:lnTo>
                        <a:pt x="1472417" y="540309"/>
                      </a:lnTo>
                      <a:lnTo>
                        <a:pt x="1469399" y="536687"/>
                      </a:lnTo>
                      <a:lnTo>
                        <a:pt x="1461551" y="535480"/>
                      </a:lnTo>
                      <a:lnTo>
                        <a:pt x="1456118" y="539705"/>
                      </a:lnTo>
                      <a:lnTo>
                        <a:pt x="1448873" y="540913"/>
                      </a:lnTo>
                      <a:lnTo>
                        <a:pt x="1441025" y="541516"/>
                      </a:lnTo>
                      <a:lnTo>
                        <a:pt x="1437403" y="543931"/>
                      </a:lnTo>
                      <a:lnTo>
                        <a:pt x="1434385" y="549364"/>
                      </a:lnTo>
                      <a:lnTo>
                        <a:pt x="1432574" y="556005"/>
                      </a:lnTo>
                      <a:lnTo>
                        <a:pt x="1430762" y="557213"/>
                      </a:lnTo>
                      <a:lnTo>
                        <a:pt x="1425329" y="555401"/>
                      </a:lnTo>
                      <a:lnTo>
                        <a:pt x="1421707" y="552383"/>
                      </a:lnTo>
                      <a:lnTo>
                        <a:pt x="1421103" y="547553"/>
                      </a:lnTo>
                      <a:lnTo>
                        <a:pt x="1415066" y="548761"/>
                      </a:lnTo>
                      <a:lnTo>
                        <a:pt x="1415066" y="554194"/>
                      </a:lnTo>
                      <a:lnTo>
                        <a:pt x="1406011" y="558420"/>
                      </a:lnTo>
                      <a:lnTo>
                        <a:pt x="1403596" y="553590"/>
                      </a:lnTo>
                      <a:lnTo>
                        <a:pt x="1399974" y="550572"/>
                      </a:lnTo>
                      <a:lnTo>
                        <a:pt x="1394541" y="550572"/>
                      </a:lnTo>
                      <a:lnTo>
                        <a:pt x="1385485" y="544535"/>
                      </a:lnTo>
                      <a:lnTo>
                        <a:pt x="1384881" y="542120"/>
                      </a:lnTo>
                      <a:lnTo>
                        <a:pt x="1379448" y="541516"/>
                      </a:lnTo>
                      <a:lnTo>
                        <a:pt x="1374015" y="543327"/>
                      </a:lnTo>
                      <a:lnTo>
                        <a:pt x="1371600" y="537894"/>
                      </a:lnTo>
                      <a:lnTo>
                        <a:pt x="1361337" y="533668"/>
                      </a:lnTo>
                      <a:lnTo>
                        <a:pt x="1357715" y="533668"/>
                      </a:lnTo>
                      <a:lnTo>
                        <a:pt x="1360734" y="540913"/>
                      </a:lnTo>
                      <a:lnTo>
                        <a:pt x="1358319" y="545139"/>
                      </a:lnTo>
                      <a:lnTo>
                        <a:pt x="1357715" y="551779"/>
                      </a:lnTo>
                      <a:lnTo>
                        <a:pt x="1353489" y="555401"/>
                      </a:lnTo>
                      <a:lnTo>
                        <a:pt x="1352282" y="561438"/>
                      </a:lnTo>
                      <a:lnTo>
                        <a:pt x="1354093" y="565664"/>
                      </a:lnTo>
                      <a:lnTo>
                        <a:pt x="1348056" y="566872"/>
                      </a:lnTo>
                      <a:lnTo>
                        <a:pt x="1343830" y="565061"/>
                      </a:lnTo>
                      <a:lnTo>
                        <a:pt x="1337793" y="557816"/>
                      </a:lnTo>
                      <a:lnTo>
                        <a:pt x="1330549" y="555401"/>
                      </a:lnTo>
                      <a:lnTo>
                        <a:pt x="1329945" y="551779"/>
                      </a:lnTo>
                      <a:lnTo>
                        <a:pt x="1322097" y="551176"/>
                      </a:lnTo>
                      <a:lnTo>
                        <a:pt x="1319682" y="548157"/>
                      </a:lnTo>
                      <a:lnTo>
                        <a:pt x="1313041" y="549364"/>
                      </a:lnTo>
                      <a:lnTo>
                        <a:pt x="1307608" y="544535"/>
                      </a:lnTo>
                      <a:lnTo>
                        <a:pt x="1304590" y="546950"/>
                      </a:lnTo>
                      <a:lnTo>
                        <a:pt x="1299760" y="543931"/>
                      </a:lnTo>
                      <a:lnTo>
                        <a:pt x="1304590" y="540309"/>
                      </a:lnTo>
                      <a:lnTo>
                        <a:pt x="1301571" y="532461"/>
                      </a:lnTo>
                      <a:lnTo>
                        <a:pt x="1302779" y="525217"/>
                      </a:lnTo>
                      <a:lnTo>
                        <a:pt x="1297345" y="521595"/>
                      </a:lnTo>
                      <a:lnTo>
                        <a:pt x="1291912" y="520991"/>
                      </a:lnTo>
                      <a:lnTo>
                        <a:pt x="1286479" y="524009"/>
                      </a:lnTo>
                      <a:lnTo>
                        <a:pt x="1279838" y="523406"/>
                      </a:lnTo>
                      <a:lnTo>
                        <a:pt x="1281046" y="514954"/>
                      </a:lnTo>
                      <a:lnTo>
                        <a:pt x="1279234" y="507106"/>
                      </a:lnTo>
                      <a:lnTo>
                        <a:pt x="1277423" y="501069"/>
                      </a:lnTo>
                      <a:lnTo>
                        <a:pt x="1269575" y="501673"/>
                      </a:lnTo>
                      <a:lnTo>
                        <a:pt x="1264746" y="496843"/>
                      </a:lnTo>
                      <a:lnTo>
                        <a:pt x="1255087" y="496843"/>
                      </a:lnTo>
                      <a:lnTo>
                        <a:pt x="1250257" y="499258"/>
                      </a:lnTo>
                      <a:lnTo>
                        <a:pt x="1247239" y="495636"/>
                      </a:lnTo>
                      <a:lnTo>
                        <a:pt x="1230335" y="490202"/>
                      </a:lnTo>
                      <a:lnTo>
                        <a:pt x="1227317" y="488391"/>
                      </a:lnTo>
                      <a:lnTo>
                        <a:pt x="1223694" y="489599"/>
                      </a:lnTo>
                      <a:lnTo>
                        <a:pt x="1211620" y="487184"/>
                      </a:lnTo>
                      <a:lnTo>
                        <a:pt x="1204376" y="493825"/>
                      </a:lnTo>
                      <a:lnTo>
                        <a:pt x="1200754" y="488391"/>
                      </a:lnTo>
                      <a:lnTo>
                        <a:pt x="1191095" y="487184"/>
                      </a:lnTo>
                      <a:lnTo>
                        <a:pt x="1185058" y="484165"/>
                      </a:lnTo>
                      <a:lnTo>
                        <a:pt x="1182643" y="480543"/>
                      </a:lnTo>
                      <a:lnTo>
                        <a:pt x="1182039" y="475110"/>
                      </a:lnTo>
                      <a:lnTo>
                        <a:pt x="1172380" y="473902"/>
                      </a:lnTo>
                      <a:lnTo>
                        <a:pt x="1166947" y="467262"/>
                      </a:lnTo>
                      <a:lnTo>
                        <a:pt x="1163325" y="481147"/>
                      </a:lnTo>
                      <a:lnTo>
                        <a:pt x="1172984" y="483562"/>
                      </a:lnTo>
                      <a:lnTo>
                        <a:pt x="1172984" y="488995"/>
                      </a:lnTo>
                      <a:lnTo>
                        <a:pt x="1177210" y="490806"/>
                      </a:lnTo>
                      <a:lnTo>
                        <a:pt x="1178417" y="496239"/>
                      </a:lnTo>
                      <a:lnTo>
                        <a:pt x="1177210" y="502276"/>
                      </a:lnTo>
                      <a:lnTo>
                        <a:pt x="1174191" y="506502"/>
                      </a:lnTo>
                      <a:lnTo>
                        <a:pt x="1174191" y="511332"/>
                      </a:lnTo>
                      <a:lnTo>
                        <a:pt x="1169362" y="513143"/>
                      </a:lnTo>
                      <a:lnTo>
                        <a:pt x="1168154" y="516161"/>
                      </a:lnTo>
                      <a:lnTo>
                        <a:pt x="1161513" y="516161"/>
                      </a:lnTo>
                      <a:lnTo>
                        <a:pt x="1158495" y="522198"/>
                      </a:lnTo>
                      <a:lnTo>
                        <a:pt x="1162117" y="524009"/>
                      </a:lnTo>
                      <a:lnTo>
                        <a:pt x="1166947" y="534876"/>
                      </a:lnTo>
                      <a:lnTo>
                        <a:pt x="1166947" y="542120"/>
                      </a:lnTo>
                      <a:lnTo>
                        <a:pt x="1163928" y="545139"/>
                      </a:lnTo>
                      <a:lnTo>
                        <a:pt x="1164532" y="557213"/>
                      </a:lnTo>
                      <a:lnTo>
                        <a:pt x="1166947" y="560835"/>
                      </a:lnTo>
                      <a:lnTo>
                        <a:pt x="1166947" y="565061"/>
                      </a:lnTo>
                      <a:lnTo>
                        <a:pt x="1163928" y="569287"/>
                      </a:lnTo>
                      <a:lnTo>
                        <a:pt x="1159099" y="568079"/>
                      </a:lnTo>
                      <a:lnTo>
                        <a:pt x="1154873" y="572909"/>
                      </a:lnTo>
                      <a:lnTo>
                        <a:pt x="1148836" y="572305"/>
                      </a:lnTo>
                      <a:lnTo>
                        <a:pt x="1141592" y="580757"/>
                      </a:lnTo>
                      <a:lnTo>
                        <a:pt x="1139780" y="589812"/>
                      </a:lnTo>
                      <a:lnTo>
                        <a:pt x="1143403" y="594642"/>
                      </a:lnTo>
                      <a:lnTo>
                        <a:pt x="1142799" y="600679"/>
                      </a:lnTo>
                      <a:lnTo>
                        <a:pt x="1140384" y="606112"/>
                      </a:lnTo>
                      <a:lnTo>
                        <a:pt x="1140384" y="614564"/>
                      </a:lnTo>
                      <a:lnTo>
                        <a:pt x="1133744" y="616979"/>
                      </a:lnTo>
                      <a:lnTo>
                        <a:pt x="1128914" y="613357"/>
                      </a:lnTo>
                      <a:lnTo>
                        <a:pt x="1123481" y="613357"/>
                      </a:lnTo>
                      <a:lnTo>
                        <a:pt x="1119858" y="611546"/>
                      </a:lnTo>
                      <a:lnTo>
                        <a:pt x="1114425" y="614564"/>
                      </a:lnTo>
                      <a:lnTo>
                        <a:pt x="1112614" y="613357"/>
                      </a:lnTo>
                      <a:lnTo>
                        <a:pt x="1112010" y="607923"/>
                      </a:lnTo>
                      <a:lnTo>
                        <a:pt x="1108388" y="606112"/>
                      </a:lnTo>
                      <a:lnTo>
                        <a:pt x="1105370" y="601283"/>
                      </a:lnTo>
                      <a:lnTo>
                        <a:pt x="1099936" y="599472"/>
                      </a:lnTo>
                      <a:lnTo>
                        <a:pt x="1092088" y="592831"/>
                      </a:lnTo>
                      <a:lnTo>
                        <a:pt x="1087862" y="594642"/>
                      </a:lnTo>
                      <a:lnTo>
                        <a:pt x="1084844" y="597660"/>
                      </a:lnTo>
                      <a:lnTo>
                        <a:pt x="1073977" y="601283"/>
                      </a:lnTo>
                      <a:lnTo>
                        <a:pt x="1074581" y="604905"/>
                      </a:lnTo>
                      <a:lnTo>
                        <a:pt x="1082429" y="606716"/>
                      </a:lnTo>
                      <a:lnTo>
                        <a:pt x="1075789" y="613357"/>
                      </a:lnTo>
                      <a:lnTo>
                        <a:pt x="1070959" y="626034"/>
                      </a:lnTo>
                      <a:lnTo>
                        <a:pt x="1072770" y="628449"/>
                      </a:lnTo>
                      <a:lnTo>
                        <a:pt x="1071563" y="633279"/>
                      </a:lnTo>
                      <a:lnTo>
                        <a:pt x="1068544" y="638108"/>
                      </a:lnTo>
                      <a:lnTo>
                        <a:pt x="1070959" y="642334"/>
                      </a:lnTo>
                      <a:lnTo>
                        <a:pt x="1070355" y="648371"/>
                      </a:lnTo>
                      <a:lnTo>
                        <a:pt x="1067337" y="648371"/>
                      </a:lnTo>
                      <a:lnTo>
                        <a:pt x="1064922" y="644749"/>
                      </a:lnTo>
                      <a:lnTo>
                        <a:pt x="1061903" y="645352"/>
                      </a:lnTo>
                      <a:lnTo>
                        <a:pt x="1060092" y="651389"/>
                      </a:lnTo>
                      <a:lnTo>
                        <a:pt x="1061300" y="655615"/>
                      </a:lnTo>
                      <a:lnTo>
                        <a:pt x="1053452" y="653804"/>
                      </a:lnTo>
                      <a:lnTo>
                        <a:pt x="1052848" y="661048"/>
                      </a:lnTo>
                      <a:lnTo>
                        <a:pt x="1054055" y="662860"/>
                      </a:lnTo>
                      <a:lnTo>
                        <a:pt x="1054659" y="671311"/>
                      </a:lnTo>
                      <a:lnTo>
                        <a:pt x="1064922" y="670708"/>
                      </a:lnTo>
                      <a:lnTo>
                        <a:pt x="1064318" y="677952"/>
                      </a:lnTo>
                      <a:lnTo>
                        <a:pt x="1072770" y="677348"/>
                      </a:lnTo>
                      <a:lnTo>
                        <a:pt x="1069752" y="686404"/>
                      </a:lnTo>
                      <a:lnTo>
                        <a:pt x="1078203" y="687008"/>
                      </a:lnTo>
                      <a:lnTo>
                        <a:pt x="1081826" y="696063"/>
                      </a:lnTo>
                      <a:lnTo>
                        <a:pt x="1087259" y="697874"/>
                      </a:lnTo>
                      <a:lnTo>
                        <a:pt x="1091485" y="701496"/>
                      </a:lnTo>
                      <a:lnTo>
                        <a:pt x="1090881" y="705722"/>
                      </a:lnTo>
                      <a:lnTo>
                        <a:pt x="1083637" y="704515"/>
                      </a:lnTo>
                      <a:lnTo>
                        <a:pt x="1069148" y="708741"/>
                      </a:lnTo>
                      <a:lnTo>
                        <a:pt x="1066129" y="717796"/>
                      </a:lnTo>
                      <a:lnTo>
                        <a:pt x="1061903" y="726248"/>
                      </a:lnTo>
                      <a:lnTo>
                        <a:pt x="1061903" y="728663"/>
                      </a:lnTo>
                      <a:lnTo>
                        <a:pt x="1058885" y="733492"/>
                      </a:lnTo>
                      <a:lnTo>
                        <a:pt x="1051037" y="734700"/>
                      </a:lnTo>
                      <a:lnTo>
                        <a:pt x="1048018" y="737718"/>
                      </a:lnTo>
                      <a:lnTo>
                        <a:pt x="1046811" y="744963"/>
                      </a:lnTo>
                      <a:lnTo>
                        <a:pt x="1049829" y="749792"/>
                      </a:lnTo>
                      <a:lnTo>
                        <a:pt x="1050433" y="756433"/>
                      </a:lnTo>
                      <a:lnTo>
                        <a:pt x="1046811" y="764884"/>
                      </a:lnTo>
                      <a:lnTo>
                        <a:pt x="1043792" y="764281"/>
                      </a:lnTo>
                      <a:lnTo>
                        <a:pt x="1032322" y="770318"/>
                      </a:lnTo>
                      <a:lnTo>
                        <a:pt x="1028700" y="764281"/>
                      </a:lnTo>
                      <a:lnTo>
                        <a:pt x="1019645" y="765488"/>
                      </a:lnTo>
                      <a:lnTo>
                        <a:pt x="1017834" y="775147"/>
                      </a:lnTo>
                      <a:lnTo>
                        <a:pt x="1020852" y="777562"/>
                      </a:lnTo>
                      <a:lnTo>
                        <a:pt x="1020852" y="781788"/>
                      </a:lnTo>
                      <a:lnTo>
                        <a:pt x="1015419" y="779373"/>
                      </a:lnTo>
                      <a:lnTo>
                        <a:pt x="1014211" y="782995"/>
                      </a:lnTo>
                      <a:lnTo>
                        <a:pt x="1016626" y="788429"/>
                      </a:lnTo>
                      <a:lnTo>
                        <a:pt x="1012400" y="790240"/>
                      </a:lnTo>
                      <a:lnTo>
                        <a:pt x="1005760" y="789032"/>
                      </a:lnTo>
                      <a:lnTo>
                        <a:pt x="1005156" y="791447"/>
                      </a:lnTo>
                      <a:lnTo>
                        <a:pt x="1011193" y="793862"/>
                      </a:lnTo>
                      <a:lnTo>
                        <a:pt x="1009986" y="800503"/>
                      </a:lnTo>
                      <a:lnTo>
                        <a:pt x="1003949" y="805332"/>
                      </a:lnTo>
                      <a:lnTo>
                        <a:pt x="1005156" y="810766"/>
                      </a:lnTo>
                      <a:lnTo>
                        <a:pt x="1010589" y="812577"/>
                      </a:lnTo>
                      <a:lnTo>
                        <a:pt x="1014211" y="817406"/>
                      </a:lnTo>
                      <a:lnTo>
                        <a:pt x="1009986" y="821028"/>
                      </a:lnTo>
                      <a:lnTo>
                        <a:pt x="1003949" y="818010"/>
                      </a:lnTo>
                      <a:lnTo>
                        <a:pt x="1001534" y="819217"/>
                      </a:lnTo>
                      <a:lnTo>
                        <a:pt x="1002137" y="823443"/>
                      </a:lnTo>
                      <a:lnTo>
                        <a:pt x="997912" y="827065"/>
                      </a:lnTo>
                      <a:lnTo>
                        <a:pt x="992478" y="828273"/>
                      </a:lnTo>
                      <a:lnTo>
                        <a:pt x="987045" y="823443"/>
                      </a:lnTo>
                      <a:lnTo>
                        <a:pt x="986441" y="818010"/>
                      </a:lnTo>
                      <a:lnTo>
                        <a:pt x="981008" y="819217"/>
                      </a:lnTo>
                      <a:lnTo>
                        <a:pt x="971349" y="817406"/>
                      </a:lnTo>
                      <a:lnTo>
                        <a:pt x="972556" y="814388"/>
                      </a:lnTo>
                      <a:lnTo>
                        <a:pt x="977386" y="810766"/>
                      </a:lnTo>
                      <a:lnTo>
                        <a:pt x="977386" y="805332"/>
                      </a:lnTo>
                      <a:lnTo>
                        <a:pt x="981008" y="802314"/>
                      </a:lnTo>
                      <a:lnTo>
                        <a:pt x="979197" y="798088"/>
                      </a:lnTo>
                      <a:lnTo>
                        <a:pt x="973160" y="797484"/>
                      </a:lnTo>
                      <a:lnTo>
                        <a:pt x="971953" y="791447"/>
                      </a:lnTo>
                      <a:lnTo>
                        <a:pt x="967123" y="790843"/>
                      </a:lnTo>
                      <a:lnTo>
                        <a:pt x="963501" y="785410"/>
                      </a:lnTo>
                      <a:lnTo>
                        <a:pt x="961086" y="789032"/>
                      </a:lnTo>
                      <a:lnTo>
                        <a:pt x="945994" y="795673"/>
                      </a:lnTo>
                      <a:lnTo>
                        <a:pt x="944786" y="800503"/>
                      </a:lnTo>
                      <a:lnTo>
                        <a:pt x="943579" y="809558"/>
                      </a:lnTo>
                      <a:lnTo>
                        <a:pt x="939957" y="816199"/>
                      </a:lnTo>
                      <a:lnTo>
                        <a:pt x="936938" y="816803"/>
                      </a:lnTo>
                      <a:lnTo>
                        <a:pt x="939353" y="824047"/>
                      </a:lnTo>
                      <a:lnTo>
                        <a:pt x="933316" y="823443"/>
                      </a:lnTo>
                      <a:lnTo>
                        <a:pt x="929090" y="829480"/>
                      </a:lnTo>
                      <a:lnTo>
                        <a:pt x="925468" y="839743"/>
                      </a:lnTo>
                      <a:lnTo>
                        <a:pt x="921846" y="839743"/>
                      </a:lnTo>
                      <a:lnTo>
                        <a:pt x="916412" y="842158"/>
                      </a:lnTo>
                      <a:lnTo>
                        <a:pt x="920638" y="848195"/>
                      </a:lnTo>
                      <a:lnTo>
                        <a:pt x="918827" y="851213"/>
                      </a:lnTo>
                      <a:lnTo>
                        <a:pt x="908564" y="851213"/>
                      </a:lnTo>
                      <a:lnTo>
                        <a:pt x="906753" y="846987"/>
                      </a:lnTo>
                      <a:lnTo>
                        <a:pt x="903735" y="844573"/>
                      </a:lnTo>
                      <a:lnTo>
                        <a:pt x="901320" y="849402"/>
                      </a:lnTo>
                      <a:lnTo>
                        <a:pt x="896490" y="848195"/>
                      </a:lnTo>
                      <a:lnTo>
                        <a:pt x="894679" y="843969"/>
                      </a:lnTo>
                      <a:lnTo>
                        <a:pt x="887435" y="844573"/>
                      </a:lnTo>
                      <a:lnTo>
                        <a:pt x="885020" y="851213"/>
                      </a:lnTo>
                      <a:lnTo>
                        <a:pt x="880794" y="859061"/>
                      </a:lnTo>
                      <a:lnTo>
                        <a:pt x="886831" y="860872"/>
                      </a:lnTo>
                      <a:lnTo>
                        <a:pt x="889850" y="863287"/>
                      </a:lnTo>
                      <a:lnTo>
                        <a:pt x="886228" y="866909"/>
                      </a:lnTo>
                      <a:lnTo>
                        <a:pt x="886831" y="876568"/>
                      </a:lnTo>
                      <a:lnTo>
                        <a:pt x="879587" y="877172"/>
                      </a:lnTo>
                      <a:lnTo>
                        <a:pt x="880191" y="887435"/>
                      </a:lnTo>
                      <a:lnTo>
                        <a:pt x="878983" y="898302"/>
                      </a:lnTo>
                      <a:lnTo>
                        <a:pt x="879587" y="903131"/>
                      </a:lnTo>
                      <a:lnTo>
                        <a:pt x="875965" y="903131"/>
                      </a:lnTo>
                      <a:lnTo>
                        <a:pt x="872342" y="907961"/>
                      </a:lnTo>
                      <a:lnTo>
                        <a:pt x="866306" y="906753"/>
                      </a:lnTo>
                      <a:lnTo>
                        <a:pt x="857250" y="909772"/>
                      </a:lnTo>
                      <a:lnTo>
                        <a:pt x="856043" y="912790"/>
                      </a:lnTo>
                      <a:lnTo>
                        <a:pt x="850006" y="910979"/>
                      </a:lnTo>
                      <a:lnTo>
                        <a:pt x="848195" y="906753"/>
                      </a:lnTo>
                      <a:lnTo>
                        <a:pt x="843365" y="906753"/>
                      </a:lnTo>
                      <a:lnTo>
                        <a:pt x="842761" y="915205"/>
                      </a:lnTo>
                      <a:lnTo>
                        <a:pt x="848195" y="917016"/>
                      </a:lnTo>
                      <a:lnTo>
                        <a:pt x="853024" y="921846"/>
                      </a:lnTo>
                      <a:lnTo>
                        <a:pt x="850609" y="927883"/>
                      </a:lnTo>
                      <a:lnTo>
                        <a:pt x="847591" y="930901"/>
                      </a:lnTo>
                      <a:lnTo>
                        <a:pt x="842761" y="932109"/>
                      </a:lnTo>
                      <a:lnTo>
                        <a:pt x="838535" y="930901"/>
                      </a:lnTo>
                      <a:lnTo>
                        <a:pt x="838535" y="939353"/>
                      </a:lnTo>
                      <a:lnTo>
                        <a:pt x="833102" y="948409"/>
                      </a:lnTo>
                      <a:lnTo>
                        <a:pt x="833102" y="953842"/>
                      </a:lnTo>
                      <a:lnTo>
                        <a:pt x="827065" y="952031"/>
                      </a:lnTo>
                      <a:lnTo>
                        <a:pt x="825858" y="945994"/>
                      </a:lnTo>
                      <a:lnTo>
                        <a:pt x="820424" y="942975"/>
                      </a:lnTo>
                      <a:lnTo>
                        <a:pt x="819821" y="937542"/>
                      </a:lnTo>
                      <a:lnTo>
                        <a:pt x="814991" y="937542"/>
                      </a:lnTo>
                      <a:lnTo>
                        <a:pt x="813784" y="943579"/>
                      </a:lnTo>
                      <a:lnTo>
                        <a:pt x="811369" y="947805"/>
                      </a:lnTo>
                      <a:lnTo>
                        <a:pt x="807747" y="948409"/>
                      </a:lnTo>
                      <a:lnTo>
                        <a:pt x="807747" y="940561"/>
                      </a:lnTo>
                      <a:lnTo>
                        <a:pt x="805936" y="935731"/>
                      </a:lnTo>
                      <a:lnTo>
                        <a:pt x="798692" y="936938"/>
                      </a:lnTo>
                      <a:lnTo>
                        <a:pt x="798692" y="945994"/>
                      </a:lnTo>
                      <a:lnTo>
                        <a:pt x="790843" y="946598"/>
                      </a:lnTo>
                      <a:lnTo>
                        <a:pt x="790240" y="956257"/>
                      </a:lnTo>
                      <a:lnTo>
                        <a:pt x="778769" y="961690"/>
                      </a:lnTo>
                      <a:lnTo>
                        <a:pt x="776355" y="970141"/>
                      </a:lnTo>
                      <a:lnTo>
                        <a:pt x="758847" y="971952"/>
                      </a:lnTo>
                      <a:lnTo>
                        <a:pt x="760659" y="983423"/>
                      </a:lnTo>
                      <a:lnTo>
                        <a:pt x="764884" y="984630"/>
                      </a:lnTo>
                      <a:lnTo>
                        <a:pt x="766092" y="988856"/>
                      </a:lnTo>
                      <a:lnTo>
                        <a:pt x="761866" y="990063"/>
                      </a:lnTo>
                      <a:lnTo>
                        <a:pt x="762470" y="998515"/>
                      </a:lnTo>
                      <a:lnTo>
                        <a:pt x="758847" y="999723"/>
                      </a:lnTo>
                      <a:lnTo>
                        <a:pt x="759451" y="1007571"/>
                      </a:lnTo>
                      <a:lnTo>
                        <a:pt x="767299" y="1006967"/>
                      </a:lnTo>
                      <a:lnTo>
                        <a:pt x="764884" y="1019645"/>
                      </a:lnTo>
                      <a:lnTo>
                        <a:pt x="774544" y="1020852"/>
                      </a:lnTo>
                      <a:lnTo>
                        <a:pt x="775147" y="1025682"/>
                      </a:lnTo>
                      <a:lnTo>
                        <a:pt x="771525" y="1028097"/>
                      </a:lnTo>
                      <a:lnTo>
                        <a:pt x="769110" y="1033530"/>
                      </a:lnTo>
                      <a:lnTo>
                        <a:pt x="763073" y="1033530"/>
                      </a:lnTo>
                      <a:lnTo>
                        <a:pt x="761262" y="1025078"/>
                      </a:lnTo>
                      <a:lnTo>
                        <a:pt x="755225" y="1026889"/>
                      </a:lnTo>
                      <a:lnTo>
                        <a:pt x="755829" y="1029304"/>
                      </a:lnTo>
                      <a:lnTo>
                        <a:pt x="747377" y="1029304"/>
                      </a:lnTo>
                      <a:lnTo>
                        <a:pt x="746170" y="1023871"/>
                      </a:lnTo>
                      <a:lnTo>
                        <a:pt x="737718" y="1022060"/>
                      </a:lnTo>
                      <a:lnTo>
                        <a:pt x="728059" y="1023871"/>
                      </a:lnTo>
                      <a:lnTo>
                        <a:pt x="726248" y="1025682"/>
                      </a:lnTo>
                      <a:lnTo>
                        <a:pt x="727455" y="1032926"/>
                      </a:lnTo>
                      <a:lnTo>
                        <a:pt x="724437" y="1035945"/>
                      </a:lnTo>
                      <a:lnTo>
                        <a:pt x="724437" y="1026889"/>
                      </a:lnTo>
                      <a:lnTo>
                        <a:pt x="715381" y="1021456"/>
                      </a:lnTo>
                      <a:lnTo>
                        <a:pt x="711759" y="1022663"/>
                      </a:lnTo>
                      <a:lnTo>
                        <a:pt x="706929" y="1029304"/>
                      </a:lnTo>
                      <a:lnTo>
                        <a:pt x="703307" y="1024474"/>
                      </a:lnTo>
                      <a:lnTo>
                        <a:pt x="693648" y="1025078"/>
                      </a:lnTo>
                      <a:lnTo>
                        <a:pt x="690630" y="1027493"/>
                      </a:lnTo>
                      <a:lnTo>
                        <a:pt x="684593" y="1028097"/>
                      </a:lnTo>
                      <a:lnTo>
                        <a:pt x="676141" y="1030511"/>
                      </a:lnTo>
                      <a:lnTo>
                        <a:pt x="671915" y="1026285"/>
                      </a:lnTo>
                      <a:lnTo>
                        <a:pt x="668293" y="1024474"/>
                      </a:lnTo>
                      <a:lnTo>
                        <a:pt x="668897" y="1013004"/>
                      </a:lnTo>
                      <a:lnTo>
                        <a:pt x="661652" y="1016626"/>
                      </a:lnTo>
                      <a:lnTo>
                        <a:pt x="661048" y="1012400"/>
                      </a:lnTo>
                      <a:lnTo>
                        <a:pt x="657426" y="1009986"/>
                      </a:lnTo>
                      <a:lnTo>
                        <a:pt x="653804" y="1009986"/>
                      </a:lnTo>
                      <a:lnTo>
                        <a:pt x="651389" y="1020852"/>
                      </a:lnTo>
                      <a:lnTo>
                        <a:pt x="645352" y="1019041"/>
                      </a:lnTo>
                      <a:lnTo>
                        <a:pt x="642938" y="1013004"/>
                      </a:lnTo>
                      <a:lnTo>
                        <a:pt x="636297" y="1009382"/>
                      </a:lnTo>
                      <a:lnTo>
                        <a:pt x="630260" y="1012400"/>
                      </a:lnTo>
                      <a:lnTo>
                        <a:pt x="626638" y="1011797"/>
                      </a:lnTo>
                      <a:lnTo>
                        <a:pt x="624827" y="1006363"/>
                      </a:lnTo>
                      <a:lnTo>
                        <a:pt x="624827" y="1002741"/>
                      </a:lnTo>
                      <a:lnTo>
                        <a:pt x="620601" y="1001534"/>
                      </a:lnTo>
                      <a:lnTo>
                        <a:pt x="615168" y="997308"/>
                      </a:lnTo>
                      <a:lnTo>
                        <a:pt x="613356" y="1001534"/>
                      </a:lnTo>
                      <a:lnTo>
                        <a:pt x="610942" y="1009382"/>
                      </a:lnTo>
                      <a:lnTo>
                        <a:pt x="611545" y="1016023"/>
                      </a:lnTo>
                      <a:lnTo>
                        <a:pt x="603697" y="1017834"/>
                      </a:lnTo>
                      <a:lnTo>
                        <a:pt x="604905" y="1025078"/>
                      </a:lnTo>
                      <a:lnTo>
                        <a:pt x="610942" y="1026889"/>
                      </a:lnTo>
                      <a:lnTo>
                        <a:pt x="611545" y="1029908"/>
                      </a:lnTo>
                      <a:lnTo>
                        <a:pt x="609131" y="1035341"/>
                      </a:lnTo>
                      <a:lnTo>
                        <a:pt x="613356" y="1037152"/>
                      </a:lnTo>
                      <a:lnTo>
                        <a:pt x="614564" y="1041982"/>
                      </a:lnTo>
                      <a:lnTo>
                        <a:pt x="619997" y="1042585"/>
                      </a:lnTo>
                      <a:lnTo>
                        <a:pt x="621204" y="1054659"/>
                      </a:lnTo>
                      <a:lnTo>
                        <a:pt x="614564" y="1060696"/>
                      </a:lnTo>
                      <a:lnTo>
                        <a:pt x="614564" y="1066130"/>
                      </a:lnTo>
                      <a:lnTo>
                        <a:pt x="618790" y="1072166"/>
                      </a:lnTo>
                      <a:lnTo>
                        <a:pt x="618790" y="1076392"/>
                      </a:lnTo>
                      <a:lnTo>
                        <a:pt x="623016" y="1076392"/>
                      </a:lnTo>
                      <a:lnTo>
                        <a:pt x="624827" y="1085448"/>
                      </a:lnTo>
                      <a:lnTo>
                        <a:pt x="618186" y="1090881"/>
                      </a:lnTo>
                      <a:lnTo>
                        <a:pt x="619393" y="1093899"/>
                      </a:lnTo>
                      <a:lnTo>
                        <a:pt x="623016" y="1092692"/>
                      </a:lnTo>
                      <a:lnTo>
                        <a:pt x="622412" y="1104162"/>
                      </a:lnTo>
                      <a:lnTo>
                        <a:pt x="624223" y="1108388"/>
                      </a:lnTo>
                      <a:lnTo>
                        <a:pt x="617582" y="1111407"/>
                      </a:lnTo>
                      <a:lnTo>
                        <a:pt x="615771" y="1107784"/>
                      </a:lnTo>
                      <a:lnTo>
                        <a:pt x="610338" y="1107181"/>
                      </a:lnTo>
                      <a:lnTo>
                        <a:pt x="609734" y="1099936"/>
                      </a:lnTo>
                      <a:lnTo>
                        <a:pt x="601886" y="1099333"/>
                      </a:lnTo>
                      <a:lnTo>
                        <a:pt x="601886" y="1108388"/>
                      </a:lnTo>
                      <a:lnTo>
                        <a:pt x="593434" y="1107784"/>
                      </a:lnTo>
                      <a:lnTo>
                        <a:pt x="591020" y="1110803"/>
                      </a:lnTo>
                      <a:lnTo>
                        <a:pt x="586190" y="1112614"/>
                      </a:lnTo>
                      <a:lnTo>
                        <a:pt x="585586" y="1108388"/>
                      </a:lnTo>
                      <a:lnTo>
                        <a:pt x="580757" y="1103559"/>
                      </a:lnTo>
                      <a:lnTo>
                        <a:pt x="575927" y="1105370"/>
                      </a:lnTo>
                      <a:lnTo>
                        <a:pt x="572909" y="1108388"/>
                      </a:lnTo>
                      <a:lnTo>
                        <a:pt x="565664" y="1105973"/>
                      </a:lnTo>
                      <a:lnTo>
                        <a:pt x="560835" y="1107181"/>
                      </a:lnTo>
                      <a:lnTo>
                        <a:pt x="555401" y="1110803"/>
                      </a:lnTo>
                      <a:lnTo>
                        <a:pt x="542724" y="1110803"/>
                      </a:lnTo>
                      <a:lnTo>
                        <a:pt x="543328" y="1120462"/>
                      </a:lnTo>
                      <a:lnTo>
                        <a:pt x="544535" y="1122273"/>
                      </a:lnTo>
                      <a:lnTo>
                        <a:pt x="542724" y="1127707"/>
                      </a:lnTo>
                      <a:lnTo>
                        <a:pt x="539705" y="1130725"/>
                      </a:lnTo>
                      <a:lnTo>
                        <a:pt x="534272" y="1130121"/>
                      </a:lnTo>
                      <a:lnTo>
                        <a:pt x="531857" y="1134951"/>
                      </a:lnTo>
                      <a:lnTo>
                        <a:pt x="522198" y="1134951"/>
                      </a:lnTo>
                      <a:lnTo>
                        <a:pt x="524009" y="1128914"/>
                      </a:lnTo>
                      <a:lnTo>
                        <a:pt x="519783" y="1129518"/>
                      </a:lnTo>
                      <a:lnTo>
                        <a:pt x="513143" y="1127707"/>
                      </a:lnTo>
                      <a:lnTo>
                        <a:pt x="513143" y="1123481"/>
                      </a:lnTo>
                      <a:lnTo>
                        <a:pt x="504087" y="1117444"/>
                      </a:lnTo>
                      <a:lnTo>
                        <a:pt x="503484" y="1112010"/>
                      </a:lnTo>
                      <a:lnTo>
                        <a:pt x="494428" y="1113821"/>
                      </a:lnTo>
                      <a:lnTo>
                        <a:pt x="485373" y="1112614"/>
                      </a:lnTo>
                      <a:lnTo>
                        <a:pt x="481147" y="1116236"/>
                      </a:lnTo>
                      <a:lnTo>
                        <a:pt x="475110" y="1115633"/>
                      </a:lnTo>
                      <a:lnTo>
                        <a:pt x="471488" y="1113218"/>
                      </a:lnTo>
                      <a:lnTo>
                        <a:pt x="469073" y="1116840"/>
                      </a:lnTo>
                      <a:lnTo>
                        <a:pt x="474506" y="1121066"/>
                      </a:lnTo>
                      <a:lnTo>
                        <a:pt x="477525" y="1121066"/>
                      </a:lnTo>
                      <a:lnTo>
                        <a:pt x="476921" y="1127103"/>
                      </a:lnTo>
                      <a:lnTo>
                        <a:pt x="473902" y="1126499"/>
                      </a:lnTo>
                      <a:lnTo>
                        <a:pt x="466054" y="1131932"/>
                      </a:lnTo>
                      <a:lnTo>
                        <a:pt x="467262" y="1147025"/>
                      </a:lnTo>
                      <a:lnTo>
                        <a:pt x="468469" y="1150043"/>
                      </a:lnTo>
                      <a:lnTo>
                        <a:pt x="454584" y="1150043"/>
                      </a:lnTo>
                      <a:lnTo>
                        <a:pt x="453377" y="1152458"/>
                      </a:lnTo>
                      <a:lnTo>
                        <a:pt x="438888" y="1154873"/>
                      </a:lnTo>
                      <a:lnTo>
                        <a:pt x="429832" y="1162117"/>
                      </a:lnTo>
                      <a:lnTo>
                        <a:pt x="421984" y="1162117"/>
                      </a:lnTo>
                      <a:lnTo>
                        <a:pt x="421381" y="1170569"/>
                      </a:lnTo>
                      <a:lnTo>
                        <a:pt x="416551" y="1172984"/>
                      </a:lnTo>
                      <a:lnTo>
                        <a:pt x="414136" y="1179021"/>
                      </a:lnTo>
                      <a:lnTo>
                        <a:pt x="421381" y="1183247"/>
                      </a:lnTo>
                      <a:lnTo>
                        <a:pt x="414740" y="1186869"/>
                      </a:lnTo>
                      <a:lnTo>
                        <a:pt x="410514" y="1185661"/>
                      </a:lnTo>
                      <a:lnTo>
                        <a:pt x="410514" y="1190491"/>
                      </a:lnTo>
                      <a:lnTo>
                        <a:pt x="405081" y="1193509"/>
                      </a:lnTo>
                      <a:lnTo>
                        <a:pt x="396629" y="1197132"/>
                      </a:lnTo>
                      <a:lnTo>
                        <a:pt x="393611" y="1195320"/>
                      </a:lnTo>
                      <a:lnTo>
                        <a:pt x="394818" y="1188680"/>
                      </a:lnTo>
                      <a:lnTo>
                        <a:pt x="391800" y="1188680"/>
                      </a:lnTo>
                      <a:lnTo>
                        <a:pt x="391800" y="1179625"/>
                      </a:lnTo>
                      <a:lnTo>
                        <a:pt x="380329" y="1180832"/>
                      </a:lnTo>
                      <a:lnTo>
                        <a:pt x="376707" y="1173588"/>
                      </a:lnTo>
                      <a:lnTo>
                        <a:pt x="374292" y="1175399"/>
                      </a:lnTo>
                      <a:lnTo>
                        <a:pt x="375500" y="1185661"/>
                      </a:lnTo>
                      <a:lnTo>
                        <a:pt x="368859" y="1186869"/>
                      </a:lnTo>
                      <a:lnTo>
                        <a:pt x="366444" y="1190491"/>
                      </a:lnTo>
                      <a:lnTo>
                        <a:pt x="361615" y="1191698"/>
                      </a:lnTo>
                      <a:lnTo>
                        <a:pt x="359804" y="1195320"/>
                      </a:lnTo>
                      <a:lnTo>
                        <a:pt x="359804" y="1200754"/>
                      </a:lnTo>
                      <a:lnTo>
                        <a:pt x="357389" y="1202565"/>
                      </a:lnTo>
                      <a:lnTo>
                        <a:pt x="346522" y="1196528"/>
                      </a:lnTo>
                      <a:lnTo>
                        <a:pt x="341693" y="1201961"/>
                      </a:lnTo>
                      <a:lnTo>
                        <a:pt x="335052" y="1198943"/>
                      </a:lnTo>
                      <a:lnTo>
                        <a:pt x="335052" y="1203772"/>
                      </a:lnTo>
                      <a:lnTo>
                        <a:pt x="337467" y="1206791"/>
                      </a:lnTo>
                      <a:lnTo>
                        <a:pt x="332637" y="1208602"/>
                      </a:lnTo>
                      <a:lnTo>
                        <a:pt x="333845" y="1213431"/>
                      </a:lnTo>
                      <a:lnTo>
                        <a:pt x="337467" y="1207394"/>
                      </a:lnTo>
                      <a:lnTo>
                        <a:pt x="339882" y="1207998"/>
                      </a:lnTo>
                      <a:lnTo>
                        <a:pt x="338674" y="1214035"/>
                      </a:lnTo>
                      <a:lnTo>
                        <a:pt x="344711" y="1218865"/>
                      </a:lnTo>
                      <a:lnTo>
                        <a:pt x="347730" y="1218865"/>
                      </a:lnTo>
                      <a:lnTo>
                        <a:pt x="348937" y="1229731"/>
                      </a:lnTo>
                      <a:lnTo>
                        <a:pt x="353163" y="1229128"/>
                      </a:lnTo>
                      <a:lnTo>
                        <a:pt x="354370" y="1231542"/>
                      </a:lnTo>
                      <a:lnTo>
                        <a:pt x="347126" y="1232146"/>
                      </a:lnTo>
                      <a:lnTo>
                        <a:pt x="344711" y="1239994"/>
                      </a:lnTo>
                      <a:lnTo>
                        <a:pt x="347126" y="1242409"/>
                      </a:lnTo>
                      <a:lnTo>
                        <a:pt x="350144" y="1253276"/>
                      </a:lnTo>
                      <a:lnTo>
                        <a:pt x="345919" y="1255690"/>
                      </a:lnTo>
                      <a:lnTo>
                        <a:pt x="347730" y="1258709"/>
                      </a:lnTo>
                      <a:lnTo>
                        <a:pt x="353163" y="1253879"/>
                      </a:lnTo>
                      <a:lnTo>
                        <a:pt x="356785" y="1252672"/>
                      </a:lnTo>
                      <a:lnTo>
                        <a:pt x="358596" y="1256294"/>
                      </a:lnTo>
                      <a:lnTo>
                        <a:pt x="365237" y="1255690"/>
                      </a:lnTo>
                      <a:lnTo>
                        <a:pt x="365237" y="1260520"/>
                      </a:lnTo>
                      <a:lnTo>
                        <a:pt x="377914" y="1262935"/>
                      </a:lnTo>
                      <a:lnTo>
                        <a:pt x="382744" y="1267764"/>
                      </a:lnTo>
                      <a:lnTo>
                        <a:pt x="382140" y="1270179"/>
                      </a:lnTo>
                      <a:lnTo>
                        <a:pt x="383951" y="1275009"/>
                      </a:lnTo>
                      <a:lnTo>
                        <a:pt x="380933" y="1276820"/>
                      </a:lnTo>
                      <a:lnTo>
                        <a:pt x="379122" y="1285272"/>
                      </a:lnTo>
                      <a:lnTo>
                        <a:pt x="380933" y="1291308"/>
                      </a:lnTo>
                      <a:lnTo>
                        <a:pt x="379122" y="1296742"/>
                      </a:lnTo>
                      <a:lnTo>
                        <a:pt x="373689" y="1293723"/>
                      </a:lnTo>
                      <a:lnTo>
                        <a:pt x="367652" y="1291912"/>
                      </a:lnTo>
                      <a:lnTo>
                        <a:pt x="361615" y="1296138"/>
                      </a:lnTo>
                      <a:lnTo>
                        <a:pt x="354370" y="1302779"/>
                      </a:lnTo>
                      <a:lnTo>
                        <a:pt x="358596" y="1308212"/>
                      </a:lnTo>
                      <a:lnTo>
                        <a:pt x="362822" y="1305193"/>
                      </a:lnTo>
                      <a:lnTo>
                        <a:pt x="368859" y="1303382"/>
                      </a:lnTo>
                      <a:lnTo>
                        <a:pt x="374896" y="1305797"/>
                      </a:lnTo>
                      <a:lnTo>
                        <a:pt x="373689" y="1310627"/>
                      </a:lnTo>
                      <a:lnTo>
                        <a:pt x="370670" y="1316060"/>
                      </a:lnTo>
                      <a:lnTo>
                        <a:pt x="370670" y="1319078"/>
                      </a:lnTo>
                      <a:lnTo>
                        <a:pt x="367652" y="1326323"/>
                      </a:lnTo>
                      <a:lnTo>
                        <a:pt x="359200" y="1337189"/>
                      </a:lnTo>
                      <a:lnTo>
                        <a:pt x="360407" y="1342623"/>
                      </a:lnTo>
                      <a:lnTo>
                        <a:pt x="354370" y="1342623"/>
                      </a:lnTo>
                      <a:lnTo>
                        <a:pt x="350748" y="1345641"/>
                      </a:lnTo>
                      <a:lnTo>
                        <a:pt x="351352" y="1348056"/>
                      </a:lnTo>
                      <a:lnTo>
                        <a:pt x="357992" y="1348660"/>
                      </a:lnTo>
                      <a:lnTo>
                        <a:pt x="354370" y="1355904"/>
                      </a:lnTo>
                      <a:lnTo>
                        <a:pt x="355578" y="1359526"/>
                      </a:lnTo>
                      <a:lnTo>
                        <a:pt x="353163" y="1364356"/>
                      </a:lnTo>
                      <a:lnTo>
                        <a:pt x="350748" y="1366167"/>
                      </a:lnTo>
                      <a:lnTo>
                        <a:pt x="345919" y="1364960"/>
                      </a:lnTo>
                      <a:lnTo>
                        <a:pt x="344711" y="1367978"/>
                      </a:lnTo>
                      <a:lnTo>
                        <a:pt x="338674" y="1371600"/>
                      </a:lnTo>
                      <a:lnTo>
                        <a:pt x="334448" y="1368582"/>
                      </a:lnTo>
                      <a:lnTo>
                        <a:pt x="328411" y="1370393"/>
                      </a:lnTo>
                      <a:lnTo>
                        <a:pt x="326600" y="1367374"/>
                      </a:lnTo>
                      <a:lnTo>
                        <a:pt x="327808" y="1362545"/>
                      </a:lnTo>
                      <a:lnTo>
                        <a:pt x="322978" y="1363149"/>
                      </a:lnTo>
                      <a:lnTo>
                        <a:pt x="321771" y="1367374"/>
                      </a:lnTo>
                      <a:lnTo>
                        <a:pt x="318752" y="1369186"/>
                      </a:lnTo>
                      <a:lnTo>
                        <a:pt x="312715" y="1369186"/>
                      </a:lnTo>
                      <a:lnTo>
                        <a:pt x="310904" y="1372808"/>
                      </a:lnTo>
                      <a:lnTo>
                        <a:pt x="306075" y="1375223"/>
                      </a:lnTo>
                      <a:lnTo>
                        <a:pt x="307282" y="1380052"/>
                      </a:lnTo>
                      <a:lnTo>
                        <a:pt x="305471" y="1384882"/>
                      </a:lnTo>
                      <a:lnTo>
                        <a:pt x="298226" y="1387296"/>
                      </a:lnTo>
                      <a:lnTo>
                        <a:pt x="304263" y="1390919"/>
                      </a:lnTo>
                      <a:lnTo>
                        <a:pt x="294604" y="1395748"/>
                      </a:lnTo>
                      <a:lnTo>
                        <a:pt x="286153" y="1396955"/>
                      </a:lnTo>
                      <a:lnTo>
                        <a:pt x="283738" y="1400578"/>
                      </a:lnTo>
                      <a:lnTo>
                        <a:pt x="278908" y="1399370"/>
                      </a:lnTo>
                      <a:lnTo>
                        <a:pt x="273475" y="1395144"/>
                      </a:lnTo>
                      <a:lnTo>
                        <a:pt x="271664" y="1392126"/>
                      </a:lnTo>
                      <a:lnTo>
                        <a:pt x="272871" y="1388504"/>
                      </a:lnTo>
                      <a:lnTo>
                        <a:pt x="272267" y="1382467"/>
                      </a:lnTo>
                      <a:lnTo>
                        <a:pt x="269249" y="1380656"/>
                      </a:lnTo>
                      <a:lnTo>
                        <a:pt x="269853" y="1377637"/>
                      </a:lnTo>
                      <a:lnTo>
                        <a:pt x="266834" y="1370997"/>
                      </a:lnTo>
                      <a:lnTo>
                        <a:pt x="259590" y="1370997"/>
                      </a:lnTo>
                      <a:lnTo>
                        <a:pt x="253553" y="1368582"/>
                      </a:lnTo>
                      <a:lnTo>
                        <a:pt x="254760" y="1364960"/>
                      </a:lnTo>
                      <a:lnTo>
                        <a:pt x="250534" y="1358923"/>
                      </a:lnTo>
                      <a:lnTo>
                        <a:pt x="245101" y="1366771"/>
                      </a:lnTo>
                      <a:lnTo>
                        <a:pt x="243894" y="1372204"/>
                      </a:lnTo>
                      <a:lnTo>
                        <a:pt x="240875" y="1371600"/>
                      </a:lnTo>
                      <a:lnTo>
                        <a:pt x="234235" y="1375223"/>
                      </a:lnTo>
                      <a:lnTo>
                        <a:pt x="231820" y="1373411"/>
                      </a:lnTo>
                      <a:lnTo>
                        <a:pt x="226386" y="1373411"/>
                      </a:lnTo>
                      <a:lnTo>
                        <a:pt x="224575" y="1375826"/>
                      </a:lnTo>
                      <a:lnTo>
                        <a:pt x="220349" y="1375223"/>
                      </a:lnTo>
                      <a:lnTo>
                        <a:pt x="217935" y="1375223"/>
                      </a:lnTo>
                      <a:lnTo>
                        <a:pt x="214916" y="1374015"/>
                      </a:lnTo>
                      <a:lnTo>
                        <a:pt x="212501" y="1374619"/>
                      </a:lnTo>
                      <a:lnTo>
                        <a:pt x="206465" y="1370997"/>
                      </a:lnTo>
                      <a:lnTo>
                        <a:pt x="208879" y="1367374"/>
                      </a:lnTo>
                      <a:lnTo>
                        <a:pt x="205861" y="1358319"/>
                      </a:lnTo>
                      <a:lnTo>
                        <a:pt x="201031" y="1347452"/>
                      </a:lnTo>
                      <a:lnTo>
                        <a:pt x="198013" y="1343830"/>
                      </a:lnTo>
                      <a:lnTo>
                        <a:pt x="192579" y="1334775"/>
                      </a:lnTo>
                      <a:lnTo>
                        <a:pt x="185335" y="1331152"/>
                      </a:lnTo>
                      <a:lnTo>
                        <a:pt x="176883" y="1328738"/>
                      </a:lnTo>
                      <a:lnTo>
                        <a:pt x="176280" y="1323908"/>
                      </a:lnTo>
                      <a:lnTo>
                        <a:pt x="173261" y="1319682"/>
                      </a:lnTo>
                      <a:lnTo>
                        <a:pt x="173261" y="1313041"/>
                      </a:lnTo>
                      <a:lnTo>
                        <a:pt x="171450" y="1307608"/>
                      </a:lnTo>
                      <a:lnTo>
                        <a:pt x="166017" y="1303382"/>
                      </a:lnTo>
                      <a:lnTo>
                        <a:pt x="167828" y="1300364"/>
                      </a:lnTo>
                      <a:lnTo>
                        <a:pt x="164809" y="1282253"/>
                      </a:lnTo>
                      <a:lnTo>
                        <a:pt x="161791" y="1273198"/>
                      </a:lnTo>
                      <a:lnTo>
                        <a:pt x="158169" y="1262935"/>
                      </a:lnTo>
                      <a:lnTo>
                        <a:pt x="155754" y="1252068"/>
                      </a:lnTo>
                      <a:lnTo>
                        <a:pt x="151528" y="1243013"/>
                      </a:lnTo>
                      <a:lnTo>
                        <a:pt x="152132" y="1239391"/>
                      </a:lnTo>
                      <a:lnTo>
                        <a:pt x="147906" y="1237579"/>
                      </a:lnTo>
                      <a:lnTo>
                        <a:pt x="147302" y="1230335"/>
                      </a:lnTo>
                      <a:lnTo>
                        <a:pt x="145491" y="1220072"/>
                      </a:lnTo>
                      <a:lnTo>
                        <a:pt x="140058" y="1210413"/>
                      </a:lnTo>
                      <a:lnTo>
                        <a:pt x="138850" y="1205583"/>
                      </a:lnTo>
                      <a:lnTo>
                        <a:pt x="136436" y="1200754"/>
                      </a:lnTo>
                      <a:lnTo>
                        <a:pt x="139454" y="1195924"/>
                      </a:lnTo>
                      <a:lnTo>
                        <a:pt x="142473" y="1194113"/>
                      </a:lnTo>
                      <a:lnTo>
                        <a:pt x="138247" y="1190491"/>
                      </a:lnTo>
                      <a:lnTo>
                        <a:pt x="137039" y="1186869"/>
                      </a:lnTo>
                      <a:lnTo>
                        <a:pt x="142473" y="1186265"/>
                      </a:lnTo>
                      <a:lnTo>
                        <a:pt x="144284" y="1182039"/>
                      </a:lnTo>
                      <a:lnTo>
                        <a:pt x="140661" y="1177813"/>
                      </a:lnTo>
                      <a:lnTo>
                        <a:pt x="140058" y="1168154"/>
                      </a:lnTo>
                      <a:lnTo>
                        <a:pt x="135228" y="1159099"/>
                      </a:lnTo>
                      <a:lnTo>
                        <a:pt x="134625" y="1150647"/>
                      </a:lnTo>
                      <a:lnTo>
                        <a:pt x="137643" y="1144610"/>
                      </a:lnTo>
                      <a:lnTo>
                        <a:pt x="137039" y="1142195"/>
                      </a:lnTo>
                      <a:lnTo>
                        <a:pt x="132813" y="1140384"/>
                      </a:lnTo>
                      <a:lnTo>
                        <a:pt x="132210" y="1128310"/>
                      </a:lnTo>
                      <a:lnTo>
                        <a:pt x="134021" y="1124084"/>
                      </a:lnTo>
                      <a:lnTo>
                        <a:pt x="129795" y="1121066"/>
                      </a:lnTo>
                      <a:lnTo>
                        <a:pt x="131002" y="1118651"/>
                      </a:lnTo>
                      <a:lnTo>
                        <a:pt x="130399" y="1112010"/>
                      </a:lnTo>
                      <a:lnTo>
                        <a:pt x="132210" y="1110199"/>
                      </a:lnTo>
                      <a:lnTo>
                        <a:pt x="132813" y="1103559"/>
                      </a:lnTo>
                      <a:lnTo>
                        <a:pt x="129191" y="1102351"/>
                      </a:lnTo>
                      <a:lnTo>
                        <a:pt x="130399" y="1098125"/>
                      </a:lnTo>
                      <a:lnTo>
                        <a:pt x="129191" y="1095710"/>
                      </a:lnTo>
                      <a:lnTo>
                        <a:pt x="125569" y="1096314"/>
                      </a:lnTo>
                      <a:lnTo>
                        <a:pt x="124965" y="1090277"/>
                      </a:lnTo>
                      <a:lnTo>
                        <a:pt x="131002" y="1092692"/>
                      </a:lnTo>
                      <a:lnTo>
                        <a:pt x="131606" y="1084240"/>
                      </a:lnTo>
                      <a:lnTo>
                        <a:pt x="131002" y="1077600"/>
                      </a:lnTo>
                      <a:lnTo>
                        <a:pt x="127984" y="1074581"/>
                      </a:lnTo>
                      <a:lnTo>
                        <a:pt x="122551" y="1055867"/>
                      </a:lnTo>
                      <a:lnTo>
                        <a:pt x="117721" y="1043189"/>
                      </a:lnTo>
                      <a:lnTo>
                        <a:pt x="114099" y="1042585"/>
                      </a:lnTo>
                      <a:lnTo>
                        <a:pt x="112891" y="1038359"/>
                      </a:lnTo>
                      <a:lnTo>
                        <a:pt x="121947" y="1032322"/>
                      </a:lnTo>
                      <a:lnTo>
                        <a:pt x="117117" y="1029304"/>
                      </a:lnTo>
                      <a:lnTo>
                        <a:pt x="117117" y="1024474"/>
                      </a:lnTo>
                      <a:lnTo>
                        <a:pt x="114702" y="1017834"/>
                      </a:lnTo>
                      <a:lnTo>
                        <a:pt x="108665" y="1017230"/>
                      </a:lnTo>
                      <a:lnTo>
                        <a:pt x="106251" y="1013004"/>
                      </a:lnTo>
                      <a:lnTo>
                        <a:pt x="109873" y="1011797"/>
                      </a:lnTo>
                      <a:lnTo>
                        <a:pt x="109873" y="1002137"/>
                      </a:lnTo>
                      <a:lnTo>
                        <a:pt x="111684" y="1000326"/>
                      </a:lnTo>
                      <a:lnTo>
                        <a:pt x="109269" y="991271"/>
                      </a:lnTo>
                      <a:lnTo>
                        <a:pt x="101421" y="982819"/>
                      </a:lnTo>
                      <a:lnTo>
                        <a:pt x="100818" y="977989"/>
                      </a:lnTo>
                      <a:lnTo>
                        <a:pt x="105647" y="976178"/>
                      </a:lnTo>
                      <a:lnTo>
                        <a:pt x="105647" y="973764"/>
                      </a:lnTo>
                      <a:lnTo>
                        <a:pt x="102025" y="970745"/>
                      </a:lnTo>
                      <a:lnTo>
                        <a:pt x="98403" y="962897"/>
                      </a:lnTo>
                      <a:lnTo>
                        <a:pt x="99610" y="959879"/>
                      </a:lnTo>
                      <a:lnTo>
                        <a:pt x="97195" y="956860"/>
                      </a:lnTo>
                      <a:lnTo>
                        <a:pt x="95384" y="952031"/>
                      </a:lnTo>
                      <a:lnTo>
                        <a:pt x="99610" y="947805"/>
                      </a:lnTo>
                      <a:lnTo>
                        <a:pt x="98403" y="941164"/>
                      </a:lnTo>
                      <a:lnTo>
                        <a:pt x="94781" y="930901"/>
                      </a:lnTo>
                      <a:lnTo>
                        <a:pt x="91762" y="925468"/>
                      </a:lnTo>
                      <a:lnTo>
                        <a:pt x="88744" y="912790"/>
                      </a:lnTo>
                      <a:lnTo>
                        <a:pt x="86932" y="908564"/>
                      </a:lnTo>
                      <a:lnTo>
                        <a:pt x="83310" y="906150"/>
                      </a:lnTo>
                      <a:lnTo>
                        <a:pt x="82707" y="899509"/>
                      </a:lnTo>
                      <a:lnTo>
                        <a:pt x="77877" y="896490"/>
                      </a:lnTo>
                      <a:lnTo>
                        <a:pt x="77877" y="891661"/>
                      </a:lnTo>
                      <a:lnTo>
                        <a:pt x="80292" y="889246"/>
                      </a:lnTo>
                      <a:lnTo>
                        <a:pt x="76670" y="886831"/>
                      </a:lnTo>
                      <a:lnTo>
                        <a:pt x="73047" y="881398"/>
                      </a:lnTo>
                      <a:lnTo>
                        <a:pt x="74859" y="876568"/>
                      </a:lnTo>
                      <a:lnTo>
                        <a:pt x="73047" y="872946"/>
                      </a:lnTo>
                      <a:lnTo>
                        <a:pt x="70029" y="872342"/>
                      </a:lnTo>
                      <a:lnTo>
                        <a:pt x="71236" y="868117"/>
                      </a:lnTo>
                      <a:lnTo>
                        <a:pt x="70029" y="863287"/>
                      </a:lnTo>
                      <a:lnTo>
                        <a:pt x="67614" y="860872"/>
                      </a:lnTo>
                      <a:lnTo>
                        <a:pt x="65803" y="855439"/>
                      </a:lnTo>
                      <a:lnTo>
                        <a:pt x="68218" y="854835"/>
                      </a:lnTo>
                      <a:lnTo>
                        <a:pt x="69425" y="849402"/>
                      </a:lnTo>
                      <a:lnTo>
                        <a:pt x="68218" y="842762"/>
                      </a:lnTo>
                      <a:lnTo>
                        <a:pt x="59766" y="833706"/>
                      </a:lnTo>
                      <a:lnTo>
                        <a:pt x="58559" y="823443"/>
                      </a:lnTo>
                      <a:lnTo>
                        <a:pt x="60973" y="822840"/>
                      </a:lnTo>
                      <a:lnTo>
                        <a:pt x="65803" y="825858"/>
                      </a:lnTo>
                      <a:lnTo>
                        <a:pt x="66407" y="830688"/>
                      </a:lnTo>
                      <a:lnTo>
                        <a:pt x="72444" y="830688"/>
                      </a:lnTo>
                      <a:lnTo>
                        <a:pt x="83914" y="834914"/>
                      </a:lnTo>
                      <a:lnTo>
                        <a:pt x="85121" y="824651"/>
                      </a:lnTo>
                      <a:lnTo>
                        <a:pt x="79084" y="827065"/>
                      </a:lnTo>
                      <a:lnTo>
                        <a:pt x="73651" y="822840"/>
                      </a:lnTo>
                      <a:lnTo>
                        <a:pt x="70029" y="824651"/>
                      </a:lnTo>
                      <a:lnTo>
                        <a:pt x="68218" y="819217"/>
                      </a:lnTo>
                      <a:lnTo>
                        <a:pt x="63388" y="816803"/>
                      </a:lnTo>
                      <a:lnTo>
                        <a:pt x="62181" y="811973"/>
                      </a:lnTo>
                      <a:lnTo>
                        <a:pt x="58559" y="808954"/>
                      </a:lnTo>
                      <a:lnTo>
                        <a:pt x="54333" y="807747"/>
                      </a:lnTo>
                      <a:lnTo>
                        <a:pt x="56144" y="803521"/>
                      </a:lnTo>
                      <a:lnTo>
                        <a:pt x="56144" y="799295"/>
                      </a:lnTo>
                      <a:lnTo>
                        <a:pt x="53125" y="798088"/>
                      </a:lnTo>
                      <a:lnTo>
                        <a:pt x="52522" y="789032"/>
                      </a:lnTo>
                      <a:lnTo>
                        <a:pt x="50107" y="784806"/>
                      </a:lnTo>
                      <a:lnTo>
                        <a:pt x="53729" y="770318"/>
                      </a:lnTo>
                      <a:lnTo>
                        <a:pt x="57351" y="767903"/>
                      </a:lnTo>
                      <a:lnTo>
                        <a:pt x="55540" y="763073"/>
                      </a:lnTo>
                      <a:lnTo>
                        <a:pt x="48296" y="745566"/>
                      </a:lnTo>
                      <a:lnTo>
                        <a:pt x="45277" y="745566"/>
                      </a:lnTo>
                      <a:lnTo>
                        <a:pt x="42259" y="733492"/>
                      </a:lnTo>
                      <a:lnTo>
                        <a:pt x="44070" y="728059"/>
                      </a:lnTo>
                      <a:lnTo>
                        <a:pt x="44674" y="719607"/>
                      </a:lnTo>
                      <a:lnTo>
                        <a:pt x="44070" y="712363"/>
                      </a:lnTo>
                      <a:lnTo>
                        <a:pt x="46485" y="710552"/>
                      </a:lnTo>
                      <a:lnTo>
                        <a:pt x="51314" y="709948"/>
                      </a:lnTo>
                      <a:lnTo>
                        <a:pt x="54936" y="712363"/>
                      </a:lnTo>
                      <a:lnTo>
                        <a:pt x="60370" y="704515"/>
                      </a:lnTo>
                      <a:lnTo>
                        <a:pt x="63388" y="710552"/>
                      </a:lnTo>
                      <a:lnTo>
                        <a:pt x="66407" y="712967"/>
                      </a:lnTo>
                      <a:lnTo>
                        <a:pt x="68218" y="708741"/>
                      </a:lnTo>
                      <a:lnTo>
                        <a:pt x="67614" y="696667"/>
                      </a:lnTo>
                      <a:lnTo>
                        <a:pt x="60370" y="700893"/>
                      </a:lnTo>
                      <a:lnTo>
                        <a:pt x="56748" y="699685"/>
                      </a:lnTo>
                      <a:lnTo>
                        <a:pt x="53125" y="691837"/>
                      </a:lnTo>
                      <a:lnTo>
                        <a:pt x="53125" y="688215"/>
                      </a:lnTo>
                      <a:lnTo>
                        <a:pt x="56144" y="686404"/>
                      </a:lnTo>
                      <a:lnTo>
                        <a:pt x="63388" y="687008"/>
                      </a:lnTo>
                      <a:lnTo>
                        <a:pt x="63992" y="684593"/>
                      </a:lnTo>
                      <a:lnTo>
                        <a:pt x="59766" y="678556"/>
                      </a:lnTo>
                      <a:lnTo>
                        <a:pt x="62785" y="674934"/>
                      </a:lnTo>
                      <a:lnTo>
                        <a:pt x="72444" y="673122"/>
                      </a:lnTo>
                      <a:lnTo>
                        <a:pt x="75462" y="671311"/>
                      </a:lnTo>
                      <a:lnTo>
                        <a:pt x="72444" y="664671"/>
                      </a:lnTo>
                      <a:lnTo>
                        <a:pt x="73047" y="660445"/>
                      </a:lnTo>
                      <a:lnTo>
                        <a:pt x="70633" y="654408"/>
                      </a:lnTo>
                      <a:lnTo>
                        <a:pt x="64596" y="654408"/>
                      </a:lnTo>
                      <a:lnTo>
                        <a:pt x="62785" y="661048"/>
                      </a:lnTo>
                      <a:lnTo>
                        <a:pt x="54936" y="667085"/>
                      </a:lnTo>
                      <a:lnTo>
                        <a:pt x="43466" y="666482"/>
                      </a:lnTo>
                      <a:lnTo>
                        <a:pt x="40448" y="677348"/>
                      </a:lnTo>
                      <a:lnTo>
                        <a:pt x="39844" y="682782"/>
                      </a:lnTo>
                      <a:lnTo>
                        <a:pt x="37429" y="685800"/>
                      </a:lnTo>
                      <a:lnTo>
                        <a:pt x="35014" y="677952"/>
                      </a:lnTo>
                      <a:lnTo>
                        <a:pt x="30789" y="676141"/>
                      </a:lnTo>
                      <a:lnTo>
                        <a:pt x="33807" y="671311"/>
                      </a:lnTo>
                      <a:lnTo>
                        <a:pt x="33203" y="666482"/>
                      </a:lnTo>
                      <a:lnTo>
                        <a:pt x="38033" y="661652"/>
                      </a:lnTo>
                      <a:lnTo>
                        <a:pt x="38637" y="657426"/>
                      </a:lnTo>
                      <a:lnTo>
                        <a:pt x="35618" y="655615"/>
                      </a:lnTo>
                      <a:lnTo>
                        <a:pt x="36222" y="646560"/>
                      </a:lnTo>
                      <a:lnTo>
                        <a:pt x="34411" y="639919"/>
                      </a:lnTo>
                      <a:lnTo>
                        <a:pt x="28374" y="634486"/>
                      </a:lnTo>
                      <a:lnTo>
                        <a:pt x="27770" y="631468"/>
                      </a:lnTo>
                      <a:lnTo>
                        <a:pt x="30185" y="628449"/>
                      </a:lnTo>
                      <a:lnTo>
                        <a:pt x="30185" y="623620"/>
                      </a:lnTo>
                      <a:lnTo>
                        <a:pt x="25959" y="618790"/>
                      </a:lnTo>
                      <a:lnTo>
                        <a:pt x="27166" y="612149"/>
                      </a:lnTo>
                      <a:lnTo>
                        <a:pt x="27770" y="601283"/>
                      </a:lnTo>
                      <a:lnTo>
                        <a:pt x="30789" y="594642"/>
                      </a:lnTo>
                      <a:lnTo>
                        <a:pt x="21733" y="584983"/>
                      </a:lnTo>
                      <a:lnTo>
                        <a:pt x="22337" y="576531"/>
                      </a:lnTo>
                      <a:lnTo>
                        <a:pt x="19318" y="566268"/>
                      </a:lnTo>
                      <a:lnTo>
                        <a:pt x="26563" y="559627"/>
                      </a:lnTo>
                      <a:lnTo>
                        <a:pt x="18715" y="554194"/>
                      </a:lnTo>
                      <a:lnTo>
                        <a:pt x="16300" y="551779"/>
                      </a:lnTo>
                      <a:lnTo>
                        <a:pt x="12678" y="536687"/>
                      </a:lnTo>
                      <a:lnTo>
                        <a:pt x="16300" y="536083"/>
                      </a:lnTo>
                      <a:lnTo>
                        <a:pt x="15696" y="530650"/>
                      </a:lnTo>
                      <a:lnTo>
                        <a:pt x="13281" y="527028"/>
                      </a:lnTo>
                      <a:lnTo>
                        <a:pt x="11470" y="518576"/>
                      </a:lnTo>
                      <a:lnTo>
                        <a:pt x="12074" y="512539"/>
                      </a:lnTo>
                      <a:lnTo>
                        <a:pt x="7244" y="503484"/>
                      </a:lnTo>
                      <a:lnTo>
                        <a:pt x="7244" y="493221"/>
                      </a:lnTo>
                      <a:lnTo>
                        <a:pt x="6037" y="488995"/>
                      </a:lnTo>
                      <a:lnTo>
                        <a:pt x="604" y="485976"/>
                      </a:lnTo>
                      <a:lnTo>
                        <a:pt x="0" y="479336"/>
                      </a:lnTo>
                      <a:lnTo>
                        <a:pt x="3622" y="481147"/>
                      </a:lnTo>
                      <a:lnTo>
                        <a:pt x="6037" y="478128"/>
                      </a:lnTo>
                      <a:lnTo>
                        <a:pt x="6641" y="472091"/>
                      </a:lnTo>
                      <a:lnTo>
                        <a:pt x="5433" y="466054"/>
                      </a:lnTo>
                      <a:lnTo>
                        <a:pt x="3018" y="462432"/>
                      </a:lnTo>
                      <a:lnTo>
                        <a:pt x="7848" y="457603"/>
                      </a:lnTo>
                      <a:lnTo>
                        <a:pt x="13281" y="453980"/>
                      </a:lnTo>
                      <a:lnTo>
                        <a:pt x="14489" y="450962"/>
                      </a:lnTo>
                      <a:lnTo>
                        <a:pt x="13281" y="439492"/>
                      </a:lnTo>
                      <a:lnTo>
                        <a:pt x="12074" y="433455"/>
                      </a:lnTo>
                      <a:lnTo>
                        <a:pt x="15696" y="430436"/>
                      </a:lnTo>
                      <a:lnTo>
                        <a:pt x="18111" y="423192"/>
                      </a:lnTo>
                      <a:lnTo>
                        <a:pt x="18111" y="418362"/>
                      </a:lnTo>
                      <a:lnTo>
                        <a:pt x="28374" y="419570"/>
                      </a:lnTo>
                      <a:lnTo>
                        <a:pt x="31392" y="415948"/>
                      </a:lnTo>
                      <a:lnTo>
                        <a:pt x="36826" y="414137"/>
                      </a:lnTo>
                      <a:lnTo>
                        <a:pt x="37429" y="408100"/>
                      </a:lnTo>
                      <a:lnTo>
                        <a:pt x="41051" y="402666"/>
                      </a:lnTo>
                      <a:lnTo>
                        <a:pt x="45881" y="402666"/>
                      </a:lnTo>
                      <a:lnTo>
                        <a:pt x="48296" y="398440"/>
                      </a:lnTo>
                      <a:lnTo>
                        <a:pt x="57351" y="399044"/>
                      </a:lnTo>
                      <a:lnTo>
                        <a:pt x="65803" y="401459"/>
                      </a:lnTo>
                      <a:lnTo>
                        <a:pt x="67010" y="408703"/>
                      </a:lnTo>
                      <a:lnTo>
                        <a:pt x="68822" y="409307"/>
                      </a:lnTo>
                      <a:lnTo>
                        <a:pt x="69425" y="410514"/>
                      </a:lnTo>
                      <a:lnTo>
                        <a:pt x="69425" y="412929"/>
                      </a:lnTo>
                      <a:lnTo>
                        <a:pt x="68822" y="413533"/>
                      </a:lnTo>
                      <a:lnTo>
                        <a:pt x="66407" y="419570"/>
                      </a:lnTo>
                      <a:lnTo>
                        <a:pt x="68822" y="423192"/>
                      </a:lnTo>
                      <a:lnTo>
                        <a:pt x="73047" y="422588"/>
                      </a:lnTo>
                      <a:lnTo>
                        <a:pt x="73651" y="420173"/>
                      </a:lnTo>
                      <a:lnTo>
                        <a:pt x="73651" y="419570"/>
                      </a:lnTo>
                      <a:lnTo>
                        <a:pt x="75462" y="418966"/>
                      </a:lnTo>
                      <a:lnTo>
                        <a:pt x="75462" y="419570"/>
                      </a:lnTo>
                      <a:lnTo>
                        <a:pt x="74255" y="424399"/>
                      </a:lnTo>
                      <a:lnTo>
                        <a:pt x="81499" y="432851"/>
                      </a:lnTo>
                      <a:lnTo>
                        <a:pt x="83914" y="433455"/>
                      </a:lnTo>
                      <a:lnTo>
                        <a:pt x="83914" y="427418"/>
                      </a:lnTo>
                      <a:lnTo>
                        <a:pt x="89951" y="427418"/>
                      </a:lnTo>
                      <a:lnTo>
                        <a:pt x="93573" y="429229"/>
                      </a:lnTo>
                      <a:lnTo>
                        <a:pt x="94781" y="429832"/>
                      </a:lnTo>
                      <a:lnTo>
                        <a:pt x="94781" y="430436"/>
                      </a:lnTo>
                      <a:lnTo>
                        <a:pt x="97195" y="431040"/>
                      </a:lnTo>
                      <a:lnTo>
                        <a:pt x="98403" y="431040"/>
                      </a:lnTo>
                      <a:lnTo>
                        <a:pt x="100214" y="429832"/>
                      </a:lnTo>
                      <a:lnTo>
                        <a:pt x="102025" y="431040"/>
                      </a:lnTo>
                      <a:lnTo>
                        <a:pt x="106854" y="434058"/>
                      </a:lnTo>
                      <a:lnTo>
                        <a:pt x="108062" y="435869"/>
                      </a:lnTo>
                      <a:lnTo>
                        <a:pt x="109873" y="437077"/>
                      </a:lnTo>
                      <a:lnTo>
                        <a:pt x="110477" y="436473"/>
                      </a:lnTo>
                      <a:lnTo>
                        <a:pt x="112891" y="434662"/>
                      </a:lnTo>
                      <a:lnTo>
                        <a:pt x="112891" y="431040"/>
                      </a:lnTo>
                      <a:lnTo>
                        <a:pt x="115910" y="428625"/>
                      </a:lnTo>
                      <a:lnTo>
                        <a:pt x="117117" y="425003"/>
                      </a:lnTo>
                      <a:lnTo>
                        <a:pt x="116514" y="421381"/>
                      </a:lnTo>
                      <a:lnTo>
                        <a:pt x="120739" y="420173"/>
                      </a:lnTo>
                      <a:lnTo>
                        <a:pt x="126173" y="420173"/>
                      </a:lnTo>
                      <a:lnTo>
                        <a:pt x="127380" y="417759"/>
                      </a:lnTo>
                      <a:lnTo>
                        <a:pt x="132813" y="414740"/>
                      </a:lnTo>
                      <a:lnTo>
                        <a:pt x="132813" y="405685"/>
                      </a:lnTo>
                      <a:lnTo>
                        <a:pt x="136436" y="402666"/>
                      </a:lnTo>
                      <a:lnTo>
                        <a:pt x="149717" y="405685"/>
                      </a:lnTo>
                      <a:lnTo>
                        <a:pt x="159980" y="403874"/>
                      </a:lnTo>
                      <a:lnTo>
                        <a:pt x="158772" y="391800"/>
                      </a:lnTo>
                      <a:lnTo>
                        <a:pt x="159376" y="387574"/>
                      </a:lnTo>
                      <a:lnTo>
                        <a:pt x="161791" y="386366"/>
                      </a:lnTo>
                      <a:lnTo>
                        <a:pt x="159980" y="377915"/>
                      </a:lnTo>
                      <a:lnTo>
                        <a:pt x="159980" y="374292"/>
                      </a:lnTo>
                      <a:lnTo>
                        <a:pt x="157565" y="364633"/>
                      </a:lnTo>
                      <a:lnTo>
                        <a:pt x="152735" y="366444"/>
                      </a:lnTo>
                      <a:lnTo>
                        <a:pt x="153943" y="360407"/>
                      </a:lnTo>
                      <a:lnTo>
                        <a:pt x="159376" y="357389"/>
                      </a:lnTo>
                      <a:lnTo>
                        <a:pt x="164809" y="345919"/>
                      </a:lnTo>
                      <a:lnTo>
                        <a:pt x="170243" y="339882"/>
                      </a:lnTo>
                      <a:lnTo>
                        <a:pt x="169639" y="335656"/>
                      </a:lnTo>
                      <a:lnTo>
                        <a:pt x="175072" y="329619"/>
                      </a:lnTo>
                      <a:lnTo>
                        <a:pt x="171450" y="329015"/>
                      </a:lnTo>
                      <a:lnTo>
                        <a:pt x="172054" y="324185"/>
                      </a:lnTo>
                      <a:lnTo>
                        <a:pt x="170846" y="319960"/>
                      </a:lnTo>
                      <a:lnTo>
                        <a:pt x="162998" y="317545"/>
                      </a:lnTo>
                      <a:lnTo>
                        <a:pt x="159980" y="310904"/>
                      </a:lnTo>
                      <a:lnTo>
                        <a:pt x="155150" y="307282"/>
                      </a:lnTo>
                      <a:lnTo>
                        <a:pt x="155150" y="304867"/>
                      </a:lnTo>
                      <a:lnTo>
                        <a:pt x="162395" y="302453"/>
                      </a:lnTo>
                      <a:lnTo>
                        <a:pt x="166017" y="295812"/>
                      </a:lnTo>
                      <a:lnTo>
                        <a:pt x="166620" y="290982"/>
                      </a:lnTo>
                      <a:lnTo>
                        <a:pt x="171450" y="290379"/>
                      </a:lnTo>
                      <a:lnTo>
                        <a:pt x="174469" y="297623"/>
                      </a:lnTo>
                      <a:lnTo>
                        <a:pt x="172657" y="300038"/>
                      </a:lnTo>
                      <a:lnTo>
                        <a:pt x="174469" y="304867"/>
                      </a:lnTo>
                      <a:lnTo>
                        <a:pt x="181109" y="300642"/>
                      </a:lnTo>
                      <a:lnTo>
                        <a:pt x="184128" y="301245"/>
                      </a:lnTo>
                      <a:lnTo>
                        <a:pt x="188354" y="306075"/>
                      </a:lnTo>
                      <a:lnTo>
                        <a:pt x="193787" y="306678"/>
                      </a:lnTo>
                      <a:lnTo>
                        <a:pt x="200428" y="310904"/>
                      </a:lnTo>
                      <a:lnTo>
                        <a:pt x="203446" y="321167"/>
                      </a:lnTo>
                      <a:lnTo>
                        <a:pt x="209483" y="324789"/>
                      </a:lnTo>
                      <a:lnTo>
                        <a:pt x="216727" y="321167"/>
                      </a:lnTo>
                      <a:lnTo>
                        <a:pt x="223972" y="322374"/>
                      </a:lnTo>
                      <a:lnTo>
                        <a:pt x="226386" y="323582"/>
                      </a:lnTo>
                      <a:lnTo>
                        <a:pt x="234235" y="315734"/>
                      </a:lnTo>
                      <a:lnTo>
                        <a:pt x="238460" y="316337"/>
                      </a:lnTo>
                      <a:lnTo>
                        <a:pt x="246308" y="311508"/>
                      </a:lnTo>
                      <a:lnTo>
                        <a:pt x="246912" y="304264"/>
                      </a:lnTo>
                      <a:lnTo>
                        <a:pt x="245705" y="300038"/>
                      </a:lnTo>
                      <a:lnTo>
                        <a:pt x="242083" y="300038"/>
                      </a:lnTo>
                      <a:lnTo>
                        <a:pt x="241479" y="295812"/>
                      </a:lnTo>
                      <a:lnTo>
                        <a:pt x="245705" y="294001"/>
                      </a:lnTo>
                      <a:lnTo>
                        <a:pt x="249931" y="295812"/>
                      </a:lnTo>
                      <a:lnTo>
                        <a:pt x="252949" y="289775"/>
                      </a:lnTo>
                      <a:lnTo>
                        <a:pt x="255364" y="287360"/>
                      </a:lnTo>
                      <a:lnTo>
                        <a:pt x="262005" y="289171"/>
                      </a:lnTo>
                      <a:lnTo>
                        <a:pt x="268042" y="284945"/>
                      </a:lnTo>
                      <a:lnTo>
                        <a:pt x="265627" y="279512"/>
                      </a:lnTo>
                      <a:lnTo>
                        <a:pt x="265627" y="270457"/>
                      </a:lnTo>
                      <a:lnTo>
                        <a:pt x="266834" y="263816"/>
                      </a:lnTo>
                      <a:lnTo>
                        <a:pt x="263816" y="262005"/>
                      </a:lnTo>
                      <a:lnTo>
                        <a:pt x="263816" y="253553"/>
                      </a:lnTo>
                      <a:lnTo>
                        <a:pt x="260797" y="246912"/>
                      </a:lnTo>
                      <a:lnTo>
                        <a:pt x="256571" y="243290"/>
                      </a:lnTo>
                      <a:lnTo>
                        <a:pt x="258986" y="231820"/>
                      </a:lnTo>
                      <a:lnTo>
                        <a:pt x="246308" y="229405"/>
                      </a:lnTo>
                      <a:lnTo>
                        <a:pt x="240272" y="229405"/>
                      </a:lnTo>
                      <a:lnTo>
                        <a:pt x="238460" y="223368"/>
                      </a:lnTo>
                      <a:lnTo>
                        <a:pt x="233631" y="223972"/>
                      </a:lnTo>
                      <a:lnTo>
                        <a:pt x="230009" y="219142"/>
                      </a:lnTo>
                      <a:lnTo>
                        <a:pt x="226386" y="219142"/>
                      </a:lnTo>
                      <a:lnTo>
                        <a:pt x="225179" y="216124"/>
                      </a:lnTo>
                      <a:lnTo>
                        <a:pt x="225179" y="210087"/>
                      </a:lnTo>
                      <a:lnTo>
                        <a:pt x="223972" y="205257"/>
                      </a:lnTo>
                      <a:lnTo>
                        <a:pt x="217935" y="203446"/>
                      </a:lnTo>
                      <a:lnTo>
                        <a:pt x="214916" y="205861"/>
                      </a:lnTo>
                      <a:lnTo>
                        <a:pt x="207672" y="201635"/>
                      </a:lnTo>
                      <a:lnTo>
                        <a:pt x="201635" y="201635"/>
                      </a:lnTo>
                      <a:lnTo>
                        <a:pt x="198013" y="194391"/>
                      </a:lnTo>
                      <a:lnTo>
                        <a:pt x="193183" y="194391"/>
                      </a:lnTo>
                      <a:lnTo>
                        <a:pt x="193183" y="191372"/>
                      </a:lnTo>
                      <a:lnTo>
                        <a:pt x="197409" y="188958"/>
                      </a:lnTo>
                      <a:lnTo>
                        <a:pt x="199824" y="193183"/>
                      </a:lnTo>
                      <a:lnTo>
                        <a:pt x="203446" y="194391"/>
                      </a:lnTo>
                      <a:lnTo>
                        <a:pt x="203446" y="199220"/>
                      </a:lnTo>
                      <a:lnTo>
                        <a:pt x="212501" y="194391"/>
                      </a:lnTo>
                      <a:lnTo>
                        <a:pt x="219142" y="194994"/>
                      </a:lnTo>
                      <a:lnTo>
                        <a:pt x="223972" y="197409"/>
                      </a:lnTo>
                      <a:lnTo>
                        <a:pt x="226386" y="194994"/>
                      </a:lnTo>
                      <a:lnTo>
                        <a:pt x="225179" y="191372"/>
                      </a:lnTo>
                      <a:lnTo>
                        <a:pt x="233027" y="191976"/>
                      </a:lnTo>
                      <a:lnTo>
                        <a:pt x="236046" y="188354"/>
                      </a:lnTo>
                      <a:lnTo>
                        <a:pt x="241479" y="190165"/>
                      </a:lnTo>
                      <a:lnTo>
                        <a:pt x="240875" y="179298"/>
                      </a:lnTo>
                      <a:lnTo>
                        <a:pt x="244497" y="174469"/>
                      </a:lnTo>
                      <a:lnTo>
                        <a:pt x="243290" y="169035"/>
                      </a:lnTo>
                      <a:lnTo>
                        <a:pt x="248723" y="168432"/>
                      </a:lnTo>
                      <a:lnTo>
                        <a:pt x="255968" y="170243"/>
                      </a:lnTo>
                      <a:lnTo>
                        <a:pt x="264419" y="165413"/>
                      </a:lnTo>
                      <a:lnTo>
                        <a:pt x="267438" y="162395"/>
                      </a:lnTo>
                      <a:lnTo>
                        <a:pt x="269249" y="152132"/>
                      </a:lnTo>
                      <a:lnTo>
                        <a:pt x="269249" y="145491"/>
                      </a:lnTo>
                      <a:lnTo>
                        <a:pt x="270456" y="141265"/>
                      </a:lnTo>
                      <a:lnTo>
                        <a:pt x="274079" y="140662"/>
                      </a:lnTo>
                      <a:lnTo>
                        <a:pt x="280116" y="137039"/>
                      </a:lnTo>
                      <a:lnTo>
                        <a:pt x="288567" y="134021"/>
                      </a:lnTo>
                      <a:lnTo>
                        <a:pt x="289775" y="127380"/>
                      </a:lnTo>
                      <a:lnTo>
                        <a:pt x="292190" y="121947"/>
                      </a:lnTo>
                      <a:lnTo>
                        <a:pt x="294604" y="127380"/>
                      </a:lnTo>
                      <a:lnTo>
                        <a:pt x="303056" y="128588"/>
                      </a:lnTo>
                      <a:lnTo>
                        <a:pt x="307282" y="126173"/>
                      </a:lnTo>
                      <a:lnTo>
                        <a:pt x="311508" y="127984"/>
                      </a:lnTo>
                      <a:lnTo>
                        <a:pt x="316337" y="124965"/>
                      </a:lnTo>
                      <a:lnTo>
                        <a:pt x="324185" y="126776"/>
                      </a:lnTo>
                      <a:lnTo>
                        <a:pt x="332637" y="124965"/>
                      </a:lnTo>
                      <a:lnTo>
                        <a:pt x="334448" y="123154"/>
                      </a:lnTo>
                      <a:lnTo>
                        <a:pt x="341693" y="121947"/>
                      </a:lnTo>
                      <a:lnTo>
                        <a:pt x="345919" y="118325"/>
                      </a:lnTo>
                      <a:lnTo>
                        <a:pt x="347126" y="108665"/>
                      </a:lnTo>
                      <a:lnTo>
                        <a:pt x="342900" y="107458"/>
                      </a:lnTo>
                      <a:lnTo>
                        <a:pt x="342296" y="103232"/>
                      </a:lnTo>
                      <a:lnTo>
                        <a:pt x="338070" y="104440"/>
                      </a:lnTo>
                      <a:lnTo>
                        <a:pt x="334448" y="109873"/>
                      </a:lnTo>
                      <a:lnTo>
                        <a:pt x="330826" y="109873"/>
                      </a:lnTo>
                      <a:lnTo>
                        <a:pt x="327204" y="106251"/>
                      </a:lnTo>
                      <a:lnTo>
                        <a:pt x="320563" y="111080"/>
                      </a:lnTo>
                      <a:lnTo>
                        <a:pt x="316337" y="104440"/>
                      </a:lnTo>
                      <a:lnTo>
                        <a:pt x="306075" y="105043"/>
                      </a:lnTo>
                      <a:lnTo>
                        <a:pt x="292190" y="104440"/>
                      </a:lnTo>
                      <a:lnTo>
                        <a:pt x="287964" y="106854"/>
                      </a:lnTo>
                      <a:lnTo>
                        <a:pt x="283134" y="106251"/>
                      </a:lnTo>
                      <a:lnTo>
                        <a:pt x="279512" y="108665"/>
                      </a:lnTo>
                      <a:lnTo>
                        <a:pt x="274682" y="108062"/>
                      </a:lnTo>
                      <a:lnTo>
                        <a:pt x="272871" y="112288"/>
                      </a:lnTo>
                      <a:lnTo>
                        <a:pt x="265627" y="115306"/>
                      </a:lnTo>
                      <a:lnTo>
                        <a:pt x="265023" y="112891"/>
                      </a:lnTo>
                      <a:lnTo>
                        <a:pt x="249327" y="118325"/>
                      </a:lnTo>
                      <a:lnTo>
                        <a:pt x="247516" y="115306"/>
                      </a:lnTo>
                      <a:lnTo>
                        <a:pt x="243894" y="105647"/>
                      </a:lnTo>
                      <a:lnTo>
                        <a:pt x="242083" y="95988"/>
                      </a:lnTo>
                      <a:lnTo>
                        <a:pt x="238460" y="94781"/>
                      </a:lnTo>
                      <a:lnTo>
                        <a:pt x="234235" y="89951"/>
                      </a:lnTo>
                      <a:lnTo>
                        <a:pt x="237253" y="87536"/>
                      </a:lnTo>
                      <a:lnTo>
                        <a:pt x="242686" y="86933"/>
                      </a:lnTo>
                      <a:lnTo>
                        <a:pt x="246308" y="88140"/>
                      </a:lnTo>
                      <a:lnTo>
                        <a:pt x="249327" y="86329"/>
                      </a:lnTo>
                      <a:lnTo>
                        <a:pt x="254760" y="85725"/>
                      </a:lnTo>
                      <a:lnTo>
                        <a:pt x="257175" y="80292"/>
                      </a:lnTo>
                      <a:lnTo>
                        <a:pt x="256571" y="73048"/>
                      </a:lnTo>
                      <a:lnTo>
                        <a:pt x="255364" y="70633"/>
                      </a:lnTo>
                      <a:lnTo>
                        <a:pt x="246308" y="63992"/>
                      </a:lnTo>
                      <a:lnTo>
                        <a:pt x="243290" y="59163"/>
                      </a:lnTo>
                      <a:lnTo>
                        <a:pt x="245705" y="57351"/>
                      </a:lnTo>
                      <a:lnTo>
                        <a:pt x="242686" y="48296"/>
                      </a:lnTo>
                      <a:lnTo>
                        <a:pt x="239064" y="45881"/>
                      </a:lnTo>
                      <a:lnTo>
                        <a:pt x="245705" y="42259"/>
                      </a:lnTo>
                      <a:lnTo>
                        <a:pt x="253553" y="42259"/>
                      </a:lnTo>
                      <a:lnTo>
                        <a:pt x="257175" y="39240"/>
                      </a:lnTo>
                      <a:lnTo>
                        <a:pt x="262005" y="38637"/>
                      </a:lnTo>
                      <a:lnTo>
                        <a:pt x="274079" y="31392"/>
                      </a:lnTo>
                      <a:lnTo>
                        <a:pt x="283134" y="27770"/>
                      </a:lnTo>
                      <a:lnTo>
                        <a:pt x="287964" y="23544"/>
                      </a:lnTo>
                      <a:lnTo>
                        <a:pt x="308489" y="16904"/>
                      </a:lnTo>
                      <a:lnTo>
                        <a:pt x="313319" y="18715"/>
                      </a:lnTo>
                      <a:lnTo>
                        <a:pt x="319356" y="22941"/>
                      </a:lnTo>
                      <a:lnTo>
                        <a:pt x="338674" y="20526"/>
                      </a:lnTo>
                      <a:lnTo>
                        <a:pt x="340485" y="13885"/>
                      </a:lnTo>
                      <a:lnTo>
                        <a:pt x="349541" y="12074"/>
                      </a:lnTo>
                      <a:lnTo>
                        <a:pt x="356181" y="6037"/>
                      </a:lnTo>
                      <a:lnTo>
                        <a:pt x="357992" y="2415"/>
                      </a:lnTo>
                      <a:lnTo>
                        <a:pt x="368255" y="0"/>
                      </a:lnTo>
                      <a:lnTo>
                        <a:pt x="370066" y="3018"/>
                      </a:lnTo>
                      <a:lnTo>
                        <a:pt x="369463" y="10263"/>
                      </a:lnTo>
                      <a:lnTo>
                        <a:pt x="371274" y="13885"/>
                      </a:lnTo>
                      <a:lnTo>
                        <a:pt x="375500" y="14489"/>
                      </a:lnTo>
                      <a:lnTo>
                        <a:pt x="379726" y="16904"/>
                      </a:lnTo>
                      <a:lnTo>
                        <a:pt x="384555" y="21129"/>
                      </a:lnTo>
                      <a:lnTo>
                        <a:pt x="386970" y="27166"/>
                      </a:lnTo>
                      <a:lnTo>
                        <a:pt x="385159" y="31996"/>
                      </a:lnTo>
                      <a:lnTo>
                        <a:pt x="383951" y="46485"/>
                      </a:lnTo>
                      <a:lnTo>
                        <a:pt x="382140" y="49503"/>
                      </a:lnTo>
                      <a:lnTo>
                        <a:pt x="383348" y="56748"/>
                      </a:lnTo>
                      <a:lnTo>
                        <a:pt x="384555" y="58559"/>
                      </a:lnTo>
                      <a:lnTo>
                        <a:pt x="383348" y="67011"/>
                      </a:lnTo>
                      <a:lnTo>
                        <a:pt x="386366" y="69425"/>
                      </a:lnTo>
                      <a:lnTo>
                        <a:pt x="391800" y="68822"/>
                      </a:lnTo>
                      <a:lnTo>
                        <a:pt x="393611" y="76066"/>
                      </a:lnTo>
                      <a:lnTo>
                        <a:pt x="398440" y="76670"/>
                      </a:lnTo>
                      <a:lnTo>
                        <a:pt x="399648" y="80896"/>
                      </a:lnTo>
                      <a:lnTo>
                        <a:pt x="413533" y="83311"/>
                      </a:lnTo>
                      <a:lnTo>
                        <a:pt x="421381" y="88140"/>
                      </a:lnTo>
                      <a:lnTo>
                        <a:pt x="427418" y="89951"/>
                      </a:lnTo>
                      <a:lnTo>
                        <a:pt x="443114" y="93573"/>
                      </a:lnTo>
                      <a:lnTo>
                        <a:pt x="448547" y="92970"/>
                      </a:lnTo>
                      <a:lnTo>
                        <a:pt x="456999" y="88744"/>
                      </a:lnTo>
                      <a:lnTo>
                        <a:pt x="464243" y="88744"/>
                      </a:lnTo>
                      <a:lnTo>
                        <a:pt x="469073" y="92970"/>
                      </a:lnTo>
                      <a:lnTo>
                        <a:pt x="480543" y="96592"/>
                      </a:lnTo>
                      <a:lnTo>
                        <a:pt x="487184" y="99610"/>
                      </a:lnTo>
                      <a:lnTo>
                        <a:pt x="487787" y="101421"/>
                      </a:lnTo>
                      <a:lnTo>
                        <a:pt x="496239" y="103232"/>
                      </a:lnTo>
                      <a:lnTo>
                        <a:pt x="502880" y="114702"/>
                      </a:lnTo>
                      <a:lnTo>
                        <a:pt x="506502" y="124362"/>
                      </a:lnTo>
                      <a:lnTo>
                        <a:pt x="511332" y="128588"/>
                      </a:lnTo>
                      <a:lnTo>
                        <a:pt x="522802" y="134021"/>
                      </a:lnTo>
                      <a:lnTo>
                        <a:pt x="529443" y="137643"/>
                      </a:lnTo>
                      <a:lnTo>
                        <a:pt x="532461" y="135832"/>
                      </a:lnTo>
                      <a:lnTo>
                        <a:pt x="536687" y="138247"/>
                      </a:lnTo>
                      <a:lnTo>
                        <a:pt x="546346" y="136436"/>
                      </a:lnTo>
                      <a:lnTo>
                        <a:pt x="546950" y="140662"/>
                      </a:lnTo>
                      <a:lnTo>
                        <a:pt x="557213" y="141265"/>
                      </a:lnTo>
                      <a:lnTo>
                        <a:pt x="559024" y="138850"/>
                      </a:lnTo>
                      <a:lnTo>
                        <a:pt x="563853" y="143076"/>
                      </a:lnTo>
                      <a:lnTo>
                        <a:pt x="580757" y="141265"/>
                      </a:lnTo>
                      <a:lnTo>
                        <a:pt x="592227" y="142473"/>
                      </a:lnTo>
                      <a:lnTo>
                        <a:pt x="597057" y="146095"/>
                      </a:lnTo>
                      <a:lnTo>
                        <a:pt x="604301" y="144284"/>
                      </a:lnTo>
                      <a:lnTo>
                        <a:pt x="606112" y="141869"/>
                      </a:lnTo>
                      <a:lnTo>
                        <a:pt x="612149" y="141265"/>
                      </a:lnTo>
                      <a:lnTo>
                        <a:pt x="613960" y="143680"/>
                      </a:lnTo>
                      <a:lnTo>
                        <a:pt x="623016" y="144284"/>
                      </a:lnTo>
                      <a:lnTo>
                        <a:pt x="630260" y="141869"/>
                      </a:lnTo>
                      <a:lnTo>
                        <a:pt x="637504" y="141265"/>
                      </a:lnTo>
                      <a:lnTo>
                        <a:pt x="640523" y="143076"/>
                      </a:lnTo>
                      <a:lnTo>
                        <a:pt x="649578" y="141869"/>
                      </a:lnTo>
                      <a:lnTo>
                        <a:pt x="656219" y="143680"/>
                      </a:lnTo>
                      <a:lnTo>
                        <a:pt x="662256" y="142473"/>
                      </a:lnTo>
                      <a:lnTo>
                        <a:pt x="667689" y="140058"/>
                      </a:lnTo>
                      <a:lnTo>
                        <a:pt x="673122" y="141869"/>
                      </a:lnTo>
                      <a:lnTo>
                        <a:pt x="683989" y="141265"/>
                      </a:lnTo>
                      <a:lnTo>
                        <a:pt x="687611" y="144887"/>
                      </a:lnTo>
                      <a:lnTo>
                        <a:pt x="697874" y="147302"/>
                      </a:lnTo>
                      <a:lnTo>
                        <a:pt x="701496" y="150321"/>
                      </a:lnTo>
                      <a:lnTo>
                        <a:pt x="710552" y="145491"/>
                      </a:lnTo>
                      <a:lnTo>
                        <a:pt x="712363" y="148510"/>
                      </a:lnTo>
                      <a:lnTo>
                        <a:pt x="717192" y="162395"/>
                      </a:lnTo>
                      <a:lnTo>
                        <a:pt x="720211" y="164810"/>
                      </a:lnTo>
                      <a:lnTo>
                        <a:pt x="723229" y="170847"/>
                      </a:lnTo>
                      <a:lnTo>
                        <a:pt x="720211" y="176884"/>
                      </a:lnTo>
                      <a:lnTo>
                        <a:pt x="724437" y="178695"/>
                      </a:lnTo>
                      <a:lnTo>
                        <a:pt x="725040" y="190769"/>
                      </a:lnTo>
                      <a:lnTo>
                        <a:pt x="716589" y="188958"/>
                      </a:lnTo>
                      <a:lnTo>
                        <a:pt x="714174" y="191976"/>
                      </a:lnTo>
                      <a:lnTo>
                        <a:pt x="719607" y="197409"/>
                      </a:lnTo>
                      <a:lnTo>
                        <a:pt x="718400" y="200428"/>
                      </a:lnTo>
                      <a:lnTo>
                        <a:pt x="725040" y="205257"/>
                      </a:lnTo>
                      <a:lnTo>
                        <a:pt x="728663" y="208276"/>
                      </a:lnTo>
                      <a:lnTo>
                        <a:pt x="746170" y="207672"/>
                      </a:lnTo>
                      <a:lnTo>
                        <a:pt x="748585" y="211898"/>
                      </a:lnTo>
                      <a:lnTo>
                        <a:pt x="764884" y="210690"/>
                      </a:lnTo>
                      <a:lnTo>
                        <a:pt x="767903" y="211294"/>
                      </a:lnTo>
                      <a:lnTo>
                        <a:pt x="775147" y="207672"/>
                      </a:lnTo>
                      <a:lnTo>
                        <a:pt x="775147" y="204654"/>
                      </a:lnTo>
                      <a:lnTo>
                        <a:pt x="779977" y="204654"/>
                      </a:lnTo>
                      <a:lnTo>
                        <a:pt x="783599" y="202842"/>
                      </a:lnTo>
                      <a:lnTo>
                        <a:pt x="784806" y="197409"/>
                      </a:lnTo>
                      <a:lnTo>
                        <a:pt x="788429" y="194391"/>
                      </a:lnTo>
                      <a:lnTo>
                        <a:pt x="790240" y="186543"/>
                      </a:lnTo>
                      <a:lnTo>
                        <a:pt x="792051" y="184732"/>
                      </a:lnTo>
                      <a:lnTo>
                        <a:pt x="799899" y="186543"/>
                      </a:lnTo>
                      <a:lnTo>
                        <a:pt x="805936" y="182921"/>
                      </a:lnTo>
                      <a:lnTo>
                        <a:pt x="819217" y="185939"/>
                      </a:lnTo>
                      <a:lnTo>
                        <a:pt x="820424" y="182921"/>
                      </a:lnTo>
                      <a:lnTo>
                        <a:pt x="821028" y="177487"/>
                      </a:lnTo>
                      <a:lnTo>
                        <a:pt x="822839" y="173261"/>
                      </a:lnTo>
                      <a:lnTo>
                        <a:pt x="826461" y="173261"/>
                      </a:lnTo>
                      <a:lnTo>
                        <a:pt x="827065" y="166017"/>
                      </a:lnTo>
                      <a:lnTo>
                        <a:pt x="819821" y="155150"/>
                      </a:lnTo>
                      <a:lnTo>
                        <a:pt x="819821" y="153339"/>
                      </a:lnTo>
                      <a:lnTo>
                        <a:pt x="828273" y="146699"/>
                      </a:lnTo>
                      <a:lnTo>
                        <a:pt x="841554" y="137643"/>
                      </a:lnTo>
                      <a:lnTo>
                        <a:pt x="843969" y="130399"/>
                      </a:lnTo>
                      <a:lnTo>
                        <a:pt x="852421" y="124965"/>
                      </a:lnTo>
                      <a:lnTo>
                        <a:pt x="853628" y="120136"/>
                      </a:lnTo>
                      <a:lnTo>
                        <a:pt x="847591" y="112891"/>
                      </a:lnTo>
                      <a:lnTo>
                        <a:pt x="852421" y="109873"/>
                      </a:lnTo>
                      <a:lnTo>
                        <a:pt x="851213" y="103836"/>
                      </a:lnTo>
                      <a:lnTo>
                        <a:pt x="854232" y="95988"/>
                      </a:lnTo>
                      <a:lnTo>
                        <a:pt x="862080" y="97195"/>
                      </a:lnTo>
                      <a:lnTo>
                        <a:pt x="866306" y="92366"/>
                      </a:lnTo>
                      <a:lnTo>
                        <a:pt x="874154" y="95384"/>
                      </a:lnTo>
                      <a:lnTo>
                        <a:pt x="895887" y="77274"/>
                      </a:lnTo>
                      <a:lnTo>
                        <a:pt x="909168" y="71237"/>
                      </a:lnTo>
                      <a:lnTo>
                        <a:pt x="910979" y="68218"/>
                      </a:lnTo>
                      <a:lnTo>
                        <a:pt x="915809" y="68822"/>
                      </a:lnTo>
                      <a:lnTo>
                        <a:pt x="921846" y="67614"/>
                      </a:lnTo>
                      <a:lnTo>
                        <a:pt x="927279" y="70029"/>
                      </a:lnTo>
                      <a:lnTo>
                        <a:pt x="935731" y="68218"/>
                      </a:lnTo>
                      <a:lnTo>
                        <a:pt x="934523" y="72444"/>
                      </a:lnTo>
                      <a:lnTo>
                        <a:pt x="939353" y="74859"/>
                      </a:lnTo>
                      <a:lnTo>
                        <a:pt x="942371" y="73048"/>
                      </a:lnTo>
                      <a:lnTo>
                        <a:pt x="942975" y="69425"/>
                      </a:lnTo>
                      <a:lnTo>
                        <a:pt x="949616" y="70029"/>
                      </a:lnTo>
                      <a:lnTo>
                        <a:pt x="952031" y="67011"/>
                      </a:lnTo>
                      <a:lnTo>
                        <a:pt x="955653" y="65200"/>
                      </a:lnTo>
                      <a:lnTo>
                        <a:pt x="953842" y="59766"/>
                      </a:lnTo>
                      <a:lnTo>
                        <a:pt x="962897" y="60370"/>
                      </a:lnTo>
                      <a:lnTo>
                        <a:pt x="966519" y="59766"/>
                      </a:lnTo>
                      <a:lnTo>
                        <a:pt x="979197" y="60974"/>
                      </a:lnTo>
                      <a:lnTo>
                        <a:pt x="989460" y="59163"/>
                      </a:lnTo>
                      <a:lnTo>
                        <a:pt x="993686" y="57351"/>
                      </a:lnTo>
                      <a:lnTo>
                        <a:pt x="994893" y="60370"/>
                      </a:lnTo>
                      <a:lnTo>
                        <a:pt x="999119" y="62181"/>
                      </a:lnTo>
                      <a:lnTo>
                        <a:pt x="1008174" y="73048"/>
                      </a:lnTo>
                      <a:lnTo>
                        <a:pt x="1011797" y="80292"/>
                      </a:lnTo>
                      <a:lnTo>
                        <a:pt x="1014815" y="98403"/>
                      </a:lnTo>
                      <a:lnTo>
                        <a:pt x="1014211" y="103836"/>
                      </a:lnTo>
                      <a:lnTo>
                        <a:pt x="1018437" y="103836"/>
                      </a:lnTo>
                      <a:lnTo>
                        <a:pt x="1022060" y="108062"/>
                      </a:lnTo>
                      <a:lnTo>
                        <a:pt x="1018437" y="111080"/>
                      </a:lnTo>
                      <a:lnTo>
                        <a:pt x="1013608" y="111080"/>
                      </a:lnTo>
                      <a:lnTo>
                        <a:pt x="1005760" y="108665"/>
                      </a:lnTo>
                      <a:lnTo>
                        <a:pt x="1000930" y="105647"/>
                      </a:lnTo>
                      <a:lnTo>
                        <a:pt x="991271" y="105043"/>
                      </a:lnTo>
                      <a:lnTo>
                        <a:pt x="987649" y="107458"/>
                      </a:lnTo>
                      <a:lnTo>
                        <a:pt x="984026" y="108062"/>
                      </a:lnTo>
                      <a:lnTo>
                        <a:pt x="983423" y="114099"/>
                      </a:lnTo>
                      <a:lnTo>
                        <a:pt x="987045" y="120136"/>
                      </a:lnTo>
                      <a:lnTo>
                        <a:pt x="987045" y="123758"/>
                      </a:lnTo>
                      <a:lnTo>
                        <a:pt x="993686" y="127380"/>
                      </a:lnTo>
                      <a:lnTo>
                        <a:pt x="993686" y="131606"/>
                      </a:lnTo>
                      <a:lnTo>
                        <a:pt x="996100" y="136436"/>
                      </a:lnTo>
                      <a:lnTo>
                        <a:pt x="997308" y="144887"/>
                      </a:lnTo>
                      <a:lnTo>
                        <a:pt x="1009986" y="143680"/>
                      </a:lnTo>
                      <a:lnTo>
                        <a:pt x="1012400" y="145491"/>
                      </a:lnTo>
                      <a:lnTo>
                        <a:pt x="1020852" y="147302"/>
                      </a:lnTo>
                      <a:lnTo>
                        <a:pt x="1020248" y="142473"/>
                      </a:lnTo>
                      <a:lnTo>
                        <a:pt x="1029907" y="141265"/>
                      </a:lnTo>
                      <a:lnTo>
                        <a:pt x="1032926" y="142473"/>
                      </a:lnTo>
                      <a:lnTo>
                        <a:pt x="1034737" y="145491"/>
                      </a:lnTo>
                      <a:lnTo>
                        <a:pt x="1041981" y="144887"/>
                      </a:lnTo>
                      <a:lnTo>
                        <a:pt x="1041981" y="149113"/>
                      </a:lnTo>
                      <a:lnTo>
                        <a:pt x="1048622" y="147302"/>
                      </a:lnTo>
                      <a:lnTo>
                        <a:pt x="1050433" y="143076"/>
                      </a:lnTo>
                      <a:lnTo>
                        <a:pt x="1060092" y="141869"/>
                      </a:lnTo>
                      <a:lnTo>
                        <a:pt x="1061300" y="137039"/>
                      </a:lnTo>
                      <a:lnTo>
                        <a:pt x="1065526" y="137643"/>
                      </a:lnTo>
                      <a:lnTo>
                        <a:pt x="1074581" y="142473"/>
                      </a:lnTo>
                      <a:lnTo>
                        <a:pt x="1081826" y="144284"/>
                      </a:lnTo>
                      <a:lnTo>
                        <a:pt x="1090277" y="142473"/>
                      </a:lnTo>
                      <a:lnTo>
                        <a:pt x="1090881" y="140058"/>
                      </a:lnTo>
                      <a:lnTo>
                        <a:pt x="1098729" y="139454"/>
                      </a:lnTo>
                      <a:lnTo>
                        <a:pt x="1102955" y="136436"/>
                      </a:lnTo>
                      <a:lnTo>
                        <a:pt x="1106577" y="135228"/>
                      </a:lnTo>
                      <a:lnTo>
                        <a:pt x="1112010" y="132210"/>
                      </a:lnTo>
                      <a:lnTo>
                        <a:pt x="1116236" y="131002"/>
                      </a:lnTo>
                      <a:lnTo>
                        <a:pt x="1137969" y="117721"/>
                      </a:lnTo>
                      <a:lnTo>
                        <a:pt x="1139177" y="114702"/>
                      </a:lnTo>
                      <a:lnTo>
                        <a:pt x="1137969" y="111080"/>
                      </a:lnTo>
                      <a:lnTo>
                        <a:pt x="1138573" y="105647"/>
                      </a:lnTo>
                      <a:lnTo>
                        <a:pt x="1140384" y="104440"/>
                      </a:lnTo>
                      <a:lnTo>
                        <a:pt x="1147025" y="105647"/>
                      </a:lnTo>
                      <a:lnTo>
                        <a:pt x="1151854" y="103232"/>
                      </a:lnTo>
                      <a:lnTo>
                        <a:pt x="1158495" y="102025"/>
                      </a:lnTo>
                      <a:lnTo>
                        <a:pt x="1158495" y="97195"/>
                      </a:lnTo>
                      <a:lnTo>
                        <a:pt x="1168758" y="100818"/>
                      </a:lnTo>
                      <a:lnTo>
                        <a:pt x="1172380" y="97799"/>
                      </a:lnTo>
                      <a:lnTo>
                        <a:pt x="1177210" y="100214"/>
                      </a:lnTo>
                      <a:lnTo>
                        <a:pt x="1180832" y="96592"/>
                      </a:lnTo>
                      <a:lnTo>
                        <a:pt x="1179624" y="92366"/>
                      </a:lnTo>
                      <a:lnTo>
                        <a:pt x="1186265" y="92970"/>
                      </a:lnTo>
                      <a:lnTo>
                        <a:pt x="1189887" y="94781"/>
                      </a:lnTo>
                      <a:lnTo>
                        <a:pt x="1188076" y="100214"/>
                      </a:lnTo>
                      <a:lnTo>
                        <a:pt x="1189887" y="103232"/>
                      </a:lnTo>
                      <a:lnTo>
                        <a:pt x="1193510" y="116514"/>
                      </a:lnTo>
                      <a:lnTo>
                        <a:pt x="1201961" y="116514"/>
                      </a:lnTo>
                      <a:lnTo>
                        <a:pt x="1207394" y="111080"/>
                      </a:lnTo>
                      <a:lnTo>
                        <a:pt x="1213431" y="112288"/>
                      </a:lnTo>
                      <a:lnTo>
                        <a:pt x="1218261" y="114702"/>
                      </a:lnTo>
                      <a:lnTo>
                        <a:pt x="1223694" y="120739"/>
                      </a:lnTo>
                      <a:lnTo>
                        <a:pt x="1227920" y="120136"/>
                      </a:lnTo>
                      <a:lnTo>
                        <a:pt x="1230939" y="122551"/>
                      </a:lnTo>
                      <a:lnTo>
                        <a:pt x="1233957" y="121343"/>
                      </a:lnTo>
                      <a:lnTo>
                        <a:pt x="1238787" y="122551"/>
                      </a:lnTo>
                      <a:lnTo>
                        <a:pt x="1243616" y="121343"/>
                      </a:lnTo>
                      <a:lnTo>
                        <a:pt x="1252068" y="125569"/>
                      </a:lnTo>
                      <a:lnTo>
                        <a:pt x="1255087" y="123758"/>
                      </a:lnTo>
                      <a:lnTo>
                        <a:pt x="1256898" y="118928"/>
                      </a:lnTo>
                      <a:lnTo>
                        <a:pt x="1259916" y="120136"/>
                      </a:lnTo>
                      <a:lnTo>
                        <a:pt x="1262331" y="124965"/>
                      </a:lnTo>
                      <a:lnTo>
                        <a:pt x="1264746" y="120136"/>
                      </a:lnTo>
                      <a:lnTo>
                        <a:pt x="1276820" y="120136"/>
                      </a:lnTo>
                      <a:lnTo>
                        <a:pt x="1278631" y="118325"/>
                      </a:lnTo>
                      <a:lnTo>
                        <a:pt x="1285271" y="120739"/>
                      </a:lnTo>
                      <a:lnTo>
                        <a:pt x="1287686" y="117721"/>
                      </a:lnTo>
                      <a:lnTo>
                        <a:pt x="1294931" y="120136"/>
                      </a:lnTo>
                      <a:lnTo>
                        <a:pt x="1296138" y="113495"/>
                      </a:lnTo>
                      <a:lnTo>
                        <a:pt x="1293120" y="112288"/>
                      </a:lnTo>
                      <a:lnTo>
                        <a:pt x="1290705" y="103836"/>
                      </a:lnTo>
                      <a:lnTo>
                        <a:pt x="1291308" y="97195"/>
                      </a:lnTo>
                      <a:lnTo>
                        <a:pt x="1296742" y="96592"/>
                      </a:lnTo>
                      <a:lnTo>
                        <a:pt x="1303986" y="91762"/>
                      </a:lnTo>
                      <a:lnTo>
                        <a:pt x="1307608" y="91158"/>
                      </a:lnTo>
                      <a:lnTo>
                        <a:pt x="1311230" y="95384"/>
                      </a:lnTo>
                      <a:lnTo>
                        <a:pt x="1315456" y="94177"/>
                      </a:lnTo>
                      <a:lnTo>
                        <a:pt x="1330549" y="93573"/>
                      </a:lnTo>
                      <a:lnTo>
                        <a:pt x="1329341" y="91158"/>
                      </a:lnTo>
                      <a:lnTo>
                        <a:pt x="1335378" y="89347"/>
                      </a:lnTo>
                      <a:lnTo>
                        <a:pt x="1337793" y="86933"/>
                      </a:lnTo>
                      <a:lnTo>
                        <a:pt x="1339604" y="82103"/>
                      </a:lnTo>
                      <a:lnTo>
                        <a:pt x="1353489" y="84518"/>
                      </a:lnTo>
                      <a:lnTo>
                        <a:pt x="1355904" y="79688"/>
                      </a:lnTo>
                      <a:lnTo>
                        <a:pt x="1354093" y="77274"/>
                      </a:lnTo>
                      <a:lnTo>
                        <a:pt x="1354697" y="73048"/>
                      </a:lnTo>
                      <a:lnTo>
                        <a:pt x="1357111" y="70029"/>
                      </a:lnTo>
                      <a:lnTo>
                        <a:pt x="1361941" y="69425"/>
                      </a:lnTo>
                      <a:lnTo>
                        <a:pt x="1367978" y="74859"/>
                      </a:lnTo>
                      <a:lnTo>
                        <a:pt x="1390315" y="79085"/>
                      </a:lnTo>
                      <a:lnTo>
                        <a:pt x="1393937" y="75462"/>
                      </a:lnTo>
                      <a:lnTo>
                        <a:pt x="1399974" y="77274"/>
                      </a:lnTo>
                      <a:lnTo>
                        <a:pt x="1403596" y="76066"/>
                      </a:lnTo>
                      <a:lnTo>
                        <a:pt x="1409633" y="79085"/>
                      </a:lnTo>
                      <a:lnTo>
                        <a:pt x="1414463" y="89347"/>
                      </a:lnTo>
                      <a:lnTo>
                        <a:pt x="1411444" y="92970"/>
                      </a:lnTo>
                      <a:lnTo>
                        <a:pt x="1413255" y="97799"/>
                      </a:lnTo>
                      <a:lnTo>
                        <a:pt x="1420500" y="103232"/>
                      </a:lnTo>
                      <a:lnTo>
                        <a:pt x="1419896" y="108062"/>
                      </a:lnTo>
                      <a:lnTo>
                        <a:pt x="1427744" y="108062"/>
                      </a:lnTo>
                      <a:lnTo>
                        <a:pt x="1434385" y="105043"/>
                      </a:lnTo>
                      <a:lnTo>
                        <a:pt x="1442836" y="104440"/>
                      </a:lnTo>
                      <a:lnTo>
                        <a:pt x="1444648" y="100214"/>
                      </a:lnTo>
                      <a:lnTo>
                        <a:pt x="1450081" y="99610"/>
                      </a:lnTo>
                      <a:lnTo>
                        <a:pt x="1451892" y="97195"/>
                      </a:lnTo>
                      <a:lnTo>
                        <a:pt x="1456118" y="97195"/>
                      </a:lnTo>
                      <a:lnTo>
                        <a:pt x="1459740" y="94781"/>
                      </a:lnTo>
                      <a:lnTo>
                        <a:pt x="1472417" y="99610"/>
                      </a:lnTo>
                      <a:lnTo>
                        <a:pt x="1477851" y="104440"/>
                      </a:lnTo>
                      <a:lnTo>
                        <a:pt x="1479058" y="107458"/>
                      </a:lnTo>
                      <a:lnTo>
                        <a:pt x="1485699" y="111080"/>
                      </a:lnTo>
                      <a:lnTo>
                        <a:pt x="1492340" y="112288"/>
                      </a:lnTo>
                      <a:lnTo>
                        <a:pt x="1497773" y="112288"/>
                      </a:lnTo>
                      <a:lnTo>
                        <a:pt x="1500188" y="105647"/>
                      </a:lnTo>
                      <a:lnTo>
                        <a:pt x="1509243" y="105647"/>
                      </a:lnTo>
                      <a:lnTo>
                        <a:pt x="1514073" y="109873"/>
                      </a:lnTo>
                      <a:lnTo>
                        <a:pt x="1520713" y="105043"/>
                      </a:lnTo>
                      <a:lnTo>
                        <a:pt x="1528561" y="105647"/>
                      </a:lnTo>
                      <a:lnTo>
                        <a:pt x="1534598" y="98403"/>
                      </a:lnTo>
                      <a:lnTo>
                        <a:pt x="1537617" y="97195"/>
                      </a:lnTo>
                      <a:lnTo>
                        <a:pt x="1539428" y="93573"/>
                      </a:lnTo>
                      <a:lnTo>
                        <a:pt x="1544861" y="94177"/>
                      </a:lnTo>
                      <a:lnTo>
                        <a:pt x="1553917" y="88140"/>
                      </a:lnTo>
                      <a:lnTo>
                        <a:pt x="1557539" y="88140"/>
                      </a:lnTo>
                      <a:lnTo>
                        <a:pt x="1560557" y="91158"/>
                      </a:lnTo>
                      <a:lnTo>
                        <a:pt x="1569009" y="91158"/>
                      </a:lnTo>
                      <a:lnTo>
                        <a:pt x="1576253" y="100818"/>
                      </a:lnTo>
                      <a:lnTo>
                        <a:pt x="1581083" y="101421"/>
                      </a:lnTo>
                      <a:lnTo>
                        <a:pt x="1584705" y="109269"/>
                      </a:lnTo>
                      <a:lnTo>
                        <a:pt x="1591346" y="112891"/>
                      </a:lnTo>
                      <a:lnTo>
                        <a:pt x="1592553" y="119532"/>
                      </a:lnTo>
                      <a:lnTo>
                        <a:pt x="1597987" y="125569"/>
                      </a:lnTo>
                      <a:lnTo>
                        <a:pt x="1599798" y="131606"/>
                      </a:lnTo>
                      <a:lnTo>
                        <a:pt x="1595572" y="138247"/>
                      </a:lnTo>
                      <a:lnTo>
                        <a:pt x="1597383" y="144284"/>
                      </a:lnTo>
                      <a:lnTo>
                        <a:pt x="1604627" y="146095"/>
                      </a:lnTo>
                      <a:lnTo>
                        <a:pt x="1606438" y="145491"/>
                      </a:lnTo>
                      <a:lnTo>
                        <a:pt x="1607646" y="139454"/>
                      </a:lnTo>
                      <a:lnTo>
                        <a:pt x="1613079" y="140662"/>
                      </a:lnTo>
                      <a:lnTo>
                        <a:pt x="1622135" y="141869"/>
                      </a:lnTo>
                      <a:lnTo>
                        <a:pt x="1625757" y="146699"/>
                      </a:lnTo>
                      <a:lnTo>
                        <a:pt x="1631190" y="149113"/>
                      </a:lnTo>
                      <a:lnTo>
                        <a:pt x="1631190" y="152132"/>
                      </a:lnTo>
                      <a:lnTo>
                        <a:pt x="1634812" y="152736"/>
                      </a:lnTo>
                      <a:lnTo>
                        <a:pt x="1637227" y="156358"/>
                      </a:lnTo>
                      <a:lnTo>
                        <a:pt x="1642660" y="157565"/>
                      </a:lnTo>
                      <a:lnTo>
                        <a:pt x="1650508" y="155150"/>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1" name="Manipur" descr="{&quot;Key&quot;:&quot;manipur&quot;,&quot;Name&quot;:&quot;Manipur&quot;,&quot;Value&quot;:1.0,&quot;Formula&quot;:&quot;&quot;,&quot;Text&quot;:&quot;&quot;,&quot;OfficeApplication&quot;:1,&quot;HasValue&quot;:true}">
                  <a:extLst>
                    <a:ext uri="{FF2B5EF4-FFF2-40B4-BE49-F238E27FC236}">
                      <a16:creationId xmlns:a16="http://schemas.microsoft.com/office/drawing/2014/main" id="{6D6C3DA4-1258-4A98-8D91-40E8F33D44CA}"/>
                    </a:ext>
                  </a:extLst>
                </p:cNvPr>
                <p:cNvSpPr/>
                <p:nvPr/>
              </p:nvSpPr>
              <p:spPr>
                <a:xfrm>
                  <a:off x="8196263" y="2762518"/>
                  <a:ext cx="362218" cy="416551"/>
                </a:xfrm>
                <a:custGeom>
                  <a:avLst/>
                  <a:gdLst>
                    <a:gd name="connsiteX0" fmla="*/ 349540 w 362218"/>
                    <a:gd name="connsiteY0" fmla="*/ 54333 h 416551"/>
                    <a:gd name="connsiteX1" fmla="*/ 348333 w 362218"/>
                    <a:gd name="connsiteY1" fmla="*/ 63388 h 416551"/>
                    <a:gd name="connsiteX2" fmla="*/ 342900 w 362218"/>
                    <a:gd name="connsiteY2" fmla="*/ 66407 h 416551"/>
                    <a:gd name="connsiteX3" fmla="*/ 338674 w 362218"/>
                    <a:gd name="connsiteY3" fmla="*/ 70632 h 416551"/>
                    <a:gd name="connsiteX4" fmla="*/ 336863 w 362218"/>
                    <a:gd name="connsiteY4" fmla="*/ 82706 h 416551"/>
                    <a:gd name="connsiteX5" fmla="*/ 332033 w 362218"/>
                    <a:gd name="connsiteY5" fmla="*/ 93573 h 416551"/>
                    <a:gd name="connsiteX6" fmla="*/ 332637 w 362218"/>
                    <a:gd name="connsiteY6" fmla="*/ 98403 h 416551"/>
                    <a:gd name="connsiteX7" fmla="*/ 329619 w 362218"/>
                    <a:gd name="connsiteY7" fmla="*/ 109873 h 416551"/>
                    <a:gd name="connsiteX8" fmla="*/ 332637 w 362218"/>
                    <a:gd name="connsiteY8" fmla="*/ 114702 h 416551"/>
                    <a:gd name="connsiteX9" fmla="*/ 338674 w 362218"/>
                    <a:gd name="connsiteY9" fmla="*/ 115910 h 416551"/>
                    <a:gd name="connsiteX10" fmla="*/ 342296 w 362218"/>
                    <a:gd name="connsiteY10" fmla="*/ 119532 h 416551"/>
                    <a:gd name="connsiteX11" fmla="*/ 362822 w 362218"/>
                    <a:gd name="connsiteY11" fmla="*/ 127984 h 416551"/>
                    <a:gd name="connsiteX12" fmla="*/ 362822 w 362218"/>
                    <a:gd name="connsiteY12" fmla="*/ 135832 h 416551"/>
                    <a:gd name="connsiteX13" fmla="*/ 363425 w 362218"/>
                    <a:gd name="connsiteY13" fmla="*/ 144887 h 416551"/>
                    <a:gd name="connsiteX14" fmla="*/ 361614 w 362218"/>
                    <a:gd name="connsiteY14" fmla="*/ 153339 h 416551"/>
                    <a:gd name="connsiteX15" fmla="*/ 358596 w 362218"/>
                    <a:gd name="connsiteY15" fmla="*/ 158772 h 416551"/>
                    <a:gd name="connsiteX16" fmla="*/ 355577 w 362218"/>
                    <a:gd name="connsiteY16" fmla="*/ 160583 h 416551"/>
                    <a:gd name="connsiteX17" fmla="*/ 353766 w 362218"/>
                    <a:gd name="connsiteY17" fmla="*/ 166620 h 416551"/>
                    <a:gd name="connsiteX18" fmla="*/ 356785 w 362218"/>
                    <a:gd name="connsiteY18" fmla="*/ 172054 h 416551"/>
                    <a:gd name="connsiteX19" fmla="*/ 354370 w 362218"/>
                    <a:gd name="connsiteY19" fmla="*/ 173865 h 416551"/>
                    <a:gd name="connsiteX20" fmla="*/ 351351 w 362218"/>
                    <a:gd name="connsiteY20" fmla="*/ 181713 h 416551"/>
                    <a:gd name="connsiteX21" fmla="*/ 344107 w 362218"/>
                    <a:gd name="connsiteY21" fmla="*/ 187750 h 416551"/>
                    <a:gd name="connsiteX22" fmla="*/ 341089 w 362218"/>
                    <a:gd name="connsiteY22" fmla="*/ 193787 h 416551"/>
                    <a:gd name="connsiteX23" fmla="*/ 337467 w 362218"/>
                    <a:gd name="connsiteY23" fmla="*/ 208276 h 416551"/>
                    <a:gd name="connsiteX24" fmla="*/ 339278 w 362218"/>
                    <a:gd name="connsiteY24" fmla="*/ 212501 h 416551"/>
                    <a:gd name="connsiteX25" fmla="*/ 336259 w 362218"/>
                    <a:gd name="connsiteY25" fmla="*/ 217331 h 416551"/>
                    <a:gd name="connsiteX26" fmla="*/ 335052 w 362218"/>
                    <a:gd name="connsiteY26" fmla="*/ 222160 h 416551"/>
                    <a:gd name="connsiteX27" fmla="*/ 330826 w 362218"/>
                    <a:gd name="connsiteY27" fmla="*/ 224575 h 416551"/>
                    <a:gd name="connsiteX28" fmla="*/ 322374 w 362218"/>
                    <a:gd name="connsiteY28" fmla="*/ 223368 h 416551"/>
                    <a:gd name="connsiteX29" fmla="*/ 322374 w 362218"/>
                    <a:gd name="connsiteY29" fmla="*/ 233027 h 416551"/>
                    <a:gd name="connsiteX30" fmla="*/ 320563 w 362218"/>
                    <a:gd name="connsiteY30" fmla="*/ 239064 h 416551"/>
                    <a:gd name="connsiteX31" fmla="*/ 316337 w 362218"/>
                    <a:gd name="connsiteY31" fmla="*/ 246308 h 416551"/>
                    <a:gd name="connsiteX32" fmla="*/ 309093 w 362218"/>
                    <a:gd name="connsiteY32" fmla="*/ 254157 h 416551"/>
                    <a:gd name="connsiteX33" fmla="*/ 304867 w 362218"/>
                    <a:gd name="connsiteY33" fmla="*/ 255364 h 416551"/>
                    <a:gd name="connsiteX34" fmla="*/ 297623 w 362218"/>
                    <a:gd name="connsiteY34" fmla="*/ 274078 h 416551"/>
                    <a:gd name="connsiteX35" fmla="*/ 292189 w 362218"/>
                    <a:gd name="connsiteY35" fmla="*/ 275286 h 416551"/>
                    <a:gd name="connsiteX36" fmla="*/ 293397 w 362218"/>
                    <a:gd name="connsiteY36" fmla="*/ 279512 h 416551"/>
                    <a:gd name="connsiteX37" fmla="*/ 292793 w 362218"/>
                    <a:gd name="connsiteY37" fmla="*/ 287963 h 416551"/>
                    <a:gd name="connsiteX38" fmla="*/ 290982 w 362218"/>
                    <a:gd name="connsiteY38" fmla="*/ 292189 h 416551"/>
                    <a:gd name="connsiteX39" fmla="*/ 284341 w 362218"/>
                    <a:gd name="connsiteY39" fmla="*/ 295208 h 416551"/>
                    <a:gd name="connsiteX40" fmla="*/ 288567 w 362218"/>
                    <a:gd name="connsiteY40" fmla="*/ 298830 h 416551"/>
                    <a:gd name="connsiteX41" fmla="*/ 281323 w 362218"/>
                    <a:gd name="connsiteY41" fmla="*/ 308489 h 416551"/>
                    <a:gd name="connsiteX42" fmla="*/ 275889 w 362218"/>
                    <a:gd name="connsiteY42" fmla="*/ 309093 h 416551"/>
                    <a:gd name="connsiteX43" fmla="*/ 276493 w 362218"/>
                    <a:gd name="connsiteY43" fmla="*/ 319960 h 416551"/>
                    <a:gd name="connsiteX44" fmla="*/ 273475 w 362218"/>
                    <a:gd name="connsiteY44" fmla="*/ 328411 h 416551"/>
                    <a:gd name="connsiteX45" fmla="*/ 269852 w 362218"/>
                    <a:gd name="connsiteY45" fmla="*/ 331430 h 416551"/>
                    <a:gd name="connsiteX46" fmla="*/ 267438 w 362218"/>
                    <a:gd name="connsiteY46" fmla="*/ 339882 h 416551"/>
                    <a:gd name="connsiteX47" fmla="*/ 267438 w 362218"/>
                    <a:gd name="connsiteY47" fmla="*/ 345315 h 416551"/>
                    <a:gd name="connsiteX48" fmla="*/ 263212 w 362218"/>
                    <a:gd name="connsiteY48" fmla="*/ 347730 h 416551"/>
                    <a:gd name="connsiteX49" fmla="*/ 262004 w 362218"/>
                    <a:gd name="connsiteY49" fmla="*/ 353163 h 416551"/>
                    <a:gd name="connsiteX50" fmla="*/ 262608 w 362218"/>
                    <a:gd name="connsiteY50" fmla="*/ 365237 h 416551"/>
                    <a:gd name="connsiteX51" fmla="*/ 259590 w 362218"/>
                    <a:gd name="connsiteY51" fmla="*/ 371878 h 416551"/>
                    <a:gd name="connsiteX52" fmla="*/ 259590 w 362218"/>
                    <a:gd name="connsiteY52" fmla="*/ 375500 h 416551"/>
                    <a:gd name="connsiteX53" fmla="*/ 248723 w 362218"/>
                    <a:gd name="connsiteY53" fmla="*/ 393610 h 416551"/>
                    <a:gd name="connsiteX54" fmla="*/ 249327 w 362218"/>
                    <a:gd name="connsiteY54" fmla="*/ 399647 h 416551"/>
                    <a:gd name="connsiteX55" fmla="*/ 245101 w 362218"/>
                    <a:gd name="connsiteY55" fmla="*/ 399647 h 416551"/>
                    <a:gd name="connsiteX56" fmla="*/ 243893 w 362218"/>
                    <a:gd name="connsiteY56" fmla="*/ 402062 h 416551"/>
                    <a:gd name="connsiteX57" fmla="*/ 243290 w 362218"/>
                    <a:gd name="connsiteY57" fmla="*/ 410514 h 416551"/>
                    <a:gd name="connsiteX58" fmla="*/ 242082 w 362218"/>
                    <a:gd name="connsiteY58" fmla="*/ 418966 h 416551"/>
                    <a:gd name="connsiteX59" fmla="*/ 237253 w 362218"/>
                    <a:gd name="connsiteY59" fmla="*/ 418362 h 416551"/>
                    <a:gd name="connsiteX60" fmla="*/ 234234 w 362218"/>
                    <a:gd name="connsiteY60" fmla="*/ 421381 h 416551"/>
                    <a:gd name="connsiteX61" fmla="*/ 232423 w 362218"/>
                    <a:gd name="connsiteY61" fmla="*/ 415947 h 416551"/>
                    <a:gd name="connsiteX62" fmla="*/ 228801 w 362218"/>
                    <a:gd name="connsiteY62" fmla="*/ 409910 h 416551"/>
                    <a:gd name="connsiteX63" fmla="*/ 219142 w 362218"/>
                    <a:gd name="connsiteY63" fmla="*/ 408099 h 416551"/>
                    <a:gd name="connsiteX64" fmla="*/ 217935 w 362218"/>
                    <a:gd name="connsiteY64" fmla="*/ 404477 h 416551"/>
                    <a:gd name="connsiteX65" fmla="*/ 212501 w 362218"/>
                    <a:gd name="connsiteY65" fmla="*/ 400855 h 416551"/>
                    <a:gd name="connsiteX66" fmla="*/ 202239 w 362218"/>
                    <a:gd name="connsiteY66" fmla="*/ 400855 h 416551"/>
                    <a:gd name="connsiteX67" fmla="*/ 199220 w 362218"/>
                    <a:gd name="connsiteY67" fmla="*/ 397233 h 416551"/>
                    <a:gd name="connsiteX68" fmla="*/ 192579 w 362218"/>
                    <a:gd name="connsiteY68" fmla="*/ 395421 h 416551"/>
                    <a:gd name="connsiteX69" fmla="*/ 187146 w 362218"/>
                    <a:gd name="connsiteY69" fmla="*/ 396025 h 416551"/>
                    <a:gd name="connsiteX70" fmla="*/ 181109 w 362218"/>
                    <a:gd name="connsiteY70" fmla="*/ 399647 h 416551"/>
                    <a:gd name="connsiteX71" fmla="*/ 175072 w 362218"/>
                    <a:gd name="connsiteY71" fmla="*/ 400855 h 416551"/>
                    <a:gd name="connsiteX72" fmla="*/ 169035 w 362218"/>
                    <a:gd name="connsiteY72" fmla="*/ 400855 h 416551"/>
                    <a:gd name="connsiteX73" fmla="*/ 166017 w 362218"/>
                    <a:gd name="connsiteY73" fmla="*/ 393007 h 416551"/>
                    <a:gd name="connsiteX74" fmla="*/ 162394 w 362218"/>
                    <a:gd name="connsiteY74" fmla="*/ 389988 h 416551"/>
                    <a:gd name="connsiteX75" fmla="*/ 159980 w 362218"/>
                    <a:gd name="connsiteY75" fmla="*/ 384555 h 416551"/>
                    <a:gd name="connsiteX76" fmla="*/ 155150 w 362218"/>
                    <a:gd name="connsiteY76" fmla="*/ 385762 h 416551"/>
                    <a:gd name="connsiteX77" fmla="*/ 137039 w 362218"/>
                    <a:gd name="connsiteY77" fmla="*/ 382744 h 416551"/>
                    <a:gd name="connsiteX78" fmla="*/ 129795 w 362218"/>
                    <a:gd name="connsiteY78" fmla="*/ 383348 h 416551"/>
                    <a:gd name="connsiteX79" fmla="*/ 130398 w 362218"/>
                    <a:gd name="connsiteY79" fmla="*/ 387573 h 416551"/>
                    <a:gd name="connsiteX80" fmla="*/ 127984 w 362218"/>
                    <a:gd name="connsiteY80" fmla="*/ 391799 h 416551"/>
                    <a:gd name="connsiteX81" fmla="*/ 121947 w 362218"/>
                    <a:gd name="connsiteY81" fmla="*/ 392403 h 416551"/>
                    <a:gd name="connsiteX82" fmla="*/ 120136 w 362218"/>
                    <a:gd name="connsiteY82" fmla="*/ 388177 h 416551"/>
                    <a:gd name="connsiteX83" fmla="*/ 117117 w 362218"/>
                    <a:gd name="connsiteY83" fmla="*/ 393610 h 416551"/>
                    <a:gd name="connsiteX84" fmla="*/ 112288 w 362218"/>
                    <a:gd name="connsiteY84" fmla="*/ 394818 h 416551"/>
                    <a:gd name="connsiteX85" fmla="*/ 108665 w 362218"/>
                    <a:gd name="connsiteY85" fmla="*/ 397836 h 416551"/>
                    <a:gd name="connsiteX86" fmla="*/ 100214 w 362218"/>
                    <a:gd name="connsiteY86" fmla="*/ 392403 h 416551"/>
                    <a:gd name="connsiteX87" fmla="*/ 99006 w 362218"/>
                    <a:gd name="connsiteY87" fmla="*/ 385762 h 416551"/>
                    <a:gd name="connsiteX88" fmla="*/ 94177 w 362218"/>
                    <a:gd name="connsiteY88" fmla="*/ 379726 h 416551"/>
                    <a:gd name="connsiteX89" fmla="*/ 91762 w 362218"/>
                    <a:gd name="connsiteY89" fmla="*/ 371878 h 416551"/>
                    <a:gd name="connsiteX90" fmla="*/ 88140 w 362218"/>
                    <a:gd name="connsiteY90" fmla="*/ 367652 h 416551"/>
                    <a:gd name="connsiteX91" fmla="*/ 75462 w 362218"/>
                    <a:gd name="connsiteY91" fmla="*/ 363426 h 416551"/>
                    <a:gd name="connsiteX92" fmla="*/ 71236 w 362218"/>
                    <a:gd name="connsiteY92" fmla="*/ 365237 h 416551"/>
                    <a:gd name="connsiteX93" fmla="*/ 73047 w 362218"/>
                    <a:gd name="connsiteY93" fmla="*/ 370670 h 416551"/>
                    <a:gd name="connsiteX94" fmla="*/ 72444 w 362218"/>
                    <a:gd name="connsiteY94" fmla="*/ 373689 h 416551"/>
                    <a:gd name="connsiteX95" fmla="*/ 62181 w 362218"/>
                    <a:gd name="connsiteY95" fmla="*/ 374292 h 416551"/>
                    <a:gd name="connsiteX96" fmla="*/ 59162 w 362218"/>
                    <a:gd name="connsiteY96" fmla="*/ 377914 h 416551"/>
                    <a:gd name="connsiteX97" fmla="*/ 54936 w 362218"/>
                    <a:gd name="connsiteY97" fmla="*/ 377914 h 416551"/>
                    <a:gd name="connsiteX98" fmla="*/ 56747 w 362218"/>
                    <a:gd name="connsiteY98" fmla="*/ 369463 h 416551"/>
                    <a:gd name="connsiteX99" fmla="*/ 53729 w 362218"/>
                    <a:gd name="connsiteY99" fmla="*/ 366444 h 416551"/>
                    <a:gd name="connsiteX100" fmla="*/ 49503 w 362218"/>
                    <a:gd name="connsiteY100" fmla="*/ 366444 h 416551"/>
                    <a:gd name="connsiteX101" fmla="*/ 47088 w 362218"/>
                    <a:gd name="connsiteY101" fmla="*/ 374292 h 416551"/>
                    <a:gd name="connsiteX102" fmla="*/ 42862 w 362218"/>
                    <a:gd name="connsiteY102" fmla="*/ 373085 h 416551"/>
                    <a:gd name="connsiteX103" fmla="*/ 38636 w 362218"/>
                    <a:gd name="connsiteY103" fmla="*/ 373689 h 416551"/>
                    <a:gd name="connsiteX104" fmla="*/ 37429 w 362218"/>
                    <a:gd name="connsiteY104" fmla="*/ 368859 h 416551"/>
                    <a:gd name="connsiteX105" fmla="*/ 33203 w 362218"/>
                    <a:gd name="connsiteY105" fmla="*/ 365841 h 416551"/>
                    <a:gd name="connsiteX106" fmla="*/ 29581 w 362218"/>
                    <a:gd name="connsiteY106" fmla="*/ 371274 h 416551"/>
                    <a:gd name="connsiteX107" fmla="*/ 23544 w 362218"/>
                    <a:gd name="connsiteY107" fmla="*/ 373085 h 416551"/>
                    <a:gd name="connsiteX108" fmla="*/ 23544 w 362218"/>
                    <a:gd name="connsiteY108" fmla="*/ 368859 h 416551"/>
                    <a:gd name="connsiteX109" fmla="*/ 19318 w 362218"/>
                    <a:gd name="connsiteY109" fmla="*/ 362218 h 416551"/>
                    <a:gd name="connsiteX110" fmla="*/ 13885 w 362218"/>
                    <a:gd name="connsiteY110" fmla="*/ 365237 h 416551"/>
                    <a:gd name="connsiteX111" fmla="*/ 7244 w 362218"/>
                    <a:gd name="connsiteY111" fmla="*/ 362822 h 416551"/>
                    <a:gd name="connsiteX112" fmla="*/ 0 w 362218"/>
                    <a:gd name="connsiteY112" fmla="*/ 356785 h 416551"/>
                    <a:gd name="connsiteX113" fmla="*/ 1207 w 362218"/>
                    <a:gd name="connsiteY113" fmla="*/ 351352 h 416551"/>
                    <a:gd name="connsiteX114" fmla="*/ 3622 w 362218"/>
                    <a:gd name="connsiteY114" fmla="*/ 349541 h 416551"/>
                    <a:gd name="connsiteX115" fmla="*/ 7244 w 362218"/>
                    <a:gd name="connsiteY115" fmla="*/ 336863 h 416551"/>
                    <a:gd name="connsiteX116" fmla="*/ 4226 w 362218"/>
                    <a:gd name="connsiteY116" fmla="*/ 328411 h 416551"/>
                    <a:gd name="connsiteX117" fmla="*/ 4226 w 362218"/>
                    <a:gd name="connsiteY117" fmla="*/ 322374 h 416551"/>
                    <a:gd name="connsiteX118" fmla="*/ 9659 w 362218"/>
                    <a:gd name="connsiteY118" fmla="*/ 313923 h 416551"/>
                    <a:gd name="connsiteX119" fmla="*/ 11470 w 362218"/>
                    <a:gd name="connsiteY119" fmla="*/ 307886 h 416551"/>
                    <a:gd name="connsiteX120" fmla="*/ 7244 w 362218"/>
                    <a:gd name="connsiteY120" fmla="*/ 307282 h 416551"/>
                    <a:gd name="connsiteX121" fmla="*/ 7848 w 362218"/>
                    <a:gd name="connsiteY121" fmla="*/ 297623 h 416551"/>
                    <a:gd name="connsiteX122" fmla="*/ 3018 w 362218"/>
                    <a:gd name="connsiteY122" fmla="*/ 294604 h 416551"/>
                    <a:gd name="connsiteX123" fmla="*/ 10866 w 362218"/>
                    <a:gd name="connsiteY123" fmla="*/ 292793 h 416551"/>
                    <a:gd name="connsiteX124" fmla="*/ 9055 w 362218"/>
                    <a:gd name="connsiteY124" fmla="*/ 288567 h 416551"/>
                    <a:gd name="connsiteX125" fmla="*/ 10263 w 362218"/>
                    <a:gd name="connsiteY125" fmla="*/ 281323 h 416551"/>
                    <a:gd name="connsiteX126" fmla="*/ 12677 w 362218"/>
                    <a:gd name="connsiteY126" fmla="*/ 278304 h 416551"/>
                    <a:gd name="connsiteX127" fmla="*/ 10263 w 362218"/>
                    <a:gd name="connsiteY127" fmla="*/ 273475 h 416551"/>
                    <a:gd name="connsiteX128" fmla="*/ 13281 w 362218"/>
                    <a:gd name="connsiteY128" fmla="*/ 268042 h 416551"/>
                    <a:gd name="connsiteX129" fmla="*/ 13281 w 362218"/>
                    <a:gd name="connsiteY129" fmla="*/ 262608 h 416551"/>
                    <a:gd name="connsiteX130" fmla="*/ 22940 w 362218"/>
                    <a:gd name="connsiteY130" fmla="*/ 254157 h 416551"/>
                    <a:gd name="connsiteX131" fmla="*/ 18111 w 362218"/>
                    <a:gd name="connsiteY131" fmla="*/ 251138 h 416551"/>
                    <a:gd name="connsiteX132" fmla="*/ 20525 w 362218"/>
                    <a:gd name="connsiteY132" fmla="*/ 247516 h 416551"/>
                    <a:gd name="connsiteX133" fmla="*/ 19922 w 362218"/>
                    <a:gd name="connsiteY133" fmla="*/ 239064 h 416551"/>
                    <a:gd name="connsiteX134" fmla="*/ 22940 w 362218"/>
                    <a:gd name="connsiteY134" fmla="*/ 234838 h 416551"/>
                    <a:gd name="connsiteX135" fmla="*/ 21129 w 362218"/>
                    <a:gd name="connsiteY135" fmla="*/ 225179 h 416551"/>
                    <a:gd name="connsiteX136" fmla="*/ 25959 w 362218"/>
                    <a:gd name="connsiteY136" fmla="*/ 204050 h 416551"/>
                    <a:gd name="connsiteX137" fmla="*/ 29581 w 362218"/>
                    <a:gd name="connsiteY137" fmla="*/ 203446 h 416551"/>
                    <a:gd name="connsiteX138" fmla="*/ 35014 w 362218"/>
                    <a:gd name="connsiteY138" fmla="*/ 206464 h 416551"/>
                    <a:gd name="connsiteX139" fmla="*/ 38636 w 362218"/>
                    <a:gd name="connsiteY139" fmla="*/ 204050 h 416551"/>
                    <a:gd name="connsiteX140" fmla="*/ 42259 w 362218"/>
                    <a:gd name="connsiteY140" fmla="*/ 203446 h 416551"/>
                    <a:gd name="connsiteX141" fmla="*/ 42862 w 362218"/>
                    <a:gd name="connsiteY141" fmla="*/ 193787 h 416551"/>
                    <a:gd name="connsiteX142" fmla="*/ 50710 w 362218"/>
                    <a:gd name="connsiteY142" fmla="*/ 185335 h 416551"/>
                    <a:gd name="connsiteX143" fmla="*/ 50710 w 362218"/>
                    <a:gd name="connsiteY143" fmla="*/ 182316 h 416551"/>
                    <a:gd name="connsiteX144" fmla="*/ 54936 w 362218"/>
                    <a:gd name="connsiteY144" fmla="*/ 177487 h 416551"/>
                    <a:gd name="connsiteX145" fmla="*/ 53125 w 362218"/>
                    <a:gd name="connsiteY145" fmla="*/ 172054 h 416551"/>
                    <a:gd name="connsiteX146" fmla="*/ 56144 w 362218"/>
                    <a:gd name="connsiteY146" fmla="*/ 170243 h 416551"/>
                    <a:gd name="connsiteX147" fmla="*/ 56747 w 362218"/>
                    <a:gd name="connsiteY147" fmla="*/ 166620 h 416551"/>
                    <a:gd name="connsiteX148" fmla="*/ 53729 w 362218"/>
                    <a:gd name="connsiteY148" fmla="*/ 158169 h 416551"/>
                    <a:gd name="connsiteX149" fmla="*/ 53729 w 362218"/>
                    <a:gd name="connsiteY149" fmla="*/ 155150 h 416551"/>
                    <a:gd name="connsiteX150" fmla="*/ 57955 w 362218"/>
                    <a:gd name="connsiteY150" fmla="*/ 147906 h 416551"/>
                    <a:gd name="connsiteX151" fmla="*/ 63992 w 362218"/>
                    <a:gd name="connsiteY151" fmla="*/ 148510 h 416551"/>
                    <a:gd name="connsiteX152" fmla="*/ 69425 w 362218"/>
                    <a:gd name="connsiteY152" fmla="*/ 138247 h 416551"/>
                    <a:gd name="connsiteX153" fmla="*/ 71840 w 362218"/>
                    <a:gd name="connsiteY153" fmla="*/ 137643 h 416551"/>
                    <a:gd name="connsiteX154" fmla="*/ 74858 w 362218"/>
                    <a:gd name="connsiteY154" fmla="*/ 126173 h 416551"/>
                    <a:gd name="connsiteX155" fmla="*/ 74255 w 362218"/>
                    <a:gd name="connsiteY155" fmla="*/ 121947 h 416551"/>
                    <a:gd name="connsiteX156" fmla="*/ 75462 w 362218"/>
                    <a:gd name="connsiteY156" fmla="*/ 117721 h 416551"/>
                    <a:gd name="connsiteX157" fmla="*/ 82706 w 362218"/>
                    <a:gd name="connsiteY157" fmla="*/ 106251 h 416551"/>
                    <a:gd name="connsiteX158" fmla="*/ 82706 w 362218"/>
                    <a:gd name="connsiteY158" fmla="*/ 103836 h 416551"/>
                    <a:gd name="connsiteX159" fmla="*/ 85725 w 362218"/>
                    <a:gd name="connsiteY159" fmla="*/ 99006 h 416551"/>
                    <a:gd name="connsiteX160" fmla="*/ 94177 w 362218"/>
                    <a:gd name="connsiteY160" fmla="*/ 92366 h 416551"/>
                    <a:gd name="connsiteX161" fmla="*/ 97195 w 362218"/>
                    <a:gd name="connsiteY161" fmla="*/ 91762 h 416551"/>
                    <a:gd name="connsiteX162" fmla="*/ 100214 w 362218"/>
                    <a:gd name="connsiteY162" fmla="*/ 88743 h 416551"/>
                    <a:gd name="connsiteX163" fmla="*/ 100817 w 362218"/>
                    <a:gd name="connsiteY163" fmla="*/ 95384 h 416551"/>
                    <a:gd name="connsiteX164" fmla="*/ 108062 w 362218"/>
                    <a:gd name="connsiteY164" fmla="*/ 96592 h 416551"/>
                    <a:gd name="connsiteX165" fmla="*/ 106854 w 362218"/>
                    <a:gd name="connsiteY165" fmla="*/ 101421 h 416551"/>
                    <a:gd name="connsiteX166" fmla="*/ 114099 w 362218"/>
                    <a:gd name="connsiteY166" fmla="*/ 103232 h 416551"/>
                    <a:gd name="connsiteX167" fmla="*/ 118928 w 362218"/>
                    <a:gd name="connsiteY167" fmla="*/ 103232 h 416551"/>
                    <a:gd name="connsiteX168" fmla="*/ 121343 w 362218"/>
                    <a:gd name="connsiteY168" fmla="*/ 107458 h 416551"/>
                    <a:gd name="connsiteX169" fmla="*/ 124361 w 362218"/>
                    <a:gd name="connsiteY169" fmla="*/ 109269 h 416551"/>
                    <a:gd name="connsiteX170" fmla="*/ 124965 w 362218"/>
                    <a:gd name="connsiteY170" fmla="*/ 112891 h 416551"/>
                    <a:gd name="connsiteX171" fmla="*/ 127984 w 362218"/>
                    <a:gd name="connsiteY171" fmla="*/ 112891 h 416551"/>
                    <a:gd name="connsiteX172" fmla="*/ 136435 w 362218"/>
                    <a:gd name="connsiteY172" fmla="*/ 97799 h 416551"/>
                    <a:gd name="connsiteX173" fmla="*/ 141265 w 362218"/>
                    <a:gd name="connsiteY173" fmla="*/ 88140 h 416551"/>
                    <a:gd name="connsiteX174" fmla="*/ 141265 w 362218"/>
                    <a:gd name="connsiteY174" fmla="*/ 84518 h 416551"/>
                    <a:gd name="connsiteX175" fmla="*/ 144283 w 362218"/>
                    <a:gd name="connsiteY175" fmla="*/ 83914 h 416551"/>
                    <a:gd name="connsiteX176" fmla="*/ 145491 w 362218"/>
                    <a:gd name="connsiteY176" fmla="*/ 76669 h 416551"/>
                    <a:gd name="connsiteX177" fmla="*/ 149113 w 362218"/>
                    <a:gd name="connsiteY177" fmla="*/ 77877 h 416551"/>
                    <a:gd name="connsiteX178" fmla="*/ 151528 w 362218"/>
                    <a:gd name="connsiteY178" fmla="*/ 73651 h 416551"/>
                    <a:gd name="connsiteX179" fmla="*/ 155150 w 362218"/>
                    <a:gd name="connsiteY179" fmla="*/ 71840 h 416551"/>
                    <a:gd name="connsiteX180" fmla="*/ 156357 w 362218"/>
                    <a:gd name="connsiteY180" fmla="*/ 67010 h 416551"/>
                    <a:gd name="connsiteX181" fmla="*/ 163602 w 362218"/>
                    <a:gd name="connsiteY181" fmla="*/ 62181 h 416551"/>
                    <a:gd name="connsiteX182" fmla="*/ 169639 w 362218"/>
                    <a:gd name="connsiteY182" fmla="*/ 53125 h 416551"/>
                    <a:gd name="connsiteX183" fmla="*/ 170242 w 362218"/>
                    <a:gd name="connsiteY183" fmla="*/ 48900 h 416551"/>
                    <a:gd name="connsiteX184" fmla="*/ 165413 w 362218"/>
                    <a:gd name="connsiteY184" fmla="*/ 43466 h 416551"/>
                    <a:gd name="connsiteX185" fmla="*/ 160583 w 362218"/>
                    <a:gd name="connsiteY185" fmla="*/ 45277 h 416551"/>
                    <a:gd name="connsiteX186" fmla="*/ 159980 w 362218"/>
                    <a:gd name="connsiteY186" fmla="*/ 41655 h 416551"/>
                    <a:gd name="connsiteX187" fmla="*/ 163602 w 362218"/>
                    <a:gd name="connsiteY187" fmla="*/ 36222 h 416551"/>
                    <a:gd name="connsiteX188" fmla="*/ 171450 w 362218"/>
                    <a:gd name="connsiteY188" fmla="*/ 35014 h 416551"/>
                    <a:gd name="connsiteX189" fmla="*/ 175072 w 362218"/>
                    <a:gd name="connsiteY189" fmla="*/ 30789 h 416551"/>
                    <a:gd name="connsiteX190" fmla="*/ 180505 w 362218"/>
                    <a:gd name="connsiteY190" fmla="*/ 31996 h 416551"/>
                    <a:gd name="connsiteX191" fmla="*/ 186542 w 362218"/>
                    <a:gd name="connsiteY191" fmla="*/ 29581 h 416551"/>
                    <a:gd name="connsiteX192" fmla="*/ 197409 w 362218"/>
                    <a:gd name="connsiteY192" fmla="*/ 30789 h 416551"/>
                    <a:gd name="connsiteX193" fmla="*/ 201635 w 362218"/>
                    <a:gd name="connsiteY193" fmla="*/ 31996 h 416551"/>
                    <a:gd name="connsiteX194" fmla="*/ 204653 w 362218"/>
                    <a:gd name="connsiteY194" fmla="*/ 28977 h 416551"/>
                    <a:gd name="connsiteX195" fmla="*/ 211294 w 362218"/>
                    <a:gd name="connsiteY195" fmla="*/ 27770 h 416551"/>
                    <a:gd name="connsiteX196" fmla="*/ 210690 w 362218"/>
                    <a:gd name="connsiteY196" fmla="*/ 23544 h 416551"/>
                    <a:gd name="connsiteX197" fmla="*/ 223368 w 362218"/>
                    <a:gd name="connsiteY197" fmla="*/ 31996 h 416551"/>
                    <a:gd name="connsiteX198" fmla="*/ 226386 w 362218"/>
                    <a:gd name="connsiteY198" fmla="*/ 31392 h 416551"/>
                    <a:gd name="connsiteX199" fmla="*/ 227594 w 362218"/>
                    <a:gd name="connsiteY199" fmla="*/ 37429 h 416551"/>
                    <a:gd name="connsiteX200" fmla="*/ 237253 w 362218"/>
                    <a:gd name="connsiteY200" fmla="*/ 39844 h 416551"/>
                    <a:gd name="connsiteX201" fmla="*/ 240271 w 362218"/>
                    <a:gd name="connsiteY201" fmla="*/ 34411 h 416551"/>
                    <a:gd name="connsiteX202" fmla="*/ 248119 w 362218"/>
                    <a:gd name="connsiteY202" fmla="*/ 33807 h 416551"/>
                    <a:gd name="connsiteX203" fmla="*/ 248119 w 362218"/>
                    <a:gd name="connsiteY203" fmla="*/ 38033 h 416551"/>
                    <a:gd name="connsiteX204" fmla="*/ 254760 w 362218"/>
                    <a:gd name="connsiteY204" fmla="*/ 45881 h 416551"/>
                    <a:gd name="connsiteX205" fmla="*/ 265627 w 362218"/>
                    <a:gd name="connsiteY205" fmla="*/ 44674 h 416551"/>
                    <a:gd name="connsiteX206" fmla="*/ 268041 w 362218"/>
                    <a:gd name="connsiteY206" fmla="*/ 42259 h 416551"/>
                    <a:gd name="connsiteX207" fmla="*/ 271060 w 362218"/>
                    <a:gd name="connsiteY207" fmla="*/ 46485 h 416551"/>
                    <a:gd name="connsiteX208" fmla="*/ 283738 w 362218"/>
                    <a:gd name="connsiteY208" fmla="*/ 40448 h 416551"/>
                    <a:gd name="connsiteX209" fmla="*/ 289171 w 362218"/>
                    <a:gd name="connsiteY209" fmla="*/ 36826 h 416551"/>
                    <a:gd name="connsiteX210" fmla="*/ 296415 w 362218"/>
                    <a:gd name="connsiteY210" fmla="*/ 33203 h 416551"/>
                    <a:gd name="connsiteX211" fmla="*/ 295812 w 362218"/>
                    <a:gd name="connsiteY211" fmla="*/ 27770 h 416551"/>
                    <a:gd name="connsiteX212" fmla="*/ 297623 w 362218"/>
                    <a:gd name="connsiteY212" fmla="*/ 24148 h 416551"/>
                    <a:gd name="connsiteX213" fmla="*/ 300641 w 362218"/>
                    <a:gd name="connsiteY213" fmla="*/ 23544 h 416551"/>
                    <a:gd name="connsiteX214" fmla="*/ 306678 w 362218"/>
                    <a:gd name="connsiteY214" fmla="*/ 17507 h 416551"/>
                    <a:gd name="connsiteX215" fmla="*/ 310300 w 362218"/>
                    <a:gd name="connsiteY215" fmla="*/ 18111 h 416551"/>
                    <a:gd name="connsiteX216" fmla="*/ 315130 w 362218"/>
                    <a:gd name="connsiteY216" fmla="*/ 15092 h 416551"/>
                    <a:gd name="connsiteX217" fmla="*/ 319960 w 362218"/>
                    <a:gd name="connsiteY217" fmla="*/ 10866 h 416551"/>
                    <a:gd name="connsiteX218" fmla="*/ 325393 w 362218"/>
                    <a:gd name="connsiteY218" fmla="*/ 3622 h 416551"/>
                    <a:gd name="connsiteX219" fmla="*/ 327204 w 362218"/>
                    <a:gd name="connsiteY219" fmla="*/ 0 h 416551"/>
                    <a:gd name="connsiteX220" fmla="*/ 332033 w 362218"/>
                    <a:gd name="connsiteY220" fmla="*/ 2415 h 416551"/>
                    <a:gd name="connsiteX221" fmla="*/ 327808 w 362218"/>
                    <a:gd name="connsiteY221" fmla="*/ 12074 h 416551"/>
                    <a:gd name="connsiteX222" fmla="*/ 329015 w 362218"/>
                    <a:gd name="connsiteY222" fmla="*/ 14489 h 416551"/>
                    <a:gd name="connsiteX223" fmla="*/ 323582 w 362218"/>
                    <a:gd name="connsiteY223" fmla="*/ 25355 h 416551"/>
                    <a:gd name="connsiteX224" fmla="*/ 324789 w 362218"/>
                    <a:gd name="connsiteY224" fmla="*/ 36222 h 416551"/>
                    <a:gd name="connsiteX225" fmla="*/ 323582 w 362218"/>
                    <a:gd name="connsiteY225" fmla="*/ 42259 h 416551"/>
                    <a:gd name="connsiteX226" fmla="*/ 337467 w 362218"/>
                    <a:gd name="connsiteY226" fmla="*/ 52522 h 416551"/>
                    <a:gd name="connsiteX227" fmla="*/ 344711 w 362218"/>
                    <a:gd name="connsiteY227" fmla="*/ 54936 h 416551"/>
                    <a:gd name="connsiteX228" fmla="*/ 349540 w 362218"/>
                    <a:gd name="connsiteY228" fmla="*/ 54333 h 41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362218" h="416551">
                      <a:moveTo>
                        <a:pt x="349540" y="54333"/>
                      </a:moveTo>
                      <a:lnTo>
                        <a:pt x="348333" y="63388"/>
                      </a:lnTo>
                      <a:lnTo>
                        <a:pt x="342900" y="66407"/>
                      </a:lnTo>
                      <a:lnTo>
                        <a:pt x="338674" y="70632"/>
                      </a:lnTo>
                      <a:lnTo>
                        <a:pt x="336863" y="82706"/>
                      </a:lnTo>
                      <a:lnTo>
                        <a:pt x="332033" y="93573"/>
                      </a:lnTo>
                      <a:lnTo>
                        <a:pt x="332637" y="98403"/>
                      </a:lnTo>
                      <a:lnTo>
                        <a:pt x="329619" y="109873"/>
                      </a:lnTo>
                      <a:lnTo>
                        <a:pt x="332637" y="114702"/>
                      </a:lnTo>
                      <a:lnTo>
                        <a:pt x="338674" y="115910"/>
                      </a:lnTo>
                      <a:lnTo>
                        <a:pt x="342296" y="119532"/>
                      </a:lnTo>
                      <a:lnTo>
                        <a:pt x="362822" y="127984"/>
                      </a:lnTo>
                      <a:lnTo>
                        <a:pt x="362822" y="135832"/>
                      </a:lnTo>
                      <a:lnTo>
                        <a:pt x="363425" y="144887"/>
                      </a:lnTo>
                      <a:lnTo>
                        <a:pt x="361614" y="153339"/>
                      </a:lnTo>
                      <a:lnTo>
                        <a:pt x="358596" y="158772"/>
                      </a:lnTo>
                      <a:lnTo>
                        <a:pt x="355577" y="160583"/>
                      </a:lnTo>
                      <a:lnTo>
                        <a:pt x="353766" y="166620"/>
                      </a:lnTo>
                      <a:lnTo>
                        <a:pt x="356785" y="172054"/>
                      </a:lnTo>
                      <a:lnTo>
                        <a:pt x="354370" y="173865"/>
                      </a:lnTo>
                      <a:lnTo>
                        <a:pt x="351351" y="181713"/>
                      </a:lnTo>
                      <a:lnTo>
                        <a:pt x="344107" y="187750"/>
                      </a:lnTo>
                      <a:lnTo>
                        <a:pt x="341089" y="193787"/>
                      </a:lnTo>
                      <a:lnTo>
                        <a:pt x="337467" y="208276"/>
                      </a:lnTo>
                      <a:lnTo>
                        <a:pt x="339278" y="212501"/>
                      </a:lnTo>
                      <a:lnTo>
                        <a:pt x="336259" y="217331"/>
                      </a:lnTo>
                      <a:lnTo>
                        <a:pt x="335052" y="222160"/>
                      </a:lnTo>
                      <a:lnTo>
                        <a:pt x="330826" y="224575"/>
                      </a:lnTo>
                      <a:lnTo>
                        <a:pt x="322374" y="223368"/>
                      </a:lnTo>
                      <a:lnTo>
                        <a:pt x="322374" y="233027"/>
                      </a:lnTo>
                      <a:lnTo>
                        <a:pt x="320563" y="239064"/>
                      </a:lnTo>
                      <a:lnTo>
                        <a:pt x="316337" y="246308"/>
                      </a:lnTo>
                      <a:lnTo>
                        <a:pt x="309093" y="254157"/>
                      </a:lnTo>
                      <a:lnTo>
                        <a:pt x="304867" y="255364"/>
                      </a:lnTo>
                      <a:lnTo>
                        <a:pt x="297623" y="274078"/>
                      </a:lnTo>
                      <a:lnTo>
                        <a:pt x="292189" y="275286"/>
                      </a:lnTo>
                      <a:lnTo>
                        <a:pt x="293397" y="279512"/>
                      </a:lnTo>
                      <a:lnTo>
                        <a:pt x="292793" y="287963"/>
                      </a:lnTo>
                      <a:lnTo>
                        <a:pt x="290982" y="292189"/>
                      </a:lnTo>
                      <a:lnTo>
                        <a:pt x="284341" y="295208"/>
                      </a:lnTo>
                      <a:lnTo>
                        <a:pt x="288567" y="298830"/>
                      </a:lnTo>
                      <a:lnTo>
                        <a:pt x="281323" y="308489"/>
                      </a:lnTo>
                      <a:lnTo>
                        <a:pt x="275889" y="309093"/>
                      </a:lnTo>
                      <a:lnTo>
                        <a:pt x="276493" y="319960"/>
                      </a:lnTo>
                      <a:lnTo>
                        <a:pt x="273475" y="328411"/>
                      </a:lnTo>
                      <a:lnTo>
                        <a:pt x="269852" y="331430"/>
                      </a:lnTo>
                      <a:lnTo>
                        <a:pt x="267438" y="339882"/>
                      </a:lnTo>
                      <a:lnTo>
                        <a:pt x="267438" y="345315"/>
                      </a:lnTo>
                      <a:lnTo>
                        <a:pt x="263212" y="347730"/>
                      </a:lnTo>
                      <a:lnTo>
                        <a:pt x="262004" y="353163"/>
                      </a:lnTo>
                      <a:lnTo>
                        <a:pt x="262608" y="365237"/>
                      </a:lnTo>
                      <a:lnTo>
                        <a:pt x="259590" y="371878"/>
                      </a:lnTo>
                      <a:lnTo>
                        <a:pt x="259590" y="375500"/>
                      </a:lnTo>
                      <a:lnTo>
                        <a:pt x="248723" y="393610"/>
                      </a:lnTo>
                      <a:lnTo>
                        <a:pt x="249327" y="399647"/>
                      </a:lnTo>
                      <a:lnTo>
                        <a:pt x="245101" y="399647"/>
                      </a:lnTo>
                      <a:lnTo>
                        <a:pt x="243893" y="402062"/>
                      </a:lnTo>
                      <a:lnTo>
                        <a:pt x="243290" y="410514"/>
                      </a:lnTo>
                      <a:lnTo>
                        <a:pt x="242082" y="418966"/>
                      </a:lnTo>
                      <a:lnTo>
                        <a:pt x="237253" y="418362"/>
                      </a:lnTo>
                      <a:lnTo>
                        <a:pt x="234234" y="421381"/>
                      </a:lnTo>
                      <a:lnTo>
                        <a:pt x="232423" y="415947"/>
                      </a:lnTo>
                      <a:lnTo>
                        <a:pt x="228801" y="409910"/>
                      </a:lnTo>
                      <a:lnTo>
                        <a:pt x="219142" y="408099"/>
                      </a:lnTo>
                      <a:lnTo>
                        <a:pt x="217935" y="404477"/>
                      </a:lnTo>
                      <a:lnTo>
                        <a:pt x="212501" y="400855"/>
                      </a:lnTo>
                      <a:lnTo>
                        <a:pt x="202239" y="400855"/>
                      </a:lnTo>
                      <a:lnTo>
                        <a:pt x="199220" y="397233"/>
                      </a:lnTo>
                      <a:lnTo>
                        <a:pt x="192579" y="395421"/>
                      </a:lnTo>
                      <a:lnTo>
                        <a:pt x="187146" y="396025"/>
                      </a:lnTo>
                      <a:lnTo>
                        <a:pt x="181109" y="399647"/>
                      </a:lnTo>
                      <a:lnTo>
                        <a:pt x="175072" y="400855"/>
                      </a:lnTo>
                      <a:lnTo>
                        <a:pt x="169035" y="400855"/>
                      </a:lnTo>
                      <a:lnTo>
                        <a:pt x="166017" y="393007"/>
                      </a:lnTo>
                      <a:lnTo>
                        <a:pt x="162394" y="389988"/>
                      </a:lnTo>
                      <a:lnTo>
                        <a:pt x="159980" y="384555"/>
                      </a:lnTo>
                      <a:lnTo>
                        <a:pt x="155150" y="385762"/>
                      </a:lnTo>
                      <a:lnTo>
                        <a:pt x="137039" y="382744"/>
                      </a:lnTo>
                      <a:lnTo>
                        <a:pt x="129795" y="383348"/>
                      </a:lnTo>
                      <a:lnTo>
                        <a:pt x="130398" y="387573"/>
                      </a:lnTo>
                      <a:lnTo>
                        <a:pt x="127984" y="391799"/>
                      </a:lnTo>
                      <a:lnTo>
                        <a:pt x="121947" y="392403"/>
                      </a:lnTo>
                      <a:lnTo>
                        <a:pt x="120136" y="388177"/>
                      </a:lnTo>
                      <a:lnTo>
                        <a:pt x="117117" y="393610"/>
                      </a:lnTo>
                      <a:lnTo>
                        <a:pt x="112288" y="394818"/>
                      </a:lnTo>
                      <a:lnTo>
                        <a:pt x="108665" y="397836"/>
                      </a:lnTo>
                      <a:lnTo>
                        <a:pt x="100214" y="392403"/>
                      </a:lnTo>
                      <a:lnTo>
                        <a:pt x="99006" y="385762"/>
                      </a:lnTo>
                      <a:lnTo>
                        <a:pt x="94177" y="379726"/>
                      </a:lnTo>
                      <a:lnTo>
                        <a:pt x="91762" y="371878"/>
                      </a:lnTo>
                      <a:lnTo>
                        <a:pt x="88140" y="367652"/>
                      </a:lnTo>
                      <a:lnTo>
                        <a:pt x="75462" y="363426"/>
                      </a:lnTo>
                      <a:lnTo>
                        <a:pt x="71236" y="365237"/>
                      </a:lnTo>
                      <a:lnTo>
                        <a:pt x="73047" y="370670"/>
                      </a:lnTo>
                      <a:lnTo>
                        <a:pt x="72444" y="373689"/>
                      </a:lnTo>
                      <a:lnTo>
                        <a:pt x="62181" y="374292"/>
                      </a:lnTo>
                      <a:lnTo>
                        <a:pt x="59162" y="377914"/>
                      </a:lnTo>
                      <a:lnTo>
                        <a:pt x="54936" y="377914"/>
                      </a:lnTo>
                      <a:lnTo>
                        <a:pt x="56747" y="369463"/>
                      </a:lnTo>
                      <a:lnTo>
                        <a:pt x="53729" y="366444"/>
                      </a:lnTo>
                      <a:lnTo>
                        <a:pt x="49503" y="366444"/>
                      </a:lnTo>
                      <a:lnTo>
                        <a:pt x="47088" y="374292"/>
                      </a:lnTo>
                      <a:lnTo>
                        <a:pt x="42862" y="373085"/>
                      </a:lnTo>
                      <a:lnTo>
                        <a:pt x="38636" y="373689"/>
                      </a:lnTo>
                      <a:lnTo>
                        <a:pt x="37429" y="368859"/>
                      </a:lnTo>
                      <a:lnTo>
                        <a:pt x="33203" y="365841"/>
                      </a:lnTo>
                      <a:lnTo>
                        <a:pt x="29581" y="371274"/>
                      </a:lnTo>
                      <a:lnTo>
                        <a:pt x="23544" y="373085"/>
                      </a:lnTo>
                      <a:lnTo>
                        <a:pt x="23544" y="368859"/>
                      </a:lnTo>
                      <a:lnTo>
                        <a:pt x="19318" y="362218"/>
                      </a:lnTo>
                      <a:lnTo>
                        <a:pt x="13885" y="365237"/>
                      </a:lnTo>
                      <a:lnTo>
                        <a:pt x="7244" y="362822"/>
                      </a:lnTo>
                      <a:lnTo>
                        <a:pt x="0" y="356785"/>
                      </a:lnTo>
                      <a:lnTo>
                        <a:pt x="1207" y="351352"/>
                      </a:lnTo>
                      <a:lnTo>
                        <a:pt x="3622" y="349541"/>
                      </a:lnTo>
                      <a:lnTo>
                        <a:pt x="7244" y="336863"/>
                      </a:lnTo>
                      <a:lnTo>
                        <a:pt x="4226" y="328411"/>
                      </a:lnTo>
                      <a:lnTo>
                        <a:pt x="4226" y="322374"/>
                      </a:lnTo>
                      <a:lnTo>
                        <a:pt x="9659" y="313923"/>
                      </a:lnTo>
                      <a:lnTo>
                        <a:pt x="11470" y="307886"/>
                      </a:lnTo>
                      <a:lnTo>
                        <a:pt x="7244" y="307282"/>
                      </a:lnTo>
                      <a:lnTo>
                        <a:pt x="7848" y="297623"/>
                      </a:lnTo>
                      <a:lnTo>
                        <a:pt x="3018" y="294604"/>
                      </a:lnTo>
                      <a:lnTo>
                        <a:pt x="10866" y="292793"/>
                      </a:lnTo>
                      <a:lnTo>
                        <a:pt x="9055" y="288567"/>
                      </a:lnTo>
                      <a:lnTo>
                        <a:pt x="10263" y="281323"/>
                      </a:lnTo>
                      <a:lnTo>
                        <a:pt x="12677" y="278304"/>
                      </a:lnTo>
                      <a:lnTo>
                        <a:pt x="10263" y="273475"/>
                      </a:lnTo>
                      <a:lnTo>
                        <a:pt x="13281" y="268042"/>
                      </a:lnTo>
                      <a:lnTo>
                        <a:pt x="13281" y="262608"/>
                      </a:lnTo>
                      <a:lnTo>
                        <a:pt x="22940" y="254157"/>
                      </a:lnTo>
                      <a:lnTo>
                        <a:pt x="18111" y="251138"/>
                      </a:lnTo>
                      <a:lnTo>
                        <a:pt x="20525" y="247516"/>
                      </a:lnTo>
                      <a:lnTo>
                        <a:pt x="19922" y="239064"/>
                      </a:lnTo>
                      <a:lnTo>
                        <a:pt x="22940" y="234838"/>
                      </a:lnTo>
                      <a:lnTo>
                        <a:pt x="21129" y="225179"/>
                      </a:lnTo>
                      <a:lnTo>
                        <a:pt x="25959" y="204050"/>
                      </a:lnTo>
                      <a:lnTo>
                        <a:pt x="29581" y="203446"/>
                      </a:lnTo>
                      <a:lnTo>
                        <a:pt x="35014" y="206464"/>
                      </a:lnTo>
                      <a:lnTo>
                        <a:pt x="38636" y="204050"/>
                      </a:lnTo>
                      <a:lnTo>
                        <a:pt x="42259" y="203446"/>
                      </a:lnTo>
                      <a:lnTo>
                        <a:pt x="42862" y="193787"/>
                      </a:lnTo>
                      <a:lnTo>
                        <a:pt x="50710" y="185335"/>
                      </a:lnTo>
                      <a:lnTo>
                        <a:pt x="50710" y="182316"/>
                      </a:lnTo>
                      <a:lnTo>
                        <a:pt x="54936" y="177487"/>
                      </a:lnTo>
                      <a:lnTo>
                        <a:pt x="53125" y="172054"/>
                      </a:lnTo>
                      <a:lnTo>
                        <a:pt x="56144" y="170243"/>
                      </a:lnTo>
                      <a:lnTo>
                        <a:pt x="56747" y="166620"/>
                      </a:lnTo>
                      <a:lnTo>
                        <a:pt x="53729" y="158169"/>
                      </a:lnTo>
                      <a:lnTo>
                        <a:pt x="53729" y="155150"/>
                      </a:lnTo>
                      <a:lnTo>
                        <a:pt x="57955" y="147906"/>
                      </a:lnTo>
                      <a:lnTo>
                        <a:pt x="63992" y="148510"/>
                      </a:lnTo>
                      <a:lnTo>
                        <a:pt x="69425" y="138247"/>
                      </a:lnTo>
                      <a:lnTo>
                        <a:pt x="71840" y="137643"/>
                      </a:lnTo>
                      <a:lnTo>
                        <a:pt x="74858" y="126173"/>
                      </a:lnTo>
                      <a:lnTo>
                        <a:pt x="74255" y="121947"/>
                      </a:lnTo>
                      <a:lnTo>
                        <a:pt x="75462" y="117721"/>
                      </a:lnTo>
                      <a:lnTo>
                        <a:pt x="82706" y="106251"/>
                      </a:lnTo>
                      <a:lnTo>
                        <a:pt x="82706" y="103836"/>
                      </a:lnTo>
                      <a:lnTo>
                        <a:pt x="85725" y="99006"/>
                      </a:lnTo>
                      <a:lnTo>
                        <a:pt x="94177" y="92366"/>
                      </a:lnTo>
                      <a:lnTo>
                        <a:pt x="97195" y="91762"/>
                      </a:lnTo>
                      <a:lnTo>
                        <a:pt x="100214" y="88743"/>
                      </a:lnTo>
                      <a:lnTo>
                        <a:pt x="100817" y="95384"/>
                      </a:lnTo>
                      <a:lnTo>
                        <a:pt x="108062" y="96592"/>
                      </a:lnTo>
                      <a:lnTo>
                        <a:pt x="106854" y="101421"/>
                      </a:lnTo>
                      <a:lnTo>
                        <a:pt x="114099" y="103232"/>
                      </a:lnTo>
                      <a:lnTo>
                        <a:pt x="118928" y="103232"/>
                      </a:lnTo>
                      <a:lnTo>
                        <a:pt x="121343" y="107458"/>
                      </a:lnTo>
                      <a:lnTo>
                        <a:pt x="124361" y="109269"/>
                      </a:lnTo>
                      <a:lnTo>
                        <a:pt x="124965" y="112891"/>
                      </a:lnTo>
                      <a:lnTo>
                        <a:pt x="127984" y="112891"/>
                      </a:lnTo>
                      <a:lnTo>
                        <a:pt x="136435" y="97799"/>
                      </a:lnTo>
                      <a:lnTo>
                        <a:pt x="141265" y="88140"/>
                      </a:lnTo>
                      <a:lnTo>
                        <a:pt x="141265" y="84518"/>
                      </a:lnTo>
                      <a:lnTo>
                        <a:pt x="144283" y="83914"/>
                      </a:lnTo>
                      <a:lnTo>
                        <a:pt x="145491" y="76669"/>
                      </a:lnTo>
                      <a:lnTo>
                        <a:pt x="149113" y="77877"/>
                      </a:lnTo>
                      <a:lnTo>
                        <a:pt x="151528" y="73651"/>
                      </a:lnTo>
                      <a:lnTo>
                        <a:pt x="155150" y="71840"/>
                      </a:lnTo>
                      <a:lnTo>
                        <a:pt x="156357" y="67010"/>
                      </a:lnTo>
                      <a:lnTo>
                        <a:pt x="163602" y="62181"/>
                      </a:lnTo>
                      <a:lnTo>
                        <a:pt x="169639" y="53125"/>
                      </a:lnTo>
                      <a:lnTo>
                        <a:pt x="170242" y="48900"/>
                      </a:lnTo>
                      <a:lnTo>
                        <a:pt x="165413" y="43466"/>
                      </a:lnTo>
                      <a:lnTo>
                        <a:pt x="160583" y="45277"/>
                      </a:lnTo>
                      <a:lnTo>
                        <a:pt x="159980" y="41655"/>
                      </a:lnTo>
                      <a:lnTo>
                        <a:pt x="163602" y="36222"/>
                      </a:lnTo>
                      <a:lnTo>
                        <a:pt x="171450" y="35014"/>
                      </a:lnTo>
                      <a:lnTo>
                        <a:pt x="175072" y="30789"/>
                      </a:lnTo>
                      <a:lnTo>
                        <a:pt x="180505" y="31996"/>
                      </a:lnTo>
                      <a:lnTo>
                        <a:pt x="186542" y="29581"/>
                      </a:lnTo>
                      <a:lnTo>
                        <a:pt x="197409" y="30789"/>
                      </a:lnTo>
                      <a:lnTo>
                        <a:pt x="201635" y="31996"/>
                      </a:lnTo>
                      <a:lnTo>
                        <a:pt x="204653" y="28977"/>
                      </a:lnTo>
                      <a:lnTo>
                        <a:pt x="211294" y="27770"/>
                      </a:lnTo>
                      <a:lnTo>
                        <a:pt x="210690" y="23544"/>
                      </a:lnTo>
                      <a:lnTo>
                        <a:pt x="223368" y="31996"/>
                      </a:lnTo>
                      <a:lnTo>
                        <a:pt x="226386" y="31392"/>
                      </a:lnTo>
                      <a:lnTo>
                        <a:pt x="227594" y="37429"/>
                      </a:lnTo>
                      <a:lnTo>
                        <a:pt x="237253" y="39844"/>
                      </a:lnTo>
                      <a:lnTo>
                        <a:pt x="240271" y="34411"/>
                      </a:lnTo>
                      <a:lnTo>
                        <a:pt x="248119" y="33807"/>
                      </a:lnTo>
                      <a:lnTo>
                        <a:pt x="248119" y="38033"/>
                      </a:lnTo>
                      <a:lnTo>
                        <a:pt x="254760" y="45881"/>
                      </a:lnTo>
                      <a:lnTo>
                        <a:pt x="265627" y="44674"/>
                      </a:lnTo>
                      <a:lnTo>
                        <a:pt x="268041" y="42259"/>
                      </a:lnTo>
                      <a:lnTo>
                        <a:pt x="271060" y="46485"/>
                      </a:lnTo>
                      <a:lnTo>
                        <a:pt x="283738" y="40448"/>
                      </a:lnTo>
                      <a:lnTo>
                        <a:pt x="289171" y="36826"/>
                      </a:lnTo>
                      <a:lnTo>
                        <a:pt x="296415" y="33203"/>
                      </a:lnTo>
                      <a:lnTo>
                        <a:pt x="295812" y="27770"/>
                      </a:lnTo>
                      <a:lnTo>
                        <a:pt x="297623" y="24148"/>
                      </a:lnTo>
                      <a:lnTo>
                        <a:pt x="300641" y="23544"/>
                      </a:lnTo>
                      <a:lnTo>
                        <a:pt x="306678" y="17507"/>
                      </a:lnTo>
                      <a:lnTo>
                        <a:pt x="310300" y="18111"/>
                      </a:lnTo>
                      <a:lnTo>
                        <a:pt x="315130" y="15092"/>
                      </a:lnTo>
                      <a:lnTo>
                        <a:pt x="319960" y="10866"/>
                      </a:lnTo>
                      <a:lnTo>
                        <a:pt x="325393" y="3622"/>
                      </a:lnTo>
                      <a:lnTo>
                        <a:pt x="327204" y="0"/>
                      </a:lnTo>
                      <a:lnTo>
                        <a:pt x="332033" y="2415"/>
                      </a:lnTo>
                      <a:lnTo>
                        <a:pt x="327808" y="12074"/>
                      </a:lnTo>
                      <a:lnTo>
                        <a:pt x="329015" y="14489"/>
                      </a:lnTo>
                      <a:lnTo>
                        <a:pt x="323582" y="25355"/>
                      </a:lnTo>
                      <a:lnTo>
                        <a:pt x="324789" y="36222"/>
                      </a:lnTo>
                      <a:lnTo>
                        <a:pt x="323582" y="42259"/>
                      </a:lnTo>
                      <a:lnTo>
                        <a:pt x="337467" y="52522"/>
                      </a:lnTo>
                      <a:lnTo>
                        <a:pt x="344711" y="54936"/>
                      </a:lnTo>
                      <a:lnTo>
                        <a:pt x="349540" y="54333"/>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2" name="Meghalaya" descr="{&quot;Key&quot;:&quot;meghalaya&quot;,&quot;Name&quot;:&quot;Meghalaya&quot;,&quot;Value&quot;:1.0,&quot;Formula&quot;:&quot;&quot;,&quot;Text&quot;:&quot;&quot;,&quot;OfficeApplication&quot;:1,&quot;HasValue&quot;:true}">
                  <a:extLst>
                    <a:ext uri="{FF2B5EF4-FFF2-40B4-BE49-F238E27FC236}">
                      <a16:creationId xmlns:a16="http://schemas.microsoft.com/office/drawing/2014/main" id="{21A76498-1A42-473D-87AC-B5907C982593}"/>
                    </a:ext>
                  </a:extLst>
                </p:cNvPr>
                <p:cNvSpPr/>
                <p:nvPr/>
              </p:nvSpPr>
              <p:spPr>
                <a:xfrm>
                  <a:off x="7543666" y="2665927"/>
                  <a:ext cx="609734" cy="247516"/>
                </a:xfrm>
                <a:custGeom>
                  <a:avLst/>
                  <a:gdLst>
                    <a:gd name="connsiteX0" fmla="*/ 536687 w 609734"/>
                    <a:gd name="connsiteY0" fmla="*/ 248723 h 247515"/>
                    <a:gd name="connsiteX1" fmla="*/ 531857 w 609734"/>
                    <a:gd name="connsiteY1" fmla="*/ 246308 h 247515"/>
                    <a:gd name="connsiteX2" fmla="*/ 520387 w 609734"/>
                    <a:gd name="connsiteY2" fmla="*/ 243894 h 247515"/>
                    <a:gd name="connsiteX3" fmla="*/ 522198 w 609734"/>
                    <a:gd name="connsiteY3" fmla="*/ 239064 h 247515"/>
                    <a:gd name="connsiteX4" fmla="*/ 519180 w 609734"/>
                    <a:gd name="connsiteY4" fmla="*/ 237253 h 247515"/>
                    <a:gd name="connsiteX5" fmla="*/ 513143 w 609734"/>
                    <a:gd name="connsiteY5" fmla="*/ 239064 h 247515"/>
                    <a:gd name="connsiteX6" fmla="*/ 502880 w 609734"/>
                    <a:gd name="connsiteY6" fmla="*/ 236046 h 247515"/>
                    <a:gd name="connsiteX7" fmla="*/ 496239 w 609734"/>
                    <a:gd name="connsiteY7" fmla="*/ 233027 h 247515"/>
                    <a:gd name="connsiteX8" fmla="*/ 490806 w 609734"/>
                    <a:gd name="connsiteY8" fmla="*/ 226386 h 247515"/>
                    <a:gd name="connsiteX9" fmla="*/ 488391 w 609734"/>
                    <a:gd name="connsiteY9" fmla="*/ 228197 h 247515"/>
                    <a:gd name="connsiteX10" fmla="*/ 478128 w 609734"/>
                    <a:gd name="connsiteY10" fmla="*/ 222764 h 247515"/>
                    <a:gd name="connsiteX11" fmla="*/ 476317 w 609734"/>
                    <a:gd name="connsiteY11" fmla="*/ 217935 h 247515"/>
                    <a:gd name="connsiteX12" fmla="*/ 470280 w 609734"/>
                    <a:gd name="connsiteY12" fmla="*/ 214916 h 247515"/>
                    <a:gd name="connsiteX13" fmla="*/ 462432 w 609734"/>
                    <a:gd name="connsiteY13" fmla="*/ 212501 h 247515"/>
                    <a:gd name="connsiteX14" fmla="*/ 455188 w 609734"/>
                    <a:gd name="connsiteY14" fmla="*/ 214313 h 247515"/>
                    <a:gd name="connsiteX15" fmla="*/ 452773 w 609734"/>
                    <a:gd name="connsiteY15" fmla="*/ 212501 h 247515"/>
                    <a:gd name="connsiteX16" fmla="*/ 446736 w 609734"/>
                    <a:gd name="connsiteY16" fmla="*/ 215520 h 247515"/>
                    <a:gd name="connsiteX17" fmla="*/ 443717 w 609734"/>
                    <a:gd name="connsiteY17" fmla="*/ 214313 h 247515"/>
                    <a:gd name="connsiteX18" fmla="*/ 432851 w 609734"/>
                    <a:gd name="connsiteY18" fmla="*/ 213105 h 247515"/>
                    <a:gd name="connsiteX19" fmla="*/ 419570 w 609734"/>
                    <a:gd name="connsiteY19" fmla="*/ 215520 h 247515"/>
                    <a:gd name="connsiteX20" fmla="*/ 415344 w 609734"/>
                    <a:gd name="connsiteY20" fmla="*/ 214313 h 247515"/>
                    <a:gd name="connsiteX21" fmla="*/ 409911 w 609734"/>
                    <a:gd name="connsiteY21" fmla="*/ 216124 h 247515"/>
                    <a:gd name="connsiteX22" fmla="*/ 403270 w 609734"/>
                    <a:gd name="connsiteY22" fmla="*/ 217331 h 247515"/>
                    <a:gd name="connsiteX23" fmla="*/ 399044 w 609734"/>
                    <a:gd name="connsiteY23" fmla="*/ 214916 h 247515"/>
                    <a:gd name="connsiteX24" fmla="*/ 394818 w 609734"/>
                    <a:gd name="connsiteY24" fmla="*/ 221557 h 247515"/>
                    <a:gd name="connsiteX25" fmla="*/ 388781 w 609734"/>
                    <a:gd name="connsiteY25" fmla="*/ 219746 h 247515"/>
                    <a:gd name="connsiteX26" fmla="*/ 386366 w 609734"/>
                    <a:gd name="connsiteY26" fmla="*/ 223972 h 247515"/>
                    <a:gd name="connsiteX27" fmla="*/ 382744 w 609734"/>
                    <a:gd name="connsiteY27" fmla="*/ 224575 h 247515"/>
                    <a:gd name="connsiteX28" fmla="*/ 375500 w 609734"/>
                    <a:gd name="connsiteY28" fmla="*/ 227594 h 247515"/>
                    <a:gd name="connsiteX29" fmla="*/ 372481 w 609734"/>
                    <a:gd name="connsiteY29" fmla="*/ 226386 h 247515"/>
                    <a:gd name="connsiteX30" fmla="*/ 371878 w 609734"/>
                    <a:gd name="connsiteY30" fmla="*/ 222764 h 247515"/>
                    <a:gd name="connsiteX31" fmla="*/ 368255 w 609734"/>
                    <a:gd name="connsiteY31" fmla="*/ 223368 h 247515"/>
                    <a:gd name="connsiteX32" fmla="*/ 367048 w 609734"/>
                    <a:gd name="connsiteY32" fmla="*/ 219142 h 247515"/>
                    <a:gd name="connsiteX33" fmla="*/ 370066 w 609734"/>
                    <a:gd name="connsiteY33" fmla="*/ 215520 h 247515"/>
                    <a:gd name="connsiteX34" fmla="*/ 362822 w 609734"/>
                    <a:gd name="connsiteY34" fmla="*/ 216124 h 247515"/>
                    <a:gd name="connsiteX35" fmla="*/ 357992 w 609734"/>
                    <a:gd name="connsiteY35" fmla="*/ 221557 h 247515"/>
                    <a:gd name="connsiteX36" fmla="*/ 348937 w 609734"/>
                    <a:gd name="connsiteY36" fmla="*/ 222764 h 247515"/>
                    <a:gd name="connsiteX37" fmla="*/ 347126 w 609734"/>
                    <a:gd name="connsiteY37" fmla="*/ 224575 h 247515"/>
                    <a:gd name="connsiteX38" fmla="*/ 340485 w 609734"/>
                    <a:gd name="connsiteY38" fmla="*/ 225179 h 247515"/>
                    <a:gd name="connsiteX39" fmla="*/ 339881 w 609734"/>
                    <a:gd name="connsiteY39" fmla="*/ 221557 h 247515"/>
                    <a:gd name="connsiteX40" fmla="*/ 335656 w 609734"/>
                    <a:gd name="connsiteY40" fmla="*/ 222160 h 247515"/>
                    <a:gd name="connsiteX41" fmla="*/ 330826 w 609734"/>
                    <a:gd name="connsiteY41" fmla="*/ 217935 h 247515"/>
                    <a:gd name="connsiteX42" fmla="*/ 320563 w 609734"/>
                    <a:gd name="connsiteY42" fmla="*/ 217935 h 247515"/>
                    <a:gd name="connsiteX43" fmla="*/ 318752 w 609734"/>
                    <a:gd name="connsiteY43" fmla="*/ 215520 h 247515"/>
                    <a:gd name="connsiteX44" fmla="*/ 313319 w 609734"/>
                    <a:gd name="connsiteY44" fmla="*/ 216727 h 247515"/>
                    <a:gd name="connsiteX45" fmla="*/ 306075 w 609734"/>
                    <a:gd name="connsiteY45" fmla="*/ 214313 h 247515"/>
                    <a:gd name="connsiteX46" fmla="*/ 299434 w 609734"/>
                    <a:gd name="connsiteY46" fmla="*/ 209483 h 247515"/>
                    <a:gd name="connsiteX47" fmla="*/ 295812 w 609734"/>
                    <a:gd name="connsiteY47" fmla="*/ 211294 h 247515"/>
                    <a:gd name="connsiteX48" fmla="*/ 283738 w 609734"/>
                    <a:gd name="connsiteY48" fmla="*/ 210087 h 247515"/>
                    <a:gd name="connsiteX49" fmla="*/ 271664 w 609734"/>
                    <a:gd name="connsiteY49" fmla="*/ 211898 h 247515"/>
                    <a:gd name="connsiteX50" fmla="*/ 260194 w 609734"/>
                    <a:gd name="connsiteY50" fmla="*/ 210690 h 247515"/>
                    <a:gd name="connsiteX51" fmla="*/ 257779 w 609734"/>
                    <a:gd name="connsiteY51" fmla="*/ 211898 h 247515"/>
                    <a:gd name="connsiteX52" fmla="*/ 243894 w 609734"/>
                    <a:gd name="connsiteY52" fmla="*/ 214916 h 247515"/>
                    <a:gd name="connsiteX53" fmla="*/ 228197 w 609734"/>
                    <a:gd name="connsiteY53" fmla="*/ 219142 h 247515"/>
                    <a:gd name="connsiteX54" fmla="*/ 219142 w 609734"/>
                    <a:gd name="connsiteY54" fmla="*/ 218538 h 247515"/>
                    <a:gd name="connsiteX55" fmla="*/ 212501 w 609734"/>
                    <a:gd name="connsiteY55" fmla="*/ 220349 h 247515"/>
                    <a:gd name="connsiteX56" fmla="*/ 204654 w 609734"/>
                    <a:gd name="connsiteY56" fmla="*/ 218538 h 247515"/>
                    <a:gd name="connsiteX57" fmla="*/ 198617 w 609734"/>
                    <a:gd name="connsiteY57" fmla="*/ 213709 h 247515"/>
                    <a:gd name="connsiteX58" fmla="*/ 194391 w 609734"/>
                    <a:gd name="connsiteY58" fmla="*/ 217331 h 247515"/>
                    <a:gd name="connsiteX59" fmla="*/ 189561 w 609734"/>
                    <a:gd name="connsiteY59" fmla="*/ 218538 h 247515"/>
                    <a:gd name="connsiteX60" fmla="*/ 185335 w 609734"/>
                    <a:gd name="connsiteY60" fmla="*/ 217935 h 247515"/>
                    <a:gd name="connsiteX61" fmla="*/ 181713 w 609734"/>
                    <a:gd name="connsiteY61" fmla="*/ 220349 h 247515"/>
                    <a:gd name="connsiteX62" fmla="*/ 176883 w 609734"/>
                    <a:gd name="connsiteY62" fmla="*/ 216727 h 247515"/>
                    <a:gd name="connsiteX63" fmla="*/ 174469 w 609734"/>
                    <a:gd name="connsiteY63" fmla="*/ 213105 h 247515"/>
                    <a:gd name="connsiteX64" fmla="*/ 167828 w 609734"/>
                    <a:gd name="connsiteY64" fmla="*/ 216727 h 247515"/>
                    <a:gd name="connsiteX65" fmla="*/ 159980 w 609734"/>
                    <a:gd name="connsiteY65" fmla="*/ 215520 h 247515"/>
                    <a:gd name="connsiteX66" fmla="*/ 141265 w 609734"/>
                    <a:gd name="connsiteY66" fmla="*/ 216727 h 247515"/>
                    <a:gd name="connsiteX67" fmla="*/ 138850 w 609734"/>
                    <a:gd name="connsiteY67" fmla="*/ 219142 h 247515"/>
                    <a:gd name="connsiteX68" fmla="*/ 131606 w 609734"/>
                    <a:gd name="connsiteY68" fmla="*/ 220953 h 247515"/>
                    <a:gd name="connsiteX69" fmla="*/ 130399 w 609734"/>
                    <a:gd name="connsiteY69" fmla="*/ 222764 h 247515"/>
                    <a:gd name="connsiteX70" fmla="*/ 122550 w 609734"/>
                    <a:gd name="connsiteY70" fmla="*/ 219746 h 247515"/>
                    <a:gd name="connsiteX71" fmla="*/ 115910 w 609734"/>
                    <a:gd name="connsiteY71" fmla="*/ 218538 h 247515"/>
                    <a:gd name="connsiteX72" fmla="*/ 106251 w 609734"/>
                    <a:gd name="connsiteY72" fmla="*/ 211294 h 247515"/>
                    <a:gd name="connsiteX73" fmla="*/ 102629 w 609734"/>
                    <a:gd name="connsiteY73" fmla="*/ 212501 h 247515"/>
                    <a:gd name="connsiteX74" fmla="*/ 94177 w 609734"/>
                    <a:gd name="connsiteY74" fmla="*/ 210087 h 247515"/>
                    <a:gd name="connsiteX75" fmla="*/ 77877 w 609734"/>
                    <a:gd name="connsiteY75" fmla="*/ 207068 h 247515"/>
                    <a:gd name="connsiteX76" fmla="*/ 73048 w 609734"/>
                    <a:gd name="connsiteY76" fmla="*/ 204653 h 247515"/>
                    <a:gd name="connsiteX77" fmla="*/ 61577 w 609734"/>
                    <a:gd name="connsiteY77" fmla="*/ 204653 h 247515"/>
                    <a:gd name="connsiteX78" fmla="*/ 53125 w 609734"/>
                    <a:gd name="connsiteY78" fmla="*/ 199824 h 247515"/>
                    <a:gd name="connsiteX79" fmla="*/ 48296 w 609734"/>
                    <a:gd name="connsiteY79" fmla="*/ 195598 h 247515"/>
                    <a:gd name="connsiteX80" fmla="*/ 44070 w 609734"/>
                    <a:gd name="connsiteY80" fmla="*/ 194994 h 247515"/>
                    <a:gd name="connsiteX81" fmla="*/ 38033 w 609734"/>
                    <a:gd name="connsiteY81" fmla="*/ 191372 h 247515"/>
                    <a:gd name="connsiteX82" fmla="*/ 33807 w 609734"/>
                    <a:gd name="connsiteY82" fmla="*/ 191372 h 247515"/>
                    <a:gd name="connsiteX83" fmla="*/ 31996 w 609734"/>
                    <a:gd name="connsiteY83" fmla="*/ 187146 h 247515"/>
                    <a:gd name="connsiteX84" fmla="*/ 25959 w 609734"/>
                    <a:gd name="connsiteY84" fmla="*/ 187750 h 247515"/>
                    <a:gd name="connsiteX85" fmla="*/ 17507 w 609734"/>
                    <a:gd name="connsiteY85" fmla="*/ 185939 h 247515"/>
                    <a:gd name="connsiteX86" fmla="*/ 13885 w 609734"/>
                    <a:gd name="connsiteY86" fmla="*/ 189561 h 247515"/>
                    <a:gd name="connsiteX87" fmla="*/ 7848 w 609734"/>
                    <a:gd name="connsiteY87" fmla="*/ 190165 h 247515"/>
                    <a:gd name="connsiteX88" fmla="*/ 2415 w 609734"/>
                    <a:gd name="connsiteY88" fmla="*/ 188353 h 247515"/>
                    <a:gd name="connsiteX89" fmla="*/ 5433 w 609734"/>
                    <a:gd name="connsiteY89" fmla="*/ 185335 h 247515"/>
                    <a:gd name="connsiteX90" fmla="*/ 2415 w 609734"/>
                    <a:gd name="connsiteY90" fmla="*/ 182316 h 247515"/>
                    <a:gd name="connsiteX91" fmla="*/ 604 w 609734"/>
                    <a:gd name="connsiteY91" fmla="*/ 176279 h 247515"/>
                    <a:gd name="connsiteX92" fmla="*/ 0 w 609734"/>
                    <a:gd name="connsiteY92" fmla="*/ 167828 h 247515"/>
                    <a:gd name="connsiteX93" fmla="*/ 3622 w 609734"/>
                    <a:gd name="connsiteY93" fmla="*/ 155754 h 247515"/>
                    <a:gd name="connsiteX94" fmla="*/ 6641 w 609734"/>
                    <a:gd name="connsiteY94" fmla="*/ 150924 h 247515"/>
                    <a:gd name="connsiteX95" fmla="*/ 6641 w 609734"/>
                    <a:gd name="connsiteY95" fmla="*/ 147302 h 247515"/>
                    <a:gd name="connsiteX96" fmla="*/ 9659 w 609734"/>
                    <a:gd name="connsiteY96" fmla="*/ 147302 h 247515"/>
                    <a:gd name="connsiteX97" fmla="*/ 12074 w 609734"/>
                    <a:gd name="connsiteY97" fmla="*/ 144284 h 247515"/>
                    <a:gd name="connsiteX98" fmla="*/ 10866 w 609734"/>
                    <a:gd name="connsiteY98" fmla="*/ 138850 h 247515"/>
                    <a:gd name="connsiteX99" fmla="*/ 10866 w 609734"/>
                    <a:gd name="connsiteY99" fmla="*/ 135228 h 247515"/>
                    <a:gd name="connsiteX100" fmla="*/ 10263 w 609734"/>
                    <a:gd name="connsiteY100" fmla="*/ 133417 h 247515"/>
                    <a:gd name="connsiteX101" fmla="*/ 10866 w 609734"/>
                    <a:gd name="connsiteY101" fmla="*/ 132210 h 247515"/>
                    <a:gd name="connsiteX102" fmla="*/ 10263 w 609734"/>
                    <a:gd name="connsiteY102" fmla="*/ 131606 h 247515"/>
                    <a:gd name="connsiteX103" fmla="*/ 11470 w 609734"/>
                    <a:gd name="connsiteY103" fmla="*/ 130399 h 247515"/>
                    <a:gd name="connsiteX104" fmla="*/ 13281 w 609734"/>
                    <a:gd name="connsiteY104" fmla="*/ 128587 h 247515"/>
                    <a:gd name="connsiteX105" fmla="*/ 19922 w 609734"/>
                    <a:gd name="connsiteY105" fmla="*/ 127380 h 247515"/>
                    <a:gd name="connsiteX106" fmla="*/ 31392 w 609734"/>
                    <a:gd name="connsiteY106" fmla="*/ 124965 h 247515"/>
                    <a:gd name="connsiteX107" fmla="*/ 32600 w 609734"/>
                    <a:gd name="connsiteY107" fmla="*/ 121343 h 247515"/>
                    <a:gd name="connsiteX108" fmla="*/ 35618 w 609734"/>
                    <a:gd name="connsiteY108" fmla="*/ 121947 h 247515"/>
                    <a:gd name="connsiteX109" fmla="*/ 38033 w 609734"/>
                    <a:gd name="connsiteY109" fmla="*/ 121343 h 247515"/>
                    <a:gd name="connsiteX110" fmla="*/ 40448 w 609734"/>
                    <a:gd name="connsiteY110" fmla="*/ 117117 h 247515"/>
                    <a:gd name="connsiteX111" fmla="*/ 37429 w 609734"/>
                    <a:gd name="connsiteY111" fmla="*/ 113495 h 247515"/>
                    <a:gd name="connsiteX112" fmla="*/ 36826 w 609734"/>
                    <a:gd name="connsiteY112" fmla="*/ 114099 h 247515"/>
                    <a:gd name="connsiteX113" fmla="*/ 32600 w 609734"/>
                    <a:gd name="connsiteY113" fmla="*/ 110477 h 247515"/>
                    <a:gd name="connsiteX114" fmla="*/ 25959 w 609734"/>
                    <a:gd name="connsiteY114" fmla="*/ 105647 h 247515"/>
                    <a:gd name="connsiteX115" fmla="*/ 24752 w 609734"/>
                    <a:gd name="connsiteY115" fmla="*/ 100817 h 247515"/>
                    <a:gd name="connsiteX116" fmla="*/ 22940 w 609734"/>
                    <a:gd name="connsiteY116" fmla="*/ 98403 h 247515"/>
                    <a:gd name="connsiteX117" fmla="*/ 19922 w 609734"/>
                    <a:gd name="connsiteY117" fmla="*/ 95384 h 247515"/>
                    <a:gd name="connsiteX118" fmla="*/ 18715 w 609734"/>
                    <a:gd name="connsiteY118" fmla="*/ 94177 h 247515"/>
                    <a:gd name="connsiteX119" fmla="*/ 15092 w 609734"/>
                    <a:gd name="connsiteY119" fmla="*/ 89951 h 247515"/>
                    <a:gd name="connsiteX120" fmla="*/ 15696 w 609734"/>
                    <a:gd name="connsiteY120" fmla="*/ 85725 h 247515"/>
                    <a:gd name="connsiteX121" fmla="*/ 19318 w 609734"/>
                    <a:gd name="connsiteY121" fmla="*/ 86932 h 247515"/>
                    <a:gd name="connsiteX122" fmla="*/ 27770 w 609734"/>
                    <a:gd name="connsiteY122" fmla="*/ 79084 h 247515"/>
                    <a:gd name="connsiteX123" fmla="*/ 27166 w 609734"/>
                    <a:gd name="connsiteY123" fmla="*/ 76669 h 247515"/>
                    <a:gd name="connsiteX124" fmla="*/ 26563 w 609734"/>
                    <a:gd name="connsiteY124" fmla="*/ 70632 h 247515"/>
                    <a:gd name="connsiteX125" fmla="*/ 25355 w 609734"/>
                    <a:gd name="connsiteY125" fmla="*/ 69425 h 247515"/>
                    <a:gd name="connsiteX126" fmla="*/ 25355 w 609734"/>
                    <a:gd name="connsiteY126" fmla="*/ 68821 h 247515"/>
                    <a:gd name="connsiteX127" fmla="*/ 26563 w 609734"/>
                    <a:gd name="connsiteY127" fmla="*/ 67614 h 247515"/>
                    <a:gd name="connsiteX128" fmla="*/ 30185 w 609734"/>
                    <a:gd name="connsiteY128" fmla="*/ 67010 h 247515"/>
                    <a:gd name="connsiteX129" fmla="*/ 36826 w 609734"/>
                    <a:gd name="connsiteY129" fmla="*/ 63388 h 247515"/>
                    <a:gd name="connsiteX130" fmla="*/ 36222 w 609734"/>
                    <a:gd name="connsiteY130" fmla="*/ 62784 h 247515"/>
                    <a:gd name="connsiteX131" fmla="*/ 39240 w 609734"/>
                    <a:gd name="connsiteY131" fmla="*/ 61577 h 247515"/>
                    <a:gd name="connsiteX132" fmla="*/ 41051 w 609734"/>
                    <a:gd name="connsiteY132" fmla="*/ 57955 h 247515"/>
                    <a:gd name="connsiteX133" fmla="*/ 40448 w 609734"/>
                    <a:gd name="connsiteY133" fmla="*/ 56748 h 247515"/>
                    <a:gd name="connsiteX134" fmla="*/ 39844 w 609734"/>
                    <a:gd name="connsiteY134" fmla="*/ 56748 h 247515"/>
                    <a:gd name="connsiteX135" fmla="*/ 39844 w 609734"/>
                    <a:gd name="connsiteY135" fmla="*/ 53125 h 247515"/>
                    <a:gd name="connsiteX136" fmla="*/ 42259 w 609734"/>
                    <a:gd name="connsiteY136" fmla="*/ 51314 h 247515"/>
                    <a:gd name="connsiteX137" fmla="*/ 47692 w 609734"/>
                    <a:gd name="connsiteY137" fmla="*/ 50711 h 247515"/>
                    <a:gd name="connsiteX138" fmla="*/ 48900 w 609734"/>
                    <a:gd name="connsiteY138" fmla="*/ 47692 h 247515"/>
                    <a:gd name="connsiteX139" fmla="*/ 49503 w 609734"/>
                    <a:gd name="connsiteY139" fmla="*/ 46485 h 247515"/>
                    <a:gd name="connsiteX140" fmla="*/ 51918 w 609734"/>
                    <a:gd name="connsiteY140" fmla="*/ 45881 h 247515"/>
                    <a:gd name="connsiteX141" fmla="*/ 53125 w 609734"/>
                    <a:gd name="connsiteY141" fmla="*/ 46485 h 247515"/>
                    <a:gd name="connsiteX142" fmla="*/ 53125 w 609734"/>
                    <a:gd name="connsiteY142" fmla="*/ 44674 h 247515"/>
                    <a:gd name="connsiteX143" fmla="*/ 55540 w 609734"/>
                    <a:gd name="connsiteY143" fmla="*/ 43466 h 247515"/>
                    <a:gd name="connsiteX144" fmla="*/ 56748 w 609734"/>
                    <a:gd name="connsiteY144" fmla="*/ 41051 h 247515"/>
                    <a:gd name="connsiteX145" fmla="*/ 57351 w 609734"/>
                    <a:gd name="connsiteY145" fmla="*/ 40448 h 247515"/>
                    <a:gd name="connsiteX146" fmla="*/ 60370 w 609734"/>
                    <a:gd name="connsiteY146" fmla="*/ 36826 h 247515"/>
                    <a:gd name="connsiteX147" fmla="*/ 76670 w 609734"/>
                    <a:gd name="connsiteY147" fmla="*/ 37429 h 247515"/>
                    <a:gd name="connsiteX148" fmla="*/ 80896 w 609734"/>
                    <a:gd name="connsiteY148" fmla="*/ 38033 h 247515"/>
                    <a:gd name="connsiteX149" fmla="*/ 95988 w 609734"/>
                    <a:gd name="connsiteY149" fmla="*/ 35618 h 247515"/>
                    <a:gd name="connsiteX150" fmla="*/ 103836 w 609734"/>
                    <a:gd name="connsiteY150" fmla="*/ 33203 h 247515"/>
                    <a:gd name="connsiteX151" fmla="*/ 105043 w 609734"/>
                    <a:gd name="connsiteY151" fmla="*/ 30185 h 247515"/>
                    <a:gd name="connsiteX152" fmla="*/ 112288 w 609734"/>
                    <a:gd name="connsiteY152" fmla="*/ 24752 h 247515"/>
                    <a:gd name="connsiteX153" fmla="*/ 118325 w 609734"/>
                    <a:gd name="connsiteY153" fmla="*/ 24148 h 247515"/>
                    <a:gd name="connsiteX154" fmla="*/ 124965 w 609734"/>
                    <a:gd name="connsiteY154" fmla="*/ 29581 h 247515"/>
                    <a:gd name="connsiteX155" fmla="*/ 131002 w 609734"/>
                    <a:gd name="connsiteY155" fmla="*/ 27166 h 247515"/>
                    <a:gd name="connsiteX156" fmla="*/ 135228 w 609734"/>
                    <a:gd name="connsiteY156" fmla="*/ 23544 h 247515"/>
                    <a:gd name="connsiteX157" fmla="*/ 141265 w 609734"/>
                    <a:gd name="connsiteY157" fmla="*/ 28374 h 247515"/>
                    <a:gd name="connsiteX158" fmla="*/ 146698 w 609734"/>
                    <a:gd name="connsiteY158" fmla="*/ 36826 h 247515"/>
                    <a:gd name="connsiteX159" fmla="*/ 146698 w 609734"/>
                    <a:gd name="connsiteY159" fmla="*/ 42863 h 247515"/>
                    <a:gd name="connsiteX160" fmla="*/ 143680 w 609734"/>
                    <a:gd name="connsiteY160" fmla="*/ 48296 h 247515"/>
                    <a:gd name="connsiteX161" fmla="*/ 144887 w 609734"/>
                    <a:gd name="connsiteY161" fmla="*/ 50107 h 247515"/>
                    <a:gd name="connsiteX162" fmla="*/ 150924 w 609734"/>
                    <a:gd name="connsiteY162" fmla="*/ 43466 h 247515"/>
                    <a:gd name="connsiteX163" fmla="*/ 154547 w 609734"/>
                    <a:gd name="connsiteY163" fmla="*/ 41051 h 247515"/>
                    <a:gd name="connsiteX164" fmla="*/ 156358 w 609734"/>
                    <a:gd name="connsiteY164" fmla="*/ 36826 h 247515"/>
                    <a:gd name="connsiteX165" fmla="*/ 160584 w 609734"/>
                    <a:gd name="connsiteY165" fmla="*/ 38637 h 247515"/>
                    <a:gd name="connsiteX166" fmla="*/ 166621 w 609734"/>
                    <a:gd name="connsiteY166" fmla="*/ 41655 h 247515"/>
                    <a:gd name="connsiteX167" fmla="*/ 166017 w 609734"/>
                    <a:gd name="connsiteY167" fmla="*/ 46485 h 247515"/>
                    <a:gd name="connsiteX168" fmla="*/ 176280 w 609734"/>
                    <a:gd name="connsiteY168" fmla="*/ 41655 h 247515"/>
                    <a:gd name="connsiteX169" fmla="*/ 178091 w 609734"/>
                    <a:gd name="connsiteY169" fmla="*/ 38637 h 247515"/>
                    <a:gd name="connsiteX170" fmla="*/ 183524 w 609734"/>
                    <a:gd name="connsiteY170" fmla="*/ 38033 h 247515"/>
                    <a:gd name="connsiteX171" fmla="*/ 189561 w 609734"/>
                    <a:gd name="connsiteY171" fmla="*/ 41051 h 247515"/>
                    <a:gd name="connsiteX172" fmla="*/ 189561 w 609734"/>
                    <a:gd name="connsiteY172" fmla="*/ 46485 h 247515"/>
                    <a:gd name="connsiteX173" fmla="*/ 197409 w 609734"/>
                    <a:gd name="connsiteY173" fmla="*/ 48296 h 247515"/>
                    <a:gd name="connsiteX174" fmla="*/ 201031 w 609734"/>
                    <a:gd name="connsiteY174" fmla="*/ 41051 h 247515"/>
                    <a:gd name="connsiteX175" fmla="*/ 205861 w 609734"/>
                    <a:gd name="connsiteY175" fmla="*/ 39240 h 247515"/>
                    <a:gd name="connsiteX176" fmla="*/ 216124 w 609734"/>
                    <a:gd name="connsiteY176" fmla="*/ 40448 h 247515"/>
                    <a:gd name="connsiteX177" fmla="*/ 218538 w 609734"/>
                    <a:gd name="connsiteY177" fmla="*/ 38637 h 247515"/>
                    <a:gd name="connsiteX178" fmla="*/ 226386 w 609734"/>
                    <a:gd name="connsiteY178" fmla="*/ 47088 h 247515"/>
                    <a:gd name="connsiteX179" fmla="*/ 225783 w 609734"/>
                    <a:gd name="connsiteY179" fmla="*/ 40448 h 247515"/>
                    <a:gd name="connsiteX180" fmla="*/ 234234 w 609734"/>
                    <a:gd name="connsiteY180" fmla="*/ 42259 h 247515"/>
                    <a:gd name="connsiteX181" fmla="*/ 236046 w 609734"/>
                    <a:gd name="connsiteY181" fmla="*/ 53125 h 247515"/>
                    <a:gd name="connsiteX182" fmla="*/ 239668 w 609734"/>
                    <a:gd name="connsiteY182" fmla="*/ 52522 h 247515"/>
                    <a:gd name="connsiteX183" fmla="*/ 245705 w 609734"/>
                    <a:gd name="connsiteY183" fmla="*/ 53729 h 247515"/>
                    <a:gd name="connsiteX184" fmla="*/ 248120 w 609734"/>
                    <a:gd name="connsiteY184" fmla="*/ 57955 h 247515"/>
                    <a:gd name="connsiteX185" fmla="*/ 245705 w 609734"/>
                    <a:gd name="connsiteY185" fmla="*/ 60370 h 247515"/>
                    <a:gd name="connsiteX186" fmla="*/ 243290 w 609734"/>
                    <a:gd name="connsiteY186" fmla="*/ 67010 h 247515"/>
                    <a:gd name="connsiteX187" fmla="*/ 246912 w 609734"/>
                    <a:gd name="connsiteY187" fmla="*/ 68218 h 247515"/>
                    <a:gd name="connsiteX188" fmla="*/ 252949 w 609734"/>
                    <a:gd name="connsiteY188" fmla="*/ 62181 h 247515"/>
                    <a:gd name="connsiteX189" fmla="*/ 256571 w 609734"/>
                    <a:gd name="connsiteY189" fmla="*/ 62784 h 247515"/>
                    <a:gd name="connsiteX190" fmla="*/ 256571 w 609734"/>
                    <a:gd name="connsiteY190" fmla="*/ 67010 h 247515"/>
                    <a:gd name="connsiteX191" fmla="*/ 268042 w 609734"/>
                    <a:gd name="connsiteY191" fmla="*/ 65803 h 247515"/>
                    <a:gd name="connsiteX192" fmla="*/ 274682 w 609734"/>
                    <a:gd name="connsiteY192" fmla="*/ 61577 h 247515"/>
                    <a:gd name="connsiteX193" fmla="*/ 280116 w 609734"/>
                    <a:gd name="connsiteY193" fmla="*/ 63388 h 247515"/>
                    <a:gd name="connsiteX194" fmla="*/ 282530 w 609734"/>
                    <a:gd name="connsiteY194" fmla="*/ 60370 h 247515"/>
                    <a:gd name="connsiteX195" fmla="*/ 284945 w 609734"/>
                    <a:gd name="connsiteY195" fmla="*/ 63992 h 247515"/>
                    <a:gd name="connsiteX196" fmla="*/ 280116 w 609734"/>
                    <a:gd name="connsiteY196" fmla="*/ 78481 h 247515"/>
                    <a:gd name="connsiteX197" fmla="*/ 281927 w 609734"/>
                    <a:gd name="connsiteY197" fmla="*/ 81499 h 247515"/>
                    <a:gd name="connsiteX198" fmla="*/ 281927 w 609734"/>
                    <a:gd name="connsiteY198" fmla="*/ 86932 h 247515"/>
                    <a:gd name="connsiteX199" fmla="*/ 289171 w 609734"/>
                    <a:gd name="connsiteY199" fmla="*/ 90555 h 247515"/>
                    <a:gd name="connsiteX200" fmla="*/ 295812 w 609734"/>
                    <a:gd name="connsiteY200" fmla="*/ 85121 h 247515"/>
                    <a:gd name="connsiteX201" fmla="*/ 300038 w 609734"/>
                    <a:gd name="connsiteY201" fmla="*/ 85121 h 247515"/>
                    <a:gd name="connsiteX202" fmla="*/ 306075 w 609734"/>
                    <a:gd name="connsiteY202" fmla="*/ 74255 h 247515"/>
                    <a:gd name="connsiteX203" fmla="*/ 311508 w 609734"/>
                    <a:gd name="connsiteY203" fmla="*/ 65803 h 247515"/>
                    <a:gd name="connsiteX204" fmla="*/ 314526 w 609734"/>
                    <a:gd name="connsiteY204" fmla="*/ 63992 h 247515"/>
                    <a:gd name="connsiteX205" fmla="*/ 327808 w 609734"/>
                    <a:gd name="connsiteY205" fmla="*/ 60973 h 247515"/>
                    <a:gd name="connsiteX206" fmla="*/ 333844 w 609734"/>
                    <a:gd name="connsiteY206" fmla="*/ 63388 h 247515"/>
                    <a:gd name="connsiteX207" fmla="*/ 339278 w 609734"/>
                    <a:gd name="connsiteY207" fmla="*/ 59766 h 247515"/>
                    <a:gd name="connsiteX208" fmla="*/ 342296 w 609734"/>
                    <a:gd name="connsiteY208" fmla="*/ 52522 h 247515"/>
                    <a:gd name="connsiteX209" fmla="*/ 346522 w 609734"/>
                    <a:gd name="connsiteY209" fmla="*/ 50711 h 247515"/>
                    <a:gd name="connsiteX210" fmla="*/ 346522 w 609734"/>
                    <a:gd name="connsiteY210" fmla="*/ 45277 h 247515"/>
                    <a:gd name="connsiteX211" fmla="*/ 350144 w 609734"/>
                    <a:gd name="connsiteY211" fmla="*/ 41051 h 247515"/>
                    <a:gd name="connsiteX212" fmla="*/ 349541 w 609734"/>
                    <a:gd name="connsiteY212" fmla="*/ 36826 h 247515"/>
                    <a:gd name="connsiteX213" fmla="*/ 353767 w 609734"/>
                    <a:gd name="connsiteY213" fmla="*/ 36222 h 247515"/>
                    <a:gd name="connsiteX214" fmla="*/ 356785 w 609734"/>
                    <a:gd name="connsiteY214" fmla="*/ 33203 h 247515"/>
                    <a:gd name="connsiteX215" fmla="*/ 359200 w 609734"/>
                    <a:gd name="connsiteY215" fmla="*/ 27166 h 247515"/>
                    <a:gd name="connsiteX216" fmla="*/ 360407 w 609734"/>
                    <a:gd name="connsiteY216" fmla="*/ 21129 h 247515"/>
                    <a:gd name="connsiteX217" fmla="*/ 365841 w 609734"/>
                    <a:gd name="connsiteY217" fmla="*/ 22337 h 247515"/>
                    <a:gd name="connsiteX218" fmla="*/ 370670 w 609734"/>
                    <a:gd name="connsiteY218" fmla="*/ 21129 h 247515"/>
                    <a:gd name="connsiteX219" fmla="*/ 373085 w 609734"/>
                    <a:gd name="connsiteY219" fmla="*/ 22337 h 247515"/>
                    <a:gd name="connsiteX220" fmla="*/ 371878 w 609734"/>
                    <a:gd name="connsiteY220" fmla="*/ 30789 h 247515"/>
                    <a:gd name="connsiteX221" fmla="*/ 374292 w 609734"/>
                    <a:gd name="connsiteY221" fmla="*/ 35618 h 247515"/>
                    <a:gd name="connsiteX222" fmla="*/ 373085 w 609734"/>
                    <a:gd name="connsiteY222" fmla="*/ 39844 h 247515"/>
                    <a:gd name="connsiteX223" fmla="*/ 368859 w 609734"/>
                    <a:gd name="connsiteY223" fmla="*/ 41051 h 247515"/>
                    <a:gd name="connsiteX224" fmla="*/ 376707 w 609734"/>
                    <a:gd name="connsiteY224" fmla="*/ 47088 h 247515"/>
                    <a:gd name="connsiteX225" fmla="*/ 380933 w 609734"/>
                    <a:gd name="connsiteY225" fmla="*/ 48900 h 247515"/>
                    <a:gd name="connsiteX226" fmla="*/ 391196 w 609734"/>
                    <a:gd name="connsiteY226" fmla="*/ 38033 h 247515"/>
                    <a:gd name="connsiteX227" fmla="*/ 391800 w 609734"/>
                    <a:gd name="connsiteY227" fmla="*/ 20526 h 247515"/>
                    <a:gd name="connsiteX228" fmla="*/ 393611 w 609734"/>
                    <a:gd name="connsiteY228" fmla="*/ 13885 h 247515"/>
                    <a:gd name="connsiteX229" fmla="*/ 399648 w 609734"/>
                    <a:gd name="connsiteY229" fmla="*/ 10866 h 247515"/>
                    <a:gd name="connsiteX230" fmla="*/ 403270 w 609734"/>
                    <a:gd name="connsiteY230" fmla="*/ 6641 h 247515"/>
                    <a:gd name="connsiteX231" fmla="*/ 405685 w 609734"/>
                    <a:gd name="connsiteY231" fmla="*/ 7244 h 247515"/>
                    <a:gd name="connsiteX232" fmla="*/ 411722 w 609734"/>
                    <a:gd name="connsiteY232" fmla="*/ 0 h 247515"/>
                    <a:gd name="connsiteX233" fmla="*/ 423192 w 609734"/>
                    <a:gd name="connsiteY233" fmla="*/ 4830 h 247515"/>
                    <a:gd name="connsiteX234" fmla="*/ 421985 w 609734"/>
                    <a:gd name="connsiteY234" fmla="*/ 14489 h 247515"/>
                    <a:gd name="connsiteX235" fmla="*/ 425003 w 609734"/>
                    <a:gd name="connsiteY235" fmla="*/ 20526 h 247515"/>
                    <a:gd name="connsiteX236" fmla="*/ 429832 w 609734"/>
                    <a:gd name="connsiteY236" fmla="*/ 21129 h 247515"/>
                    <a:gd name="connsiteX237" fmla="*/ 434058 w 609734"/>
                    <a:gd name="connsiteY237" fmla="*/ 27166 h 247515"/>
                    <a:gd name="connsiteX238" fmla="*/ 435266 w 609734"/>
                    <a:gd name="connsiteY238" fmla="*/ 24148 h 247515"/>
                    <a:gd name="connsiteX239" fmla="*/ 444321 w 609734"/>
                    <a:gd name="connsiteY239" fmla="*/ 21129 h 247515"/>
                    <a:gd name="connsiteX240" fmla="*/ 447340 w 609734"/>
                    <a:gd name="connsiteY240" fmla="*/ 18111 h 247515"/>
                    <a:gd name="connsiteX241" fmla="*/ 456395 w 609734"/>
                    <a:gd name="connsiteY241" fmla="*/ 18111 h 247515"/>
                    <a:gd name="connsiteX242" fmla="*/ 460017 w 609734"/>
                    <a:gd name="connsiteY242" fmla="*/ 19922 h 247515"/>
                    <a:gd name="connsiteX243" fmla="*/ 468469 w 609734"/>
                    <a:gd name="connsiteY243" fmla="*/ 16300 h 247515"/>
                    <a:gd name="connsiteX244" fmla="*/ 476317 w 609734"/>
                    <a:gd name="connsiteY244" fmla="*/ 16903 h 247515"/>
                    <a:gd name="connsiteX245" fmla="*/ 479939 w 609734"/>
                    <a:gd name="connsiteY245" fmla="*/ 12678 h 247515"/>
                    <a:gd name="connsiteX246" fmla="*/ 485976 w 609734"/>
                    <a:gd name="connsiteY246" fmla="*/ 9055 h 247515"/>
                    <a:gd name="connsiteX247" fmla="*/ 488391 w 609734"/>
                    <a:gd name="connsiteY247" fmla="*/ 12074 h 247515"/>
                    <a:gd name="connsiteX248" fmla="*/ 492617 w 609734"/>
                    <a:gd name="connsiteY248" fmla="*/ 10866 h 247515"/>
                    <a:gd name="connsiteX249" fmla="*/ 498654 w 609734"/>
                    <a:gd name="connsiteY249" fmla="*/ 13281 h 247515"/>
                    <a:gd name="connsiteX250" fmla="*/ 505295 w 609734"/>
                    <a:gd name="connsiteY250" fmla="*/ 12074 h 247515"/>
                    <a:gd name="connsiteX251" fmla="*/ 511332 w 609734"/>
                    <a:gd name="connsiteY251" fmla="*/ 9659 h 247515"/>
                    <a:gd name="connsiteX252" fmla="*/ 501673 w 609734"/>
                    <a:gd name="connsiteY252" fmla="*/ 20526 h 247515"/>
                    <a:gd name="connsiteX253" fmla="*/ 490806 w 609734"/>
                    <a:gd name="connsiteY253" fmla="*/ 30789 h 247515"/>
                    <a:gd name="connsiteX254" fmla="*/ 488391 w 609734"/>
                    <a:gd name="connsiteY254" fmla="*/ 30789 h 247515"/>
                    <a:gd name="connsiteX255" fmla="*/ 482958 w 609734"/>
                    <a:gd name="connsiteY255" fmla="*/ 35618 h 247515"/>
                    <a:gd name="connsiteX256" fmla="*/ 481147 w 609734"/>
                    <a:gd name="connsiteY256" fmla="*/ 39844 h 247515"/>
                    <a:gd name="connsiteX257" fmla="*/ 482354 w 609734"/>
                    <a:gd name="connsiteY257" fmla="*/ 46485 h 247515"/>
                    <a:gd name="connsiteX258" fmla="*/ 486580 w 609734"/>
                    <a:gd name="connsiteY258" fmla="*/ 48296 h 247515"/>
                    <a:gd name="connsiteX259" fmla="*/ 495032 w 609734"/>
                    <a:gd name="connsiteY259" fmla="*/ 47692 h 247515"/>
                    <a:gd name="connsiteX260" fmla="*/ 495636 w 609734"/>
                    <a:gd name="connsiteY260" fmla="*/ 50107 h 247515"/>
                    <a:gd name="connsiteX261" fmla="*/ 486580 w 609734"/>
                    <a:gd name="connsiteY261" fmla="*/ 56748 h 247515"/>
                    <a:gd name="connsiteX262" fmla="*/ 486580 w 609734"/>
                    <a:gd name="connsiteY262" fmla="*/ 61577 h 247515"/>
                    <a:gd name="connsiteX263" fmla="*/ 480543 w 609734"/>
                    <a:gd name="connsiteY263" fmla="*/ 70029 h 247515"/>
                    <a:gd name="connsiteX264" fmla="*/ 479939 w 609734"/>
                    <a:gd name="connsiteY264" fmla="*/ 76669 h 247515"/>
                    <a:gd name="connsiteX265" fmla="*/ 482958 w 609734"/>
                    <a:gd name="connsiteY265" fmla="*/ 85725 h 247515"/>
                    <a:gd name="connsiteX266" fmla="*/ 481147 w 609734"/>
                    <a:gd name="connsiteY266" fmla="*/ 94177 h 247515"/>
                    <a:gd name="connsiteX267" fmla="*/ 484165 w 609734"/>
                    <a:gd name="connsiteY267" fmla="*/ 103836 h 247515"/>
                    <a:gd name="connsiteX268" fmla="*/ 492617 w 609734"/>
                    <a:gd name="connsiteY268" fmla="*/ 97195 h 247515"/>
                    <a:gd name="connsiteX269" fmla="*/ 495636 w 609734"/>
                    <a:gd name="connsiteY269" fmla="*/ 92969 h 247515"/>
                    <a:gd name="connsiteX270" fmla="*/ 498050 w 609734"/>
                    <a:gd name="connsiteY270" fmla="*/ 94177 h 247515"/>
                    <a:gd name="connsiteX271" fmla="*/ 504691 w 609734"/>
                    <a:gd name="connsiteY271" fmla="*/ 93573 h 247515"/>
                    <a:gd name="connsiteX272" fmla="*/ 511935 w 609734"/>
                    <a:gd name="connsiteY272" fmla="*/ 90555 h 247515"/>
                    <a:gd name="connsiteX273" fmla="*/ 519180 w 609734"/>
                    <a:gd name="connsiteY273" fmla="*/ 89951 h 247515"/>
                    <a:gd name="connsiteX274" fmla="*/ 525821 w 609734"/>
                    <a:gd name="connsiteY274" fmla="*/ 85725 h 247515"/>
                    <a:gd name="connsiteX275" fmla="*/ 534876 w 609734"/>
                    <a:gd name="connsiteY275" fmla="*/ 86932 h 247515"/>
                    <a:gd name="connsiteX276" fmla="*/ 540309 w 609734"/>
                    <a:gd name="connsiteY276" fmla="*/ 91158 h 247515"/>
                    <a:gd name="connsiteX277" fmla="*/ 537291 w 609734"/>
                    <a:gd name="connsiteY277" fmla="*/ 93573 h 247515"/>
                    <a:gd name="connsiteX278" fmla="*/ 538498 w 609734"/>
                    <a:gd name="connsiteY278" fmla="*/ 99006 h 247515"/>
                    <a:gd name="connsiteX279" fmla="*/ 545139 w 609734"/>
                    <a:gd name="connsiteY279" fmla="*/ 100214 h 247515"/>
                    <a:gd name="connsiteX280" fmla="*/ 548157 w 609734"/>
                    <a:gd name="connsiteY280" fmla="*/ 104440 h 247515"/>
                    <a:gd name="connsiteX281" fmla="*/ 551779 w 609734"/>
                    <a:gd name="connsiteY281" fmla="*/ 112891 h 247515"/>
                    <a:gd name="connsiteX282" fmla="*/ 563853 w 609734"/>
                    <a:gd name="connsiteY282" fmla="*/ 115910 h 247515"/>
                    <a:gd name="connsiteX283" fmla="*/ 564457 w 609734"/>
                    <a:gd name="connsiteY283" fmla="*/ 124965 h 247515"/>
                    <a:gd name="connsiteX284" fmla="*/ 570494 w 609734"/>
                    <a:gd name="connsiteY284" fmla="*/ 129795 h 247515"/>
                    <a:gd name="connsiteX285" fmla="*/ 574720 w 609734"/>
                    <a:gd name="connsiteY285" fmla="*/ 126776 h 247515"/>
                    <a:gd name="connsiteX286" fmla="*/ 578946 w 609734"/>
                    <a:gd name="connsiteY286" fmla="*/ 125569 h 247515"/>
                    <a:gd name="connsiteX287" fmla="*/ 581360 w 609734"/>
                    <a:gd name="connsiteY287" fmla="*/ 121947 h 247515"/>
                    <a:gd name="connsiteX288" fmla="*/ 584983 w 609734"/>
                    <a:gd name="connsiteY288" fmla="*/ 122550 h 247515"/>
                    <a:gd name="connsiteX289" fmla="*/ 581964 w 609734"/>
                    <a:gd name="connsiteY289" fmla="*/ 133417 h 247515"/>
                    <a:gd name="connsiteX290" fmla="*/ 577135 w 609734"/>
                    <a:gd name="connsiteY290" fmla="*/ 138247 h 247515"/>
                    <a:gd name="connsiteX291" fmla="*/ 568683 w 609734"/>
                    <a:gd name="connsiteY291" fmla="*/ 143076 h 247515"/>
                    <a:gd name="connsiteX292" fmla="*/ 566268 w 609734"/>
                    <a:gd name="connsiteY292" fmla="*/ 146095 h 247515"/>
                    <a:gd name="connsiteX293" fmla="*/ 566872 w 609734"/>
                    <a:gd name="connsiteY293" fmla="*/ 149717 h 247515"/>
                    <a:gd name="connsiteX294" fmla="*/ 572305 w 609734"/>
                    <a:gd name="connsiteY294" fmla="*/ 148510 h 247515"/>
                    <a:gd name="connsiteX295" fmla="*/ 574116 w 609734"/>
                    <a:gd name="connsiteY295" fmla="*/ 153339 h 247515"/>
                    <a:gd name="connsiteX296" fmla="*/ 574116 w 609734"/>
                    <a:gd name="connsiteY296" fmla="*/ 160583 h 247515"/>
                    <a:gd name="connsiteX297" fmla="*/ 583172 w 609734"/>
                    <a:gd name="connsiteY297" fmla="*/ 157565 h 247515"/>
                    <a:gd name="connsiteX298" fmla="*/ 584983 w 609734"/>
                    <a:gd name="connsiteY298" fmla="*/ 162395 h 247515"/>
                    <a:gd name="connsiteX299" fmla="*/ 588001 w 609734"/>
                    <a:gd name="connsiteY299" fmla="*/ 160583 h 247515"/>
                    <a:gd name="connsiteX300" fmla="*/ 593434 w 609734"/>
                    <a:gd name="connsiteY300" fmla="*/ 167224 h 247515"/>
                    <a:gd name="connsiteX301" fmla="*/ 597057 w 609734"/>
                    <a:gd name="connsiteY301" fmla="*/ 170243 h 247515"/>
                    <a:gd name="connsiteX302" fmla="*/ 600679 w 609734"/>
                    <a:gd name="connsiteY302" fmla="*/ 170846 h 247515"/>
                    <a:gd name="connsiteX303" fmla="*/ 606112 w 609734"/>
                    <a:gd name="connsiteY303" fmla="*/ 179298 h 247515"/>
                    <a:gd name="connsiteX304" fmla="*/ 610942 w 609734"/>
                    <a:gd name="connsiteY304" fmla="*/ 179902 h 247515"/>
                    <a:gd name="connsiteX305" fmla="*/ 610942 w 609734"/>
                    <a:gd name="connsiteY305" fmla="*/ 185335 h 247515"/>
                    <a:gd name="connsiteX306" fmla="*/ 612149 w 609734"/>
                    <a:gd name="connsiteY306" fmla="*/ 190165 h 247515"/>
                    <a:gd name="connsiteX307" fmla="*/ 607923 w 609734"/>
                    <a:gd name="connsiteY307" fmla="*/ 194390 h 247515"/>
                    <a:gd name="connsiteX308" fmla="*/ 606716 w 609734"/>
                    <a:gd name="connsiteY308" fmla="*/ 199220 h 247515"/>
                    <a:gd name="connsiteX309" fmla="*/ 608527 w 609734"/>
                    <a:gd name="connsiteY309" fmla="*/ 202842 h 247515"/>
                    <a:gd name="connsiteX310" fmla="*/ 614564 w 609734"/>
                    <a:gd name="connsiteY310" fmla="*/ 205257 h 247515"/>
                    <a:gd name="connsiteX311" fmla="*/ 609734 w 609734"/>
                    <a:gd name="connsiteY311" fmla="*/ 209483 h 247515"/>
                    <a:gd name="connsiteX312" fmla="*/ 603094 w 609734"/>
                    <a:gd name="connsiteY312" fmla="*/ 208276 h 247515"/>
                    <a:gd name="connsiteX313" fmla="*/ 588605 w 609734"/>
                    <a:gd name="connsiteY313" fmla="*/ 214313 h 247515"/>
                    <a:gd name="connsiteX314" fmla="*/ 585586 w 609734"/>
                    <a:gd name="connsiteY314" fmla="*/ 216124 h 247515"/>
                    <a:gd name="connsiteX315" fmla="*/ 584379 w 609734"/>
                    <a:gd name="connsiteY315" fmla="*/ 220953 h 247515"/>
                    <a:gd name="connsiteX316" fmla="*/ 581964 w 609734"/>
                    <a:gd name="connsiteY316" fmla="*/ 221557 h 247515"/>
                    <a:gd name="connsiteX317" fmla="*/ 577135 w 609734"/>
                    <a:gd name="connsiteY317" fmla="*/ 228801 h 247515"/>
                    <a:gd name="connsiteX318" fmla="*/ 569286 w 609734"/>
                    <a:gd name="connsiteY318" fmla="*/ 225783 h 247515"/>
                    <a:gd name="connsiteX319" fmla="*/ 563249 w 609734"/>
                    <a:gd name="connsiteY319" fmla="*/ 225783 h 247515"/>
                    <a:gd name="connsiteX320" fmla="*/ 557212 w 609734"/>
                    <a:gd name="connsiteY320" fmla="*/ 223972 h 247515"/>
                    <a:gd name="connsiteX321" fmla="*/ 557212 w 609734"/>
                    <a:gd name="connsiteY321" fmla="*/ 226990 h 247515"/>
                    <a:gd name="connsiteX322" fmla="*/ 560835 w 609734"/>
                    <a:gd name="connsiteY322" fmla="*/ 231820 h 247515"/>
                    <a:gd name="connsiteX323" fmla="*/ 548761 w 609734"/>
                    <a:gd name="connsiteY323" fmla="*/ 231216 h 247515"/>
                    <a:gd name="connsiteX324" fmla="*/ 548157 w 609734"/>
                    <a:gd name="connsiteY324" fmla="*/ 236046 h 247515"/>
                    <a:gd name="connsiteX325" fmla="*/ 545139 w 609734"/>
                    <a:gd name="connsiteY325" fmla="*/ 242686 h 247515"/>
                    <a:gd name="connsiteX326" fmla="*/ 542120 w 609734"/>
                    <a:gd name="connsiteY326" fmla="*/ 246308 h 247515"/>
                    <a:gd name="connsiteX327" fmla="*/ 536687 w 609734"/>
                    <a:gd name="connsiteY327" fmla="*/ 248723 h 24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Lst>
                  <a:rect l="l" t="t" r="r" b="b"/>
                  <a:pathLst>
                    <a:path w="609734" h="247515">
                      <a:moveTo>
                        <a:pt x="536687" y="248723"/>
                      </a:moveTo>
                      <a:lnTo>
                        <a:pt x="531857" y="246308"/>
                      </a:lnTo>
                      <a:lnTo>
                        <a:pt x="520387" y="243894"/>
                      </a:lnTo>
                      <a:lnTo>
                        <a:pt x="522198" y="239064"/>
                      </a:lnTo>
                      <a:lnTo>
                        <a:pt x="519180" y="237253"/>
                      </a:lnTo>
                      <a:lnTo>
                        <a:pt x="513143" y="239064"/>
                      </a:lnTo>
                      <a:lnTo>
                        <a:pt x="502880" y="236046"/>
                      </a:lnTo>
                      <a:lnTo>
                        <a:pt x="496239" y="233027"/>
                      </a:lnTo>
                      <a:lnTo>
                        <a:pt x="490806" y="226386"/>
                      </a:lnTo>
                      <a:lnTo>
                        <a:pt x="488391" y="228197"/>
                      </a:lnTo>
                      <a:lnTo>
                        <a:pt x="478128" y="222764"/>
                      </a:lnTo>
                      <a:lnTo>
                        <a:pt x="476317" y="217935"/>
                      </a:lnTo>
                      <a:lnTo>
                        <a:pt x="470280" y="214916"/>
                      </a:lnTo>
                      <a:lnTo>
                        <a:pt x="462432" y="212501"/>
                      </a:lnTo>
                      <a:lnTo>
                        <a:pt x="455188" y="214313"/>
                      </a:lnTo>
                      <a:lnTo>
                        <a:pt x="452773" y="212501"/>
                      </a:lnTo>
                      <a:lnTo>
                        <a:pt x="446736" y="215520"/>
                      </a:lnTo>
                      <a:lnTo>
                        <a:pt x="443717" y="214313"/>
                      </a:lnTo>
                      <a:lnTo>
                        <a:pt x="432851" y="213105"/>
                      </a:lnTo>
                      <a:lnTo>
                        <a:pt x="419570" y="215520"/>
                      </a:lnTo>
                      <a:lnTo>
                        <a:pt x="415344" y="214313"/>
                      </a:lnTo>
                      <a:lnTo>
                        <a:pt x="409911" y="216124"/>
                      </a:lnTo>
                      <a:lnTo>
                        <a:pt x="403270" y="217331"/>
                      </a:lnTo>
                      <a:lnTo>
                        <a:pt x="399044" y="214916"/>
                      </a:lnTo>
                      <a:lnTo>
                        <a:pt x="394818" y="221557"/>
                      </a:lnTo>
                      <a:lnTo>
                        <a:pt x="388781" y="219746"/>
                      </a:lnTo>
                      <a:lnTo>
                        <a:pt x="386366" y="223972"/>
                      </a:lnTo>
                      <a:lnTo>
                        <a:pt x="382744" y="224575"/>
                      </a:lnTo>
                      <a:lnTo>
                        <a:pt x="375500" y="227594"/>
                      </a:lnTo>
                      <a:lnTo>
                        <a:pt x="372481" y="226386"/>
                      </a:lnTo>
                      <a:lnTo>
                        <a:pt x="371878" y="222764"/>
                      </a:lnTo>
                      <a:lnTo>
                        <a:pt x="368255" y="223368"/>
                      </a:lnTo>
                      <a:lnTo>
                        <a:pt x="367048" y="219142"/>
                      </a:lnTo>
                      <a:lnTo>
                        <a:pt x="370066" y="215520"/>
                      </a:lnTo>
                      <a:lnTo>
                        <a:pt x="362822" y="216124"/>
                      </a:lnTo>
                      <a:lnTo>
                        <a:pt x="357992" y="221557"/>
                      </a:lnTo>
                      <a:lnTo>
                        <a:pt x="348937" y="222764"/>
                      </a:lnTo>
                      <a:lnTo>
                        <a:pt x="347126" y="224575"/>
                      </a:lnTo>
                      <a:lnTo>
                        <a:pt x="340485" y="225179"/>
                      </a:lnTo>
                      <a:lnTo>
                        <a:pt x="339881" y="221557"/>
                      </a:lnTo>
                      <a:lnTo>
                        <a:pt x="335656" y="222160"/>
                      </a:lnTo>
                      <a:lnTo>
                        <a:pt x="330826" y="217935"/>
                      </a:lnTo>
                      <a:lnTo>
                        <a:pt x="320563" y="217935"/>
                      </a:lnTo>
                      <a:lnTo>
                        <a:pt x="318752" y="215520"/>
                      </a:lnTo>
                      <a:lnTo>
                        <a:pt x="313319" y="216727"/>
                      </a:lnTo>
                      <a:lnTo>
                        <a:pt x="306075" y="214313"/>
                      </a:lnTo>
                      <a:lnTo>
                        <a:pt x="299434" y="209483"/>
                      </a:lnTo>
                      <a:lnTo>
                        <a:pt x="295812" y="211294"/>
                      </a:lnTo>
                      <a:lnTo>
                        <a:pt x="283738" y="210087"/>
                      </a:lnTo>
                      <a:lnTo>
                        <a:pt x="271664" y="211898"/>
                      </a:lnTo>
                      <a:lnTo>
                        <a:pt x="260194" y="210690"/>
                      </a:lnTo>
                      <a:lnTo>
                        <a:pt x="257779" y="211898"/>
                      </a:lnTo>
                      <a:lnTo>
                        <a:pt x="243894" y="214916"/>
                      </a:lnTo>
                      <a:lnTo>
                        <a:pt x="228197" y="219142"/>
                      </a:lnTo>
                      <a:lnTo>
                        <a:pt x="219142" y="218538"/>
                      </a:lnTo>
                      <a:lnTo>
                        <a:pt x="212501" y="220349"/>
                      </a:lnTo>
                      <a:lnTo>
                        <a:pt x="204654" y="218538"/>
                      </a:lnTo>
                      <a:lnTo>
                        <a:pt x="198617" y="213709"/>
                      </a:lnTo>
                      <a:lnTo>
                        <a:pt x="194391" y="217331"/>
                      </a:lnTo>
                      <a:lnTo>
                        <a:pt x="189561" y="218538"/>
                      </a:lnTo>
                      <a:lnTo>
                        <a:pt x="185335" y="217935"/>
                      </a:lnTo>
                      <a:lnTo>
                        <a:pt x="181713" y="220349"/>
                      </a:lnTo>
                      <a:lnTo>
                        <a:pt x="176883" y="216727"/>
                      </a:lnTo>
                      <a:lnTo>
                        <a:pt x="174469" y="213105"/>
                      </a:lnTo>
                      <a:lnTo>
                        <a:pt x="167828" y="216727"/>
                      </a:lnTo>
                      <a:lnTo>
                        <a:pt x="159980" y="215520"/>
                      </a:lnTo>
                      <a:lnTo>
                        <a:pt x="141265" y="216727"/>
                      </a:lnTo>
                      <a:lnTo>
                        <a:pt x="138850" y="219142"/>
                      </a:lnTo>
                      <a:lnTo>
                        <a:pt x="131606" y="220953"/>
                      </a:lnTo>
                      <a:lnTo>
                        <a:pt x="130399" y="222764"/>
                      </a:lnTo>
                      <a:lnTo>
                        <a:pt x="122550" y="219746"/>
                      </a:lnTo>
                      <a:lnTo>
                        <a:pt x="115910" y="218538"/>
                      </a:lnTo>
                      <a:lnTo>
                        <a:pt x="106251" y="211294"/>
                      </a:lnTo>
                      <a:lnTo>
                        <a:pt x="102629" y="212501"/>
                      </a:lnTo>
                      <a:lnTo>
                        <a:pt x="94177" y="210087"/>
                      </a:lnTo>
                      <a:lnTo>
                        <a:pt x="77877" y="207068"/>
                      </a:lnTo>
                      <a:lnTo>
                        <a:pt x="73048" y="204653"/>
                      </a:lnTo>
                      <a:lnTo>
                        <a:pt x="61577" y="204653"/>
                      </a:lnTo>
                      <a:lnTo>
                        <a:pt x="53125" y="199824"/>
                      </a:lnTo>
                      <a:lnTo>
                        <a:pt x="48296" y="195598"/>
                      </a:lnTo>
                      <a:lnTo>
                        <a:pt x="44070" y="194994"/>
                      </a:lnTo>
                      <a:lnTo>
                        <a:pt x="38033" y="191372"/>
                      </a:lnTo>
                      <a:lnTo>
                        <a:pt x="33807" y="191372"/>
                      </a:lnTo>
                      <a:lnTo>
                        <a:pt x="31996" y="187146"/>
                      </a:lnTo>
                      <a:lnTo>
                        <a:pt x="25959" y="187750"/>
                      </a:lnTo>
                      <a:lnTo>
                        <a:pt x="17507" y="185939"/>
                      </a:lnTo>
                      <a:lnTo>
                        <a:pt x="13885" y="189561"/>
                      </a:lnTo>
                      <a:lnTo>
                        <a:pt x="7848" y="190165"/>
                      </a:lnTo>
                      <a:lnTo>
                        <a:pt x="2415" y="188353"/>
                      </a:lnTo>
                      <a:lnTo>
                        <a:pt x="5433" y="185335"/>
                      </a:lnTo>
                      <a:lnTo>
                        <a:pt x="2415" y="182316"/>
                      </a:lnTo>
                      <a:lnTo>
                        <a:pt x="604" y="176279"/>
                      </a:lnTo>
                      <a:lnTo>
                        <a:pt x="0" y="167828"/>
                      </a:lnTo>
                      <a:lnTo>
                        <a:pt x="3622" y="155754"/>
                      </a:lnTo>
                      <a:lnTo>
                        <a:pt x="6641" y="150924"/>
                      </a:lnTo>
                      <a:lnTo>
                        <a:pt x="6641" y="147302"/>
                      </a:lnTo>
                      <a:lnTo>
                        <a:pt x="9659" y="147302"/>
                      </a:lnTo>
                      <a:lnTo>
                        <a:pt x="12074" y="144284"/>
                      </a:lnTo>
                      <a:lnTo>
                        <a:pt x="10866" y="138850"/>
                      </a:lnTo>
                      <a:lnTo>
                        <a:pt x="10866" y="135228"/>
                      </a:lnTo>
                      <a:lnTo>
                        <a:pt x="10263" y="133417"/>
                      </a:lnTo>
                      <a:lnTo>
                        <a:pt x="10866" y="132210"/>
                      </a:lnTo>
                      <a:lnTo>
                        <a:pt x="10263" y="131606"/>
                      </a:lnTo>
                      <a:lnTo>
                        <a:pt x="11470" y="130399"/>
                      </a:lnTo>
                      <a:lnTo>
                        <a:pt x="13281" y="128587"/>
                      </a:lnTo>
                      <a:lnTo>
                        <a:pt x="19922" y="127380"/>
                      </a:lnTo>
                      <a:lnTo>
                        <a:pt x="31392" y="124965"/>
                      </a:lnTo>
                      <a:lnTo>
                        <a:pt x="32600" y="121343"/>
                      </a:lnTo>
                      <a:lnTo>
                        <a:pt x="35618" y="121947"/>
                      </a:lnTo>
                      <a:lnTo>
                        <a:pt x="38033" y="121343"/>
                      </a:lnTo>
                      <a:lnTo>
                        <a:pt x="40448" y="117117"/>
                      </a:lnTo>
                      <a:lnTo>
                        <a:pt x="37429" y="113495"/>
                      </a:lnTo>
                      <a:lnTo>
                        <a:pt x="36826" y="114099"/>
                      </a:lnTo>
                      <a:lnTo>
                        <a:pt x="32600" y="110477"/>
                      </a:lnTo>
                      <a:lnTo>
                        <a:pt x="25959" y="105647"/>
                      </a:lnTo>
                      <a:lnTo>
                        <a:pt x="24752" y="100817"/>
                      </a:lnTo>
                      <a:lnTo>
                        <a:pt x="22940" y="98403"/>
                      </a:lnTo>
                      <a:lnTo>
                        <a:pt x="19922" y="95384"/>
                      </a:lnTo>
                      <a:lnTo>
                        <a:pt x="18715" y="94177"/>
                      </a:lnTo>
                      <a:lnTo>
                        <a:pt x="15092" y="89951"/>
                      </a:lnTo>
                      <a:lnTo>
                        <a:pt x="15696" y="85725"/>
                      </a:lnTo>
                      <a:lnTo>
                        <a:pt x="19318" y="86932"/>
                      </a:lnTo>
                      <a:lnTo>
                        <a:pt x="27770" y="79084"/>
                      </a:lnTo>
                      <a:lnTo>
                        <a:pt x="27166" y="76669"/>
                      </a:lnTo>
                      <a:lnTo>
                        <a:pt x="26563" y="70632"/>
                      </a:lnTo>
                      <a:lnTo>
                        <a:pt x="25355" y="69425"/>
                      </a:lnTo>
                      <a:lnTo>
                        <a:pt x="25355" y="68821"/>
                      </a:lnTo>
                      <a:lnTo>
                        <a:pt x="26563" y="67614"/>
                      </a:lnTo>
                      <a:lnTo>
                        <a:pt x="30185" y="67010"/>
                      </a:lnTo>
                      <a:lnTo>
                        <a:pt x="36826" y="63388"/>
                      </a:lnTo>
                      <a:lnTo>
                        <a:pt x="36222" y="62784"/>
                      </a:lnTo>
                      <a:lnTo>
                        <a:pt x="39240" y="61577"/>
                      </a:lnTo>
                      <a:lnTo>
                        <a:pt x="41051" y="57955"/>
                      </a:lnTo>
                      <a:lnTo>
                        <a:pt x="40448" y="56748"/>
                      </a:lnTo>
                      <a:lnTo>
                        <a:pt x="39844" y="56748"/>
                      </a:lnTo>
                      <a:lnTo>
                        <a:pt x="39844" y="53125"/>
                      </a:lnTo>
                      <a:lnTo>
                        <a:pt x="42259" y="51314"/>
                      </a:lnTo>
                      <a:lnTo>
                        <a:pt x="47692" y="50711"/>
                      </a:lnTo>
                      <a:lnTo>
                        <a:pt x="48900" y="47692"/>
                      </a:lnTo>
                      <a:lnTo>
                        <a:pt x="49503" y="46485"/>
                      </a:lnTo>
                      <a:lnTo>
                        <a:pt x="51918" y="45881"/>
                      </a:lnTo>
                      <a:lnTo>
                        <a:pt x="53125" y="46485"/>
                      </a:lnTo>
                      <a:lnTo>
                        <a:pt x="53125" y="44674"/>
                      </a:lnTo>
                      <a:lnTo>
                        <a:pt x="55540" y="43466"/>
                      </a:lnTo>
                      <a:lnTo>
                        <a:pt x="56748" y="41051"/>
                      </a:lnTo>
                      <a:lnTo>
                        <a:pt x="57351" y="40448"/>
                      </a:lnTo>
                      <a:lnTo>
                        <a:pt x="60370" y="36826"/>
                      </a:lnTo>
                      <a:lnTo>
                        <a:pt x="76670" y="37429"/>
                      </a:lnTo>
                      <a:lnTo>
                        <a:pt x="80896" y="38033"/>
                      </a:lnTo>
                      <a:lnTo>
                        <a:pt x="95988" y="35618"/>
                      </a:lnTo>
                      <a:lnTo>
                        <a:pt x="103836" y="33203"/>
                      </a:lnTo>
                      <a:lnTo>
                        <a:pt x="105043" y="30185"/>
                      </a:lnTo>
                      <a:lnTo>
                        <a:pt x="112288" y="24752"/>
                      </a:lnTo>
                      <a:lnTo>
                        <a:pt x="118325" y="24148"/>
                      </a:lnTo>
                      <a:lnTo>
                        <a:pt x="124965" y="29581"/>
                      </a:lnTo>
                      <a:lnTo>
                        <a:pt x="131002" y="27166"/>
                      </a:lnTo>
                      <a:lnTo>
                        <a:pt x="135228" y="23544"/>
                      </a:lnTo>
                      <a:lnTo>
                        <a:pt x="141265" y="28374"/>
                      </a:lnTo>
                      <a:lnTo>
                        <a:pt x="146698" y="36826"/>
                      </a:lnTo>
                      <a:lnTo>
                        <a:pt x="146698" y="42863"/>
                      </a:lnTo>
                      <a:lnTo>
                        <a:pt x="143680" y="48296"/>
                      </a:lnTo>
                      <a:lnTo>
                        <a:pt x="144887" y="50107"/>
                      </a:lnTo>
                      <a:lnTo>
                        <a:pt x="150924" y="43466"/>
                      </a:lnTo>
                      <a:lnTo>
                        <a:pt x="154547" y="41051"/>
                      </a:lnTo>
                      <a:lnTo>
                        <a:pt x="156358" y="36826"/>
                      </a:lnTo>
                      <a:lnTo>
                        <a:pt x="160584" y="38637"/>
                      </a:lnTo>
                      <a:lnTo>
                        <a:pt x="166621" y="41655"/>
                      </a:lnTo>
                      <a:lnTo>
                        <a:pt x="166017" y="46485"/>
                      </a:lnTo>
                      <a:lnTo>
                        <a:pt x="176280" y="41655"/>
                      </a:lnTo>
                      <a:lnTo>
                        <a:pt x="178091" y="38637"/>
                      </a:lnTo>
                      <a:lnTo>
                        <a:pt x="183524" y="38033"/>
                      </a:lnTo>
                      <a:lnTo>
                        <a:pt x="189561" y="41051"/>
                      </a:lnTo>
                      <a:lnTo>
                        <a:pt x="189561" y="46485"/>
                      </a:lnTo>
                      <a:lnTo>
                        <a:pt x="197409" y="48296"/>
                      </a:lnTo>
                      <a:lnTo>
                        <a:pt x="201031" y="41051"/>
                      </a:lnTo>
                      <a:lnTo>
                        <a:pt x="205861" y="39240"/>
                      </a:lnTo>
                      <a:lnTo>
                        <a:pt x="216124" y="40448"/>
                      </a:lnTo>
                      <a:lnTo>
                        <a:pt x="218538" y="38637"/>
                      </a:lnTo>
                      <a:lnTo>
                        <a:pt x="226386" y="47088"/>
                      </a:lnTo>
                      <a:lnTo>
                        <a:pt x="225783" y="40448"/>
                      </a:lnTo>
                      <a:lnTo>
                        <a:pt x="234234" y="42259"/>
                      </a:lnTo>
                      <a:lnTo>
                        <a:pt x="236046" y="53125"/>
                      </a:lnTo>
                      <a:lnTo>
                        <a:pt x="239668" y="52522"/>
                      </a:lnTo>
                      <a:lnTo>
                        <a:pt x="245705" y="53729"/>
                      </a:lnTo>
                      <a:lnTo>
                        <a:pt x="248120" y="57955"/>
                      </a:lnTo>
                      <a:lnTo>
                        <a:pt x="245705" y="60370"/>
                      </a:lnTo>
                      <a:lnTo>
                        <a:pt x="243290" y="67010"/>
                      </a:lnTo>
                      <a:lnTo>
                        <a:pt x="246912" y="68218"/>
                      </a:lnTo>
                      <a:lnTo>
                        <a:pt x="252949" y="62181"/>
                      </a:lnTo>
                      <a:lnTo>
                        <a:pt x="256571" y="62784"/>
                      </a:lnTo>
                      <a:lnTo>
                        <a:pt x="256571" y="67010"/>
                      </a:lnTo>
                      <a:lnTo>
                        <a:pt x="268042" y="65803"/>
                      </a:lnTo>
                      <a:lnTo>
                        <a:pt x="274682" y="61577"/>
                      </a:lnTo>
                      <a:lnTo>
                        <a:pt x="280116" y="63388"/>
                      </a:lnTo>
                      <a:lnTo>
                        <a:pt x="282530" y="60370"/>
                      </a:lnTo>
                      <a:lnTo>
                        <a:pt x="284945" y="63992"/>
                      </a:lnTo>
                      <a:lnTo>
                        <a:pt x="280116" y="78481"/>
                      </a:lnTo>
                      <a:lnTo>
                        <a:pt x="281927" y="81499"/>
                      </a:lnTo>
                      <a:lnTo>
                        <a:pt x="281927" y="86932"/>
                      </a:lnTo>
                      <a:lnTo>
                        <a:pt x="289171" y="90555"/>
                      </a:lnTo>
                      <a:lnTo>
                        <a:pt x="295812" y="85121"/>
                      </a:lnTo>
                      <a:lnTo>
                        <a:pt x="300038" y="85121"/>
                      </a:lnTo>
                      <a:lnTo>
                        <a:pt x="306075" y="74255"/>
                      </a:lnTo>
                      <a:lnTo>
                        <a:pt x="311508" y="65803"/>
                      </a:lnTo>
                      <a:lnTo>
                        <a:pt x="314526" y="63992"/>
                      </a:lnTo>
                      <a:lnTo>
                        <a:pt x="327808" y="60973"/>
                      </a:lnTo>
                      <a:lnTo>
                        <a:pt x="333844" y="63388"/>
                      </a:lnTo>
                      <a:lnTo>
                        <a:pt x="339278" y="59766"/>
                      </a:lnTo>
                      <a:lnTo>
                        <a:pt x="342296" y="52522"/>
                      </a:lnTo>
                      <a:lnTo>
                        <a:pt x="346522" y="50711"/>
                      </a:lnTo>
                      <a:lnTo>
                        <a:pt x="346522" y="45277"/>
                      </a:lnTo>
                      <a:lnTo>
                        <a:pt x="350144" y="41051"/>
                      </a:lnTo>
                      <a:lnTo>
                        <a:pt x="349541" y="36826"/>
                      </a:lnTo>
                      <a:lnTo>
                        <a:pt x="353767" y="36222"/>
                      </a:lnTo>
                      <a:lnTo>
                        <a:pt x="356785" y="33203"/>
                      </a:lnTo>
                      <a:lnTo>
                        <a:pt x="359200" y="27166"/>
                      </a:lnTo>
                      <a:lnTo>
                        <a:pt x="360407" y="21129"/>
                      </a:lnTo>
                      <a:lnTo>
                        <a:pt x="365841" y="22337"/>
                      </a:lnTo>
                      <a:lnTo>
                        <a:pt x="370670" y="21129"/>
                      </a:lnTo>
                      <a:lnTo>
                        <a:pt x="373085" y="22337"/>
                      </a:lnTo>
                      <a:lnTo>
                        <a:pt x="371878" y="30789"/>
                      </a:lnTo>
                      <a:lnTo>
                        <a:pt x="374292" y="35618"/>
                      </a:lnTo>
                      <a:lnTo>
                        <a:pt x="373085" y="39844"/>
                      </a:lnTo>
                      <a:lnTo>
                        <a:pt x="368859" y="41051"/>
                      </a:lnTo>
                      <a:lnTo>
                        <a:pt x="376707" y="47088"/>
                      </a:lnTo>
                      <a:lnTo>
                        <a:pt x="380933" y="48900"/>
                      </a:lnTo>
                      <a:lnTo>
                        <a:pt x="391196" y="38033"/>
                      </a:lnTo>
                      <a:lnTo>
                        <a:pt x="391800" y="20526"/>
                      </a:lnTo>
                      <a:lnTo>
                        <a:pt x="393611" y="13885"/>
                      </a:lnTo>
                      <a:lnTo>
                        <a:pt x="399648" y="10866"/>
                      </a:lnTo>
                      <a:lnTo>
                        <a:pt x="403270" y="6641"/>
                      </a:lnTo>
                      <a:lnTo>
                        <a:pt x="405685" y="7244"/>
                      </a:lnTo>
                      <a:lnTo>
                        <a:pt x="411722" y="0"/>
                      </a:lnTo>
                      <a:lnTo>
                        <a:pt x="423192" y="4830"/>
                      </a:lnTo>
                      <a:lnTo>
                        <a:pt x="421985" y="14489"/>
                      </a:lnTo>
                      <a:lnTo>
                        <a:pt x="425003" y="20526"/>
                      </a:lnTo>
                      <a:lnTo>
                        <a:pt x="429832" y="21129"/>
                      </a:lnTo>
                      <a:lnTo>
                        <a:pt x="434058" y="27166"/>
                      </a:lnTo>
                      <a:lnTo>
                        <a:pt x="435266" y="24148"/>
                      </a:lnTo>
                      <a:lnTo>
                        <a:pt x="444321" y="21129"/>
                      </a:lnTo>
                      <a:lnTo>
                        <a:pt x="447340" y="18111"/>
                      </a:lnTo>
                      <a:lnTo>
                        <a:pt x="456395" y="18111"/>
                      </a:lnTo>
                      <a:lnTo>
                        <a:pt x="460017" y="19922"/>
                      </a:lnTo>
                      <a:lnTo>
                        <a:pt x="468469" y="16300"/>
                      </a:lnTo>
                      <a:lnTo>
                        <a:pt x="476317" y="16903"/>
                      </a:lnTo>
                      <a:lnTo>
                        <a:pt x="479939" y="12678"/>
                      </a:lnTo>
                      <a:lnTo>
                        <a:pt x="485976" y="9055"/>
                      </a:lnTo>
                      <a:lnTo>
                        <a:pt x="488391" y="12074"/>
                      </a:lnTo>
                      <a:lnTo>
                        <a:pt x="492617" y="10866"/>
                      </a:lnTo>
                      <a:lnTo>
                        <a:pt x="498654" y="13281"/>
                      </a:lnTo>
                      <a:lnTo>
                        <a:pt x="505295" y="12074"/>
                      </a:lnTo>
                      <a:lnTo>
                        <a:pt x="511332" y="9659"/>
                      </a:lnTo>
                      <a:lnTo>
                        <a:pt x="501673" y="20526"/>
                      </a:lnTo>
                      <a:lnTo>
                        <a:pt x="490806" y="30789"/>
                      </a:lnTo>
                      <a:lnTo>
                        <a:pt x="488391" y="30789"/>
                      </a:lnTo>
                      <a:lnTo>
                        <a:pt x="482958" y="35618"/>
                      </a:lnTo>
                      <a:lnTo>
                        <a:pt x="481147" y="39844"/>
                      </a:lnTo>
                      <a:lnTo>
                        <a:pt x="482354" y="46485"/>
                      </a:lnTo>
                      <a:lnTo>
                        <a:pt x="486580" y="48296"/>
                      </a:lnTo>
                      <a:lnTo>
                        <a:pt x="495032" y="47692"/>
                      </a:lnTo>
                      <a:lnTo>
                        <a:pt x="495636" y="50107"/>
                      </a:lnTo>
                      <a:lnTo>
                        <a:pt x="486580" y="56748"/>
                      </a:lnTo>
                      <a:lnTo>
                        <a:pt x="486580" y="61577"/>
                      </a:lnTo>
                      <a:lnTo>
                        <a:pt x="480543" y="70029"/>
                      </a:lnTo>
                      <a:lnTo>
                        <a:pt x="479939" y="76669"/>
                      </a:lnTo>
                      <a:lnTo>
                        <a:pt x="482958" y="85725"/>
                      </a:lnTo>
                      <a:lnTo>
                        <a:pt x="481147" y="94177"/>
                      </a:lnTo>
                      <a:lnTo>
                        <a:pt x="484165" y="103836"/>
                      </a:lnTo>
                      <a:lnTo>
                        <a:pt x="492617" y="97195"/>
                      </a:lnTo>
                      <a:lnTo>
                        <a:pt x="495636" y="92969"/>
                      </a:lnTo>
                      <a:lnTo>
                        <a:pt x="498050" y="94177"/>
                      </a:lnTo>
                      <a:lnTo>
                        <a:pt x="504691" y="93573"/>
                      </a:lnTo>
                      <a:lnTo>
                        <a:pt x="511935" y="90555"/>
                      </a:lnTo>
                      <a:lnTo>
                        <a:pt x="519180" y="89951"/>
                      </a:lnTo>
                      <a:lnTo>
                        <a:pt x="525821" y="85725"/>
                      </a:lnTo>
                      <a:lnTo>
                        <a:pt x="534876" y="86932"/>
                      </a:lnTo>
                      <a:lnTo>
                        <a:pt x="540309" y="91158"/>
                      </a:lnTo>
                      <a:lnTo>
                        <a:pt x="537291" y="93573"/>
                      </a:lnTo>
                      <a:lnTo>
                        <a:pt x="538498" y="99006"/>
                      </a:lnTo>
                      <a:lnTo>
                        <a:pt x="545139" y="100214"/>
                      </a:lnTo>
                      <a:lnTo>
                        <a:pt x="548157" y="104440"/>
                      </a:lnTo>
                      <a:lnTo>
                        <a:pt x="551779" y="112891"/>
                      </a:lnTo>
                      <a:lnTo>
                        <a:pt x="563853" y="115910"/>
                      </a:lnTo>
                      <a:lnTo>
                        <a:pt x="564457" y="124965"/>
                      </a:lnTo>
                      <a:lnTo>
                        <a:pt x="570494" y="129795"/>
                      </a:lnTo>
                      <a:lnTo>
                        <a:pt x="574720" y="126776"/>
                      </a:lnTo>
                      <a:lnTo>
                        <a:pt x="578946" y="125569"/>
                      </a:lnTo>
                      <a:lnTo>
                        <a:pt x="581360" y="121947"/>
                      </a:lnTo>
                      <a:lnTo>
                        <a:pt x="584983" y="122550"/>
                      </a:lnTo>
                      <a:lnTo>
                        <a:pt x="581964" y="133417"/>
                      </a:lnTo>
                      <a:lnTo>
                        <a:pt x="577135" y="138247"/>
                      </a:lnTo>
                      <a:lnTo>
                        <a:pt x="568683" y="143076"/>
                      </a:lnTo>
                      <a:lnTo>
                        <a:pt x="566268" y="146095"/>
                      </a:lnTo>
                      <a:lnTo>
                        <a:pt x="566872" y="149717"/>
                      </a:lnTo>
                      <a:lnTo>
                        <a:pt x="572305" y="148510"/>
                      </a:lnTo>
                      <a:lnTo>
                        <a:pt x="574116" y="153339"/>
                      </a:lnTo>
                      <a:lnTo>
                        <a:pt x="574116" y="160583"/>
                      </a:lnTo>
                      <a:lnTo>
                        <a:pt x="583172" y="157565"/>
                      </a:lnTo>
                      <a:lnTo>
                        <a:pt x="584983" y="162395"/>
                      </a:lnTo>
                      <a:lnTo>
                        <a:pt x="588001" y="160583"/>
                      </a:lnTo>
                      <a:lnTo>
                        <a:pt x="593434" y="167224"/>
                      </a:lnTo>
                      <a:lnTo>
                        <a:pt x="597057" y="170243"/>
                      </a:lnTo>
                      <a:lnTo>
                        <a:pt x="600679" y="170846"/>
                      </a:lnTo>
                      <a:lnTo>
                        <a:pt x="606112" y="179298"/>
                      </a:lnTo>
                      <a:lnTo>
                        <a:pt x="610942" y="179902"/>
                      </a:lnTo>
                      <a:lnTo>
                        <a:pt x="610942" y="185335"/>
                      </a:lnTo>
                      <a:lnTo>
                        <a:pt x="612149" y="190165"/>
                      </a:lnTo>
                      <a:lnTo>
                        <a:pt x="607923" y="194390"/>
                      </a:lnTo>
                      <a:lnTo>
                        <a:pt x="606716" y="199220"/>
                      </a:lnTo>
                      <a:lnTo>
                        <a:pt x="608527" y="202842"/>
                      </a:lnTo>
                      <a:lnTo>
                        <a:pt x="614564" y="205257"/>
                      </a:lnTo>
                      <a:lnTo>
                        <a:pt x="609734" y="209483"/>
                      </a:lnTo>
                      <a:lnTo>
                        <a:pt x="603094" y="208276"/>
                      </a:lnTo>
                      <a:lnTo>
                        <a:pt x="588605" y="214313"/>
                      </a:lnTo>
                      <a:lnTo>
                        <a:pt x="585586" y="216124"/>
                      </a:lnTo>
                      <a:lnTo>
                        <a:pt x="584379" y="220953"/>
                      </a:lnTo>
                      <a:lnTo>
                        <a:pt x="581964" y="221557"/>
                      </a:lnTo>
                      <a:lnTo>
                        <a:pt x="577135" y="228801"/>
                      </a:lnTo>
                      <a:lnTo>
                        <a:pt x="569286" y="225783"/>
                      </a:lnTo>
                      <a:lnTo>
                        <a:pt x="563249" y="225783"/>
                      </a:lnTo>
                      <a:lnTo>
                        <a:pt x="557212" y="223972"/>
                      </a:lnTo>
                      <a:lnTo>
                        <a:pt x="557212" y="226990"/>
                      </a:lnTo>
                      <a:lnTo>
                        <a:pt x="560835" y="231820"/>
                      </a:lnTo>
                      <a:lnTo>
                        <a:pt x="548761" y="231216"/>
                      </a:lnTo>
                      <a:lnTo>
                        <a:pt x="548157" y="236046"/>
                      </a:lnTo>
                      <a:lnTo>
                        <a:pt x="545139" y="242686"/>
                      </a:lnTo>
                      <a:lnTo>
                        <a:pt x="542120" y="246308"/>
                      </a:lnTo>
                      <a:lnTo>
                        <a:pt x="536687" y="248723"/>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3" name="Mizoram" descr="{&quot;Key&quot;:&quot;mizoram&quot;,&quot;Name&quot;:&quot;Mizoram&quot;,&quot;Value&quot;:1.0,&quot;Formula&quot;:&quot;&quot;,&quot;Text&quot;:&quot;&quot;,&quot;OfficeApplication&quot;:1,&quot;HasValue&quot;:true}">
                  <a:extLst>
                    <a:ext uri="{FF2B5EF4-FFF2-40B4-BE49-F238E27FC236}">
                      <a16:creationId xmlns:a16="http://schemas.microsoft.com/office/drawing/2014/main" id="{62A3DC20-6D4D-4B8A-B12A-3F4CBD645862}"/>
                    </a:ext>
                  </a:extLst>
                </p:cNvPr>
                <p:cNvSpPr/>
                <p:nvPr/>
              </p:nvSpPr>
              <p:spPr>
                <a:xfrm>
                  <a:off x="8046546" y="3030560"/>
                  <a:ext cx="241479" cy="573512"/>
                </a:xfrm>
                <a:custGeom>
                  <a:avLst/>
                  <a:gdLst>
                    <a:gd name="connsiteX0" fmla="*/ 152736 w 241478"/>
                    <a:gd name="connsiteY0" fmla="*/ 26563 h 573512"/>
                    <a:gd name="connsiteX1" fmla="*/ 157565 w 241478"/>
                    <a:gd name="connsiteY1" fmla="*/ 29581 h 573512"/>
                    <a:gd name="connsiteX2" fmla="*/ 156961 w 241478"/>
                    <a:gd name="connsiteY2" fmla="*/ 39240 h 573512"/>
                    <a:gd name="connsiteX3" fmla="*/ 161187 w 241478"/>
                    <a:gd name="connsiteY3" fmla="*/ 39844 h 573512"/>
                    <a:gd name="connsiteX4" fmla="*/ 159376 w 241478"/>
                    <a:gd name="connsiteY4" fmla="*/ 45881 h 573512"/>
                    <a:gd name="connsiteX5" fmla="*/ 153943 w 241478"/>
                    <a:gd name="connsiteY5" fmla="*/ 54333 h 573512"/>
                    <a:gd name="connsiteX6" fmla="*/ 153943 w 241478"/>
                    <a:gd name="connsiteY6" fmla="*/ 60370 h 573512"/>
                    <a:gd name="connsiteX7" fmla="*/ 156961 w 241478"/>
                    <a:gd name="connsiteY7" fmla="*/ 68822 h 573512"/>
                    <a:gd name="connsiteX8" fmla="*/ 153339 w 241478"/>
                    <a:gd name="connsiteY8" fmla="*/ 81499 h 573512"/>
                    <a:gd name="connsiteX9" fmla="*/ 150924 w 241478"/>
                    <a:gd name="connsiteY9" fmla="*/ 83310 h 573512"/>
                    <a:gd name="connsiteX10" fmla="*/ 149717 w 241478"/>
                    <a:gd name="connsiteY10" fmla="*/ 88744 h 573512"/>
                    <a:gd name="connsiteX11" fmla="*/ 156961 w 241478"/>
                    <a:gd name="connsiteY11" fmla="*/ 94781 h 573512"/>
                    <a:gd name="connsiteX12" fmla="*/ 163602 w 241478"/>
                    <a:gd name="connsiteY12" fmla="*/ 97195 h 573512"/>
                    <a:gd name="connsiteX13" fmla="*/ 169035 w 241478"/>
                    <a:gd name="connsiteY13" fmla="*/ 94177 h 573512"/>
                    <a:gd name="connsiteX14" fmla="*/ 173261 w 241478"/>
                    <a:gd name="connsiteY14" fmla="*/ 100818 h 573512"/>
                    <a:gd name="connsiteX15" fmla="*/ 173261 w 241478"/>
                    <a:gd name="connsiteY15" fmla="*/ 105043 h 573512"/>
                    <a:gd name="connsiteX16" fmla="*/ 179298 w 241478"/>
                    <a:gd name="connsiteY16" fmla="*/ 103232 h 573512"/>
                    <a:gd name="connsiteX17" fmla="*/ 182921 w 241478"/>
                    <a:gd name="connsiteY17" fmla="*/ 97799 h 573512"/>
                    <a:gd name="connsiteX18" fmla="*/ 187146 w 241478"/>
                    <a:gd name="connsiteY18" fmla="*/ 100818 h 573512"/>
                    <a:gd name="connsiteX19" fmla="*/ 188354 w 241478"/>
                    <a:gd name="connsiteY19" fmla="*/ 105647 h 573512"/>
                    <a:gd name="connsiteX20" fmla="*/ 192580 w 241478"/>
                    <a:gd name="connsiteY20" fmla="*/ 105043 h 573512"/>
                    <a:gd name="connsiteX21" fmla="*/ 196806 w 241478"/>
                    <a:gd name="connsiteY21" fmla="*/ 106251 h 573512"/>
                    <a:gd name="connsiteX22" fmla="*/ 199220 w 241478"/>
                    <a:gd name="connsiteY22" fmla="*/ 98403 h 573512"/>
                    <a:gd name="connsiteX23" fmla="*/ 203446 w 241478"/>
                    <a:gd name="connsiteY23" fmla="*/ 98403 h 573512"/>
                    <a:gd name="connsiteX24" fmla="*/ 206465 w 241478"/>
                    <a:gd name="connsiteY24" fmla="*/ 101421 h 573512"/>
                    <a:gd name="connsiteX25" fmla="*/ 204654 w 241478"/>
                    <a:gd name="connsiteY25" fmla="*/ 109873 h 573512"/>
                    <a:gd name="connsiteX26" fmla="*/ 208879 w 241478"/>
                    <a:gd name="connsiteY26" fmla="*/ 109873 h 573512"/>
                    <a:gd name="connsiteX27" fmla="*/ 211898 w 241478"/>
                    <a:gd name="connsiteY27" fmla="*/ 106251 h 573512"/>
                    <a:gd name="connsiteX28" fmla="*/ 222161 w 241478"/>
                    <a:gd name="connsiteY28" fmla="*/ 105647 h 573512"/>
                    <a:gd name="connsiteX29" fmla="*/ 222764 w 241478"/>
                    <a:gd name="connsiteY29" fmla="*/ 110477 h 573512"/>
                    <a:gd name="connsiteX30" fmla="*/ 222161 w 241478"/>
                    <a:gd name="connsiteY30" fmla="*/ 121343 h 573512"/>
                    <a:gd name="connsiteX31" fmla="*/ 224575 w 241478"/>
                    <a:gd name="connsiteY31" fmla="*/ 122550 h 573512"/>
                    <a:gd name="connsiteX32" fmla="*/ 227594 w 241478"/>
                    <a:gd name="connsiteY32" fmla="*/ 129795 h 573512"/>
                    <a:gd name="connsiteX33" fmla="*/ 234838 w 241478"/>
                    <a:gd name="connsiteY33" fmla="*/ 133417 h 573512"/>
                    <a:gd name="connsiteX34" fmla="*/ 233631 w 241478"/>
                    <a:gd name="connsiteY34" fmla="*/ 143076 h 573512"/>
                    <a:gd name="connsiteX35" fmla="*/ 234838 w 241478"/>
                    <a:gd name="connsiteY35" fmla="*/ 157565 h 573512"/>
                    <a:gd name="connsiteX36" fmla="*/ 236649 w 241478"/>
                    <a:gd name="connsiteY36" fmla="*/ 159980 h 573512"/>
                    <a:gd name="connsiteX37" fmla="*/ 236046 w 241478"/>
                    <a:gd name="connsiteY37" fmla="*/ 168432 h 573512"/>
                    <a:gd name="connsiteX38" fmla="*/ 238460 w 241478"/>
                    <a:gd name="connsiteY38" fmla="*/ 178091 h 573512"/>
                    <a:gd name="connsiteX39" fmla="*/ 238460 w 241478"/>
                    <a:gd name="connsiteY39" fmla="*/ 182317 h 573512"/>
                    <a:gd name="connsiteX40" fmla="*/ 243894 w 241478"/>
                    <a:gd name="connsiteY40" fmla="*/ 189561 h 573512"/>
                    <a:gd name="connsiteX41" fmla="*/ 240875 w 241478"/>
                    <a:gd name="connsiteY41" fmla="*/ 195598 h 573512"/>
                    <a:gd name="connsiteX42" fmla="*/ 241479 w 241478"/>
                    <a:gd name="connsiteY42" fmla="*/ 211898 h 573512"/>
                    <a:gd name="connsiteX43" fmla="*/ 239668 w 241478"/>
                    <a:gd name="connsiteY43" fmla="*/ 214916 h 573512"/>
                    <a:gd name="connsiteX44" fmla="*/ 240272 w 241478"/>
                    <a:gd name="connsiteY44" fmla="*/ 222764 h 573512"/>
                    <a:gd name="connsiteX45" fmla="*/ 236649 w 241478"/>
                    <a:gd name="connsiteY45" fmla="*/ 228197 h 573512"/>
                    <a:gd name="connsiteX46" fmla="*/ 236046 w 241478"/>
                    <a:gd name="connsiteY46" fmla="*/ 236045 h 573512"/>
                    <a:gd name="connsiteX47" fmla="*/ 234235 w 241478"/>
                    <a:gd name="connsiteY47" fmla="*/ 245101 h 573512"/>
                    <a:gd name="connsiteX48" fmla="*/ 234235 w 241478"/>
                    <a:gd name="connsiteY48" fmla="*/ 250534 h 573512"/>
                    <a:gd name="connsiteX49" fmla="*/ 237857 w 241478"/>
                    <a:gd name="connsiteY49" fmla="*/ 255364 h 573512"/>
                    <a:gd name="connsiteX50" fmla="*/ 227594 w 241478"/>
                    <a:gd name="connsiteY50" fmla="*/ 263212 h 573512"/>
                    <a:gd name="connsiteX51" fmla="*/ 230612 w 241478"/>
                    <a:gd name="connsiteY51" fmla="*/ 268042 h 573512"/>
                    <a:gd name="connsiteX52" fmla="*/ 231216 w 241478"/>
                    <a:gd name="connsiteY52" fmla="*/ 277701 h 573512"/>
                    <a:gd name="connsiteX53" fmla="*/ 230612 w 241478"/>
                    <a:gd name="connsiteY53" fmla="*/ 284945 h 573512"/>
                    <a:gd name="connsiteX54" fmla="*/ 233631 w 241478"/>
                    <a:gd name="connsiteY54" fmla="*/ 292190 h 573512"/>
                    <a:gd name="connsiteX55" fmla="*/ 229405 w 241478"/>
                    <a:gd name="connsiteY55" fmla="*/ 309093 h 573512"/>
                    <a:gd name="connsiteX56" fmla="*/ 233631 w 241478"/>
                    <a:gd name="connsiteY56" fmla="*/ 311508 h 573512"/>
                    <a:gd name="connsiteX57" fmla="*/ 227594 w 241478"/>
                    <a:gd name="connsiteY57" fmla="*/ 316337 h 573512"/>
                    <a:gd name="connsiteX58" fmla="*/ 226386 w 241478"/>
                    <a:gd name="connsiteY58" fmla="*/ 324789 h 573512"/>
                    <a:gd name="connsiteX59" fmla="*/ 223368 w 241478"/>
                    <a:gd name="connsiteY59" fmla="*/ 327808 h 573512"/>
                    <a:gd name="connsiteX60" fmla="*/ 220953 w 241478"/>
                    <a:gd name="connsiteY60" fmla="*/ 334448 h 573512"/>
                    <a:gd name="connsiteX61" fmla="*/ 214916 w 241478"/>
                    <a:gd name="connsiteY61" fmla="*/ 340485 h 573512"/>
                    <a:gd name="connsiteX62" fmla="*/ 204654 w 241478"/>
                    <a:gd name="connsiteY62" fmla="*/ 341089 h 573512"/>
                    <a:gd name="connsiteX63" fmla="*/ 200428 w 241478"/>
                    <a:gd name="connsiteY63" fmla="*/ 337467 h 573512"/>
                    <a:gd name="connsiteX64" fmla="*/ 194994 w 241478"/>
                    <a:gd name="connsiteY64" fmla="*/ 329619 h 573512"/>
                    <a:gd name="connsiteX65" fmla="*/ 190165 w 241478"/>
                    <a:gd name="connsiteY65" fmla="*/ 329619 h 573512"/>
                    <a:gd name="connsiteX66" fmla="*/ 187146 w 241478"/>
                    <a:gd name="connsiteY66" fmla="*/ 331430 h 573512"/>
                    <a:gd name="connsiteX67" fmla="*/ 181713 w 241478"/>
                    <a:gd name="connsiteY67" fmla="*/ 329015 h 573512"/>
                    <a:gd name="connsiteX68" fmla="*/ 179902 w 241478"/>
                    <a:gd name="connsiteY68" fmla="*/ 332033 h 573512"/>
                    <a:gd name="connsiteX69" fmla="*/ 180506 w 241478"/>
                    <a:gd name="connsiteY69" fmla="*/ 339881 h 573512"/>
                    <a:gd name="connsiteX70" fmla="*/ 179298 w 241478"/>
                    <a:gd name="connsiteY70" fmla="*/ 342296 h 573512"/>
                    <a:gd name="connsiteX71" fmla="*/ 182921 w 241478"/>
                    <a:gd name="connsiteY71" fmla="*/ 347126 h 573512"/>
                    <a:gd name="connsiteX72" fmla="*/ 181713 w 241478"/>
                    <a:gd name="connsiteY72" fmla="*/ 350748 h 573512"/>
                    <a:gd name="connsiteX73" fmla="*/ 185939 w 241478"/>
                    <a:gd name="connsiteY73" fmla="*/ 361615 h 573512"/>
                    <a:gd name="connsiteX74" fmla="*/ 181109 w 241478"/>
                    <a:gd name="connsiteY74" fmla="*/ 362218 h 573512"/>
                    <a:gd name="connsiteX75" fmla="*/ 181109 w 241478"/>
                    <a:gd name="connsiteY75" fmla="*/ 366444 h 573512"/>
                    <a:gd name="connsiteX76" fmla="*/ 177487 w 241478"/>
                    <a:gd name="connsiteY76" fmla="*/ 373085 h 573512"/>
                    <a:gd name="connsiteX77" fmla="*/ 176280 w 241478"/>
                    <a:gd name="connsiteY77" fmla="*/ 383348 h 573512"/>
                    <a:gd name="connsiteX78" fmla="*/ 172658 w 241478"/>
                    <a:gd name="connsiteY78" fmla="*/ 385159 h 573512"/>
                    <a:gd name="connsiteX79" fmla="*/ 175676 w 241478"/>
                    <a:gd name="connsiteY79" fmla="*/ 399648 h 573512"/>
                    <a:gd name="connsiteX80" fmla="*/ 171450 w 241478"/>
                    <a:gd name="connsiteY80" fmla="*/ 407496 h 573512"/>
                    <a:gd name="connsiteX81" fmla="*/ 173865 w 241478"/>
                    <a:gd name="connsiteY81" fmla="*/ 410514 h 573512"/>
                    <a:gd name="connsiteX82" fmla="*/ 173865 w 241478"/>
                    <a:gd name="connsiteY82" fmla="*/ 415344 h 573512"/>
                    <a:gd name="connsiteX83" fmla="*/ 176884 w 241478"/>
                    <a:gd name="connsiteY83" fmla="*/ 420777 h 573512"/>
                    <a:gd name="connsiteX84" fmla="*/ 176280 w 241478"/>
                    <a:gd name="connsiteY84" fmla="*/ 423192 h 573512"/>
                    <a:gd name="connsiteX85" fmla="*/ 180506 w 241478"/>
                    <a:gd name="connsiteY85" fmla="*/ 426814 h 573512"/>
                    <a:gd name="connsiteX86" fmla="*/ 182317 w 241478"/>
                    <a:gd name="connsiteY86" fmla="*/ 435266 h 573512"/>
                    <a:gd name="connsiteX87" fmla="*/ 176280 w 241478"/>
                    <a:gd name="connsiteY87" fmla="*/ 441906 h 573512"/>
                    <a:gd name="connsiteX88" fmla="*/ 175676 w 241478"/>
                    <a:gd name="connsiteY88" fmla="*/ 447339 h 573512"/>
                    <a:gd name="connsiteX89" fmla="*/ 179298 w 241478"/>
                    <a:gd name="connsiteY89" fmla="*/ 448547 h 573512"/>
                    <a:gd name="connsiteX90" fmla="*/ 180506 w 241478"/>
                    <a:gd name="connsiteY90" fmla="*/ 455188 h 573512"/>
                    <a:gd name="connsiteX91" fmla="*/ 179902 w 241478"/>
                    <a:gd name="connsiteY91" fmla="*/ 460017 h 573512"/>
                    <a:gd name="connsiteX92" fmla="*/ 182317 w 241478"/>
                    <a:gd name="connsiteY92" fmla="*/ 463639 h 573512"/>
                    <a:gd name="connsiteX93" fmla="*/ 188354 w 241478"/>
                    <a:gd name="connsiteY93" fmla="*/ 465450 h 573512"/>
                    <a:gd name="connsiteX94" fmla="*/ 191976 w 241478"/>
                    <a:gd name="connsiteY94" fmla="*/ 470280 h 573512"/>
                    <a:gd name="connsiteX95" fmla="*/ 191372 w 241478"/>
                    <a:gd name="connsiteY95" fmla="*/ 473299 h 573512"/>
                    <a:gd name="connsiteX96" fmla="*/ 193183 w 241478"/>
                    <a:gd name="connsiteY96" fmla="*/ 481147 h 573512"/>
                    <a:gd name="connsiteX97" fmla="*/ 191976 w 241478"/>
                    <a:gd name="connsiteY97" fmla="*/ 482958 h 573512"/>
                    <a:gd name="connsiteX98" fmla="*/ 193787 w 241478"/>
                    <a:gd name="connsiteY98" fmla="*/ 490806 h 573512"/>
                    <a:gd name="connsiteX99" fmla="*/ 193787 w 241478"/>
                    <a:gd name="connsiteY99" fmla="*/ 502880 h 573512"/>
                    <a:gd name="connsiteX100" fmla="*/ 195598 w 241478"/>
                    <a:gd name="connsiteY100" fmla="*/ 507709 h 573512"/>
                    <a:gd name="connsiteX101" fmla="*/ 191372 w 241478"/>
                    <a:gd name="connsiteY101" fmla="*/ 510124 h 573512"/>
                    <a:gd name="connsiteX102" fmla="*/ 182921 w 241478"/>
                    <a:gd name="connsiteY102" fmla="*/ 510728 h 573512"/>
                    <a:gd name="connsiteX103" fmla="*/ 185335 w 241478"/>
                    <a:gd name="connsiteY103" fmla="*/ 519180 h 573512"/>
                    <a:gd name="connsiteX104" fmla="*/ 187146 w 241478"/>
                    <a:gd name="connsiteY104" fmla="*/ 520991 h 573512"/>
                    <a:gd name="connsiteX105" fmla="*/ 185939 w 241478"/>
                    <a:gd name="connsiteY105" fmla="*/ 525217 h 573512"/>
                    <a:gd name="connsiteX106" fmla="*/ 179298 w 241478"/>
                    <a:gd name="connsiteY106" fmla="*/ 525820 h 573512"/>
                    <a:gd name="connsiteX107" fmla="*/ 176280 w 241478"/>
                    <a:gd name="connsiteY107" fmla="*/ 520991 h 573512"/>
                    <a:gd name="connsiteX108" fmla="*/ 173261 w 241478"/>
                    <a:gd name="connsiteY108" fmla="*/ 521595 h 573512"/>
                    <a:gd name="connsiteX109" fmla="*/ 168432 w 241478"/>
                    <a:gd name="connsiteY109" fmla="*/ 519180 h 573512"/>
                    <a:gd name="connsiteX110" fmla="*/ 161791 w 241478"/>
                    <a:gd name="connsiteY110" fmla="*/ 522802 h 573512"/>
                    <a:gd name="connsiteX111" fmla="*/ 163602 w 241478"/>
                    <a:gd name="connsiteY111" fmla="*/ 528839 h 573512"/>
                    <a:gd name="connsiteX112" fmla="*/ 161791 w 241478"/>
                    <a:gd name="connsiteY112" fmla="*/ 534876 h 573512"/>
                    <a:gd name="connsiteX113" fmla="*/ 164810 w 241478"/>
                    <a:gd name="connsiteY113" fmla="*/ 537291 h 573512"/>
                    <a:gd name="connsiteX114" fmla="*/ 166017 w 241478"/>
                    <a:gd name="connsiteY114" fmla="*/ 542724 h 573512"/>
                    <a:gd name="connsiteX115" fmla="*/ 155754 w 241478"/>
                    <a:gd name="connsiteY115" fmla="*/ 542120 h 573512"/>
                    <a:gd name="connsiteX116" fmla="*/ 155150 w 241478"/>
                    <a:gd name="connsiteY116" fmla="*/ 546950 h 573512"/>
                    <a:gd name="connsiteX117" fmla="*/ 152736 w 241478"/>
                    <a:gd name="connsiteY117" fmla="*/ 553590 h 573512"/>
                    <a:gd name="connsiteX118" fmla="*/ 152132 w 241478"/>
                    <a:gd name="connsiteY118" fmla="*/ 556609 h 573512"/>
                    <a:gd name="connsiteX119" fmla="*/ 154547 w 241478"/>
                    <a:gd name="connsiteY119" fmla="*/ 563249 h 573512"/>
                    <a:gd name="connsiteX120" fmla="*/ 154547 w 241478"/>
                    <a:gd name="connsiteY120" fmla="*/ 569286 h 573512"/>
                    <a:gd name="connsiteX121" fmla="*/ 149717 w 241478"/>
                    <a:gd name="connsiteY121" fmla="*/ 569286 h 573512"/>
                    <a:gd name="connsiteX122" fmla="*/ 145491 w 241478"/>
                    <a:gd name="connsiteY122" fmla="*/ 559627 h 573512"/>
                    <a:gd name="connsiteX123" fmla="*/ 140662 w 241478"/>
                    <a:gd name="connsiteY123" fmla="*/ 561438 h 573512"/>
                    <a:gd name="connsiteX124" fmla="*/ 137643 w 241478"/>
                    <a:gd name="connsiteY124" fmla="*/ 566872 h 573512"/>
                    <a:gd name="connsiteX125" fmla="*/ 135228 w 241478"/>
                    <a:gd name="connsiteY125" fmla="*/ 573512 h 573512"/>
                    <a:gd name="connsiteX126" fmla="*/ 132813 w 241478"/>
                    <a:gd name="connsiteY126" fmla="*/ 569890 h 573512"/>
                    <a:gd name="connsiteX127" fmla="*/ 130399 w 241478"/>
                    <a:gd name="connsiteY127" fmla="*/ 563249 h 573512"/>
                    <a:gd name="connsiteX128" fmla="*/ 126776 w 241478"/>
                    <a:gd name="connsiteY128" fmla="*/ 559023 h 573512"/>
                    <a:gd name="connsiteX129" fmla="*/ 125569 w 241478"/>
                    <a:gd name="connsiteY129" fmla="*/ 552383 h 573512"/>
                    <a:gd name="connsiteX130" fmla="*/ 121343 w 241478"/>
                    <a:gd name="connsiteY130" fmla="*/ 551779 h 573512"/>
                    <a:gd name="connsiteX131" fmla="*/ 116514 w 241478"/>
                    <a:gd name="connsiteY131" fmla="*/ 548157 h 573512"/>
                    <a:gd name="connsiteX132" fmla="*/ 114702 w 241478"/>
                    <a:gd name="connsiteY132" fmla="*/ 544535 h 573512"/>
                    <a:gd name="connsiteX133" fmla="*/ 105647 w 241478"/>
                    <a:gd name="connsiteY133" fmla="*/ 540913 h 573512"/>
                    <a:gd name="connsiteX134" fmla="*/ 103836 w 241478"/>
                    <a:gd name="connsiteY134" fmla="*/ 537291 h 573512"/>
                    <a:gd name="connsiteX135" fmla="*/ 98403 w 241478"/>
                    <a:gd name="connsiteY135" fmla="*/ 534876 h 573512"/>
                    <a:gd name="connsiteX136" fmla="*/ 97195 w 241478"/>
                    <a:gd name="connsiteY136" fmla="*/ 532461 h 573512"/>
                    <a:gd name="connsiteX137" fmla="*/ 91159 w 241478"/>
                    <a:gd name="connsiteY137" fmla="*/ 531254 h 573512"/>
                    <a:gd name="connsiteX138" fmla="*/ 89951 w 241478"/>
                    <a:gd name="connsiteY138" fmla="*/ 543327 h 573512"/>
                    <a:gd name="connsiteX139" fmla="*/ 86933 w 241478"/>
                    <a:gd name="connsiteY139" fmla="*/ 542120 h 573512"/>
                    <a:gd name="connsiteX140" fmla="*/ 88744 w 241478"/>
                    <a:gd name="connsiteY140" fmla="*/ 556609 h 573512"/>
                    <a:gd name="connsiteX141" fmla="*/ 86329 w 241478"/>
                    <a:gd name="connsiteY141" fmla="*/ 562646 h 573512"/>
                    <a:gd name="connsiteX142" fmla="*/ 82103 w 241478"/>
                    <a:gd name="connsiteY142" fmla="*/ 562646 h 573512"/>
                    <a:gd name="connsiteX143" fmla="*/ 77877 w 241478"/>
                    <a:gd name="connsiteY143" fmla="*/ 568079 h 573512"/>
                    <a:gd name="connsiteX144" fmla="*/ 72444 w 241478"/>
                    <a:gd name="connsiteY144" fmla="*/ 569890 h 573512"/>
                    <a:gd name="connsiteX145" fmla="*/ 70633 w 241478"/>
                    <a:gd name="connsiteY145" fmla="*/ 559023 h 573512"/>
                    <a:gd name="connsiteX146" fmla="*/ 70633 w 241478"/>
                    <a:gd name="connsiteY146" fmla="*/ 552987 h 573512"/>
                    <a:gd name="connsiteX147" fmla="*/ 63992 w 241478"/>
                    <a:gd name="connsiteY147" fmla="*/ 536083 h 573512"/>
                    <a:gd name="connsiteX148" fmla="*/ 69425 w 241478"/>
                    <a:gd name="connsiteY148" fmla="*/ 535480 h 573512"/>
                    <a:gd name="connsiteX149" fmla="*/ 73048 w 241478"/>
                    <a:gd name="connsiteY149" fmla="*/ 533065 h 573512"/>
                    <a:gd name="connsiteX150" fmla="*/ 73048 w 241478"/>
                    <a:gd name="connsiteY150" fmla="*/ 527028 h 573512"/>
                    <a:gd name="connsiteX151" fmla="*/ 70633 w 241478"/>
                    <a:gd name="connsiteY151" fmla="*/ 525217 h 573512"/>
                    <a:gd name="connsiteX152" fmla="*/ 69425 w 241478"/>
                    <a:gd name="connsiteY152" fmla="*/ 513746 h 573512"/>
                    <a:gd name="connsiteX153" fmla="*/ 69425 w 241478"/>
                    <a:gd name="connsiteY153" fmla="*/ 508313 h 573512"/>
                    <a:gd name="connsiteX154" fmla="*/ 67011 w 241478"/>
                    <a:gd name="connsiteY154" fmla="*/ 501069 h 573512"/>
                    <a:gd name="connsiteX155" fmla="*/ 67614 w 241478"/>
                    <a:gd name="connsiteY155" fmla="*/ 494428 h 573512"/>
                    <a:gd name="connsiteX156" fmla="*/ 62785 w 241478"/>
                    <a:gd name="connsiteY156" fmla="*/ 478128 h 573512"/>
                    <a:gd name="connsiteX157" fmla="*/ 60974 w 241478"/>
                    <a:gd name="connsiteY157" fmla="*/ 462432 h 573512"/>
                    <a:gd name="connsiteX158" fmla="*/ 57955 w 241478"/>
                    <a:gd name="connsiteY158" fmla="*/ 442510 h 573512"/>
                    <a:gd name="connsiteX159" fmla="*/ 55540 w 241478"/>
                    <a:gd name="connsiteY159" fmla="*/ 419570 h 573512"/>
                    <a:gd name="connsiteX160" fmla="*/ 53126 w 241478"/>
                    <a:gd name="connsiteY160" fmla="*/ 408099 h 573512"/>
                    <a:gd name="connsiteX161" fmla="*/ 50107 w 241478"/>
                    <a:gd name="connsiteY161" fmla="*/ 400251 h 573512"/>
                    <a:gd name="connsiteX162" fmla="*/ 45881 w 241478"/>
                    <a:gd name="connsiteY162" fmla="*/ 395422 h 573512"/>
                    <a:gd name="connsiteX163" fmla="*/ 44674 w 241478"/>
                    <a:gd name="connsiteY163" fmla="*/ 387574 h 573512"/>
                    <a:gd name="connsiteX164" fmla="*/ 40448 w 241478"/>
                    <a:gd name="connsiteY164" fmla="*/ 381537 h 573512"/>
                    <a:gd name="connsiteX165" fmla="*/ 41655 w 241478"/>
                    <a:gd name="connsiteY165" fmla="*/ 374896 h 573512"/>
                    <a:gd name="connsiteX166" fmla="*/ 40448 w 241478"/>
                    <a:gd name="connsiteY166" fmla="*/ 371274 h 573512"/>
                    <a:gd name="connsiteX167" fmla="*/ 35015 w 241478"/>
                    <a:gd name="connsiteY167" fmla="*/ 367048 h 573512"/>
                    <a:gd name="connsiteX168" fmla="*/ 32600 w 241478"/>
                    <a:gd name="connsiteY168" fmla="*/ 362218 h 573512"/>
                    <a:gd name="connsiteX169" fmla="*/ 29581 w 241478"/>
                    <a:gd name="connsiteY169" fmla="*/ 361011 h 573512"/>
                    <a:gd name="connsiteX170" fmla="*/ 27770 w 241478"/>
                    <a:gd name="connsiteY170" fmla="*/ 357992 h 573512"/>
                    <a:gd name="connsiteX171" fmla="*/ 23544 w 241478"/>
                    <a:gd name="connsiteY171" fmla="*/ 356181 h 573512"/>
                    <a:gd name="connsiteX172" fmla="*/ 24752 w 241478"/>
                    <a:gd name="connsiteY172" fmla="*/ 352559 h 573512"/>
                    <a:gd name="connsiteX173" fmla="*/ 24752 w 241478"/>
                    <a:gd name="connsiteY173" fmla="*/ 340485 h 573512"/>
                    <a:gd name="connsiteX174" fmla="*/ 27166 w 241478"/>
                    <a:gd name="connsiteY174" fmla="*/ 329619 h 573512"/>
                    <a:gd name="connsiteX175" fmla="*/ 25959 w 241478"/>
                    <a:gd name="connsiteY175" fmla="*/ 323582 h 573512"/>
                    <a:gd name="connsiteX176" fmla="*/ 21733 w 241478"/>
                    <a:gd name="connsiteY176" fmla="*/ 317545 h 573512"/>
                    <a:gd name="connsiteX177" fmla="*/ 22941 w 241478"/>
                    <a:gd name="connsiteY177" fmla="*/ 313923 h 573512"/>
                    <a:gd name="connsiteX178" fmla="*/ 21129 w 241478"/>
                    <a:gd name="connsiteY178" fmla="*/ 311508 h 573512"/>
                    <a:gd name="connsiteX179" fmla="*/ 22941 w 241478"/>
                    <a:gd name="connsiteY179" fmla="*/ 306678 h 573512"/>
                    <a:gd name="connsiteX180" fmla="*/ 20526 w 241478"/>
                    <a:gd name="connsiteY180" fmla="*/ 298227 h 573512"/>
                    <a:gd name="connsiteX181" fmla="*/ 20526 w 241478"/>
                    <a:gd name="connsiteY181" fmla="*/ 289171 h 573512"/>
                    <a:gd name="connsiteX182" fmla="*/ 30185 w 241478"/>
                    <a:gd name="connsiteY182" fmla="*/ 287964 h 573512"/>
                    <a:gd name="connsiteX183" fmla="*/ 26563 w 241478"/>
                    <a:gd name="connsiteY183" fmla="*/ 278304 h 573512"/>
                    <a:gd name="connsiteX184" fmla="*/ 25959 w 241478"/>
                    <a:gd name="connsiteY184" fmla="*/ 273475 h 573512"/>
                    <a:gd name="connsiteX185" fmla="*/ 22941 w 241478"/>
                    <a:gd name="connsiteY185" fmla="*/ 270456 h 573512"/>
                    <a:gd name="connsiteX186" fmla="*/ 25355 w 241478"/>
                    <a:gd name="connsiteY186" fmla="*/ 263212 h 573512"/>
                    <a:gd name="connsiteX187" fmla="*/ 20526 w 241478"/>
                    <a:gd name="connsiteY187" fmla="*/ 257175 h 573512"/>
                    <a:gd name="connsiteX188" fmla="*/ 20526 w 241478"/>
                    <a:gd name="connsiteY188" fmla="*/ 250534 h 573512"/>
                    <a:gd name="connsiteX189" fmla="*/ 18715 w 241478"/>
                    <a:gd name="connsiteY189" fmla="*/ 246308 h 573512"/>
                    <a:gd name="connsiteX190" fmla="*/ 16300 w 241478"/>
                    <a:gd name="connsiteY190" fmla="*/ 245705 h 573512"/>
                    <a:gd name="connsiteX191" fmla="*/ 13281 w 241478"/>
                    <a:gd name="connsiteY191" fmla="*/ 228197 h 573512"/>
                    <a:gd name="connsiteX192" fmla="*/ 10867 w 241478"/>
                    <a:gd name="connsiteY192" fmla="*/ 222764 h 573512"/>
                    <a:gd name="connsiteX193" fmla="*/ 11470 w 241478"/>
                    <a:gd name="connsiteY193" fmla="*/ 217935 h 573512"/>
                    <a:gd name="connsiteX194" fmla="*/ 9055 w 241478"/>
                    <a:gd name="connsiteY194" fmla="*/ 210087 h 573512"/>
                    <a:gd name="connsiteX195" fmla="*/ 6641 w 241478"/>
                    <a:gd name="connsiteY195" fmla="*/ 208879 h 573512"/>
                    <a:gd name="connsiteX196" fmla="*/ 7848 w 241478"/>
                    <a:gd name="connsiteY196" fmla="*/ 202239 h 573512"/>
                    <a:gd name="connsiteX197" fmla="*/ 4226 w 241478"/>
                    <a:gd name="connsiteY197" fmla="*/ 198013 h 573512"/>
                    <a:gd name="connsiteX198" fmla="*/ 7244 w 241478"/>
                    <a:gd name="connsiteY198" fmla="*/ 190768 h 573512"/>
                    <a:gd name="connsiteX199" fmla="*/ 7244 w 241478"/>
                    <a:gd name="connsiteY199" fmla="*/ 186543 h 573512"/>
                    <a:gd name="connsiteX200" fmla="*/ 1811 w 241478"/>
                    <a:gd name="connsiteY200" fmla="*/ 178694 h 573512"/>
                    <a:gd name="connsiteX201" fmla="*/ 1207 w 241478"/>
                    <a:gd name="connsiteY201" fmla="*/ 176883 h 573512"/>
                    <a:gd name="connsiteX202" fmla="*/ 1207 w 241478"/>
                    <a:gd name="connsiteY202" fmla="*/ 171450 h 573512"/>
                    <a:gd name="connsiteX203" fmla="*/ 0 w 241478"/>
                    <a:gd name="connsiteY203" fmla="*/ 161791 h 573512"/>
                    <a:gd name="connsiteX204" fmla="*/ 1811 w 241478"/>
                    <a:gd name="connsiteY204" fmla="*/ 158772 h 573512"/>
                    <a:gd name="connsiteX205" fmla="*/ 4226 w 241478"/>
                    <a:gd name="connsiteY205" fmla="*/ 159376 h 573512"/>
                    <a:gd name="connsiteX206" fmla="*/ 5433 w 241478"/>
                    <a:gd name="connsiteY206" fmla="*/ 158772 h 573512"/>
                    <a:gd name="connsiteX207" fmla="*/ 4830 w 241478"/>
                    <a:gd name="connsiteY207" fmla="*/ 157565 h 573512"/>
                    <a:gd name="connsiteX208" fmla="*/ 4226 w 241478"/>
                    <a:gd name="connsiteY208" fmla="*/ 155754 h 573512"/>
                    <a:gd name="connsiteX209" fmla="*/ 3622 w 241478"/>
                    <a:gd name="connsiteY209" fmla="*/ 154546 h 573512"/>
                    <a:gd name="connsiteX210" fmla="*/ 3018 w 241478"/>
                    <a:gd name="connsiteY210" fmla="*/ 152735 h 573512"/>
                    <a:gd name="connsiteX211" fmla="*/ 5433 w 241478"/>
                    <a:gd name="connsiteY211" fmla="*/ 147906 h 573512"/>
                    <a:gd name="connsiteX212" fmla="*/ 6641 w 241478"/>
                    <a:gd name="connsiteY212" fmla="*/ 146698 h 573512"/>
                    <a:gd name="connsiteX213" fmla="*/ 7244 w 241478"/>
                    <a:gd name="connsiteY213" fmla="*/ 146698 h 573512"/>
                    <a:gd name="connsiteX214" fmla="*/ 8452 w 241478"/>
                    <a:gd name="connsiteY214" fmla="*/ 147906 h 573512"/>
                    <a:gd name="connsiteX215" fmla="*/ 9659 w 241478"/>
                    <a:gd name="connsiteY215" fmla="*/ 148509 h 573512"/>
                    <a:gd name="connsiteX216" fmla="*/ 12074 w 241478"/>
                    <a:gd name="connsiteY216" fmla="*/ 147906 h 573512"/>
                    <a:gd name="connsiteX217" fmla="*/ 12678 w 241478"/>
                    <a:gd name="connsiteY217" fmla="*/ 147302 h 573512"/>
                    <a:gd name="connsiteX218" fmla="*/ 12074 w 241478"/>
                    <a:gd name="connsiteY218" fmla="*/ 145491 h 573512"/>
                    <a:gd name="connsiteX219" fmla="*/ 11470 w 241478"/>
                    <a:gd name="connsiteY219" fmla="*/ 144887 h 573512"/>
                    <a:gd name="connsiteX220" fmla="*/ 11470 w 241478"/>
                    <a:gd name="connsiteY220" fmla="*/ 144284 h 573512"/>
                    <a:gd name="connsiteX221" fmla="*/ 12074 w 241478"/>
                    <a:gd name="connsiteY221" fmla="*/ 143680 h 573512"/>
                    <a:gd name="connsiteX222" fmla="*/ 12074 w 241478"/>
                    <a:gd name="connsiteY222" fmla="*/ 143076 h 573512"/>
                    <a:gd name="connsiteX223" fmla="*/ 12678 w 241478"/>
                    <a:gd name="connsiteY223" fmla="*/ 142472 h 573512"/>
                    <a:gd name="connsiteX224" fmla="*/ 12678 w 241478"/>
                    <a:gd name="connsiteY224" fmla="*/ 139454 h 573512"/>
                    <a:gd name="connsiteX225" fmla="*/ 14489 w 241478"/>
                    <a:gd name="connsiteY225" fmla="*/ 138850 h 573512"/>
                    <a:gd name="connsiteX226" fmla="*/ 14489 w 241478"/>
                    <a:gd name="connsiteY226" fmla="*/ 135228 h 573512"/>
                    <a:gd name="connsiteX227" fmla="*/ 12678 w 241478"/>
                    <a:gd name="connsiteY227" fmla="*/ 134624 h 573512"/>
                    <a:gd name="connsiteX228" fmla="*/ 10867 w 241478"/>
                    <a:gd name="connsiteY228" fmla="*/ 132210 h 573512"/>
                    <a:gd name="connsiteX229" fmla="*/ 10867 w 241478"/>
                    <a:gd name="connsiteY229" fmla="*/ 127380 h 573512"/>
                    <a:gd name="connsiteX230" fmla="*/ 10867 w 241478"/>
                    <a:gd name="connsiteY230" fmla="*/ 126776 h 573512"/>
                    <a:gd name="connsiteX231" fmla="*/ 10867 w 241478"/>
                    <a:gd name="connsiteY231" fmla="*/ 124361 h 573512"/>
                    <a:gd name="connsiteX232" fmla="*/ 12074 w 241478"/>
                    <a:gd name="connsiteY232" fmla="*/ 123154 h 573512"/>
                    <a:gd name="connsiteX233" fmla="*/ 13885 w 241478"/>
                    <a:gd name="connsiteY233" fmla="*/ 120136 h 573512"/>
                    <a:gd name="connsiteX234" fmla="*/ 11470 w 241478"/>
                    <a:gd name="connsiteY234" fmla="*/ 113495 h 573512"/>
                    <a:gd name="connsiteX235" fmla="*/ 12074 w 241478"/>
                    <a:gd name="connsiteY235" fmla="*/ 113495 h 573512"/>
                    <a:gd name="connsiteX236" fmla="*/ 12678 w 241478"/>
                    <a:gd name="connsiteY236" fmla="*/ 113495 h 573512"/>
                    <a:gd name="connsiteX237" fmla="*/ 11470 w 241478"/>
                    <a:gd name="connsiteY237" fmla="*/ 111684 h 573512"/>
                    <a:gd name="connsiteX238" fmla="*/ 12074 w 241478"/>
                    <a:gd name="connsiteY238" fmla="*/ 110477 h 573512"/>
                    <a:gd name="connsiteX239" fmla="*/ 11470 w 241478"/>
                    <a:gd name="connsiteY239" fmla="*/ 109269 h 573512"/>
                    <a:gd name="connsiteX240" fmla="*/ 11470 w 241478"/>
                    <a:gd name="connsiteY240" fmla="*/ 106854 h 573512"/>
                    <a:gd name="connsiteX241" fmla="*/ 12074 w 241478"/>
                    <a:gd name="connsiteY241" fmla="*/ 106251 h 573512"/>
                    <a:gd name="connsiteX242" fmla="*/ 12678 w 241478"/>
                    <a:gd name="connsiteY242" fmla="*/ 104440 h 573512"/>
                    <a:gd name="connsiteX243" fmla="*/ 11470 w 241478"/>
                    <a:gd name="connsiteY243" fmla="*/ 102629 h 573512"/>
                    <a:gd name="connsiteX244" fmla="*/ 13885 w 241478"/>
                    <a:gd name="connsiteY244" fmla="*/ 100214 h 573512"/>
                    <a:gd name="connsiteX245" fmla="*/ 13885 w 241478"/>
                    <a:gd name="connsiteY245" fmla="*/ 94781 h 573512"/>
                    <a:gd name="connsiteX246" fmla="*/ 14489 w 241478"/>
                    <a:gd name="connsiteY246" fmla="*/ 94177 h 573512"/>
                    <a:gd name="connsiteX247" fmla="*/ 13885 w 241478"/>
                    <a:gd name="connsiteY247" fmla="*/ 92970 h 573512"/>
                    <a:gd name="connsiteX248" fmla="*/ 14489 w 241478"/>
                    <a:gd name="connsiteY248" fmla="*/ 92366 h 573512"/>
                    <a:gd name="connsiteX249" fmla="*/ 13885 w 241478"/>
                    <a:gd name="connsiteY249" fmla="*/ 89347 h 573512"/>
                    <a:gd name="connsiteX250" fmla="*/ 13885 w 241478"/>
                    <a:gd name="connsiteY250" fmla="*/ 86933 h 573512"/>
                    <a:gd name="connsiteX251" fmla="*/ 13885 w 241478"/>
                    <a:gd name="connsiteY251" fmla="*/ 86329 h 573512"/>
                    <a:gd name="connsiteX252" fmla="*/ 14489 w 241478"/>
                    <a:gd name="connsiteY252" fmla="*/ 85121 h 573512"/>
                    <a:gd name="connsiteX253" fmla="*/ 15092 w 241478"/>
                    <a:gd name="connsiteY253" fmla="*/ 85121 h 573512"/>
                    <a:gd name="connsiteX254" fmla="*/ 15696 w 241478"/>
                    <a:gd name="connsiteY254" fmla="*/ 85121 h 573512"/>
                    <a:gd name="connsiteX255" fmla="*/ 15092 w 241478"/>
                    <a:gd name="connsiteY255" fmla="*/ 83914 h 573512"/>
                    <a:gd name="connsiteX256" fmla="*/ 14489 w 241478"/>
                    <a:gd name="connsiteY256" fmla="*/ 80896 h 573512"/>
                    <a:gd name="connsiteX257" fmla="*/ 14489 w 241478"/>
                    <a:gd name="connsiteY257" fmla="*/ 78481 h 573512"/>
                    <a:gd name="connsiteX258" fmla="*/ 13885 w 241478"/>
                    <a:gd name="connsiteY258" fmla="*/ 75462 h 573512"/>
                    <a:gd name="connsiteX259" fmla="*/ 13885 w 241478"/>
                    <a:gd name="connsiteY259" fmla="*/ 74255 h 573512"/>
                    <a:gd name="connsiteX260" fmla="*/ 11470 w 241478"/>
                    <a:gd name="connsiteY260" fmla="*/ 69425 h 573512"/>
                    <a:gd name="connsiteX261" fmla="*/ 10263 w 241478"/>
                    <a:gd name="connsiteY261" fmla="*/ 69425 h 573512"/>
                    <a:gd name="connsiteX262" fmla="*/ 8452 w 241478"/>
                    <a:gd name="connsiteY262" fmla="*/ 67010 h 573512"/>
                    <a:gd name="connsiteX263" fmla="*/ 7848 w 241478"/>
                    <a:gd name="connsiteY263" fmla="*/ 66407 h 573512"/>
                    <a:gd name="connsiteX264" fmla="*/ 7848 w 241478"/>
                    <a:gd name="connsiteY264" fmla="*/ 65199 h 573512"/>
                    <a:gd name="connsiteX265" fmla="*/ 7244 w 241478"/>
                    <a:gd name="connsiteY265" fmla="*/ 64596 h 573512"/>
                    <a:gd name="connsiteX266" fmla="*/ 7244 w 241478"/>
                    <a:gd name="connsiteY266" fmla="*/ 63992 h 573512"/>
                    <a:gd name="connsiteX267" fmla="*/ 7244 w 241478"/>
                    <a:gd name="connsiteY267" fmla="*/ 63388 h 573512"/>
                    <a:gd name="connsiteX268" fmla="*/ 7244 w 241478"/>
                    <a:gd name="connsiteY268" fmla="*/ 61577 h 573512"/>
                    <a:gd name="connsiteX269" fmla="*/ 7244 w 241478"/>
                    <a:gd name="connsiteY269" fmla="*/ 60973 h 573512"/>
                    <a:gd name="connsiteX270" fmla="*/ 10867 w 241478"/>
                    <a:gd name="connsiteY270" fmla="*/ 60370 h 573512"/>
                    <a:gd name="connsiteX271" fmla="*/ 23544 w 241478"/>
                    <a:gd name="connsiteY271" fmla="*/ 60973 h 573512"/>
                    <a:gd name="connsiteX272" fmla="*/ 33203 w 241478"/>
                    <a:gd name="connsiteY272" fmla="*/ 60370 h 573512"/>
                    <a:gd name="connsiteX273" fmla="*/ 32600 w 241478"/>
                    <a:gd name="connsiteY273" fmla="*/ 73651 h 573512"/>
                    <a:gd name="connsiteX274" fmla="*/ 35618 w 241478"/>
                    <a:gd name="connsiteY274" fmla="*/ 78481 h 573512"/>
                    <a:gd name="connsiteX275" fmla="*/ 36222 w 241478"/>
                    <a:gd name="connsiteY275" fmla="*/ 80896 h 573512"/>
                    <a:gd name="connsiteX276" fmla="*/ 36222 w 241478"/>
                    <a:gd name="connsiteY276" fmla="*/ 83310 h 573512"/>
                    <a:gd name="connsiteX277" fmla="*/ 37429 w 241478"/>
                    <a:gd name="connsiteY277" fmla="*/ 83310 h 573512"/>
                    <a:gd name="connsiteX278" fmla="*/ 41655 w 241478"/>
                    <a:gd name="connsiteY278" fmla="*/ 86933 h 573512"/>
                    <a:gd name="connsiteX279" fmla="*/ 42259 w 241478"/>
                    <a:gd name="connsiteY279" fmla="*/ 86933 h 573512"/>
                    <a:gd name="connsiteX280" fmla="*/ 44070 w 241478"/>
                    <a:gd name="connsiteY280" fmla="*/ 85725 h 573512"/>
                    <a:gd name="connsiteX281" fmla="*/ 45881 w 241478"/>
                    <a:gd name="connsiteY281" fmla="*/ 82707 h 573512"/>
                    <a:gd name="connsiteX282" fmla="*/ 45881 w 241478"/>
                    <a:gd name="connsiteY282" fmla="*/ 82103 h 573512"/>
                    <a:gd name="connsiteX283" fmla="*/ 45881 w 241478"/>
                    <a:gd name="connsiteY283" fmla="*/ 81499 h 573512"/>
                    <a:gd name="connsiteX284" fmla="*/ 47089 w 241478"/>
                    <a:gd name="connsiteY284" fmla="*/ 80896 h 573512"/>
                    <a:gd name="connsiteX285" fmla="*/ 49503 w 241478"/>
                    <a:gd name="connsiteY285" fmla="*/ 80896 h 573512"/>
                    <a:gd name="connsiteX286" fmla="*/ 50107 w 241478"/>
                    <a:gd name="connsiteY286" fmla="*/ 79688 h 573512"/>
                    <a:gd name="connsiteX287" fmla="*/ 51314 w 241478"/>
                    <a:gd name="connsiteY287" fmla="*/ 80896 h 573512"/>
                    <a:gd name="connsiteX288" fmla="*/ 51918 w 241478"/>
                    <a:gd name="connsiteY288" fmla="*/ 80896 h 573512"/>
                    <a:gd name="connsiteX289" fmla="*/ 51314 w 241478"/>
                    <a:gd name="connsiteY289" fmla="*/ 79688 h 573512"/>
                    <a:gd name="connsiteX290" fmla="*/ 51918 w 241478"/>
                    <a:gd name="connsiteY290" fmla="*/ 78481 h 573512"/>
                    <a:gd name="connsiteX291" fmla="*/ 55540 w 241478"/>
                    <a:gd name="connsiteY291" fmla="*/ 78481 h 573512"/>
                    <a:gd name="connsiteX292" fmla="*/ 59163 w 241478"/>
                    <a:gd name="connsiteY292" fmla="*/ 67010 h 573512"/>
                    <a:gd name="connsiteX293" fmla="*/ 59766 w 241478"/>
                    <a:gd name="connsiteY293" fmla="*/ 62181 h 573512"/>
                    <a:gd name="connsiteX294" fmla="*/ 62785 w 241478"/>
                    <a:gd name="connsiteY294" fmla="*/ 60973 h 573512"/>
                    <a:gd name="connsiteX295" fmla="*/ 67614 w 241478"/>
                    <a:gd name="connsiteY295" fmla="*/ 62181 h 573512"/>
                    <a:gd name="connsiteX296" fmla="*/ 72444 w 241478"/>
                    <a:gd name="connsiteY296" fmla="*/ 60370 h 573512"/>
                    <a:gd name="connsiteX297" fmla="*/ 73651 w 241478"/>
                    <a:gd name="connsiteY297" fmla="*/ 53125 h 573512"/>
                    <a:gd name="connsiteX298" fmla="*/ 73651 w 241478"/>
                    <a:gd name="connsiteY298" fmla="*/ 47088 h 573512"/>
                    <a:gd name="connsiteX299" fmla="*/ 75462 w 241478"/>
                    <a:gd name="connsiteY299" fmla="*/ 42259 h 573512"/>
                    <a:gd name="connsiteX300" fmla="*/ 79085 w 241478"/>
                    <a:gd name="connsiteY300" fmla="*/ 43466 h 573512"/>
                    <a:gd name="connsiteX301" fmla="*/ 82103 w 241478"/>
                    <a:gd name="connsiteY301" fmla="*/ 39844 h 573512"/>
                    <a:gd name="connsiteX302" fmla="*/ 88744 w 241478"/>
                    <a:gd name="connsiteY302" fmla="*/ 37429 h 573512"/>
                    <a:gd name="connsiteX303" fmla="*/ 93573 w 241478"/>
                    <a:gd name="connsiteY303" fmla="*/ 25959 h 573512"/>
                    <a:gd name="connsiteX304" fmla="*/ 96592 w 241478"/>
                    <a:gd name="connsiteY304" fmla="*/ 15092 h 573512"/>
                    <a:gd name="connsiteX305" fmla="*/ 103836 w 241478"/>
                    <a:gd name="connsiteY305" fmla="*/ 0 h 573512"/>
                    <a:gd name="connsiteX306" fmla="*/ 111684 w 241478"/>
                    <a:gd name="connsiteY306" fmla="*/ 22337 h 573512"/>
                    <a:gd name="connsiteX307" fmla="*/ 120739 w 241478"/>
                    <a:gd name="connsiteY307" fmla="*/ 31392 h 573512"/>
                    <a:gd name="connsiteX308" fmla="*/ 124362 w 241478"/>
                    <a:gd name="connsiteY308" fmla="*/ 27166 h 573512"/>
                    <a:gd name="connsiteX309" fmla="*/ 128588 w 241478"/>
                    <a:gd name="connsiteY309" fmla="*/ 26563 h 573512"/>
                    <a:gd name="connsiteX310" fmla="*/ 132813 w 241478"/>
                    <a:gd name="connsiteY310" fmla="*/ 28374 h 573512"/>
                    <a:gd name="connsiteX311" fmla="*/ 134021 w 241478"/>
                    <a:gd name="connsiteY311" fmla="*/ 24148 h 573512"/>
                    <a:gd name="connsiteX312" fmla="*/ 138850 w 241478"/>
                    <a:gd name="connsiteY312" fmla="*/ 28374 h 573512"/>
                    <a:gd name="connsiteX313" fmla="*/ 144284 w 241478"/>
                    <a:gd name="connsiteY313" fmla="*/ 28374 h 573512"/>
                    <a:gd name="connsiteX314" fmla="*/ 148510 w 241478"/>
                    <a:gd name="connsiteY314" fmla="*/ 25355 h 573512"/>
                    <a:gd name="connsiteX315" fmla="*/ 152736 w 241478"/>
                    <a:gd name="connsiteY315" fmla="*/ 26563 h 57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Lst>
                  <a:rect l="l" t="t" r="r" b="b"/>
                  <a:pathLst>
                    <a:path w="241478" h="573512">
                      <a:moveTo>
                        <a:pt x="152736" y="26563"/>
                      </a:moveTo>
                      <a:lnTo>
                        <a:pt x="157565" y="29581"/>
                      </a:lnTo>
                      <a:lnTo>
                        <a:pt x="156961" y="39240"/>
                      </a:lnTo>
                      <a:lnTo>
                        <a:pt x="161187" y="39844"/>
                      </a:lnTo>
                      <a:lnTo>
                        <a:pt x="159376" y="45881"/>
                      </a:lnTo>
                      <a:lnTo>
                        <a:pt x="153943" y="54333"/>
                      </a:lnTo>
                      <a:lnTo>
                        <a:pt x="153943" y="60370"/>
                      </a:lnTo>
                      <a:lnTo>
                        <a:pt x="156961" y="68822"/>
                      </a:lnTo>
                      <a:lnTo>
                        <a:pt x="153339" y="81499"/>
                      </a:lnTo>
                      <a:lnTo>
                        <a:pt x="150924" y="83310"/>
                      </a:lnTo>
                      <a:lnTo>
                        <a:pt x="149717" y="88744"/>
                      </a:lnTo>
                      <a:lnTo>
                        <a:pt x="156961" y="94781"/>
                      </a:lnTo>
                      <a:lnTo>
                        <a:pt x="163602" y="97195"/>
                      </a:lnTo>
                      <a:lnTo>
                        <a:pt x="169035" y="94177"/>
                      </a:lnTo>
                      <a:lnTo>
                        <a:pt x="173261" y="100818"/>
                      </a:lnTo>
                      <a:lnTo>
                        <a:pt x="173261" y="105043"/>
                      </a:lnTo>
                      <a:lnTo>
                        <a:pt x="179298" y="103232"/>
                      </a:lnTo>
                      <a:lnTo>
                        <a:pt x="182921" y="97799"/>
                      </a:lnTo>
                      <a:lnTo>
                        <a:pt x="187146" y="100818"/>
                      </a:lnTo>
                      <a:lnTo>
                        <a:pt x="188354" y="105647"/>
                      </a:lnTo>
                      <a:lnTo>
                        <a:pt x="192580" y="105043"/>
                      </a:lnTo>
                      <a:lnTo>
                        <a:pt x="196806" y="106251"/>
                      </a:lnTo>
                      <a:lnTo>
                        <a:pt x="199220" y="98403"/>
                      </a:lnTo>
                      <a:lnTo>
                        <a:pt x="203446" y="98403"/>
                      </a:lnTo>
                      <a:lnTo>
                        <a:pt x="206465" y="101421"/>
                      </a:lnTo>
                      <a:lnTo>
                        <a:pt x="204654" y="109873"/>
                      </a:lnTo>
                      <a:lnTo>
                        <a:pt x="208879" y="109873"/>
                      </a:lnTo>
                      <a:lnTo>
                        <a:pt x="211898" y="106251"/>
                      </a:lnTo>
                      <a:lnTo>
                        <a:pt x="222161" y="105647"/>
                      </a:lnTo>
                      <a:lnTo>
                        <a:pt x="222764" y="110477"/>
                      </a:lnTo>
                      <a:lnTo>
                        <a:pt x="222161" y="121343"/>
                      </a:lnTo>
                      <a:lnTo>
                        <a:pt x="224575" y="122550"/>
                      </a:lnTo>
                      <a:lnTo>
                        <a:pt x="227594" y="129795"/>
                      </a:lnTo>
                      <a:lnTo>
                        <a:pt x="234838" y="133417"/>
                      </a:lnTo>
                      <a:lnTo>
                        <a:pt x="233631" y="143076"/>
                      </a:lnTo>
                      <a:lnTo>
                        <a:pt x="234838" y="157565"/>
                      </a:lnTo>
                      <a:lnTo>
                        <a:pt x="236649" y="159980"/>
                      </a:lnTo>
                      <a:lnTo>
                        <a:pt x="236046" y="168432"/>
                      </a:lnTo>
                      <a:lnTo>
                        <a:pt x="238460" y="178091"/>
                      </a:lnTo>
                      <a:lnTo>
                        <a:pt x="238460" y="182317"/>
                      </a:lnTo>
                      <a:lnTo>
                        <a:pt x="243894" y="189561"/>
                      </a:lnTo>
                      <a:lnTo>
                        <a:pt x="240875" y="195598"/>
                      </a:lnTo>
                      <a:lnTo>
                        <a:pt x="241479" y="211898"/>
                      </a:lnTo>
                      <a:lnTo>
                        <a:pt x="239668" y="214916"/>
                      </a:lnTo>
                      <a:lnTo>
                        <a:pt x="240272" y="222764"/>
                      </a:lnTo>
                      <a:lnTo>
                        <a:pt x="236649" y="228197"/>
                      </a:lnTo>
                      <a:lnTo>
                        <a:pt x="236046" y="236045"/>
                      </a:lnTo>
                      <a:lnTo>
                        <a:pt x="234235" y="245101"/>
                      </a:lnTo>
                      <a:lnTo>
                        <a:pt x="234235" y="250534"/>
                      </a:lnTo>
                      <a:lnTo>
                        <a:pt x="237857" y="255364"/>
                      </a:lnTo>
                      <a:lnTo>
                        <a:pt x="227594" y="263212"/>
                      </a:lnTo>
                      <a:lnTo>
                        <a:pt x="230612" y="268042"/>
                      </a:lnTo>
                      <a:lnTo>
                        <a:pt x="231216" y="277701"/>
                      </a:lnTo>
                      <a:lnTo>
                        <a:pt x="230612" y="284945"/>
                      </a:lnTo>
                      <a:lnTo>
                        <a:pt x="233631" y="292190"/>
                      </a:lnTo>
                      <a:lnTo>
                        <a:pt x="229405" y="309093"/>
                      </a:lnTo>
                      <a:lnTo>
                        <a:pt x="233631" y="311508"/>
                      </a:lnTo>
                      <a:lnTo>
                        <a:pt x="227594" y="316337"/>
                      </a:lnTo>
                      <a:lnTo>
                        <a:pt x="226386" y="324789"/>
                      </a:lnTo>
                      <a:lnTo>
                        <a:pt x="223368" y="327808"/>
                      </a:lnTo>
                      <a:lnTo>
                        <a:pt x="220953" y="334448"/>
                      </a:lnTo>
                      <a:lnTo>
                        <a:pt x="214916" y="340485"/>
                      </a:lnTo>
                      <a:lnTo>
                        <a:pt x="204654" y="341089"/>
                      </a:lnTo>
                      <a:lnTo>
                        <a:pt x="200428" y="337467"/>
                      </a:lnTo>
                      <a:lnTo>
                        <a:pt x="194994" y="329619"/>
                      </a:lnTo>
                      <a:lnTo>
                        <a:pt x="190165" y="329619"/>
                      </a:lnTo>
                      <a:lnTo>
                        <a:pt x="187146" y="331430"/>
                      </a:lnTo>
                      <a:lnTo>
                        <a:pt x="181713" y="329015"/>
                      </a:lnTo>
                      <a:lnTo>
                        <a:pt x="179902" y="332033"/>
                      </a:lnTo>
                      <a:lnTo>
                        <a:pt x="180506" y="339881"/>
                      </a:lnTo>
                      <a:lnTo>
                        <a:pt x="179298" y="342296"/>
                      </a:lnTo>
                      <a:lnTo>
                        <a:pt x="182921" y="347126"/>
                      </a:lnTo>
                      <a:lnTo>
                        <a:pt x="181713" y="350748"/>
                      </a:lnTo>
                      <a:lnTo>
                        <a:pt x="185939" y="361615"/>
                      </a:lnTo>
                      <a:lnTo>
                        <a:pt x="181109" y="362218"/>
                      </a:lnTo>
                      <a:lnTo>
                        <a:pt x="181109" y="366444"/>
                      </a:lnTo>
                      <a:lnTo>
                        <a:pt x="177487" y="373085"/>
                      </a:lnTo>
                      <a:lnTo>
                        <a:pt x="176280" y="383348"/>
                      </a:lnTo>
                      <a:lnTo>
                        <a:pt x="172658" y="385159"/>
                      </a:lnTo>
                      <a:lnTo>
                        <a:pt x="175676" y="399648"/>
                      </a:lnTo>
                      <a:lnTo>
                        <a:pt x="171450" y="407496"/>
                      </a:lnTo>
                      <a:lnTo>
                        <a:pt x="173865" y="410514"/>
                      </a:lnTo>
                      <a:lnTo>
                        <a:pt x="173865" y="415344"/>
                      </a:lnTo>
                      <a:lnTo>
                        <a:pt x="176884" y="420777"/>
                      </a:lnTo>
                      <a:lnTo>
                        <a:pt x="176280" y="423192"/>
                      </a:lnTo>
                      <a:lnTo>
                        <a:pt x="180506" y="426814"/>
                      </a:lnTo>
                      <a:lnTo>
                        <a:pt x="182317" y="435266"/>
                      </a:lnTo>
                      <a:lnTo>
                        <a:pt x="176280" y="441906"/>
                      </a:lnTo>
                      <a:lnTo>
                        <a:pt x="175676" y="447339"/>
                      </a:lnTo>
                      <a:lnTo>
                        <a:pt x="179298" y="448547"/>
                      </a:lnTo>
                      <a:lnTo>
                        <a:pt x="180506" y="455188"/>
                      </a:lnTo>
                      <a:lnTo>
                        <a:pt x="179902" y="460017"/>
                      </a:lnTo>
                      <a:lnTo>
                        <a:pt x="182317" y="463639"/>
                      </a:lnTo>
                      <a:lnTo>
                        <a:pt x="188354" y="465450"/>
                      </a:lnTo>
                      <a:lnTo>
                        <a:pt x="191976" y="470280"/>
                      </a:lnTo>
                      <a:lnTo>
                        <a:pt x="191372" y="473299"/>
                      </a:lnTo>
                      <a:lnTo>
                        <a:pt x="193183" y="481147"/>
                      </a:lnTo>
                      <a:lnTo>
                        <a:pt x="191976" y="482958"/>
                      </a:lnTo>
                      <a:lnTo>
                        <a:pt x="193787" y="490806"/>
                      </a:lnTo>
                      <a:lnTo>
                        <a:pt x="193787" y="502880"/>
                      </a:lnTo>
                      <a:lnTo>
                        <a:pt x="195598" y="507709"/>
                      </a:lnTo>
                      <a:lnTo>
                        <a:pt x="191372" y="510124"/>
                      </a:lnTo>
                      <a:lnTo>
                        <a:pt x="182921" y="510728"/>
                      </a:lnTo>
                      <a:lnTo>
                        <a:pt x="185335" y="519180"/>
                      </a:lnTo>
                      <a:lnTo>
                        <a:pt x="187146" y="520991"/>
                      </a:lnTo>
                      <a:lnTo>
                        <a:pt x="185939" y="525217"/>
                      </a:lnTo>
                      <a:lnTo>
                        <a:pt x="179298" y="525820"/>
                      </a:lnTo>
                      <a:lnTo>
                        <a:pt x="176280" y="520991"/>
                      </a:lnTo>
                      <a:lnTo>
                        <a:pt x="173261" y="521595"/>
                      </a:lnTo>
                      <a:lnTo>
                        <a:pt x="168432" y="519180"/>
                      </a:lnTo>
                      <a:lnTo>
                        <a:pt x="161791" y="522802"/>
                      </a:lnTo>
                      <a:lnTo>
                        <a:pt x="163602" y="528839"/>
                      </a:lnTo>
                      <a:lnTo>
                        <a:pt x="161791" y="534876"/>
                      </a:lnTo>
                      <a:lnTo>
                        <a:pt x="164810" y="537291"/>
                      </a:lnTo>
                      <a:lnTo>
                        <a:pt x="166017" y="542724"/>
                      </a:lnTo>
                      <a:lnTo>
                        <a:pt x="155754" y="542120"/>
                      </a:lnTo>
                      <a:lnTo>
                        <a:pt x="155150" y="546950"/>
                      </a:lnTo>
                      <a:lnTo>
                        <a:pt x="152736" y="553590"/>
                      </a:lnTo>
                      <a:lnTo>
                        <a:pt x="152132" y="556609"/>
                      </a:lnTo>
                      <a:lnTo>
                        <a:pt x="154547" y="563249"/>
                      </a:lnTo>
                      <a:lnTo>
                        <a:pt x="154547" y="569286"/>
                      </a:lnTo>
                      <a:lnTo>
                        <a:pt x="149717" y="569286"/>
                      </a:lnTo>
                      <a:lnTo>
                        <a:pt x="145491" y="559627"/>
                      </a:lnTo>
                      <a:lnTo>
                        <a:pt x="140662" y="561438"/>
                      </a:lnTo>
                      <a:lnTo>
                        <a:pt x="137643" y="566872"/>
                      </a:lnTo>
                      <a:lnTo>
                        <a:pt x="135228" y="573512"/>
                      </a:lnTo>
                      <a:lnTo>
                        <a:pt x="132813" y="569890"/>
                      </a:lnTo>
                      <a:lnTo>
                        <a:pt x="130399" y="563249"/>
                      </a:lnTo>
                      <a:lnTo>
                        <a:pt x="126776" y="559023"/>
                      </a:lnTo>
                      <a:lnTo>
                        <a:pt x="125569" y="552383"/>
                      </a:lnTo>
                      <a:lnTo>
                        <a:pt x="121343" y="551779"/>
                      </a:lnTo>
                      <a:lnTo>
                        <a:pt x="116514" y="548157"/>
                      </a:lnTo>
                      <a:lnTo>
                        <a:pt x="114702" y="544535"/>
                      </a:lnTo>
                      <a:lnTo>
                        <a:pt x="105647" y="540913"/>
                      </a:lnTo>
                      <a:lnTo>
                        <a:pt x="103836" y="537291"/>
                      </a:lnTo>
                      <a:lnTo>
                        <a:pt x="98403" y="534876"/>
                      </a:lnTo>
                      <a:lnTo>
                        <a:pt x="97195" y="532461"/>
                      </a:lnTo>
                      <a:lnTo>
                        <a:pt x="91159" y="531254"/>
                      </a:lnTo>
                      <a:lnTo>
                        <a:pt x="89951" y="543327"/>
                      </a:lnTo>
                      <a:lnTo>
                        <a:pt x="86933" y="542120"/>
                      </a:lnTo>
                      <a:lnTo>
                        <a:pt x="88744" y="556609"/>
                      </a:lnTo>
                      <a:lnTo>
                        <a:pt x="86329" y="562646"/>
                      </a:lnTo>
                      <a:lnTo>
                        <a:pt x="82103" y="562646"/>
                      </a:lnTo>
                      <a:lnTo>
                        <a:pt x="77877" y="568079"/>
                      </a:lnTo>
                      <a:lnTo>
                        <a:pt x="72444" y="569890"/>
                      </a:lnTo>
                      <a:lnTo>
                        <a:pt x="70633" y="559023"/>
                      </a:lnTo>
                      <a:lnTo>
                        <a:pt x="70633" y="552987"/>
                      </a:lnTo>
                      <a:lnTo>
                        <a:pt x="63992" y="536083"/>
                      </a:lnTo>
                      <a:lnTo>
                        <a:pt x="69425" y="535480"/>
                      </a:lnTo>
                      <a:lnTo>
                        <a:pt x="73048" y="533065"/>
                      </a:lnTo>
                      <a:lnTo>
                        <a:pt x="73048" y="527028"/>
                      </a:lnTo>
                      <a:lnTo>
                        <a:pt x="70633" y="525217"/>
                      </a:lnTo>
                      <a:lnTo>
                        <a:pt x="69425" y="513746"/>
                      </a:lnTo>
                      <a:lnTo>
                        <a:pt x="69425" y="508313"/>
                      </a:lnTo>
                      <a:lnTo>
                        <a:pt x="67011" y="501069"/>
                      </a:lnTo>
                      <a:lnTo>
                        <a:pt x="67614" y="494428"/>
                      </a:lnTo>
                      <a:lnTo>
                        <a:pt x="62785" y="478128"/>
                      </a:lnTo>
                      <a:lnTo>
                        <a:pt x="60974" y="462432"/>
                      </a:lnTo>
                      <a:lnTo>
                        <a:pt x="57955" y="442510"/>
                      </a:lnTo>
                      <a:lnTo>
                        <a:pt x="55540" y="419570"/>
                      </a:lnTo>
                      <a:lnTo>
                        <a:pt x="53126" y="408099"/>
                      </a:lnTo>
                      <a:lnTo>
                        <a:pt x="50107" y="400251"/>
                      </a:lnTo>
                      <a:lnTo>
                        <a:pt x="45881" y="395422"/>
                      </a:lnTo>
                      <a:lnTo>
                        <a:pt x="44674" y="387574"/>
                      </a:lnTo>
                      <a:lnTo>
                        <a:pt x="40448" y="381537"/>
                      </a:lnTo>
                      <a:lnTo>
                        <a:pt x="41655" y="374896"/>
                      </a:lnTo>
                      <a:lnTo>
                        <a:pt x="40448" y="371274"/>
                      </a:lnTo>
                      <a:lnTo>
                        <a:pt x="35015" y="367048"/>
                      </a:lnTo>
                      <a:lnTo>
                        <a:pt x="32600" y="362218"/>
                      </a:lnTo>
                      <a:lnTo>
                        <a:pt x="29581" y="361011"/>
                      </a:lnTo>
                      <a:lnTo>
                        <a:pt x="27770" y="357992"/>
                      </a:lnTo>
                      <a:lnTo>
                        <a:pt x="23544" y="356181"/>
                      </a:lnTo>
                      <a:lnTo>
                        <a:pt x="24752" y="352559"/>
                      </a:lnTo>
                      <a:lnTo>
                        <a:pt x="24752" y="340485"/>
                      </a:lnTo>
                      <a:lnTo>
                        <a:pt x="27166" y="329619"/>
                      </a:lnTo>
                      <a:lnTo>
                        <a:pt x="25959" y="323582"/>
                      </a:lnTo>
                      <a:lnTo>
                        <a:pt x="21733" y="317545"/>
                      </a:lnTo>
                      <a:lnTo>
                        <a:pt x="22941" y="313923"/>
                      </a:lnTo>
                      <a:lnTo>
                        <a:pt x="21129" y="311508"/>
                      </a:lnTo>
                      <a:lnTo>
                        <a:pt x="22941" y="306678"/>
                      </a:lnTo>
                      <a:lnTo>
                        <a:pt x="20526" y="298227"/>
                      </a:lnTo>
                      <a:lnTo>
                        <a:pt x="20526" y="289171"/>
                      </a:lnTo>
                      <a:lnTo>
                        <a:pt x="30185" y="287964"/>
                      </a:lnTo>
                      <a:lnTo>
                        <a:pt x="26563" y="278304"/>
                      </a:lnTo>
                      <a:lnTo>
                        <a:pt x="25959" y="273475"/>
                      </a:lnTo>
                      <a:lnTo>
                        <a:pt x="22941" y="270456"/>
                      </a:lnTo>
                      <a:lnTo>
                        <a:pt x="25355" y="263212"/>
                      </a:lnTo>
                      <a:lnTo>
                        <a:pt x="20526" y="257175"/>
                      </a:lnTo>
                      <a:lnTo>
                        <a:pt x="20526" y="250534"/>
                      </a:lnTo>
                      <a:lnTo>
                        <a:pt x="18715" y="246308"/>
                      </a:lnTo>
                      <a:lnTo>
                        <a:pt x="16300" y="245705"/>
                      </a:lnTo>
                      <a:lnTo>
                        <a:pt x="13281" y="228197"/>
                      </a:lnTo>
                      <a:lnTo>
                        <a:pt x="10867" y="222764"/>
                      </a:lnTo>
                      <a:lnTo>
                        <a:pt x="11470" y="217935"/>
                      </a:lnTo>
                      <a:lnTo>
                        <a:pt x="9055" y="210087"/>
                      </a:lnTo>
                      <a:lnTo>
                        <a:pt x="6641" y="208879"/>
                      </a:lnTo>
                      <a:lnTo>
                        <a:pt x="7848" y="202239"/>
                      </a:lnTo>
                      <a:lnTo>
                        <a:pt x="4226" y="198013"/>
                      </a:lnTo>
                      <a:lnTo>
                        <a:pt x="7244" y="190768"/>
                      </a:lnTo>
                      <a:lnTo>
                        <a:pt x="7244" y="186543"/>
                      </a:lnTo>
                      <a:lnTo>
                        <a:pt x="1811" y="178694"/>
                      </a:lnTo>
                      <a:lnTo>
                        <a:pt x="1207" y="176883"/>
                      </a:lnTo>
                      <a:lnTo>
                        <a:pt x="1207" y="171450"/>
                      </a:lnTo>
                      <a:lnTo>
                        <a:pt x="0" y="161791"/>
                      </a:lnTo>
                      <a:lnTo>
                        <a:pt x="1811" y="158772"/>
                      </a:lnTo>
                      <a:lnTo>
                        <a:pt x="4226" y="159376"/>
                      </a:lnTo>
                      <a:lnTo>
                        <a:pt x="5433" y="158772"/>
                      </a:lnTo>
                      <a:lnTo>
                        <a:pt x="4830" y="157565"/>
                      </a:lnTo>
                      <a:lnTo>
                        <a:pt x="4226" y="155754"/>
                      </a:lnTo>
                      <a:lnTo>
                        <a:pt x="3622" y="154546"/>
                      </a:lnTo>
                      <a:lnTo>
                        <a:pt x="3018" y="152735"/>
                      </a:lnTo>
                      <a:lnTo>
                        <a:pt x="5433" y="147906"/>
                      </a:lnTo>
                      <a:lnTo>
                        <a:pt x="6641" y="146698"/>
                      </a:lnTo>
                      <a:lnTo>
                        <a:pt x="7244" y="146698"/>
                      </a:lnTo>
                      <a:lnTo>
                        <a:pt x="8452" y="147906"/>
                      </a:lnTo>
                      <a:lnTo>
                        <a:pt x="9659" y="148509"/>
                      </a:lnTo>
                      <a:lnTo>
                        <a:pt x="12074" y="147906"/>
                      </a:lnTo>
                      <a:lnTo>
                        <a:pt x="12678" y="147302"/>
                      </a:lnTo>
                      <a:lnTo>
                        <a:pt x="12074" y="145491"/>
                      </a:lnTo>
                      <a:lnTo>
                        <a:pt x="11470" y="144887"/>
                      </a:lnTo>
                      <a:lnTo>
                        <a:pt x="11470" y="144284"/>
                      </a:lnTo>
                      <a:lnTo>
                        <a:pt x="12074" y="143680"/>
                      </a:lnTo>
                      <a:lnTo>
                        <a:pt x="12074" y="143076"/>
                      </a:lnTo>
                      <a:lnTo>
                        <a:pt x="12678" y="142472"/>
                      </a:lnTo>
                      <a:lnTo>
                        <a:pt x="12678" y="139454"/>
                      </a:lnTo>
                      <a:lnTo>
                        <a:pt x="14489" y="138850"/>
                      </a:lnTo>
                      <a:lnTo>
                        <a:pt x="14489" y="135228"/>
                      </a:lnTo>
                      <a:lnTo>
                        <a:pt x="12678" y="134624"/>
                      </a:lnTo>
                      <a:lnTo>
                        <a:pt x="10867" y="132210"/>
                      </a:lnTo>
                      <a:lnTo>
                        <a:pt x="10867" y="127380"/>
                      </a:lnTo>
                      <a:lnTo>
                        <a:pt x="10867" y="126776"/>
                      </a:lnTo>
                      <a:lnTo>
                        <a:pt x="10867" y="124361"/>
                      </a:lnTo>
                      <a:lnTo>
                        <a:pt x="12074" y="123154"/>
                      </a:lnTo>
                      <a:lnTo>
                        <a:pt x="13885" y="120136"/>
                      </a:lnTo>
                      <a:lnTo>
                        <a:pt x="11470" y="113495"/>
                      </a:lnTo>
                      <a:lnTo>
                        <a:pt x="12074" y="113495"/>
                      </a:lnTo>
                      <a:lnTo>
                        <a:pt x="12678" y="113495"/>
                      </a:lnTo>
                      <a:lnTo>
                        <a:pt x="11470" y="111684"/>
                      </a:lnTo>
                      <a:lnTo>
                        <a:pt x="12074" y="110477"/>
                      </a:lnTo>
                      <a:lnTo>
                        <a:pt x="11470" y="109269"/>
                      </a:lnTo>
                      <a:lnTo>
                        <a:pt x="11470" y="106854"/>
                      </a:lnTo>
                      <a:lnTo>
                        <a:pt x="12074" y="106251"/>
                      </a:lnTo>
                      <a:lnTo>
                        <a:pt x="12678" y="104440"/>
                      </a:lnTo>
                      <a:lnTo>
                        <a:pt x="11470" y="102629"/>
                      </a:lnTo>
                      <a:lnTo>
                        <a:pt x="13885" y="100214"/>
                      </a:lnTo>
                      <a:lnTo>
                        <a:pt x="13885" y="94781"/>
                      </a:lnTo>
                      <a:lnTo>
                        <a:pt x="14489" y="94177"/>
                      </a:lnTo>
                      <a:lnTo>
                        <a:pt x="13885" y="92970"/>
                      </a:lnTo>
                      <a:lnTo>
                        <a:pt x="14489" y="92366"/>
                      </a:lnTo>
                      <a:lnTo>
                        <a:pt x="13885" y="89347"/>
                      </a:lnTo>
                      <a:lnTo>
                        <a:pt x="13885" y="86933"/>
                      </a:lnTo>
                      <a:lnTo>
                        <a:pt x="13885" y="86329"/>
                      </a:lnTo>
                      <a:lnTo>
                        <a:pt x="14489" y="85121"/>
                      </a:lnTo>
                      <a:lnTo>
                        <a:pt x="15092" y="85121"/>
                      </a:lnTo>
                      <a:lnTo>
                        <a:pt x="15696" y="85121"/>
                      </a:lnTo>
                      <a:lnTo>
                        <a:pt x="15092" y="83914"/>
                      </a:lnTo>
                      <a:lnTo>
                        <a:pt x="14489" y="80896"/>
                      </a:lnTo>
                      <a:lnTo>
                        <a:pt x="14489" y="78481"/>
                      </a:lnTo>
                      <a:lnTo>
                        <a:pt x="13885" y="75462"/>
                      </a:lnTo>
                      <a:lnTo>
                        <a:pt x="13885" y="74255"/>
                      </a:lnTo>
                      <a:lnTo>
                        <a:pt x="11470" y="69425"/>
                      </a:lnTo>
                      <a:lnTo>
                        <a:pt x="10263" y="69425"/>
                      </a:lnTo>
                      <a:lnTo>
                        <a:pt x="8452" y="67010"/>
                      </a:lnTo>
                      <a:lnTo>
                        <a:pt x="7848" y="66407"/>
                      </a:lnTo>
                      <a:lnTo>
                        <a:pt x="7848" y="65199"/>
                      </a:lnTo>
                      <a:lnTo>
                        <a:pt x="7244" y="64596"/>
                      </a:lnTo>
                      <a:lnTo>
                        <a:pt x="7244" y="63992"/>
                      </a:lnTo>
                      <a:lnTo>
                        <a:pt x="7244" y="63388"/>
                      </a:lnTo>
                      <a:lnTo>
                        <a:pt x="7244" y="61577"/>
                      </a:lnTo>
                      <a:lnTo>
                        <a:pt x="7244" y="60973"/>
                      </a:lnTo>
                      <a:lnTo>
                        <a:pt x="10867" y="60370"/>
                      </a:lnTo>
                      <a:lnTo>
                        <a:pt x="23544" y="60973"/>
                      </a:lnTo>
                      <a:lnTo>
                        <a:pt x="33203" y="60370"/>
                      </a:lnTo>
                      <a:lnTo>
                        <a:pt x="32600" y="73651"/>
                      </a:lnTo>
                      <a:lnTo>
                        <a:pt x="35618" y="78481"/>
                      </a:lnTo>
                      <a:lnTo>
                        <a:pt x="36222" y="80896"/>
                      </a:lnTo>
                      <a:lnTo>
                        <a:pt x="36222" y="83310"/>
                      </a:lnTo>
                      <a:lnTo>
                        <a:pt x="37429" y="83310"/>
                      </a:lnTo>
                      <a:lnTo>
                        <a:pt x="41655" y="86933"/>
                      </a:lnTo>
                      <a:lnTo>
                        <a:pt x="42259" y="86933"/>
                      </a:lnTo>
                      <a:lnTo>
                        <a:pt x="44070" y="85725"/>
                      </a:lnTo>
                      <a:lnTo>
                        <a:pt x="45881" y="82707"/>
                      </a:lnTo>
                      <a:lnTo>
                        <a:pt x="45881" y="82103"/>
                      </a:lnTo>
                      <a:lnTo>
                        <a:pt x="45881" y="81499"/>
                      </a:lnTo>
                      <a:lnTo>
                        <a:pt x="47089" y="80896"/>
                      </a:lnTo>
                      <a:lnTo>
                        <a:pt x="49503" y="80896"/>
                      </a:lnTo>
                      <a:lnTo>
                        <a:pt x="50107" y="79688"/>
                      </a:lnTo>
                      <a:lnTo>
                        <a:pt x="51314" y="80896"/>
                      </a:lnTo>
                      <a:lnTo>
                        <a:pt x="51918" y="80896"/>
                      </a:lnTo>
                      <a:lnTo>
                        <a:pt x="51314" y="79688"/>
                      </a:lnTo>
                      <a:lnTo>
                        <a:pt x="51918" y="78481"/>
                      </a:lnTo>
                      <a:lnTo>
                        <a:pt x="55540" y="78481"/>
                      </a:lnTo>
                      <a:lnTo>
                        <a:pt x="59163" y="67010"/>
                      </a:lnTo>
                      <a:lnTo>
                        <a:pt x="59766" y="62181"/>
                      </a:lnTo>
                      <a:lnTo>
                        <a:pt x="62785" y="60973"/>
                      </a:lnTo>
                      <a:lnTo>
                        <a:pt x="67614" y="62181"/>
                      </a:lnTo>
                      <a:lnTo>
                        <a:pt x="72444" y="60370"/>
                      </a:lnTo>
                      <a:lnTo>
                        <a:pt x="73651" y="53125"/>
                      </a:lnTo>
                      <a:lnTo>
                        <a:pt x="73651" y="47088"/>
                      </a:lnTo>
                      <a:lnTo>
                        <a:pt x="75462" y="42259"/>
                      </a:lnTo>
                      <a:lnTo>
                        <a:pt x="79085" y="43466"/>
                      </a:lnTo>
                      <a:lnTo>
                        <a:pt x="82103" y="39844"/>
                      </a:lnTo>
                      <a:lnTo>
                        <a:pt x="88744" y="37429"/>
                      </a:lnTo>
                      <a:lnTo>
                        <a:pt x="93573" y="25959"/>
                      </a:lnTo>
                      <a:lnTo>
                        <a:pt x="96592" y="15092"/>
                      </a:lnTo>
                      <a:lnTo>
                        <a:pt x="103836" y="0"/>
                      </a:lnTo>
                      <a:lnTo>
                        <a:pt x="111684" y="22337"/>
                      </a:lnTo>
                      <a:lnTo>
                        <a:pt x="120739" y="31392"/>
                      </a:lnTo>
                      <a:lnTo>
                        <a:pt x="124362" y="27166"/>
                      </a:lnTo>
                      <a:lnTo>
                        <a:pt x="128588" y="26563"/>
                      </a:lnTo>
                      <a:lnTo>
                        <a:pt x="132813" y="28374"/>
                      </a:lnTo>
                      <a:lnTo>
                        <a:pt x="134021" y="24148"/>
                      </a:lnTo>
                      <a:lnTo>
                        <a:pt x="138850" y="28374"/>
                      </a:lnTo>
                      <a:lnTo>
                        <a:pt x="144284" y="28374"/>
                      </a:lnTo>
                      <a:lnTo>
                        <a:pt x="148510" y="25355"/>
                      </a:lnTo>
                      <a:lnTo>
                        <a:pt x="152736" y="26563"/>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4" name="Nagaland" descr="{&quot;Key&quot;:&quot;nagaland&quot;,&quot;Name&quot;:&quot;Nagaland&quot;,&quot;Value&quot;:1.0,&quot;Formula&quot;:&quot;&quot;,&quot;Text&quot;:&quot;&quot;,&quot;OfficeApplication&quot;:1,&quot;HasValue&quot;:true}">
                  <a:extLst>
                    <a:ext uri="{FF2B5EF4-FFF2-40B4-BE49-F238E27FC236}">
                      <a16:creationId xmlns:a16="http://schemas.microsoft.com/office/drawing/2014/main" id="{58B9CD56-BBDF-4149-ACD6-6675006A2718}"/>
                    </a:ext>
                  </a:extLst>
                </p:cNvPr>
                <p:cNvSpPr/>
                <p:nvPr/>
              </p:nvSpPr>
              <p:spPr>
                <a:xfrm>
                  <a:off x="8267499" y="2452822"/>
                  <a:ext cx="392403" cy="422588"/>
                </a:xfrm>
                <a:custGeom>
                  <a:avLst/>
                  <a:gdLst>
                    <a:gd name="connsiteX0" fmla="*/ 393007 w 392403"/>
                    <a:gd name="connsiteY0" fmla="*/ 82707 h 422588"/>
                    <a:gd name="connsiteX1" fmla="*/ 386366 w 392403"/>
                    <a:gd name="connsiteY1" fmla="*/ 91158 h 422588"/>
                    <a:gd name="connsiteX2" fmla="*/ 381537 w 392403"/>
                    <a:gd name="connsiteY2" fmla="*/ 92366 h 422588"/>
                    <a:gd name="connsiteX3" fmla="*/ 375500 w 392403"/>
                    <a:gd name="connsiteY3" fmla="*/ 97799 h 422588"/>
                    <a:gd name="connsiteX4" fmla="*/ 375500 w 392403"/>
                    <a:gd name="connsiteY4" fmla="*/ 106854 h 422588"/>
                    <a:gd name="connsiteX5" fmla="*/ 372481 w 392403"/>
                    <a:gd name="connsiteY5" fmla="*/ 111684 h 422588"/>
                    <a:gd name="connsiteX6" fmla="*/ 367651 w 392403"/>
                    <a:gd name="connsiteY6" fmla="*/ 114702 h 422588"/>
                    <a:gd name="connsiteX7" fmla="*/ 368859 w 392403"/>
                    <a:gd name="connsiteY7" fmla="*/ 118928 h 422588"/>
                    <a:gd name="connsiteX8" fmla="*/ 365237 w 392403"/>
                    <a:gd name="connsiteY8" fmla="*/ 122551 h 422588"/>
                    <a:gd name="connsiteX9" fmla="*/ 357992 w 392403"/>
                    <a:gd name="connsiteY9" fmla="*/ 133417 h 422588"/>
                    <a:gd name="connsiteX10" fmla="*/ 357389 w 392403"/>
                    <a:gd name="connsiteY10" fmla="*/ 137039 h 422588"/>
                    <a:gd name="connsiteX11" fmla="*/ 361614 w 392403"/>
                    <a:gd name="connsiteY11" fmla="*/ 136436 h 422588"/>
                    <a:gd name="connsiteX12" fmla="*/ 366444 w 392403"/>
                    <a:gd name="connsiteY12" fmla="*/ 143076 h 422588"/>
                    <a:gd name="connsiteX13" fmla="*/ 365237 w 392403"/>
                    <a:gd name="connsiteY13" fmla="*/ 148510 h 422588"/>
                    <a:gd name="connsiteX14" fmla="*/ 371877 w 392403"/>
                    <a:gd name="connsiteY14" fmla="*/ 151528 h 422588"/>
                    <a:gd name="connsiteX15" fmla="*/ 370066 w 392403"/>
                    <a:gd name="connsiteY15" fmla="*/ 158772 h 422588"/>
                    <a:gd name="connsiteX16" fmla="*/ 370670 w 392403"/>
                    <a:gd name="connsiteY16" fmla="*/ 173261 h 422588"/>
                    <a:gd name="connsiteX17" fmla="*/ 368859 w 392403"/>
                    <a:gd name="connsiteY17" fmla="*/ 177487 h 422588"/>
                    <a:gd name="connsiteX18" fmla="*/ 370670 w 392403"/>
                    <a:gd name="connsiteY18" fmla="*/ 181713 h 422588"/>
                    <a:gd name="connsiteX19" fmla="*/ 368859 w 392403"/>
                    <a:gd name="connsiteY19" fmla="*/ 185335 h 422588"/>
                    <a:gd name="connsiteX20" fmla="*/ 373085 w 392403"/>
                    <a:gd name="connsiteY20" fmla="*/ 191372 h 422588"/>
                    <a:gd name="connsiteX21" fmla="*/ 370066 w 392403"/>
                    <a:gd name="connsiteY21" fmla="*/ 193787 h 422588"/>
                    <a:gd name="connsiteX22" fmla="*/ 367651 w 392403"/>
                    <a:gd name="connsiteY22" fmla="*/ 202842 h 422588"/>
                    <a:gd name="connsiteX23" fmla="*/ 370066 w 392403"/>
                    <a:gd name="connsiteY23" fmla="*/ 208879 h 422588"/>
                    <a:gd name="connsiteX24" fmla="*/ 368859 w 392403"/>
                    <a:gd name="connsiteY24" fmla="*/ 212501 h 422588"/>
                    <a:gd name="connsiteX25" fmla="*/ 370066 w 392403"/>
                    <a:gd name="connsiteY25" fmla="*/ 217331 h 422588"/>
                    <a:gd name="connsiteX26" fmla="*/ 374896 w 392403"/>
                    <a:gd name="connsiteY26" fmla="*/ 218538 h 422588"/>
                    <a:gd name="connsiteX27" fmla="*/ 377914 w 392403"/>
                    <a:gd name="connsiteY27" fmla="*/ 217935 h 422588"/>
                    <a:gd name="connsiteX28" fmla="*/ 382140 w 392403"/>
                    <a:gd name="connsiteY28" fmla="*/ 220953 h 422588"/>
                    <a:gd name="connsiteX29" fmla="*/ 377914 w 392403"/>
                    <a:gd name="connsiteY29" fmla="*/ 228198 h 422588"/>
                    <a:gd name="connsiteX30" fmla="*/ 377914 w 392403"/>
                    <a:gd name="connsiteY30" fmla="*/ 232423 h 422588"/>
                    <a:gd name="connsiteX31" fmla="*/ 372481 w 392403"/>
                    <a:gd name="connsiteY31" fmla="*/ 239064 h 422588"/>
                    <a:gd name="connsiteX32" fmla="*/ 368255 w 392403"/>
                    <a:gd name="connsiteY32" fmla="*/ 243290 h 422588"/>
                    <a:gd name="connsiteX33" fmla="*/ 365840 w 392403"/>
                    <a:gd name="connsiteY33" fmla="*/ 247516 h 422588"/>
                    <a:gd name="connsiteX34" fmla="*/ 359803 w 392403"/>
                    <a:gd name="connsiteY34" fmla="*/ 251742 h 422588"/>
                    <a:gd name="connsiteX35" fmla="*/ 355577 w 392403"/>
                    <a:gd name="connsiteY35" fmla="*/ 252346 h 422588"/>
                    <a:gd name="connsiteX36" fmla="*/ 349540 w 392403"/>
                    <a:gd name="connsiteY36" fmla="*/ 258986 h 422588"/>
                    <a:gd name="connsiteX37" fmla="*/ 347729 w 392403"/>
                    <a:gd name="connsiteY37" fmla="*/ 263212 h 422588"/>
                    <a:gd name="connsiteX38" fmla="*/ 347126 w 392403"/>
                    <a:gd name="connsiteY38" fmla="*/ 269853 h 422588"/>
                    <a:gd name="connsiteX39" fmla="*/ 350748 w 392403"/>
                    <a:gd name="connsiteY39" fmla="*/ 275890 h 422588"/>
                    <a:gd name="connsiteX40" fmla="*/ 351352 w 392403"/>
                    <a:gd name="connsiteY40" fmla="*/ 281927 h 422588"/>
                    <a:gd name="connsiteX41" fmla="*/ 353766 w 392403"/>
                    <a:gd name="connsiteY41" fmla="*/ 283738 h 422588"/>
                    <a:gd name="connsiteX42" fmla="*/ 353163 w 392403"/>
                    <a:gd name="connsiteY42" fmla="*/ 290378 h 422588"/>
                    <a:gd name="connsiteX43" fmla="*/ 354370 w 392403"/>
                    <a:gd name="connsiteY43" fmla="*/ 294604 h 422588"/>
                    <a:gd name="connsiteX44" fmla="*/ 350748 w 392403"/>
                    <a:gd name="connsiteY44" fmla="*/ 299434 h 422588"/>
                    <a:gd name="connsiteX45" fmla="*/ 345918 w 392403"/>
                    <a:gd name="connsiteY45" fmla="*/ 300641 h 422588"/>
                    <a:gd name="connsiteX46" fmla="*/ 340485 w 392403"/>
                    <a:gd name="connsiteY46" fmla="*/ 307886 h 422588"/>
                    <a:gd name="connsiteX47" fmla="*/ 332033 w 392403"/>
                    <a:gd name="connsiteY47" fmla="*/ 314526 h 422588"/>
                    <a:gd name="connsiteX48" fmla="*/ 330222 w 392403"/>
                    <a:gd name="connsiteY48" fmla="*/ 317545 h 422588"/>
                    <a:gd name="connsiteX49" fmla="*/ 327204 w 392403"/>
                    <a:gd name="connsiteY49" fmla="*/ 328411 h 422588"/>
                    <a:gd name="connsiteX50" fmla="*/ 320563 w 392403"/>
                    <a:gd name="connsiteY50" fmla="*/ 335052 h 422588"/>
                    <a:gd name="connsiteX51" fmla="*/ 324185 w 392403"/>
                    <a:gd name="connsiteY51" fmla="*/ 339278 h 422588"/>
                    <a:gd name="connsiteX52" fmla="*/ 313319 w 392403"/>
                    <a:gd name="connsiteY52" fmla="*/ 340485 h 422588"/>
                    <a:gd name="connsiteX53" fmla="*/ 310300 w 392403"/>
                    <a:gd name="connsiteY53" fmla="*/ 343504 h 422588"/>
                    <a:gd name="connsiteX54" fmla="*/ 304867 w 392403"/>
                    <a:gd name="connsiteY54" fmla="*/ 356181 h 422588"/>
                    <a:gd name="connsiteX55" fmla="*/ 299434 w 392403"/>
                    <a:gd name="connsiteY55" fmla="*/ 357389 h 422588"/>
                    <a:gd name="connsiteX56" fmla="*/ 297019 w 392403"/>
                    <a:gd name="connsiteY56" fmla="*/ 359200 h 422588"/>
                    <a:gd name="connsiteX57" fmla="*/ 293397 w 392403"/>
                    <a:gd name="connsiteY57" fmla="*/ 356785 h 422588"/>
                    <a:gd name="connsiteX58" fmla="*/ 291586 w 392403"/>
                    <a:gd name="connsiteY58" fmla="*/ 359804 h 422588"/>
                    <a:gd name="connsiteX59" fmla="*/ 279512 w 392403"/>
                    <a:gd name="connsiteY59" fmla="*/ 362822 h 422588"/>
                    <a:gd name="connsiteX60" fmla="*/ 278304 w 392403"/>
                    <a:gd name="connsiteY60" fmla="*/ 364030 h 422588"/>
                    <a:gd name="connsiteX61" fmla="*/ 273475 w 392403"/>
                    <a:gd name="connsiteY61" fmla="*/ 364633 h 422588"/>
                    <a:gd name="connsiteX62" fmla="*/ 266230 w 392403"/>
                    <a:gd name="connsiteY62" fmla="*/ 362218 h 422588"/>
                    <a:gd name="connsiteX63" fmla="*/ 252345 w 392403"/>
                    <a:gd name="connsiteY63" fmla="*/ 351956 h 422588"/>
                    <a:gd name="connsiteX64" fmla="*/ 253553 w 392403"/>
                    <a:gd name="connsiteY64" fmla="*/ 345919 h 422588"/>
                    <a:gd name="connsiteX65" fmla="*/ 252345 w 392403"/>
                    <a:gd name="connsiteY65" fmla="*/ 335052 h 422588"/>
                    <a:gd name="connsiteX66" fmla="*/ 257779 w 392403"/>
                    <a:gd name="connsiteY66" fmla="*/ 324185 h 422588"/>
                    <a:gd name="connsiteX67" fmla="*/ 256571 w 392403"/>
                    <a:gd name="connsiteY67" fmla="*/ 321771 h 422588"/>
                    <a:gd name="connsiteX68" fmla="*/ 260797 w 392403"/>
                    <a:gd name="connsiteY68" fmla="*/ 312112 h 422588"/>
                    <a:gd name="connsiteX69" fmla="*/ 255967 w 392403"/>
                    <a:gd name="connsiteY69" fmla="*/ 309697 h 422588"/>
                    <a:gd name="connsiteX70" fmla="*/ 254156 w 392403"/>
                    <a:gd name="connsiteY70" fmla="*/ 313319 h 422588"/>
                    <a:gd name="connsiteX71" fmla="*/ 248723 w 392403"/>
                    <a:gd name="connsiteY71" fmla="*/ 320563 h 422588"/>
                    <a:gd name="connsiteX72" fmla="*/ 243893 w 392403"/>
                    <a:gd name="connsiteY72" fmla="*/ 324789 h 422588"/>
                    <a:gd name="connsiteX73" fmla="*/ 239064 w 392403"/>
                    <a:gd name="connsiteY73" fmla="*/ 327808 h 422588"/>
                    <a:gd name="connsiteX74" fmla="*/ 235442 w 392403"/>
                    <a:gd name="connsiteY74" fmla="*/ 327204 h 422588"/>
                    <a:gd name="connsiteX75" fmla="*/ 229405 w 392403"/>
                    <a:gd name="connsiteY75" fmla="*/ 333241 h 422588"/>
                    <a:gd name="connsiteX76" fmla="*/ 226386 w 392403"/>
                    <a:gd name="connsiteY76" fmla="*/ 333845 h 422588"/>
                    <a:gd name="connsiteX77" fmla="*/ 224575 w 392403"/>
                    <a:gd name="connsiteY77" fmla="*/ 337467 h 422588"/>
                    <a:gd name="connsiteX78" fmla="*/ 225179 w 392403"/>
                    <a:gd name="connsiteY78" fmla="*/ 342900 h 422588"/>
                    <a:gd name="connsiteX79" fmla="*/ 217935 w 392403"/>
                    <a:gd name="connsiteY79" fmla="*/ 346522 h 422588"/>
                    <a:gd name="connsiteX80" fmla="*/ 212501 w 392403"/>
                    <a:gd name="connsiteY80" fmla="*/ 350144 h 422588"/>
                    <a:gd name="connsiteX81" fmla="*/ 199824 w 392403"/>
                    <a:gd name="connsiteY81" fmla="*/ 356181 h 422588"/>
                    <a:gd name="connsiteX82" fmla="*/ 196805 w 392403"/>
                    <a:gd name="connsiteY82" fmla="*/ 351956 h 422588"/>
                    <a:gd name="connsiteX83" fmla="*/ 194391 w 392403"/>
                    <a:gd name="connsiteY83" fmla="*/ 354370 h 422588"/>
                    <a:gd name="connsiteX84" fmla="*/ 183524 w 392403"/>
                    <a:gd name="connsiteY84" fmla="*/ 355578 h 422588"/>
                    <a:gd name="connsiteX85" fmla="*/ 176883 w 392403"/>
                    <a:gd name="connsiteY85" fmla="*/ 347730 h 422588"/>
                    <a:gd name="connsiteX86" fmla="*/ 176883 w 392403"/>
                    <a:gd name="connsiteY86" fmla="*/ 343504 h 422588"/>
                    <a:gd name="connsiteX87" fmla="*/ 169035 w 392403"/>
                    <a:gd name="connsiteY87" fmla="*/ 344107 h 422588"/>
                    <a:gd name="connsiteX88" fmla="*/ 166017 w 392403"/>
                    <a:gd name="connsiteY88" fmla="*/ 349541 h 422588"/>
                    <a:gd name="connsiteX89" fmla="*/ 156357 w 392403"/>
                    <a:gd name="connsiteY89" fmla="*/ 347126 h 422588"/>
                    <a:gd name="connsiteX90" fmla="*/ 155150 w 392403"/>
                    <a:gd name="connsiteY90" fmla="*/ 341089 h 422588"/>
                    <a:gd name="connsiteX91" fmla="*/ 152132 w 392403"/>
                    <a:gd name="connsiteY91" fmla="*/ 341693 h 422588"/>
                    <a:gd name="connsiteX92" fmla="*/ 139454 w 392403"/>
                    <a:gd name="connsiteY92" fmla="*/ 333241 h 422588"/>
                    <a:gd name="connsiteX93" fmla="*/ 140058 w 392403"/>
                    <a:gd name="connsiteY93" fmla="*/ 337467 h 422588"/>
                    <a:gd name="connsiteX94" fmla="*/ 133417 w 392403"/>
                    <a:gd name="connsiteY94" fmla="*/ 338674 h 422588"/>
                    <a:gd name="connsiteX95" fmla="*/ 130398 w 392403"/>
                    <a:gd name="connsiteY95" fmla="*/ 341693 h 422588"/>
                    <a:gd name="connsiteX96" fmla="*/ 126172 w 392403"/>
                    <a:gd name="connsiteY96" fmla="*/ 340485 h 422588"/>
                    <a:gd name="connsiteX97" fmla="*/ 115306 w 392403"/>
                    <a:gd name="connsiteY97" fmla="*/ 339278 h 422588"/>
                    <a:gd name="connsiteX98" fmla="*/ 109269 w 392403"/>
                    <a:gd name="connsiteY98" fmla="*/ 341693 h 422588"/>
                    <a:gd name="connsiteX99" fmla="*/ 103836 w 392403"/>
                    <a:gd name="connsiteY99" fmla="*/ 340485 h 422588"/>
                    <a:gd name="connsiteX100" fmla="*/ 100214 w 392403"/>
                    <a:gd name="connsiteY100" fmla="*/ 344711 h 422588"/>
                    <a:gd name="connsiteX101" fmla="*/ 92366 w 392403"/>
                    <a:gd name="connsiteY101" fmla="*/ 345919 h 422588"/>
                    <a:gd name="connsiteX102" fmla="*/ 88744 w 392403"/>
                    <a:gd name="connsiteY102" fmla="*/ 351352 h 422588"/>
                    <a:gd name="connsiteX103" fmla="*/ 89347 w 392403"/>
                    <a:gd name="connsiteY103" fmla="*/ 354974 h 422588"/>
                    <a:gd name="connsiteX104" fmla="*/ 94177 w 392403"/>
                    <a:gd name="connsiteY104" fmla="*/ 353163 h 422588"/>
                    <a:gd name="connsiteX105" fmla="*/ 99006 w 392403"/>
                    <a:gd name="connsiteY105" fmla="*/ 358596 h 422588"/>
                    <a:gd name="connsiteX106" fmla="*/ 98403 w 392403"/>
                    <a:gd name="connsiteY106" fmla="*/ 362822 h 422588"/>
                    <a:gd name="connsiteX107" fmla="*/ 92366 w 392403"/>
                    <a:gd name="connsiteY107" fmla="*/ 371878 h 422588"/>
                    <a:gd name="connsiteX108" fmla="*/ 85121 w 392403"/>
                    <a:gd name="connsiteY108" fmla="*/ 376707 h 422588"/>
                    <a:gd name="connsiteX109" fmla="*/ 83914 w 392403"/>
                    <a:gd name="connsiteY109" fmla="*/ 381537 h 422588"/>
                    <a:gd name="connsiteX110" fmla="*/ 80292 w 392403"/>
                    <a:gd name="connsiteY110" fmla="*/ 383348 h 422588"/>
                    <a:gd name="connsiteX111" fmla="*/ 77877 w 392403"/>
                    <a:gd name="connsiteY111" fmla="*/ 387574 h 422588"/>
                    <a:gd name="connsiteX112" fmla="*/ 74255 w 392403"/>
                    <a:gd name="connsiteY112" fmla="*/ 386366 h 422588"/>
                    <a:gd name="connsiteX113" fmla="*/ 73047 w 392403"/>
                    <a:gd name="connsiteY113" fmla="*/ 393611 h 422588"/>
                    <a:gd name="connsiteX114" fmla="*/ 70029 w 392403"/>
                    <a:gd name="connsiteY114" fmla="*/ 394214 h 422588"/>
                    <a:gd name="connsiteX115" fmla="*/ 70029 w 392403"/>
                    <a:gd name="connsiteY115" fmla="*/ 397837 h 422588"/>
                    <a:gd name="connsiteX116" fmla="*/ 65199 w 392403"/>
                    <a:gd name="connsiteY116" fmla="*/ 407496 h 422588"/>
                    <a:gd name="connsiteX117" fmla="*/ 56747 w 392403"/>
                    <a:gd name="connsiteY117" fmla="*/ 422588 h 422588"/>
                    <a:gd name="connsiteX118" fmla="*/ 53729 w 392403"/>
                    <a:gd name="connsiteY118" fmla="*/ 422588 h 422588"/>
                    <a:gd name="connsiteX119" fmla="*/ 53125 w 392403"/>
                    <a:gd name="connsiteY119" fmla="*/ 418966 h 422588"/>
                    <a:gd name="connsiteX120" fmla="*/ 50107 w 392403"/>
                    <a:gd name="connsiteY120" fmla="*/ 417155 h 422588"/>
                    <a:gd name="connsiteX121" fmla="*/ 47692 w 392403"/>
                    <a:gd name="connsiteY121" fmla="*/ 412929 h 422588"/>
                    <a:gd name="connsiteX122" fmla="*/ 42862 w 392403"/>
                    <a:gd name="connsiteY122" fmla="*/ 412929 h 422588"/>
                    <a:gd name="connsiteX123" fmla="*/ 35618 w 392403"/>
                    <a:gd name="connsiteY123" fmla="*/ 411118 h 422588"/>
                    <a:gd name="connsiteX124" fmla="*/ 36825 w 392403"/>
                    <a:gd name="connsiteY124" fmla="*/ 406288 h 422588"/>
                    <a:gd name="connsiteX125" fmla="*/ 29581 w 392403"/>
                    <a:gd name="connsiteY125" fmla="*/ 405081 h 422588"/>
                    <a:gd name="connsiteX126" fmla="*/ 28977 w 392403"/>
                    <a:gd name="connsiteY126" fmla="*/ 398440 h 422588"/>
                    <a:gd name="connsiteX127" fmla="*/ 25355 w 392403"/>
                    <a:gd name="connsiteY127" fmla="*/ 394818 h 422588"/>
                    <a:gd name="connsiteX128" fmla="*/ 24751 w 392403"/>
                    <a:gd name="connsiteY128" fmla="*/ 390592 h 422588"/>
                    <a:gd name="connsiteX129" fmla="*/ 30185 w 392403"/>
                    <a:gd name="connsiteY129" fmla="*/ 382140 h 422588"/>
                    <a:gd name="connsiteX130" fmla="*/ 27166 w 392403"/>
                    <a:gd name="connsiteY130" fmla="*/ 375500 h 422588"/>
                    <a:gd name="connsiteX131" fmla="*/ 25355 w 392403"/>
                    <a:gd name="connsiteY131" fmla="*/ 368255 h 422588"/>
                    <a:gd name="connsiteX132" fmla="*/ 21129 w 392403"/>
                    <a:gd name="connsiteY132" fmla="*/ 365237 h 422588"/>
                    <a:gd name="connsiteX133" fmla="*/ 17507 w 392403"/>
                    <a:gd name="connsiteY133" fmla="*/ 365841 h 422588"/>
                    <a:gd name="connsiteX134" fmla="*/ 12074 w 392403"/>
                    <a:gd name="connsiteY134" fmla="*/ 362218 h 422588"/>
                    <a:gd name="connsiteX135" fmla="*/ 12074 w 392403"/>
                    <a:gd name="connsiteY135" fmla="*/ 357993 h 422588"/>
                    <a:gd name="connsiteX136" fmla="*/ 7848 w 392403"/>
                    <a:gd name="connsiteY136" fmla="*/ 354370 h 422588"/>
                    <a:gd name="connsiteX137" fmla="*/ 5433 w 392403"/>
                    <a:gd name="connsiteY137" fmla="*/ 348333 h 422588"/>
                    <a:gd name="connsiteX138" fmla="*/ 0 w 392403"/>
                    <a:gd name="connsiteY138" fmla="*/ 343504 h 422588"/>
                    <a:gd name="connsiteX139" fmla="*/ 2415 w 392403"/>
                    <a:gd name="connsiteY139" fmla="*/ 341089 h 422588"/>
                    <a:gd name="connsiteX140" fmla="*/ 8452 w 392403"/>
                    <a:gd name="connsiteY140" fmla="*/ 339278 h 422588"/>
                    <a:gd name="connsiteX141" fmla="*/ 12074 w 392403"/>
                    <a:gd name="connsiteY141" fmla="*/ 333241 h 422588"/>
                    <a:gd name="connsiteX142" fmla="*/ 15092 w 392403"/>
                    <a:gd name="connsiteY142" fmla="*/ 332637 h 422588"/>
                    <a:gd name="connsiteX143" fmla="*/ 17507 w 392403"/>
                    <a:gd name="connsiteY143" fmla="*/ 327204 h 422588"/>
                    <a:gd name="connsiteX144" fmla="*/ 27166 w 392403"/>
                    <a:gd name="connsiteY144" fmla="*/ 321771 h 422588"/>
                    <a:gd name="connsiteX145" fmla="*/ 30788 w 392403"/>
                    <a:gd name="connsiteY145" fmla="*/ 321771 h 422588"/>
                    <a:gd name="connsiteX146" fmla="*/ 38636 w 392403"/>
                    <a:gd name="connsiteY146" fmla="*/ 312715 h 422588"/>
                    <a:gd name="connsiteX147" fmla="*/ 43466 w 392403"/>
                    <a:gd name="connsiteY147" fmla="*/ 308489 h 422588"/>
                    <a:gd name="connsiteX148" fmla="*/ 43466 w 392403"/>
                    <a:gd name="connsiteY148" fmla="*/ 303056 h 422588"/>
                    <a:gd name="connsiteX149" fmla="*/ 51918 w 392403"/>
                    <a:gd name="connsiteY149" fmla="*/ 295812 h 422588"/>
                    <a:gd name="connsiteX150" fmla="*/ 59766 w 392403"/>
                    <a:gd name="connsiteY150" fmla="*/ 290982 h 422588"/>
                    <a:gd name="connsiteX151" fmla="*/ 60973 w 392403"/>
                    <a:gd name="connsiteY151" fmla="*/ 285549 h 422588"/>
                    <a:gd name="connsiteX152" fmla="*/ 65199 w 392403"/>
                    <a:gd name="connsiteY152" fmla="*/ 280719 h 422588"/>
                    <a:gd name="connsiteX153" fmla="*/ 71236 w 392403"/>
                    <a:gd name="connsiteY153" fmla="*/ 279512 h 422588"/>
                    <a:gd name="connsiteX154" fmla="*/ 71840 w 392403"/>
                    <a:gd name="connsiteY154" fmla="*/ 277097 h 422588"/>
                    <a:gd name="connsiteX155" fmla="*/ 77273 w 392403"/>
                    <a:gd name="connsiteY155" fmla="*/ 274079 h 422588"/>
                    <a:gd name="connsiteX156" fmla="*/ 73651 w 392403"/>
                    <a:gd name="connsiteY156" fmla="*/ 265627 h 422588"/>
                    <a:gd name="connsiteX157" fmla="*/ 73047 w 392403"/>
                    <a:gd name="connsiteY157" fmla="*/ 261401 h 422588"/>
                    <a:gd name="connsiteX158" fmla="*/ 86329 w 392403"/>
                    <a:gd name="connsiteY158" fmla="*/ 254760 h 422588"/>
                    <a:gd name="connsiteX159" fmla="*/ 89951 w 392403"/>
                    <a:gd name="connsiteY159" fmla="*/ 250534 h 422588"/>
                    <a:gd name="connsiteX160" fmla="*/ 93573 w 392403"/>
                    <a:gd name="connsiteY160" fmla="*/ 249931 h 422588"/>
                    <a:gd name="connsiteX161" fmla="*/ 95988 w 392403"/>
                    <a:gd name="connsiteY161" fmla="*/ 261401 h 422588"/>
                    <a:gd name="connsiteX162" fmla="*/ 92366 w 392403"/>
                    <a:gd name="connsiteY162" fmla="*/ 275890 h 422588"/>
                    <a:gd name="connsiteX163" fmla="*/ 95384 w 392403"/>
                    <a:gd name="connsiteY163" fmla="*/ 283134 h 422588"/>
                    <a:gd name="connsiteX164" fmla="*/ 100214 w 392403"/>
                    <a:gd name="connsiteY164" fmla="*/ 280116 h 422588"/>
                    <a:gd name="connsiteX165" fmla="*/ 101421 w 392403"/>
                    <a:gd name="connsiteY165" fmla="*/ 275286 h 422588"/>
                    <a:gd name="connsiteX166" fmla="*/ 106854 w 392403"/>
                    <a:gd name="connsiteY166" fmla="*/ 271664 h 422588"/>
                    <a:gd name="connsiteX167" fmla="*/ 113495 w 392403"/>
                    <a:gd name="connsiteY167" fmla="*/ 275890 h 422588"/>
                    <a:gd name="connsiteX168" fmla="*/ 115910 w 392403"/>
                    <a:gd name="connsiteY168" fmla="*/ 271664 h 422588"/>
                    <a:gd name="connsiteX169" fmla="*/ 120136 w 392403"/>
                    <a:gd name="connsiteY169" fmla="*/ 266231 h 422588"/>
                    <a:gd name="connsiteX170" fmla="*/ 129191 w 392403"/>
                    <a:gd name="connsiteY170" fmla="*/ 262005 h 422588"/>
                    <a:gd name="connsiteX171" fmla="*/ 134021 w 392403"/>
                    <a:gd name="connsiteY171" fmla="*/ 257175 h 422588"/>
                    <a:gd name="connsiteX172" fmla="*/ 131002 w 392403"/>
                    <a:gd name="connsiteY172" fmla="*/ 249327 h 422588"/>
                    <a:gd name="connsiteX173" fmla="*/ 128587 w 392403"/>
                    <a:gd name="connsiteY173" fmla="*/ 246309 h 422588"/>
                    <a:gd name="connsiteX174" fmla="*/ 129191 w 392403"/>
                    <a:gd name="connsiteY174" fmla="*/ 240875 h 422588"/>
                    <a:gd name="connsiteX175" fmla="*/ 127984 w 392403"/>
                    <a:gd name="connsiteY175" fmla="*/ 238460 h 422588"/>
                    <a:gd name="connsiteX176" fmla="*/ 130398 w 392403"/>
                    <a:gd name="connsiteY176" fmla="*/ 230612 h 422588"/>
                    <a:gd name="connsiteX177" fmla="*/ 135832 w 392403"/>
                    <a:gd name="connsiteY177" fmla="*/ 223972 h 422588"/>
                    <a:gd name="connsiteX178" fmla="*/ 134624 w 392403"/>
                    <a:gd name="connsiteY178" fmla="*/ 221557 h 422588"/>
                    <a:gd name="connsiteX179" fmla="*/ 138850 w 392403"/>
                    <a:gd name="connsiteY179" fmla="*/ 206465 h 422588"/>
                    <a:gd name="connsiteX180" fmla="*/ 137643 w 392403"/>
                    <a:gd name="connsiteY180" fmla="*/ 204050 h 422588"/>
                    <a:gd name="connsiteX181" fmla="*/ 140058 w 392403"/>
                    <a:gd name="connsiteY181" fmla="*/ 197409 h 422588"/>
                    <a:gd name="connsiteX182" fmla="*/ 144887 w 392403"/>
                    <a:gd name="connsiteY182" fmla="*/ 193787 h 422588"/>
                    <a:gd name="connsiteX183" fmla="*/ 146095 w 392403"/>
                    <a:gd name="connsiteY183" fmla="*/ 186543 h 422588"/>
                    <a:gd name="connsiteX184" fmla="*/ 148509 w 392403"/>
                    <a:gd name="connsiteY184" fmla="*/ 181713 h 422588"/>
                    <a:gd name="connsiteX185" fmla="*/ 152132 w 392403"/>
                    <a:gd name="connsiteY185" fmla="*/ 180506 h 422588"/>
                    <a:gd name="connsiteX186" fmla="*/ 155754 w 392403"/>
                    <a:gd name="connsiteY186" fmla="*/ 173865 h 422588"/>
                    <a:gd name="connsiteX187" fmla="*/ 158772 w 392403"/>
                    <a:gd name="connsiteY187" fmla="*/ 169639 h 422588"/>
                    <a:gd name="connsiteX188" fmla="*/ 159980 w 392403"/>
                    <a:gd name="connsiteY188" fmla="*/ 165413 h 422588"/>
                    <a:gd name="connsiteX189" fmla="*/ 166017 w 392403"/>
                    <a:gd name="connsiteY189" fmla="*/ 161791 h 422588"/>
                    <a:gd name="connsiteX190" fmla="*/ 171450 w 392403"/>
                    <a:gd name="connsiteY190" fmla="*/ 162395 h 422588"/>
                    <a:gd name="connsiteX191" fmla="*/ 171450 w 392403"/>
                    <a:gd name="connsiteY191" fmla="*/ 157565 h 422588"/>
                    <a:gd name="connsiteX192" fmla="*/ 174468 w 392403"/>
                    <a:gd name="connsiteY192" fmla="*/ 150924 h 422588"/>
                    <a:gd name="connsiteX193" fmla="*/ 173865 w 392403"/>
                    <a:gd name="connsiteY193" fmla="*/ 141265 h 422588"/>
                    <a:gd name="connsiteX194" fmla="*/ 176280 w 392403"/>
                    <a:gd name="connsiteY194" fmla="*/ 134625 h 422588"/>
                    <a:gd name="connsiteX195" fmla="*/ 179298 w 392403"/>
                    <a:gd name="connsiteY195" fmla="*/ 132210 h 422588"/>
                    <a:gd name="connsiteX196" fmla="*/ 181109 w 392403"/>
                    <a:gd name="connsiteY196" fmla="*/ 127984 h 422588"/>
                    <a:gd name="connsiteX197" fmla="*/ 187146 w 392403"/>
                    <a:gd name="connsiteY197" fmla="*/ 123154 h 422588"/>
                    <a:gd name="connsiteX198" fmla="*/ 191976 w 392403"/>
                    <a:gd name="connsiteY198" fmla="*/ 115306 h 422588"/>
                    <a:gd name="connsiteX199" fmla="*/ 195598 w 392403"/>
                    <a:gd name="connsiteY199" fmla="*/ 111080 h 422588"/>
                    <a:gd name="connsiteX200" fmla="*/ 196805 w 392403"/>
                    <a:gd name="connsiteY200" fmla="*/ 123758 h 422588"/>
                    <a:gd name="connsiteX201" fmla="*/ 198013 w 392403"/>
                    <a:gd name="connsiteY201" fmla="*/ 129795 h 422588"/>
                    <a:gd name="connsiteX202" fmla="*/ 202842 w 392403"/>
                    <a:gd name="connsiteY202" fmla="*/ 134021 h 422588"/>
                    <a:gd name="connsiteX203" fmla="*/ 204653 w 392403"/>
                    <a:gd name="connsiteY203" fmla="*/ 130399 h 422588"/>
                    <a:gd name="connsiteX204" fmla="*/ 210087 w 392403"/>
                    <a:gd name="connsiteY204" fmla="*/ 126776 h 422588"/>
                    <a:gd name="connsiteX205" fmla="*/ 210087 w 392403"/>
                    <a:gd name="connsiteY205" fmla="*/ 123758 h 422588"/>
                    <a:gd name="connsiteX206" fmla="*/ 215520 w 392403"/>
                    <a:gd name="connsiteY206" fmla="*/ 122551 h 422588"/>
                    <a:gd name="connsiteX207" fmla="*/ 215520 w 392403"/>
                    <a:gd name="connsiteY207" fmla="*/ 119532 h 422588"/>
                    <a:gd name="connsiteX208" fmla="*/ 219142 w 392403"/>
                    <a:gd name="connsiteY208" fmla="*/ 118928 h 422588"/>
                    <a:gd name="connsiteX209" fmla="*/ 223368 w 392403"/>
                    <a:gd name="connsiteY209" fmla="*/ 106251 h 422588"/>
                    <a:gd name="connsiteX210" fmla="*/ 221557 w 392403"/>
                    <a:gd name="connsiteY210" fmla="*/ 102025 h 422588"/>
                    <a:gd name="connsiteX211" fmla="*/ 222161 w 392403"/>
                    <a:gd name="connsiteY211" fmla="*/ 98403 h 422588"/>
                    <a:gd name="connsiteX212" fmla="*/ 231216 w 392403"/>
                    <a:gd name="connsiteY212" fmla="*/ 93573 h 422588"/>
                    <a:gd name="connsiteX213" fmla="*/ 234234 w 392403"/>
                    <a:gd name="connsiteY213" fmla="*/ 86329 h 422588"/>
                    <a:gd name="connsiteX214" fmla="*/ 240271 w 392403"/>
                    <a:gd name="connsiteY214" fmla="*/ 85725 h 422588"/>
                    <a:gd name="connsiteX215" fmla="*/ 243893 w 392403"/>
                    <a:gd name="connsiteY215" fmla="*/ 82103 h 422588"/>
                    <a:gd name="connsiteX216" fmla="*/ 245101 w 392403"/>
                    <a:gd name="connsiteY216" fmla="*/ 79084 h 422588"/>
                    <a:gd name="connsiteX217" fmla="*/ 249930 w 392403"/>
                    <a:gd name="connsiteY217" fmla="*/ 76670 h 422588"/>
                    <a:gd name="connsiteX218" fmla="*/ 259590 w 392403"/>
                    <a:gd name="connsiteY218" fmla="*/ 78481 h 422588"/>
                    <a:gd name="connsiteX219" fmla="*/ 260193 w 392403"/>
                    <a:gd name="connsiteY219" fmla="*/ 73651 h 422588"/>
                    <a:gd name="connsiteX220" fmla="*/ 263212 w 392403"/>
                    <a:gd name="connsiteY220" fmla="*/ 70029 h 422588"/>
                    <a:gd name="connsiteX221" fmla="*/ 265627 w 392403"/>
                    <a:gd name="connsiteY221" fmla="*/ 74255 h 422588"/>
                    <a:gd name="connsiteX222" fmla="*/ 272267 w 392403"/>
                    <a:gd name="connsiteY222" fmla="*/ 73651 h 422588"/>
                    <a:gd name="connsiteX223" fmla="*/ 278908 w 392403"/>
                    <a:gd name="connsiteY223" fmla="*/ 71840 h 422588"/>
                    <a:gd name="connsiteX224" fmla="*/ 288567 w 392403"/>
                    <a:gd name="connsiteY224" fmla="*/ 64596 h 422588"/>
                    <a:gd name="connsiteX225" fmla="*/ 291586 w 392403"/>
                    <a:gd name="connsiteY225" fmla="*/ 60370 h 422588"/>
                    <a:gd name="connsiteX226" fmla="*/ 293397 w 392403"/>
                    <a:gd name="connsiteY226" fmla="*/ 62785 h 422588"/>
                    <a:gd name="connsiteX227" fmla="*/ 297019 w 392403"/>
                    <a:gd name="connsiteY227" fmla="*/ 57351 h 422588"/>
                    <a:gd name="connsiteX228" fmla="*/ 303056 w 392403"/>
                    <a:gd name="connsiteY228" fmla="*/ 54936 h 422588"/>
                    <a:gd name="connsiteX229" fmla="*/ 305471 w 392403"/>
                    <a:gd name="connsiteY229" fmla="*/ 50711 h 422588"/>
                    <a:gd name="connsiteX230" fmla="*/ 306678 w 392403"/>
                    <a:gd name="connsiteY230" fmla="*/ 43466 h 422588"/>
                    <a:gd name="connsiteX231" fmla="*/ 313319 w 392403"/>
                    <a:gd name="connsiteY231" fmla="*/ 37429 h 422588"/>
                    <a:gd name="connsiteX232" fmla="*/ 316941 w 392403"/>
                    <a:gd name="connsiteY232" fmla="*/ 29581 h 422588"/>
                    <a:gd name="connsiteX233" fmla="*/ 320563 w 392403"/>
                    <a:gd name="connsiteY233" fmla="*/ 25959 h 422588"/>
                    <a:gd name="connsiteX234" fmla="*/ 325997 w 392403"/>
                    <a:gd name="connsiteY234" fmla="*/ 23544 h 422588"/>
                    <a:gd name="connsiteX235" fmla="*/ 330222 w 392403"/>
                    <a:gd name="connsiteY235" fmla="*/ 24148 h 422588"/>
                    <a:gd name="connsiteX236" fmla="*/ 335052 w 392403"/>
                    <a:gd name="connsiteY236" fmla="*/ 22941 h 422588"/>
                    <a:gd name="connsiteX237" fmla="*/ 341089 w 392403"/>
                    <a:gd name="connsiteY237" fmla="*/ 28978 h 422588"/>
                    <a:gd name="connsiteX238" fmla="*/ 348333 w 392403"/>
                    <a:gd name="connsiteY238" fmla="*/ 27166 h 422588"/>
                    <a:gd name="connsiteX239" fmla="*/ 351352 w 392403"/>
                    <a:gd name="connsiteY239" fmla="*/ 24148 h 422588"/>
                    <a:gd name="connsiteX240" fmla="*/ 361614 w 392403"/>
                    <a:gd name="connsiteY240" fmla="*/ 21129 h 422588"/>
                    <a:gd name="connsiteX241" fmla="*/ 366444 w 392403"/>
                    <a:gd name="connsiteY241" fmla="*/ 17507 h 422588"/>
                    <a:gd name="connsiteX242" fmla="*/ 367651 w 392403"/>
                    <a:gd name="connsiteY242" fmla="*/ 13885 h 422588"/>
                    <a:gd name="connsiteX243" fmla="*/ 375500 w 392403"/>
                    <a:gd name="connsiteY243" fmla="*/ 8452 h 422588"/>
                    <a:gd name="connsiteX244" fmla="*/ 383951 w 392403"/>
                    <a:gd name="connsiteY244" fmla="*/ 0 h 422588"/>
                    <a:gd name="connsiteX245" fmla="*/ 385159 w 392403"/>
                    <a:gd name="connsiteY245" fmla="*/ 8452 h 422588"/>
                    <a:gd name="connsiteX246" fmla="*/ 383951 w 392403"/>
                    <a:gd name="connsiteY246" fmla="*/ 12074 h 422588"/>
                    <a:gd name="connsiteX247" fmla="*/ 388177 w 392403"/>
                    <a:gd name="connsiteY247" fmla="*/ 16904 h 422588"/>
                    <a:gd name="connsiteX248" fmla="*/ 386366 w 392403"/>
                    <a:gd name="connsiteY248" fmla="*/ 18715 h 422588"/>
                    <a:gd name="connsiteX249" fmla="*/ 388781 w 392403"/>
                    <a:gd name="connsiteY249" fmla="*/ 25355 h 422588"/>
                    <a:gd name="connsiteX250" fmla="*/ 391799 w 392403"/>
                    <a:gd name="connsiteY250" fmla="*/ 28374 h 422588"/>
                    <a:gd name="connsiteX251" fmla="*/ 391196 w 392403"/>
                    <a:gd name="connsiteY251" fmla="*/ 36222 h 422588"/>
                    <a:gd name="connsiteX252" fmla="*/ 387574 w 392403"/>
                    <a:gd name="connsiteY252" fmla="*/ 36222 h 422588"/>
                    <a:gd name="connsiteX253" fmla="*/ 381537 w 392403"/>
                    <a:gd name="connsiteY253" fmla="*/ 41052 h 422588"/>
                    <a:gd name="connsiteX254" fmla="*/ 384555 w 392403"/>
                    <a:gd name="connsiteY254" fmla="*/ 47088 h 422588"/>
                    <a:gd name="connsiteX255" fmla="*/ 388177 w 392403"/>
                    <a:gd name="connsiteY255" fmla="*/ 56748 h 422588"/>
                    <a:gd name="connsiteX256" fmla="*/ 393611 w 392403"/>
                    <a:gd name="connsiteY256" fmla="*/ 59766 h 422588"/>
                    <a:gd name="connsiteX257" fmla="*/ 388781 w 392403"/>
                    <a:gd name="connsiteY257" fmla="*/ 66407 h 422588"/>
                    <a:gd name="connsiteX258" fmla="*/ 388177 w 392403"/>
                    <a:gd name="connsiteY258" fmla="*/ 71236 h 422588"/>
                    <a:gd name="connsiteX259" fmla="*/ 392403 w 392403"/>
                    <a:gd name="connsiteY259" fmla="*/ 76670 h 422588"/>
                    <a:gd name="connsiteX260" fmla="*/ 393007 w 392403"/>
                    <a:gd name="connsiteY260" fmla="*/ 82707 h 4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392403" h="422588">
                      <a:moveTo>
                        <a:pt x="393007" y="82707"/>
                      </a:moveTo>
                      <a:lnTo>
                        <a:pt x="386366" y="91158"/>
                      </a:lnTo>
                      <a:lnTo>
                        <a:pt x="381537" y="92366"/>
                      </a:lnTo>
                      <a:lnTo>
                        <a:pt x="375500" y="97799"/>
                      </a:lnTo>
                      <a:lnTo>
                        <a:pt x="375500" y="106854"/>
                      </a:lnTo>
                      <a:lnTo>
                        <a:pt x="372481" y="111684"/>
                      </a:lnTo>
                      <a:lnTo>
                        <a:pt x="367651" y="114702"/>
                      </a:lnTo>
                      <a:lnTo>
                        <a:pt x="368859" y="118928"/>
                      </a:lnTo>
                      <a:lnTo>
                        <a:pt x="365237" y="122551"/>
                      </a:lnTo>
                      <a:lnTo>
                        <a:pt x="357992" y="133417"/>
                      </a:lnTo>
                      <a:lnTo>
                        <a:pt x="357389" y="137039"/>
                      </a:lnTo>
                      <a:lnTo>
                        <a:pt x="361614" y="136436"/>
                      </a:lnTo>
                      <a:lnTo>
                        <a:pt x="366444" y="143076"/>
                      </a:lnTo>
                      <a:lnTo>
                        <a:pt x="365237" y="148510"/>
                      </a:lnTo>
                      <a:lnTo>
                        <a:pt x="371877" y="151528"/>
                      </a:lnTo>
                      <a:lnTo>
                        <a:pt x="370066" y="158772"/>
                      </a:lnTo>
                      <a:lnTo>
                        <a:pt x="370670" y="173261"/>
                      </a:lnTo>
                      <a:lnTo>
                        <a:pt x="368859" y="177487"/>
                      </a:lnTo>
                      <a:lnTo>
                        <a:pt x="370670" y="181713"/>
                      </a:lnTo>
                      <a:lnTo>
                        <a:pt x="368859" y="185335"/>
                      </a:lnTo>
                      <a:lnTo>
                        <a:pt x="373085" y="191372"/>
                      </a:lnTo>
                      <a:lnTo>
                        <a:pt x="370066" y="193787"/>
                      </a:lnTo>
                      <a:lnTo>
                        <a:pt x="367651" y="202842"/>
                      </a:lnTo>
                      <a:lnTo>
                        <a:pt x="370066" y="208879"/>
                      </a:lnTo>
                      <a:lnTo>
                        <a:pt x="368859" y="212501"/>
                      </a:lnTo>
                      <a:lnTo>
                        <a:pt x="370066" y="217331"/>
                      </a:lnTo>
                      <a:lnTo>
                        <a:pt x="374896" y="218538"/>
                      </a:lnTo>
                      <a:lnTo>
                        <a:pt x="377914" y="217935"/>
                      </a:lnTo>
                      <a:lnTo>
                        <a:pt x="382140" y="220953"/>
                      </a:lnTo>
                      <a:lnTo>
                        <a:pt x="377914" y="228198"/>
                      </a:lnTo>
                      <a:lnTo>
                        <a:pt x="377914" y="232423"/>
                      </a:lnTo>
                      <a:lnTo>
                        <a:pt x="372481" y="239064"/>
                      </a:lnTo>
                      <a:lnTo>
                        <a:pt x="368255" y="243290"/>
                      </a:lnTo>
                      <a:lnTo>
                        <a:pt x="365840" y="247516"/>
                      </a:lnTo>
                      <a:lnTo>
                        <a:pt x="359803" y="251742"/>
                      </a:lnTo>
                      <a:lnTo>
                        <a:pt x="355577" y="252346"/>
                      </a:lnTo>
                      <a:lnTo>
                        <a:pt x="349540" y="258986"/>
                      </a:lnTo>
                      <a:lnTo>
                        <a:pt x="347729" y="263212"/>
                      </a:lnTo>
                      <a:lnTo>
                        <a:pt x="347126" y="269853"/>
                      </a:lnTo>
                      <a:lnTo>
                        <a:pt x="350748" y="275890"/>
                      </a:lnTo>
                      <a:lnTo>
                        <a:pt x="351352" y="281927"/>
                      </a:lnTo>
                      <a:lnTo>
                        <a:pt x="353766" y="283738"/>
                      </a:lnTo>
                      <a:lnTo>
                        <a:pt x="353163" y="290378"/>
                      </a:lnTo>
                      <a:lnTo>
                        <a:pt x="354370" y="294604"/>
                      </a:lnTo>
                      <a:lnTo>
                        <a:pt x="350748" y="299434"/>
                      </a:lnTo>
                      <a:lnTo>
                        <a:pt x="345918" y="300641"/>
                      </a:lnTo>
                      <a:lnTo>
                        <a:pt x="340485" y="307886"/>
                      </a:lnTo>
                      <a:lnTo>
                        <a:pt x="332033" y="314526"/>
                      </a:lnTo>
                      <a:lnTo>
                        <a:pt x="330222" y="317545"/>
                      </a:lnTo>
                      <a:lnTo>
                        <a:pt x="327204" y="328411"/>
                      </a:lnTo>
                      <a:lnTo>
                        <a:pt x="320563" y="335052"/>
                      </a:lnTo>
                      <a:lnTo>
                        <a:pt x="324185" y="339278"/>
                      </a:lnTo>
                      <a:lnTo>
                        <a:pt x="313319" y="340485"/>
                      </a:lnTo>
                      <a:lnTo>
                        <a:pt x="310300" y="343504"/>
                      </a:lnTo>
                      <a:lnTo>
                        <a:pt x="304867" y="356181"/>
                      </a:lnTo>
                      <a:lnTo>
                        <a:pt x="299434" y="357389"/>
                      </a:lnTo>
                      <a:lnTo>
                        <a:pt x="297019" y="359200"/>
                      </a:lnTo>
                      <a:lnTo>
                        <a:pt x="293397" y="356785"/>
                      </a:lnTo>
                      <a:lnTo>
                        <a:pt x="291586" y="359804"/>
                      </a:lnTo>
                      <a:lnTo>
                        <a:pt x="279512" y="362822"/>
                      </a:lnTo>
                      <a:lnTo>
                        <a:pt x="278304" y="364030"/>
                      </a:lnTo>
                      <a:lnTo>
                        <a:pt x="273475" y="364633"/>
                      </a:lnTo>
                      <a:lnTo>
                        <a:pt x="266230" y="362218"/>
                      </a:lnTo>
                      <a:lnTo>
                        <a:pt x="252345" y="351956"/>
                      </a:lnTo>
                      <a:lnTo>
                        <a:pt x="253553" y="345919"/>
                      </a:lnTo>
                      <a:lnTo>
                        <a:pt x="252345" y="335052"/>
                      </a:lnTo>
                      <a:lnTo>
                        <a:pt x="257779" y="324185"/>
                      </a:lnTo>
                      <a:lnTo>
                        <a:pt x="256571" y="321771"/>
                      </a:lnTo>
                      <a:lnTo>
                        <a:pt x="260797" y="312112"/>
                      </a:lnTo>
                      <a:lnTo>
                        <a:pt x="255967" y="309697"/>
                      </a:lnTo>
                      <a:lnTo>
                        <a:pt x="254156" y="313319"/>
                      </a:lnTo>
                      <a:lnTo>
                        <a:pt x="248723" y="320563"/>
                      </a:lnTo>
                      <a:lnTo>
                        <a:pt x="243893" y="324789"/>
                      </a:lnTo>
                      <a:lnTo>
                        <a:pt x="239064" y="327808"/>
                      </a:lnTo>
                      <a:lnTo>
                        <a:pt x="235442" y="327204"/>
                      </a:lnTo>
                      <a:lnTo>
                        <a:pt x="229405" y="333241"/>
                      </a:lnTo>
                      <a:lnTo>
                        <a:pt x="226386" y="333845"/>
                      </a:lnTo>
                      <a:lnTo>
                        <a:pt x="224575" y="337467"/>
                      </a:lnTo>
                      <a:lnTo>
                        <a:pt x="225179" y="342900"/>
                      </a:lnTo>
                      <a:lnTo>
                        <a:pt x="217935" y="346522"/>
                      </a:lnTo>
                      <a:lnTo>
                        <a:pt x="212501" y="350144"/>
                      </a:lnTo>
                      <a:lnTo>
                        <a:pt x="199824" y="356181"/>
                      </a:lnTo>
                      <a:lnTo>
                        <a:pt x="196805" y="351956"/>
                      </a:lnTo>
                      <a:lnTo>
                        <a:pt x="194391" y="354370"/>
                      </a:lnTo>
                      <a:lnTo>
                        <a:pt x="183524" y="355578"/>
                      </a:lnTo>
                      <a:lnTo>
                        <a:pt x="176883" y="347730"/>
                      </a:lnTo>
                      <a:lnTo>
                        <a:pt x="176883" y="343504"/>
                      </a:lnTo>
                      <a:lnTo>
                        <a:pt x="169035" y="344107"/>
                      </a:lnTo>
                      <a:lnTo>
                        <a:pt x="166017" y="349541"/>
                      </a:lnTo>
                      <a:lnTo>
                        <a:pt x="156357" y="347126"/>
                      </a:lnTo>
                      <a:lnTo>
                        <a:pt x="155150" y="341089"/>
                      </a:lnTo>
                      <a:lnTo>
                        <a:pt x="152132" y="341693"/>
                      </a:lnTo>
                      <a:lnTo>
                        <a:pt x="139454" y="333241"/>
                      </a:lnTo>
                      <a:lnTo>
                        <a:pt x="140058" y="337467"/>
                      </a:lnTo>
                      <a:lnTo>
                        <a:pt x="133417" y="338674"/>
                      </a:lnTo>
                      <a:lnTo>
                        <a:pt x="130398" y="341693"/>
                      </a:lnTo>
                      <a:lnTo>
                        <a:pt x="126172" y="340485"/>
                      </a:lnTo>
                      <a:lnTo>
                        <a:pt x="115306" y="339278"/>
                      </a:lnTo>
                      <a:lnTo>
                        <a:pt x="109269" y="341693"/>
                      </a:lnTo>
                      <a:lnTo>
                        <a:pt x="103836" y="340485"/>
                      </a:lnTo>
                      <a:lnTo>
                        <a:pt x="100214" y="344711"/>
                      </a:lnTo>
                      <a:lnTo>
                        <a:pt x="92366" y="345919"/>
                      </a:lnTo>
                      <a:lnTo>
                        <a:pt x="88744" y="351352"/>
                      </a:lnTo>
                      <a:lnTo>
                        <a:pt x="89347" y="354974"/>
                      </a:lnTo>
                      <a:lnTo>
                        <a:pt x="94177" y="353163"/>
                      </a:lnTo>
                      <a:lnTo>
                        <a:pt x="99006" y="358596"/>
                      </a:lnTo>
                      <a:lnTo>
                        <a:pt x="98403" y="362822"/>
                      </a:lnTo>
                      <a:lnTo>
                        <a:pt x="92366" y="371878"/>
                      </a:lnTo>
                      <a:lnTo>
                        <a:pt x="85121" y="376707"/>
                      </a:lnTo>
                      <a:lnTo>
                        <a:pt x="83914" y="381537"/>
                      </a:lnTo>
                      <a:lnTo>
                        <a:pt x="80292" y="383348"/>
                      </a:lnTo>
                      <a:lnTo>
                        <a:pt x="77877" y="387574"/>
                      </a:lnTo>
                      <a:lnTo>
                        <a:pt x="74255" y="386366"/>
                      </a:lnTo>
                      <a:lnTo>
                        <a:pt x="73047" y="393611"/>
                      </a:lnTo>
                      <a:lnTo>
                        <a:pt x="70029" y="394214"/>
                      </a:lnTo>
                      <a:lnTo>
                        <a:pt x="70029" y="397837"/>
                      </a:lnTo>
                      <a:lnTo>
                        <a:pt x="65199" y="407496"/>
                      </a:lnTo>
                      <a:lnTo>
                        <a:pt x="56747" y="422588"/>
                      </a:lnTo>
                      <a:lnTo>
                        <a:pt x="53729" y="422588"/>
                      </a:lnTo>
                      <a:lnTo>
                        <a:pt x="53125" y="418966"/>
                      </a:lnTo>
                      <a:lnTo>
                        <a:pt x="50107" y="417155"/>
                      </a:lnTo>
                      <a:lnTo>
                        <a:pt x="47692" y="412929"/>
                      </a:lnTo>
                      <a:lnTo>
                        <a:pt x="42862" y="412929"/>
                      </a:lnTo>
                      <a:lnTo>
                        <a:pt x="35618" y="411118"/>
                      </a:lnTo>
                      <a:lnTo>
                        <a:pt x="36825" y="406288"/>
                      </a:lnTo>
                      <a:lnTo>
                        <a:pt x="29581" y="405081"/>
                      </a:lnTo>
                      <a:lnTo>
                        <a:pt x="28977" y="398440"/>
                      </a:lnTo>
                      <a:lnTo>
                        <a:pt x="25355" y="394818"/>
                      </a:lnTo>
                      <a:lnTo>
                        <a:pt x="24751" y="390592"/>
                      </a:lnTo>
                      <a:lnTo>
                        <a:pt x="30185" y="382140"/>
                      </a:lnTo>
                      <a:lnTo>
                        <a:pt x="27166" y="375500"/>
                      </a:lnTo>
                      <a:lnTo>
                        <a:pt x="25355" y="368255"/>
                      </a:lnTo>
                      <a:lnTo>
                        <a:pt x="21129" y="365237"/>
                      </a:lnTo>
                      <a:lnTo>
                        <a:pt x="17507" y="365841"/>
                      </a:lnTo>
                      <a:lnTo>
                        <a:pt x="12074" y="362218"/>
                      </a:lnTo>
                      <a:lnTo>
                        <a:pt x="12074" y="357993"/>
                      </a:lnTo>
                      <a:lnTo>
                        <a:pt x="7848" y="354370"/>
                      </a:lnTo>
                      <a:lnTo>
                        <a:pt x="5433" y="348333"/>
                      </a:lnTo>
                      <a:lnTo>
                        <a:pt x="0" y="343504"/>
                      </a:lnTo>
                      <a:lnTo>
                        <a:pt x="2415" y="341089"/>
                      </a:lnTo>
                      <a:lnTo>
                        <a:pt x="8452" y="339278"/>
                      </a:lnTo>
                      <a:lnTo>
                        <a:pt x="12074" y="333241"/>
                      </a:lnTo>
                      <a:lnTo>
                        <a:pt x="15092" y="332637"/>
                      </a:lnTo>
                      <a:lnTo>
                        <a:pt x="17507" y="327204"/>
                      </a:lnTo>
                      <a:lnTo>
                        <a:pt x="27166" y="321771"/>
                      </a:lnTo>
                      <a:lnTo>
                        <a:pt x="30788" y="321771"/>
                      </a:lnTo>
                      <a:lnTo>
                        <a:pt x="38636" y="312715"/>
                      </a:lnTo>
                      <a:lnTo>
                        <a:pt x="43466" y="308489"/>
                      </a:lnTo>
                      <a:lnTo>
                        <a:pt x="43466" y="303056"/>
                      </a:lnTo>
                      <a:lnTo>
                        <a:pt x="51918" y="295812"/>
                      </a:lnTo>
                      <a:lnTo>
                        <a:pt x="59766" y="290982"/>
                      </a:lnTo>
                      <a:lnTo>
                        <a:pt x="60973" y="285549"/>
                      </a:lnTo>
                      <a:lnTo>
                        <a:pt x="65199" y="280719"/>
                      </a:lnTo>
                      <a:lnTo>
                        <a:pt x="71236" y="279512"/>
                      </a:lnTo>
                      <a:lnTo>
                        <a:pt x="71840" y="277097"/>
                      </a:lnTo>
                      <a:lnTo>
                        <a:pt x="77273" y="274079"/>
                      </a:lnTo>
                      <a:lnTo>
                        <a:pt x="73651" y="265627"/>
                      </a:lnTo>
                      <a:lnTo>
                        <a:pt x="73047" y="261401"/>
                      </a:lnTo>
                      <a:lnTo>
                        <a:pt x="86329" y="254760"/>
                      </a:lnTo>
                      <a:lnTo>
                        <a:pt x="89951" y="250534"/>
                      </a:lnTo>
                      <a:lnTo>
                        <a:pt x="93573" y="249931"/>
                      </a:lnTo>
                      <a:lnTo>
                        <a:pt x="95988" y="261401"/>
                      </a:lnTo>
                      <a:lnTo>
                        <a:pt x="92366" y="275890"/>
                      </a:lnTo>
                      <a:lnTo>
                        <a:pt x="95384" y="283134"/>
                      </a:lnTo>
                      <a:lnTo>
                        <a:pt x="100214" y="280116"/>
                      </a:lnTo>
                      <a:lnTo>
                        <a:pt x="101421" y="275286"/>
                      </a:lnTo>
                      <a:lnTo>
                        <a:pt x="106854" y="271664"/>
                      </a:lnTo>
                      <a:lnTo>
                        <a:pt x="113495" y="275890"/>
                      </a:lnTo>
                      <a:lnTo>
                        <a:pt x="115910" y="271664"/>
                      </a:lnTo>
                      <a:lnTo>
                        <a:pt x="120136" y="266231"/>
                      </a:lnTo>
                      <a:lnTo>
                        <a:pt x="129191" y="262005"/>
                      </a:lnTo>
                      <a:lnTo>
                        <a:pt x="134021" y="257175"/>
                      </a:lnTo>
                      <a:lnTo>
                        <a:pt x="131002" y="249327"/>
                      </a:lnTo>
                      <a:lnTo>
                        <a:pt x="128587" y="246309"/>
                      </a:lnTo>
                      <a:lnTo>
                        <a:pt x="129191" y="240875"/>
                      </a:lnTo>
                      <a:lnTo>
                        <a:pt x="127984" y="238460"/>
                      </a:lnTo>
                      <a:lnTo>
                        <a:pt x="130398" y="230612"/>
                      </a:lnTo>
                      <a:lnTo>
                        <a:pt x="135832" y="223972"/>
                      </a:lnTo>
                      <a:lnTo>
                        <a:pt x="134624" y="221557"/>
                      </a:lnTo>
                      <a:lnTo>
                        <a:pt x="138850" y="206465"/>
                      </a:lnTo>
                      <a:lnTo>
                        <a:pt x="137643" y="204050"/>
                      </a:lnTo>
                      <a:lnTo>
                        <a:pt x="140058" y="197409"/>
                      </a:lnTo>
                      <a:lnTo>
                        <a:pt x="144887" y="193787"/>
                      </a:lnTo>
                      <a:lnTo>
                        <a:pt x="146095" y="186543"/>
                      </a:lnTo>
                      <a:lnTo>
                        <a:pt x="148509" y="181713"/>
                      </a:lnTo>
                      <a:lnTo>
                        <a:pt x="152132" y="180506"/>
                      </a:lnTo>
                      <a:lnTo>
                        <a:pt x="155754" y="173865"/>
                      </a:lnTo>
                      <a:lnTo>
                        <a:pt x="158772" y="169639"/>
                      </a:lnTo>
                      <a:lnTo>
                        <a:pt x="159980" y="165413"/>
                      </a:lnTo>
                      <a:lnTo>
                        <a:pt x="166017" y="161791"/>
                      </a:lnTo>
                      <a:lnTo>
                        <a:pt x="171450" y="162395"/>
                      </a:lnTo>
                      <a:lnTo>
                        <a:pt x="171450" y="157565"/>
                      </a:lnTo>
                      <a:lnTo>
                        <a:pt x="174468" y="150924"/>
                      </a:lnTo>
                      <a:lnTo>
                        <a:pt x="173865" y="141265"/>
                      </a:lnTo>
                      <a:lnTo>
                        <a:pt x="176280" y="134625"/>
                      </a:lnTo>
                      <a:lnTo>
                        <a:pt x="179298" y="132210"/>
                      </a:lnTo>
                      <a:lnTo>
                        <a:pt x="181109" y="127984"/>
                      </a:lnTo>
                      <a:lnTo>
                        <a:pt x="187146" y="123154"/>
                      </a:lnTo>
                      <a:lnTo>
                        <a:pt x="191976" y="115306"/>
                      </a:lnTo>
                      <a:lnTo>
                        <a:pt x="195598" y="111080"/>
                      </a:lnTo>
                      <a:lnTo>
                        <a:pt x="196805" y="123758"/>
                      </a:lnTo>
                      <a:lnTo>
                        <a:pt x="198013" y="129795"/>
                      </a:lnTo>
                      <a:lnTo>
                        <a:pt x="202842" y="134021"/>
                      </a:lnTo>
                      <a:lnTo>
                        <a:pt x="204653" y="130399"/>
                      </a:lnTo>
                      <a:lnTo>
                        <a:pt x="210087" y="126776"/>
                      </a:lnTo>
                      <a:lnTo>
                        <a:pt x="210087" y="123758"/>
                      </a:lnTo>
                      <a:lnTo>
                        <a:pt x="215520" y="122551"/>
                      </a:lnTo>
                      <a:lnTo>
                        <a:pt x="215520" y="119532"/>
                      </a:lnTo>
                      <a:lnTo>
                        <a:pt x="219142" y="118928"/>
                      </a:lnTo>
                      <a:lnTo>
                        <a:pt x="223368" y="106251"/>
                      </a:lnTo>
                      <a:lnTo>
                        <a:pt x="221557" y="102025"/>
                      </a:lnTo>
                      <a:lnTo>
                        <a:pt x="222161" y="98403"/>
                      </a:lnTo>
                      <a:lnTo>
                        <a:pt x="231216" y="93573"/>
                      </a:lnTo>
                      <a:lnTo>
                        <a:pt x="234234" y="86329"/>
                      </a:lnTo>
                      <a:lnTo>
                        <a:pt x="240271" y="85725"/>
                      </a:lnTo>
                      <a:lnTo>
                        <a:pt x="243893" y="82103"/>
                      </a:lnTo>
                      <a:lnTo>
                        <a:pt x="245101" y="79084"/>
                      </a:lnTo>
                      <a:lnTo>
                        <a:pt x="249930" y="76670"/>
                      </a:lnTo>
                      <a:lnTo>
                        <a:pt x="259590" y="78481"/>
                      </a:lnTo>
                      <a:lnTo>
                        <a:pt x="260193" y="73651"/>
                      </a:lnTo>
                      <a:lnTo>
                        <a:pt x="263212" y="70029"/>
                      </a:lnTo>
                      <a:lnTo>
                        <a:pt x="265627" y="74255"/>
                      </a:lnTo>
                      <a:lnTo>
                        <a:pt x="272267" y="73651"/>
                      </a:lnTo>
                      <a:lnTo>
                        <a:pt x="278908" y="71840"/>
                      </a:lnTo>
                      <a:lnTo>
                        <a:pt x="288567" y="64596"/>
                      </a:lnTo>
                      <a:lnTo>
                        <a:pt x="291586" y="60370"/>
                      </a:lnTo>
                      <a:lnTo>
                        <a:pt x="293397" y="62785"/>
                      </a:lnTo>
                      <a:lnTo>
                        <a:pt x="297019" y="57351"/>
                      </a:lnTo>
                      <a:lnTo>
                        <a:pt x="303056" y="54936"/>
                      </a:lnTo>
                      <a:lnTo>
                        <a:pt x="305471" y="50711"/>
                      </a:lnTo>
                      <a:lnTo>
                        <a:pt x="306678" y="43466"/>
                      </a:lnTo>
                      <a:lnTo>
                        <a:pt x="313319" y="37429"/>
                      </a:lnTo>
                      <a:lnTo>
                        <a:pt x="316941" y="29581"/>
                      </a:lnTo>
                      <a:lnTo>
                        <a:pt x="320563" y="25959"/>
                      </a:lnTo>
                      <a:lnTo>
                        <a:pt x="325997" y="23544"/>
                      </a:lnTo>
                      <a:lnTo>
                        <a:pt x="330222" y="24148"/>
                      </a:lnTo>
                      <a:lnTo>
                        <a:pt x="335052" y="22941"/>
                      </a:lnTo>
                      <a:lnTo>
                        <a:pt x="341089" y="28978"/>
                      </a:lnTo>
                      <a:lnTo>
                        <a:pt x="348333" y="27166"/>
                      </a:lnTo>
                      <a:lnTo>
                        <a:pt x="351352" y="24148"/>
                      </a:lnTo>
                      <a:lnTo>
                        <a:pt x="361614" y="21129"/>
                      </a:lnTo>
                      <a:lnTo>
                        <a:pt x="366444" y="17507"/>
                      </a:lnTo>
                      <a:lnTo>
                        <a:pt x="367651" y="13885"/>
                      </a:lnTo>
                      <a:lnTo>
                        <a:pt x="375500" y="8452"/>
                      </a:lnTo>
                      <a:lnTo>
                        <a:pt x="383951" y="0"/>
                      </a:lnTo>
                      <a:lnTo>
                        <a:pt x="385159" y="8452"/>
                      </a:lnTo>
                      <a:lnTo>
                        <a:pt x="383951" y="12074"/>
                      </a:lnTo>
                      <a:lnTo>
                        <a:pt x="388177" y="16904"/>
                      </a:lnTo>
                      <a:lnTo>
                        <a:pt x="386366" y="18715"/>
                      </a:lnTo>
                      <a:lnTo>
                        <a:pt x="388781" y="25355"/>
                      </a:lnTo>
                      <a:lnTo>
                        <a:pt x="391799" y="28374"/>
                      </a:lnTo>
                      <a:lnTo>
                        <a:pt x="391196" y="36222"/>
                      </a:lnTo>
                      <a:lnTo>
                        <a:pt x="387574" y="36222"/>
                      </a:lnTo>
                      <a:lnTo>
                        <a:pt x="381537" y="41052"/>
                      </a:lnTo>
                      <a:lnTo>
                        <a:pt x="384555" y="47088"/>
                      </a:lnTo>
                      <a:lnTo>
                        <a:pt x="388177" y="56748"/>
                      </a:lnTo>
                      <a:lnTo>
                        <a:pt x="393611" y="59766"/>
                      </a:lnTo>
                      <a:lnTo>
                        <a:pt x="388781" y="66407"/>
                      </a:lnTo>
                      <a:lnTo>
                        <a:pt x="388177" y="71236"/>
                      </a:lnTo>
                      <a:lnTo>
                        <a:pt x="392403" y="76670"/>
                      </a:lnTo>
                      <a:lnTo>
                        <a:pt x="393007" y="82707"/>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5" name="Orissa" descr="{&quot;Key&quot;:&quot;orissa&quot;,&quot;Name&quot;:&quot;Orissa&quot;,&quot;Value&quot;:1.0,&quot;Formula&quot;:&quot;&quot;,&quot;Text&quot;:&quot;&quot;,&quot;OfficeApplication&quot;:1,&quot;HasValue&quot;:true}">
                  <a:extLst>
                    <a:ext uri="{FF2B5EF4-FFF2-40B4-BE49-F238E27FC236}">
                      <a16:creationId xmlns:a16="http://schemas.microsoft.com/office/drawing/2014/main" id="{14C03938-4058-49E7-9223-2E74C185C841}"/>
                    </a:ext>
                  </a:extLst>
                </p:cNvPr>
                <p:cNvSpPr/>
                <p:nvPr/>
              </p:nvSpPr>
              <p:spPr>
                <a:xfrm>
                  <a:off x="5804414" y="3470655"/>
                  <a:ext cx="1255690" cy="1044396"/>
                </a:xfrm>
                <a:custGeom>
                  <a:avLst/>
                  <a:gdLst>
                    <a:gd name="connsiteX0" fmla="*/ 689422 w 1255690"/>
                    <a:gd name="connsiteY0" fmla="*/ 766695 h 1044396"/>
                    <a:gd name="connsiteX1" fmla="*/ 700289 w 1255690"/>
                    <a:gd name="connsiteY1" fmla="*/ 762469 h 1044396"/>
                    <a:gd name="connsiteX2" fmla="*/ 696063 w 1255690"/>
                    <a:gd name="connsiteY2" fmla="*/ 770317 h 1044396"/>
                    <a:gd name="connsiteX3" fmla="*/ 689422 w 1255690"/>
                    <a:gd name="connsiteY3" fmla="*/ 766695 h 1044396"/>
                    <a:gd name="connsiteX4" fmla="*/ 1006967 w 1255690"/>
                    <a:gd name="connsiteY4" fmla="*/ 554798 h 1044396"/>
                    <a:gd name="connsiteX5" fmla="*/ 1011796 w 1255690"/>
                    <a:gd name="connsiteY5" fmla="*/ 557212 h 1044396"/>
                    <a:gd name="connsiteX6" fmla="*/ 1008778 w 1255690"/>
                    <a:gd name="connsiteY6" fmla="*/ 561438 h 1044396"/>
                    <a:gd name="connsiteX7" fmla="*/ 1002137 w 1255690"/>
                    <a:gd name="connsiteY7" fmla="*/ 559023 h 1044396"/>
                    <a:gd name="connsiteX8" fmla="*/ 1006967 w 1255690"/>
                    <a:gd name="connsiteY8" fmla="*/ 554798 h 1044396"/>
                    <a:gd name="connsiteX9" fmla="*/ 1121066 w 1255690"/>
                    <a:gd name="connsiteY9" fmla="*/ 425003 h 1044396"/>
                    <a:gd name="connsiteX10" fmla="*/ 1113217 w 1255690"/>
                    <a:gd name="connsiteY10" fmla="*/ 425607 h 1044396"/>
                    <a:gd name="connsiteX11" fmla="*/ 1111406 w 1255690"/>
                    <a:gd name="connsiteY11" fmla="*/ 424399 h 1044396"/>
                    <a:gd name="connsiteX12" fmla="*/ 1116840 w 1255690"/>
                    <a:gd name="connsiteY12" fmla="*/ 417155 h 1044396"/>
                    <a:gd name="connsiteX13" fmla="*/ 1117443 w 1255690"/>
                    <a:gd name="connsiteY13" fmla="*/ 412325 h 1044396"/>
                    <a:gd name="connsiteX14" fmla="*/ 1119858 w 1255690"/>
                    <a:gd name="connsiteY14" fmla="*/ 409307 h 1044396"/>
                    <a:gd name="connsiteX15" fmla="*/ 1122273 w 1255690"/>
                    <a:gd name="connsiteY15" fmla="*/ 400251 h 1044396"/>
                    <a:gd name="connsiteX16" fmla="*/ 1126499 w 1255690"/>
                    <a:gd name="connsiteY16" fmla="*/ 397233 h 1044396"/>
                    <a:gd name="connsiteX17" fmla="*/ 1130725 w 1255690"/>
                    <a:gd name="connsiteY17" fmla="*/ 397836 h 1044396"/>
                    <a:gd name="connsiteX18" fmla="*/ 1134951 w 1255690"/>
                    <a:gd name="connsiteY18" fmla="*/ 398440 h 1044396"/>
                    <a:gd name="connsiteX19" fmla="*/ 1150043 w 1255690"/>
                    <a:gd name="connsiteY19" fmla="*/ 398440 h 1044396"/>
                    <a:gd name="connsiteX20" fmla="*/ 1155476 w 1255690"/>
                    <a:gd name="connsiteY20" fmla="*/ 397836 h 1044396"/>
                    <a:gd name="connsiteX21" fmla="*/ 1159099 w 1255690"/>
                    <a:gd name="connsiteY21" fmla="*/ 403873 h 1044396"/>
                    <a:gd name="connsiteX22" fmla="*/ 1157891 w 1255690"/>
                    <a:gd name="connsiteY22" fmla="*/ 409910 h 1044396"/>
                    <a:gd name="connsiteX23" fmla="*/ 1144006 w 1255690"/>
                    <a:gd name="connsiteY23" fmla="*/ 409910 h 1044396"/>
                    <a:gd name="connsiteX24" fmla="*/ 1135554 w 1255690"/>
                    <a:gd name="connsiteY24" fmla="*/ 414136 h 1044396"/>
                    <a:gd name="connsiteX25" fmla="*/ 1127103 w 1255690"/>
                    <a:gd name="connsiteY25" fmla="*/ 423192 h 1044396"/>
                    <a:gd name="connsiteX26" fmla="*/ 1124688 w 1255690"/>
                    <a:gd name="connsiteY26" fmla="*/ 423192 h 1044396"/>
                    <a:gd name="connsiteX27" fmla="*/ 1122273 w 1255690"/>
                    <a:gd name="connsiteY27" fmla="*/ 418966 h 1044396"/>
                    <a:gd name="connsiteX28" fmla="*/ 1116840 w 1255690"/>
                    <a:gd name="connsiteY28" fmla="*/ 418362 h 1044396"/>
                    <a:gd name="connsiteX29" fmla="*/ 1121066 w 1255690"/>
                    <a:gd name="connsiteY29" fmla="*/ 425003 h 1044396"/>
                    <a:gd name="connsiteX30" fmla="*/ 1133140 w 1255690"/>
                    <a:gd name="connsiteY30" fmla="*/ 393610 h 1044396"/>
                    <a:gd name="connsiteX31" fmla="*/ 1145817 w 1255690"/>
                    <a:gd name="connsiteY31" fmla="*/ 396025 h 1044396"/>
                    <a:gd name="connsiteX32" fmla="*/ 1133743 w 1255690"/>
                    <a:gd name="connsiteY32" fmla="*/ 397233 h 1044396"/>
                    <a:gd name="connsiteX33" fmla="*/ 1133140 w 1255690"/>
                    <a:gd name="connsiteY33" fmla="*/ 393610 h 1044396"/>
                    <a:gd name="connsiteX34" fmla="*/ 1100540 w 1255690"/>
                    <a:gd name="connsiteY34" fmla="*/ 77877 h 1044396"/>
                    <a:gd name="connsiteX35" fmla="*/ 1098125 w 1255690"/>
                    <a:gd name="connsiteY35" fmla="*/ 85725 h 1044396"/>
                    <a:gd name="connsiteX36" fmla="*/ 1098729 w 1255690"/>
                    <a:gd name="connsiteY36" fmla="*/ 93573 h 1044396"/>
                    <a:gd name="connsiteX37" fmla="*/ 1106577 w 1255690"/>
                    <a:gd name="connsiteY37" fmla="*/ 93573 h 1044396"/>
                    <a:gd name="connsiteX38" fmla="*/ 1114425 w 1255690"/>
                    <a:gd name="connsiteY38" fmla="*/ 91158 h 1044396"/>
                    <a:gd name="connsiteX39" fmla="*/ 1116236 w 1255690"/>
                    <a:gd name="connsiteY39" fmla="*/ 92969 h 1044396"/>
                    <a:gd name="connsiteX40" fmla="*/ 1117443 w 1255690"/>
                    <a:gd name="connsiteY40" fmla="*/ 100214 h 1044396"/>
                    <a:gd name="connsiteX41" fmla="*/ 1121066 w 1255690"/>
                    <a:gd name="connsiteY41" fmla="*/ 100214 h 1044396"/>
                    <a:gd name="connsiteX42" fmla="*/ 1122877 w 1255690"/>
                    <a:gd name="connsiteY42" fmla="*/ 104440 h 1044396"/>
                    <a:gd name="connsiteX43" fmla="*/ 1125895 w 1255690"/>
                    <a:gd name="connsiteY43" fmla="*/ 103836 h 1044396"/>
                    <a:gd name="connsiteX44" fmla="*/ 1138573 w 1255690"/>
                    <a:gd name="connsiteY44" fmla="*/ 106251 h 1044396"/>
                    <a:gd name="connsiteX45" fmla="*/ 1148836 w 1255690"/>
                    <a:gd name="connsiteY45" fmla="*/ 106854 h 1044396"/>
                    <a:gd name="connsiteX46" fmla="*/ 1156684 w 1255690"/>
                    <a:gd name="connsiteY46" fmla="*/ 115306 h 1044396"/>
                    <a:gd name="connsiteX47" fmla="*/ 1160910 w 1255690"/>
                    <a:gd name="connsiteY47" fmla="*/ 116513 h 1044396"/>
                    <a:gd name="connsiteX48" fmla="*/ 1162721 w 1255690"/>
                    <a:gd name="connsiteY48" fmla="*/ 118928 h 1044396"/>
                    <a:gd name="connsiteX49" fmla="*/ 1162117 w 1255690"/>
                    <a:gd name="connsiteY49" fmla="*/ 123154 h 1044396"/>
                    <a:gd name="connsiteX50" fmla="*/ 1164532 w 1255690"/>
                    <a:gd name="connsiteY50" fmla="*/ 127984 h 1044396"/>
                    <a:gd name="connsiteX51" fmla="*/ 1158495 w 1255690"/>
                    <a:gd name="connsiteY51" fmla="*/ 138850 h 1044396"/>
                    <a:gd name="connsiteX52" fmla="*/ 1157288 w 1255690"/>
                    <a:gd name="connsiteY52" fmla="*/ 146094 h 1044396"/>
                    <a:gd name="connsiteX53" fmla="*/ 1161513 w 1255690"/>
                    <a:gd name="connsiteY53" fmla="*/ 150924 h 1044396"/>
                    <a:gd name="connsiteX54" fmla="*/ 1163928 w 1255690"/>
                    <a:gd name="connsiteY54" fmla="*/ 155754 h 1044396"/>
                    <a:gd name="connsiteX55" fmla="*/ 1173587 w 1255690"/>
                    <a:gd name="connsiteY55" fmla="*/ 156961 h 1044396"/>
                    <a:gd name="connsiteX56" fmla="*/ 1177210 w 1255690"/>
                    <a:gd name="connsiteY56" fmla="*/ 156357 h 1044396"/>
                    <a:gd name="connsiteX57" fmla="*/ 1177210 w 1255690"/>
                    <a:gd name="connsiteY57" fmla="*/ 151528 h 1044396"/>
                    <a:gd name="connsiteX58" fmla="*/ 1177210 w 1255690"/>
                    <a:gd name="connsiteY58" fmla="*/ 150924 h 1044396"/>
                    <a:gd name="connsiteX59" fmla="*/ 1176002 w 1255690"/>
                    <a:gd name="connsiteY59" fmla="*/ 149717 h 1044396"/>
                    <a:gd name="connsiteX60" fmla="*/ 1176002 w 1255690"/>
                    <a:gd name="connsiteY60" fmla="*/ 149113 h 1044396"/>
                    <a:gd name="connsiteX61" fmla="*/ 1176002 w 1255690"/>
                    <a:gd name="connsiteY61" fmla="*/ 147906 h 1044396"/>
                    <a:gd name="connsiteX62" fmla="*/ 1179021 w 1255690"/>
                    <a:gd name="connsiteY62" fmla="*/ 143680 h 1044396"/>
                    <a:gd name="connsiteX63" fmla="*/ 1180228 w 1255690"/>
                    <a:gd name="connsiteY63" fmla="*/ 143680 h 1044396"/>
                    <a:gd name="connsiteX64" fmla="*/ 1180832 w 1255690"/>
                    <a:gd name="connsiteY64" fmla="*/ 143076 h 1044396"/>
                    <a:gd name="connsiteX65" fmla="*/ 1184454 w 1255690"/>
                    <a:gd name="connsiteY65" fmla="*/ 143680 h 1044396"/>
                    <a:gd name="connsiteX66" fmla="*/ 1188680 w 1255690"/>
                    <a:gd name="connsiteY66" fmla="*/ 141869 h 1044396"/>
                    <a:gd name="connsiteX67" fmla="*/ 1189887 w 1255690"/>
                    <a:gd name="connsiteY67" fmla="*/ 141265 h 1044396"/>
                    <a:gd name="connsiteX68" fmla="*/ 1190491 w 1255690"/>
                    <a:gd name="connsiteY68" fmla="*/ 137039 h 1044396"/>
                    <a:gd name="connsiteX69" fmla="*/ 1192302 w 1255690"/>
                    <a:gd name="connsiteY69" fmla="*/ 131606 h 1044396"/>
                    <a:gd name="connsiteX70" fmla="*/ 1193510 w 1255690"/>
                    <a:gd name="connsiteY70" fmla="*/ 132813 h 1044396"/>
                    <a:gd name="connsiteX71" fmla="*/ 1199546 w 1255690"/>
                    <a:gd name="connsiteY71" fmla="*/ 135228 h 1044396"/>
                    <a:gd name="connsiteX72" fmla="*/ 1203169 w 1255690"/>
                    <a:gd name="connsiteY72" fmla="*/ 135832 h 1044396"/>
                    <a:gd name="connsiteX73" fmla="*/ 1203772 w 1255690"/>
                    <a:gd name="connsiteY73" fmla="*/ 135832 h 1044396"/>
                    <a:gd name="connsiteX74" fmla="*/ 1206187 w 1255690"/>
                    <a:gd name="connsiteY74" fmla="*/ 135832 h 1044396"/>
                    <a:gd name="connsiteX75" fmla="*/ 1205583 w 1255690"/>
                    <a:gd name="connsiteY75" fmla="*/ 138850 h 1044396"/>
                    <a:gd name="connsiteX76" fmla="*/ 1206187 w 1255690"/>
                    <a:gd name="connsiteY76" fmla="*/ 140057 h 1044396"/>
                    <a:gd name="connsiteX77" fmla="*/ 1209809 w 1255690"/>
                    <a:gd name="connsiteY77" fmla="*/ 143680 h 1044396"/>
                    <a:gd name="connsiteX78" fmla="*/ 1206187 w 1255690"/>
                    <a:gd name="connsiteY78" fmla="*/ 148509 h 1044396"/>
                    <a:gd name="connsiteX79" fmla="*/ 1208602 w 1255690"/>
                    <a:gd name="connsiteY79" fmla="*/ 155150 h 1044396"/>
                    <a:gd name="connsiteX80" fmla="*/ 1207998 w 1255690"/>
                    <a:gd name="connsiteY80" fmla="*/ 157565 h 1044396"/>
                    <a:gd name="connsiteX81" fmla="*/ 1210413 w 1255690"/>
                    <a:gd name="connsiteY81" fmla="*/ 159980 h 1044396"/>
                    <a:gd name="connsiteX82" fmla="*/ 1211620 w 1255690"/>
                    <a:gd name="connsiteY82" fmla="*/ 162394 h 1044396"/>
                    <a:gd name="connsiteX83" fmla="*/ 1212828 w 1255690"/>
                    <a:gd name="connsiteY83" fmla="*/ 165413 h 1044396"/>
                    <a:gd name="connsiteX84" fmla="*/ 1211620 w 1255690"/>
                    <a:gd name="connsiteY84" fmla="*/ 167224 h 1044396"/>
                    <a:gd name="connsiteX85" fmla="*/ 1214035 w 1255690"/>
                    <a:gd name="connsiteY85" fmla="*/ 169035 h 1044396"/>
                    <a:gd name="connsiteX86" fmla="*/ 1215242 w 1255690"/>
                    <a:gd name="connsiteY86" fmla="*/ 170242 h 1044396"/>
                    <a:gd name="connsiteX87" fmla="*/ 1218261 w 1255690"/>
                    <a:gd name="connsiteY87" fmla="*/ 169035 h 1044396"/>
                    <a:gd name="connsiteX88" fmla="*/ 1218864 w 1255690"/>
                    <a:gd name="connsiteY88" fmla="*/ 170846 h 1044396"/>
                    <a:gd name="connsiteX89" fmla="*/ 1220676 w 1255690"/>
                    <a:gd name="connsiteY89" fmla="*/ 171450 h 1044396"/>
                    <a:gd name="connsiteX90" fmla="*/ 1223090 w 1255690"/>
                    <a:gd name="connsiteY90" fmla="*/ 172054 h 1044396"/>
                    <a:gd name="connsiteX91" fmla="*/ 1223090 w 1255690"/>
                    <a:gd name="connsiteY91" fmla="*/ 172657 h 1044396"/>
                    <a:gd name="connsiteX92" fmla="*/ 1224298 w 1255690"/>
                    <a:gd name="connsiteY92" fmla="*/ 173261 h 1044396"/>
                    <a:gd name="connsiteX93" fmla="*/ 1224901 w 1255690"/>
                    <a:gd name="connsiteY93" fmla="*/ 173261 h 1044396"/>
                    <a:gd name="connsiteX94" fmla="*/ 1226109 w 1255690"/>
                    <a:gd name="connsiteY94" fmla="*/ 172657 h 1044396"/>
                    <a:gd name="connsiteX95" fmla="*/ 1226713 w 1255690"/>
                    <a:gd name="connsiteY95" fmla="*/ 174468 h 1044396"/>
                    <a:gd name="connsiteX96" fmla="*/ 1227920 w 1255690"/>
                    <a:gd name="connsiteY96" fmla="*/ 173865 h 1044396"/>
                    <a:gd name="connsiteX97" fmla="*/ 1230938 w 1255690"/>
                    <a:gd name="connsiteY97" fmla="*/ 174468 h 1044396"/>
                    <a:gd name="connsiteX98" fmla="*/ 1233957 w 1255690"/>
                    <a:gd name="connsiteY98" fmla="*/ 176883 h 1044396"/>
                    <a:gd name="connsiteX99" fmla="*/ 1236372 w 1255690"/>
                    <a:gd name="connsiteY99" fmla="*/ 176279 h 1044396"/>
                    <a:gd name="connsiteX100" fmla="*/ 1238183 w 1255690"/>
                    <a:gd name="connsiteY100" fmla="*/ 176883 h 1044396"/>
                    <a:gd name="connsiteX101" fmla="*/ 1244824 w 1255690"/>
                    <a:gd name="connsiteY101" fmla="*/ 177487 h 1044396"/>
                    <a:gd name="connsiteX102" fmla="*/ 1247842 w 1255690"/>
                    <a:gd name="connsiteY102" fmla="*/ 178091 h 1044396"/>
                    <a:gd name="connsiteX103" fmla="*/ 1249049 w 1255690"/>
                    <a:gd name="connsiteY103" fmla="*/ 178694 h 1044396"/>
                    <a:gd name="connsiteX104" fmla="*/ 1249049 w 1255690"/>
                    <a:gd name="connsiteY104" fmla="*/ 182920 h 1044396"/>
                    <a:gd name="connsiteX105" fmla="*/ 1250257 w 1255690"/>
                    <a:gd name="connsiteY105" fmla="*/ 184128 h 1044396"/>
                    <a:gd name="connsiteX106" fmla="*/ 1249049 w 1255690"/>
                    <a:gd name="connsiteY106" fmla="*/ 184731 h 1044396"/>
                    <a:gd name="connsiteX107" fmla="*/ 1253275 w 1255690"/>
                    <a:gd name="connsiteY107" fmla="*/ 186542 h 1044396"/>
                    <a:gd name="connsiteX108" fmla="*/ 1253275 w 1255690"/>
                    <a:gd name="connsiteY108" fmla="*/ 187146 h 1044396"/>
                    <a:gd name="connsiteX109" fmla="*/ 1252672 w 1255690"/>
                    <a:gd name="connsiteY109" fmla="*/ 188353 h 1044396"/>
                    <a:gd name="connsiteX110" fmla="*/ 1254483 w 1255690"/>
                    <a:gd name="connsiteY110" fmla="*/ 192579 h 1044396"/>
                    <a:gd name="connsiteX111" fmla="*/ 1253879 w 1255690"/>
                    <a:gd name="connsiteY111" fmla="*/ 193183 h 1044396"/>
                    <a:gd name="connsiteX112" fmla="*/ 1253879 w 1255690"/>
                    <a:gd name="connsiteY112" fmla="*/ 197409 h 1044396"/>
                    <a:gd name="connsiteX113" fmla="*/ 1252672 w 1255690"/>
                    <a:gd name="connsiteY113" fmla="*/ 201635 h 1044396"/>
                    <a:gd name="connsiteX114" fmla="*/ 1252672 w 1255690"/>
                    <a:gd name="connsiteY114" fmla="*/ 204653 h 1044396"/>
                    <a:gd name="connsiteX115" fmla="*/ 1256898 w 1255690"/>
                    <a:gd name="connsiteY115" fmla="*/ 208879 h 1044396"/>
                    <a:gd name="connsiteX116" fmla="*/ 1256898 w 1255690"/>
                    <a:gd name="connsiteY116" fmla="*/ 211294 h 1044396"/>
                    <a:gd name="connsiteX117" fmla="*/ 1256898 w 1255690"/>
                    <a:gd name="connsiteY117" fmla="*/ 212501 h 1044396"/>
                    <a:gd name="connsiteX118" fmla="*/ 1251464 w 1255690"/>
                    <a:gd name="connsiteY118" fmla="*/ 214916 h 1044396"/>
                    <a:gd name="connsiteX119" fmla="*/ 1242409 w 1255690"/>
                    <a:gd name="connsiteY119" fmla="*/ 221557 h 1044396"/>
                    <a:gd name="connsiteX120" fmla="*/ 1237579 w 1255690"/>
                    <a:gd name="connsiteY120" fmla="*/ 222160 h 1044396"/>
                    <a:gd name="connsiteX121" fmla="*/ 1233957 w 1255690"/>
                    <a:gd name="connsiteY121" fmla="*/ 225179 h 1044396"/>
                    <a:gd name="connsiteX122" fmla="*/ 1220072 w 1255690"/>
                    <a:gd name="connsiteY122" fmla="*/ 223972 h 1044396"/>
                    <a:gd name="connsiteX123" fmla="*/ 1207394 w 1255690"/>
                    <a:gd name="connsiteY123" fmla="*/ 225179 h 1044396"/>
                    <a:gd name="connsiteX124" fmla="*/ 1200150 w 1255690"/>
                    <a:gd name="connsiteY124" fmla="*/ 226386 h 1044396"/>
                    <a:gd name="connsiteX125" fmla="*/ 1189284 w 1255690"/>
                    <a:gd name="connsiteY125" fmla="*/ 230612 h 1044396"/>
                    <a:gd name="connsiteX126" fmla="*/ 1180832 w 1255690"/>
                    <a:gd name="connsiteY126" fmla="*/ 234838 h 1044396"/>
                    <a:gd name="connsiteX127" fmla="*/ 1170569 w 1255690"/>
                    <a:gd name="connsiteY127" fmla="*/ 244497 h 1044396"/>
                    <a:gd name="connsiteX128" fmla="*/ 1168154 w 1255690"/>
                    <a:gd name="connsiteY128" fmla="*/ 245101 h 1044396"/>
                    <a:gd name="connsiteX129" fmla="*/ 1156684 w 1255690"/>
                    <a:gd name="connsiteY129" fmla="*/ 254156 h 1044396"/>
                    <a:gd name="connsiteX130" fmla="*/ 1146421 w 1255690"/>
                    <a:gd name="connsiteY130" fmla="*/ 264419 h 1044396"/>
                    <a:gd name="connsiteX131" fmla="*/ 1138573 w 1255690"/>
                    <a:gd name="connsiteY131" fmla="*/ 274682 h 1044396"/>
                    <a:gd name="connsiteX132" fmla="*/ 1135554 w 1255690"/>
                    <a:gd name="connsiteY132" fmla="*/ 277097 h 1044396"/>
                    <a:gd name="connsiteX133" fmla="*/ 1125895 w 1255690"/>
                    <a:gd name="connsiteY133" fmla="*/ 294604 h 1044396"/>
                    <a:gd name="connsiteX134" fmla="*/ 1125895 w 1255690"/>
                    <a:gd name="connsiteY134" fmla="*/ 298830 h 1044396"/>
                    <a:gd name="connsiteX135" fmla="*/ 1121066 w 1255690"/>
                    <a:gd name="connsiteY135" fmla="*/ 304867 h 1044396"/>
                    <a:gd name="connsiteX136" fmla="*/ 1122273 w 1255690"/>
                    <a:gd name="connsiteY136" fmla="*/ 308489 h 1044396"/>
                    <a:gd name="connsiteX137" fmla="*/ 1121066 w 1255690"/>
                    <a:gd name="connsiteY137" fmla="*/ 316941 h 1044396"/>
                    <a:gd name="connsiteX138" fmla="*/ 1125291 w 1255690"/>
                    <a:gd name="connsiteY138" fmla="*/ 328411 h 1044396"/>
                    <a:gd name="connsiteX139" fmla="*/ 1128310 w 1255690"/>
                    <a:gd name="connsiteY139" fmla="*/ 335052 h 1044396"/>
                    <a:gd name="connsiteX140" fmla="*/ 1134347 w 1255690"/>
                    <a:gd name="connsiteY140" fmla="*/ 343503 h 1044396"/>
                    <a:gd name="connsiteX141" fmla="*/ 1136762 w 1255690"/>
                    <a:gd name="connsiteY141" fmla="*/ 347729 h 1044396"/>
                    <a:gd name="connsiteX142" fmla="*/ 1140988 w 1255690"/>
                    <a:gd name="connsiteY142" fmla="*/ 361011 h 1044396"/>
                    <a:gd name="connsiteX143" fmla="*/ 1145214 w 1255690"/>
                    <a:gd name="connsiteY143" fmla="*/ 371274 h 1044396"/>
                    <a:gd name="connsiteX144" fmla="*/ 1148836 w 1255690"/>
                    <a:gd name="connsiteY144" fmla="*/ 376707 h 1044396"/>
                    <a:gd name="connsiteX145" fmla="*/ 1151251 w 1255690"/>
                    <a:gd name="connsiteY145" fmla="*/ 385159 h 1044396"/>
                    <a:gd name="connsiteX146" fmla="*/ 1148836 w 1255690"/>
                    <a:gd name="connsiteY146" fmla="*/ 394818 h 1044396"/>
                    <a:gd name="connsiteX147" fmla="*/ 1133140 w 1255690"/>
                    <a:gd name="connsiteY147" fmla="*/ 391799 h 1044396"/>
                    <a:gd name="connsiteX148" fmla="*/ 1123480 w 1255690"/>
                    <a:gd name="connsiteY148" fmla="*/ 396629 h 1044396"/>
                    <a:gd name="connsiteX149" fmla="*/ 1119858 w 1255690"/>
                    <a:gd name="connsiteY149" fmla="*/ 400251 h 1044396"/>
                    <a:gd name="connsiteX150" fmla="*/ 1119858 w 1255690"/>
                    <a:gd name="connsiteY150" fmla="*/ 408099 h 1044396"/>
                    <a:gd name="connsiteX151" fmla="*/ 1116236 w 1255690"/>
                    <a:gd name="connsiteY151" fmla="*/ 411721 h 1044396"/>
                    <a:gd name="connsiteX152" fmla="*/ 1113821 w 1255690"/>
                    <a:gd name="connsiteY152" fmla="*/ 418966 h 1044396"/>
                    <a:gd name="connsiteX153" fmla="*/ 1109595 w 1255690"/>
                    <a:gd name="connsiteY153" fmla="*/ 425607 h 1044396"/>
                    <a:gd name="connsiteX154" fmla="*/ 1113217 w 1255690"/>
                    <a:gd name="connsiteY154" fmla="*/ 425607 h 1044396"/>
                    <a:gd name="connsiteX155" fmla="*/ 1117443 w 1255690"/>
                    <a:gd name="connsiteY155" fmla="*/ 425607 h 1044396"/>
                    <a:gd name="connsiteX156" fmla="*/ 1121066 w 1255690"/>
                    <a:gd name="connsiteY156" fmla="*/ 425003 h 1044396"/>
                    <a:gd name="connsiteX157" fmla="*/ 1121669 w 1255690"/>
                    <a:gd name="connsiteY157" fmla="*/ 418966 h 1044396"/>
                    <a:gd name="connsiteX158" fmla="*/ 1124084 w 1255690"/>
                    <a:gd name="connsiteY158" fmla="*/ 423192 h 1044396"/>
                    <a:gd name="connsiteX159" fmla="*/ 1125291 w 1255690"/>
                    <a:gd name="connsiteY159" fmla="*/ 424399 h 1044396"/>
                    <a:gd name="connsiteX160" fmla="*/ 1126499 w 1255690"/>
                    <a:gd name="connsiteY160" fmla="*/ 423795 h 1044396"/>
                    <a:gd name="connsiteX161" fmla="*/ 1136762 w 1255690"/>
                    <a:gd name="connsiteY161" fmla="*/ 414136 h 1044396"/>
                    <a:gd name="connsiteX162" fmla="*/ 1144006 w 1255690"/>
                    <a:gd name="connsiteY162" fmla="*/ 411118 h 1044396"/>
                    <a:gd name="connsiteX163" fmla="*/ 1151251 w 1255690"/>
                    <a:gd name="connsiteY163" fmla="*/ 411118 h 1044396"/>
                    <a:gd name="connsiteX164" fmla="*/ 1159099 w 1255690"/>
                    <a:gd name="connsiteY164" fmla="*/ 414136 h 1044396"/>
                    <a:gd name="connsiteX165" fmla="*/ 1163325 w 1255690"/>
                    <a:gd name="connsiteY165" fmla="*/ 414136 h 1044396"/>
                    <a:gd name="connsiteX166" fmla="*/ 1140988 w 1255690"/>
                    <a:gd name="connsiteY166" fmla="*/ 429229 h 1044396"/>
                    <a:gd name="connsiteX167" fmla="*/ 1131328 w 1255690"/>
                    <a:gd name="connsiteY167" fmla="*/ 435869 h 1044396"/>
                    <a:gd name="connsiteX168" fmla="*/ 1113217 w 1255690"/>
                    <a:gd name="connsiteY168" fmla="*/ 449754 h 1044396"/>
                    <a:gd name="connsiteX169" fmla="*/ 1110199 w 1255690"/>
                    <a:gd name="connsiteY169" fmla="*/ 456395 h 1044396"/>
                    <a:gd name="connsiteX170" fmla="*/ 1107784 w 1255690"/>
                    <a:gd name="connsiteY170" fmla="*/ 456395 h 1044396"/>
                    <a:gd name="connsiteX171" fmla="*/ 1104766 w 1255690"/>
                    <a:gd name="connsiteY171" fmla="*/ 464243 h 1044396"/>
                    <a:gd name="connsiteX172" fmla="*/ 1102351 w 1255690"/>
                    <a:gd name="connsiteY172" fmla="*/ 467261 h 1044396"/>
                    <a:gd name="connsiteX173" fmla="*/ 1102351 w 1255690"/>
                    <a:gd name="connsiteY173" fmla="*/ 478732 h 1044396"/>
                    <a:gd name="connsiteX174" fmla="*/ 1105973 w 1255690"/>
                    <a:gd name="connsiteY174" fmla="*/ 478128 h 1044396"/>
                    <a:gd name="connsiteX175" fmla="*/ 1112614 w 1255690"/>
                    <a:gd name="connsiteY175" fmla="*/ 481750 h 1044396"/>
                    <a:gd name="connsiteX176" fmla="*/ 1114425 w 1255690"/>
                    <a:gd name="connsiteY176" fmla="*/ 488391 h 1044396"/>
                    <a:gd name="connsiteX177" fmla="*/ 1110199 w 1255690"/>
                    <a:gd name="connsiteY177" fmla="*/ 494428 h 1044396"/>
                    <a:gd name="connsiteX178" fmla="*/ 1102955 w 1255690"/>
                    <a:gd name="connsiteY178" fmla="*/ 499861 h 1044396"/>
                    <a:gd name="connsiteX179" fmla="*/ 1097521 w 1255690"/>
                    <a:gd name="connsiteY179" fmla="*/ 501672 h 1044396"/>
                    <a:gd name="connsiteX180" fmla="*/ 1099333 w 1255690"/>
                    <a:gd name="connsiteY180" fmla="*/ 504691 h 1044396"/>
                    <a:gd name="connsiteX181" fmla="*/ 1090881 w 1255690"/>
                    <a:gd name="connsiteY181" fmla="*/ 508917 h 1044396"/>
                    <a:gd name="connsiteX182" fmla="*/ 1090881 w 1255690"/>
                    <a:gd name="connsiteY182" fmla="*/ 510728 h 1044396"/>
                    <a:gd name="connsiteX183" fmla="*/ 1078807 w 1255690"/>
                    <a:gd name="connsiteY183" fmla="*/ 514954 h 1044396"/>
                    <a:gd name="connsiteX184" fmla="*/ 1071563 w 1255690"/>
                    <a:gd name="connsiteY184" fmla="*/ 519180 h 1044396"/>
                    <a:gd name="connsiteX185" fmla="*/ 1061903 w 1255690"/>
                    <a:gd name="connsiteY185" fmla="*/ 523405 h 1044396"/>
                    <a:gd name="connsiteX186" fmla="*/ 1056470 w 1255690"/>
                    <a:gd name="connsiteY186" fmla="*/ 528235 h 1044396"/>
                    <a:gd name="connsiteX187" fmla="*/ 1052244 w 1255690"/>
                    <a:gd name="connsiteY187" fmla="*/ 530650 h 1044396"/>
                    <a:gd name="connsiteX188" fmla="*/ 1053452 w 1255690"/>
                    <a:gd name="connsiteY188" fmla="*/ 533668 h 1044396"/>
                    <a:gd name="connsiteX189" fmla="*/ 1057678 w 1255690"/>
                    <a:gd name="connsiteY189" fmla="*/ 528839 h 1044396"/>
                    <a:gd name="connsiteX190" fmla="*/ 1058885 w 1255690"/>
                    <a:gd name="connsiteY190" fmla="*/ 529442 h 1044396"/>
                    <a:gd name="connsiteX191" fmla="*/ 1049226 w 1255690"/>
                    <a:gd name="connsiteY191" fmla="*/ 545139 h 1044396"/>
                    <a:gd name="connsiteX192" fmla="*/ 1036548 w 1255690"/>
                    <a:gd name="connsiteY192" fmla="*/ 558420 h 1044396"/>
                    <a:gd name="connsiteX193" fmla="*/ 1035341 w 1255690"/>
                    <a:gd name="connsiteY193" fmla="*/ 563249 h 1044396"/>
                    <a:gd name="connsiteX194" fmla="*/ 1035944 w 1255690"/>
                    <a:gd name="connsiteY194" fmla="*/ 567475 h 1044396"/>
                    <a:gd name="connsiteX195" fmla="*/ 1031115 w 1255690"/>
                    <a:gd name="connsiteY195" fmla="*/ 572305 h 1044396"/>
                    <a:gd name="connsiteX196" fmla="*/ 1023267 w 1255690"/>
                    <a:gd name="connsiteY196" fmla="*/ 571097 h 1044396"/>
                    <a:gd name="connsiteX197" fmla="*/ 1021456 w 1255690"/>
                    <a:gd name="connsiteY197" fmla="*/ 569286 h 1044396"/>
                    <a:gd name="connsiteX198" fmla="*/ 1019041 w 1255690"/>
                    <a:gd name="connsiteY198" fmla="*/ 560834 h 1044396"/>
                    <a:gd name="connsiteX199" fmla="*/ 1011796 w 1255690"/>
                    <a:gd name="connsiteY199" fmla="*/ 555401 h 1044396"/>
                    <a:gd name="connsiteX200" fmla="*/ 1005156 w 1255690"/>
                    <a:gd name="connsiteY200" fmla="*/ 553590 h 1044396"/>
                    <a:gd name="connsiteX201" fmla="*/ 1002137 w 1255690"/>
                    <a:gd name="connsiteY201" fmla="*/ 555401 h 1044396"/>
                    <a:gd name="connsiteX202" fmla="*/ 1000930 w 1255690"/>
                    <a:gd name="connsiteY202" fmla="*/ 560834 h 1044396"/>
                    <a:gd name="connsiteX203" fmla="*/ 1003948 w 1255690"/>
                    <a:gd name="connsiteY203" fmla="*/ 563249 h 1044396"/>
                    <a:gd name="connsiteX204" fmla="*/ 1012400 w 1255690"/>
                    <a:gd name="connsiteY204" fmla="*/ 562042 h 1044396"/>
                    <a:gd name="connsiteX205" fmla="*/ 1019041 w 1255690"/>
                    <a:gd name="connsiteY205" fmla="*/ 571701 h 1044396"/>
                    <a:gd name="connsiteX206" fmla="*/ 1026285 w 1255690"/>
                    <a:gd name="connsiteY206" fmla="*/ 577738 h 1044396"/>
                    <a:gd name="connsiteX207" fmla="*/ 1012400 w 1255690"/>
                    <a:gd name="connsiteY207" fmla="*/ 581360 h 1044396"/>
                    <a:gd name="connsiteX208" fmla="*/ 998515 w 1255690"/>
                    <a:gd name="connsiteY208" fmla="*/ 589208 h 1044396"/>
                    <a:gd name="connsiteX209" fmla="*/ 978593 w 1255690"/>
                    <a:gd name="connsiteY209" fmla="*/ 595849 h 1044396"/>
                    <a:gd name="connsiteX210" fmla="*/ 970745 w 1255690"/>
                    <a:gd name="connsiteY210" fmla="*/ 598264 h 1044396"/>
                    <a:gd name="connsiteX211" fmla="*/ 961086 w 1255690"/>
                    <a:gd name="connsiteY211" fmla="*/ 600075 h 1044396"/>
                    <a:gd name="connsiteX212" fmla="*/ 960482 w 1255690"/>
                    <a:gd name="connsiteY212" fmla="*/ 600679 h 1044396"/>
                    <a:gd name="connsiteX213" fmla="*/ 941768 w 1255690"/>
                    <a:gd name="connsiteY213" fmla="*/ 604301 h 1044396"/>
                    <a:gd name="connsiteX214" fmla="*/ 919431 w 1255690"/>
                    <a:gd name="connsiteY214" fmla="*/ 610941 h 1044396"/>
                    <a:gd name="connsiteX215" fmla="*/ 885624 w 1255690"/>
                    <a:gd name="connsiteY215" fmla="*/ 623015 h 1044396"/>
                    <a:gd name="connsiteX216" fmla="*/ 865098 w 1255690"/>
                    <a:gd name="connsiteY216" fmla="*/ 633882 h 1044396"/>
                    <a:gd name="connsiteX217" fmla="*/ 854835 w 1255690"/>
                    <a:gd name="connsiteY217" fmla="*/ 638712 h 1044396"/>
                    <a:gd name="connsiteX218" fmla="*/ 846987 w 1255690"/>
                    <a:gd name="connsiteY218" fmla="*/ 642938 h 1044396"/>
                    <a:gd name="connsiteX219" fmla="*/ 831895 w 1255690"/>
                    <a:gd name="connsiteY219" fmla="*/ 650182 h 1044396"/>
                    <a:gd name="connsiteX220" fmla="*/ 814991 w 1255690"/>
                    <a:gd name="connsiteY220" fmla="*/ 659237 h 1044396"/>
                    <a:gd name="connsiteX221" fmla="*/ 805936 w 1255690"/>
                    <a:gd name="connsiteY221" fmla="*/ 665274 h 1044396"/>
                    <a:gd name="connsiteX222" fmla="*/ 773940 w 1255690"/>
                    <a:gd name="connsiteY222" fmla="*/ 689422 h 1044396"/>
                    <a:gd name="connsiteX223" fmla="*/ 766695 w 1255690"/>
                    <a:gd name="connsiteY223" fmla="*/ 695459 h 1044396"/>
                    <a:gd name="connsiteX224" fmla="*/ 762470 w 1255690"/>
                    <a:gd name="connsiteY224" fmla="*/ 702100 h 1044396"/>
                    <a:gd name="connsiteX225" fmla="*/ 757640 w 1255690"/>
                    <a:gd name="connsiteY225" fmla="*/ 706929 h 1044396"/>
                    <a:gd name="connsiteX226" fmla="*/ 744962 w 1255690"/>
                    <a:gd name="connsiteY226" fmla="*/ 714777 h 1044396"/>
                    <a:gd name="connsiteX227" fmla="*/ 731077 w 1255690"/>
                    <a:gd name="connsiteY227" fmla="*/ 725644 h 1044396"/>
                    <a:gd name="connsiteX228" fmla="*/ 720814 w 1255690"/>
                    <a:gd name="connsiteY228" fmla="*/ 735303 h 1044396"/>
                    <a:gd name="connsiteX229" fmla="*/ 712966 w 1255690"/>
                    <a:gd name="connsiteY229" fmla="*/ 743151 h 1044396"/>
                    <a:gd name="connsiteX230" fmla="*/ 705118 w 1255690"/>
                    <a:gd name="connsiteY230" fmla="*/ 754018 h 1044396"/>
                    <a:gd name="connsiteX231" fmla="*/ 703307 w 1255690"/>
                    <a:gd name="connsiteY231" fmla="*/ 757640 h 1044396"/>
                    <a:gd name="connsiteX232" fmla="*/ 699685 w 1255690"/>
                    <a:gd name="connsiteY232" fmla="*/ 761866 h 1044396"/>
                    <a:gd name="connsiteX233" fmla="*/ 692441 w 1255690"/>
                    <a:gd name="connsiteY233" fmla="*/ 760055 h 1044396"/>
                    <a:gd name="connsiteX234" fmla="*/ 693044 w 1255690"/>
                    <a:gd name="connsiteY234" fmla="*/ 754622 h 1044396"/>
                    <a:gd name="connsiteX235" fmla="*/ 688215 w 1255690"/>
                    <a:gd name="connsiteY235" fmla="*/ 755225 h 1044396"/>
                    <a:gd name="connsiteX236" fmla="*/ 683989 w 1255690"/>
                    <a:gd name="connsiteY236" fmla="*/ 760055 h 1044396"/>
                    <a:gd name="connsiteX237" fmla="*/ 687007 w 1255690"/>
                    <a:gd name="connsiteY237" fmla="*/ 764884 h 1044396"/>
                    <a:gd name="connsiteX238" fmla="*/ 682781 w 1255690"/>
                    <a:gd name="connsiteY238" fmla="*/ 762469 h 1044396"/>
                    <a:gd name="connsiteX239" fmla="*/ 682781 w 1255690"/>
                    <a:gd name="connsiteY239" fmla="*/ 761866 h 1044396"/>
                    <a:gd name="connsiteX240" fmla="*/ 682178 w 1255690"/>
                    <a:gd name="connsiteY240" fmla="*/ 759451 h 1044396"/>
                    <a:gd name="connsiteX241" fmla="*/ 682781 w 1255690"/>
                    <a:gd name="connsiteY241" fmla="*/ 758847 h 1044396"/>
                    <a:gd name="connsiteX242" fmla="*/ 683989 w 1255690"/>
                    <a:gd name="connsiteY242" fmla="*/ 752810 h 1044396"/>
                    <a:gd name="connsiteX243" fmla="*/ 682781 w 1255690"/>
                    <a:gd name="connsiteY243" fmla="*/ 753414 h 1044396"/>
                    <a:gd name="connsiteX244" fmla="*/ 679763 w 1255690"/>
                    <a:gd name="connsiteY244" fmla="*/ 753414 h 1044396"/>
                    <a:gd name="connsiteX245" fmla="*/ 676141 w 1255690"/>
                    <a:gd name="connsiteY245" fmla="*/ 751603 h 1044396"/>
                    <a:gd name="connsiteX246" fmla="*/ 676141 w 1255690"/>
                    <a:gd name="connsiteY246" fmla="*/ 756433 h 1044396"/>
                    <a:gd name="connsiteX247" fmla="*/ 675537 w 1255690"/>
                    <a:gd name="connsiteY247" fmla="*/ 759451 h 1044396"/>
                    <a:gd name="connsiteX248" fmla="*/ 672518 w 1255690"/>
                    <a:gd name="connsiteY248" fmla="*/ 759451 h 1044396"/>
                    <a:gd name="connsiteX249" fmla="*/ 668896 w 1255690"/>
                    <a:gd name="connsiteY249" fmla="*/ 759451 h 1044396"/>
                    <a:gd name="connsiteX250" fmla="*/ 661652 w 1255690"/>
                    <a:gd name="connsiteY250" fmla="*/ 760658 h 1044396"/>
                    <a:gd name="connsiteX251" fmla="*/ 664067 w 1255690"/>
                    <a:gd name="connsiteY251" fmla="*/ 766092 h 1044396"/>
                    <a:gd name="connsiteX252" fmla="*/ 665878 w 1255690"/>
                    <a:gd name="connsiteY252" fmla="*/ 766092 h 1044396"/>
                    <a:gd name="connsiteX253" fmla="*/ 667689 w 1255690"/>
                    <a:gd name="connsiteY253" fmla="*/ 769714 h 1044396"/>
                    <a:gd name="connsiteX254" fmla="*/ 669500 w 1255690"/>
                    <a:gd name="connsiteY254" fmla="*/ 769714 h 1044396"/>
                    <a:gd name="connsiteX255" fmla="*/ 671915 w 1255690"/>
                    <a:gd name="connsiteY255" fmla="*/ 767299 h 1044396"/>
                    <a:gd name="connsiteX256" fmla="*/ 675537 w 1255690"/>
                    <a:gd name="connsiteY256" fmla="*/ 772129 h 1044396"/>
                    <a:gd name="connsiteX257" fmla="*/ 673726 w 1255690"/>
                    <a:gd name="connsiteY257" fmla="*/ 774543 h 1044396"/>
                    <a:gd name="connsiteX258" fmla="*/ 672518 w 1255690"/>
                    <a:gd name="connsiteY258" fmla="*/ 773940 h 1044396"/>
                    <a:gd name="connsiteX259" fmla="*/ 669500 w 1255690"/>
                    <a:gd name="connsiteY259" fmla="*/ 773940 h 1044396"/>
                    <a:gd name="connsiteX260" fmla="*/ 668896 w 1255690"/>
                    <a:gd name="connsiteY260" fmla="*/ 775147 h 1044396"/>
                    <a:gd name="connsiteX261" fmla="*/ 667689 w 1255690"/>
                    <a:gd name="connsiteY261" fmla="*/ 774543 h 1044396"/>
                    <a:gd name="connsiteX262" fmla="*/ 667689 w 1255690"/>
                    <a:gd name="connsiteY262" fmla="*/ 773940 h 1044396"/>
                    <a:gd name="connsiteX263" fmla="*/ 665274 w 1255690"/>
                    <a:gd name="connsiteY263" fmla="*/ 775147 h 1044396"/>
                    <a:gd name="connsiteX264" fmla="*/ 664671 w 1255690"/>
                    <a:gd name="connsiteY264" fmla="*/ 775751 h 1044396"/>
                    <a:gd name="connsiteX265" fmla="*/ 662859 w 1255690"/>
                    <a:gd name="connsiteY265" fmla="*/ 778769 h 1044396"/>
                    <a:gd name="connsiteX266" fmla="*/ 660445 w 1255690"/>
                    <a:gd name="connsiteY266" fmla="*/ 782995 h 1044396"/>
                    <a:gd name="connsiteX267" fmla="*/ 657426 w 1255690"/>
                    <a:gd name="connsiteY267" fmla="*/ 778165 h 1044396"/>
                    <a:gd name="connsiteX268" fmla="*/ 658030 w 1255690"/>
                    <a:gd name="connsiteY268" fmla="*/ 772732 h 1044396"/>
                    <a:gd name="connsiteX269" fmla="*/ 656823 w 1255690"/>
                    <a:gd name="connsiteY269" fmla="*/ 772732 h 1044396"/>
                    <a:gd name="connsiteX270" fmla="*/ 656219 w 1255690"/>
                    <a:gd name="connsiteY270" fmla="*/ 772129 h 1044396"/>
                    <a:gd name="connsiteX271" fmla="*/ 654408 w 1255690"/>
                    <a:gd name="connsiteY271" fmla="*/ 772732 h 1044396"/>
                    <a:gd name="connsiteX272" fmla="*/ 651993 w 1255690"/>
                    <a:gd name="connsiteY272" fmla="*/ 775751 h 1044396"/>
                    <a:gd name="connsiteX273" fmla="*/ 644145 w 1255690"/>
                    <a:gd name="connsiteY273" fmla="*/ 777562 h 1044396"/>
                    <a:gd name="connsiteX274" fmla="*/ 641730 w 1255690"/>
                    <a:gd name="connsiteY274" fmla="*/ 780580 h 1044396"/>
                    <a:gd name="connsiteX275" fmla="*/ 639919 w 1255690"/>
                    <a:gd name="connsiteY275" fmla="*/ 781184 h 1044396"/>
                    <a:gd name="connsiteX276" fmla="*/ 637504 w 1255690"/>
                    <a:gd name="connsiteY276" fmla="*/ 784202 h 1044396"/>
                    <a:gd name="connsiteX277" fmla="*/ 636901 w 1255690"/>
                    <a:gd name="connsiteY277" fmla="*/ 787825 h 1044396"/>
                    <a:gd name="connsiteX278" fmla="*/ 636297 w 1255690"/>
                    <a:gd name="connsiteY278" fmla="*/ 790239 h 1044396"/>
                    <a:gd name="connsiteX279" fmla="*/ 629053 w 1255690"/>
                    <a:gd name="connsiteY279" fmla="*/ 786617 h 1044396"/>
                    <a:gd name="connsiteX280" fmla="*/ 626034 w 1255690"/>
                    <a:gd name="connsiteY280" fmla="*/ 784202 h 1044396"/>
                    <a:gd name="connsiteX281" fmla="*/ 625430 w 1255690"/>
                    <a:gd name="connsiteY281" fmla="*/ 782995 h 1044396"/>
                    <a:gd name="connsiteX282" fmla="*/ 624223 w 1255690"/>
                    <a:gd name="connsiteY282" fmla="*/ 783599 h 1044396"/>
                    <a:gd name="connsiteX283" fmla="*/ 626638 w 1255690"/>
                    <a:gd name="connsiteY283" fmla="*/ 787221 h 1044396"/>
                    <a:gd name="connsiteX284" fmla="*/ 626638 w 1255690"/>
                    <a:gd name="connsiteY284" fmla="*/ 788428 h 1044396"/>
                    <a:gd name="connsiteX285" fmla="*/ 626638 w 1255690"/>
                    <a:gd name="connsiteY285" fmla="*/ 789636 h 1044396"/>
                    <a:gd name="connsiteX286" fmla="*/ 628449 w 1255690"/>
                    <a:gd name="connsiteY286" fmla="*/ 790843 h 1044396"/>
                    <a:gd name="connsiteX287" fmla="*/ 629656 w 1255690"/>
                    <a:gd name="connsiteY287" fmla="*/ 793258 h 1044396"/>
                    <a:gd name="connsiteX288" fmla="*/ 624827 w 1255690"/>
                    <a:gd name="connsiteY288" fmla="*/ 799295 h 1044396"/>
                    <a:gd name="connsiteX289" fmla="*/ 627241 w 1255690"/>
                    <a:gd name="connsiteY289" fmla="*/ 804728 h 1044396"/>
                    <a:gd name="connsiteX290" fmla="*/ 623619 w 1255690"/>
                    <a:gd name="connsiteY290" fmla="*/ 809558 h 1044396"/>
                    <a:gd name="connsiteX291" fmla="*/ 618790 w 1255690"/>
                    <a:gd name="connsiteY291" fmla="*/ 811369 h 1044396"/>
                    <a:gd name="connsiteX292" fmla="*/ 613960 w 1255690"/>
                    <a:gd name="connsiteY292" fmla="*/ 818613 h 1044396"/>
                    <a:gd name="connsiteX293" fmla="*/ 607923 w 1255690"/>
                    <a:gd name="connsiteY293" fmla="*/ 815595 h 1044396"/>
                    <a:gd name="connsiteX294" fmla="*/ 609734 w 1255690"/>
                    <a:gd name="connsiteY294" fmla="*/ 827065 h 1044396"/>
                    <a:gd name="connsiteX295" fmla="*/ 607319 w 1255690"/>
                    <a:gd name="connsiteY295" fmla="*/ 831291 h 1044396"/>
                    <a:gd name="connsiteX296" fmla="*/ 600679 w 1255690"/>
                    <a:gd name="connsiteY296" fmla="*/ 833706 h 1044396"/>
                    <a:gd name="connsiteX297" fmla="*/ 597660 w 1255690"/>
                    <a:gd name="connsiteY297" fmla="*/ 831291 h 1044396"/>
                    <a:gd name="connsiteX298" fmla="*/ 589812 w 1255690"/>
                    <a:gd name="connsiteY298" fmla="*/ 835517 h 1044396"/>
                    <a:gd name="connsiteX299" fmla="*/ 583775 w 1255690"/>
                    <a:gd name="connsiteY299" fmla="*/ 832498 h 1044396"/>
                    <a:gd name="connsiteX300" fmla="*/ 575927 w 1255690"/>
                    <a:gd name="connsiteY300" fmla="*/ 836121 h 1044396"/>
                    <a:gd name="connsiteX301" fmla="*/ 571701 w 1255690"/>
                    <a:gd name="connsiteY301" fmla="*/ 834913 h 1044396"/>
                    <a:gd name="connsiteX302" fmla="*/ 566871 w 1255690"/>
                    <a:gd name="connsiteY302" fmla="*/ 836724 h 1044396"/>
                    <a:gd name="connsiteX303" fmla="*/ 557816 w 1255690"/>
                    <a:gd name="connsiteY303" fmla="*/ 841554 h 1044396"/>
                    <a:gd name="connsiteX304" fmla="*/ 552383 w 1255690"/>
                    <a:gd name="connsiteY304" fmla="*/ 840346 h 1044396"/>
                    <a:gd name="connsiteX305" fmla="*/ 548761 w 1255690"/>
                    <a:gd name="connsiteY305" fmla="*/ 833102 h 1044396"/>
                    <a:gd name="connsiteX306" fmla="*/ 540309 w 1255690"/>
                    <a:gd name="connsiteY306" fmla="*/ 828876 h 1044396"/>
                    <a:gd name="connsiteX307" fmla="*/ 535480 w 1255690"/>
                    <a:gd name="connsiteY307" fmla="*/ 829480 h 1044396"/>
                    <a:gd name="connsiteX308" fmla="*/ 525217 w 1255690"/>
                    <a:gd name="connsiteY308" fmla="*/ 828272 h 1044396"/>
                    <a:gd name="connsiteX309" fmla="*/ 519783 w 1255690"/>
                    <a:gd name="connsiteY309" fmla="*/ 825858 h 1044396"/>
                    <a:gd name="connsiteX310" fmla="*/ 512539 w 1255690"/>
                    <a:gd name="connsiteY310" fmla="*/ 825858 h 1044396"/>
                    <a:gd name="connsiteX311" fmla="*/ 511332 w 1255690"/>
                    <a:gd name="connsiteY311" fmla="*/ 821028 h 1044396"/>
                    <a:gd name="connsiteX312" fmla="*/ 506502 w 1255690"/>
                    <a:gd name="connsiteY312" fmla="*/ 818613 h 1044396"/>
                    <a:gd name="connsiteX313" fmla="*/ 505295 w 1255690"/>
                    <a:gd name="connsiteY313" fmla="*/ 813784 h 1044396"/>
                    <a:gd name="connsiteX314" fmla="*/ 506502 w 1255690"/>
                    <a:gd name="connsiteY314" fmla="*/ 810161 h 1044396"/>
                    <a:gd name="connsiteX315" fmla="*/ 504691 w 1255690"/>
                    <a:gd name="connsiteY315" fmla="*/ 805936 h 1044396"/>
                    <a:gd name="connsiteX316" fmla="*/ 500465 w 1255690"/>
                    <a:gd name="connsiteY316" fmla="*/ 800502 h 1044396"/>
                    <a:gd name="connsiteX317" fmla="*/ 501069 w 1255690"/>
                    <a:gd name="connsiteY317" fmla="*/ 797484 h 1044396"/>
                    <a:gd name="connsiteX318" fmla="*/ 495635 w 1255690"/>
                    <a:gd name="connsiteY318" fmla="*/ 784202 h 1044396"/>
                    <a:gd name="connsiteX319" fmla="*/ 485372 w 1255690"/>
                    <a:gd name="connsiteY319" fmla="*/ 789636 h 1044396"/>
                    <a:gd name="connsiteX320" fmla="*/ 487787 w 1255690"/>
                    <a:gd name="connsiteY320" fmla="*/ 798087 h 1044396"/>
                    <a:gd name="connsiteX321" fmla="*/ 489598 w 1255690"/>
                    <a:gd name="connsiteY321" fmla="*/ 798087 h 1044396"/>
                    <a:gd name="connsiteX322" fmla="*/ 493221 w 1255690"/>
                    <a:gd name="connsiteY322" fmla="*/ 803521 h 1044396"/>
                    <a:gd name="connsiteX323" fmla="*/ 492013 w 1255690"/>
                    <a:gd name="connsiteY323" fmla="*/ 807747 h 1044396"/>
                    <a:gd name="connsiteX324" fmla="*/ 486580 w 1255690"/>
                    <a:gd name="connsiteY324" fmla="*/ 804124 h 1044396"/>
                    <a:gd name="connsiteX325" fmla="*/ 482354 w 1255690"/>
                    <a:gd name="connsiteY325" fmla="*/ 791447 h 1044396"/>
                    <a:gd name="connsiteX326" fmla="*/ 478128 w 1255690"/>
                    <a:gd name="connsiteY326" fmla="*/ 789032 h 1044396"/>
                    <a:gd name="connsiteX327" fmla="*/ 476921 w 1255690"/>
                    <a:gd name="connsiteY327" fmla="*/ 782995 h 1044396"/>
                    <a:gd name="connsiteX328" fmla="*/ 473902 w 1255690"/>
                    <a:gd name="connsiteY328" fmla="*/ 776354 h 1044396"/>
                    <a:gd name="connsiteX329" fmla="*/ 468469 w 1255690"/>
                    <a:gd name="connsiteY329" fmla="*/ 769714 h 1044396"/>
                    <a:gd name="connsiteX330" fmla="*/ 468469 w 1255690"/>
                    <a:gd name="connsiteY330" fmla="*/ 766695 h 1044396"/>
                    <a:gd name="connsiteX331" fmla="*/ 466054 w 1255690"/>
                    <a:gd name="connsiteY331" fmla="*/ 761262 h 1044396"/>
                    <a:gd name="connsiteX332" fmla="*/ 460621 w 1255690"/>
                    <a:gd name="connsiteY332" fmla="*/ 755225 h 1044396"/>
                    <a:gd name="connsiteX333" fmla="*/ 455187 w 1255690"/>
                    <a:gd name="connsiteY333" fmla="*/ 760055 h 1044396"/>
                    <a:gd name="connsiteX334" fmla="*/ 457602 w 1255690"/>
                    <a:gd name="connsiteY334" fmla="*/ 765488 h 1044396"/>
                    <a:gd name="connsiteX335" fmla="*/ 452773 w 1255690"/>
                    <a:gd name="connsiteY335" fmla="*/ 769714 h 1044396"/>
                    <a:gd name="connsiteX336" fmla="*/ 452169 w 1255690"/>
                    <a:gd name="connsiteY336" fmla="*/ 775147 h 1044396"/>
                    <a:gd name="connsiteX337" fmla="*/ 446736 w 1255690"/>
                    <a:gd name="connsiteY337" fmla="*/ 775147 h 1044396"/>
                    <a:gd name="connsiteX338" fmla="*/ 443114 w 1255690"/>
                    <a:gd name="connsiteY338" fmla="*/ 779976 h 1044396"/>
                    <a:gd name="connsiteX339" fmla="*/ 442510 w 1255690"/>
                    <a:gd name="connsiteY339" fmla="*/ 784806 h 1044396"/>
                    <a:gd name="connsiteX340" fmla="*/ 435266 w 1255690"/>
                    <a:gd name="connsiteY340" fmla="*/ 783599 h 1044396"/>
                    <a:gd name="connsiteX341" fmla="*/ 438888 w 1255690"/>
                    <a:gd name="connsiteY341" fmla="*/ 780580 h 1044396"/>
                    <a:gd name="connsiteX342" fmla="*/ 437077 w 1255690"/>
                    <a:gd name="connsiteY342" fmla="*/ 772129 h 1044396"/>
                    <a:gd name="connsiteX343" fmla="*/ 434662 w 1255690"/>
                    <a:gd name="connsiteY343" fmla="*/ 773940 h 1044396"/>
                    <a:gd name="connsiteX344" fmla="*/ 431040 w 1255690"/>
                    <a:gd name="connsiteY344" fmla="*/ 769714 h 1044396"/>
                    <a:gd name="connsiteX345" fmla="*/ 427418 w 1255690"/>
                    <a:gd name="connsiteY345" fmla="*/ 770921 h 1044396"/>
                    <a:gd name="connsiteX346" fmla="*/ 428625 w 1255690"/>
                    <a:gd name="connsiteY346" fmla="*/ 778165 h 1044396"/>
                    <a:gd name="connsiteX347" fmla="*/ 431040 w 1255690"/>
                    <a:gd name="connsiteY347" fmla="*/ 780580 h 1044396"/>
                    <a:gd name="connsiteX348" fmla="*/ 430436 w 1255690"/>
                    <a:gd name="connsiteY348" fmla="*/ 786013 h 1044396"/>
                    <a:gd name="connsiteX349" fmla="*/ 425607 w 1255690"/>
                    <a:gd name="connsiteY349" fmla="*/ 786013 h 1044396"/>
                    <a:gd name="connsiteX350" fmla="*/ 428021 w 1255690"/>
                    <a:gd name="connsiteY350" fmla="*/ 795069 h 1044396"/>
                    <a:gd name="connsiteX351" fmla="*/ 424399 w 1255690"/>
                    <a:gd name="connsiteY351" fmla="*/ 797484 h 1044396"/>
                    <a:gd name="connsiteX352" fmla="*/ 418362 w 1255690"/>
                    <a:gd name="connsiteY352" fmla="*/ 790843 h 1044396"/>
                    <a:gd name="connsiteX353" fmla="*/ 417155 w 1255690"/>
                    <a:gd name="connsiteY353" fmla="*/ 786617 h 1044396"/>
                    <a:gd name="connsiteX354" fmla="*/ 412929 w 1255690"/>
                    <a:gd name="connsiteY354" fmla="*/ 786013 h 1044396"/>
                    <a:gd name="connsiteX355" fmla="*/ 407496 w 1255690"/>
                    <a:gd name="connsiteY355" fmla="*/ 787221 h 1044396"/>
                    <a:gd name="connsiteX356" fmla="*/ 406288 w 1255690"/>
                    <a:gd name="connsiteY356" fmla="*/ 784202 h 1044396"/>
                    <a:gd name="connsiteX357" fmla="*/ 402062 w 1255690"/>
                    <a:gd name="connsiteY357" fmla="*/ 784806 h 1044396"/>
                    <a:gd name="connsiteX358" fmla="*/ 400855 w 1255690"/>
                    <a:gd name="connsiteY358" fmla="*/ 788428 h 1044396"/>
                    <a:gd name="connsiteX359" fmla="*/ 396025 w 1255690"/>
                    <a:gd name="connsiteY359" fmla="*/ 787825 h 1044396"/>
                    <a:gd name="connsiteX360" fmla="*/ 397233 w 1255690"/>
                    <a:gd name="connsiteY360" fmla="*/ 793258 h 1044396"/>
                    <a:gd name="connsiteX361" fmla="*/ 400251 w 1255690"/>
                    <a:gd name="connsiteY361" fmla="*/ 795069 h 1044396"/>
                    <a:gd name="connsiteX362" fmla="*/ 407496 w 1255690"/>
                    <a:gd name="connsiteY362" fmla="*/ 796276 h 1044396"/>
                    <a:gd name="connsiteX363" fmla="*/ 407496 w 1255690"/>
                    <a:gd name="connsiteY363" fmla="*/ 801106 h 1044396"/>
                    <a:gd name="connsiteX364" fmla="*/ 404477 w 1255690"/>
                    <a:gd name="connsiteY364" fmla="*/ 803521 h 1044396"/>
                    <a:gd name="connsiteX365" fmla="*/ 412929 w 1255690"/>
                    <a:gd name="connsiteY365" fmla="*/ 814387 h 1044396"/>
                    <a:gd name="connsiteX366" fmla="*/ 417759 w 1255690"/>
                    <a:gd name="connsiteY366" fmla="*/ 816802 h 1044396"/>
                    <a:gd name="connsiteX367" fmla="*/ 414740 w 1255690"/>
                    <a:gd name="connsiteY367" fmla="*/ 818613 h 1044396"/>
                    <a:gd name="connsiteX368" fmla="*/ 414740 w 1255690"/>
                    <a:gd name="connsiteY368" fmla="*/ 822235 h 1044396"/>
                    <a:gd name="connsiteX369" fmla="*/ 409910 w 1255690"/>
                    <a:gd name="connsiteY369" fmla="*/ 825254 h 1044396"/>
                    <a:gd name="connsiteX370" fmla="*/ 406892 w 1255690"/>
                    <a:gd name="connsiteY370" fmla="*/ 828272 h 1044396"/>
                    <a:gd name="connsiteX371" fmla="*/ 399648 w 1255690"/>
                    <a:gd name="connsiteY371" fmla="*/ 830084 h 1044396"/>
                    <a:gd name="connsiteX372" fmla="*/ 395422 w 1255690"/>
                    <a:gd name="connsiteY372" fmla="*/ 830084 h 1044396"/>
                    <a:gd name="connsiteX373" fmla="*/ 390592 w 1255690"/>
                    <a:gd name="connsiteY373" fmla="*/ 831895 h 1044396"/>
                    <a:gd name="connsiteX374" fmla="*/ 387574 w 1255690"/>
                    <a:gd name="connsiteY374" fmla="*/ 839139 h 1044396"/>
                    <a:gd name="connsiteX375" fmla="*/ 382140 w 1255690"/>
                    <a:gd name="connsiteY375" fmla="*/ 838535 h 1044396"/>
                    <a:gd name="connsiteX376" fmla="*/ 378518 w 1255690"/>
                    <a:gd name="connsiteY376" fmla="*/ 840950 h 1044396"/>
                    <a:gd name="connsiteX377" fmla="*/ 371274 w 1255690"/>
                    <a:gd name="connsiteY377" fmla="*/ 841554 h 1044396"/>
                    <a:gd name="connsiteX378" fmla="*/ 367651 w 1255690"/>
                    <a:gd name="connsiteY378" fmla="*/ 838535 h 1044396"/>
                    <a:gd name="connsiteX379" fmla="*/ 364029 w 1255690"/>
                    <a:gd name="connsiteY379" fmla="*/ 838535 h 1044396"/>
                    <a:gd name="connsiteX380" fmla="*/ 360407 w 1255690"/>
                    <a:gd name="connsiteY380" fmla="*/ 835517 h 1044396"/>
                    <a:gd name="connsiteX381" fmla="*/ 350748 w 1255690"/>
                    <a:gd name="connsiteY381" fmla="*/ 848798 h 1044396"/>
                    <a:gd name="connsiteX382" fmla="*/ 348937 w 1255690"/>
                    <a:gd name="connsiteY382" fmla="*/ 850006 h 1044396"/>
                    <a:gd name="connsiteX383" fmla="*/ 343504 w 1255690"/>
                    <a:gd name="connsiteY383" fmla="*/ 861476 h 1044396"/>
                    <a:gd name="connsiteX384" fmla="*/ 335052 w 1255690"/>
                    <a:gd name="connsiteY384" fmla="*/ 864494 h 1044396"/>
                    <a:gd name="connsiteX385" fmla="*/ 336863 w 1255690"/>
                    <a:gd name="connsiteY385" fmla="*/ 871739 h 1044396"/>
                    <a:gd name="connsiteX386" fmla="*/ 334448 w 1255690"/>
                    <a:gd name="connsiteY386" fmla="*/ 875361 h 1044396"/>
                    <a:gd name="connsiteX387" fmla="*/ 340485 w 1255690"/>
                    <a:gd name="connsiteY387" fmla="*/ 877776 h 1044396"/>
                    <a:gd name="connsiteX388" fmla="*/ 338070 w 1255690"/>
                    <a:gd name="connsiteY388" fmla="*/ 880794 h 1044396"/>
                    <a:gd name="connsiteX389" fmla="*/ 339278 w 1255690"/>
                    <a:gd name="connsiteY389" fmla="*/ 884416 h 1044396"/>
                    <a:gd name="connsiteX390" fmla="*/ 343504 w 1255690"/>
                    <a:gd name="connsiteY390" fmla="*/ 887435 h 1044396"/>
                    <a:gd name="connsiteX391" fmla="*/ 347729 w 1255690"/>
                    <a:gd name="connsiteY391" fmla="*/ 885624 h 1044396"/>
                    <a:gd name="connsiteX392" fmla="*/ 351352 w 1255690"/>
                    <a:gd name="connsiteY392" fmla="*/ 888038 h 1044396"/>
                    <a:gd name="connsiteX393" fmla="*/ 347729 w 1255690"/>
                    <a:gd name="connsiteY393" fmla="*/ 891660 h 1044396"/>
                    <a:gd name="connsiteX394" fmla="*/ 343504 w 1255690"/>
                    <a:gd name="connsiteY394" fmla="*/ 899509 h 1044396"/>
                    <a:gd name="connsiteX395" fmla="*/ 336259 w 1255690"/>
                    <a:gd name="connsiteY395" fmla="*/ 906149 h 1044396"/>
                    <a:gd name="connsiteX396" fmla="*/ 340485 w 1255690"/>
                    <a:gd name="connsiteY396" fmla="*/ 909168 h 1044396"/>
                    <a:gd name="connsiteX397" fmla="*/ 341692 w 1255690"/>
                    <a:gd name="connsiteY397" fmla="*/ 912790 h 1044396"/>
                    <a:gd name="connsiteX398" fmla="*/ 346522 w 1255690"/>
                    <a:gd name="connsiteY398" fmla="*/ 918223 h 1044396"/>
                    <a:gd name="connsiteX399" fmla="*/ 341089 w 1255690"/>
                    <a:gd name="connsiteY399" fmla="*/ 923053 h 1044396"/>
                    <a:gd name="connsiteX400" fmla="*/ 335052 w 1255690"/>
                    <a:gd name="connsiteY400" fmla="*/ 921242 h 1044396"/>
                    <a:gd name="connsiteX401" fmla="*/ 331430 w 1255690"/>
                    <a:gd name="connsiteY401" fmla="*/ 921845 h 1044396"/>
                    <a:gd name="connsiteX402" fmla="*/ 327808 w 1255690"/>
                    <a:gd name="connsiteY402" fmla="*/ 926675 h 1044396"/>
                    <a:gd name="connsiteX403" fmla="*/ 318752 w 1255690"/>
                    <a:gd name="connsiteY403" fmla="*/ 927279 h 1044396"/>
                    <a:gd name="connsiteX404" fmla="*/ 318148 w 1255690"/>
                    <a:gd name="connsiteY404" fmla="*/ 924864 h 1044396"/>
                    <a:gd name="connsiteX405" fmla="*/ 312715 w 1255690"/>
                    <a:gd name="connsiteY405" fmla="*/ 926071 h 1044396"/>
                    <a:gd name="connsiteX406" fmla="*/ 309093 w 1255690"/>
                    <a:gd name="connsiteY406" fmla="*/ 921242 h 1044396"/>
                    <a:gd name="connsiteX407" fmla="*/ 310300 w 1255690"/>
                    <a:gd name="connsiteY407" fmla="*/ 918223 h 1044396"/>
                    <a:gd name="connsiteX408" fmla="*/ 309093 w 1255690"/>
                    <a:gd name="connsiteY408" fmla="*/ 913997 h 1044396"/>
                    <a:gd name="connsiteX409" fmla="*/ 306074 w 1255690"/>
                    <a:gd name="connsiteY409" fmla="*/ 915205 h 1044396"/>
                    <a:gd name="connsiteX410" fmla="*/ 295208 w 1255690"/>
                    <a:gd name="connsiteY410" fmla="*/ 909168 h 1044396"/>
                    <a:gd name="connsiteX411" fmla="*/ 291586 w 1255690"/>
                    <a:gd name="connsiteY411" fmla="*/ 907960 h 1044396"/>
                    <a:gd name="connsiteX412" fmla="*/ 286756 w 1255690"/>
                    <a:gd name="connsiteY412" fmla="*/ 912186 h 1044396"/>
                    <a:gd name="connsiteX413" fmla="*/ 289171 w 1255690"/>
                    <a:gd name="connsiteY413" fmla="*/ 918827 h 1044396"/>
                    <a:gd name="connsiteX414" fmla="*/ 286756 w 1255690"/>
                    <a:gd name="connsiteY414" fmla="*/ 923053 h 1044396"/>
                    <a:gd name="connsiteX415" fmla="*/ 288567 w 1255690"/>
                    <a:gd name="connsiteY415" fmla="*/ 926675 h 1044396"/>
                    <a:gd name="connsiteX416" fmla="*/ 284945 w 1255690"/>
                    <a:gd name="connsiteY416" fmla="*/ 931505 h 1044396"/>
                    <a:gd name="connsiteX417" fmla="*/ 281323 w 1255690"/>
                    <a:gd name="connsiteY417" fmla="*/ 932108 h 1044396"/>
                    <a:gd name="connsiteX418" fmla="*/ 278304 w 1255690"/>
                    <a:gd name="connsiteY418" fmla="*/ 935731 h 1044396"/>
                    <a:gd name="connsiteX419" fmla="*/ 271664 w 1255690"/>
                    <a:gd name="connsiteY419" fmla="*/ 936334 h 1044396"/>
                    <a:gd name="connsiteX420" fmla="*/ 270456 w 1255690"/>
                    <a:gd name="connsiteY420" fmla="*/ 939353 h 1044396"/>
                    <a:gd name="connsiteX421" fmla="*/ 263816 w 1255690"/>
                    <a:gd name="connsiteY421" fmla="*/ 940560 h 1044396"/>
                    <a:gd name="connsiteX422" fmla="*/ 259590 w 1255690"/>
                    <a:gd name="connsiteY422" fmla="*/ 947805 h 1044396"/>
                    <a:gd name="connsiteX423" fmla="*/ 260193 w 1255690"/>
                    <a:gd name="connsiteY423" fmla="*/ 950219 h 1044396"/>
                    <a:gd name="connsiteX424" fmla="*/ 257175 w 1255690"/>
                    <a:gd name="connsiteY424" fmla="*/ 953842 h 1044396"/>
                    <a:gd name="connsiteX425" fmla="*/ 252345 w 1255690"/>
                    <a:gd name="connsiteY425" fmla="*/ 949616 h 1044396"/>
                    <a:gd name="connsiteX426" fmla="*/ 248119 w 1255690"/>
                    <a:gd name="connsiteY426" fmla="*/ 947805 h 1044396"/>
                    <a:gd name="connsiteX427" fmla="*/ 247516 w 1255690"/>
                    <a:gd name="connsiteY427" fmla="*/ 942371 h 1044396"/>
                    <a:gd name="connsiteX428" fmla="*/ 248119 w 1255690"/>
                    <a:gd name="connsiteY428" fmla="*/ 933919 h 1044396"/>
                    <a:gd name="connsiteX429" fmla="*/ 250534 w 1255690"/>
                    <a:gd name="connsiteY429" fmla="*/ 924260 h 1044396"/>
                    <a:gd name="connsiteX430" fmla="*/ 241479 w 1255690"/>
                    <a:gd name="connsiteY430" fmla="*/ 918827 h 1044396"/>
                    <a:gd name="connsiteX431" fmla="*/ 237253 w 1255690"/>
                    <a:gd name="connsiteY431" fmla="*/ 918827 h 1044396"/>
                    <a:gd name="connsiteX432" fmla="*/ 237253 w 1255690"/>
                    <a:gd name="connsiteY432" fmla="*/ 914601 h 1044396"/>
                    <a:gd name="connsiteX433" fmla="*/ 240875 w 1255690"/>
                    <a:gd name="connsiteY433" fmla="*/ 908564 h 1044396"/>
                    <a:gd name="connsiteX434" fmla="*/ 236045 w 1255690"/>
                    <a:gd name="connsiteY434" fmla="*/ 907357 h 1044396"/>
                    <a:gd name="connsiteX435" fmla="*/ 233027 w 1255690"/>
                    <a:gd name="connsiteY435" fmla="*/ 904338 h 1044396"/>
                    <a:gd name="connsiteX436" fmla="*/ 235442 w 1255690"/>
                    <a:gd name="connsiteY436" fmla="*/ 901923 h 1044396"/>
                    <a:gd name="connsiteX437" fmla="*/ 234234 w 1255690"/>
                    <a:gd name="connsiteY437" fmla="*/ 894075 h 1044396"/>
                    <a:gd name="connsiteX438" fmla="*/ 229405 w 1255690"/>
                    <a:gd name="connsiteY438" fmla="*/ 893472 h 1044396"/>
                    <a:gd name="connsiteX439" fmla="*/ 225783 w 1255690"/>
                    <a:gd name="connsiteY439" fmla="*/ 891660 h 1044396"/>
                    <a:gd name="connsiteX440" fmla="*/ 224575 w 1255690"/>
                    <a:gd name="connsiteY440" fmla="*/ 886831 h 1044396"/>
                    <a:gd name="connsiteX441" fmla="*/ 216727 w 1255690"/>
                    <a:gd name="connsiteY441" fmla="*/ 895283 h 1044396"/>
                    <a:gd name="connsiteX442" fmla="*/ 214916 w 1255690"/>
                    <a:gd name="connsiteY442" fmla="*/ 900112 h 1044396"/>
                    <a:gd name="connsiteX443" fmla="*/ 208879 w 1255690"/>
                    <a:gd name="connsiteY443" fmla="*/ 905546 h 1044396"/>
                    <a:gd name="connsiteX444" fmla="*/ 204653 w 1255690"/>
                    <a:gd name="connsiteY444" fmla="*/ 911583 h 1044396"/>
                    <a:gd name="connsiteX445" fmla="*/ 201031 w 1255690"/>
                    <a:gd name="connsiteY445" fmla="*/ 914601 h 1044396"/>
                    <a:gd name="connsiteX446" fmla="*/ 205861 w 1255690"/>
                    <a:gd name="connsiteY446" fmla="*/ 922449 h 1044396"/>
                    <a:gd name="connsiteX447" fmla="*/ 204050 w 1255690"/>
                    <a:gd name="connsiteY447" fmla="*/ 926675 h 1044396"/>
                    <a:gd name="connsiteX448" fmla="*/ 201031 w 1255690"/>
                    <a:gd name="connsiteY448" fmla="*/ 929090 h 1044396"/>
                    <a:gd name="connsiteX449" fmla="*/ 198013 w 1255690"/>
                    <a:gd name="connsiteY449" fmla="*/ 933316 h 1044396"/>
                    <a:gd name="connsiteX450" fmla="*/ 205861 w 1255690"/>
                    <a:gd name="connsiteY450" fmla="*/ 934523 h 1044396"/>
                    <a:gd name="connsiteX451" fmla="*/ 207672 w 1255690"/>
                    <a:gd name="connsiteY451" fmla="*/ 936938 h 1044396"/>
                    <a:gd name="connsiteX452" fmla="*/ 205257 w 1255690"/>
                    <a:gd name="connsiteY452" fmla="*/ 941768 h 1044396"/>
                    <a:gd name="connsiteX453" fmla="*/ 202239 w 1255690"/>
                    <a:gd name="connsiteY453" fmla="*/ 944786 h 1044396"/>
                    <a:gd name="connsiteX454" fmla="*/ 196202 w 1255690"/>
                    <a:gd name="connsiteY454" fmla="*/ 945390 h 1044396"/>
                    <a:gd name="connsiteX455" fmla="*/ 194994 w 1255690"/>
                    <a:gd name="connsiteY455" fmla="*/ 953238 h 1044396"/>
                    <a:gd name="connsiteX456" fmla="*/ 194994 w 1255690"/>
                    <a:gd name="connsiteY456" fmla="*/ 956860 h 1044396"/>
                    <a:gd name="connsiteX457" fmla="*/ 189561 w 1255690"/>
                    <a:gd name="connsiteY457" fmla="*/ 961086 h 1044396"/>
                    <a:gd name="connsiteX458" fmla="*/ 190768 w 1255690"/>
                    <a:gd name="connsiteY458" fmla="*/ 965312 h 1044396"/>
                    <a:gd name="connsiteX459" fmla="*/ 198616 w 1255690"/>
                    <a:gd name="connsiteY459" fmla="*/ 968330 h 1044396"/>
                    <a:gd name="connsiteX460" fmla="*/ 202239 w 1255690"/>
                    <a:gd name="connsiteY460" fmla="*/ 973160 h 1044396"/>
                    <a:gd name="connsiteX461" fmla="*/ 200427 w 1255690"/>
                    <a:gd name="connsiteY461" fmla="*/ 976178 h 1044396"/>
                    <a:gd name="connsiteX462" fmla="*/ 195598 w 1255690"/>
                    <a:gd name="connsiteY462" fmla="*/ 972556 h 1044396"/>
                    <a:gd name="connsiteX463" fmla="*/ 194994 w 1255690"/>
                    <a:gd name="connsiteY463" fmla="*/ 982819 h 1044396"/>
                    <a:gd name="connsiteX464" fmla="*/ 197409 w 1255690"/>
                    <a:gd name="connsiteY464" fmla="*/ 985234 h 1044396"/>
                    <a:gd name="connsiteX465" fmla="*/ 196202 w 1255690"/>
                    <a:gd name="connsiteY465" fmla="*/ 993082 h 1044396"/>
                    <a:gd name="connsiteX466" fmla="*/ 193183 w 1255690"/>
                    <a:gd name="connsiteY466" fmla="*/ 992478 h 1044396"/>
                    <a:gd name="connsiteX467" fmla="*/ 189561 w 1255690"/>
                    <a:gd name="connsiteY467" fmla="*/ 994893 h 1044396"/>
                    <a:gd name="connsiteX468" fmla="*/ 185939 w 1255690"/>
                    <a:gd name="connsiteY468" fmla="*/ 990063 h 1044396"/>
                    <a:gd name="connsiteX469" fmla="*/ 179902 w 1255690"/>
                    <a:gd name="connsiteY469" fmla="*/ 996100 h 1044396"/>
                    <a:gd name="connsiteX470" fmla="*/ 182316 w 1255690"/>
                    <a:gd name="connsiteY470" fmla="*/ 1000930 h 1044396"/>
                    <a:gd name="connsiteX471" fmla="*/ 181713 w 1255690"/>
                    <a:gd name="connsiteY471" fmla="*/ 1006363 h 1044396"/>
                    <a:gd name="connsiteX472" fmla="*/ 176279 w 1255690"/>
                    <a:gd name="connsiteY472" fmla="*/ 1007570 h 1044396"/>
                    <a:gd name="connsiteX473" fmla="*/ 175676 w 1255690"/>
                    <a:gd name="connsiteY473" fmla="*/ 1005156 h 1044396"/>
                    <a:gd name="connsiteX474" fmla="*/ 171450 w 1255690"/>
                    <a:gd name="connsiteY474" fmla="*/ 1004552 h 1044396"/>
                    <a:gd name="connsiteX475" fmla="*/ 167224 w 1255690"/>
                    <a:gd name="connsiteY475" fmla="*/ 1001533 h 1044396"/>
                    <a:gd name="connsiteX476" fmla="*/ 162998 w 1255690"/>
                    <a:gd name="connsiteY476" fmla="*/ 1000930 h 1044396"/>
                    <a:gd name="connsiteX477" fmla="*/ 160583 w 1255690"/>
                    <a:gd name="connsiteY477" fmla="*/ 994289 h 1044396"/>
                    <a:gd name="connsiteX478" fmla="*/ 153943 w 1255690"/>
                    <a:gd name="connsiteY478" fmla="*/ 995496 h 1044396"/>
                    <a:gd name="connsiteX479" fmla="*/ 153339 w 1255690"/>
                    <a:gd name="connsiteY479" fmla="*/ 993082 h 1044396"/>
                    <a:gd name="connsiteX480" fmla="*/ 145491 w 1255690"/>
                    <a:gd name="connsiteY480" fmla="*/ 991874 h 1044396"/>
                    <a:gd name="connsiteX481" fmla="*/ 141265 w 1255690"/>
                    <a:gd name="connsiteY481" fmla="*/ 989459 h 1044396"/>
                    <a:gd name="connsiteX482" fmla="*/ 138850 w 1255690"/>
                    <a:gd name="connsiteY482" fmla="*/ 993685 h 1044396"/>
                    <a:gd name="connsiteX483" fmla="*/ 131606 w 1255690"/>
                    <a:gd name="connsiteY483" fmla="*/ 990667 h 1044396"/>
                    <a:gd name="connsiteX484" fmla="*/ 126776 w 1255690"/>
                    <a:gd name="connsiteY484" fmla="*/ 993685 h 1044396"/>
                    <a:gd name="connsiteX485" fmla="*/ 126776 w 1255690"/>
                    <a:gd name="connsiteY485" fmla="*/ 998515 h 1044396"/>
                    <a:gd name="connsiteX486" fmla="*/ 113495 w 1255690"/>
                    <a:gd name="connsiteY486" fmla="*/ 1006967 h 1044396"/>
                    <a:gd name="connsiteX487" fmla="*/ 108665 w 1255690"/>
                    <a:gd name="connsiteY487" fmla="*/ 1007570 h 1044396"/>
                    <a:gd name="connsiteX488" fmla="*/ 105647 w 1255690"/>
                    <a:gd name="connsiteY488" fmla="*/ 1009985 h 1044396"/>
                    <a:gd name="connsiteX489" fmla="*/ 95384 w 1255690"/>
                    <a:gd name="connsiteY489" fmla="*/ 1014211 h 1044396"/>
                    <a:gd name="connsiteX490" fmla="*/ 92366 w 1255690"/>
                    <a:gd name="connsiteY490" fmla="*/ 1014211 h 1044396"/>
                    <a:gd name="connsiteX491" fmla="*/ 85725 w 1255690"/>
                    <a:gd name="connsiteY491" fmla="*/ 1017230 h 1044396"/>
                    <a:gd name="connsiteX492" fmla="*/ 82706 w 1255690"/>
                    <a:gd name="connsiteY492" fmla="*/ 1022059 h 1044396"/>
                    <a:gd name="connsiteX493" fmla="*/ 76669 w 1255690"/>
                    <a:gd name="connsiteY493" fmla="*/ 1026285 h 1044396"/>
                    <a:gd name="connsiteX494" fmla="*/ 65199 w 1255690"/>
                    <a:gd name="connsiteY494" fmla="*/ 1033529 h 1044396"/>
                    <a:gd name="connsiteX495" fmla="*/ 62181 w 1255690"/>
                    <a:gd name="connsiteY495" fmla="*/ 1028096 h 1044396"/>
                    <a:gd name="connsiteX496" fmla="*/ 57351 w 1255690"/>
                    <a:gd name="connsiteY496" fmla="*/ 1029907 h 1044396"/>
                    <a:gd name="connsiteX497" fmla="*/ 53729 w 1255690"/>
                    <a:gd name="connsiteY497" fmla="*/ 1034737 h 1044396"/>
                    <a:gd name="connsiteX498" fmla="*/ 53125 w 1255690"/>
                    <a:gd name="connsiteY498" fmla="*/ 1038359 h 1044396"/>
                    <a:gd name="connsiteX499" fmla="*/ 46485 w 1255690"/>
                    <a:gd name="connsiteY499" fmla="*/ 1043189 h 1044396"/>
                    <a:gd name="connsiteX500" fmla="*/ 39240 w 1255690"/>
                    <a:gd name="connsiteY500" fmla="*/ 1040774 h 1044396"/>
                    <a:gd name="connsiteX501" fmla="*/ 34411 w 1255690"/>
                    <a:gd name="connsiteY501" fmla="*/ 1043189 h 1044396"/>
                    <a:gd name="connsiteX502" fmla="*/ 19922 w 1255690"/>
                    <a:gd name="connsiteY502" fmla="*/ 1046207 h 1044396"/>
                    <a:gd name="connsiteX503" fmla="*/ 17507 w 1255690"/>
                    <a:gd name="connsiteY503" fmla="*/ 1041981 h 1044396"/>
                    <a:gd name="connsiteX504" fmla="*/ 10866 w 1255690"/>
                    <a:gd name="connsiteY504" fmla="*/ 1043189 h 1044396"/>
                    <a:gd name="connsiteX505" fmla="*/ 8452 w 1255690"/>
                    <a:gd name="connsiteY505" fmla="*/ 1041981 h 1044396"/>
                    <a:gd name="connsiteX506" fmla="*/ 4830 w 1255690"/>
                    <a:gd name="connsiteY506" fmla="*/ 1045603 h 1044396"/>
                    <a:gd name="connsiteX507" fmla="*/ 0 w 1255690"/>
                    <a:gd name="connsiteY507" fmla="*/ 1045603 h 1044396"/>
                    <a:gd name="connsiteX508" fmla="*/ 0 w 1255690"/>
                    <a:gd name="connsiteY508" fmla="*/ 1041378 h 1044396"/>
                    <a:gd name="connsiteX509" fmla="*/ 2415 w 1255690"/>
                    <a:gd name="connsiteY509" fmla="*/ 1036548 h 1044396"/>
                    <a:gd name="connsiteX510" fmla="*/ 604 w 1255690"/>
                    <a:gd name="connsiteY510" fmla="*/ 1034133 h 1044396"/>
                    <a:gd name="connsiteX511" fmla="*/ 2415 w 1255690"/>
                    <a:gd name="connsiteY511" fmla="*/ 1027492 h 1044396"/>
                    <a:gd name="connsiteX512" fmla="*/ 10866 w 1255690"/>
                    <a:gd name="connsiteY512" fmla="*/ 1030511 h 1044396"/>
                    <a:gd name="connsiteX513" fmla="*/ 12677 w 1255690"/>
                    <a:gd name="connsiteY513" fmla="*/ 1024474 h 1044396"/>
                    <a:gd name="connsiteX514" fmla="*/ 12074 w 1255690"/>
                    <a:gd name="connsiteY514" fmla="*/ 1020248 h 1044396"/>
                    <a:gd name="connsiteX515" fmla="*/ 14489 w 1255690"/>
                    <a:gd name="connsiteY515" fmla="*/ 1014815 h 1044396"/>
                    <a:gd name="connsiteX516" fmla="*/ 18714 w 1255690"/>
                    <a:gd name="connsiteY516" fmla="*/ 1008778 h 1044396"/>
                    <a:gd name="connsiteX517" fmla="*/ 19318 w 1255690"/>
                    <a:gd name="connsiteY517" fmla="*/ 1002741 h 1044396"/>
                    <a:gd name="connsiteX518" fmla="*/ 18111 w 1255690"/>
                    <a:gd name="connsiteY518" fmla="*/ 997307 h 1044396"/>
                    <a:gd name="connsiteX519" fmla="*/ 19922 w 1255690"/>
                    <a:gd name="connsiteY519" fmla="*/ 992478 h 1044396"/>
                    <a:gd name="connsiteX520" fmla="*/ 25355 w 1255690"/>
                    <a:gd name="connsiteY520" fmla="*/ 983423 h 1044396"/>
                    <a:gd name="connsiteX521" fmla="*/ 25959 w 1255690"/>
                    <a:gd name="connsiteY521" fmla="*/ 975575 h 1044396"/>
                    <a:gd name="connsiteX522" fmla="*/ 28374 w 1255690"/>
                    <a:gd name="connsiteY522" fmla="*/ 969538 h 1044396"/>
                    <a:gd name="connsiteX523" fmla="*/ 24751 w 1255690"/>
                    <a:gd name="connsiteY523" fmla="*/ 963501 h 1044396"/>
                    <a:gd name="connsiteX524" fmla="*/ 28977 w 1255690"/>
                    <a:gd name="connsiteY524" fmla="*/ 952030 h 1044396"/>
                    <a:gd name="connsiteX525" fmla="*/ 29581 w 1255690"/>
                    <a:gd name="connsiteY525" fmla="*/ 947201 h 1044396"/>
                    <a:gd name="connsiteX526" fmla="*/ 37429 w 1255690"/>
                    <a:gd name="connsiteY526" fmla="*/ 944182 h 1044396"/>
                    <a:gd name="connsiteX527" fmla="*/ 42862 w 1255690"/>
                    <a:gd name="connsiteY527" fmla="*/ 938145 h 1044396"/>
                    <a:gd name="connsiteX528" fmla="*/ 47692 w 1255690"/>
                    <a:gd name="connsiteY528" fmla="*/ 938145 h 1044396"/>
                    <a:gd name="connsiteX529" fmla="*/ 56748 w 1255690"/>
                    <a:gd name="connsiteY529" fmla="*/ 935127 h 1044396"/>
                    <a:gd name="connsiteX530" fmla="*/ 56144 w 1255690"/>
                    <a:gd name="connsiteY530" fmla="*/ 929694 h 1044396"/>
                    <a:gd name="connsiteX531" fmla="*/ 74255 w 1255690"/>
                    <a:gd name="connsiteY531" fmla="*/ 928486 h 1044396"/>
                    <a:gd name="connsiteX532" fmla="*/ 77877 w 1255690"/>
                    <a:gd name="connsiteY532" fmla="*/ 913997 h 1044396"/>
                    <a:gd name="connsiteX533" fmla="*/ 85121 w 1255690"/>
                    <a:gd name="connsiteY533" fmla="*/ 907960 h 1044396"/>
                    <a:gd name="connsiteX534" fmla="*/ 95384 w 1255690"/>
                    <a:gd name="connsiteY534" fmla="*/ 897094 h 1044396"/>
                    <a:gd name="connsiteX535" fmla="*/ 98403 w 1255690"/>
                    <a:gd name="connsiteY535" fmla="*/ 891057 h 1044396"/>
                    <a:gd name="connsiteX536" fmla="*/ 102629 w 1255690"/>
                    <a:gd name="connsiteY536" fmla="*/ 888642 h 1044396"/>
                    <a:gd name="connsiteX537" fmla="*/ 105647 w 1255690"/>
                    <a:gd name="connsiteY537" fmla="*/ 888642 h 1044396"/>
                    <a:gd name="connsiteX538" fmla="*/ 106251 w 1255690"/>
                    <a:gd name="connsiteY538" fmla="*/ 882605 h 1044396"/>
                    <a:gd name="connsiteX539" fmla="*/ 115910 w 1255690"/>
                    <a:gd name="connsiteY539" fmla="*/ 882001 h 1044396"/>
                    <a:gd name="connsiteX540" fmla="*/ 117117 w 1255690"/>
                    <a:gd name="connsiteY540" fmla="*/ 875964 h 1044396"/>
                    <a:gd name="connsiteX541" fmla="*/ 112288 w 1255690"/>
                    <a:gd name="connsiteY541" fmla="*/ 874153 h 1044396"/>
                    <a:gd name="connsiteX542" fmla="*/ 106251 w 1255690"/>
                    <a:gd name="connsiteY542" fmla="*/ 868720 h 1044396"/>
                    <a:gd name="connsiteX543" fmla="*/ 103836 w 1255690"/>
                    <a:gd name="connsiteY543" fmla="*/ 868720 h 1044396"/>
                    <a:gd name="connsiteX544" fmla="*/ 104440 w 1255690"/>
                    <a:gd name="connsiteY544" fmla="*/ 861476 h 1044396"/>
                    <a:gd name="connsiteX545" fmla="*/ 109269 w 1255690"/>
                    <a:gd name="connsiteY545" fmla="*/ 865098 h 1044396"/>
                    <a:gd name="connsiteX546" fmla="*/ 115910 w 1255690"/>
                    <a:gd name="connsiteY546" fmla="*/ 866909 h 1044396"/>
                    <a:gd name="connsiteX547" fmla="*/ 115910 w 1255690"/>
                    <a:gd name="connsiteY547" fmla="*/ 860872 h 1044396"/>
                    <a:gd name="connsiteX548" fmla="*/ 118325 w 1255690"/>
                    <a:gd name="connsiteY548" fmla="*/ 858457 h 1044396"/>
                    <a:gd name="connsiteX549" fmla="*/ 117117 w 1255690"/>
                    <a:gd name="connsiteY549" fmla="*/ 855439 h 1044396"/>
                    <a:gd name="connsiteX550" fmla="*/ 121947 w 1255690"/>
                    <a:gd name="connsiteY550" fmla="*/ 852420 h 1044396"/>
                    <a:gd name="connsiteX551" fmla="*/ 124965 w 1255690"/>
                    <a:gd name="connsiteY551" fmla="*/ 851817 h 1044396"/>
                    <a:gd name="connsiteX552" fmla="*/ 133417 w 1255690"/>
                    <a:gd name="connsiteY552" fmla="*/ 846987 h 1044396"/>
                    <a:gd name="connsiteX553" fmla="*/ 143076 w 1255690"/>
                    <a:gd name="connsiteY553" fmla="*/ 848798 h 1044396"/>
                    <a:gd name="connsiteX554" fmla="*/ 145491 w 1255690"/>
                    <a:gd name="connsiteY554" fmla="*/ 839139 h 1044396"/>
                    <a:gd name="connsiteX555" fmla="*/ 156961 w 1255690"/>
                    <a:gd name="connsiteY555" fmla="*/ 835517 h 1044396"/>
                    <a:gd name="connsiteX556" fmla="*/ 159980 w 1255690"/>
                    <a:gd name="connsiteY556" fmla="*/ 831291 h 1044396"/>
                    <a:gd name="connsiteX557" fmla="*/ 158772 w 1255690"/>
                    <a:gd name="connsiteY557" fmla="*/ 829480 h 1044396"/>
                    <a:gd name="connsiteX558" fmla="*/ 160583 w 1255690"/>
                    <a:gd name="connsiteY558" fmla="*/ 822839 h 1044396"/>
                    <a:gd name="connsiteX559" fmla="*/ 159376 w 1255690"/>
                    <a:gd name="connsiteY559" fmla="*/ 818010 h 1044396"/>
                    <a:gd name="connsiteX560" fmla="*/ 161791 w 1255690"/>
                    <a:gd name="connsiteY560" fmla="*/ 809558 h 1044396"/>
                    <a:gd name="connsiteX561" fmla="*/ 170846 w 1255690"/>
                    <a:gd name="connsiteY561" fmla="*/ 805332 h 1044396"/>
                    <a:gd name="connsiteX562" fmla="*/ 176279 w 1255690"/>
                    <a:gd name="connsiteY562" fmla="*/ 805332 h 1044396"/>
                    <a:gd name="connsiteX563" fmla="*/ 172657 w 1255690"/>
                    <a:gd name="connsiteY563" fmla="*/ 781184 h 1044396"/>
                    <a:gd name="connsiteX564" fmla="*/ 166620 w 1255690"/>
                    <a:gd name="connsiteY564" fmla="*/ 772732 h 1044396"/>
                    <a:gd name="connsiteX565" fmla="*/ 169639 w 1255690"/>
                    <a:gd name="connsiteY565" fmla="*/ 769110 h 1044396"/>
                    <a:gd name="connsiteX566" fmla="*/ 166017 w 1255690"/>
                    <a:gd name="connsiteY566" fmla="*/ 760658 h 1044396"/>
                    <a:gd name="connsiteX567" fmla="*/ 161187 w 1255690"/>
                    <a:gd name="connsiteY567" fmla="*/ 757036 h 1044396"/>
                    <a:gd name="connsiteX568" fmla="*/ 163602 w 1255690"/>
                    <a:gd name="connsiteY568" fmla="*/ 751603 h 1044396"/>
                    <a:gd name="connsiteX569" fmla="*/ 162395 w 1255690"/>
                    <a:gd name="connsiteY569" fmla="*/ 745566 h 1044396"/>
                    <a:gd name="connsiteX570" fmla="*/ 158772 w 1255690"/>
                    <a:gd name="connsiteY570" fmla="*/ 743151 h 1044396"/>
                    <a:gd name="connsiteX571" fmla="*/ 158169 w 1255690"/>
                    <a:gd name="connsiteY571" fmla="*/ 737114 h 1044396"/>
                    <a:gd name="connsiteX572" fmla="*/ 158169 w 1255690"/>
                    <a:gd name="connsiteY572" fmla="*/ 728059 h 1044396"/>
                    <a:gd name="connsiteX573" fmla="*/ 161187 w 1255690"/>
                    <a:gd name="connsiteY573" fmla="*/ 722625 h 1044396"/>
                    <a:gd name="connsiteX574" fmla="*/ 163602 w 1255690"/>
                    <a:gd name="connsiteY574" fmla="*/ 713570 h 1044396"/>
                    <a:gd name="connsiteX575" fmla="*/ 155754 w 1255690"/>
                    <a:gd name="connsiteY575" fmla="*/ 709948 h 1044396"/>
                    <a:gd name="connsiteX576" fmla="*/ 155754 w 1255690"/>
                    <a:gd name="connsiteY576" fmla="*/ 706326 h 1044396"/>
                    <a:gd name="connsiteX577" fmla="*/ 161187 w 1255690"/>
                    <a:gd name="connsiteY577" fmla="*/ 706326 h 1044396"/>
                    <a:gd name="connsiteX578" fmla="*/ 164206 w 1255690"/>
                    <a:gd name="connsiteY578" fmla="*/ 696063 h 1044396"/>
                    <a:gd name="connsiteX579" fmla="*/ 161791 w 1255690"/>
                    <a:gd name="connsiteY579" fmla="*/ 692440 h 1044396"/>
                    <a:gd name="connsiteX580" fmla="*/ 151528 w 1255690"/>
                    <a:gd name="connsiteY580" fmla="*/ 693648 h 1044396"/>
                    <a:gd name="connsiteX581" fmla="*/ 146698 w 1255690"/>
                    <a:gd name="connsiteY581" fmla="*/ 685196 h 1044396"/>
                    <a:gd name="connsiteX582" fmla="*/ 147906 w 1255690"/>
                    <a:gd name="connsiteY582" fmla="*/ 682781 h 1044396"/>
                    <a:gd name="connsiteX583" fmla="*/ 145491 w 1255690"/>
                    <a:gd name="connsiteY583" fmla="*/ 677952 h 1044396"/>
                    <a:gd name="connsiteX584" fmla="*/ 145491 w 1255690"/>
                    <a:gd name="connsiteY584" fmla="*/ 674933 h 1044396"/>
                    <a:gd name="connsiteX585" fmla="*/ 141265 w 1255690"/>
                    <a:gd name="connsiteY585" fmla="*/ 673122 h 1044396"/>
                    <a:gd name="connsiteX586" fmla="*/ 138850 w 1255690"/>
                    <a:gd name="connsiteY586" fmla="*/ 676141 h 1044396"/>
                    <a:gd name="connsiteX587" fmla="*/ 131002 w 1255690"/>
                    <a:gd name="connsiteY587" fmla="*/ 676141 h 1044396"/>
                    <a:gd name="connsiteX588" fmla="*/ 136435 w 1255690"/>
                    <a:gd name="connsiteY588" fmla="*/ 668293 h 1044396"/>
                    <a:gd name="connsiteX589" fmla="*/ 135832 w 1255690"/>
                    <a:gd name="connsiteY589" fmla="*/ 662859 h 1044396"/>
                    <a:gd name="connsiteX590" fmla="*/ 134021 w 1255690"/>
                    <a:gd name="connsiteY590" fmla="*/ 658634 h 1044396"/>
                    <a:gd name="connsiteX591" fmla="*/ 137039 w 1255690"/>
                    <a:gd name="connsiteY591" fmla="*/ 649578 h 1044396"/>
                    <a:gd name="connsiteX592" fmla="*/ 136435 w 1255690"/>
                    <a:gd name="connsiteY592" fmla="*/ 639919 h 1044396"/>
                    <a:gd name="connsiteX593" fmla="*/ 134624 w 1255690"/>
                    <a:gd name="connsiteY593" fmla="*/ 632071 h 1044396"/>
                    <a:gd name="connsiteX594" fmla="*/ 135832 w 1255690"/>
                    <a:gd name="connsiteY594" fmla="*/ 624827 h 1044396"/>
                    <a:gd name="connsiteX595" fmla="*/ 138247 w 1255690"/>
                    <a:gd name="connsiteY595" fmla="*/ 621204 h 1044396"/>
                    <a:gd name="connsiteX596" fmla="*/ 138850 w 1255690"/>
                    <a:gd name="connsiteY596" fmla="*/ 614564 h 1044396"/>
                    <a:gd name="connsiteX597" fmla="*/ 137643 w 1255690"/>
                    <a:gd name="connsiteY597" fmla="*/ 612753 h 1044396"/>
                    <a:gd name="connsiteX598" fmla="*/ 126776 w 1255690"/>
                    <a:gd name="connsiteY598" fmla="*/ 611545 h 1044396"/>
                    <a:gd name="connsiteX599" fmla="*/ 122550 w 1255690"/>
                    <a:gd name="connsiteY599" fmla="*/ 612149 h 1044396"/>
                    <a:gd name="connsiteX600" fmla="*/ 117721 w 1255690"/>
                    <a:gd name="connsiteY600" fmla="*/ 603093 h 1044396"/>
                    <a:gd name="connsiteX601" fmla="*/ 118325 w 1255690"/>
                    <a:gd name="connsiteY601" fmla="*/ 598867 h 1044396"/>
                    <a:gd name="connsiteX602" fmla="*/ 105647 w 1255690"/>
                    <a:gd name="connsiteY602" fmla="*/ 594038 h 1044396"/>
                    <a:gd name="connsiteX603" fmla="*/ 97195 w 1255690"/>
                    <a:gd name="connsiteY603" fmla="*/ 589208 h 1044396"/>
                    <a:gd name="connsiteX604" fmla="*/ 94780 w 1255690"/>
                    <a:gd name="connsiteY604" fmla="*/ 586190 h 1044396"/>
                    <a:gd name="connsiteX605" fmla="*/ 95384 w 1255690"/>
                    <a:gd name="connsiteY605" fmla="*/ 580756 h 1044396"/>
                    <a:gd name="connsiteX606" fmla="*/ 92969 w 1255690"/>
                    <a:gd name="connsiteY606" fmla="*/ 578342 h 1044396"/>
                    <a:gd name="connsiteX607" fmla="*/ 95384 w 1255690"/>
                    <a:gd name="connsiteY607" fmla="*/ 573512 h 1044396"/>
                    <a:gd name="connsiteX608" fmla="*/ 97799 w 1255690"/>
                    <a:gd name="connsiteY608" fmla="*/ 562042 h 1044396"/>
                    <a:gd name="connsiteX609" fmla="*/ 100817 w 1255690"/>
                    <a:gd name="connsiteY609" fmla="*/ 557212 h 1044396"/>
                    <a:gd name="connsiteX610" fmla="*/ 103836 w 1255690"/>
                    <a:gd name="connsiteY610" fmla="*/ 557816 h 1044396"/>
                    <a:gd name="connsiteX611" fmla="*/ 112891 w 1255690"/>
                    <a:gd name="connsiteY611" fmla="*/ 545742 h 1044396"/>
                    <a:gd name="connsiteX612" fmla="*/ 115306 w 1255690"/>
                    <a:gd name="connsiteY612" fmla="*/ 545139 h 1044396"/>
                    <a:gd name="connsiteX613" fmla="*/ 121343 w 1255690"/>
                    <a:gd name="connsiteY613" fmla="*/ 550572 h 1044396"/>
                    <a:gd name="connsiteX614" fmla="*/ 124965 w 1255690"/>
                    <a:gd name="connsiteY614" fmla="*/ 556609 h 1044396"/>
                    <a:gd name="connsiteX615" fmla="*/ 129191 w 1255690"/>
                    <a:gd name="connsiteY615" fmla="*/ 558420 h 1044396"/>
                    <a:gd name="connsiteX616" fmla="*/ 129795 w 1255690"/>
                    <a:gd name="connsiteY616" fmla="*/ 563249 h 1044396"/>
                    <a:gd name="connsiteX617" fmla="*/ 137039 w 1255690"/>
                    <a:gd name="connsiteY617" fmla="*/ 559627 h 1044396"/>
                    <a:gd name="connsiteX618" fmla="*/ 138850 w 1255690"/>
                    <a:gd name="connsiteY618" fmla="*/ 556609 h 1044396"/>
                    <a:gd name="connsiteX619" fmla="*/ 150321 w 1255690"/>
                    <a:gd name="connsiteY619" fmla="*/ 565060 h 1044396"/>
                    <a:gd name="connsiteX620" fmla="*/ 153943 w 1255690"/>
                    <a:gd name="connsiteY620" fmla="*/ 564457 h 1044396"/>
                    <a:gd name="connsiteX621" fmla="*/ 161187 w 1255690"/>
                    <a:gd name="connsiteY621" fmla="*/ 568079 h 1044396"/>
                    <a:gd name="connsiteX622" fmla="*/ 164809 w 1255690"/>
                    <a:gd name="connsiteY622" fmla="*/ 571701 h 1044396"/>
                    <a:gd name="connsiteX623" fmla="*/ 169035 w 1255690"/>
                    <a:gd name="connsiteY623" fmla="*/ 571701 h 1044396"/>
                    <a:gd name="connsiteX624" fmla="*/ 174468 w 1255690"/>
                    <a:gd name="connsiteY624" fmla="*/ 567475 h 1044396"/>
                    <a:gd name="connsiteX625" fmla="*/ 180505 w 1255690"/>
                    <a:gd name="connsiteY625" fmla="*/ 573512 h 1044396"/>
                    <a:gd name="connsiteX626" fmla="*/ 182316 w 1255690"/>
                    <a:gd name="connsiteY626" fmla="*/ 579549 h 1044396"/>
                    <a:gd name="connsiteX627" fmla="*/ 187750 w 1255690"/>
                    <a:gd name="connsiteY627" fmla="*/ 589208 h 1044396"/>
                    <a:gd name="connsiteX628" fmla="*/ 188353 w 1255690"/>
                    <a:gd name="connsiteY628" fmla="*/ 592830 h 1044396"/>
                    <a:gd name="connsiteX629" fmla="*/ 191976 w 1255690"/>
                    <a:gd name="connsiteY629" fmla="*/ 598264 h 1044396"/>
                    <a:gd name="connsiteX630" fmla="*/ 193787 w 1255690"/>
                    <a:gd name="connsiteY630" fmla="*/ 602490 h 1044396"/>
                    <a:gd name="connsiteX631" fmla="*/ 196805 w 1255690"/>
                    <a:gd name="connsiteY631" fmla="*/ 604301 h 1044396"/>
                    <a:gd name="connsiteX632" fmla="*/ 202842 w 1255690"/>
                    <a:gd name="connsiteY632" fmla="*/ 599471 h 1044396"/>
                    <a:gd name="connsiteX633" fmla="*/ 207068 w 1255690"/>
                    <a:gd name="connsiteY633" fmla="*/ 593434 h 1044396"/>
                    <a:gd name="connsiteX634" fmla="*/ 211898 w 1255690"/>
                    <a:gd name="connsiteY634" fmla="*/ 589812 h 1044396"/>
                    <a:gd name="connsiteX635" fmla="*/ 217935 w 1255690"/>
                    <a:gd name="connsiteY635" fmla="*/ 588605 h 1044396"/>
                    <a:gd name="connsiteX636" fmla="*/ 220953 w 1255690"/>
                    <a:gd name="connsiteY636" fmla="*/ 590416 h 1044396"/>
                    <a:gd name="connsiteX637" fmla="*/ 224575 w 1255690"/>
                    <a:gd name="connsiteY637" fmla="*/ 589208 h 1044396"/>
                    <a:gd name="connsiteX638" fmla="*/ 229405 w 1255690"/>
                    <a:gd name="connsiteY638" fmla="*/ 592227 h 1044396"/>
                    <a:gd name="connsiteX639" fmla="*/ 236045 w 1255690"/>
                    <a:gd name="connsiteY639" fmla="*/ 593434 h 1044396"/>
                    <a:gd name="connsiteX640" fmla="*/ 239064 w 1255690"/>
                    <a:gd name="connsiteY640" fmla="*/ 595849 h 1044396"/>
                    <a:gd name="connsiteX641" fmla="*/ 243290 w 1255690"/>
                    <a:gd name="connsiteY641" fmla="*/ 595245 h 1044396"/>
                    <a:gd name="connsiteX642" fmla="*/ 249931 w 1255690"/>
                    <a:gd name="connsiteY642" fmla="*/ 597660 h 1044396"/>
                    <a:gd name="connsiteX643" fmla="*/ 244497 w 1255690"/>
                    <a:gd name="connsiteY643" fmla="*/ 604904 h 1044396"/>
                    <a:gd name="connsiteX644" fmla="*/ 244497 w 1255690"/>
                    <a:gd name="connsiteY644" fmla="*/ 610941 h 1044396"/>
                    <a:gd name="connsiteX645" fmla="*/ 245705 w 1255690"/>
                    <a:gd name="connsiteY645" fmla="*/ 616375 h 1044396"/>
                    <a:gd name="connsiteX646" fmla="*/ 254156 w 1255690"/>
                    <a:gd name="connsiteY646" fmla="*/ 613960 h 1044396"/>
                    <a:gd name="connsiteX647" fmla="*/ 259590 w 1255690"/>
                    <a:gd name="connsiteY647" fmla="*/ 605508 h 1044396"/>
                    <a:gd name="connsiteX648" fmla="*/ 270456 w 1255690"/>
                    <a:gd name="connsiteY648" fmla="*/ 605508 h 1044396"/>
                    <a:gd name="connsiteX649" fmla="*/ 273475 w 1255690"/>
                    <a:gd name="connsiteY649" fmla="*/ 600679 h 1044396"/>
                    <a:gd name="connsiteX650" fmla="*/ 271060 w 1255690"/>
                    <a:gd name="connsiteY650" fmla="*/ 588001 h 1044396"/>
                    <a:gd name="connsiteX651" fmla="*/ 272871 w 1255690"/>
                    <a:gd name="connsiteY651" fmla="*/ 578945 h 1044396"/>
                    <a:gd name="connsiteX652" fmla="*/ 273475 w 1255690"/>
                    <a:gd name="connsiteY652" fmla="*/ 571097 h 1044396"/>
                    <a:gd name="connsiteX653" fmla="*/ 271060 w 1255690"/>
                    <a:gd name="connsiteY653" fmla="*/ 568682 h 1044396"/>
                    <a:gd name="connsiteX654" fmla="*/ 260797 w 1255690"/>
                    <a:gd name="connsiteY654" fmla="*/ 567475 h 1044396"/>
                    <a:gd name="connsiteX655" fmla="*/ 255364 w 1255690"/>
                    <a:gd name="connsiteY655" fmla="*/ 568079 h 1044396"/>
                    <a:gd name="connsiteX656" fmla="*/ 253553 w 1255690"/>
                    <a:gd name="connsiteY656" fmla="*/ 569890 h 1044396"/>
                    <a:gd name="connsiteX657" fmla="*/ 246912 w 1255690"/>
                    <a:gd name="connsiteY657" fmla="*/ 569286 h 1044396"/>
                    <a:gd name="connsiteX658" fmla="*/ 245705 w 1255690"/>
                    <a:gd name="connsiteY658" fmla="*/ 567475 h 1044396"/>
                    <a:gd name="connsiteX659" fmla="*/ 238460 w 1255690"/>
                    <a:gd name="connsiteY659" fmla="*/ 564457 h 1044396"/>
                    <a:gd name="connsiteX660" fmla="*/ 230008 w 1255690"/>
                    <a:gd name="connsiteY660" fmla="*/ 564457 h 1044396"/>
                    <a:gd name="connsiteX661" fmla="*/ 224575 w 1255690"/>
                    <a:gd name="connsiteY661" fmla="*/ 560834 h 1044396"/>
                    <a:gd name="connsiteX662" fmla="*/ 217935 w 1255690"/>
                    <a:gd name="connsiteY662" fmla="*/ 559627 h 1044396"/>
                    <a:gd name="connsiteX663" fmla="*/ 208276 w 1255690"/>
                    <a:gd name="connsiteY663" fmla="*/ 556609 h 1044396"/>
                    <a:gd name="connsiteX664" fmla="*/ 207068 w 1255690"/>
                    <a:gd name="connsiteY664" fmla="*/ 554194 h 1044396"/>
                    <a:gd name="connsiteX665" fmla="*/ 208276 w 1255690"/>
                    <a:gd name="connsiteY665" fmla="*/ 547553 h 1044396"/>
                    <a:gd name="connsiteX666" fmla="*/ 207068 w 1255690"/>
                    <a:gd name="connsiteY666" fmla="*/ 540913 h 1044396"/>
                    <a:gd name="connsiteX667" fmla="*/ 204653 w 1255690"/>
                    <a:gd name="connsiteY667" fmla="*/ 535479 h 1044396"/>
                    <a:gd name="connsiteX668" fmla="*/ 205861 w 1255690"/>
                    <a:gd name="connsiteY668" fmla="*/ 531857 h 1044396"/>
                    <a:gd name="connsiteX669" fmla="*/ 210087 w 1255690"/>
                    <a:gd name="connsiteY669" fmla="*/ 528235 h 1044396"/>
                    <a:gd name="connsiteX670" fmla="*/ 211898 w 1255690"/>
                    <a:gd name="connsiteY670" fmla="*/ 522802 h 1044396"/>
                    <a:gd name="connsiteX671" fmla="*/ 210087 w 1255690"/>
                    <a:gd name="connsiteY671" fmla="*/ 514954 h 1044396"/>
                    <a:gd name="connsiteX672" fmla="*/ 210087 w 1255690"/>
                    <a:gd name="connsiteY672" fmla="*/ 509520 h 1044396"/>
                    <a:gd name="connsiteX673" fmla="*/ 214916 w 1255690"/>
                    <a:gd name="connsiteY673" fmla="*/ 505898 h 1044396"/>
                    <a:gd name="connsiteX674" fmla="*/ 213709 w 1255690"/>
                    <a:gd name="connsiteY674" fmla="*/ 499257 h 1044396"/>
                    <a:gd name="connsiteX675" fmla="*/ 207672 w 1255690"/>
                    <a:gd name="connsiteY675" fmla="*/ 493824 h 1044396"/>
                    <a:gd name="connsiteX676" fmla="*/ 211294 w 1255690"/>
                    <a:gd name="connsiteY676" fmla="*/ 484165 h 1044396"/>
                    <a:gd name="connsiteX677" fmla="*/ 211294 w 1255690"/>
                    <a:gd name="connsiteY677" fmla="*/ 478732 h 1044396"/>
                    <a:gd name="connsiteX678" fmla="*/ 214313 w 1255690"/>
                    <a:gd name="connsiteY678" fmla="*/ 476921 h 1044396"/>
                    <a:gd name="connsiteX679" fmla="*/ 214916 w 1255690"/>
                    <a:gd name="connsiteY679" fmla="*/ 473902 h 1044396"/>
                    <a:gd name="connsiteX680" fmla="*/ 212501 w 1255690"/>
                    <a:gd name="connsiteY680" fmla="*/ 470884 h 1044396"/>
                    <a:gd name="connsiteX681" fmla="*/ 213105 w 1255690"/>
                    <a:gd name="connsiteY681" fmla="*/ 466658 h 1044396"/>
                    <a:gd name="connsiteX682" fmla="*/ 206464 w 1255690"/>
                    <a:gd name="connsiteY682" fmla="*/ 467865 h 1044396"/>
                    <a:gd name="connsiteX683" fmla="*/ 205257 w 1255690"/>
                    <a:gd name="connsiteY683" fmla="*/ 455187 h 1044396"/>
                    <a:gd name="connsiteX684" fmla="*/ 198616 w 1255690"/>
                    <a:gd name="connsiteY684" fmla="*/ 452169 h 1044396"/>
                    <a:gd name="connsiteX685" fmla="*/ 193183 w 1255690"/>
                    <a:gd name="connsiteY685" fmla="*/ 445528 h 1044396"/>
                    <a:gd name="connsiteX686" fmla="*/ 197409 w 1255690"/>
                    <a:gd name="connsiteY686" fmla="*/ 440699 h 1044396"/>
                    <a:gd name="connsiteX687" fmla="*/ 196202 w 1255690"/>
                    <a:gd name="connsiteY687" fmla="*/ 436473 h 1044396"/>
                    <a:gd name="connsiteX688" fmla="*/ 199824 w 1255690"/>
                    <a:gd name="connsiteY688" fmla="*/ 434662 h 1044396"/>
                    <a:gd name="connsiteX689" fmla="*/ 202239 w 1255690"/>
                    <a:gd name="connsiteY689" fmla="*/ 428625 h 1044396"/>
                    <a:gd name="connsiteX690" fmla="*/ 202239 w 1255690"/>
                    <a:gd name="connsiteY690" fmla="*/ 421984 h 1044396"/>
                    <a:gd name="connsiteX691" fmla="*/ 197409 w 1255690"/>
                    <a:gd name="connsiteY691" fmla="*/ 413533 h 1044396"/>
                    <a:gd name="connsiteX692" fmla="*/ 198013 w 1255690"/>
                    <a:gd name="connsiteY692" fmla="*/ 406892 h 1044396"/>
                    <a:gd name="connsiteX693" fmla="*/ 195598 w 1255690"/>
                    <a:gd name="connsiteY693" fmla="*/ 400251 h 1044396"/>
                    <a:gd name="connsiteX694" fmla="*/ 196805 w 1255690"/>
                    <a:gd name="connsiteY694" fmla="*/ 393610 h 1044396"/>
                    <a:gd name="connsiteX695" fmla="*/ 195598 w 1255690"/>
                    <a:gd name="connsiteY695" fmla="*/ 382140 h 1044396"/>
                    <a:gd name="connsiteX696" fmla="*/ 198013 w 1255690"/>
                    <a:gd name="connsiteY696" fmla="*/ 373085 h 1044396"/>
                    <a:gd name="connsiteX697" fmla="*/ 202842 w 1255690"/>
                    <a:gd name="connsiteY697" fmla="*/ 377311 h 1044396"/>
                    <a:gd name="connsiteX698" fmla="*/ 205861 w 1255690"/>
                    <a:gd name="connsiteY698" fmla="*/ 376103 h 1044396"/>
                    <a:gd name="connsiteX699" fmla="*/ 209483 w 1255690"/>
                    <a:gd name="connsiteY699" fmla="*/ 377311 h 1044396"/>
                    <a:gd name="connsiteX700" fmla="*/ 210087 w 1255690"/>
                    <a:gd name="connsiteY700" fmla="*/ 383348 h 1044396"/>
                    <a:gd name="connsiteX701" fmla="*/ 212501 w 1255690"/>
                    <a:gd name="connsiteY701" fmla="*/ 385762 h 1044396"/>
                    <a:gd name="connsiteX702" fmla="*/ 216727 w 1255690"/>
                    <a:gd name="connsiteY702" fmla="*/ 384555 h 1044396"/>
                    <a:gd name="connsiteX703" fmla="*/ 220349 w 1255690"/>
                    <a:gd name="connsiteY703" fmla="*/ 386366 h 1044396"/>
                    <a:gd name="connsiteX704" fmla="*/ 221557 w 1255690"/>
                    <a:gd name="connsiteY704" fmla="*/ 383348 h 1044396"/>
                    <a:gd name="connsiteX705" fmla="*/ 225179 w 1255690"/>
                    <a:gd name="connsiteY705" fmla="*/ 380933 h 1044396"/>
                    <a:gd name="connsiteX706" fmla="*/ 226386 w 1255690"/>
                    <a:gd name="connsiteY706" fmla="*/ 375499 h 1044396"/>
                    <a:gd name="connsiteX707" fmla="*/ 226386 w 1255690"/>
                    <a:gd name="connsiteY707" fmla="*/ 369462 h 1044396"/>
                    <a:gd name="connsiteX708" fmla="*/ 240875 w 1255690"/>
                    <a:gd name="connsiteY708" fmla="*/ 359803 h 1044396"/>
                    <a:gd name="connsiteX709" fmla="*/ 246912 w 1255690"/>
                    <a:gd name="connsiteY709" fmla="*/ 350144 h 1044396"/>
                    <a:gd name="connsiteX710" fmla="*/ 251138 w 1255690"/>
                    <a:gd name="connsiteY710" fmla="*/ 345918 h 1044396"/>
                    <a:gd name="connsiteX711" fmla="*/ 254760 w 1255690"/>
                    <a:gd name="connsiteY711" fmla="*/ 339278 h 1044396"/>
                    <a:gd name="connsiteX712" fmla="*/ 252345 w 1255690"/>
                    <a:gd name="connsiteY712" fmla="*/ 333241 h 1044396"/>
                    <a:gd name="connsiteX713" fmla="*/ 255968 w 1255690"/>
                    <a:gd name="connsiteY713" fmla="*/ 330222 h 1044396"/>
                    <a:gd name="connsiteX714" fmla="*/ 259590 w 1255690"/>
                    <a:gd name="connsiteY714" fmla="*/ 324789 h 1044396"/>
                    <a:gd name="connsiteX715" fmla="*/ 257175 w 1255690"/>
                    <a:gd name="connsiteY715" fmla="*/ 316941 h 1044396"/>
                    <a:gd name="connsiteX716" fmla="*/ 257779 w 1255690"/>
                    <a:gd name="connsiteY716" fmla="*/ 313923 h 1044396"/>
                    <a:gd name="connsiteX717" fmla="*/ 268042 w 1255690"/>
                    <a:gd name="connsiteY717" fmla="*/ 312111 h 1044396"/>
                    <a:gd name="connsiteX718" fmla="*/ 271060 w 1255690"/>
                    <a:gd name="connsiteY718" fmla="*/ 313319 h 1044396"/>
                    <a:gd name="connsiteX719" fmla="*/ 275286 w 1255690"/>
                    <a:gd name="connsiteY719" fmla="*/ 312111 h 1044396"/>
                    <a:gd name="connsiteX720" fmla="*/ 283134 w 1255690"/>
                    <a:gd name="connsiteY720" fmla="*/ 312111 h 1044396"/>
                    <a:gd name="connsiteX721" fmla="*/ 287963 w 1255690"/>
                    <a:gd name="connsiteY721" fmla="*/ 315734 h 1044396"/>
                    <a:gd name="connsiteX722" fmla="*/ 294000 w 1255690"/>
                    <a:gd name="connsiteY722" fmla="*/ 312111 h 1044396"/>
                    <a:gd name="connsiteX723" fmla="*/ 300037 w 1255690"/>
                    <a:gd name="connsiteY723" fmla="*/ 310904 h 1044396"/>
                    <a:gd name="connsiteX724" fmla="*/ 307886 w 1255690"/>
                    <a:gd name="connsiteY724" fmla="*/ 314526 h 1044396"/>
                    <a:gd name="connsiteX725" fmla="*/ 312715 w 1255690"/>
                    <a:gd name="connsiteY725" fmla="*/ 310904 h 1044396"/>
                    <a:gd name="connsiteX726" fmla="*/ 316941 w 1255690"/>
                    <a:gd name="connsiteY726" fmla="*/ 312111 h 1044396"/>
                    <a:gd name="connsiteX727" fmla="*/ 321167 w 1255690"/>
                    <a:gd name="connsiteY727" fmla="*/ 310904 h 1044396"/>
                    <a:gd name="connsiteX728" fmla="*/ 323582 w 1255690"/>
                    <a:gd name="connsiteY728" fmla="*/ 308489 h 1044396"/>
                    <a:gd name="connsiteX729" fmla="*/ 325393 w 1255690"/>
                    <a:gd name="connsiteY729" fmla="*/ 312715 h 1044396"/>
                    <a:gd name="connsiteX730" fmla="*/ 328411 w 1255690"/>
                    <a:gd name="connsiteY730" fmla="*/ 312111 h 1044396"/>
                    <a:gd name="connsiteX731" fmla="*/ 335052 w 1255690"/>
                    <a:gd name="connsiteY731" fmla="*/ 315130 h 1044396"/>
                    <a:gd name="connsiteX732" fmla="*/ 341089 w 1255690"/>
                    <a:gd name="connsiteY732" fmla="*/ 321167 h 1044396"/>
                    <a:gd name="connsiteX733" fmla="*/ 347729 w 1255690"/>
                    <a:gd name="connsiteY733" fmla="*/ 323582 h 1044396"/>
                    <a:gd name="connsiteX734" fmla="*/ 357389 w 1255690"/>
                    <a:gd name="connsiteY734" fmla="*/ 324789 h 1044396"/>
                    <a:gd name="connsiteX735" fmla="*/ 360407 w 1255690"/>
                    <a:gd name="connsiteY735" fmla="*/ 324185 h 1044396"/>
                    <a:gd name="connsiteX736" fmla="*/ 365840 w 1255690"/>
                    <a:gd name="connsiteY736" fmla="*/ 318148 h 1044396"/>
                    <a:gd name="connsiteX737" fmla="*/ 372481 w 1255690"/>
                    <a:gd name="connsiteY737" fmla="*/ 316337 h 1044396"/>
                    <a:gd name="connsiteX738" fmla="*/ 375500 w 1255690"/>
                    <a:gd name="connsiteY738" fmla="*/ 302452 h 1044396"/>
                    <a:gd name="connsiteX739" fmla="*/ 377914 w 1255690"/>
                    <a:gd name="connsiteY739" fmla="*/ 297623 h 1044396"/>
                    <a:gd name="connsiteX740" fmla="*/ 376707 w 1255690"/>
                    <a:gd name="connsiteY740" fmla="*/ 291586 h 1044396"/>
                    <a:gd name="connsiteX741" fmla="*/ 379122 w 1255690"/>
                    <a:gd name="connsiteY741" fmla="*/ 287963 h 1044396"/>
                    <a:gd name="connsiteX742" fmla="*/ 382744 w 1255690"/>
                    <a:gd name="connsiteY742" fmla="*/ 286152 h 1044396"/>
                    <a:gd name="connsiteX743" fmla="*/ 388177 w 1255690"/>
                    <a:gd name="connsiteY743" fmla="*/ 287963 h 1044396"/>
                    <a:gd name="connsiteX744" fmla="*/ 388781 w 1255690"/>
                    <a:gd name="connsiteY744" fmla="*/ 281926 h 1044396"/>
                    <a:gd name="connsiteX745" fmla="*/ 386366 w 1255690"/>
                    <a:gd name="connsiteY745" fmla="*/ 280115 h 1044396"/>
                    <a:gd name="connsiteX746" fmla="*/ 385159 w 1255690"/>
                    <a:gd name="connsiteY746" fmla="*/ 274078 h 1044396"/>
                    <a:gd name="connsiteX747" fmla="*/ 387574 w 1255690"/>
                    <a:gd name="connsiteY747" fmla="*/ 271060 h 1044396"/>
                    <a:gd name="connsiteX748" fmla="*/ 388781 w 1255690"/>
                    <a:gd name="connsiteY748" fmla="*/ 264419 h 1044396"/>
                    <a:gd name="connsiteX749" fmla="*/ 396629 w 1255690"/>
                    <a:gd name="connsiteY749" fmla="*/ 266834 h 1044396"/>
                    <a:gd name="connsiteX750" fmla="*/ 409910 w 1255690"/>
                    <a:gd name="connsiteY750" fmla="*/ 272267 h 1044396"/>
                    <a:gd name="connsiteX751" fmla="*/ 415947 w 1255690"/>
                    <a:gd name="connsiteY751" fmla="*/ 269852 h 1044396"/>
                    <a:gd name="connsiteX752" fmla="*/ 414136 w 1255690"/>
                    <a:gd name="connsiteY752" fmla="*/ 267438 h 1044396"/>
                    <a:gd name="connsiteX753" fmla="*/ 414136 w 1255690"/>
                    <a:gd name="connsiteY753" fmla="*/ 258986 h 1044396"/>
                    <a:gd name="connsiteX754" fmla="*/ 411722 w 1255690"/>
                    <a:gd name="connsiteY754" fmla="*/ 256571 h 1044396"/>
                    <a:gd name="connsiteX755" fmla="*/ 409307 w 1255690"/>
                    <a:gd name="connsiteY755" fmla="*/ 250534 h 1044396"/>
                    <a:gd name="connsiteX756" fmla="*/ 405081 w 1255690"/>
                    <a:gd name="connsiteY756" fmla="*/ 248723 h 1044396"/>
                    <a:gd name="connsiteX757" fmla="*/ 403270 w 1255690"/>
                    <a:gd name="connsiteY757" fmla="*/ 239667 h 1044396"/>
                    <a:gd name="connsiteX758" fmla="*/ 405685 w 1255690"/>
                    <a:gd name="connsiteY758" fmla="*/ 228801 h 1044396"/>
                    <a:gd name="connsiteX759" fmla="*/ 408099 w 1255690"/>
                    <a:gd name="connsiteY759" fmla="*/ 225783 h 1044396"/>
                    <a:gd name="connsiteX760" fmla="*/ 407496 w 1255690"/>
                    <a:gd name="connsiteY760" fmla="*/ 220349 h 1044396"/>
                    <a:gd name="connsiteX761" fmla="*/ 408703 w 1255690"/>
                    <a:gd name="connsiteY761" fmla="*/ 214916 h 1044396"/>
                    <a:gd name="connsiteX762" fmla="*/ 411118 w 1255690"/>
                    <a:gd name="connsiteY762" fmla="*/ 211294 h 1044396"/>
                    <a:gd name="connsiteX763" fmla="*/ 418362 w 1255690"/>
                    <a:gd name="connsiteY763" fmla="*/ 206464 h 1044396"/>
                    <a:gd name="connsiteX764" fmla="*/ 423796 w 1255690"/>
                    <a:gd name="connsiteY764" fmla="*/ 203446 h 1044396"/>
                    <a:gd name="connsiteX765" fmla="*/ 423796 w 1255690"/>
                    <a:gd name="connsiteY765" fmla="*/ 210690 h 1044396"/>
                    <a:gd name="connsiteX766" fmla="*/ 428021 w 1255690"/>
                    <a:gd name="connsiteY766" fmla="*/ 213105 h 1044396"/>
                    <a:gd name="connsiteX767" fmla="*/ 429832 w 1255690"/>
                    <a:gd name="connsiteY767" fmla="*/ 208276 h 1044396"/>
                    <a:gd name="connsiteX768" fmla="*/ 432247 w 1255690"/>
                    <a:gd name="connsiteY768" fmla="*/ 205861 h 1044396"/>
                    <a:gd name="connsiteX769" fmla="*/ 423796 w 1255690"/>
                    <a:gd name="connsiteY769" fmla="*/ 202239 h 1044396"/>
                    <a:gd name="connsiteX770" fmla="*/ 419570 w 1255690"/>
                    <a:gd name="connsiteY770" fmla="*/ 198013 h 1044396"/>
                    <a:gd name="connsiteX771" fmla="*/ 421984 w 1255690"/>
                    <a:gd name="connsiteY771" fmla="*/ 193787 h 1044396"/>
                    <a:gd name="connsiteX772" fmla="*/ 426814 w 1255690"/>
                    <a:gd name="connsiteY772" fmla="*/ 193183 h 1044396"/>
                    <a:gd name="connsiteX773" fmla="*/ 432851 w 1255690"/>
                    <a:gd name="connsiteY773" fmla="*/ 182920 h 1044396"/>
                    <a:gd name="connsiteX774" fmla="*/ 431040 w 1255690"/>
                    <a:gd name="connsiteY774" fmla="*/ 175676 h 1044396"/>
                    <a:gd name="connsiteX775" fmla="*/ 434058 w 1255690"/>
                    <a:gd name="connsiteY775" fmla="*/ 167828 h 1044396"/>
                    <a:gd name="connsiteX776" fmla="*/ 440699 w 1255690"/>
                    <a:gd name="connsiteY776" fmla="*/ 171450 h 1044396"/>
                    <a:gd name="connsiteX777" fmla="*/ 443717 w 1255690"/>
                    <a:gd name="connsiteY777" fmla="*/ 171450 h 1044396"/>
                    <a:gd name="connsiteX778" fmla="*/ 442510 w 1255690"/>
                    <a:gd name="connsiteY778" fmla="*/ 162998 h 1044396"/>
                    <a:gd name="connsiteX779" fmla="*/ 450962 w 1255690"/>
                    <a:gd name="connsiteY779" fmla="*/ 163602 h 1044396"/>
                    <a:gd name="connsiteX780" fmla="*/ 453376 w 1255690"/>
                    <a:gd name="connsiteY780" fmla="*/ 158168 h 1044396"/>
                    <a:gd name="connsiteX781" fmla="*/ 450962 w 1255690"/>
                    <a:gd name="connsiteY781" fmla="*/ 153943 h 1044396"/>
                    <a:gd name="connsiteX782" fmla="*/ 456395 w 1255690"/>
                    <a:gd name="connsiteY782" fmla="*/ 145491 h 1044396"/>
                    <a:gd name="connsiteX783" fmla="*/ 453980 w 1255690"/>
                    <a:gd name="connsiteY783" fmla="*/ 141869 h 1044396"/>
                    <a:gd name="connsiteX784" fmla="*/ 446736 w 1255690"/>
                    <a:gd name="connsiteY784" fmla="*/ 140661 h 1044396"/>
                    <a:gd name="connsiteX785" fmla="*/ 447943 w 1255690"/>
                    <a:gd name="connsiteY785" fmla="*/ 138246 h 1044396"/>
                    <a:gd name="connsiteX786" fmla="*/ 443114 w 1255690"/>
                    <a:gd name="connsiteY786" fmla="*/ 133417 h 1044396"/>
                    <a:gd name="connsiteX787" fmla="*/ 443114 w 1255690"/>
                    <a:gd name="connsiteY787" fmla="*/ 131002 h 1044396"/>
                    <a:gd name="connsiteX788" fmla="*/ 446132 w 1255690"/>
                    <a:gd name="connsiteY788" fmla="*/ 124361 h 1044396"/>
                    <a:gd name="connsiteX789" fmla="*/ 443114 w 1255690"/>
                    <a:gd name="connsiteY789" fmla="*/ 120739 h 1044396"/>
                    <a:gd name="connsiteX790" fmla="*/ 443717 w 1255690"/>
                    <a:gd name="connsiteY790" fmla="*/ 113495 h 1044396"/>
                    <a:gd name="connsiteX791" fmla="*/ 453376 w 1255690"/>
                    <a:gd name="connsiteY791" fmla="*/ 113495 h 1044396"/>
                    <a:gd name="connsiteX792" fmla="*/ 456395 w 1255690"/>
                    <a:gd name="connsiteY792" fmla="*/ 111080 h 1044396"/>
                    <a:gd name="connsiteX793" fmla="*/ 447943 w 1255690"/>
                    <a:gd name="connsiteY793" fmla="*/ 103232 h 1044396"/>
                    <a:gd name="connsiteX794" fmla="*/ 457602 w 1255690"/>
                    <a:gd name="connsiteY794" fmla="*/ 90555 h 1044396"/>
                    <a:gd name="connsiteX795" fmla="*/ 460621 w 1255690"/>
                    <a:gd name="connsiteY795" fmla="*/ 82103 h 1044396"/>
                    <a:gd name="connsiteX796" fmla="*/ 466054 w 1255690"/>
                    <a:gd name="connsiteY796" fmla="*/ 75462 h 1044396"/>
                    <a:gd name="connsiteX797" fmla="*/ 468469 w 1255690"/>
                    <a:gd name="connsiteY797" fmla="*/ 75462 h 1044396"/>
                    <a:gd name="connsiteX798" fmla="*/ 475713 w 1255690"/>
                    <a:gd name="connsiteY798" fmla="*/ 71236 h 1044396"/>
                    <a:gd name="connsiteX799" fmla="*/ 486580 w 1255690"/>
                    <a:gd name="connsiteY799" fmla="*/ 71840 h 1044396"/>
                    <a:gd name="connsiteX800" fmla="*/ 492013 w 1255690"/>
                    <a:gd name="connsiteY800" fmla="*/ 68218 h 1044396"/>
                    <a:gd name="connsiteX801" fmla="*/ 493221 w 1255690"/>
                    <a:gd name="connsiteY801" fmla="*/ 64595 h 1044396"/>
                    <a:gd name="connsiteX802" fmla="*/ 497446 w 1255690"/>
                    <a:gd name="connsiteY802" fmla="*/ 60973 h 1044396"/>
                    <a:gd name="connsiteX803" fmla="*/ 502276 w 1255690"/>
                    <a:gd name="connsiteY803" fmla="*/ 59766 h 1044396"/>
                    <a:gd name="connsiteX804" fmla="*/ 502276 w 1255690"/>
                    <a:gd name="connsiteY804" fmla="*/ 55540 h 1044396"/>
                    <a:gd name="connsiteX805" fmla="*/ 506502 w 1255690"/>
                    <a:gd name="connsiteY805" fmla="*/ 53125 h 1044396"/>
                    <a:gd name="connsiteX806" fmla="*/ 510124 w 1255690"/>
                    <a:gd name="connsiteY806" fmla="*/ 48899 h 1044396"/>
                    <a:gd name="connsiteX807" fmla="*/ 517972 w 1255690"/>
                    <a:gd name="connsiteY807" fmla="*/ 50107 h 1044396"/>
                    <a:gd name="connsiteX808" fmla="*/ 521594 w 1255690"/>
                    <a:gd name="connsiteY808" fmla="*/ 45277 h 1044396"/>
                    <a:gd name="connsiteX809" fmla="*/ 532461 w 1255690"/>
                    <a:gd name="connsiteY809" fmla="*/ 45881 h 1044396"/>
                    <a:gd name="connsiteX810" fmla="*/ 539102 w 1255690"/>
                    <a:gd name="connsiteY810" fmla="*/ 43466 h 1044396"/>
                    <a:gd name="connsiteX811" fmla="*/ 542120 w 1255690"/>
                    <a:gd name="connsiteY811" fmla="*/ 35618 h 1044396"/>
                    <a:gd name="connsiteX812" fmla="*/ 547553 w 1255690"/>
                    <a:gd name="connsiteY812" fmla="*/ 28977 h 1044396"/>
                    <a:gd name="connsiteX813" fmla="*/ 547553 w 1255690"/>
                    <a:gd name="connsiteY813" fmla="*/ 22337 h 1044396"/>
                    <a:gd name="connsiteX814" fmla="*/ 543328 w 1255690"/>
                    <a:gd name="connsiteY814" fmla="*/ 20525 h 1044396"/>
                    <a:gd name="connsiteX815" fmla="*/ 541516 w 1255690"/>
                    <a:gd name="connsiteY815" fmla="*/ 17507 h 1044396"/>
                    <a:gd name="connsiteX816" fmla="*/ 534272 w 1255690"/>
                    <a:gd name="connsiteY816" fmla="*/ 13885 h 1044396"/>
                    <a:gd name="connsiteX817" fmla="*/ 534272 w 1255690"/>
                    <a:gd name="connsiteY817" fmla="*/ 10263 h 1044396"/>
                    <a:gd name="connsiteX818" fmla="*/ 539705 w 1255690"/>
                    <a:gd name="connsiteY818" fmla="*/ 9659 h 1044396"/>
                    <a:gd name="connsiteX819" fmla="*/ 551176 w 1255690"/>
                    <a:gd name="connsiteY819" fmla="*/ 12074 h 1044396"/>
                    <a:gd name="connsiteX820" fmla="*/ 555401 w 1255690"/>
                    <a:gd name="connsiteY820" fmla="*/ 16903 h 1044396"/>
                    <a:gd name="connsiteX821" fmla="*/ 560835 w 1255690"/>
                    <a:gd name="connsiteY821" fmla="*/ 19922 h 1044396"/>
                    <a:gd name="connsiteX822" fmla="*/ 567475 w 1255690"/>
                    <a:gd name="connsiteY822" fmla="*/ 21733 h 1044396"/>
                    <a:gd name="connsiteX823" fmla="*/ 566268 w 1255690"/>
                    <a:gd name="connsiteY823" fmla="*/ 26562 h 1044396"/>
                    <a:gd name="connsiteX824" fmla="*/ 566871 w 1255690"/>
                    <a:gd name="connsiteY824" fmla="*/ 31996 h 1044396"/>
                    <a:gd name="connsiteX825" fmla="*/ 570494 w 1255690"/>
                    <a:gd name="connsiteY825" fmla="*/ 36222 h 1044396"/>
                    <a:gd name="connsiteX826" fmla="*/ 576531 w 1255690"/>
                    <a:gd name="connsiteY826" fmla="*/ 40447 h 1044396"/>
                    <a:gd name="connsiteX827" fmla="*/ 578945 w 1255690"/>
                    <a:gd name="connsiteY827" fmla="*/ 42862 h 1044396"/>
                    <a:gd name="connsiteX828" fmla="*/ 589812 w 1255690"/>
                    <a:gd name="connsiteY828" fmla="*/ 42259 h 1044396"/>
                    <a:gd name="connsiteX829" fmla="*/ 594038 w 1255690"/>
                    <a:gd name="connsiteY829" fmla="*/ 48296 h 1044396"/>
                    <a:gd name="connsiteX830" fmla="*/ 598868 w 1255690"/>
                    <a:gd name="connsiteY830" fmla="*/ 50710 h 1044396"/>
                    <a:gd name="connsiteX831" fmla="*/ 605508 w 1255690"/>
                    <a:gd name="connsiteY831" fmla="*/ 50107 h 1044396"/>
                    <a:gd name="connsiteX832" fmla="*/ 615771 w 1255690"/>
                    <a:gd name="connsiteY832" fmla="*/ 47692 h 1044396"/>
                    <a:gd name="connsiteX833" fmla="*/ 620601 w 1255690"/>
                    <a:gd name="connsiteY833" fmla="*/ 48899 h 1044396"/>
                    <a:gd name="connsiteX834" fmla="*/ 626638 w 1255690"/>
                    <a:gd name="connsiteY834" fmla="*/ 47088 h 1044396"/>
                    <a:gd name="connsiteX835" fmla="*/ 627241 w 1255690"/>
                    <a:gd name="connsiteY835" fmla="*/ 44673 h 1044396"/>
                    <a:gd name="connsiteX836" fmla="*/ 631467 w 1255690"/>
                    <a:gd name="connsiteY836" fmla="*/ 41051 h 1044396"/>
                    <a:gd name="connsiteX837" fmla="*/ 636297 w 1255690"/>
                    <a:gd name="connsiteY837" fmla="*/ 40447 h 1044396"/>
                    <a:gd name="connsiteX838" fmla="*/ 636901 w 1255690"/>
                    <a:gd name="connsiteY838" fmla="*/ 36222 h 1044396"/>
                    <a:gd name="connsiteX839" fmla="*/ 642334 w 1255690"/>
                    <a:gd name="connsiteY839" fmla="*/ 33203 h 1044396"/>
                    <a:gd name="connsiteX840" fmla="*/ 650786 w 1255690"/>
                    <a:gd name="connsiteY840" fmla="*/ 32599 h 1044396"/>
                    <a:gd name="connsiteX841" fmla="*/ 656823 w 1255690"/>
                    <a:gd name="connsiteY841" fmla="*/ 31392 h 1044396"/>
                    <a:gd name="connsiteX842" fmla="*/ 669500 w 1255690"/>
                    <a:gd name="connsiteY842" fmla="*/ 30185 h 1044396"/>
                    <a:gd name="connsiteX843" fmla="*/ 675537 w 1255690"/>
                    <a:gd name="connsiteY843" fmla="*/ 33203 h 1044396"/>
                    <a:gd name="connsiteX844" fmla="*/ 692441 w 1255690"/>
                    <a:gd name="connsiteY844" fmla="*/ 33203 h 1044396"/>
                    <a:gd name="connsiteX845" fmla="*/ 694252 w 1255690"/>
                    <a:gd name="connsiteY845" fmla="*/ 27166 h 1044396"/>
                    <a:gd name="connsiteX846" fmla="*/ 703911 w 1255690"/>
                    <a:gd name="connsiteY846" fmla="*/ 26562 h 1044396"/>
                    <a:gd name="connsiteX847" fmla="*/ 706326 w 1255690"/>
                    <a:gd name="connsiteY847" fmla="*/ 29581 h 1044396"/>
                    <a:gd name="connsiteX848" fmla="*/ 711155 w 1255690"/>
                    <a:gd name="connsiteY848" fmla="*/ 30185 h 1044396"/>
                    <a:gd name="connsiteX849" fmla="*/ 720211 w 1255690"/>
                    <a:gd name="connsiteY849" fmla="*/ 27166 h 1044396"/>
                    <a:gd name="connsiteX850" fmla="*/ 720211 w 1255690"/>
                    <a:gd name="connsiteY850" fmla="*/ 32599 h 1044396"/>
                    <a:gd name="connsiteX851" fmla="*/ 726248 w 1255690"/>
                    <a:gd name="connsiteY851" fmla="*/ 31996 h 1044396"/>
                    <a:gd name="connsiteX852" fmla="*/ 728059 w 1255690"/>
                    <a:gd name="connsiteY852" fmla="*/ 28977 h 1044396"/>
                    <a:gd name="connsiteX853" fmla="*/ 735303 w 1255690"/>
                    <a:gd name="connsiteY853" fmla="*/ 24751 h 1044396"/>
                    <a:gd name="connsiteX854" fmla="*/ 737114 w 1255690"/>
                    <a:gd name="connsiteY854" fmla="*/ 26562 h 1044396"/>
                    <a:gd name="connsiteX855" fmla="*/ 755829 w 1255690"/>
                    <a:gd name="connsiteY855" fmla="*/ 18714 h 1044396"/>
                    <a:gd name="connsiteX856" fmla="*/ 760055 w 1255690"/>
                    <a:gd name="connsiteY856" fmla="*/ 20525 h 1044396"/>
                    <a:gd name="connsiteX857" fmla="*/ 760055 w 1255690"/>
                    <a:gd name="connsiteY857" fmla="*/ 24148 h 1044396"/>
                    <a:gd name="connsiteX858" fmla="*/ 757036 w 1255690"/>
                    <a:gd name="connsiteY858" fmla="*/ 26562 h 1044396"/>
                    <a:gd name="connsiteX859" fmla="*/ 760659 w 1255690"/>
                    <a:gd name="connsiteY859" fmla="*/ 33807 h 1044396"/>
                    <a:gd name="connsiteX860" fmla="*/ 762470 w 1255690"/>
                    <a:gd name="connsiteY860" fmla="*/ 41051 h 1044396"/>
                    <a:gd name="connsiteX861" fmla="*/ 760659 w 1255690"/>
                    <a:gd name="connsiteY861" fmla="*/ 47692 h 1044396"/>
                    <a:gd name="connsiteX862" fmla="*/ 764281 w 1255690"/>
                    <a:gd name="connsiteY862" fmla="*/ 49503 h 1044396"/>
                    <a:gd name="connsiteX863" fmla="*/ 763073 w 1255690"/>
                    <a:gd name="connsiteY863" fmla="*/ 54936 h 1044396"/>
                    <a:gd name="connsiteX864" fmla="*/ 768506 w 1255690"/>
                    <a:gd name="connsiteY864" fmla="*/ 55540 h 1044396"/>
                    <a:gd name="connsiteX865" fmla="*/ 766695 w 1255690"/>
                    <a:gd name="connsiteY865" fmla="*/ 60973 h 1044396"/>
                    <a:gd name="connsiteX866" fmla="*/ 759451 w 1255690"/>
                    <a:gd name="connsiteY866" fmla="*/ 65199 h 1044396"/>
                    <a:gd name="connsiteX867" fmla="*/ 760659 w 1255690"/>
                    <a:gd name="connsiteY867" fmla="*/ 70029 h 1044396"/>
                    <a:gd name="connsiteX868" fmla="*/ 759451 w 1255690"/>
                    <a:gd name="connsiteY868" fmla="*/ 74255 h 1044396"/>
                    <a:gd name="connsiteX869" fmla="*/ 754622 w 1255690"/>
                    <a:gd name="connsiteY869" fmla="*/ 84518 h 1044396"/>
                    <a:gd name="connsiteX870" fmla="*/ 755225 w 1255690"/>
                    <a:gd name="connsiteY870" fmla="*/ 85725 h 1044396"/>
                    <a:gd name="connsiteX871" fmla="*/ 750396 w 1255690"/>
                    <a:gd name="connsiteY871" fmla="*/ 91158 h 1044396"/>
                    <a:gd name="connsiteX872" fmla="*/ 751603 w 1255690"/>
                    <a:gd name="connsiteY872" fmla="*/ 94780 h 1044396"/>
                    <a:gd name="connsiteX873" fmla="*/ 749792 w 1255690"/>
                    <a:gd name="connsiteY873" fmla="*/ 100817 h 1044396"/>
                    <a:gd name="connsiteX874" fmla="*/ 741340 w 1255690"/>
                    <a:gd name="connsiteY874" fmla="*/ 105043 h 1044396"/>
                    <a:gd name="connsiteX875" fmla="*/ 745566 w 1255690"/>
                    <a:gd name="connsiteY875" fmla="*/ 108062 h 1044396"/>
                    <a:gd name="connsiteX876" fmla="*/ 749188 w 1255690"/>
                    <a:gd name="connsiteY876" fmla="*/ 102629 h 1044396"/>
                    <a:gd name="connsiteX877" fmla="*/ 754018 w 1255690"/>
                    <a:gd name="connsiteY877" fmla="*/ 100817 h 1044396"/>
                    <a:gd name="connsiteX878" fmla="*/ 759451 w 1255690"/>
                    <a:gd name="connsiteY878" fmla="*/ 102025 h 1044396"/>
                    <a:gd name="connsiteX879" fmla="*/ 765488 w 1255690"/>
                    <a:gd name="connsiteY879" fmla="*/ 104440 h 1044396"/>
                    <a:gd name="connsiteX880" fmla="*/ 765488 w 1255690"/>
                    <a:gd name="connsiteY880" fmla="*/ 106854 h 1044396"/>
                    <a:gd name="connsiteX881" fmla="*/ 769714 w 1255690"/>
                    <a:gd name="connsiteY881" fmla="*/ 111080 h 1044396"/>
                    <a:gd name="connsiteX882" fmla="*/ 773940 w 1255690"/>
                    <a:gd name="connsiteY882" fmla="*/ 109269 h 1044396"/>
                    <a:gd name="connsiteX883" fmla="*/ 788428 w 1255690"/>
                    <a:gd name="connsiteY883" fmla="*/ 115910 h 1044396"/>
                    <a:gd name="connsiteX884" fmla="*/ 789636 w 1255690"/>
                    <a:gd name="connsiteY884" fmla="*/ 123154 h 1044396"/>
                    <a:gd name="connsiteX885" fmla="*/ 792654 w 1255690"/>
                    <a:gd name="connsiteY885" fmla="*/ 125569 h 1044396"/>
                    <a:gd name="connsiteX886" fmla="*/ 795069 w 1255690"/>
                    <a:gd name="connsiteY886" fmla="*/ 122550 h 1044396"/>
                    <a:gd name="connsiteX887" fmla="*/ 801710 w 1255690"/>
                    <a:gd name="connsiteY887" fmla="*/ 108062 h 1044396"/>
                    <a:gd name="connsiteX888" fmla="*/ 811973 w 1255690"/>
                    <a:gd name="connsiteY888" fmla="*/ 97799 h 1044396"/>
                    <a:gd name="connsiteX889" fmla="*/ 819821 w 1255690"/>
                    <a:gd name="connsiteY889" fmla="*/ 97799 h 1044396"/>
                    <a:gd name="connsiteX890" fmla="*/ 819821 w 1255690"/>
                    <a:gd name="connsiteY890" fmla="*/ 91158 h 1044396"/>
                    <a:gd name="connsiteX891" fmla="*/ 829480 w 1255690"/>
                    <a:gd name="connsiteY891" fmla="*/ 91158 h 1044396"/>
                    <a:gd name="connsiteX892" fmla="*/ 839139 w 1255690"/>
                    <a:gd name="connsiteY892" fmla="*/ 95384 h 1044396"/>
                    <a:gd name="connsiteX893" fmla="*/ 845176 w 1255690"/>
                    <a:gd name="connsiteY893" fmla="*/ 99610 h 1044396"/>
                    <a:gd name="connsiteX894" fmla="*/ 849402 w 1255690"/>
                    <a:gd name="connsiteY894" fmla="*/ 100817 h 1044396"/>
                    <a:gd name="connsiteX895" fmla="*/ 855439 w 1255690"/>
                    <a:gd name="connsiteY895" fmla="*/ 104440 h 1044396"/>
                    <a:gd name="connsiteX896" fmla="*/ 865098 w 1255690"/>
                    <a:gd name="connsiteY896" fmla="*/ 107458 h 1044396"/>
                    <a:gd name="connsiteX897" fmla="*/ 866909 w 1255690"/>
                    <a:gd name="connsiteY897" fmla="*/ 109269 h 1044396"/>
                    <a:gd name="connsiteX898" fmla="*/ 875361 w 1255690"/>
                    <a:gd name="connsiteY898" fmla="*/ 107458 h 1044396"/>
                    <a:gd name="connsiteX899" fmla="*/ 877776 w 1255690"/>
                    <a:gd name="connsiteY899" fmla="*/ 105647 h 1044396"/>
                    <a:gd name="connsiteX900" fmla="*/ 885624 w 1255690"/>
                    <a:gd name="connsiteY900" fmla="*/ 114702 h 1044396"/>
                    <a:gd name="connsiteX901" fmla="*/ 886831 w 1255690"/>
                    <a:gd name="connsiteY901" fmla="*/ 112891 h 1044396"/>
                    <a:gd name="connsiteX902" fmla="*/ 894075 w 1255690"/>
                    <a:gd name="connsiteY902" fmla="*/ 112891 h 1044396"/>
                    <a:gd name="connsiteX903" fmla="*/ 898905 w 1255690"/>
                    <a:gd name="connsiteY903" fmla="*/ 109873 h 1044396"/>
                    <a:gd name="connsiteX904" fmla="*/ 901320 w 1255690"/>
                    <a:gd name="connsiteY904" fmla="*/ 106854 h 1044396"/>
                    <a:gd name="connsiteX905" fmla="*/ 907960 w 1255690"/>
                    <a:gd name="connsiteY905" fmla="*/ 103232 h 1044396"/>
                    <a:gd name="connsiteX906" fmla="*/ 910375 w 1255690"/>
                    <a:gd name="connsiteY906" fmla="*/ 100817 h 1044396"/>
                    <a:gd name="connsiteX907" fmla="*/ 916412 w 1255690"/>
                    <a:gd name="connsiteY907" fmla="*/ 108665 h 1044396"/>
                    <a:gd name="connsiteX908" fmla="*/ 912790 w 1255690"/>
                    <a:gd name="connsiteY908" fmla="*/ 109873 h 1044396"/>
                    <a:gd name="connsiteX909" fmla="*/ 907357 w 1255690"/>
                    <a:gd name="connsiteY909" fmla="*/ 108665 h 1044396"/>
                    <a:gd name="connsiteX910" fmla="*/ 903735 w 1255690"/>
                    <a:gd name="connsiteY910" fmla="*/ 114099 h 1044396"/>
                    <a:gd name="connsiteX911" fmla="*/ 905546 w 1255690"/>
                    <a:gd name="connsiteY911" fmla="*/ 117721 h 1044396"/>
                    <a:gd name="connsiteX912" fmla="*/ 901320 w 1255690"/>
                    <a:gd name="connsiteY912" fmla="*/ 123758 h 1044396"/>
                    <a:gd name="connsiteX913" fmla="*/ 901923 w 1255690"/>
                    <a:gd name="connsiteY913" fmla="*/ 127984 h 1044396"/>
                    <a:gd name="connsiteX914" fmla="*/ 906753 w 1255690"/>
                    <a:gd name="connsiteY914" fmla="*/ 130398 h 1044396"/>
                    <a:gd name="connsiteX915" fmla="*/ 918223 w 1255690"/>
                    <a:gd name="connsiteY915" fmla="*/ 131002 h 1044396"/>
                    <a:gd name="connsiteX916" fmla="*/ 929694 w 1255690"/>
                    <a:gd name="connsiteY916" fmla="*/ 130398 h 1044396"/>
                    <a:gd name="connsiteX917" fmla="*/ 933316 w 1255690"/>
                    <a:gd name="connsiteY917" fmla="*/ 124361 h 1044396"/>
                    <a:gd name="connsiteX918" fmla="*/ 936938 w 1255690"/>
                    <a:gd name="connsiteY918" fmla="*/ 121343 h 1044396"/>
                    <a:gd name="connsiteX919" fmla="*/ 939353 w 1255690"/>
                    <a:gd name="connsiteY919" fmla="*/ 121343 h 1044396"/>
                    <a:gd name="connsiteX920" fmla="*/ 952031 w 1255690"/>
                    <a:gd name="connsiteY920" fmla="*/ 100214 h 1044396"/>
                    <a:gd name="connsiteX921" fmla="*/ 950219 w 1255690"/>
                    <a:gd name="connsiteY921" fmla="*/ 95988 h 1044396"/>
                    <a:gd name="connsiteX922" fmla="*/ 956860 w 1255690"/>
                    <a:gd name="connsiteY922" fmla="*/ 84518 h 1044396"/>
                    <a:gd name="connsiteX923" fmla="*/ 955049 w 1255690"/>
                    <a:gd name="connsiteY923" fmla="*/ 81499 h 1044396"/>
                    <a:gd name="connsiteX924" fmla="*/ 949616 w 1255690"/>
                    <a:gd name="connsiteY924" fmla="*/ 77877 h 1044396"/>
                    <a:gd name="connsiteX925" fmla="*/ 945390 w 1255690"/>
                    <a:gd name="connsiteY925" fmla="*/ 71236 h 1044396"/>
                    <a:gd name="connsiteX926" fmla="*/ 948408 w 1255690"/>
                    <a:gd name="connsiteY926" fmla="*/ 66407 h 1044396"/>
                    <a:gd name="connsiteX927" fmla="*/ 955049 w 1255690"/>
                    <a:gd name="connsiteY927" fmla="*/ 57955 h 1044396"/>
                    <a:gd name="connsiteX928" fmla="*/ 952634 w 1255690"/>
                    <a:gd name="connsiteY928" fmla="*/ 55540 h 1044396"/>
                    <a:gd name="connsiteX929" fmla="*/ 955653 w 1255690"/>
                    <a:gd name="connsiteY929" fmla="*/ 52521 h 1044396"/>
                    <a:gd name="connsiteX930" fmla="*/ 949616 w 1255690"/>
                    <a:gd name="connsiteY930" fmla="*/ 50107 h 1044396"/>
                    <a:gd name="connsiteX931" fmla="*/ 955049 w 1255690"/>
                    <a:gd name="connsiteY931" fmla="*/ 44673 h 1044396"/>
                    <a:gd name="connsiteX932" fmla="*/ 955653 w 1255690"/>
                    <a:gd name="connsiteY932" fmla="*/ 40447 h 1044396"/>
                    <a:gd name="connsiteX933" fmla="*/ 953238 w 1255690"/>
                    <a:gd name="connsiteY933" fmla="*/ 30788 h 1044396"/>
                    <a:gd name="connsiteX934" fmla="*/ 949616 w 1255690"/>
                    <a:gd name="connsiteY934" fmla="*/ 31392 h 1044396"/>
                    <a:gd name="connsiteX935" fmla="*/ 941768 w 1255690"/>
                    <a:gd name="connsiteY935" fmla="*/ 24148 h 1044396"/>
                    <a:gd name="connsiteX936" fmla="*/ 944182 w 1255690"/>
                    <a:gd name="connsiteY936" fmla="*/ 18111 h 1044396"/>
                    <a:gd name="connsiteX937" fmla="*/ 944786 w 1255690"/>
                    <a:gd name="connsiteY937" fmla="*/ 14489 h 1044396"/>
                    <a:gd name="connsiteX938" fmla="*/ 950219 w 1255690"/>
                    <a:gd name="connsiteY938" fmla="*/ 12074 h 1044396"/>
                    <a:gd name="connsiteX939" fmla="*/ 957464 w 1255690"/>
                    <a:gd name="connsiteY939" fmla="*/ 6641 h 1044396"/>
                    <a:gd name="connsiteX940" fmla="*/ 955049 w 1255690"/>
                    <a:gd name="connsiteY940" fmla="*/ 4226 h 1044396"/>
                    <a:gd name="connsiteX941" fmla="*/ 959275 w 1255690"/>
                    <a:gd name="connsiteY941" fmla="*/ 0 h 1044396"/>
                    <a:gd name="connsiteX942" fmla="*/ 965312 w 1255690"/>
                    <a:gd name="connsiteY942" fmla="*/ 4830 h 1044396"/>
                    <a:gd name="connsiteX943" fmla="*/ 971953 w 1255690"/>
                    <a:gd name="connsiteY943" fmla="*/ 16300 h 1044396"/>
                    <a:gd name="connsiteX944" fmla="*/ 981612 w 1255690"/>
                    <a:gd name="connsiteY944" fmla="*/ 18714 h 1044396"/>
                    <a:gd name="connsiteX945" fmla="*/ 993082 w 1255690"/>
                    <a:gd name="connsiteY945" fmla="*/ 21129 h 1044396"/>
                    <a:gd name="connsiteX946" fmla="*/ 996704 w 1255690"/>
                    <a:gd name="connsiteY946" fmla="*/ 25355 h 1044396"/>
                    <a:gd name="connsiteX947" fmla="*/ 1005759 w 1255690"/>
                    <a:gd name="connsiteY947" fmla="*/ 27770 h 1044396"/>
                    <a:gd name="connsiteX948" fmla="*/ 1008778 w 1255690"/>
                    <a:gd name="connsiteY948" fmla="*/ 26562 h 1044396"/>
                    <a:gd name="connsiteX949" fmla="*/ 1010589 w 1255690"/>
                    <a:gd name="connsiteY949" fmla="*/ 30788 h 1044396"/>
                    <a:gd name="connsiteX950" fmla="*/ 1016626 w 1255690"/>
                    <a:gd name="connsiteY950" fmla="*/ 38636 h 1044396"/>
                    <a:gd name="connsiteX951" fmla="*/ 1018437 w 1255690"/>
                    <a:gd name="connsiteY951" fmla="*/ 42259 h 1044396"/>
                    <a:gd name="connsiteX952" fmla="*/ 1021456 w 1255690"/>
                    <a:gd name="connsiteY952" fmla="*/ 44070 h 1044396"/>
                    <a:gd name="connsiteX953" fmla="*/ 1023870 w 1255690"/>
                    <a:gd name="connsiteY953" fmla="*/ 48899 h 1044396"/>
                    <a:gd name="connsiteX954" fmla="*/ 1028700 w 1255690"/>
                    <a:gd name="connsiteY954" fmla="*/ 50710 h 1044396"/>
                    <a:gd name="connsiteX955" fmla="*/ 1038963 w 1255690"/>
                    <a:gd name="connsiteY955" fmla="*/ 57351 h 1044396"/>
                    <a:gd name="connsiteX956" fmla="*/ 1041981 w 1255690"/>
                    <a:gd name="connsiteY956" fmla="*/ 53729 h 1044396"/>
                    <a:gd name="connsiteX957" fmla="*/ 1045604 w 1255690"/>
                    <a:gd name="connsiteY957" fmla="*/ 53729 h 1044396"/>
                    <a:gd name="connsiteX958" fmla="*/ 1054659 w 1255690"/>
                    <a:gd name="connsiteY958" fmla="*/ 49503 h 1044396"/>
                    <a:gd name="connsiteX959" fmla="*/ 1055866 w 1255690"/>
                    <a:gd name="connsiteY959" fmla="*/ 53729 h 1044396"/>
                    <a:gd name="connsiteX960" fmla="*/ 1059489 w 1255690"/>
                    <a:gd name="connsiteY960" fmla="*/ 54936 h 1044396"/>
                    <a:gd name="connsiteX961" fmla="*/ 1059489 w 1255690"/>
                    <a:gd name="connsiteY961" fmla="*/ 57955 h 1044396"/>
                    <a:gd name="connsiteX962" fmla="*/ 1064922 w 1255690"/>
                    <a:gd name="connsiteY962" fmla="*/ 59766 h 1044396"/>
                    <a:gd name="connsiteX963" fmla="*/ 1070355 w 1255690"/>
                    <a:gd name="connsiteY963" fmla="*/ 59162 h 1044396"/>
                    <a:gd name="connsiteX964" fmla="*/ 1072770 w 1255690"/>
                    <a:gd name="connsiteY964" fmla="*/ 62784 h 1044396"/>
                    <a:gd name="connsiteX965" fmla="*/ 1078203 w 1255690"/>
                    <a:gd name="connsiteY965" fmla="*/ 63992 h 1044396"/>
                    <a:gd name="connsiteX966" fmla="*/ 1084240 w 1255690"/>
                    <a:gd name="connsiteY966" fmla="*/ 67614 h 1044396"/>
                    <a:gd name="connsiteX967" fmla="*/ 1084844 w 1255690"/>
                    <a:gd name="connsiteY967" fmla="*/ 73047 h 1044396"/>
                    <a:gd name="connsiteX968" fmla="*/ 1089674 w 1255690"/>
                    <a:gd name="connsiteY968" fmla="*/ 73047 h 1044396"/>
                    <a:gd name="connsiteX969" fmla="*/ 1092088 w 1255690"/>
                    <a:gd name="connsiteY969" fmla="*/ 76669 h 1044396"/>
                    <a:gd name="connsiteX970" fmla="*/ 1100540 w 1255690"/>
                    <a:gd name="connsiteY970" fmla="*/ 77877 h 104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Lst>
                  <a:rect l="l" t="t" r="r" b="b"/>
                  <a:pathLst>
                    <a:path w="1255690" h="1044396">
                      <a:moveTo>
                        <a:pt x="689422" y="766695"/>
                      </a:moveTo>
                      <a:lnTo>
                        <a:pt x="700289" y="762469"/>
                      </a:lnTo>
                      <a:lnTo>
                        <a:pt x="696063" y="770317"/>
                      </a:lnTo>
                      <a:lnTo>
                        <a:pt x="689422" y="766695"/>
                      </a:lnTo>
                      <a:close/>
                      <a:moveTo>
                        <a:pt x="1006967" y="554798"/>
                      </a:moveTo>
                      <a:lnTo>
                        <a:pt x="1011796" y="557212"/>
                      </a:lnTo>
                      <a:lnTo>
                        <a:pt x="1008778" y="561438"/>
                      </a:lnTo>
                      <a:lnTo>
                        <a:pt x="1002137" y="559023"/>
                      </a:lnTo>
                      <a:lnTo>
                        <a:pt x="1006967" y="554798"/>
                      </a:lnTo>
                      <a:close/>
                      <a:moveTo>
                        <a:pt x="1121066" y="425003"/>
                      </a:moveTo>
                      <a:lnTo>
                        <a:pt x="1113217" y="425607"/>
                      </a:lnTo>
                      <a:lnTo>
                        <a:pt x="1111406" y="424399"/>
                      </a:lnTo>
                      <a:lnTo>
                        <a:pt x="1116840" y="417155"/>
                      </a:lnTo>
                      <a:lnTo>
                        <a:pt x="1117443" y="412325"/>
                      </a:lnTo>
                      <a:lnTo>
                        <a:pt x="1119858" y="409307"/>
                      </a:lnTo>
                      <a:lnTo>
                        <a:pt x="1122273" y="400251"/>
                      </a:lnTo>
                      <a:lnTo>
                        <a:pt x="1126499" y="397233"/>
                      </a:lnTo>
                      <a:lnTo>
                        <a:pt x="1130725" y="397836"/>
                      </a:lnTo>
                      <a:lnTo>
                        <a:pt x="1134951" y="398440"/>
                      </a:lnTo>
                      <a:lnTo>
                        <a:pt x="1150043" y="398440"/>
                      </a:lnTo>
                      <a:lnTo>
                        <a:pt x="1155476" y="397836"/>
                      </a:lnTo>
                      <a:lnTo>
                        <a:pt x="1159099" y="403873"/>
                      </a:lnTo>
                      <a:lnTo>
                        <a:pt x="1157891" y="409910"/>
                      </a:lnTo>
                      <a:lnTo>
                        <a:pt x="1144006" y="409910"/>
                      </a:lnTo>
                      <a:lnTo>
                        <a:pt x="1135554" y="414136"/>
                      </a:lnTo>
                      <a:lnTo>
                        <a:pt x="1127103" y="423192"/>
                      </a:lnTo>
                      <a:lnTo>
                        <a:pt x="1124688" y="423192"/>
                      </a:lnTo>
                      <a:lnTo>
                        <a:pt x="1122273" y="418966"/>
                      </a:lnTo>
                      <a:lnTo>
                        <a:pt x="1116840" y="418362"/>
                      </a:lnTo>
                      <a:lnTo>
                        <a:pt x="1121066" y="425003"/>
                      </a:lnTo>
                      <a:close/>
                      <a:moveTo>
                        <a:pt x="1133140" y="393610"/>
                      </a:moveTo>
                      <a:lnTo>
                        <a:pt x="1145817" y="396025"/>
                      </a:lnTo>
                      <a:lnTo>
                        <a:pt x="1133743" y="397233"/>
                      </a:lnTo>
                      <a:lnTo>
                        <a:pt x="1133140" y="393610"/>
                      </a:lnTo>
                      <a:close/>
                      <a:moveTo>
                        <a:pt x="1100540" y="77877"/>
                      </a:moveTo>
                      <a:lnTo>
                        <a:pt x="1098125" y="85725"/>
                      </a:lnTo>
                      <a:lnTo>
                        <a:pt x="1098729" y="93573"/>
                      </a:lnTo>
                      <a:lnTo>
                        <a:pt x="1106577" y="93573"/>
                      </a:lnTo>
                      <a:lnTo>
                        <a:pt x="1114425" y="91158"/>
                      </a:lnTo>
                      <a:lnTo>
                        <a:pt x="1116236" y="92969"/>
                      </a:lnTo>
                      <a:lnTo>
                        <a:pt x="1117443" y="100214"/>
                      </a:lnTo>
                      <a:lnTo>
                        <a:pt x="1121066" y="100214"/>
                      </a:lnTo>
                      <a:lnTo>
                        <a:pt x="1122877" y="104440"/>
                      </a:lnTo>
                      <a:lnTo>
                        <a:pt x="1125895" y="103836"/>
                      </a:lnTo>
                      <a:lnTo>
                        <a:pt x="1138573" y="106251"/>
                      </a:lnTo>
                      <a:lnTo>
                        <a:pt x="1148836" y="106854"/>
                      </a:lnTo>
                      <a:lnTo>
                        <a:pt x="1156684" y="115306"/>
                      </a:lnTo>
                      <a:lnTo>
                        <a:pt x="1160910" y="116513"/>
                      </a:lnTo>
                      <a:lnTo>
                        <a:pt x="1162721" y="118928"/>
                      </a:lnTo>
                      <a:lnTo>
                        <a:pt x="1162117" y="123154"/>
                      </a:lnTo>
                      <a:lnTo>
                        <a:pt x="1164532" y="127984"/>
                      </a:lnTo>
                      <a:lnTo>
                        <a:pt x="1158495" y="138850"/>
                      </a:lnTo>
                      <a:lnTo>
                        <a:pt x="1157288" y="146094"/>
                      </a:lnTo>
                      <a:lnTo>
                        <a:pt x="1161513" y="150924"/>
                      </a:lnTo>
                      <a:lnTo>
                        <a:pt x="1163928" y="155754"/>
                      </a:lnTo>
                      <a:lnTo>
                        <a:pt x="1173587" y="156961"/>
                      </a:lnTo>
                      <a:lnTo>
                        <a:pt x="1177210" y="156357"/>
                      </a:lnTo>
                      <a:lnTo>
                        <a:pt x="1177210" y="151528"/>
                      </a:lnTo>
                      <a:lnTo>
                        <a:pt x="1177210" y="150924"/>
                      </a:lnTo>
                      <a:lnTo>
                        <a:pt x="1176002" y="149717"/>
                      </a:lnTo>
                      <a:lnTo>
                        <a:pt x="1176002" y="149113"/>
                      </a:lnTo>
                      <a:lnTo>
                        <a:pt x="1176002" y="147906"/>
                      </a:lnTo>
                      <a:lnTo>
                        <a:pt x="1179021" y="143680"/>
                      </a:lnTo>
                      <a:lnTo>
                        <a:pt x="1180228" y="143680"/>
                      </a:lnTo>
                      <a:lnTo>
                        <a:pt x="1180832" y="143076"/>
                      </a:lnTo>
                      <a:lnTo>
                        <a:pt x="1184454" y="143680"/>
                      </a:lnTo>
                      <a:lnTo>
                        <a:pt x="1188680" y="141869"/>
                      </a:lnTo>
                      <a:lnTo>
                        <a:pt x="1189887" y="141265"/>
                      </a:lnTo>
                      <a:lnTo>
                        <a:pt x="1190491" y="137039"/>
                      </a:lnTo>
                      <a:lnTo>
                        <a:pt x="1192302" y="131606"/>
                      </a:lnTo>
                      <a:lnTo>
                        <a:pt x="1193510" y="132813"/>
                      </a:lnTo>
                      <a:lnTo>
                        <a:pt x="1199546" y="135228"/>
                      </a:lnTo>
                      <a:lnTo>
                        <a:pt x="1203169" y="135832"/>
                      </a:lnTo>
                      <a:lnTo>
                        <a:pt x="1203772" y="135832"/>
                      </a:lnTo>
                      <a:lnTo>
                        <a:pt x="1206187" y="135832"/>
                      </a:lnTo>
                      <a:lnTo>
                        <a:pt x="1205583" y="138850"/>
                      </a:lnTo>
                      <a:lnTo>
                        <a:pt x="1206187" y="140057"/>
                      </a:lnTo>
                      <a:lnTo>
                        <a:pt x="1209809" y="143680"/>
                      </a:lnTo>
                      <a:lnTo>
                        <a:pt x="1206187" y="148509"/>
                      </a:lnTo>
                      <a:lnTo>
                        <a:pt x="1208602" y="155150"/>
                      </a:lnTo>
                      <a:lnTo>
                        <a:pt x="1207998" y="157565"/>
                      </a:lnTo>
                      <a:lnTo>
                        <a:pt x="1210413" y="159980"/>
                      </a:lnTo>
                      <a:lnTo>
                        <a:pt x="1211620" y="162394"/>
                      </a:lnTo>
                      <a:lnTo>
                        <a:pt x="1212828" y="165413"/>
                      </a:lnTo>
                      <a:lnTo>
                        <a:pt x="1211620" y="167224"/>
                      </a:lnTo>
                      <a:lnTo>
                        <a:pt x="1214035" y="169035"/>
                      </a:lnTo>
                      <a:lnTo>
                        <a:pt x="1215242" y="170242"/>
                      </a:lnTo>
                      <a:lnTo>
                        <a:pt x="1218261" y="169035"/>
                      </a:lnTo>
                      <a:lnTo>
                        <a:pt x="1218864" y="170846"/>
                      </a:lnTo>
                      <a:lnTo>
                        <a:pt x="1220676" y="171450"/>
                      </a:lnTo>
                      <a:lnTo>
                        <a:pt x="1223090" y="172054"/>
                      </a:lnTo>
                      <a:lnTo>
                        <a:pt x="1223090" y="172657"/>
                      </a:lnTo>
                      <a:lnTo>
                        <a:pt x="1224298" y="173261"/>
                      </a:lnTo>
                      <a:lnTo>
                        <a:pt x="1224901" y="173261"/>
                      </a:lnTo>
                      <a:lnTo>
                        <a:pt x="1226109" y="172657"/>
                      </a:lnTo>
                      <a:lnTo>
                        <a:pt x="1226713" y="174468"/>
                      </a:lnTo>
                      <a:lnTo>
                        <a:pt x="1227920" y="173865"/>
                      </a:lnTo>
                      <a:lnTo>
                        <a:pt x="1230938" y="174468"/>
                      </a:lnTo>
                      <a:lnTo>
                        <a:pt x="1233957" y="176883"/>
                      </a:lnTo>
                      <a:lnTo>
                        <a:pt x="1236372" y="176279"/>
                      </a:lnTo>
                      <a:lnTo>
                        <a:pt x="1238183" y="176883"/>
                      </a:lnTo>
                      <a:lnTo>
                        <a:pt x="1244824" y="177487"/>
                      </a:lnTo>
                      <a:lnTo>
                        <a:pt x="1247842" y="178091"/>
                      </a:lnTo>
                      <a:lnTo>
                        <a:pt x="1249049" y="178694"/>
                      </a:lnTo>
                      <a:lnTo>
                        <a:pt x="1249049" y="182920"/>
                      </a:lnTo>
                      <a:lnTo>
                        <a:pt x="1250257" y="184128"/>
                      </a:lnTo>
                      <a:lnTo>
                        <a:pt x="1249049" y="184731"/>
                      </a:lnTo>
                      <a:lnTo>
                        <a:pt x="1253275" y="186542"/>
                      </a:lnTo>
                      <a:lnTo>
                        <a:pt x="1253275" y="187146"/>
                      </a:lnTo>
                      <a:lnTo>
                        <a:pt x="1252672" y="188353"/>
                      </a:lnTo>
                      <a:lnTo>
                        <a:pt x="1254483" y="192579"/>
                      </a:lnTo>
                      <a:lnTo>
                        <a:pt x="1253879" y="193183"/>
                      </a:lnTo>
                      <a:lnTo>
                        <a:pt x="1253879" y="197409"/>
                      </a:lnTo>
                      <a:lnTo>
                        <a:pt x="1252672" y="201635"/>
                      </a:lnTo>
                      <a:lnTo>
                        <a:pt x="1252672" y="204653"/>
                      </a:lnTo>
                      <a:lnTo>
                        <a:pt x="1256898" y="208879"/>
                      </a:lnTo>
                      <a:lnTo>
                        <a:pt x="1256898" y="211294"/>
                      </a:lnTo>
                      <a:lnTo>
                        <a:pt x="1256898" y="212501"/>
                      </a:lnTo>
                      <a:lnTo>
                        <a:pt x="1251464" y="214916"/>
                      </a:lnTo>
                      <a:lnTo>
                        <a:pt x="1242409" y="221557"/>
                      </a:lnTo>
                      <a:lnTo>
                        <a:pt x="1237579" y="222160"/>
                      </a:lnTo>
                      <a:lnTo>
                        <a:pt x="1233957" y="225179"/>
                      </a:lnTo>
                      <a:lnTo>
                        <a:pt x="1220072" y="223972"/>
                      </a:lnTo>
                      <a:lnTo>
                        <a:pt x="1207394" y="225179"/>
                      </a:lnTo>
                      <a:lnTo>
                        <a:pt x="1200150" y="226386"/>
                      </a:lnTo>
                      <a:lnTo>
                        <a:pt x="1189284" y="230612"/>
                      </a:lnTo>
                      <a:lnTo>
                        <a:pt x="1180832" y="234838"/>
                      </a:lnTo>
                      <a:lnTo>
                        <a:pt x="1170569" y="244497"/>
                      </a:lnTo>
                      <a:lnTo>
                        <a:pt x="1168154" y="245101"/>
                      </a:lnTo>
                      <a:lnTo>
                        <a:pt x="1156684" y="254156"/>
                      </a:lnTo>
                      <a:lnTo>
                        <a:pt x="1146421" y="264419"/>
                      </a:lnTo>
                      <a:lnTo>
                        <a:pt x="1138573" y="274682"/>
                      </a:lnTo>
                      <a:lnTo>
                        <a:pt x="1135554" y="277097"/>
                      </a:lnTo>
                      <a:lnTo>
                        <a:pt x="1125895" y="294604"/>
                      </a:lnTo>
                      <a:lnTo>
                        <a:pt x="1125895" y="298830"/>
                      </a:lnTo>
                      <a:lnTo>
                        <a:pt x="1121066" y="304867"/>
                      </a:lnTo>
                      <a:lnTo>
                        <a:pt x="1122273" y="308489"/>
                      </a:lnTo>
                      <a:lnTo>
                        <a:pt x="1121066" y="316941"/>
                      </a:lnTo>
                      <a:lnTo>
                        <a:pt x="1125291" y="328411"/>
                      </a:lnTo>
                      <a:lnTo>
                        <a:pt x="1128310" y="335052"/>
                      </a:lnTo>
                      <a:lnTo>
                        <a:pt x="1134347" y="343503"/>
                      </a:lnTo>
                      <a:lnTo>
                        <a:pt x="1136762" y="347729"/>
                      </a:lnTo>
                      <a:lnTo>
                        <a:pt x="1140988" y="361011"/>
                      </a:lnTo>
                      <a:lnTo>
                        <a:pt x="1145214" y="371274"/>
                      </a:lnTo>
                      <a:lnTo>
                        <a:pt x="1148836" y="376707"/>
                      </a:lnTo>
                      <a:lnTo>
                        <a:pt x="1151251" y="385159"/>
                      </a:lnTo>
                      <a:lnTo>
                        <a:pt x="1148836" y="394818"/>
                      </a:lnTo>
                      <a:lnTo>
                        <a:pt x="1133140" y="391799"/>
                      </a:lnTo>
                      <a:lnTo>
                        <a:pt x="1123480" y="396629"/>
                      </a:lnTo>
                      <a:lnTo>
                        <a:pt x="1119858" y="400251"/>
                      </a:lnTo>
                      <a:lnTo>
                        <a:pt x="1119858" y="408099"/>
                      </a:lnTo>
                      <a:lnTo>
                        <a:pt x="1116236" y="411721"/>
                      </a:lnTo>
                      <a:lnTo>
                        <a:pt x="1113821" y="418966"/>
                      </a:lnTo>
                      <a:lnTo>
                        <a:pt x="1109595" y="425607"/>
                      </a:lnTo>
                      <a:lnTo>
                        <a:pt x="1113217" y="425607"/>
                      </a:lnTo>
                      <a:lnTo>
                        <a:pt x="1117443" y="425607"/>
                      </a:lnTo>
                      <a:lnTo>
                        <a:pt x="1121066" y="425003"/>
                      </a:lnTo>
                      <a:lnTo>
                        <a:pt x="1121669" y="418966"/>
                      </a:lnTo>
                      <a:lnTo>
                        <a:pt x="1124084" y="423192"/>
                      </a:lnTo>
                      <a:lnTo>
                        <a:pt x="1125291" y="424399"/>
                      </a:lnTo>
                      <a:lnTo>
                        <a:pt x="1126499" y="423795"/>
                      </a:lnTo>
                      <a:lnTo>
                        <a:pt x="1136762" y="414136"/>
                      </a:lnTo>
                      <a:lnTo>
                        <a:pt x="1144006" y="411118"/>
                      </a:lnTo>
                      <a:lnTo>
                        <a:pt x="1151251" y="411118"/>
                      </a:lnTo>
                      <a:lnTo>
                        <a:pt x="1159099" y="414136"/>
                      </a:lnTo>
                      <a:lnTo>
                        <a:pt x="1163325" y="414136"/>
                      </a:lnTo>
                      <a:lnTo>
                        <a:pt x="1140988" y="429229"/>
                      </a:lnTo>
                      <a:lnTo>
                        <a:pt x="1131328" y="435869"/>
                      </a:lnTo>
                      <a:lnTo>
                        <a:pt x="1113217" y="449754"/>
                      </a:lnTo>
                      <a:lnTo>
                        <a:pt x="1110199" y="456395"/>
                      </a:lnTo>
                      <a:lnTo>
                        <a:pt x="1107784" y="456395"/>
                      </a:lnTo>
                      <a:lnTo>
                        <a:pt x="1104766" y="464243"/>
                      </a:lnTo>
                      <a:lnTo>
                        <a:pt x="1102351" y="467261"/>
                      </a:lnTo>
                      <a:lnTo>
                        <a:pt x="1102351" y="478732"/>
                      </a:lnTo>
                      <a:lnTo>
                        <a:pt x="1105973" y="478128"/>
                      </a:lnTo>
                      <a:lnTo>
                        <a:pt x="1112614" y="481750"/>
                      </a:lnTo>
                      <a:lnTo>
                        <a:pt x="1114425" y="488391"/>
                      </a:lnTo>
                      <a:lnTo>
                        <a:pt x="1110199" y="494428"/>
                      </a:lnTo>
                      <a:lnTo>
                        <a:pt x="1102955" y="499861"/>
                      </a:lnTo>
                      <a:lnTo>
                        <a:pt x="1097521" y="501672"/>
                      </a:lnTo>
                      <a:lnTo>
                        <a:pt x="1099333" y="504691"/>
                      </a:lnTo>
                      <a:lnTo>
                        <a:pt x="1090881" y="508917"/>
                      </a:lnTo>
                      <a:lnTo>
                        <a:pt x="1090881" y="510728"/>
                      </a:lnTo>
                      <a:lnTo>
                        <a:pt x="1078807" y="514954"/>
                      </a:lnTo>
                      <a:lnTo>
                        <a:pt x="1071563" y="519180"/>
                      </a:lnTo>
                      <a:lnTo>
                        <a:pt x="1061903" y="523405"/>
                      </a:lnTo>
                      <a:lnTo>
                        <a:pt x="1056470" y="528235"/>
                      </a:lnTo>
                      <a:lnTo>
                        <a:pt x="1052244" y="530650"/>
                      </a:lnTo>
                      <a:lnTo>
                        <a:pt x="1053452" y="533668"/>
                      </a:lnTo>
                      <a:lnTo>
                        <a:pt x="1057678" y="528839"/>
                      </a:lnTo>
                      <a:lnTo>
                        <a:pt x="1058885" y="529442"/>
                      </a:lnTo>
                      <a:lnTo>
                        <a:pt x="1049226" y="545139"/>
                      </a:lnTo>
                      <a:lnTo>
                        <a:pt x="1036548" y="558420"/>
                      </a:lnTo>
                      <a:lnTo>
                        <a:pt x="1035341" y="563249"/>
                      </a:lnTo>
                      <a:lnTo>
                        <a:pt x="1035944" y="567475"/>
                      </a:lnTo>
                      <a:lnTo>
                        <a:pt x="1031115" y="572305"/>
                      </a:lnTo>
                      <a:lnTo>
                        <a:pt x="1023267" y="571097"/>
                      </a:lnTo>
                      <a:lnTo>
                        <a:pt x="1021456" y="569286"/>
                      </a:lnTo>
                      <a:lnTo>
                        <a:pt x="1019041" y="560834"/>
                      </a:lnTo>
                      <a:lnTo>
                        <a:pt x="1011796" y="555401"/>
                      </a:lnTo>
                      <a:lnTo>
                        <a:pt x="1005156" y="553590"/>
                      </a:lnTo>
                      <a:lnTo>
                        <a:pt x="1002137" y="555401"/>
                      </a:lnTo>
                      <a:lnTo>
                        <a:pt x="1000930" y="560834"/>
                      </a:lnTo>
                      <a:lnTo>
                        <a:pt x="1003948" y="563249"/>
                      </a:lnTo>
                      <a:lnTo>
                        <a:pt x="1012400" y="562042"/>
                      </a:lnTo>
                      <a:lnTo>
                        <a:pt x="1019041" y="571701"/>
                      </a:lnTo>
                      <a:lnTo>
                        <a:pt x="1026285" y="577738"/>
                      </a:lnTo>
                      <a:lnTo>
                        <a:pt x="1012400" y="581360"/>
                      </a:lnTo>
                      <a:lnTo>
                        <a:pt x="998515" y="589208"/>
                      </a:lnTo>
                      <a:lnTo>
                        <a:pt x="978593" y="595849"/>
                      </a:lnTo>
                      <a:lnTo>
                        <a:pt x="970745" y="598264"/>
                      </a:lnTo>
                      <a:lnTo>
                        <a:pt x="961086" y="600075"/>
                      </a:lnTo>
                      <a:lnTo>
                        <a:pt x="960482" y="600679"/>
                      </a:lnTo>
                      <a:lnTo>
                        <a:pt x="941768" y="604301"/>
                      </a:lnTo>
                      <a:lnTo>
                        <a:pt x="919431" y="610941"/>
                      </a:lnTo>
                      <a:lnTo>
                        <a:pt x="885624" y="623015"/>
                      </a:lnTo>
                      <a:lnTo>
                        <a:pt x="865098" y="633882"/>
                      </a:lnTo>
                      <a:lnTo>
                        <a:pt x="854835" y="638712"/>
                      </a:lnTo>
                      <a:lnTo>
                        <a:pt x="846987" y="642938"/>
                      </a:lnTo>
                      <a:lnTo>
                        <a:pt x="831895" y="650182"/>
                      </a:lnTo>
                      <a:lnTo>
                        <a:pt x="814991" y="659237"/>
                      </a:lnTo>
                      <a:lnTo>
                        <a:pt x="805936" y="665274"/>
                      </a:lnTo>
                      <a:lnTo>
                        <a:pt x="773940" y="689422"/>
                      </a:lnTo>
                      <a:lnTo>
                        <a:pt x="766695" y="695459"/>
                      </a:lnTo>
                      <a:lnTo>
                        <a:pt x="762470" y="702100"/>
                      </a:lnTo>
                      <a:lnTo>
                        <a:pt x="757640" y="706929"/>
                      </a:lnTo>
                      <a:lnTo>
                        <a:pt x="744962" y="714777"/>
                      </a:lnTo>
                      <a:lnTo>
                        <a:pt x="731077" y="725644"/>
                      </a:lnTo>
                      <a:lnTo>
                        <a:pt x="720814" y="735303"/>
                      </a:lnTo>
                      <a:lnTo>
                        <a:pt x="712966" y="743151"/>
                      </a:lnTo>
                      <a:lnTo>
                        <a:pt x="705118" y="754018"/>
                      </a:lnTo>
                      <a:lnTo>
                        <a:pt x="703307" y="757640"/>
                      </a:lnTo>
                      <a:lnTo>
                        <a:pt x="699685" y="761866"/>
                      </a:lnTo>
                      <a:lnTo>
                        <a:pt x="692441" y="760055"/>
                      </a:lnTo>
                      <a:lnTo>
                        <a:pt x="693044" y="754622"/>
                      </a:lnTo>
                      <a:lnTo>
                        <a:pt x="688215" y="755225"/>
                      </a:lnTo>
                      <a:lnTo>
                        <a:pt x="683989" y="760055"/>
                      </a:lnTo>
                      <a:lnTo>
                        <a:pt x="687007" y="764884"/>
                      </a:lnTo>
                      <a:lnTo>
                        <a:pt x="682781" y="762469"/>
                      </a:lnTo>
                      <a:lnTo>
                        <a:pt x="682781" y="761866"/>
                      </a:lnTo>
                      <a:lnTo>
                        <a:pt x="682178" y="759451"/>
                      </a:lnTo>
                      <a:lnTo>
                        <a:pt x="682781" y="758847"/>
                      </a:lnTo>
                      <a:lnTo>
                        <a:pt x="683989" y="752810"/>
                      </a:lnTo>
                      <a:lnTo>
                        <a:pt x="682781" y="753414"/>
                      </a:lnTo>
                      <a:lnTo>
                        <a:pt x="679763" y="753414"/>
                      </a:lnTo>
                      <a:lnTo>
                        <a:pt x="676141" y="751603"/>
                      </a:lnTo>
                      <a:lnTo>
                        <a:pt x="676141" y="756433"/>
                      </a:lnTo>
                      <a:lnTo>
                        <a:pt x="675537" y="759451"/>
                      </a:lnTo>
                      <a:lnTo>
                        <a:pt x="672518" y="759451"/>
                      </a:lnTo>
                      <a:lnTo>
                        <a:pt x="668896" y="759451"/>
                      </a:lnTo>
                      <a:lnTo>
                        <a:pt x="661652" y="760658"/>
                      </a:lnTo>
                      <a:lnTo>
                        <a:pt x="664067" y="766092"/>
                      </a:lnTo>
                      <a:lnTo>
                        <a:pt x="665878" y="766092"/>
                      </a:lnTo>
                      <a:lnTo>
                        <a:pt x="667689" y="769714"/>
                      </a:lnTo>
                      <a:lnTo>
                        <a:pt x="669500" y="769714"/>
                      </a:lnTo>
                      <a:lnTo>
                        <a:pt x="671915" y="767299"/>
                      </a:lnTo>
                      <a:lnTo>
                        <a:pt x="675537" y="772129"/>
                      </a:lnTo>
                      <a:lnTo>
                        <a:pt x="673726" y="774543"/>
                      </a:lnTo>
                      <a:lnTo>
                        <a:pt x="672518" y="773940"/>
                      </a:lnTo>
                      <a:lnTo>
                        <a:pt x="669500" y="773940"/>
                      </a:lnTo>
                      <a:lnTo>
                        <a:pt x="668896" y="775147"/>
                      </a:lnTo>
                      <a:lnTo>
                        <a:pt x="667689" y="774543"/>
                      </a:lnTo>
                      <a:lnTo>
                        <a:pt x="667689" y="773940"/>
                      </a:lnTo>
                      <a:lnTo>
                        <a:pt x="665274" y="775147"/>
                      </a:lnTo>
                      <a:lnTo>
                        <a:pt x="664671" y="775751"/>
                      </a:lnTo>
                      <a:lnTo>
                        <a:pt x="662859" y="778769"/>
                      </a:lnTo>
                      <a:lnTo>
                        <a:pt x="660445" y="782995"/>
                      </a:lnTo>
                      <a:lnTo>
                        <a:pt x="657426" y="778165"/>
                      </a:lnTo>
                      <a:lnTo>
                        <a:pt x="658030" y="772732"/>
                      </a:lnTo>
                      <a:lnTo>
                        <a:pt x="656823" y="772732"/>
                      </a:lnTo>
                      <a:lnTo>
                        <a:pt x="656219" y="772129"/>
                      </a:lnTo>
                      <a:lnTo>
                        <a:pt x="654408" y="772732"/>
                      </a:lnTo>
                      <a:lnTo>
                        <a:pt x="651993" y="775751"/>
                      </a:lnTo>
                      <a:lnTo>
                        <a:pt x="644145" y="777562"/>
                      </a:lnTo>
                      <a:lnTo>
                        <a:pt x="641730" y="780580"/>
                      </a:lnTo>
                      <a:lnTo>
                        <a:pt x="639919" y="781184"/>
                      </a:lnTo>
                      <a:lnTo>
                        <a:pt x="637504" y="784202"/>
                      </a:lnTo>
                      <a:lnTo>
                        <a:pt x="636901" y="787825"/>
                      </a:lnTo>
                      <a:lnTo>
                        <a:pt x="636297" y="790239"/>
                      </a:lnTo>
                      <a:lnTo>
                        <a:pt x="629053" y="786617"/>
                      </a:lnTo>
                      <a:lnTo>
                        <a:pt x="626034" y="784202"/>
                      </a:lnTo>
                      <a:lnTo>
                        <a:pt x="625430" y="782995"/>
                      </a:lnTo>
                      <a:lnTo>
                        <a:pt x="624223" y="783599"/>
                      </a:lnTo>
                      <a:lnTo>
                        <a:pt x="626638" y="787221"/>
                      </a:lnTo>
                      <a:lnTo>
                        <a:pt x="626638" y="788428"/>
                      </a:lnTo>
                      <a:lnTo>
                        <a:pt x="626638" y="789636"/>
                      </a:lnTo>
                      <a:lnTo>
                        <a:pt x="628449" y="790843"/>
                      </a:lnTo>
                      <a:lnTo>
                        <a:pt x="629656" y="793258"/>
                      </a:lnTo>
                      <a:lnTo>
                        <a:pt x="624827" y="799295"/>
                      </a:lnTo>
                      <a:lnTo>
                        <a:pt x="627241" y="804728"/>
                      </a:lnTo>
                      <a:lnTo>
                        <a:pt x="623619" y="809558"/>
                      </a:lnTo>
                      <a:lnTo>
                        <a:pt x="618790" y="811369"/>
                      </a:lnTo>
                      <a:lnTo>
                        <a:pt x="613960" y="818613"/>
                      </a:lnTo>
                      <a:lnTo>
                        <a:pt x="607923" y="815595"/>
                      </a:lnTo>
                      <a:lnTo>
                        <a:pt x="609734" y="827065"/>
                      </a:lnTo>
                      <a:lnTo>
                        <a:pt x="607319" y="831291"/>
                      </a:lnTo>
                      <a:lnTo>
                        <a:pt x="600679" y="833706"/>
                      </a:lnTo>
                      <a:lnTo>
                        <a:pt x="597660" y="831291"/>
                      </a:lnTo>
                      <a:lnTo>
                        <a:pt x="589812" y="835517"/>
                      </a:lnTo>
                      <a:lnTo>
                        <a:pt x="583775" y="832498"/>
                      </a:lnTo>
                      <a:lnTo>
                        <a:pt x="575927" y="836121"/>
                      </a:lnTo>
                      <a:lnTo>
                        <a:pt x="571701" y="834913"/>
                      </a:lnTo>
                      <a:lnTo>
                        <a:pt x="566871" y="836724"/>
                      </a:lnTo>
                      <a:lnTo>
                        <a:pt x="557816" y="841554"/>
                      </a:lnTo>
                      <a:lnTo>
                        <a:pt x="552383" y="840346"/>
                      </a:lnTo>
                      <a:lnTo>
                        <a:pt x="548761" y="833102"/>
                      </a:lnTo>
                      <a:lnTo>
                        <a:pt x="540309" y="828876"/>
                      </a:lnTo>
                      <a:lnTo>
                        <a:pt x="535480" y="829480"/>
                      </a:lnTo>
                      <a:lnTo>
                        <a:pt x="525217" y="828272"/>
                      </a:lnTo>
                      <a:lnTo>
                        <a:pt x="519783" y="825858"/>
                      </a:lnTo>
                      <a:lnTo>
                        <a:pt x="512539" y="825858"/>
                      </a:lnTo>
                      <a:lnTo>
                        <a:pt x="511332" y="821028"/>
                      </a:lnTo>
                      <a:lnTo>
                        <a:pt x="506502" y="818613"/>
                      </a:lnTo>
                      <a:lnTo>
                        <a:pt x="505295" y="813784"/>
                      </a:lnTo>
                      <a:lnTo>
                        <a:pt x="506502" y="810161"/>
                      </a:lnTo>
                      <a:lnTo>
                        <a:pt x="504691" y="805936"/>
                      </a:lnTo>
                      <a:lnTo>
                        <a:pt x="500465" y="800502"/>
                      </a:lnTo>
                      <a:lnTo>
                        <a:pt x="501069" y="797484"/>
                      </a:lnTo>
                      <a:lnTo>
                        <a:pt x="495635" y="784202"/>
                      </a:lnTo>
                      <a:lnTo>
                        <a:pt x="485372" y="789636"/>
                      </a:lnTo>
                      <a:lnTo>
                        <a:pt x="487787" y="798087"/>
                      </a:lnTo>
                      <a:lnTo>
                        <a:pt x="489598" y="798087"/>
                      </a:lnTo>
                      <a:lnTo>
                        <a:pt x="493221" y="803521"/>
                      </a:lnTo>
                      <a:lnTo>
                        <a:pt x="492013" y="807747"/>
                      </a:lnTo>
                      <a:lnTo>
                        <a:pt x="486580" y="804124"/>
                      </a:lnTo>
                      <a:lnTo>
                        <a:pt x="482354" y="791447"/>
                      </a:lnTo>
                      <a:lnTo>
                        <a:pt x="478128" y="789032"/>
                      </a:lnTo>
                      <a:lnTo>
                        <a:pt x="476921" y="782995"/>
                      </a:lnTo>
                      <a:lnTo>
                        <a:pt x="473902" y="776354"/>
                      </a:lnTo>
                      <a:lnTo>
                        <a:pt x="468469" y="769714"/>
                      </a:lnTo>
                      <a:lnTo>
                        <a:pt x="468469" y="766695"/>
                      </a:lnTo>
                      <a:lnTo>
                        <a:pt x="466054" y="761262"/>
                      </a:lnTo>
                      <a:lnTo>
                        <a:pt x="460621" y="755225"/>
                      </a:lnTo>
                      <a:lnTo>
                        <a:pt x="455187" y="760055"/>
                      </a:lnTo>
                      <a:lnTo>
                        <a:pt x="457602" y="765488"/>
                      </a:lnTo>
                      <a:lnTo>
                        <a:pt x="452773" y="769714"/>
                      </a:lnTo>
                      <a:lnTo>
                        <a:pt x="452169" y="775147"/>
                      </a:lnTo>
                      <a:lnTo>
                        <a:pt x="446736" y="775147"/>
                      </a:lnTo>
                      <a:lnTo>
                        <a:pt x="443114" y="779976"/>
                      </a:lnTo>
                      <a:lnTo>
                        <a:pt x="442510" y="784806"/>
                      </a:lnTo>
                      <a:lnTo>
                        <a:pt x="435266" y="783599"/>
                      </a:lnTo>
                      <a:lnTo>
                        <a:pt x="438888" y="780580"/>
                      </a:lnTo>
                      <a:lnTo>
                        <a:pt x="437077" y="772129"/>
                      </a:lnTo>
                      <a:lnTo>
                        <a:pt x="434662" y="773940"/>
                      </a:lnTo>
                      <a:lnTo>
                        <a:pt x="431040" y="769714"/>
                      </a:lnTo>
                      <a:lnTo>
                        <a:pt x="427418" y="770921"/>
                      </a:lnTo>
                      <a:lnTo>
                        <a:pt x="428625" y="778165"/>
                      </a:lnTo>
                      <a:lnTo>
                        <a:pt x="431040" y="780580"/>
                      </a:lnTo>
                      <a:lnTo>
                        <a:pt x="430436" y="786013"/>
                      </a:lnTo>
                      <a:lnTo>
                        <a:pt x="425607" y="786013"/>
                      </a:lnTo>
                      <a:lnTo>
                        <a:pt x="428021" y="795069"/>
                      </a:lnTo>
                      <a:lnTo>
                        <a:pt x="424399" y="797484"/>
                      </a:lnTo>
                      <a:lnTo>
                        <a:pt x="418362" y="790843"/>
                      </a:lnTo>
                      <a:lnTo>
                        <a:pt x="417155" y="786617"/>
                      </a:lnTo>
                      <a:lnTo>
                        <a:pt x="412929" y="786013"/>
                      </a:lnTo>
                      <a:lnTo>
                        <a:pt x="407496" y="787221"/>
                      </a:lnTo>
                      <a:lnTo>
                        <a:pt x="406288" y="784202"/>
                      </a:lnTo>
                      <a:lnTo>
                        <a:pt x="402062" y="784806"/>
                      </a:lnTo>
                      <a:lnTo>
                        <a:pt x="400855" y="788428"/>
                      </a:lnTo>
                      <a:lnTo>
                        <a:pt x="396025" y="787825"/>
                      </a:lnTo>
                      <a:lnTo>
                        <a:pt x="397233" y="793258"/>
                      </a:lnTo>
                      <a:lnTo>
                        <a:pt x="400251" y="795069"/>
                      </a:lnTo>
                      <a:lnTo>
                        <a:pt x="407496" y="796276"/>
                      </a:lnTo>
                      <a:lnTo>
                        <a:pt x="407496" y="801106"/>
                      </a:lnTo>
                      <a:lnTo>
                        <a:pt x="404477" y="803521"/>
                      </a:lnTo>
                      <a:lnTo>
                        <a:pt x="412929" y="814387"/>
                      </a:lnTo>
                      <a:lnTo>
                        <a:pt x="417759" y="816802"/>
                      </a:lnTo>
                      <a:lnTo>
                        <a:pt x="414740" y="818613"/>
                      </a:lnTo>
                      <a:lnTo>
                        <a:pt x="414740" y="822235"/>
                      </a:lnTo>
                      <a:lnTo>
                        <a:pt x="409910" y="825254"/>
                      </a:lnTo>
                      <a:lnTo>
                        <a:pt x="406892" y="828272"/>
                      </a:lnTo>
                      <a:lnTo>
                        <a:pt x="399648" y="830084"/>
                      </a:lnTo>
                      <a:lnTo>
                        <a:pt x="395422" y="830084"/>
                      </a:lnTo>
                      <a:lnTo>
                        <a:pt x="390592" y="831895"/>
                      </a:lnTo>
                      <a:lnTo>
                        <a:pt x="387574" y="839139"/>
                      </a:lnTo>
                      <a:lnTo>
                        <a:pt x="382140" y="838535"/>
                      </a:lnTo>
                      <a:lnTo>
                        <a:pt x="378518" y="840950"/>
                      </a:lnTo>
                      <a:lnTo>
                        <a:pt x="371274" y="841554"/>
                      </a:lnTo>
                      <a:lnTo>
                        <a:pt x="367651" y="838535"/>
                      </a:lnTo>
                      <a:lnTo>
                        <a:pt x="364029" y="838535"/>
                      </a:lnTo>
                      <a:lnTo>
                        <a:pt x="360407" y="835517"/>
                      </a:lnTo>
                      <a:lnTo>
                        <a:pt x="350748" y="848798"/>
                      </a:lnTo>
                      <a:lnTo>
                        <a:pt x="348937" y="850006"/>
                      </a:lnTo>
                      <a:lnTo>
                        <a:pt x="343504" y="861476"/>
                      </a:lnTo>
                      <a:lnTo>
                        <a:pt x="335052" y="864494"/>
                      </a:lnTo>
                      <a:lnTo>
                        <a:pt x="336863" y="871739"/>
                      </a:lnTo>
                      <a:lnTo>
                        <a:pt x="334448" y="875361"/>
                      </a:lnTo>
                      <a:lnTo>
                        <a:pt x="340485" y="877776"/>
                      </a:lnTo>
                      <a:lnTo>
                        <a:pt x="338070" y="880794"/>
                      </a:lnTo>
                      <a:lnTo>
                        <a:pt x="339278" y="884416"/>
                      </a:lnTo>
                      <a:lnTo>
                        <a:pt x="343504" y="887435"/>
                      </a:lnTo>
                      <a:lnTo>
                        <a:pt x="347729" y="885624"/>
                      </a:lnTo>
                      <a:lnTo>
                        <a:pt x="351352" y="888038"/>
                      </a:lnTo>
                      <a:lnTo>
                        <a:pt x="347729" y="891660"/>
                      </a:lnTo>
                      <a:lnTo>
                        <a:pt x="343504" y="899509"/>
                      </a:lnTo>
                      <a:lnTo>
                        <a:pt x="336259" y="906149"/>
                      </a:lnTo>
                      <a:lnTo>
                        <a:pt x="340485" y="909168"/>
                      </a:lnTo>
                      <a:lnTo>
                        <a:pt x="341692" y="912790"/>
                      </a:lnTo>
                      <a:lnTo>
                        <a:pt x="346522" y="918223"/>
                      </a:lnTo>
                      <a:lnTo>
                        <a:pt x="341089" y="923053"/>
                      </a:lnTo>
                      <a:lnTo>
                        <a:pt x="335052" y="921242"/>
                      </a:lnTo>
                      <a:lnTo>
                        <a:pt x="331430" y="921845"/>
                      </a:lnTo>
                      <a:lnTo>
                        <a:pt x="327808" y="926675"/>
                      </a:lnTo>
                      <a:lnTo>
                        <a:pt x="318752" y="927279"/>
                      </a:lnTo>
                      <a:lnTo>
                        <a:pt x="318148" y="924864"/>
                      </a:lnTo>
                      <a:lnTo>
                        <a:pt x="312715" y="926071"/>
                      </a:lnTo>
                      <a:lnTo>
                        <a:pt x="309093" y="921242"/>
                      </a:lnTo>
                      <a:lnTo>
                        <a:pt x="310300" y="918223"/>
                      </a:lnTo>
                      <a:lnTo>
                        <a:pt x="309093" y="913997"/>
                      </a:lnTo>
                      <a:lnTo>
                        <a:pt x="306074" y="915205"/>
                      </a:lnTo>
                      <a:lnTo>
                        <a:pt x="295208" y="909168"/>
                      </a:lnTo>
                      <a:lnTo>
                        <a:pt x="291586" y="907960"/>
                      </a:lnTo>
                      <a:lnTo>
                        <a:pt x="286756" y="912186"/>
                      </a:lnTo>
                      <a:lnTo>
                        <a:pt x="289171" y="918827"/>
                      </a:lnTo>
                      <a:lnTo>
                        <a:pt x="286756" y="923053"/>
                      </a:lnTo>
                      <a:lnTo>
                        <a:pt x="288567" y="926675"/>
                      </a:lnTo>
                      <a:lnTo>
                        <a:pt x="284945" y="931505"/>
                      </a:lnTo>
                      <a:lnTo>
                        <a:pt x="281323" y="932108"/>
                      </a:lnTo>
                      <a:lnTo>
                        <a:pt x="278304" y="935731"/>
                      </a:lnTo>
                      <a:lnTo>
                        <a:pt x="271664" y="936334"/>
                      </a:lnTo>
                      <a:lnTo>
                        <a:pt x="270456" y="939353"/>
                      </a:lnTo>
                      <a:lnTo>
                        <a:pt x="263816" y="940560"/>
                      </a:lnTo>
                      <a:lnTo>
                        <a:pt x="259590" y="947805"/>
                      </a:lnTo>
                      <a:lnTo>
                        <a:pt x="260193" y="950219"/>
                      </a:lnTo>
                      <a:lnTo>
                        <a:pt x="257175" y="953842"/>
                      </a:lnTo>
                      <a:lnTo>
                        <a:pt x="252345" y="949616"/>
                      </a:lnTo>
                      <a:lnTo>
                        <a:pt x="248119" y="947805"/>
                      </a:lnTo>
                      <a:lnTo>
                        <a:pt x="247516" y="942371"/>
                      </a:lnTo>
                      <a:lnTo>
                        <a:pt x="248119" y="933919"/>
                      </a:lnTo>
                      <a:lnTo>
                        <a:pt x="250534" y="924260"/>
                      </a:lnTo>
                      <a:lnTo>
                        <a:pt x="241479" y="918827"/>
                      </a:lnTo>
                      <a:lnTo>
                        <a:pt x="237253" y="918827"/>
                      </a:lnTo>
                      <a:lnTo>
                        <a:pt x="237253" y="914601"/>
                      </a:lnTo>
                      <a:lnTo>
                        <a:pt x="240875" y="908564"/>
                      </a:lnTo>
                      <a:lnTo>
                        <a:pt x="236045" y="907357"/>
                      </a:lnTo>
                      <a:lnTo>
                        <a:pt x="233027" y="904338"/>
                      </a:lnTo>
                      <a:lnTo>
                        <a:pt x="235442" y="901923"/>
                      </a:lnTo>
                      <a:lnTo>
                        <a:pt x="234234" y="894075"/>
                      </a:lnTo>
                      <a:lnTo>
                        <a:pt x="229405" y="893472"/>
                      </a:lnTo>
                      <a:lnTo>
                        <a:pt x="225783" y="891660"/>
                      </a:lnTo>
                      <a:lnTo>
                        <a:pt x="224575" y="886831"/>
                      </a:lnTo>
                      <a:lnTo>
                        <a:pt x="216727" y="895283"/>
                      </a:lnTo>
                      <a:lnTo>
                        <a:pt x="214916" y="900112"/>
                      </a:lnTo>
                      <a:lnTo>
                        <a:pt x="208879" y="905546"/>
                      </a:lnTo>
                      <a:lnTo>
                        <a:pt x="204653" y="911583"/>
                      </a:lnTo>
                      <a:lnTo>
                        <a:pt x="201031" y="914601"/>
                      </a:lnTo>
                      <a:lnTo>
                        <a:pt x="205861" y="922449"/>
                      </a:lnTo>
                      <a:lnTo>
                        <a:pt x="204050" y="926675"/>
                      </a:lnTo>
                      <a:lnTo>
                        <a:pt x="201031" y="929090"/>
                      </a:lnTo>
                      <a:lnTo>
                        <a:pt x="198013" y="933316"/>
                      </a:lnTo>
                      <a:lnTo>
                        <a:pt x="205861" y="934523"/>
                      </a:lnTo>
                      <a:lnTo>
                        <a:pt x="207672" y="936938"/>
                      </a:lnTo>
                      <a:lnTo>
                        <a:pt x="205257" y="941768"/>
                      </a:lnTo>
                      <a:lnTo>
                        <a:pt x="202239" y="944786"/>
                      </a:lnTo>
                      <a:lnTo>
                        <a:pt x="196202" y="945390"/>
                      </a:lnTo>
                      <a:lnTo>
                        <a:pt x="194994" y="953238"/>
                      </a:lnTo>
                      <a:lnTo>
                        <a:pt x="194994" y="956860"/>
                      </a:lnTo>
                      <a:lnTo>
                        <a:pt x="189561" y="961086"/>
                      </a:lnTo>
                      <a:lnTo>
                        <a:pt x="190768" y="965312"/>
                      </a:lnTo>
                      <a:lnTo>
                        <a:pt x="198616" y="968330"/>
                      </a:lnTo>
                      <a:lnTo>
                        <a:pt x="202239" y="973160"/>
                      </a:lnTo>
                      <a:lnTo>
                        <a:pt x="200427" y="976178"/>
                      </a:lnTo>
                      <a:lnTo>
                        <a:pt x="195598" y="972556"/>
                      </a:lnTo>
                      <a:lnTo>
                        <a:pt x="194994" y="982819"/>
                      </a:lnTo>
                      <a:lnTo>
                        <a:pt x="197409" y="985234"/>
                      </a:lnTo>
                      <a:lnTo>
                        <a:pt x="196202" y="993082"/>
                      </a:lnTo>
                      <a:lnTo>
                        <a:pt x="193183" y="992478"/>
                      </a:lnTo>
                      <a:lnTo>
                        <a:pt x="189561" y="994893"/>
                      </a:lnTo>
                      <a:lnTo>
                        <a:pt x="185939" y="990063"/>
                      </a:lnTo>
                      <a:lnTo>
                        <a:pt x="179902" y="996100"/>
                      </a:lnTo>
                      <a:lnTo>
                        <a:pt x="182316" y="1000930"/>
                      </a:lnTo>
                      <a:lnTo>
                        <a:pt x="181713" y="1006363"/>
                      </a:lnTo>
                      <a:lnTo>
                        <a:pt x="176279" y="1007570"/>
                      </a:lnTo>
                      <a:lnTo>
                        <a:pt x="175676" y="1005156"/>
                      </a:lnTo>
                      <a:lnTo>
                        <a:pt x="171450" y="1004552"/>
                      </a:lnTo>
                      <a:lnTo>
                        <a:pt x="167224" y="1001533"/>
                      </a:lnTo>
                      <a:lnTo>
                        <a:pt x="162998" y="1000930"/>
                      </a:lnTo>
                      <a:lnTo>
                        <a:pt x="160583" y="994289"/>
                      </a:lnTo>
                      <a:lnTo>
                        <a:pt x="153943" y="995496"/>
                      </a:lnTo>
                      <a:lnTo>
                        <a:pt x="153339" y="993082"/>
                      </a:lnTo>
                      <a:lnTo>
                        <a:pt x="145491" y="991874"/>
                      </a:lnTo>
                      <a:lnTo>
                        <a:pt x="141265" y="989459"/>
                      </a:lnTo>
                      <a:lnTo>
                        <a:pt x="138850" y="993685"/>
                      </a:lnTo>
                      <a:lnTo>
                        <a:pt x="131606" y="990667"/>
                      </a:lnTo>
                      <a:lnTo>
                        <a:pt x="126776" y="993685"/>
                      </a:lnTo>
                      <a:lnTo>
                        <a:pt x="126776" y="998515"/>
                      </a:lnTo>
                      <a:lnTo>
                        <a:pt x="113495" y="1006967"/>
                      </a:lnTo>
                      <a:lnTo>
                        <a:pt x="108665" y="1007570"/>
                      </a:lnTo>
                      <a:lnTo>
                        <a:pt x="105647" y="1009985"/>
                      </a:lnTo>
                      <a:lnTo>
                        <a:pt x="95384" y="1014211"/>
                      </a:lnTo>
                      <a:lnTo>
                        <a:pt x="92366" y="1014211"/>
                      </a:lnTo>
                      <a:lnTo>
                        <a:pt x="85725" y="1017230"/>
                      </a:lnTo>
                      <a:lnTo>
                        <a:pt x="82706" y="1022059"/>
                      </a:lnTo>
                      <a:lnTo>
                        <a:pt x="76669" y="1026285"/>
                      </a:lnTo>
                      <a:lnTo>
                        <a:pt x="65199" y="1033529"/>
                      </a:lnTo>
                      <a:lnTo>
                        <a:pt x="62181" y="1028096"/>
                      </a:lnTo>
                      <a:lnTo>
                        <a:pt x="57351" y="1029907"/>
                      </a:lnTo>
                      <a:lnTo>
                        <a:pt x="53729" y="1034737"/>
                      </a:lnTo>
                      <a:lnTo>
                        <a:pt x="53125" y="1038359"/>
                      </a:lnTo>
                      <a:lnTo>
                        <a:pt x="46485" y="1043189"/>
                      </a:lnTo>
                      <a:lnTo>
                        <a:pt x="39240" y="1040774"/>
                      </a:lnTo>
                      <a:lnTo>
                        <a:pt x="34411" y="1043189"/>
                      </a:lnTo>
                      <a:lnTo>
                        <a:pt x="19922" y="1046207"/>
                      </a:lnTo>
                      <a:lnTo>
                        <a:pt x="17507" y="1041981"/>
                      </a:lnTo>
                      <a:lnTo>
                        <a:pt x="10866" y="1043189"/>
                      </a:lnTo>
                      <a:lnTo>
                        <a:pt x="8452" y="1041981"/>
                      </a:lnTo>
                      <a:lnTo>
                        <a:pt x="4830" y="1045603"/>
                      </a:lnTo>
                      <a:lnTo>
                        <a:pt x="0" y="1045603"/>
                      </a:lnTo>
                      <a:lnTo>
                        <a:pt x="0" y="1041378"/>
                      </a:lnTo>
                      <a:lnTo>
                        <a:pt x="2415" y="1036548"/>
                      </a:lnTo>
                      <a:lnTo>
                        <a:pt x="604" y="1034133"/>
                      </a:lnTo>
                      <a:lnTo>
                        <a:pt x="2415" y="1027492"/>
                      </a:lnTo>
                      <a:lnTo>
                        <a:pt x="10866" y="1030511"/>
                      </a:lnTo>
                      <a:lnTo>
                        <a:pt x="12677" y="1024474"/>
                      </a:lnTo>
                      <a:lnTo>
                        <a:pt x="12074" y="1020248"/>
                      </a:lnTo>
                      <a:lnTo>
                        <a:pt x="14489" y="1014815"/>
                      </a:lnTo>
                      <a:lnTo>
                        <a:pt x="18714" y="1008778"/>
                      </a:lnTo>
                      <a:lnTo>
                        <a:pt x="19318" y="1002741"/>
                      </a:lnTo>
                      <a:lnTo>
                        <a:pt x="18111" y="997307"/>
                      </a:lnTo>
                      <a:lnTo>
                        <a:pt x="19922" y="992478"/>
                      </a:lnTo>
                      <a:lnTo>
                        <a:pt x="25355" y="983423"/>
                      </a:lnTo>
                      <a:lnTo>
                        <a:pt x="25959" y="975575"/>
                      </a:lnTo>
                      <a:lnTo>
                        <a:pt x="28374" y="969538"/>
                      </a:lnTo>
                      <a:lnTo>
                        <a:pt x="24751" y="963501"/>
                      </a:lnTo>
                      <a:lnTo>
                        <a:pt x="28977" y="952030"/>
                      </a:lnTo>
                      <a:lnTo>
                        <a:pt x="29581" y="947201"/>
                      </a:lnTo>
                      <a:lnTo>
                        <a:pt x="37429" y="944182"/>
                      </a:lnTo>
                      <a:lnTo>
                        <a:pt x="42862" y="938145"/>
                      </a:lnTo>
                      <a:lnTo>
                        <a:pt x="47692" y="938145"/>
                      </a:lnTo>
                      <a:lnTo>
                        <a:pt x="56748" y="935127"/>
                      </a:lnTo>
                      <a:lnTo>
                        <a:pt x="56144" y="929694"/>
                      </a:lnTo>
                      <a:lnTo>
                        <a:pt x="74255" y="928486"/>
                      </a:lnTo>
                      <a:lnTo>
                        <a:pt x="77877" y="913997"/>
                      </a:lnTo>
                      <a:lnTo>
                        <a:pt x="85121" y="907960"/>
                      </a:lnTo>
                      <a:lnTo>
                        <a:pt x="95384" y="897094"/>
                      </a:lnTo>
                      <a:lnTo>
                        <a:pt x="98403" y="891057"/>
                      </a:lnTo>
                      <a:lnTo>
                        <a:pt x="102629" y="888642"/>
                      </a:lnTo>
                      <a:lnTo>
                        <a:pt x="105647" y="888642"/>
                      </a:lnTo>
                      <a:lnTo>
                        <a:pt x="106251" y="882605"/>
                      </a:lnTo>
                      <a:lnTo>
                        <a:pt x="115910" y="882001"/>
                      </a:lnTo>
                      <a:lnTo>
                        <a:pt x="117117" y="875964"/>
                      </a:lnTo>
                      <a:lnTo>
                        <a:pt x="112288" y="874153"/>
                      </a:lnTo>
                      <a:lnTo>
                        <a:pt x="106251" y="868720"/>
                      </a:lnTo>
                      <a:lnTo>
                        <a:pt x="103836" y="868720"/>
                      </a:lnTo>
                      <a:lnTo>
                        <a:pt x="104440" y="861476"/>
                      </a:lnTo>
                      <a:lnTo>
                        <a:pt x="109269" y="865098"/>
                      </a:lnTo>
                      <a:lnTo>
                        <a:pt x="115910" y="866909"/>
                      </a:lnTo>
                      <a:lnTo>
                        <a:pt x="115910" y="860872"/>
                      </a:lnTo>
                      <a:lnTo>
                        <a:pt x="118325" y="858457"/>
                      </a:lnTo>
                      <a:lnTo>
                        <a:pt x="117117" y="855439"/>
                      </a:lnTo>
                      <a:lnTo>
                        <a:pt x="121947" y="852420"/>
                      </a:lnTo>
                      <a:lnTo>
                        <a:pt x="124965" y="851817"/>
                      </a:lnTo>
                      <a:lnTo>
                        <a:pt x="133417" y="846987"/>
                      </a:lnTo>
                      <a:lnTo>
                        <a:pt x="143076" y="848798"/>
                      </a:lnTo>
                      <a:lnTo>
                        <a:pt x="145491" y="839139"/>
                      </a:lnTo>
                      <a:lnTo>
                        <a:pt x="156961" y="835517"/>
                      </a:lnTo>
                      <a:lnTo>
                        <a:pt x="159980" y="831291"/>
                      </a:lnTo>
                      <a:lnTo>
                        <a:pt x="158772" y="829480"/>
                      </a:lnTo>
                      <a:lnTo>
                        <a:pt x="160583" y="822839"/>
                      </a:lnTo>
                      <a:lnTo>
                        <a:pt x="159376" y="818010"/>
                      </a:lnTo>
                      <a:lnTo>
                        <a:pt x="161791" y="809558"/>
                      </a:lnTo>
                      <a:lnTo>
                        <a:pt x="170846" y="805332"/>
                      </a:lnTo>
                      <a:lnTo>
                        <a:pt x="176279" y="805332"/>
                      </a:lnTo>
                      <a:lnTo>
                        <a:pt x="172657" y="781184"/>
                      </a:lnTo>
                      <a:lnTo>
                        <a:pt x="166620" y="772732"/>
                      </a:lnTo>
                      <a:lnTo>
                        <a:pt x="169639" y="769110"/>
                      </a:lnTo>
                      <a:lnTo>
                        <a:pt x="166017" y="760658"/>
                      </a:lnTo>
                      <a:lnTo>
                        <a:pt x="161187" y="757036"/>
                      </a:lnTo>
                      <a:lnTo>
                        <a:pt x="163602" y="751603"/>
                      </a:lnTo>
                      <a:lnTo>
                        <a:pt x="162395" y="745566"/>
                      </a:lnTo>
                      <a:lnTo>
                        <a:pt x="158772" y="743151"/>
                      </a:lnTo>
                      <a:lnTo>
                        <a:pt x="158169" y="737114"/>
                      </a:lnTo>
                      <a:lnTo>
                        <a:pt x="158169" y="728059"/>
                      </a:lnTo>
                      <a:lnTo>
                        <a:pt x="161187" y="722625"/>
                      </a:lnTo>
                      <a:lnTo>
                        <a:pt x="163602" y="713570"/>
                      </a:lnTo>
                      <a:lnTo>
                        <a:pt x="155754" y="709948"/>
                      </a:lnTo>
                      <a:lnTo>
                        <a:pt x="155754" y="706326"/>
                      </a:lnTo>
                      <a:lnTo>
                        <a:pt x="161187" y="706326"/>
                      </a:lnTo>
                      <a:lnTo>
                        <a:pt x="164206" y="696063"/>
                      </a:lnTo>
                      <a:lnTo>
                        <a:pt x="161791" y="692440"/>
                      </a:lnTo>
                      <a:lnTo>
                        <a:pt x="151528" y="693648"/>
                      </a:lnTo>
                      <a:lnTo>
                        <a:pt x="146698" y="685196"/>
                      </a:lnTo>
                      <a:lnTo>
                        <a:pt x="147906" y="682781"/>
                      </a:lnTo>
                      <a:lnTo>
                        <a:pt x="145491" y="677952"/>
                      </a:lnTo>
                      <a:lnTo>
                        <a:pt x="145491" y="674933"/>
                      </a:lnTo>
                      <a:lnTo>
                        <a:pt x="141265" y="673122"/>
                      </a:lnTo>
                      <a:lnTo>
                        <a:pt x="138850" y="676141"/>
                      </a:lnTo>
                      <a:lnTo>
                        <a:pt x="131002" y="676141"/>
                      </a:lnTo>
                      <a:lnTo>
                        <a:pt x="136435" y="668293"/>
                      </a:lnTo>
                      <a:lnTo>
                        <a:pt x="135832" y="662859"/>
                      </a:lnTo>
                      <a:lnTo>
                        <a:pt x="134021" y="658634"/>
                      </a:lnTo>
                      <a:lnTo>
                        <a:pt x="137039" y="649578"/>
                      </a:lnTo>
                      <a:lnTo>
                        <a:pt x="136435" y="639919"/>
                      </a:lnTo>
                      <a:lnTo>
                        <a:pt x="134624" y="632071"/>
                      </a:lnTo>
                      <a:lnTo>
                        <a:pt x="135832" y="624827"/>
                      </a:lnTo>
                      <a:lnTo>
                        <a:pt x="138247" y="621204"/>
                      </a:lnTo>
                      <a:lnTo>
                        <a:pt x="138850" y="614564"/>
                      </a:lnTo>
                      <a:lnTo>
                        <a:pt x="137643" y="612753"/>
                      </a:lnTo>
                      <a:lnTo>
                        <a:pt x="126776" y="611545"/>
                      </a:lnTo>
                      <a:lnTo>
                        <a:pt x="122550" y="612149"/>
                      </a:lnTo>
                      <a:lnTo>
                        <a:pt x="117721" y="603093"/>
                      </a:lnTo>
                      <a:lnTo>
                        <a:pt x="118325" y="598867"/>
                      </a:lnTo>
                      <a:lnTo>
                        <a:pt x="105647" y="594038"/>
                      </a:lnTo>
                      <a:lnTo>
                        <a:pt x="97195" y="589208"/>
                      </a:lnTo>
                      <a:lnTo>
                        <a:pt x="94780" y="586190"/>
                      </a:lnTo>
                      <a:lnTo>
                        <a:pt x="95384" y="580756"/>
                      </a:lnTo>
                      <a:lnTo>
                        <a:pt x="92969" y="578342"/>
                      </a:lnTo>
                      <a:lnTo>
                        <a:pt x="95384" y="573512"/>
                      </a:lnTo>
                      <a:lnTo>
                        <a:pt x="97799" y="562042"/>
                      </a:lnTo>
                      <a:lnTo>
                        <a:pt x="100817" y="557212"/>
                      </a:lnTo>
                      <a:lnTo>
                        <a:pt x="103836" y="557816"/>
                      </a:lnTo>
                      <a:lnTo>
                        <a:pt x="112891" y="545742"/>
                      </a:lnTo>
                      <a:lnTo>
                        <a:pt x="115306" y="545139"/>
                      </a:lnTo>
                      <a:lnTo>
                        <a:pt x="121343" y="550572"/>
                      </a:lnTo>
                      <a:lnTo>
                        <a:pt x="124965" y="556609"/>
                      </a:lnTo>
                      <a:lnTo>
                        <a:pt x="129191" y="558420"/>
                      </a:lnTo>
                      <a:lnTo>
                        <a:pt x="129795" y="563249"/>
                      </a:lnTo>
                      <a:lnTo>
                        <a:pt x="137039" y="559627"/>
                      </a:lnTo>
                      <a:lnTo>
                        <a:pt x="138850" y="556609"/>
                      </a:lnTo>
                      <a:lnTo>
                        <a:pt x="150321" y="565060"/>
                      </a:lnTo>
                      <a:lnTo>
                        <a:pt x="153943" y="564457"/>
                      </a:lnTo>
                      <a:lnTo>
                        <a:pt x="161187" y="568079"/>
                      </a:lnTo>
                      <a:lnTo>
                        <a:pt x="164809" y="571701"/>
                      </a:lnTo>
                      <a:lnTo>
                        <a:pt x="169035" y="571701"/>
                      </a:lnTo>
                      <a:lnTo>
                        <a:pt x="174468" y="567475"/>
                      </a:lnTo>
                      <a:lnTo>
                        <a:pt x="180505" y="573512"/>
                      </a:lnTo>
                      <a:lnTo>
                        <a:pt x="182316" y="579549"/>
                      </a:lnTo>
                      <a:lnTo>
                        <a:pt x="187750" y="589208"/>
                      </a:lnTo>
                      <a:lnTo>
                        <a:pt x="188353" y="592830"/>
                      </a:lnTo>
                      <a:lnTo>
                        <a:pt x="191976" y="598264"/>
                      </a:lnTo>
                      <a:lnTo>
                        <a:pt x="193787" y="602490"/>
                      </a:lnTo>
                      <a:lnTo>
                        <a:pt x="196805" y="604301"/>
                      </a:lnTo>
                      <a:lnTo>
                        <a:pt x="202842" y="599471"/>
                      </a:lnTo>
                      <a:lnTo>
                        <a:pt x="207068" y="593434"/>
                      </a:lnTo>
                      <a:lnTo>
                        <a:pt x="211898" y="589812"/>
                      </a:lnTo>
                      <a:lnTo>
                        <a:pt x="217935" y="588605"/>
                      </a:lnTo>
                      <a:lnTo>
                        <a:pt x="220953" y="590416"/>
                      </a:lnTo>
                      <a:lnTo>
                        <a:pt x="224575" y="589208"/>
                      </a:lnTo>
                      <a:lnTo>
                        <a:pt x="229405" y="592227"/>
                      </a:lnTo>
                      <a:lnTo>
                        <a:pt x="236045" y="593434"/>
                      </a:lnTo>
                      <a:lnTo>
                        <a:pt x="239064" y="595849"/>
                      </a:lnTo>
                      <a:lnTo>
                        <a:pt x="243290" y="595245"/>
                      </a:lnTo>
                      <a:lnTo>
                        <a:pt x="249931" y="597660"/>
                      </a:lnTo>
                      <a:lnTo>
                        <a:pt x="244497" y="604904"/>
                      </a:lnTo>
                      <a:lnTo>
                        <a:pt x="244497" y="610941"/>
                      </a:lnTo>
                      <a:lnTo>
                        <a:pt x="245705" y="616375"/>
                      </a:lnTo>
                      <a:lnTo>
                        <a:pt x="254156" y="613960"/>
                      </a:lnTo>
                      <a:lnTo>
                        <a:pt x="259590" y="605508"/>
                      </a:lnTo>
                      <a:lnTo>
                        <a:pt x="270456" y="605508"/>
                      </a:lnTo>
                      <a:lnTo>
                        <a:pt x="273475" y="600679"/>
                      </a:lnTo>
                      <a:lnTo>
                        <a:pt x="271060" y="588001"/>
                      </a:lnTo>
                      <a:lnTo>
                        <a:pt x="272871" y="578945"/>
                      </a:lnTo>
                      <a:lnTo>
                        <a:pt x="273475" y="571097"/>
                      </a:lnTo>
                      <a:lnTo>
                        <a:pt x="271060" y="568682"/>
                      </a:lnTo>
                      <a:lnTo>
                        <a:pt x="260797" y="567475"/>
                      </a:lnTo>
                      <a:lnTo>
                        <a:pt x="255364" y="568079"/>
                      </a:lnTo>
                      <a:lnTo>
                        <a:pt x="253553" y="569890"/>
                      </a:lnTo>
                      <a:lnTo>
                        <a:pt x="246912" y="569286"/>
                      </a:lnTo>
                      <a:lnTo>
                        <a:pt x="245705" y="567475"/>
                      </a:lnTo>
                      <a:lnTo>
                        <a:pt x="238460" y="564457"/>
                      </a:lnTo>
                      <a:lnTo>
                        <a:pt x="230008" y="564457"/>
                      </a:lnTo>
                      <a:lnTo>
                        <a:pt x="224575" y="560834"/>
                      </a:lnTo>
                      <a:lnTo>
                        <a:pt x="217935" y="559627"/>
                      </a:lnTo>
                      <a:lnTo>
                        <a:pt x="208276" y="556609"/>
                      </a:lnTo>
                      <a:lnTo>
                        <a:pt x="207068" y="554194"/>
                      </a:lnTo>
                      <a:lnTo>
                        <a:pt x="208276" y="547553"/>
                      </a:lnTo>
                      <a:lnTo>
                        <a:pt x="207068" y="540913"/>
                      </a:lnTo>
                      <a:lnTo>
                        <a:pt x="204653" y="535479"/>
                      </a:lnTo>
                      <a:lnTo>
                        <a:pt x="205861" y="531857"/>
                      </a:lnTo>
                      <a:lnTo>
                        <a:pt x="210087" y="528235"/>
                      </a:lnTo>
                      <a:lnTo>
                        <a:pt x="211898" y="522802"/>
                      </a:lnTo>
                      <a:lnTo>
                        <a:pt x="210087" y="514954"/>
                      </a:lnTo>
                      <a:lnTo>
                        <a:pt x="210087" y="509520"/>
                      </a:lnTo>
                      <a:lnTo>
                        <a:pt x="214916" y="505898"/>
                      </a:lnTo>
                      <a:lnTo>
                        <a:pt x="213709" y="499257"/>
                      </a:lnTo>
                      <a:lnTo>
                        <a:pt x="207672" y="493824"/>
                      </a:lnTo>
                      <a:lnTo>
                        <a:pt x="211294" y="484165"/>
                      </a:lnTo>
                      <a:lnTo>
                        <a:pt x="211294" y="478732"/>
                      </a:lnTo>
                      <a:lnTo>
                        <a:pt x="214313" y="476921"/>
                      </a:lnTo>
                      <a:lnTo>
                        <a:pt x="214916" y="473902"/>
                      </a:lnTo>
                      <a:lnTo>
                        <a:pt x="212501" y="470884"/>
                      </a:lnTo>
                      <a:lnTo>
                        <a:pt x="213105" y="466658"/>
                      </a:lnTo>
                      <a:lnTo>
                        <a:pt x="206464" y="467865"/>
                      </a:lnTo>
                      <a:lnTo>
                        <a:pt x="205257" y="455187"/>
                      </a:lnTo>
                      <a:lnTo>
                        <a:pt x="198616" y="452169"/>
                      </a:lnTo>
                      <a:lnTo>
                        <a:pt x="193183" y="445528"/>
                      </a:lnTo>
                      <a:lnTo>
                        <a:pt x="197409" y="440699"/>
                      </a:lnTo>
                      <a:lnTo>
                        <a:pt x="196202" y="436473"/>
                      </a:lnTo>
                      <a:lnTo>
                        <a:pt x="199824" y="434662"/>
                      </a:lnTo>
                      <a:lnTo>
                        <a:pt x="202239" y="428625"/>
                      </a:lnTo>
                      <a:lnTo>
                        <a:pt x="202239" y="421984"/>
                      </a:lnTo>
                      <a:lnTo>
                        <a:pt x="197409" y="413533"/>
                      </a:lnTo>
                      <a:lnTo>
                        <a:pt x="198013" y="406892"/>
                      </a:lnTo>
                      <a:lnTo>
                        <a:pt x="195598" y="400251"/>
                      </a:lnTo>
                      <a:lnTo>
                        <a:pt x="196805" y="393610"/>
                      </a:lnTo>
                      <a:lnTo>
                        <a:pt x="195598" y="382140"/>
                      </a:lnTo>
                      <a:lnTo>
                        <a:pt x="198013" y="373085"/>
                      </a:lnTo>
                      <a:lnTo>
                        <a:pt x="202842" y="377311"/>
                      </a:lnTo>
                      <a:lnTo>
                        <a:pt x="205861" y="376103"/>
                      </a:lnTo>
                      <a:lnTo>
                        <a:pt x="209483" y="377311"/>
                      </a:lnTo>
                      <a:lnTo>
                        <a:pt x="210087" y="383348"/>
                      </a:lnTo>
                      <a:lnTo>
                        <a:pt x="212501" y="385762"/>
                      </a:lnTo>
                      <a:lnTo>
                        <a:pt x="216727" y="384555"/>
                      </a:lnTo>
                      <a:lnTo>
                        <a:pt x="220349" y="386366"/>
                      </a:lnTo>
                      <a:lnTo>
                        <a:pt x="221557" y="383348"/>
                      </a:lnTo>
                      <a:lnTo>
                        <a:pt x="225179" y="380933"/>
                      </a:lnTo>
                      <a:lnTo>
                        <a:pt x="226386" y="375499"/>
                      </a:lnTo>
                      <a:lnTo>
                        <a:pt x="226386" y="369462"/>
                      </a:lnTo>
                      <a:lnTo>
                        <a:pt x="240875" y="359803"/>
                      </a:lnTo>
                      <a:lnTo>
                        <a:pt x="246912" y="350144"/>
                      </a:lnTo>
                      <a:lnTo>
                        <a:pt x="251138" y="345918"/>
                      </a:lnTo>
                      <a:lnTo>
                        <a:pt x="254760" y="339278"/>
                      </a:lnTo>
                      <a:lnTo>
                        <a:pt x="252345" y="333241"/>
                      </a:lnTo>
                      <a:lnTo>
                        <a:pt x="255968" y="330222"/>
                      </a:lnTo>
                      <a:lnTo>
                        <a:pt x="259590" y="324789"/>
                      </a:lnTo>
                      <a:lnTo>
                        <a:pt x="257175" y="316941"/>
                      </a:lnTo>
                      <a:lnTo>
                        <a:pt x="257779" y="313923"/>
                      </a:lnTo>
                      <a:lnTo>
                        <a:pt x="268042" y="312111"/>
                      </a:lnTo>
                      <a:lnTo>
                        <a:pt x="271060" y="313319"/>
                      </a:lnTo>
                      <a:lnTo>
                        <a:pt x="275286" y="312111"/>
                      </a:lnTo>
                      <a:lnTo>
                        <a:pt x="283134" y="312111"/>
                      </a:lnTo>
                      <a:lnTo>
                        <a:pt x="287963" y="315734"/>
                      </a:lnTo>
                      <a:lnTo>
                        <a:pt x="294000" y="312111"/>
                      </a:lnTo>
                      <a:lnTo>
                        <a:pt x="300037" y="310904"/>
                      </a:lnTo>
                      <a:lnTo>
                        <a:pt x="307886" y="314526"/>
                      </a:lnTo>
                      <a:lnTo>
                        <a:pt x="312715" y="310904"/>
                      </a:lnTo>
                      <a:lnTo>
                        <a:pt x="316941" y="312111"/>
                      </a:lnTo>
                      <a:lnTo>
                        <a:pt x="321167" y="310904"/>
                      </a:lnTo>
                      <a:lnTo>
                        <a:pt x="323582" y="308489"/>
                      </a:lnTo>
                      <a:lnTo>
                        <a:pt x="325393" y="312715"/>
                      </a:lnTo>
                      <a:lnTo>
                        <a:pt x="328411" y="312111"/>
                      </a:lnTo>
                      <a:lnTo>
                        <a:pt x="335052" y="315130"/>
                      </a:lnTo>
                      <a:lnTo>
                        <a:pt x="341089" y="321167"/>
                      </a:lnTo>
                      <a:lnTo>
                        <a:pt x="347729" y="323582"/>
                      </a:lnTo>
                      <a:lnTo>
                        <a:pt x="357389" y="324789"/>
                      </a:lnTo>
                      <a:lnTo>
                        <a:pt x="360407" y="324185"/>
                      </a:lnTo>
                      <a:lnTo>
                        <a:pt x="365840" y="318148"/>
                      </a:lnTo>
                      <a:lnTo>
                        <a:pt x="372481" y="316337"/>
                      </a:lnTo>
                      <a:lnTo>
                        <a:pt x="375500" y="302452"/>
                      </a:lnTo>
                      <a:lnTo>
                        <a:pt x="377914" y="297623"/>
                      </a:lnTo>
                      <a:lnTo>
                        <a:pt x="376707" y="291586"/>
                      </a:lnTo>
                      <a:lnTo>
                        <a:pt x="379122" y="287963"/>
                      </a:lnTo>
                      <a:lnTo>
                        <a:pt x="382744" y="286152"/>
                      </a:lnTo>
                      <a:lnTo>
                        <a:pt x="388177" y="287963"/>
                      </a:lnTo>
                      <a:lnTo>
                        <a:pt x="388781" y="281926"/>
                      </a:lnTo>
                      <a:lnTo>
                        <a:pt x="386366" y="280115"/>
                      </a:lnTo>
                      <a:lnTo>
                        <a:pt x="385159" y="274078"/>
                      </a:lnTo>
                      <a:lnTo>
                        <a:pt x="387574" y="271060"/>
                      </a:lnTo>
                      <a:lnTo>
                        <a:pt x="388781" y="264419"/>
                      </a:lnTo>
                      <a:lnTo>
                        <a:pt x="396629" y="266834"/>
                      </a:lnTo>
                      <a:lnTo>
                        <a:pt x="409910" y="272267"/>
                      </a:lnTo>
                      <a:lnTo>
                        <a:pt x="415947" y="269852"/>
                      </a:lnTo>
                      <a:lnTo>
                        <a:pt x="414136" y="267438"/>
                      </a:lnTo>
                      <a:lnTo>
                        <a:pt x="414136" y="258986"/>
                      </a:lnTo>
                      <a:lnTo>
                        <a:pt x="411722" y="256571"/>
                      </a:lnTo>
                      <a:lnTo>
                        <a:pt x="409307" y="250534"/>
                      </a:lnTo>
                      <a:lnTo>
                        <a:pt x="405081" y="248723"/>
                      </a:lnTo>
                      <a:lnTo>
                        <a:pt x="403270" y="239667"/>
                      </a:lnTo>
                      <a:lnTo>
                        <a:pt x="405685" y="228801"/>
                      </a:lnTo>
                      <a:lnTo>
                        <a:pt x="408099" y="225783"/>
                      </a:lnTo>
                      <a:lnTo>
                        <a:pt x="407496" y="220349"/>
                      </a:lnTo>
                      <a:lnTo>
                        <a:pt x="408703" y="214916"/>
                      </a:lnTo>
                      <a:lnTo>
                        <a:pt x="411118" y="211294"/>
                      </a:lnTo>
                      <a:lnTo>
                        <a:pt x="418362" y="206464"/>
                      </a:lnTo>
                      <a:lnTo>
                        <a:pt x="423796" y="203446"/>
                      </a:lnTo>
                      <a:lnTo>
                        <a:pt x="423796" y="210690"/>
                      </a:lnTo>
                      <a:lnTo>
                        <a:pt x="428021" y="213105"/>
                      </a:lnTo>
                      <a:lnTo>
                        <a:pt x="429832" y="208276"/>
                      </a:lnTo>
                      <a:lnTo>
                        <a:pt x="432247" y="205861"/>
                      </a:lnTo>
                      <a:lnTo>
                        <a:pt x="423796" y="202239"/>
                      </a:lnTo>
                      <a:lnTo>
                        <a:pt x="419570" y="198013"/>
                      </a:lnTo>
                      <a:lnTo>
                        <a:pt x="421984" y="193787"/>
                      </a:lnTo>
                      <a:lnTo>
                        <a:pt x="426814" y="193183"/>
                      </a:lnTo>
                      <a:lnTo>
                        <a:pt x="432851" y="182920"/>
                      </a:lnTo>
                      <a:lnTo>
                        <a:pt x="431040" y="175676"/>
                      </a:lnTo>
                      <a:lnTo>
                        <a:pt x="434058" y="167828"/>
                      </a:lnTo>
                      <a:lnTo>
                        <a:pt x="440699" y="171450"/>
                      </a:lnTo>
                      <a:lnTo>
                        <a:pt x="443717" y="171450"/>
                      </a:lnTo>
                      <a:lnTo>
                        <a:pt x="442510" y="162998"/>
                      </a:lnTo>
                      <a:lnTo>
                        <a:pt x="450962" y="163602"/>
                      </a:lnTo>
                      <a:lnTo>
                        <a:pt x="453376" y="158168"/>
                      </a:lnTo>
                      <a:lnTo>
                        <a:pt x="450962" y="153943"/>
                      </a:lnTo>
                      <a:lnTo>
                        <a:pt x="456395" y="145491"/>
                      </a:lnTo>
                      <a:lnTo>
                        <a:pt x="453980" y="141869"/>
                      </a:lnTo>
                      <a:lnTo>
                        <a:pt x="446736" y="140661"/>
                      </a:lnTo>
                      <a:lnTo>
                        <a:pt x="447943" y="138246"/>
                      </a:lnTo>
                      <a:lnTo>
                        <a:pt x="443114" y="133417"/>
                      </a:lnTo>
                      <a:lnTo>
                        <a:pt x="443114" y="131002"/>
                      </a:lnTo>
                      <a:lnTo>
                        <a:pt x="446132" y="124361"/>
                      </a:lnTo>
                      <a:lnTo>
                        <a:pt x="443114" y="120739"/>
                      </a:lnTo>
                      <a:lnTo>
                        <a:pt x="443717" y="113495"/>
                      </a:lnTo>
                      <a:lnTo>
                        <a:pt x="453376" y="113495"/>
                      </a:lnTo>
                      <a:lnTo>
                        <a:pt x="456395" y="111080"/>
                      </a:lnTo>
                      <a:lnTo>
                        <a:pt x="447943" y="103232"/>
                      </a:lnTo>
                      <a:lnTo>
                        <a:pt x="457602" y="90555"/>
                      </a:lnTo>
                      <a:lnTo>
                        <a:pt x="460621" y="82103"/>
                      </a:lnTo>
                      <a:lnTo>
                        <a:pt x="466054" y="75462"/>
                      </a:lnTo>
                      <a:lnTo>
                        <a:pt x="468469" y="75462"/>
                      </a:lnTo>
                      <a:lnTo>
                        <a:pt x="475713" y="71236"/>
                      </a:lnTo>
                      <a:lnTo>
                        <a:pt x="486580" y="71840"/>
                      </a:lnTo>
                      <a:lnTo>
                        <a:pt x="492013" y="68218"/>
                      </a:lnTo>
                      <a:lnTo>
                        <a:pt x="493221" y="64595"/>
                      </a:lnTo>
                      <a:lnTo>
                        <a:pt x="497446" y="60973"/>
                      </a:lnTo>
                      <a:lnTo>
                        <a:pt x="502276" y="59766"/>
                      </a:lnTo>
                      <a:lnTo>
                        <a:pt x="502276" y="55540"/>
                      </a:lnTo>
                      <a:lnTo>
                        <a:pt x="506502" y="53125"/>
                      </a:lnTo>
                      <a:lnTo>
                        <a:pt x="510124" y="48899"/>
                      </a:lnTo>
                      <a:lnTo>
                        <a:pt x="517972" y="50107"/>
                      </a:lnTo>
                      <a:lnTo>
                        <a:pt x="521594" y="45277"/>
                      </a:lnTo>
                      <a:lnTo>
                        <a:pt x="532461" y="45881"/>
                      </a:lnTo>
                      <a:lnTo>
                        <a:pt x="539102" y="43466"/>
                      </a:lnTo>
                      <a:lnTo>
                        <a:pt x="542120" y="35618"/>
                      </a:lnTo>
                      <a:lnTo>
                        <a:pt x="547553" y="28977"/>
                      </a:lnTo>
                      <a:lnTo>
                        <a:pt x="547553" y="22337"/>
                      </a:lnTo>
                      <a:lnTo>
                        <a:pt x="543328" y="20525"/>
                      </a:lnTo>
                      <a:lnTo>
                        <a:pt x="541516" y="17507"/>
                      </a:lnTo>
                      <a:lnTo>
                        <a:pt x="534272" y="13885"/>
                      </a:lnTo>
                      <a:lnTo>
                        <a:pt x="534272" y="10263"/>
                      </a:lnTo>
                      <a:lnTo>
                        <a:pt x="539705" y="9659"/>
                      </a:lnTo>
                      <a:lnTo>
                        <a:pt x="551176" y="12074"/>
                      </a:lnTo>
                      <a:lnTo>
                        <a:pt x="555401" y="16903"/>
                      </a:lnTo>
                      <a:lnTo>
                        <a:pt x="560835" y="19922"/>
                      </a:lnTo>
                      <a:lnTo>
                        <a:pt x="567475" y="21733"/>
                      </a:lnTo>
                      <a:lnTo>
                        <a:pt x="566268" y="26562"/>
                      </a:lnTo>
                      <a:lnTo>
                        <a:pt x="566871" y="31996"/>
                      </a:lnTo>
                      <a:lnTo>
                        <a:pt x="570494" y="36222"/>
                      </a:lnTo>
                      <a:lnTo>
                        <a:pt x="576531" y="40447"/>
                      </a:lnTo>
                      <a:lnTo>
                        <a:pt x="578945" y="42862"/>
                      </a:lnTo>
                      <a:lnTo>
                        <a:pt x="589812" y="42259"/>
                      </a:lnTo>
                      <a:lnTo>
                        <a:pt x="594038" y="48296"/>
                      </a:lnTo>
                      <a:lnTo>
                        <a:pt x="598868" y="50710"/>
                      </a:lnTo>
                      <a:lnTo>
                        <a:pt x="605508" y="50107"/>
                      </a:lnTo>
                      <a:lnTo>
                        <a:pt x="615771" y="47692"/>
                      </a:lnTo>
                      <a:lnTo>
                        <a:pt x="620601" y="48899"/>
                      </a:lnTo>
                      <a:lnTo>
                        <a:pt x="626638" y="47088"/>
                      </a:lnTo>
                      <a:lnTo>
                        <a:pt x="627241" y="44673"/>
                      </a:lnTo>
                      <a:lnTo>
                        <a:pt x="631467" y="41051"/>
                      </a:lnTo>
                      <a:lnTo>
                        <a:pt x="636297" y="40447"/>
                      </a:lnTo>
                      <a:lnTo>
                        <a:pt x="636901" y="36222"/>
                      </a:lnTo>
                      <a:lnTo>
                        <a:pt x="642334" y="33203"/>
                      </a:lnTo>
                      <a:lnTo>
                        <a:pt x="650786" y="32599"/>
                      </a:lnTo>
                      <a:lnTo>
                        <a:pt x="656823" y="31392"/>
                      </a:lnTo>
                      <a:lnTo>
                        <a:pt x="669500" y="30185"/>
                      </a:lnTo>
                      <a:lnTo>
                        <a:pt x="675537" y="33203"/>
                      </a:lnTo>
                      <a:lnTo>
                        <a:pt x="692441" y="33203"/>
                      </a:lnTo>
                      <a:lnTo>
                        <a:pt x="694252" y="27166"/>
                      </a:lnTo>
                      <a:lnTo>
                        <a:pt x="703911" y="26562"/>
                      </a:lnTo>
                      <a:lnTo>
                        <a:pt x="706326" y="29581"/>
                      </a:lnTo>
                      <a:lnTo>
                        <a:pt x="711155" y="30185"/>
                      </a:lnTo>
                      <a:lnTo>
                        <a:pt x="720211" y="27166"/>
                      </a:lnTo>
                      <a:lnTo>
                        <a:pt x="720211" y="32599"/>
                      </a:lnTo>
                      <a:lnTo>
                        <a:pt x="726248" y="31996"/>
                      </a:lnTo>
                      <a:lnTo>
                        <a:pt x="728059" y="28977"/>
                      </a:lnTo>
                      <a:lnTo>
                        <a:pt x="735303" y="24751"/>
                      </a:lnTo>
                      <a:lnTo>
                        <a:pt x="737114" y="26562"/>
                      </a:lnTo>
                      <a:lnTo>
                        <a:pt x="755829" y="18714"/>
                      </a:lnTo>
                      <a:lnTo>
                        <a:pt x="760055" y="20525"/>
                      </a:lnTo>
                      <a:lnTo>
                        <a:pt x="760055" y="24148"/>
                      </a:lnTo>
                      <a:lnTo>
                        <a:pt x="757036" y="26562"/>
                      </a:lnTo>
                      <a:lnTo>
                        <a:pt x="760659" y="33807"/>
                      </a:lnTo>
                      <a:lnTo>
                        <a:pt x="762470" y="41051"/>
                      </a:lnTo>
                      <a:lnTo>
                        <a:pt x="760659" y="47692"/>
                      </a:lnTo>
                      <a:lnTo>
                        <a:pt x="764281" y="49503"/>
                      </a:lnTo>
                      <a:lnTo>
                        <a:pt x="763073" y="54936"/>
                      </a:lnTo>
                      <a:lnTo>
                        <a:pt x="768506" y="55540"/>
                      </a:lnTo>
                      <a:lnTo>
                        <a:pt x="766695" y="60973"/>
                      </a:lnTo>
                      <a:lnTo>
                        <a:pt x="759451" y="65199"/>
                      </a:lnTo>
                      <a:lnTo>
                        <a:pt x="760659" y="70029"/>
                      </a:lnTo>
                      <a:lnTo>
                        <a:pt x="759451" y="74255"/>
                      </a:lnTo>
                      <a:lnTo>
                        <a:pt x="754622" y="84518"/>
                      </a:lnTo>
                      <a:lnTo>
                        <a:pt x="755225" y="85725"/>
                      </a:lnTo>
                      <a:lnTo>
                        <a:pt x="750396" y="91158"/>
                      </a:lnTo>
                      <a:lnTo>
                        <a:pt x="751603" y="94780"/>
                      </a:lnTo>
                      <a:lnTo>
                        <a:pt x="749792" y="100817"/>
                      </a:lnTo>
                      <a:lnTo>
                        <a:pt x="741340" y="105043"/>
                      </a:lnTo>
                      <a:lnTo>
                        <a:pt x="745566" y="108062"/>
                      </a:lnTo>
                      <a:lnTo>
                        <a:pt x="749188" y="102629"/>
                      </a:lnTo>
                      <a:lnTo>
                        <a:pt x="754018" y="100817"/>
                      </a:lnTo>
                      <a:lnTo>
                        <a:pt x="759451" y="102025"/>
                      </a:lnTo>
                      <a:lnTo>
                        <a:pt x="765488" y="104440"/>
                      </a:lnTo>
                      <a:lnTo>
                        <a:pt x="765488" y="106854"/>
                      </a:lnTo>
                      <a:lnTo>
                        <a:pt x="769714" y="111080"/>
                      </a:lnTo>
                      <a:lnTo>
                        <a:pt x="773940" y="109269"/>
                      </a:lnTo>
                      <a:lnTo>
                        <a:pt x="788428" y="115910"/>
                      </a:lnTo>
                      <a:lnTo>
                        <a:pt x="789636" y="123154"/>
                      </a:lnTo>
                      <a:lnTo>
                        <a:pt x="792654" y="125569"/>
                      </a:lnTo>
                      <a:lnTo>
                        <a:pt x="795069" y="122550"/>
                      </a:lnTo>
                      <a:lnTo>
                        <a:pt x="801710" y="108062"/>
                      </a:lnTo>
                      <a:lnTo>
                        <a:pt x="811973" y="97799"/>
                      </a:lnTo>
                      <a:lnTo>
                        <a:pt x="819821" y="97799"/>
                      </a:lnTo>
                      <a:lnTo>
                        <a:pt x="819821" y="91158"/>
                      </a:lnTo>
                      <a:lnTo>
                        <a:pt x="829480" y="91158"/>
                      </a:lnTo>
                      <a:lnTo>
                        <a:pt x="839139" y="95384"/>
                      </a:lnTo>
                      <a:lnTo>
                        <a:pt x="845176" y="99610"/>
                      </a:lnTo>
                      <a:lnTo>
                        <a:pt x="849402" y="100817"/>
                      </a:lnTo>
                      <a:lnTo>
                        <a:pt x="855439" y="104440"/>
                      </a:lnTo>
                      <a:lnTo>
                        <a:pt x="865098" y="107458"/>
                      </a:lnTo>
                      <a:lnTo>
                        <a:pt x="866909" y="109269"/>
                      </a:lnTo>
                      <a:lnTo>
                        <a:pt x="875361" y="107458"/>
                      </a:lnTo>
                      <a:lnTo>
                        <a:pt x="877776" y="105647"/>
                      </a:lnTo>
                      <a:lnTo>
                        <a:pt x="885624" y="114702"/>
                      </a:lnTo>
                      <a:lnTo>
                        <a:pt x="886831" y="112891"/>
                      </a:lnTo>
                      <a:lnTo>
                        <a:pt x="894075" y="112891"/>
                      </a:lnTo>
                      <a:lnTo>
                        <a:pt x="898905" y="109873"/>
                      </a:lnTo>
                      <a:lnTo>
                        <a:pt x="901320" y="106854"/>
                      </a:lnTo>
                      <a:lnTo>
                        <a:pt x="907960" y="103232"/>
                      </a:lnTo>
                      <a:lnTo>
                        <a:pt x="910375" y="100817"/>
                      </a:lnTo>
                      <a:lnTo>
                        <a:pt x="916412" y="108665"/>
                      </a:lnTo>
                      <a:lnTo>
                        <a:pt x="912790" y="109873"/>
                      </a:lnTo>
                      <a:lnTo>
                        <a:pt x="907357" y="108665"/>
                      </a:lnTo>
                      <a:lnTo>
                        <a:pt x="903735" y="114099"/>
                      </a:lnTo>
                      <a:lnTo>
                        <a:pt x="905546" y="117721"/>
                      </a:lnTo>
                      <a:lnTo>
                        <a:pt x="901320" y="123758"/>
                      </a:lnTo>
                      <a:lnTo>
                        <a:pt x="901923" y="127984"/>
                      </a:lnTo>
                      <a:lnTo>
                        <a:pt x="906753" y="130398"/>
                      </a:lnTo>
                      <a:lnTo>
                        <a:pt x="918223" y="131002"/>
                      </a:lnTo>
                      <a:lnTo>
                        <a:pt x="929694" y="130398"/>
                      </a:lnTo>
                      <a:lnTo>
                        <a:pt x="933316" y="124361"/>
                      </a:lnTo>
                      <a:lnTo>
                        <a:pt x="936938" y="121343"/>
                      </a:lnTo>
                      <a:lnTo>
                        <a:pt x="939353" y="121343"/>
                      </a:lnTo>
                      <a:lnTo>
                        <a:pt x="952031" y="100214"/>
                      </a:lnTo>
                      <a:lnTo>
                        <a:pt x="950219" y="95988"/>
                      </a:lnTo>
                      <a:lnTo>
                        <a:pt x="956860" y="84518"/>
                      </a:lnTo>
                      <a:lnTo>
                        <a:pt x="955049" y="81499"/>
                      </a:lnTo>
                      <a:lnTo>
                        <a:pt x="949616" y="77877"/>
                      </a:lnTo>
                      <a:lnTo>
                        <a:pt x="945390" y="71236"/>
                      </a:lnTo>
                      <a:lnTo>
                        <a:pt x="948408" y="66407"/>
                      </a:lnTo>
                      <a:lnTo>
                        <a:pt x="955049" y="57955"/>
                      </a:lnTo>
                      <a:lnTo>
                        <a:pt x="952634" y="55540"/>
                      </a:lnTo>
                      <a:lnTo>
                        <a:pt x="955653" y="52521"/>
                      </a:lnTo>
                      <a:lnTo>
                        <a:pt x="949616" y="50107"/>
                      </a:lnTo>
                      <a:lnTo>
                        <a:pt x="955049" y="44673"/>
                      </a:lnTo>
                      <a:lnTo>
                        <a:pt x="955653" y="40447"/>
                      </a:lnTo>
                      <a:lnTo>
                        <a:pt x="953238" y="30788"/>
                      </a:lnTo>
                      <a:lnTo>
                        <a:pt x="949616" y="31392"/>
                      </a:lnTo>
                      <a:lnTo>
                        <a:pt x="941768" y="24148"/>
                      </a:lnTo>
                      <a:lnTo>
                        <a:pt x="944182" y="18111"/>
                      </a:lnTo>
                      <a:lnTo>
                        <a:pt x="944786" y="14489"/>
                      </a:lnTo>
                      <a:lnTo>
                        <a:pt x="950219" y="12074"/>
                      </a:lnTo>
                      <a:lnTo>
                        <a:pt x="957464" y="6641"/>
                      </a:lnTo>
                      <a:lnTo>
                        <a:pt x="955049" y="4226"/>
                      </a:lnTo>
                      <a:lnTo>
                        <a:pt x="959275" y="0"/>
                      </a:lnTo>
                      <a:lnTo>
                        <a:pt x="965312" y="4830"/>
                      </a:lnTo>
                      <a:lnTo>
                        <a:pt x="971953" y="16300"/>
                      </a:lnTo>
                      <a:lnTo>
                        <a:pt x="981612" y="18714"/>
                      </a:lnTo>
                      <a:lnTo>
                        <a:pt x="993082" y="21129"/>
                      </a:lnTo>
                      <a:lnTo>
                        <a:pt x="996704" y="25355"/>
                      </a:lnTo>
                      <a:lnTo>
                        <a:pt x="1005759" y="27770"/>
                      </a:lnTo>
                      <a:lnTo>
                        <a:pt x="1008778" y="26562"/>
                      </a:lnTo>
                      <a:lnTo>
                        <a:pt x="1010589" y="30788"/>
                      </a:lnTo>
                      <a:lnTo>
                        <a:pt x="1016626" y="38636"/>
                      </a:lnTo>
                      <a:lnTo>
                        <a:pt x="1018437" y="42259"/>
                      </a:lnTo>
                      <a:lnTo>
                        <a:pt x="1021456" y="44070"/>
                      </a:lnTo>
                      <a:lnTo>
                        <a:pt x="1023870" y="48899"/>
                      </a:lnTo>
                      <a:lnTo>
                        <a:pt x="1028700" y="50710"/>
                      </a:lnTo>
                      <a:lnTo>
                        <a:pt x="1038963" y="57351"/>
                      </a:lnTo>
                      <a:lnTo>
                        <a:pt x="1041981" y="53729"/>
                      </a:lnTo>
                      <a:lnTo>
                        <a:pt x="1045604" y="53729"/>
                      </a:lnTo>
                      <a:lnTo>
                        <a:pt x="1054659" y="49503"/>
                      </a:lnTo>
                      <a:lnTo>
                        <a:pt x="1055866" y="53729"/>
                      </a:lnTo>
                      <a:lnTo>
                        <a:pt x="1059489" y="54936"/>
                      </a:lnTo>
                      <a:lnTo>
                        <a:pt x="1059489" y="57955"/>
                      </a:lnTo>
                      <a:lnTo>
                        <a:pt x="1064922" y="59766"/>
                      </a:lnTo>
                      <a:lnTo>
                        <a:pt x="1070355" y="59162"/>
                      </a:lnTo>
                      <a:lnTo>
                        <a:pt x="1072770" y="62784"/>
                      </a:lnTo>
                      <a:lnTo>
                        <a:pt x="1078203" y="63992"/>
                      </a:lnTo>
                      <a:lnTo>
                        <a:pt x="1084240" y="67614"/>
                      </a:lnTo>
                      <a:lnTo>
                        <a:pt x="1084844" y="73047"/>
                      </a:lnTo>
                      <a:lnTo>
                        <a:pt x="1089674" y="73047"/>
                      </a:lnTo>
                      <a:lnTo>
                        <a:pt x="1092088" y="76669"/>
                      </a:lnTo>
                      <a:lnTo>
                        <a:pt x="1100540" y="77877"/>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6" name="Puducherry" descr="{&quot;Key&quot;:&quot;puducherry&quot;,&quot;Name&quot;:&quot;Puducherry&quot;,&quot;Value&quot;:1.0,&quot;Formula&quot;:&quot;&quot;,&quot;Text&quot;:&quot;&quot;,&quot;OfficeApplication&quot;:1,&quot;HasValue&quot;:true}">
                  <a:extLst>
                    <a:ext uri="{FF2B5EF4-FFF2-40B4-BE49-F238E27FC236}">
                      <a16:creationId xmlns:a16="http://schemas.microsoft.com/office/drawing/2014/main" id="{37987F07-BD9F-4A6C-B1DC-AF8BE9A8CFC4}"/>
                    </a:ext>
                  </a:extLst>
                </p:cNvPr>
                <p:cNvSpPr/>
                <p:nvPr/>
              </p:nvSpPr>
              <p:spPr>
                <a:xfrm>
                  <a:off x="4533632" y="4746871"/>
                  <a:ext cx="1454910" cy="1255690"/>
                </a:xfrm>
                <a:custGeom>
                  <a:avLst/>
                  <a:gdLst>
                    <a:gd name="connsiteX0" fmla="*/ 954445 w 1454910"/>
                    <a:gd name="connsiteY0" fmla="*/ 1224298 h 1255690"/>
                    <a:gd name="connsiteX1" fmla="*/ 955049 w 1454910"/>
                    <a:gd name="connsiteY1" fmla="*/ 1225505 h 1255690"/>
                    <a:gd name="connsiteX2" fmla="*/ 954445 w 1454910"/>
                    <a:gd name="connsiteY2" fmla="*/ 1254483 h 1255690"/>
                    <a:gd name="connsiteX3" fmla="*/ 954445 w 1454910"/>
                    <a:gd name="connsiteY3" fmla="*/ 1258105 h 1255690"/>
                    <a:gd name="connsiteX4" fmla="*/ 951427 w 1454910"/>
                    <a:gd name="connsiteY4" fmla="*/ 1258709 h 1255690"/>
                    <a:gd name="connsiteX5" fmla="*/ 946597 w 1454910"/>
                    <a:gd name="connsiteY5" fmla="*/ 1258105 h 1255690"/>
                    <a:gd name="connsiteX6" fmla="*/ 946597 w 1454910"/>
                    <a:gd name="connsiteY6" fmla="*/ 1256898 h 1255690"/>
                    <a:gd name="connsiteX7" fmla="*/ 946597 w 1454910"/>
                    <a:gd name="connsiteY7" fmla="*/ 1255087 h 1255690"/>
                    <a:gd name="connsiteX8" fmla="*/ 945390 w 1454910"/>
                    <a:gd name="connsiteY8" fmla="*/ 1254483 h 1255690"/>
                    <a:gd name="connsiteX9" fmla="*/ 944786 w 1454910"/>
                    <a:gd name="connsiteY9" fmla="*/ 1253879 h 1255690"/>
                    <a:gd name="connsiteX10" fmla="*/ 942371 w 1454910"/>
                    <a:gd name="connsiteY10" fmla="*/ 1252672 h 1255690"/>
                    <a:gd name="connsiteX11" fmla="*/ 942371 w 1454910"/>
                    <a:gd name="connsiteY11" fmla="*/ 1250861 h 1255690"/>
                    <a:gd name="connsiteX12" fmla="*/ 945390 w 1454910"/>
                    <a:gd name="connsiteY12" fmla="*/ 1249653 h 1255690"/>
                    <a:gd name="connsiteX13" fmla="*/ 941768 w 1454910"/>
                    <a:gd name="connsiteY13" fmla="*/ 1247842 h 1255690"/>
                    <a:gd name="connsiteX14" fmla="*/ 940560 w 1454910"/>
                    <a:gd name="connsiteY14" fmla="*/ 1245427 h 1255690"/>
                    <a:gd name="connsiteX15" fmla="*/ 938749 w 1454910"/>
                    <a:gd name="connsiteY15" fmla="*/ 1244824 h 1255690"/>
                    <a:gd name="connsiteX16" fmla="*/ 937542 w 1454910"/>
                    <a:gd name="connsiteY16" fmla="*/ 1244824 h 1255690"/>
                    <a:gd name="connsiteX17" fmla="*/ 938749 w 1454910"/>
                    <a:gd name="connsiteY17" fmla="*/ 1243616 h 1255690"/>
                    <a:gd name="connsiteX18" fmla="*/ 938146 w 1454910"/>
                    <a:gd name="connsiteY18" fmla="*/ 1242409 h 1255690"/>
                    <a:gd name="connsiteX19" fmla="*/ 935731 w 1454910"/>
                    <a:gd name="connsiteY19" fmla="*/ 1243616 h 1255690"/>
                    <a:gd name="connsiteX20" fmla="*/ 934523 w 1454910"/>
                    <a:gd name="connsiteY20" fmla="*/ 1243013 h 1255690"/>
                    <a:gd name="connsiteX21" fmla="*/ 933316 w 1454910"/>
                    <a:gd name="connsiteY21" fmla="*/ 1241202 h 1255690"/>
                    <a:gd name="connsiteX22" fmla="*/ 932109 w 1454910"/>
                    <a:gd name="connsiteY22" fmla="*/ 1239994 h 1255690"/>
                    <a:gd name="connsiteX23" fmla="*/ 929090 w 1454910"/>
                    <a:gd name="connsiteY23" fmla="*/ 1239390 h 1255690"/>
                    <a:gd name="connsiteX24" fmla="*/ 928486 w 1454910"/>
                    <a:gd name="connsiteY24" fmla="*/ 1238183 h 1255690"/>
                    <a:gd name="connsiteX25" fmla="*/ 927279 w 1454910"/>
                    <a:gd name="connsiteY25" fmla="*/ 1238787 h 1255690"/>
                    <a:gd name="connsiteX26" fmla="*/ 927279 w 1454910"/>
                    <a:gd name="connsiteY26" fmla="*/ 1237579 h 1255690"/>
                    <a:gd name="connsiteX27" fmla="*/ 924864 w 1454910"/>
                    <a:gd name="connsiteY27" fmla="*/ 1236976 h 1255690"/>
                    <a:gd name="connsiteX28" fmla="*/ 925468 w 1454910"/>
                    <a:gd name="connsiteY28" fmla="*/ 1235768 h 1255690"/>
                    <a:gd name="connsiteX29" fmla="*/ 924260 w 1454910"/>
                    <a:gd name="connsiteY29" fmla="*/ 1235768 h 1255690"/>
                    <a:gd name="connsiteX30" fmla="*/ 924864 w 1454910"/>
                    <a:gd name="connsiteY30" fmla="*/ 1235165 h 1255690"/>
                    <a:gd name="connsiteX31" fmla="*/ 927883 w 1454910"/>
                    <a:gd name="connsiteY31" fmla="*/ 1232750 h 1255690"/>
                    <a:gd name="connsiteX32" fmla="*/ 926675 w 1454910"/>
                    <a:gd name="connsiteY32" fmla="*/ 1232146 h 1255690"/>
                    <a:gd name="connsiteX33" fmla="*/ 924260 w 1454910"/>
                    <a:gd name="connsiteY33" fmla="*/ 1229731 h 1255690"/>
                    <a:gd name="connsiteX34" fmla="*/ 926675 w 1454910"/>
                    <a:gd name="connsiteY34" fmla="*/ 1228524 h 1255690"/>
                    <a:gd name="connsiteX35" fmla="*/ 928486 w 1454910"/>
                    <a:gd name="connsiteY35" fmla="*/ 1229128 h 1255690"/>
                    <a:gd name="connsiteX36" fmla="*/ 931505 w 1454910"/>
                    <a:gd name="connsiteY36" fmla="*/ 1230939 h 1255690"/>
                    <a:gd name="connsiteX37" fmla="*/ 932712 w 1454910"/>
                    <a:gd name="connsiteY37" fmla="*/ 1229731 h 1255690"/>
                    <a:gd name="connsiteX38" fmla="*/ 931505 w 1454910"/>
                    <a:gd name="connsiteY38" fmla="*/ 1227920 h 1255690"/>
                    <a:gd name="connsiteX39" fmla="*/ 931505 w 1454910"/>
                    <a:gd name="connsiteY39" fmla="*/ 1226713 h 1255690"/>
                    <a:gd name="connsiteX40" fmla="*/ 931505 w 1454910"/>
                    <a:gd name="connsiteY40" fmla="*/ 1226109 h 1255690"/>
                    <a:gd name="connsiteX41" fmla="*/ 930901 w 1454910"/>
                    <a:gd name="connsiteY41" fmla="*/ 1225505 h 1255690"/>
                    <a:gd name="connsiteX42" fmla="*/ 929694 w 1454910"/>
                    <a:gd name="connsiteY42" fmla="*/ 1224298 h 1255690"/>
                    <a:gd name="connsiteX43" fmla="*/ 929694 w 1454910"/>
                    <a:gd name="connsiteY43" fmla="*/ 1221883 h 1255690"/>
                    <a:gd name="connsiteX44" fmla="*/ 932109 w 1454910"/>
                    <a:gd name="connsiteY44" fmla="*/ 1221883 h 1255690"/>
                    <a:gd name="connsiteX45" fmla="*/ 935731 w 1454910"/>
                    <a:gd name="connsiteY45" fmla="*/ 1223091 h 1255690"/>
                    <a:gd name="connsiteX46" fmla="*/ 938749 w 1454910"/>
                    <a:gd name="connsiteY46" fmla="*/ 1223694 h 1255690"/>
                    <a:gd name="connsiteX47" fmla="*/ 941768 w 1454910"/>
                    <a:gd name="connsiteY47" fmla="*/ 1224298 h 1255690"/>
                    <a:gd name="connsiteX48" fmla="*/ 942975 w 1454910"/>
                    <a:gd name="connsiteY48" fmla="*/ 1222487 h 1255690"/>
                    <a:gd name="connsiteX49" fmla="*/ 944183 w 1454910"/>
                    <a:gd name="connsiteY49" fmla="*/ 1221883 h 1255690"/>
                    <a:gd name="connsiteX50" fmla="*/ 945994 w 1454910"/>
                    <a:gd name="connsiteY50" fmla="*/ 1222487 h 1255690"/>
                    <a:gd name="connsiteX51" fmla="*/ 949012 w 1454910"/>
                    <a:gd name="connsiteY51" fmla="*/ 1221883 h 1255690"/>
                    <a:gd name="connsiteX52" fmla="*/ 950823 w 1454910"/>
                    <a:gd name="connsiteY52" fmla="*/ 1223694 h 1255690"/>
                    <a:gd name="connsiteX53" fmla="*/ 951427 w 1454910"/>
                    <a:gd name="connsiteY53" fmla="*/ 1223694 h 1255690"/>
                    <a:gd name="connsiteX54" fmla="*/ 954445 w 1454910"/>
                    <a:gd name="connsiteY54" fmla="*/ 1224298 h 1255690"/>
                    <a:gd name="connsiteX55" fmla="*/ 926675 w 1454910"/>
                    <a:gd name="connsiteY55" fmla="*/ 1015419 h 1255690"/>
                    <a:gd name="connsiteX56" fmla="*/ 926072 w 1454910"/>
                    <a:gd name="connsiteY56" fmla="*/ 1017834 h 1255690"/>
                    <a:gd name="connsiteX57" fmla="*/ 930297 w 1454910"/>
                    <a:gd name="connsiteY57" fmla="*/ 1019645 h 1255690"/>
                    <a:gd name="connsiteX58" fmla="*/ 931505 w 1454910"/>
                    <a:gd name="connsiteY58" fmla="*/ 1028096 h 1255690"/>
                    <a:gd name="connsiteX59" fmla="*/ 933316 w 1454910"/>
                    <a:gd name="connsiteY59" fmla="*/ 1026285 h 1255690"/>
                    <a:gd name="connsiteX60" fmla="*/ 936334 w 1454910"/>
                    <a:gd name="connsiteY60" fmla="*/ 1022059 h 1255690"/>
                    <a:gd name="connsiteX61" fmla="*/ 937542 w 1454910"/>
                    <a:gd name="connsiteY61" fmla="*/ 1020852 h 1255690"/>
                    <a:gd name="connsiteX62" fmla="*/ 938146 w 1454910"/>
                    <a:gd name="connsiteY62" fmla="*/ 1019645 h 1255690"/>
                    <a:gd name="connsiteX63" fmla="*/ 938749 w 1454910"/>
                    <a:gd name="connsiteY63" fmla="*/ 1019645 h 1255690"/>
                    <a:gd name="connsiteX64" fmla="*/ 941768 w 1454910"/>
                    <a:gd name="connsiteY64" fmla="*/ 1020852 h 1255690"/>
                    <a:gd name="connsiteX65" fmla="*/ 942371 w 1454910"/>
                    <a:gd name="connsiteY65" fmla="*/ 1017834 h 1255690"/>
                    <a:gd name="connsiteX66" fmla="*/ 943579 w 1454910"/>
                    <a:gd name="connsiteY66" fmla="*/ 1016022 h 1255690"/>
                    <a:gd name="connsiteX67" fmla="*/ 944786 w 1454910"/>
                    <a:gd name="connsiteY67" fmla="*/ 1016022 h 1255690"/>
                    <a:gd name="connsiteX68" fmla="*/ 945390 w 1454910"/>
                    <a:gd name="connsiteY68" fmla="*/ 1019645 h 1255690"/>
                    <a:gd name="connsiteX69" fmla="*/ 949012 w 1454910"/>
                    <a:gd name="connsiteY69" fmla="*/ 1020852 h 1255690"/>
                    <a:gd name="connsiteX70" fmla="*/ 951427 w 1454910"/>
                    <a:gd name="connsiteY70" fmla="*/ 1020852 h 1255690"/>
                    <a:gd name="connsiteX71" fmla="*/ 949012 w 1454910"/>
                    <a:gd name="connsiteY71" fmla="*/ 1033530 h 1255690"/>
                    <a:gd name="connsiteX72" fmla="*/ 944183 w 1454910"/>
                    <a:gd name="connsiteY72" fmla="*/ 1048622 h 1255690"/>
                    <a:gd name="connsiteX73" fmla="*/ 941164 w 1454910"/>
                    <a:gd name="connsiteY73" fmla="*/ 1042585 h 1255690"/>
                    <a:gd name="connsiteX74" fmla="*/ 936938 w 1454910"/>
                    <a:gd name="connsiteY74" fmla="*/ 1041982 h 1255690"/>
                    <a:gd name="connsiteX75" fmla="*/ 934523 w 1454910"/>
                    <a:gd name="connsiteY75" fmla="*/ 1038359 h 1255690"/>
                    <a:gd name="connsiteX76" fmla="*/ 929694 w 1454910"/>
                    <a:gd name="connsiteY76" fmla="*/ 1040774 h 1255690"/>
                    <a:gd name="connsiteX77" fmla="*/ 921846 w 1454910"/>
                    <a:gd name="connsiteY77" fmla="*/ 1039567 h 1255690"/>
                    <a:gd name="connsiteX78" fmla="*/ 928486 w 1454910"/>
                    <a:gd name="connsiteY78" fmla="*/ 1031115 h 1255690"/>
                    <a:gd name="connsiteX79" fmla="*/ 924260 w 1454910"/>
                    <a:gd name="connsiteY79" fmla="*/ 1026889 h 1255690"/>
                    <a:gd name="connsiteX80" fmla="*/ 924260 w 1454910"/>
                    <a:gd name="connsiteY80" fmla="*/ 1023267 h 1255690"/>
                    <a:gd name="connsiteX81" fmla="*/ 920035 w 1454910"/>
                    <a:gd name="connsiteY81" fmla="*/ 1023871 h 1255690"/>
                    <a:gd name="connsiteX82" fmla="*/ 920035 w 1454910"/>
                    <a:gd name="connsiteY82" fmla="*/ 1019645 h 1255690"/>
                    <a:gd name="connsiteX83" fmla="*/ 923657 w 1454910"/>
                    <a:gd name="connsiteY83" fmla="*/ 1018437 h 1255690"/>
                    <a:gd name="connsiteX84" fmla="*/ 922449 w 1454910"/>
                    <a:gd name="connsiteY84" fmla="*/ 1013608 h 1255690"/>
                    <a:gd name="connsiteX85" fmla="*/ 911583 w 1454910"/>
                    <a:gd name="connsiteY85" fmla="*/ 1013608 h 1255690"/>
                    <a:gd name="connsiteX86" fmla="*/ 912186 w 1454910"/>
                    <a:gd name="connsiteY86" fmla="*/ 1009985 h 1255690"/>
                    <a:gd name="connsiteX87" fmla="*/ 913394 w 1454910"/>
                    <a:gd name="connsiteY87" fmla="*/ 1008778 h 1255690"/>
                    <a:gd name="connsiteX88" fmla="*/ 914601 w 1454910"/>
                    <a:gd name="connsiteY88" fmla="*/ 1009382 h 1255690"/>
                    <a:gd name="connsiteX89" fmla="*/ 917016 w 1454910"/>
                    <a:gd name="connsiteY89" fmla="*/ 1006967 h 1255690"/>
                    <a:gd name="connsiteX90" fmla="*/ 921242 w 1454910"/>
                    <a:gd name="connsiteY90" fmla="*/ 1004552 h 1255690"/>
                    <a:gd name="connsiteX91" fmla="*/ 921242 w 1454910"/>
                    <a:gd name="connsiteY91" fmla="*/ 1009382 h 1255690"/>
                    <a:gd name="connsiteX92" fmla="*/ 924260 w 1454910"/>
                    <a:gd name="connsiteY92" fmla="*/ 1013004 h 1255690"/>
                    <a:gd name="connsiteX93" fmla="*/ 926675 w 1454910"/>
                    <a:gd name="connsiteY93" fmla="*/ 1013608 h 1255690"/>
                    <a:gd name="connsiteX94" fmla="*/ 928486 w 1454910"/>
                    <a:gd name="connsiteY94" fmla="*/ 1013004 h 1255690"/>
                    <a:gd name="connsiteX95" fmla="*/ 929090 w 1454910"/>
                    <a:gd name="connsiteY95" fmla="*/ 1011193 h 1255690"/>
                    <a:gd name="connsiteX96" fmla="*/ 933920 w 1454910"/>
                    <a:gd name="connsiteY96" fmla="*/ 1013608 h 1255690"/>
                    <a:gd name="connsiteX97" fmla="*/ 932712 w 1454910"/>
                    <a:gd name="connsiteY97" fmla="*/ 1014815 h 1255690"/>
                    <a:gd name="connsiteX98" fmla="*/ 929090 w 1454910"/>
                    <a:gd name="connsiteY98" fmla="*/ 1016626 h 1255690"/>
                    <a:gd name="connsiteX99" fmla="*/ 926675 w 1454910"/>
                    <a:gd name="connsiteY99" fmla="*/ 1014815 h 1255690"/>
                    <a:gd name="connsiteX100" fmla="*/ 926675 w 1454910"/>
                    <a:gd name="connsiteY100" fmla="*/ 1015419 h 1255690"/>
                    <a:gd name="connsiteX101" fmla="*/ 18715 w 1454910"/>
                    <a:gd name="connsiteY101" fmla="*/ 997911 h 1255690"/>
                    <a:gd name="connsiteX102" fmla="*/ 15696 w 1454910"/>
                    <a:gd name="connsiteY102" fmla="*/ 1002137 h 1255690"/>
                    <a:gd name="connsiteX103" fmla="*/ 9659 w 1454910"/>
                    <a:gd name="connsiteY103" fmla="*/ 1003345 h 1255690"/>
                    <a:gd name="connsiteX104" fmla="*/ 8452 w 1454910"/>
                    <a:gd name="connsiteY104" fmla="*/ 1008174 h 1255690"/>
                    <a:gd name="connsiteX105" fmla="*/ 12678 w 1454910"/>
                    <a:gd name="connsiteY105" fmla="*/ 1011797 h 1255690"/>
                    <a:gd name="connsiteX106" fmla="*/ 13885 w 1454910"/>
                    <a:gd name="connsiteY106" fmla="*/ 1017834 h 1255690"/>
                    <a:gd name="connsiteX107" fmla="*/ 6037 w 1454910"/>
                    <a:gd name="connsiteY107" fmla="*/ 1006967 h 1255690"/>
                    <a:gd name="connsiteX108" fmla="*/ 1811 w 1454910"/>
                    <a:gd name="connsiteY108" fmla="*/ 1003345 h 1255690"/>
                    <a:gd name="connsiteX109" fmla="*/ 1207 w 1454910"/>
                    <a:gd name="connsiteY109" fmla="*/ 999119 h 1255690"/>
                    <a:gd name="connsiteX110" fmla="*/ 604 w 1454910"/>
                    <a:gd name="connsiteY110" fmla="*/ 997308 h 1255690"/>
                    <a:gd name="connsiteX111" fmla="*/ 604 w 1454910"/>
                    <a:gd name="connsiteY111" fmla="*/ 993082 h 1255690"/>
                    <a:gd name="connsiteX112" fmla="*/ 0 w 1454910"/>
                    <a:gd name="connsiteY112" fmla="*/ 991874 h 1255690"/>
                    <a:gd name="connsiteX113" fmla="*/ 0 w 1454910"/>
                    <a:gd name="connsiteY113" fmla="*/ 990667 h 1255690"/>
                    <a:gd name="connsiteX114" fmla="*/ 0 w 1454910"/>
                    <a:gd name="connsiteY114" fmla="*/ 987045 h 1255690"/>
                    <a:gd name="connsiteX115" fmla="*/ 0 w 1454910"/>
                    <a:gd name="connsiteY115" fmla="*/ 986441 h 1255690"/>
                    <a:gd name="connsiteX116" fmla="*/ 3018 w 1454910"/>
                    <a:gd name="connsiteY116" fmla="*/ 985234 h 1255690"/>
                    <a:gd name="connsiteX117" fmla="*/ 3622 w 1454910"/>
                    <a:gd name="connsiteY117" fmla="*/ 985234 h 1255690"/>
                    <a:gd name="connsiteX118" fmla="*/ 5433 w 1454910"/>
                    <a:gd name="connsiteY118" fmla="*/ 986441 h 1255690"/>
                    <a:gd name="connsiteX119" fmla="*/ 7244 w 1454910"/>
                    <a:gd name="connsiteY119" fmla="*/ 985837 h 1255690"/>
                    <a:gd name="connsiteX120" fmla="*/ 9055 w 1454910"/>
                    <a:gd name="connsiteY120" fmla="*/ 986441 h 1255690"/>
                    <a:gd name="connsiteX121" fmla="*/ 11470 w 1454910"/>
                    <a:gd name="connsiteY121" fmla="*/ 987045 h 1255690"/>
                    <a:gd name="connsiteX122" fmla="*/ 12678 w 1454910"/>
                    <a:gd name="connsiteY122" fmla="*/ 984026 h 1255690"/>
                    <a:gd name="connsiteX123" fmla="*/ 18111 w 1454910"/>
                    <a:gd name="connsiteY123" fmla="*/ 980404 h 1255690"/>
                    <a:gd name="connsiteX124" fmla="*/ 18715 w 1454910"/>
                    <a:gd name="connsiteY124" fmla="*/ 979800 h 1255690"/>
                    <a:gd name="connsiteX125" fmla="*/ 20526 w 1454910"/>
                    <a:gd name="connsiteY125" fmla="*/ 977989 h 1255690"/>
                    <a:gd name="connsiteX126" fmla="*/ 21129 w 1454910"/>
                    <a:gd name="connsiteY126" fmla="*/ 977989 h 1255690"/>
                    <a:gd name="connsiteX127" fmla="*/ 25355 w 1454910"/>
                    <a:gd name="connsiteY127" fmla="*/ 979197 h 1255690"/>
                    <a:gd name="connsiteX128" fmla="*/ 30185 w 1454910"/>
                    <a:gd name="connsiteY128" fmla="*/ 979800 h 1255690"/>
                    <a:gd name="connsiteX129" fmla="*/ 30789 w 1454910"/>
                    <a:gd name="connsiteY129" fmla="*/ 977386 h 1255690"/>
                    <a:gd name="connsiteX130" fmla="*/ 31996 w 1454910"/>
                    <a:gd name="connsiteY130" fmla="*/ 977989 h 1255690"/>
                    <a:gd name="connsiteX131" fmla="*/ 34411 w 1454910"/>
                    <a:gd name="connsiteY131" fmla="*/ 977386 h 1255690"/>
                    <a:gd name="connsiteX132" fmla="*/ 36826 w 1454910"/>
                    <a:gd name="connsiteY132" fmla="*/ 979197 h 1255690"/>
                    <a:gd name="connsiteX133" fmla="*/ 37429 w 1454910"/>
                    <a:gd name="connsiteY133" fmla="*/ 980404 h 1255690"/>
                    <a:gd name="connsiteX134" fmla="*/ 35014 w 1454910"/>
                    <a:gd name="connsiteY134" fmla="*/ 981612 h 1255690"/>
                    <a:gd name="connsiteX135" fmla="*/ 33203 w 1454910"/>
                    <a:gd name="connsiteY135" fmla="*/ 981008 h 1255690"/>
                    <a:gd name="connsiteX136" fmla="*/ 32600 w 1454910"/>
                    <a:gd name="connsiteY136" fmla="*/ 982819 h 1255690"/>
                    <a:gd name="connsiteX137" fmla="*/ 30185 w 1454910"/>
                    <a:gd name="connsiteY137" fmla="*/ 982819 h 1255690"/>
                    <a:gd name="connsiteX138" fmla="*/ 26563 w 1454910"/>
                    <a:gd name="connsiteY138" fmla="*/ 985837 h 1255690"/>
                    <a:gd name="connsiteX139" fmla="*/ 23544 w 1454910"/>
                    <a:gd name="connsiteY139" fmla="*/ 987649 h 1255690"/>
                    <a:gd name="connsiteX140" fmla="*/ 22337 w 1454910"/>
                    <a:gd name="connsiteY140" fmla="*/ 987045 h 1255690"/>
                    <a:gd name="connsiteX141" fmla="*/ 19922 w 1454910"/>
                    <a:gd name="connsiteY141" fmla="*/ 985837 h 1255690"/>
                    <a:gd name="connsiteX142" fmla="*/ 18111 w 1454910"/>
                    <a:gd name="connsiteY142" fmla="*/ 987045 h 1255690"/>
                    <a:gd name="connsiteX143" fmla="*/ 19318 w 1454910"/>
                    <a:gd name="connsiteY143" fmla="*/ 990063 h 1255690"/>
                    <a:gd name="connsiteX144" fmla="*/ 15696 w 1454910"/>
                    <a:gd name="connsiteY144" fmla="*/ 994893 h 1255690"/>
                    <a:gd name="connsiteX145" fmla="*/ 16300 w 1454910"/>
                    <a:gd name="connsiteY145" fmla="*/ 996100 h 1255690"/>
                    <a:gd name="connsiteX146" fmla="*/ 16904 w 1454910"/>
                    <a:gd name="connsiteY146" fmla="*/ 997308 h 1255690"/>
                    <a:gd name="connsiteX147" fmla="*/ 18715 w 1454910"/>
                    <a:gd name="connsiteY147" fmla="*/ 997911 h 1255690"/>
                    <a:gd name="connsiteX148" fmla="*/ 1456118 w 1454910"/>
                    <a:gd name="connsiteY148" fmla="*/ 8452 h 1255690"/>
                    <a:gd name="connsiteX149" fmla="*/ 1450684 w 1454910"/>
                    <a:gd name="connsiteY149" fmla="*/ 10263 h 1255690"/>
                    <a:gd name="connsiteX150" fmla="*/ 1452495 w 1454910"/>
                    <a:gd name="connsiteY150" fmla="*/ 7244 h 1255690"/>
                    <a:gd name="connsiteX151" fmla="*/ 1456118 w 1454910"/>
                    <a:gd name="connsiteY151" fmla="*/ 8452 h 1255690"/>
                    <a:gd name="connsiteX152" fmla="*/ 1459136 w 1454910"/>
                    <a:gd name="connsiteY152" fmla="*/ 4830 h 1255690"/>
                    <a:gd name="connsiteX153" fmla="*/ 1453703 w 1454910"/>
                    <a:gd name="connsiteY153" fmla="*/ 6037 h 1255690"/>
                    <a:gd name="connsiteX154" fmla="*/ 1450081 w 1454910"/>
                    <a:gd name="connsiteY154" fmla="*/ 4226 h 1255690"/>
                    <a:gd name="connsiteX155" fmla="*/ 1447666 w 1454910"/>
                    <a:gd name="connsiteY155" fmla="*/ 6037 h 1255690"/>
                    <a:gd name="connsiteX156" fmla="*/ 1450684 w 1454910"/>
                    <a:gd name="connsiteY156" fmla="*/ 10263 h 1255690"/>
                    <a:gd name="connsiteX157" fmla="*/ 1441629 w 1454910"/>
                    <a:gd name="connsiteY157" fmla="*/ 6037 h 1255690"/>
                    <a:gd name="connsiteX158" fmla="*/ 1437403 w 1454910"/>
                    <a:gd name="connsiteY158" fmla="*/ 6037 h 1255690"/>
                    <a:gd name="connsiteX159" fmla="*/ 1434385 w 1454910"/>
                    <a:gd name="connsiteY159" fmla="*/ 4226 h 1255690"/>
                    <a:gd name="connsiteX160" fmla="*/ 1438007 w 1454910"/>
                    <a:gd name="connsiteY160" fmla="*/ 0 h 1255690"/>
                    <a:gd name="connsiteX161" fmla="*/ 1442836 w 1454910"/>
                    <a:gd name="connsiteY161" fmla="*/ 4226 h 1255690"/>
                    <a:gd name="connsiteX162" fmla="*/ 1455514 w 1454910"/>
                    <a:gd name="connsiteY162" fmla="*/ 3018 h 1255690"/>
                    <a:gd name="connsiteX163" fmla="*/ 1459136 w 1454910"/>
                    <a:gd name="connsiteY163" fmla="*/ 4830 h 125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454910" h="1255690">
                      <a:moveTo>
                        <a:pt x="954445" y="1224298"/>
                      </a:moveTo>
                      <a:lnTo>
                        <a:pt x="955049" y="1225505"/>
                      </a:lnTo>
                      <a:lnTo>
                        <a:pt x="954445" y="1254483"/>
                      </a:lnTo>
                      <a:lnTo>
                        <a:pt x="954445" y="1258105"/>
                      </a:lnTo>
                      <a:lnTo>
                        <a:pt x="951427" y="1258709"/>
                      </a:lnTo>
                      <a:lnTo>
                        <a:pt x="946597" y="1258105"/>
                      </a:lnTo>
                      <a:lnTo>
                        <a:pt x="946597" y="1256898"/>
                      </a:lnTo>
                      <a:lnTo>
                        <a:pt x="946597" y="1255087"/>
                      </a:lnTo>
                      <a:lnTo>
                        <a:pt x="945390" y="1254483"/>
                      </a:lnTo>
                      <a:lnTo>
                        <a:pt x="944786" y="1253879"/>
                      </a:lnTo>
                      <a:lnTo>
                        <a:pt x="942371" y="1252672"/>
                      </a:lnTo>
                      <a:lnTo>
                        <a:pt x="942371" y="1250861"/>
                      </a:lnTo>
                      <a:lnTo>
                        <a:pt x="945390" y="1249653"/>
                      </a:lnTo>
                      <a:lnTo>
                        <a:pt x="941768" y="1247842"/>
                      </a:lnTo>
                      <a:lnTo>
                        <a:pt x="940560" y="1245427"/>
                      </a:lnTo>
                      <a:lnTo>
                        <a:pt x="938749" y="1244824"/>
                      </a:lnTo>
                      <a:lnTo>
                        <a:pt x="937542" y="1244824"/>
                      </a:lnTo>
                      <a:lnTo>
                        <a:pt x="938749" y="1243616"/>
                      </a:lnTo>
                      <a:lnTo>
                        <a:pt x="938146" y="1242409"/>
                      </a:lnTo>
                      <a:lnTo>
                        <a:pt x="935731" y="1243616"/>
                      </a:lnTo>
                      <a:lnTo>
                        <a:pt x="934523" y="1243013"/>
                      </a:lnTo>
                      <a:lnTo>
                        <a:pt x="933316" y="1241202"/>
                      </a:lnTo>
                      <a:lnTo>
                        <a:pt x="932109" y="1239994"/>
                      </a:lnTo>
                      <a:lnTo>
                        <a:pt x="929090" y="1239390"/>
                      </a:lnTo>
                      <a:lnTo>
                        <a:pt x="928486" y="1238183"/>
                      </a:lnTo>
                      <a:lnTo>
                        <a:pt x="927279" y="1238787"/>
                      </a:lnTo>
                      <a:lnTo>
                        <a:pt x="927279" y="1237579"/>
                      </a:lnTo>
                      <a:lnTo>
                        <a:pt x="924864" y="1236976"/>
                      </a:lnTo>
                      <a:lnTo>
                        <a:pt x="925468" y="1235768"/>
                      </a:lnTo>
                      <a:lnTo>
                        <a:pt x="924260" y="1235768"/>
                      </a:lnTo>
                      <a:lnTo>
                        <a:pt x="924864" y="1235165"/>
                      </a:lnTo>
                      <a:lnTo>
                        <a:pt x="927883" y="1232750"/>
                      </a:lnTo>
                      <a:lnTo>
                        <a:pt x="926675" y="1232146"/>
                      </a:lnTo>
                      <a:lnTo>
                        <a:pt x="924260" y="1229731"/>
                      </a:lnTo>
                      <a:lnTo>
                        <a:pt x="926675" y="1228524"/>
                      </a:lnTo>
                      <a:lnTo>
                        <a:pt x="928486" y="1229128"/>
                      </a:lnTo>
                      <a:lnTo>
                        <a:pt x="931505" y="1230939"/>
                      </a:lnTo>
                      <a:lnTo>
                        <a:pt x="932712" y="1229731"/>
                      </a:lnTo>
                      <a:lnTo>
                        <a:pt x="931505" y="1227920"/>
                      </a:lnTo>
                      <a:lnTo>
                        <a:pt x="931505" y="1226713"/>
                      </a:lnTo>
                      <a:lnTo>
                        <a:pt x="931505" y="1226109"/>
                      </a:lnTo>
                      <a:lnTo>
                        <a:pt x="930901" y="1225505"/>
                      </a:lnTo>
                      <a:lnTo>
                        <a:pt x="929694" y="1224298"/>
                      </a:lnTo>
                      <a:lnTo>
                        <a:pt x="929694" y="1221883"/>
                      </a:lnTo>
                      <a:lnTo>
                        <a:pt x="932109" y="1221883"/>
                      </a:lnTo>
                      <a:lnTo>
                        <a:pt x="935731" y="1223091"/>
                      </a:lnTo>
                      <a:lnTo>
                        <a:pt x="938749" y="1223694"/>
                      </a:lnTo>
                      <a:lnTo>
                        <a:pt x="941768" y="1224298"/>
                      </a:lnTo>
                      <a:lnTo>
                        <a:pt x="942975" y="1222487"/>
                      </a:lnTo>
                      <a:lnTo>
                        <a:pt x="944183" y="1221883"/>
                      </a:lnTo>
                      <a:lnTo>
                        <a:pt x="945994" y="1222487"/>
                      </a:lnTo>
                      <a:lnTo>
                        <a:pt x="949012" y="1221883"/>
                      </a:lnTo>
                      <a:lnTo>
                        <a:pt x="950823" y="1223694"/>
                      </a:lnTo>
                      <a:lnTo>
                        <a:pt x="951427" y="1223694"/>
                      </a:lnTo>
                      <a:lnTo>
                        <a:pt x="954445" y="1224298"/>
                      </a:lnTo>
                      <a:close/>
                      <a:moveTo>
                        <a:pt x="926675" y="1015419"/>
                      </a:moveTo>
                      <a:lnTo>
                        <a:pt x="926072" y="1017834"/>
                      </a:lnTo>
                      <a:lnTo>
                        <a:pt x="930297" y="1019645"/>
                      </a:lnTo>
                      <a:lnTo>
                        <a:pt x="931505" y="1028096"/>
                      </a:lnTo>
                      <a:lnTo>
                        <a:pt x="933316" y="1026285"/>
                      </a:lnTo>
                      <a:lnTo>
                        <a:pt x="936334" y="1022059"/>
                      </a:lnTo>
                      <a:lnTo>
                        <a:pt x="937542" y="1020852"/>
                      </a:lnTo>
                      <a:lnTo>
                        <a:pt x="938146" y="1019645"/>
                      </a:lnTo>
                      <a:lnTo>
                        <a:pt x="938749" y="1019645"/>
                      </a:lnTo>
                      <a:lnTo>
                        <a:pt x="941768" y="1020852"/>
                      </a:lnTo>
                      <a:lnTo>
                        <a:pt x="942371" y="1017834"/>
                      </a:lnTo>
                      <a:lnTo>
                        <a:pt x="943579" y="1016022"/>
                      </a:lnTo>
                      <a:lnTo>
                        <a:pt x="944786" y="1016022"/>
                      </a:lnTo>
                      <a:lnTo>
                        <a:pt x="945390" y="1019645"/>
                      </a:lnTo>
                      <a:lnTo>
                        <a:pt x="949012" y="1020852"/>
                      </a:lnTo>
                      <a:lnTo>
                        <a:pt x="951427" y="1020852"/>
                      </a:lnTo>
                      <a:lnTo>
                        <a:pt x="949012" y="1033530"/>
                      </a:lnTo>
                      <a:lnTo>
                        <a:pt x="944183" y="1048622"/>
                      </a:lnTo>
                      <a:lnTo>
                        <a:pt x="941164" y="1042585"/>
                      </a:lnTo>
                      <a:lnTo>
                        <a:pt x="936938" y="1041982"/>
                      </a:lnTo>
                      <a:lnTo>
                        <a:pt x="934523" y="1038359"/>
                      </a:lnTo>
                      <a:lnTo>
                        <a:pt x="929694" y="1040774"/>
                      </a:lnTo>
                      <a:lnTo>
                        <a:pt x="921846" y="1039567"/>
                      </a:lnTo>
                      <a:lnTo>
                        <a:pt x="928486" y="1031115"/>
                      </a:lnTo>
                      <a:lnTo>
                        <a:pt x="924260" y="1026889"/>
                      </a:lnTo>
                      <a:lnTo>
                        <a:pt x="924260" y="1023267"/>
                      </a:lnTo>
                      <a:lnTo>
                        <a:pt x="920035" y="1023871"/>
                      </a:lnTo>
                      <a:lnTo>
                        <a:pt x="920035" y="1019645"/>
                      </a:lnTo>
                      <a:lnTo>
                        <a:pt x="923657" y="1018437"/>
                      </a:lnTo>
                      <a:lnTo>
                        <a:pt x="922449" y="1013608"/>
                      </a:lnTo>
                      <a:lnTo>
                        <a:pt x="911583" y="1013608"/>
                      </a:lnTo>
                      <a:lnTo>
                        <a:pt x="912186" y="1009985"/>
                      </a:lnTo>
                      <a:lnTo>
                        <a:pt x="913394" y="1008778"/>
                      </a:lnTo>
                      <a:lnTo>
                        <a:pt x="914601" y="1009382"/>
                      </a:lnTo>
                      <a:lnTo>
                        <a:pt x="917016" y="1006967"/>
                      </a:lnTo>
                      <a:lnTo>
                        <a:pt x="921242" y="1004552"/>
                      </a:lnTo>
                      <a:lnTo>
                        <a:pt x="921242" y="1009382"/>
                      </a:lnTo>
                      <a:lnTo>
                        <a:pt x="924260" y="1013004"/>
                      </a:lnTo>
                      <a:lnTo>
                        <a:pt x="926675" y="1013608"/>
                      </a:lnTo>
                      <a:lnTo>
                        <a:pt x="928486" y="1013004"/>
                      </a:lnTo>
                      <a:lnTo>
                        <a:pt x="929090" y="1011193"/>
                      </a:lnTo>
                      <a:lnTo>
                        <a:pt x="933920" y="1013608"/>
                      </a:lnTo>
                      <a:lnTo>
                        <a:pt x="932712" y="1014815"/>
                      </a:lnTo>
                      <a:lnTo>
                        <a:pt x="929090" y="1016626"/>
                      </a:lnTo>
                      <a:lnTo>
                        <a:pt x="926675" y="1014815"/>
                      </a:lnTo>
                      <a:lnTo>
                        <a:pt x="926675" y="1015419"/>
                      </a:lnTo>
                      <a:close/>
                      <a:moveTo>
                        <a:pt x="18715" y="997911"/>
                      </a:moveTo>
                      <a:lnTo>
                        <a:pt x="15696" y="1002137"/>
                      </a:lnTo>
                      <a:lnTo>
                        <a:pt x="9659" y="1003345"/>
                      </a:lnTo>
                      <a:lnTo>
                        <a:pt x="8452" y="1008174"/>
                      </a:lnTo>
                      <a:lnTo>
                        <a:pt x="12678" y="1011797"/>
                      </a:lnTo>
                      <a:lnTo>
                        <a:pt x="13885" y="1017834"/>
                      </a:lnTo>
                      <a:lnTo>
                        <a:pt x="6037" y="1006967"/>
                      </a:lnTo>
                      <a:lnTo>
                        <a:pt x="1811" y="1003345"/>
                      </a:lnTo>
                      <a:lnTo>
                        <a:pt x="1207" y="999119"/>
                      </a:lnTo>
                      <a:lnTo>
                        <a:pt x="604" y="997308"/>
                      </a:lnTo>
                      <a:lnTo>
                        <a:pt x="604" y="993082"/>
                      </a:lnTo>
                      <a:lnTo>
                        <a:pt x="0" y="991874"/>
                      </a:lnTo>
                      <a:lnTo>
                        <a:pt x="0" y="990667"/>
                      </a:lnTo>
                      <a:lnTo>
                        <a:pt x="0" y="987045"/>
                      </a:lnTo>
                      <a:lnTo>
                        <a:pt x="0" y="986441"/>
                      </a:lnTo>
                      <a:lnTo>
                        <a:pt x="3018" y="985234"/>
                      </a:lnTo>
                      <a:lnTo>
                        <a:pt x="3622" y="985234"/>
                      </a:lnTo>
                      <a:lnTo>
                        <a:pt x="5433" y="986441"/>
                      </a:lnTo>
                      <a:lnTo>
                        <a:pt x="7244" y="985837"/>
                      </a:lnTo>
                      <a:lnTo>
                        <a:pt x="9055" y="986441"/>
                      </a:lnTo>
                      <a:lnTo>
                        <a:pt x="11470" y="987045"/>
                      </a:lnTo>
                      <a:lnTo>
                        <a:pt x="12678" y="984026"/>
                      </a:lnTo>
                      <a:lnTo>
                        <a:pt x="18111" y="980404"/>
                      </a:lnTo>
                      <a:lnTo>
                        <a:pt x="18715" y="979800"/>
                      </a:lnTo>
                      <a:lnTo>
                        <a:pt x="20526" y="977989"/>
                      </a:lnTo>
                      <a:lnTo>
                        <a:pt x="21129" y="977989"/>
                      </a:lnTo>
                      <a:lnTo>
                        <a:pt x="25355" y="979197"/>
                      </a:lnTo>
                      <a:lnTo>
                        <a:pt x="30185" y="979800"/>
                      </a:lnTo>
                      <a:lnTo>
                        <a:pt x="30789" y="977386"/>
                      </a:lnTo>
                      <a:lnTo>
                        <a:pt x="31996" y="977989"/>
                      </a:lnTo>
                      <a:lnTo>
                        <a:pt x="34411" y="977386"/>
                      </a:lnTo>
                      <a:lnTo>
                        <a:pt x="36826" y="979197"/>
                      </a:lnTo>
                      <a:lnTo>
                        <a:pt x="37429" y="980404"/>
                      </a:lnTo>
                      <a:lnTo>
                        <a:pt x="35014" y="981612"/>
                      </a:lnTo>
                      <a:lnTo>
                        <a:pt x="33203" y="981008"/>
                      </a:lnTo>
                      <a:lnTo>
                        <a:pt x="32600" y="982819"/>
                      </a:lnTo>
                      <a:lnTo>
                        <a:pt x="30185" y="982819"/>
                      </a:lnTo>
                      <a:lnTo>
                        <a:pt x="26563" y="985837"/>
                      </a:lnTo>
                      <a:lnTo>
                        <a:pt x="23544" y="987649"/>
                      </a:lnTo>
                      <a:lnTo>
                        <a:pt x="22337" y="987045"/>
                      </a:lnTo>
                      <a:lnTo>
                        <a:pt x="19922" y="985837"/>
                      </a:lnTo>
                      <a:lnTo>
                        <a:pt x="18111" y="987045"/>
                      </a:lnTo>
                      <a:lnTo>
                        <a:pt x="19318" y="990063"/>
                      </a:lnTo>
                      <a:lnTo>
                        <a:pt x="15696" y="994893"/>
                      </a:lnTo>
                      <a:lnTo>
                        <a:pt x="16300" y="996100"/>
                      </a:lnTo>
                      <a:lnTo>
                        <a:pt x="16904" y="997308"/>
                      </a:lnTo>
                      <a:lnTo>
                        <a:pt x="18715" y="997911"/>
                      </a:lnTo>
                      <a:close/>
                      <a:moveTo>
                        <a:pt x="1456118" y="8452"/>
                      </a:moveTo>
                      <a:lnTo>
                        <a:pt x="1450684" y="10263"/>
                      </a:lnTo>
                      <a:lnTo>
                        <a:pt x="1452495" y="7244"/>
                      </a:lnTo>
                      <a:lnTo>
                        <a:pt x="1456118" y="8452"/>
                      </a:lnTo>
                      <a:close/>
                      <a:moveTo>
                        <a:pt x="1459136" y="4830"/>
                      </a:moveTo>
                      <a:lnTo>
                        <a:pt x="1453703" y="6037"/>
                      </a:lnTo>
                      <a:lnTo>
                        <a:pt x="1450081" y="4226"/>
                      </a:lnTo>
                      <a:lnTo>
                        <a:pt x="1447666" y="6037"/>
                      </a:lnTo>
                      <a:lnTo>
                        <a:pt x="1450684" y="10263"/>
                      </a:lnTo>
                      <a:lnTo>
                        <a:pt x="1441629" y="6037"/>
                      </a:lnTo>
                      <a:lnTo>
                        <a:pt x="1437403" y="6037"/>
                      </a:lnTo>
                      <a:lnTo>
                        <a:pt x="1434385" y="4226"/>
                      </a:lnTo>
                      <a:lnTo>
                        <a:pt x="1438007" y="0"/>
                      </a:lnTo>
                      <a:lnTo>
                        <a:pt x="1442836" y="4226"/>
                      </a:lnTo>
                      <a:lnTo>
                        <a:pt x="1455514" y="3018"/>
                      </a:lnTo>
                      <a:lnTo>
                        <a:pt x="1459136" y="4830"/>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7" name="Punjab" descr="{&quot;Key&quot;:&quot;punjab&quot;,&quot;Name&quot;:&quot;Punjab&quot;,&quot;Value&quot;:1.0,&quot;Formula&quot;:&quot;&quot;,&quot;Text&quot;:&quot;&quot;,&quot;OfficeApplication&quot;:1,&quot;HasValue&quot;:true}">
                  <a:extLst>
                    <a:ext uri="{FF2B5EF4-FFF2-40B4-BE49-F238E27FC236}">
                      <a16:creationId xmlns:a16="http://schemas.microsoft.com/office/drawing/2014/main" id="{084DA3BA-AE16-4FBF-A8AC-CCFB2FCE83BD}"/>
                    </a:ext>
                  </a:extLst>
                </p:cNvPr>
                <p:cNvSpPr/>
                <p:nvPr/>
              </p:nvSpPr>
              <p:spPr>
                <a:xfrm>
                  <a:off x="4255327" y="1137365"/>
                  <a:ext cx="627845" cy="724437"/>
                </a:xfrm>
                <a:custGeom>
                  <a:avLst/>
                  <a:gdLst>
                    <a:gd name="connsiteX0" fmla="*/ 597660 w 627845"/>
                    <a:gd name="connsiteY0" fmla="*/ 405081 h 724436"/>
                    <a:gd name="connsiteX1" fmla="*/ 595849 w 627845"/>
                    <a:gd name="connsiteY1" fmla="*/ 408099 h 724436"/>
                    <a:gd name="connsiteX2" fmla="*/ 597057 w 627845"/>
                    <a:gd name="connsiteY2" fmla="*/ 411722 h 724436"/>
                    <a:gd name="connsiteX3" fmla="*/ 603697 w 627845"/>
                    <a:gd name="connsiteY3" fmla="*/ 420173 h 724436"/>
                    <a:gd name="connsiteX4" fmla="*/ 609130 w 627845"/>
                    <a:gd name="connsiteY4" fmla="*/ 422588 h 724436"/>
                    <a:gd name="connsiteX5" fmla="*/ 610338 w 627845"/>
                    <a:gd name="connsiteY5" fmla="*/ 429229 h 724436"/>
                    <a:gd name="connsiteX6" fmla="*/ 613356 w 627845"/>
                    <a:gd name="connsiteY6" fmla="*/ 432247 h 724436"/>
                    <a:gd name="connsiteX7" fmla="*/ 609734 w 627845"/>
                    <a:gd name="connsiteY7" fmla="*/ 438888 h 724436"/>
                    <a:gd name="connsiteX8" fmla="*/ 602490 w 627845"/>
                    <a:gd name="connsiteY8" fmla="*/ 438284 h 724436"/>
                    <a:gd name="connsiteX9" fmla="*/ 604301 w 627845"/>
                    <a:gd name="connsiteY9" fmla="*/ 435869 h 724436"/>
                    <a:gd name="connsiteX10" fmla="*/ 604301 w 627845"/>
                    <a:gd name="connsiteY10" fmla="*/ 434662 h 724436"/>
                    <a:gd name="connsiteX11" fmla="*/ 603093 w 627845"/>
                    <a:gd name="connsiteY11" fmla="*/ 434058 h 724436"/>
                    <a:gd name="connsiteX12" fmla="*/ 599471 w 627845"/>
                    <a:gd name="connsiteY12" fmla="*/ 436473 h 724436"/>
                    <a:gd name="connsiteX13" fmla="*/ 598264 w 627845"/>
                    <a:gd name="connsiteY13" fmla="*/ 434662 h 724436"/>
                    <a:gd name="connsiteX14" fmla="*/ 598868 w 627845"/>
                    <a:gd name="connsiteY14" fmla="*/ 434058 h 724436"/>
                    <a:gd name="connsiteX15" fmla="*/ 597057 w 627845"/>
                    <a:gd name="connsiteY15" fmla="*/ 431644 h 724436"/>
                    <a:gd name="connsiteX16" fmla="*/ 593434 w 627845"/>
                    <a:gd name="connsiteY16" fmla="*/ 431040 h 724436"/>
                    <a:gd name="connsiteX17" fmla="*/ 592227 w 627845"/>
                    <a:gd name="connsiteY17" fmla="*/ 431644 h 724436"/>
                    <a:gd name="connsiteX18" fmla="*/ 591020 w 627845"/>
                    <a:gd name="connsiteY18" fmla="*/ 432247 h 724436"/>
                    <a:gd name="connsiteX19" fmla="*/ 591020 w 627845"/>
                    <a:gd name="connsiteY19" fmla="*/ 432851 h 724436"/>
                    <a:gd name="connsiteX20" fmla="*/ 590416 w 627845"/>
                    <a:gd name="connsiteY20" fmla="*/ 434662 h 724436"/>
                    <a:gd name="connsiteX21" fmla="*/ 589209 w 627845"/>
                    <a:gd name="connsiteY21" fmla="*/ 435869 h 724436"/>
                    <a:gd name="connsiteX22" fmla="*/ 586794 w 627845"/>
                    <a:gd name="connsiteY22" fmla="*/ 437680 h 724436"/>
                    <a:gd name="connsiteX23" fmla="*/ 581360 w 627845"/>
                    <a:gd name="connsiteY23" fmla="*/ 440095 h 724436"/>
                    <a:gd name="connsiteX24" fmla="*/ 581360 w 627845"/>
                    <a:gd name="connsiteY24" fmla="*/ 440699 h 724436"/>
                    <a:gd name="connsiteX25" fmla="*/ 584983 w 627845"/>
                    <a:gd name="connsiteY25" fmla="*/ 446132 h 724436"/>
                    <a:gd name="connsiteX26" fmla="*/ 586190 w 627845"/>
                    <a:gd name="connsiteY26" fmla="*/ 450962 h 724436"/>
                    <a:gd name="connsiteX27" fmla="*/ 588605 w 627845"/>
                    <a:gd name="connsiteY27" fmla="*/ 452773 h 724436"/>
                    <a:gd name="connsiteX28" fmla="*/ 588001 w 627845"/>
                    <a:gd name="connsiteY28" fmla="*/ 453377 h 724436"/>
                    <a:gd name="connsiteX29" fmla="*/ 589812 w 627845"/>
                    <a:gd name="connsiteY29" fmla="*/ 455188 h 724436"/>
                    <a:gd name="connsiteX30" fmla="*/ 591020 w 627845"/>
                    <a:gd name="connsiteY30" fmla="*/ 456999 h 724436"/>
                    <a:gd name="connsiteX31" fmla="*/ 592227 w 627845"/>
                    <a:gd name="connsiteY31" fmla="*/ 456395 h 724436"/>
                    <a:gd name="connsiteX32" fmla="*/ 602490 w 627845"/>
                    <a:gd name="connsiteY32" fmla="*/ 461828 h 724436"/>
                    <a:gd name="connsiteX33" fmla="*/ 604905 w 627845"/>
                    <a:gd name="connsiteY33" fmla="*/ 458810 h 724436"/>
                    <a:gd name="connsiteX34" fmla="*/ 606112 w 627845"/>
                    <a:gd name="connsiteY34" fmla="*/ 458206 h 724436"/>
                    <a:gd name="connsiteX35" fmla="*/ 607923 w 627845"/>
                    <a:gd name="connsiteY35" fmla="*/ 457603 h 724436"/>
                    <a:gd name="connsiteX36" fmla="*/ 607319 w 627845"/>
                    <a:gd name="connsiteY36" fmla="*/ 463640 h 724436"/>
                    <a:gd name="connsiteX37" fmla="*/ 616978 w 627845"/>
                    <a:gd name="connsiteY37" fmla="*/ 461225 h 724436"/>
                    <a:gd name="connsiteX38" fmla="*/ 615771 w 627845"/>
                    <a:gd name="connsiteY38" fmla="*/ 468469 h 724436"/>
                    <a:gd name="connsiteX39" fmla="*/ 618790 w 627845"/>
                    <a:gd name="connsiteY39" fmla="*/ 468469 h 724436"/>
                    <a:gd name="connsiteX40" fmla="*/ 624223 w 627845"/>
                    <a:gd name="connsiteY40" fmla="*/ 473299 h 724436"/>
                    <a:gd name="connsiteX41" fmla="*/ 627241 w 627845"/>
                    <a:gd name="connsiteY41" fmla="*/ 478128 h 724436"/>
                    <a:gd name="connsiteX42" fmla="*/ 624223 w 627845"/>
                    <a:gd name="connsiteY42" fmla="*/ 486580 h 724436"/>
                    <a:gd name="connsiteX43" fmla="*/ 624827 w 627845"/>
                    <a:gd name="connsiteY43" fmla="*/ 490202 h 724436"/>
                    <a:gd name="connsiteX44" fmla="*/ 621204 w 627845"/>
                    <a:gd name="connsiteY44" fmla="*/ 492617 h 724436"/>
                    <a:gd name="connsiteX45" fmla="*/ 628449 w 627845"/>
                    <a:gd name="connsiteY45" fmla="*/ 496239 h 724436"/>
                    <a:gd name="connsiteX46" fmla="*/ 626638 w 627845"/>
                    <a:gd name="connsiteY46" fmla="*/ 503483 h 724436"/>
                    <a:gd name="connsiteX47" fmla="*/ 623015 w 627845"/>
                    <a:gd name="connsiteY47" fmla="*/ 504691 h 724436"/>
                    <a:gd name="connsiteX48" fmla="*/ 623015 w 627845"/>
                    <a:gd name="connsiteY48" fmla="*/ 513143 h 724436"/>
                    <a:gd name="connsiteX49" fmla="*/ 622412 w 627845"/>
                    <a:gd name="connsiteY49" fmla="*/ 517369 h 724436"/>
                    <a:gd name="connsiteX50" fmla="*/ 624827 w 627845"/>
                    <a:gd name="connsiteY50" fmla="*/ 519180 h 724436"/>
                    <a:gd name="connsiteX51" fmla="*/ 626034 w 627845"/>
                    <a:gd name="connsiteY51" fmla="*/ 525217 h 724436"/>
                    <a:gd name="connsiteX52" fmla="*/ 629656 w 627845"/>
                    <a:gd name="connsiteY52" fmla="*/ 528839 h 724436"/>
                    <a:gd name="connsiteX53" fmla="*/ 623619 w 627845"/>
                    <a:gd name="connsiteY53" fmla="*/ 534876 h 724436"/>
                    <a:gd name="connsiteX54" fmla="*/ 619393 w 627845"/>
                    <a:gd name="connsiteY54" fmla="*/ 534876 h 724436"/>
                    <a:gd name="connsiteX55" fmla="*/ 619997 w 627845"/>
                    <a:gd name="connsiteY55" fmla="*/ 530046 h 724436"/>
                    <a:gd name="connsiteX56" fmla="*/ 617582 w 627845"/>
                    <a:gd name="connsiteY56" fmla="*/ 527631 h 724436"/>
                    <a:gd name="connsiteX57" fmla="*/ 616978 w 627845"/>
                    <a:gd name="connsiteY57" fmla="*/ 524009 h 724436"/>
                    <a:gd name="connsiteX58" fmla="*/ 613356 w 627845"/>
                    <a:gd name="connsiteY58" fmla="*/ 522802 h 724436"/>
                    <a:gd name="connsiteX59" fmla="*/ 610338 w 627845"/>
                    <a:gd name="connsiteY59" fmla="*/ 517972 h 724436"/>
                    <a:gd name="connsiteX60" fmla="*/ 605508 w 627845"/>
                    <a:gd name="connsiteY60" fmla="*/ 523406 h 724436"/>
                    <a:gd name="connsiteX61" fmla="*/ 599471 w 627845"/>
                    <a:gd name="connsiteY61" fmla="*/ 522802 h 724436"/>
                    <a:gd name="connsiteX62" fmla="*/ 593434 w 627845"/>
                    <a:gd name="connsiteY62" fmla="*/ 519783 h 724436"/>
                    <a:gd name="connsiteX63" fmla="*/ 588001 w 627845"/>
                    <a:gd name="connsiteY63" fmla="*/ 520991 h 724436"/>
                    <a:gd name="connsiteX64" fmla="*/ 588605 w 627845"/>
                    <a:gd name="connsiteY64" fmla="*/ 525217 h 724436"/>
                    <a:gd name="connsiteX65" fmla="*/ 583172 w 627845"/>
                    <a:gd name="connsiteY65" fmla="*/ 527631 h 724436"/>
                    <a:gd name="connsiteX66" fmla="*/ 591020 w 627845"/>
                    <a:gd name="connsiteY66" fmla="*/ 536083 h 724436"/>
                    <a:gd name="connsiteX67" fmla="*/ 582568 w 627845"/>
                    <a:gd name="connsiteY67" fmla="*/ 543931 h 724436"/>
                    <a:gd name="connsiteX68" fmla="*/ 577135 w 627845"/>
                    <a:gd name="connsiteY68" fmla="*/ 545742 h 724436"/>
                    <a:gd name="connsiteX69" fmla="*/ 575323 w 627845"/>
                    <a:gd name="connsiteY69" fmla="*/ 549968 h 724436"/>
                    <a:gd name="connsiteX70" fmla="*/ 572909 w 627845"/>
                    <a:gd name="connsiteY70" fmla="*/ 549968 h 724436"/>
                    <a:gd name="connsiteX71" fmla="*/ 565664 w 627845"/>
                    <a:gd name="connsiteY71" fmla="*/ 556005 h 724436"/>
                    <a:gd name="connsiteX72" fmla="*/ 558420 w 627845"/>
                    <a:gd name="connsiteY72" fmla="*/ 557213 h 724436"/>
                    <a:gd name="connsiteX73" fmla="*/ 551176 w 627845"/>
                    <a:gd name="connsiteY73" fmla="*/ 560231 h 724436"/>
                    <a:gd name="connsiteX74" fmla="*/ 551779 w 627845"/>
                    <a:gd name="connsiteY74" fmla="*/ 565664 h 724436"/>
                    <a:gd name="connsiteX75" fmla="*/ 557212 w 627845"/>
                    <a:gd name="connsiteY75" fmla="*/ 560835 h 724436"/>
                    <a:gd name="connsiteX76" fmla="*/ 560231 w 627845"/>
                    <a:gd name="connsiteY76" fmla="*/ 560835 h 724436"/>
                    <a:gd name="connsiteX77" fmla="*/ 565061 w 627845"/>
                    <a:gd name="connsiteY77" fmla="*/ 568079 h 724436"/>
                    <a:gd name="connsiteX78" fmla="*/ 563249 w 627845"/>
                    <a:gd name="connsiteY78" fmla="*/ 570494 h 724436"/>
                    <a:gd name="connsiteX79" fmla="*/ 570494 w 627845"/>
                    <a:gd name="connsiteY79" fmla="*/ 572305 h 724436"/>
                    <a:gd name="connsiteX80" fmla="*/ 570494 w 627845"/>
                    <a:gd name="connsiteY80" fmla="*/ 577738 h 724436"/>
                    <a:gd name="connsiteX81" fmla="*/ 566872 w 627845"/>
                    <a:gd name="connsiteY81" fmla="*/ 580757 h 724436"/>
                    <a:gd name="connsiteX82" fmla="*/ 568683 w 627845"/>
                    <a:gd name="connsiteY82" fmla="*/ 589209 h 724436"/>
                    <a:gd name="connsiteX83" fmla="*/ 568079 w 627845"/>
                    <a:gd name="connsiteY83" fmla="*/ 595245 h 724436"/>
                    <a:gd name="connsiteX84" fmla="*/ 566268 w 627845"/>
                    <a:gd name="connsiteY84" fmla="*/ 598868 h 724436"/>
                    <a:gd name="connsiteX85" fmla="*/ 560231 w 627845"/>
                    <a:gd name="connsiteY85" fmla="*/ 602490 h 724436"/>
                    <a:gd name="connsiteX86" fmla="*/ 552987 w 627845"/>
                    <a:gd name="connsiteY86" fmla="*/ 598264 h 724436"/>
                    <a:gd name="connsiteX87" fmla="*/ 548761 w 627845"/>
                    <a:gd name="connsiteY87" fmla="*/ 601886 h 724436"/>
                    <a:gd name="connsiteX88" fmla="*/ 542120 w 627845"/>
                    <a:gd name="connsiteY88" fmla="*/ 603093 h 724436"/>
                    <a:gd name="connsiteX89" fmla="*/ 539705 w 627845"/>
                    <a:gd name="connsiteY89" fmla="*/ 598264 h 724436"/>
                    <a:gd name="connsiteX90" fmla="*/ 531857 w 627845"/>
                    <a:gd name="connsiteY90" fmla="*/ 597660 h 724436"/>
                    <a:gd name="connsiteX91" fmla="*/ 530650 w 627845"/>
                    <a:gd name="connsiteY91" fmla="*/ 592227 h 724436"/>
                    <a:gd name="connsiteX92" fmla="*/ 526424 w 627845"/>
                    <a:gd name="connsiteY92" fmla="*/ 586190 h 724436"/>
                    <a:gd name="connsiteX93" fmla="*/ 527028 w 627845"/>
                    <a:gd name="connsiteY93" fmla="*/ 578946 h 724436"/>
                    <a:gd name="connsiteX94" fmla="*/ 525217 w 627845"/>
                    <a:gd name="connsiteY94" fmla="*/ 574720 h 724436"/>
                    <a:gd name="connsiteX95" fmla="*/ 520991 w 627845"/>
                    <a:gd name="connsiteY95" fmla="*/ 574116 h 724436"/>
                    <a:gd name="connsiteX96" fmla="*/ 517368 w 627845"/>
                    <a:gd name="connsiteY96" fmla="*/ 577738 h 724436"/>
                    <a:gd name="connsiteX97" fmla="*/ 521594 w 627845"/>
                    <a:gd name="connsiteY97" fmla="*/ 583775 h 724436"/>
                    <a:gd name="connsiteX98" fmla="*/ 517972 w 627845"/>
                    <a:gd name="connsiteY98" fmla="*/ 586794 h 724436"/>
                    <a:gd name="connsiteX99" fmla="*/ 519180 w 627845"/>
                    <a:gd name="connsiteY99" fmla="*/ 591020 h 724436"/>
                    <a:gd name="connsiteX100" fmla="*/ 513746 w 627845"/>
                    <a:gd name="connsiteY100" fmla="*/ 591020 h 724436"/>
                    <a:gd name="connsiteX101" fmla="*/ 510728 w 627845"/>
                    <a:gd name="connsiteY101" fmla="*/ 585586 h 724436"/>
                    <a:gd name="connsiteX102" fmla="*/ 505898 w 627845"/>
                    <a:gd name="connsiteY102" fmla="*/ 586190 h 724436"/>
                    <a:gd name="connsiteX103" fmla="*/ 510728 w 627845"/>
                    <a:gd name="connsiteY103" fmla="*/ 591020 h 724436"/>
                    <a:gd name="connsiteX104" fmla="*/ 506502 w 627845"/>
                    <a:gd name="connsiteY104" fmla="*/ 595245 h 724436"/>
                    <a:gd name="connsiteX105" fmla="*/ 503483 w 627845"/>
                    <a:gd name="connsiteY105" fmla="*/ 595849 h 724436"/>
                    <a:gd name="connsiteX106" fmla="*/ 499257 w 627845"/>
                    <a:gd name="connsiteY106" fmla="*/ 593434 h 724436"/>
                    <a:gd name="connsiteX107" fmla="*/ 496239 w 627845"/>
                    <a:gd name="connsiteY107" fmla="*/ 594642 h 724436"/>
                    <a:gd name="connsiteX108" fmla="*/ 490806 w 627845"/>
                    <a:gd name="connsiteY108" fmla="*/ 593434 h 724436"/>
                    <a:gd name="connsiteX109" fmla="*/ 482354 w 627845"/>
                    <a:gd name="connsiteY109" fmla="*/ 584379 h 724436"/>
                    <a:gd name="connsiteX110" fmla="*/ 482354 w 627845"/>
                    <a:gd name="connsiteY110" fmla="*/ 589209 h 724436"/>
                    <a:gd name="connsiteX111" fmla="*/ 481147 w 627845"/>
                    <a:gd name="connsiteY111" fmla="*/ 591020 h 724436"/>
                    <a:gd name="connsiteX112" fmla="*/ 486580 w 627845"/>
                    <a:gd name="connsiteY112" fmla="*/ 595849 h 724436"/>
                    <a:gd name="connsiteX113" fmla="*/ 490806 w 627845"/>
                    <a:gd name="connsiteY113" fmla="*/ 596453 h 724436"/>
                    <a:gd name="connsiteX114" fmla="*/ 485976 w 627845"/>
                    <a:gd name="connsiteY114" fmla="*/ 602490 h 724436"/>
                    <a:gd name="connsiteX115" fmla="*/ 479939 w 627845"/>
                    <a:gd name="connsiteY115" fmla="*/ 613356 h 724436"/>
                    <a:gd name="connsiteX116" fmla="*/ 477525 w 627845"/>
                    <a:gd name="connsiteY116" fmla="*/ 620601 h 724436"/>
                    <a:gd name="connsiteX117" fmla="*/ 480543 w 627845"/>
                    <a:gd name="connsiteY117" fmla="*/ 635090 h 724436"/>
                    <a:gd name="connsiteX118" fmla="*/ 475713 w 627845"/>
                    <a:gd name="connsiteY118" fmla="*/ 634486 h 724436"/>
                    <a:gd name="connsiteX119" fmla="*/ 473299 w 627845"/>
                    <a:gd name="connsiteY119" fmla="*/ 638712 h 724436"/>
                    <a:gd name="connsiteX120" fmla="*/ 476317 w 627845"/>
                    <a:gd name="connsiteY120" fmla="*/ 639919 h 724436"/>
                    <a:gd name="connsiteX121" fmla="*/ 476317 w 627845"/>
                    <a:gd name="connsiteY121" fmla="*/ 646560 h 724436"/>
                    <a:gd name="connsiteX122" fmla="*/ 479336 w 627845"/>
                    <a:gd name="connsiteY122" fmla="*/ 648975 h 724436"/>
                    <a:gd name="connsiteX123" fmla="*/ 485373 w 627845"/>
                    <a:gd name="connsiteY123" fmla="*/ 648975 h 724436"/>
                    <a:gd name="connsiteX124" fmla="*/ 488391 w 627845"/>
                    <a:gd name="connsiteY124" fmla="*/ 652597 h 724436"/>
                    <a:gd name="connsiteX125" fmla="*/ 485976 w 627845"/>
                    <a:gd name="connsiteY125" fmla="*/ 656219 h 724436"/>
                    <a:gd name="connsiteX126" fmla="*/ 478732 w 627845"/>
                    <a:gd name="connsiteY126" fmla="*/ 658634 h 724436"/>
                    <a:gd name="connsiteX127" fmla="*/ 473299 w 627845"/>
                    <a:gd name="connsiteY127" fmla="*/ 664671 h 724436"/>
                    <a:gd name="connsiteX128" fmla="*/ 467262 w 627845"/>
                    <a:gd name="connsiteY128" fmla="*/ 665274 h 724436"/>
                    <a:gd name="connsiteX129" fmla="*/ 463036 w 627845"/>
                    <a:gd name="connsiteY129" fmla="*/ 670104 h 724436"/>
                    <a:gd name="connsiteX130" fmla="*/ 458206 w 627845"/>
                    <a:gd name="connsiteY130" fmla="*/ 666482 h 724436"/>
                    <a:gd name="connsiteX131" fmla="*/ 454584 w 627845"/>
                    <a:gd name="connsiteY131" fmla="*/ 667689 h 724436"/>
                    <a:gd name="connsiteX132" fmla="*/ 453980 w 627845"/>
                    <a:gd name="connsiteY132" fmla="*/ 673726 h 724436"/>
                    <a:gd name="connsiteX133" fmla="*/ 450962 w 627845"/>
                    <a:gd name="connsiteY133" fmla="*/ 675537 h 724436"/>
                    <a:gd name="connsiteX134" fmla="*/ 447340 w 627845"/>
                    <a:gd name="connsiteY134" fmla="*/ 681574 h 724436"/>
                    <a:gd name="connsiteX135" fmla="*/ 443717 w 627845"/>
                    <a:gd name="connsiteY135" fmla="*/ 679763 h 724436"/>
                    <a:gd name="connsiteX136" fmla="*/ 439492 w 627845"/>
                    <a:gd name="connsiteY136" fmla="*/ 680971 h 724436"/>
                    <a:gd name="connsiteX137" fmla="*/ 432851 w 627845"/>
                    <a:gd name="connsiteY137" fmla="*/ 685196 h 724436"/>
                    <a:gd name="connsiteX138" fmla="*/ 425003 w 627845"/>
                    <a:gd name="connsiteY138" fmla="*/ 685196 h 724436"/>
                    <a:gd name="connsiteX139" fmla="*/ 420777 w 627845"/>
                    <a:gd name="connsiteY139" fmla="*/ 683989 h 724436"/>
                    <a:gd name="connsiteX140" fmla="*/ 417758 w 627845"/>
                    <a:gd name="connsiteY140" fmla="*/ 679763 h 724436"/>
                    <a:gd name="connsiteX141" fmla="*/ 414136 w 627845"/>
                    <a:gd name="connsiteY141" fmla="*/ 681574 h 724436"/>
                    <a:gd name="connsiteX142" fmla="*/ 410514 w 627845"/>
                    <a:gd name="connsiteY142" fmla="*/ 680367 h 724436"/>
                    <a:gd name="connsiteX143" fmla="*/ 406288 w 627845"/>
                    <a:gd name="connsiteY143" fmla="*/ 674934 h 724436"/>
                    <a:gd name="connsiteX144" fmla="*/ 401459 w 627845"/>
                    <a:gd name="connsiteY144" fmla="*/ 665274 h 724436"/>
                    <a:gd name="connsiteX145" fmla="*/ 396629 w 627845"/>
                    <a:gd name="connsiteY145" fmla="*/ 667689 h 724436"/>
                    <a:gd name="connsiteX146" fmla="*/ 391799 w 627845"/>
                    <a:gd name="connsiteY146" fmla="*/ 662860 h 724436"/>
                    <a:gd name="connsiteX147" fmla="*/ 386970 w 627845"/>
                    <a:gd name="connsiteY147" fmla="*/ 666482 h 724436"/>
                    <a:gd name="connsiteX148" fmla="*/ 377914 w 627845"/>
                    <a:gd name="connsiteY148" fmla="*/ 667085 h 724436"/>
                    <a:gd name="connsiteX149" fmla="*/ 376103 w 627845"/>
                    <a:gd name="connsiteY149" fmla="*/ 679763 h 724436"/>
                    <a:gd name="connsiteX150" fmla="*/ 372481 w 627845"/>
                    <a:gd name="connsiteY150" fmla="*/ 679159 h 724436"/>
                    <a:gd name="connsiteX151" fmla="*/ 370066 w 627845"/>
                    <a:gd name="connsiteY151" fmla="*/ 675537 h 724436"/>
                    <a:gd name="connsiteX152" fmla="*/ 361615 w 627845"/>
                    <a:gd name="connsiteY152" fmla="*/ 675537 h 724436"/>
                    <a:gd name="connsiteX153" fmla="*/ 361011 w 627845"/>
                    <a:gd name="connsiteY153" fmla="*/ 680367 h 724436"/>
                    <a:gd name="connsiteX154" fmla="*/ 348937 w 627845"/>
                    <a:gd name="connsiteY154" fmla="*/ 682178 h 724436"/>
                    <a:gd name="connsiteX155" fmla="*/ 347126 w 627845"/>
                    <a:gd name="connsiteY155" fmla="*/ 677348 h 724436"/>
                    <a:gd name="connsiteX156" fmla="*/ 336863 w 627845"/>
                    <a:gd name="connsiteY156" fmla="*/ 675537 h 724436"/>
                    <a:gd name="connsiteX157" fmla="*/ 324185 w 627845"/>
                    <a:gd name="connsiteY157" fmla="*/ 667085 h 724436"/>
                    <a:gd name="connsiteX158" fmla="*/ 324185 w 627845"/>
                    <a:gd name="connsiteY158" fmla="*/ 672519 h 724436"/>
                    <a:gd name="connsiteX159" fmla="*/ 314526 w 627845"/>
                    <a:gd name="connsiteY159" fmla="*/ 678556 h 724436"/>
                    <a:gd name="connsiteX160" fmla="*/ 311508 w 627845"/>
                    <a:gd name="connsiteY160" fmla="*/ 684593 h 724436"/>
                    <a:gd name="connsiteX161" fmla="*/ 310904 w 627845"/>
                    <a:gd name="connsiteY161" fmla="*/ 690026 h 724436"/>
                    <a:gd name="connsiteX162" fmla="*/ 307282 w 627845"/>
                    <a:gd name="connsiteY162" fmla="*/ 690026 h 724436"/>
                    <a:gd name="connsiteX163" fmla="*/ 301245 w 627845"/>
                    <a:gd name="connsiteY163" fmla="*/ 695459 h 724436"/>
                    <a:gd name="connsiteX164" fmla="*/ 303660 w 627845"/>
                    <a:gd name="connsiteY164" fmla="*/ 699685 h 724436"/>
                    <a:gd name="connsiteX165" fmla="*/ 298226 w 627845"/>
                    <a:gd name="connsiteY165" fmla="*/ 699685 h 724436"/>
                    <a:gd name="connsiteX166" fmla="*/ 295812 w 627845"/>
                    <a:gd name="connsiteY166" fmla="*/ 708740 h 724436"/>
                    <a:gd name="connsiteX167" fmla="*/ 292189 w 627845"/>
                    <a:gd name="connsiteY167" fmla="*/ 711759 h 724436"/>
                    <a:gd name="connsiteX168" fmla="*/ 290378 w 627845"/>
                    <a:gd name="connsiteY168" fmla="*/ 715985 h 724436"/>
                    <a:gd name="connsiteX169" fmla="*/ 295208 w 627845"/>
                    <a:gd name="connsiteY169" fmla="*/ 719607 h 724436"/>
                    <a:gd name="connsiteX170" fmla="*/ 292793 w 627845"/>
                    <a:gd name="connsiteY170" fmla="*/ 725644 h 724436"/>
                    <a:gd name="connsiteX171" fmla="*/ 281927 w 627845"/>
                    <a:gd name="connsiteY171" fmla="*/ 728059 h 724436"/>
                    <a:gd name="connsiteX172" fmla="*/ 275890 w 627845"/>
                    <a:gd name="connsiteY172" fmla="*/ 720814 h 724436"/>
                    <a:gd name="connsiteX173" fmla="*/ 278304 w 627845"/>
                    <a:gd name="connsiteY173" fmla="*/ 714777 h 724436"/>
                    <a:gd name="connsiteX174" fmla="*/ 273475 w 627845"/>
                    <a:gd name="connsiteY174" fmla="*/ 711155 h 724436"/>
                    <a:gd name="connsiteX175" fmla="*/ 268042 w 627845"/>
                    <a:gd name="connsiteY175" fmla="*/ 709344 h 724436"/>
                    <a:gd name="connsiteX176" fmla="*/ 268042 w 627845"/>
                    <a:gd name="connsiteY176" fmla="*/ 705118 h 724436"/>
                    <a:gd name="connsiteX177" fmla="*/ 265627 w 627845"/>
                    <a:gd name="connsiteY177" fmla="*/ 700289 h 724436"/>
                    <a:gd name="connsiteX178" fmla="*/ 271664 w 627845"/>
                    <a:gd name="connsiteY178" fmla="*/ 697270 h 724436"/>
                    <a:gd name="connsiteX179" fmla="*/ 273475 w 627845"/>
                    <a:gd name="connsiteY179" fmla="*/ 693648 h 724436"/>
                    <a:gd name="connsiteX180" fmla="*/ 271060 w 627845"/>
                    <a:gd name="connsiteY180" fmla="*/ 690026 h 724436"/>
                    <a:gd name="connsiteX181" fmla="*/ 273475 w 627845"/>
                    <a:gd name="connsiteY181" fmla="*/ 685800 h 724436"/>
                    <a:gd name="connsiteX182" fmla="*/ 278304 w 627845"/>
                    <a:gd name="connsiteY182" fmla="*/ 685196 h 724436"/>
                    <a:gd name="connsiteX183" fmla="*/ 280115 w 627845"/>
                    <a:gd name="connsiteY183" fmla="*/ 680367 h 724436"/>
                    <a:gd name="connsiteX184" fmla="*/ 276493 w 627845"/>
                    <a:gd name="connsiteY184" fmla="*/ 672519 h 724436"/>
                    <a:gd name="connsiteX185" fmla="*/ 273475 w 627845"/>
                    <a:gd name="connsiteY185" fmla="*/ 670104 h 724436"/>
                    <a:gd name="connsiteX186" fmla="*/ 274079 w 627845"/>
                    <a:gd name="connsiteY186" fmla="*/ 662256 h 724436"/>
                    <a:gd name="connsiteX187" fmla="*/ 270456 w 627845"/>
                    <a:gd name="connsiteY187" fmla="*/ 659841 h 724436"/>
                    <a:gd name="connsiteX188" fmla="*/ 264419 w 627845"/>
                    <a:gd name="connsiteY188" fmla="*/ 664671 h 724436"/>
                    <a:gd name="connsiteX189" fmla="*/ 263212 w 627845"/>
                    <a:gd name="connsiteY189" fmla="*/ 671311 h 724436"/>
                    <a:gd name="connsiteX190" fmla="*/ 259590 w 627845"/>
                    <a:gd name="connsiteY190" fmla="*/ 672519 h 724436"/>
                    <a:gd name="connsiteX191" fmla="*/ 258382 w 627845"/>
                    <a:gd name="connsiteY191" fmla="*/ 667689 h 724436"/>
                    <a:gd name="connsiteX192" fmla="*/ 253553 w 627845"/>
                    <a:gd name="connsiteY192" fmla="*/ 668293 h 724436"/>
                    <a:gd name="connsiteX193" fmla="*/ 251742 w 627845"/>
                    <a:gd name="connsiteY193" fmla="*/ 664671 h 724436"/>
                    <a:gd name="connsiteX194" fmla="*/ 254156 w 627845"/>
                    <a:gd name="connsiteY194" fmla="*/ 659841 h 724436"/>
                    <a:gd name="connsiteX195" fmla="*/ 250534 w 627845"/>
                    <a:gd name="connsiteY195" fmla="*/ 658634 h 724436"/>
                    <a:gd name="connsiteX196" fmla="*/ 249931 w 627845"/>
                    <a:gd name="connsiteY196" fmla="*/ 655011 h 724436"/>
                    <a:gd name="connsiteX197" fmla="*/ 253553 w 627845"/>
                    <a:gd name="connsiteY197" fmla="*/ 653200 h 724436"/>
                    <a:gd name="connsiteX198" fmla="*/ 253553 w 627845"/>
                    <a:gd name="connsiteY198" fmla="*/ 645956 h 724436"/>
                    <a:gd name="connsiteX199" fmla="*/ 248723 w 627845"/>
                    <a:gd name="connsiteY199" fmla="*/ 642334 h 724436"/>
                    <a:gd name="connsiteX200" fmla="*/ 246308 w 627845"/>
                    <a:gd name="connsiteY200" fmla="*/ 650182 h 724436"/>
                    <a:gd name="connsiteX201" fmla="*/ 240271 w 627845"/>
                    <a:gd name="connsiteY201" fmla="*/ 649578 h 724436"/>
                    <a:gd name="connsiteX202" fmla="*/ 235442 w 627845"/>
                    <a:gd name="connsiteY202" fmla="*/ 653804 h 724436"/>
                    <a:gd name="connsiteX203" fmla="*/ 230612 w 627845"/>
                    <a:gd name="connsiteY203" fmla="*/ 655615 h 724436"/>
                    <a:gd name="connsiteX204" fmla="*/ 226386 w 627845"/>
                    <a:gd name="connsiteY204" fmla="*/ 650182 h 724436"/>
                    <a:gd name="connsiteX205" fmla="*/ 226386 w 627845"/>
                    <a:gd name="connsiteY205" fmla="*/ 647767 h 724436"/>
                    <a:gd name="connsiteX206" fmla="*/ 220953 w 627845"/>
                    <a:gd name="connsiteY206" fmla="*/ 644749 h 724436"/>
                    <a:gd name="connsiteX207" fmla="*/ 216727 w 627845"/>
                    <a:gd name="connsiteY207" fmla="*/ 635693 h 724436"/>
                    <a:gd name="connsiteX208" fmla="*/ 206464 w 627845"/>
                    <a:gd name="connsiteY208" fmla="*/ 631467 h 724436"/>
                    <a:gd name="connsiteX209" fmla="*/ 201635 w 627845"/>
                    <a:gd name="connsiteY209" fmla="*/ 631467 h 724436"/>
                    <a:gd name="connsiteX210" fmla="*/ 195598 w 627845"/>
                    <a:gd name="connsiteY210" fmla="*/ 627845 h 724436"/>
                    <a:gd name="connsiteX211" fmla="*/ 191372 w 627845"/>
                    <a:gd name="connsiteY211" fmla="*/ 623619 h 724436"/>
                    <a:gd name="connsiteX212" fmla="*/ 186542 w 627845"/>
                    <a:gd name="connsiteY212" fmla="*/ 627845 h 724436"/>
                    <a:gd name="connsiteX213" fmla="*/ 178694 w 627845"/>
                    <a:gd name="connsiteY213" fmla="*/ 629053 h 724436"/>
                    <a:gd name="connsiteX214" fmla="*/ 175676 w 627845"/>
                    <a:gd name="connsiteY214" fmla="*/ 630864 h 724436"/>
                    <a:gd name="connsiteX215" fmla="*/ 169639 w 627845"/>
                    <a:gd name="connsiteY215" fmla="*/ 628449 h 724436"/>
                    <a:gd name="connsiteX216" fmla="*/ 166620 w 627845"/>
                    <a:gd name="connsiteY216" fmla="*/ 633882 h 724436"/>
                    <a:gd name="connsiteX217" fmla="*/ 158169 w 627845"/>
                    <a:gd name="connsiteY217" fmla="*/ 639919 h 724436"/>
                    <a:gd name="connsiteX218" fmla="*/ 158169 w 627845"/>
                    <a:gd name="connsiteY218" fmla="*/ 644145 h 724436"/>
                    <a:gd name="connsiteX219" fmla="*/ 147302 w 627845"/>
                    <a:gd name="connsiteY219" fmla="*/ 641730 h 724436"/>
                    <a:gd name="connsiteX220" fmla="*/ 144284 w 627845"/>
                    <a:gd name="connsiteY220" fmla="*/ 639315 h 724436"/>
                    <a:gd name="connsiteX221" fmla="*/ 133417 w 627845"/>
                    <a:gd name="connsiteY221" fmla="*/ 635090 h 724436"/>
                    <a:gd name="connsiteX222" fmla="*/ 122550 w 627845"/>
                    <a:gd name="connsiteY222" fmla="*/ 634486 h 724436"/>
                    <a:gd name="connsiteX223" fmla="*/ 114702 w 627845"/>
                    <a:gd name="connsiteY223" fmla="*/ 633882 h 724436"/>
                    <a:gd name="connsiteX224" fmla="*/ 109873 w 627845"/>
                    <a:gd name="connsiteY224" fmla="*/ 633882 h 724436"/>
                    <a:gd name="connsiteX225" fmla="*/ 86329 w 627845"/>
                    <a:gd name="connsiteY225" fmla="*/ 632071 h 724436"/>
                    <a:gd name="connsiteX226" fmla="*/ 78481 w 627845"/>
                    <a:gd name="connsiteY226" fmla="*/ 632071 h 724436"/>
                    <a:gd name="connsiteX227" fmla="*/ 40448 w 627845"/>
                    <a:gd name="connsiteY227" fmla="*/ 629053 h 724436"/>
                    <a:gd name="connsiteX228" fmla="*/ 12678 w 627845"/>
                    <a:gd name="connsiteY228" fmla="*/ 628449 h 724436"/>
                    <a:gd name="connsiteX229" fmla="*/ 4226 w 627845"/>
                    <a:gd name="connsiteY229" fmla="*/ 628449 h 724436"/>
                    <a:gd name="connsiteX230" fmla="*/ 1811 w 627845"/>
                    <a:gd name="connsiteY230" fmla="*/ 622412 h 724436"/>
                    <a:gd name="connsiteX231" fmla="*/ 5433 w 627845"/>
                    <a:gd name="connsiteY231" fmla="*/ 608527 h 724436"/>
                    <a:gd name="connsiteX232" fmla="*/ 9659 w 627845"/>
                    <a:gd name="connsiteY232" fmla="*/ 605508 h 724436"/>
                    <a:gd name="connsiteX233" fmla="*/ 18715 w 627845"/>
                    <a:gd name="connsiteY233" fmla="*/ 591020 h 724436"/>
                    <a:gd name="connsiteX234" fmla="*/ 18111 w 627845"/>
                    <a:gd name="connsiteY234" fmla="*/ 587398 h 724436"/>
                    <a:gd name="connsiteX235" fmla="*/ 19318 w 627845"/>
                    <a:gd name="connsiteY235" fmla="*/ 575324 h 724436"/>
                    <a:gd name="connsiteX236" fmla="*/ 17507 w 627845"/>
                    <a:gd name="connsiteY236" fmla="*/ 559024 h 724436"/>
                    <a:gd name="connsiteX237" fmla="*/ 12678 w 627845"/>
                    <a:gd name="connsiteY237" fmla="*/ 549364 h 724436"/>
                    <a:gd name="connsiteX238" fmla="*/ 5433 w 627845"/>
                    <a:gd name="connsiteY238" fmla="*/ 538498 h 724436"/>
                    <a:gd name="connsiteX239" fmla="*/ 604 w 627845"/>
                    <a:gd name="connsiteY239" fmla="*/ 535480 h 724436"/>
                    <a:gd name="connsiteX240" fmla="*/ 0 w 627845"/>
                    <a:gd name="connsiteY240" fmla="*/ 530046 h 724436"/>
                    <a:gd name="connsiteX241" fmla="*/ 6641 w 627845"/>
                    <a:gd name="connsiteY241" fmla="*/ 522198 h 724436"/>
                    <a:gd name="connsiteX242" fmla="*/ 11470 w 627845"/>
                    <a:gd name="connsiteY242" fmla="*/ 520991 h 724436"/>
                    <a:gd name="connsiteX243" fmla="*/ 13281 w 627845"/>
                    <a:gd name="connsiteY243" fmla="*/ 516161 h 724436"/>
                    <a:gd name="connsiteX244" fmla="*/ 12678 w 627845"/>
                    <a:gd name="connsiteY244" fmla="*/ 511935 h 724436"/>
                    <a:gd name="connsiteX245" fmla="*/ 18715 w 627845"/>
                    <a:gd name="connsiteY245" fmla="*/ 512539 h 724436"/>
                    <a:gd name="connsiteX246" fmla="*/ 20526 w 627845"/>
                    <a:gd name="connsiteY246" fmla="*/ 505295 h 724436"/>
                    <a:gd name="connsiteX247" fmla="*/ 24148 w 627845"/>
                    <a:gd name="connsiteY247" fmla="*/ 501069 h 724436"/>
                    <a:gd name="connsiteX248" fmla="*/ 31996 w 627845"/>
                    <a:gd name="connsiteY248" fmla="*/ 496239 h 724436"/>
                    <a:gd name="connsiteX249" fmla="*/ 35014 w 627845"/>
                    <a:gd name="connsiteY249" fmla="*/ 493221 h 724436"/>
                    <a:gd name="connsiteX250" fmla="*/ 38033 w 627845"/>
                    <a:gd name="connsiteY250" fmla="*/ 496843 h 724436"/>
                    <a:gd name="connsiteX251" fmla="*/ 42259 w 627845"/>
                    <a:gd name="connsiteY251" fmla="*/ 495032 h 724436"/>
                    <a:gd name="connsiteX252" fmla="*/ 44070 w 627845"/>
                    <a:gd name="connsiteY252" fmla="*/ 491409 h 724436"/>
                    <a:gd name="connsiteX253" fmla="*/ 40448 w 627845"/>
                    <a:gd name="connsiteY253" fmla="*/ 488995 h 724436"/>
                    <a:gd name="connsiteX254" fmla="*/ 45277 w 627845"/>
                    <a:gd name="connsiteY254" fmla="*/ 484769 h 724436"/>
                    <a:gd name="connsiteX255" fmla="*/ 45277 w 627845"/>
                    <a:gd name="connsiteY255" fmla="*/ 478732 h 724436"/>
                    <a:gd name="connsiteX256" fmla="*/ 51918 w 627845"/>
                    <a:gd name="connsiteY256" fmla="*/ 471488 h 724436"/>
                    <a:gd name="connsiteX257" fmla="*/ 57351 w 627845"/>
                    <a:gd name="connsiteY257" fmla="*/ 470280 h 724436"/>
                    <a:gd name="connsiteX258" fmla="*/ 67010 w 627845"/>
                    <a:gd name="connsiteY258" fmla="*/ 461225 h 724436"/>
                    <a:gd name="connsiteX259" fmla="*/ 74255 w 627845"/>
                    <a:gd name="connsiteY259" fmla="*/ 449754 h 724436"/>
                    <a:gd name="connsiteX260" fmla="*/ 79084 w 627845"/>
                    <a:gd name="connsiteY260" fmla="*/ 448547 h 724436"/>
                    <a:gd name="connsiteX261" fmla="*/ 82707 w 627845"/>
                    <a:gd name="connsiteY261" fmla="*/ 443717 h 724436"/>
                    <a:gd name="connsiteX262" fmla="*/ 80895 w 627845"/>
                    <a:gd name="connsiteY262" fmla="*/ 437077 h 724436"/>
                    <a:gd name="connsiteX263" fmla="*/ 86329 w 627845"/>
                    <a:gd name="connsiteY263" fmla="*/ 435266 h 724436"/>
                    <a:gd name="connsiteX264" fmla="*/ 85121 w 627845"/>
                    <a:gd name="connsiteY264" fmla="*/ 431040 h 724436"/>
                    <a:gd name="connsiteX265" fmla="*/ 89951 w 627845"/>
                    <a:gd name="connsiteY265" fmla="*/ 425003 h 724436"/>
                    <a:gd name="connsiteX266" fmla="*/ 91762 w 627845"/>
                    <a:gd name="connsiteY266" fmla="*/ 418966 h 724436"/>
                    <a:gd name="connsiteX267" fmla="*/ 94780 w 627845"/>
                    <a:gd name="connsiteY267" fmla="*/ 417759 h 724436"/>
                    <a:gd name="connsiteX268" fmla="*/ 101421 w 627845"/>
                    <a:gd name="connsiteY268" fmla="*/ 419570 h 724436"/>
                    <a:gd name="connsiteX269" fmla="*/ 103232 w 627845"/>
                    <a:gd name="connsiteY269" fmla="*/ 417759 h 724436"/>
                    <a:gd name="connsiteX270" fmla="*/ 100817 w 627845"/>
                    <a:gd name="connsiteY270" fmla="*/ 412929 h 724436"/>
                    <a:gd name="connsiteX271" fmla="*/ 102025 w 627845"/>
                    <a:gd name="connsiteY271" fmla="*/ 409910 h 724436"/>
                    <a:gd name="connsiteX272" fmla="*/ 108062 w 627845"/>
                    <a:gd name="connsiteY272" fmla="*/ 405685 h 724436"/>
                    <a:gd name="connsiteX273" fmla="*/ 112891 w 627845"/>
                    <a:gd name="connsiteY273" fmla="*/ 403270 h 724436"/>
                    <a:gd name="connsiteX274" fmla="*/ 112891 w 627845"/>
                    <a:gd name="connsiteY274" fmla="*/ 400251 h 724436"/>
                    <a:gd name="connsiteX275" fmla="*/ 123154 w 627845"/>
                    <a:gd name="connsiteY275" fmla="*/ 390592 h 724436"/>
                    <a:gd name="connsiteX276" fmla="*/ 128587 w 627845"/>
                    <a:gd name="connsiteY276" fmla="*/ 389988 h 724436"/>
                    <a:gd name="connsiteX277" fmla="*/ 130399 w 627845"/>
                    <a:gd name="connsiteY277" fmla="*/ 387574 h 724436"/>
                    <a:gd name="connsiteX278" fmla="*/ 137643 w 627845"/>
                    <a:gd name="connsiteY278" fmla="*/ 382744 h 724436"/>
                    <a:gd name="connsiteX279" fmla="*/ 135832 w 627845"/>
                    <a:gd name="connsiteY279" fmla="*/ 380329 h 724436"/>
                    <a:gd name="connsiteX280" fmla="*/ 137643 w 627845"/>
                    <a:gd name="connsiteY280" fmla="*/ 374896 h 724436"/>
                    <a:gd name="connsiteX281" fmla="*/ 139454 w 627845"/>
                    <a:gd name="connsiteY281" fmla="*/ 371878 h 724436"/>
                    <a:gd name="connsiteX282" fmla="*/ 140661 w 627845"/>
                    <a:gd name="connsiteY282" fmla="*/ 367048 h 724436"/>
                    <a:gd name="connsiteX283" fmla="*/ 144284 w 627845"/>
                    <a:gd name="connsiteY283" fmla="*/ 365841 h 724436"/>
                    <a:gd name="connsiteX284" fmla="*/ 150321 w 627845"/>
                    <a:gd name="connsiteY284" fmla="*/ 371878 h 724436"/>
                    <a:gd name="connsiteX285" fmla="*/ 156961 w 627845"/>
                    <a:gd name="connsiteY285" fmla="*/ 369463 h 724436"/>
                    <a:gd name="connsiteX286" fmla="*/ 161791 w 627845"/>
                    <a:gd name="connsiteY286" fmla="*/ 369463 h 724436"/>
                    <a:gd name="connsiteX287" fmla="*/ 167224 w 627845"/>
                    <a:gd name="connsiteY287" fmla="*/ 365237 h 724436"/>
                    <a:gd name="connsiteX288" fmla="*/ 169639 w 627845"/>
                    <a:gd name="connsiteY288" fmla="*/ 359200 h 724436"/>
                    <a:gd name="connsiteX289" fmla="*/ 169035 w 627845"/>
                    <a:gd name="connsiteY289" fmla="*/ 354370 h 724436"/>
                    <a:gd name="connsiteX290" fmla="*/ 166620 w 627845"/>
                    <a:gd name="connsiteY290" fmla="*/ 351352 h 724436"/>
                    <a:gd name="connsiteX291" fmla="*/ 155754 w 627845"/>
                    <a:gd name="connsiteY291" fmla="*/ 349541 h 724436"/>
                    <a:gd name="connsiteX292" fmla="*/ 148509 w 627845"/>
                    <a:gd name="connsiteY292" fmla="*/ 351955 h 724436"/>
                    <a:gd name="connsiteX293" fmla="*/ 150321 w 627845"/>
                    <a:gd name="connsiteY293" fmla="*/ 355578 h 724436"/>
                    <a:gd name="connsiteX294" fmla="*/ 147906 w 627845"/>
                    <a:gd name="connsiteY294" fmla="*/ 359804 h 724436"/>
                    <a:gd name="connsiteX295" fmla="*/ 143076 w 627845"/>
                    <a:gd name="connsiteY295" fmla="*/ 362218 h 724436"/>
                    <a:gd name="connsiteX296" fmla="*/ 138850 w 627845"/>
                    <a:gd name="connsiteY296" fmla="*/ 361011 h 724436"/>
                    <a:gd name="connsiteX297" fmla="*/ 138850 w 627845"/>
                    <a:gd name="connsiteY297" fmla="*/ 354370 h 724436"/>
                    <a:gd name="connsiteX298" fmla="*/ 137039 w 627845"/>
                    <a:gd name="connsiteY298" fmla="*/ 351955 h 724436"/>
                    <a:gd name="connsiteX299" fmla="*/ 131002 w 627845"/>
                    <a:gd name="connsiteY299" fmla="*/ 349541 h 724436"/>
                    <a:gd name="connsiteX300" fmla="*/ 129795 w 627845"/>
                    <a:gd name="connsiteY300" fmla="*/ 339278 h 724436"/>
                    <a:gd name="connsiteX301" fmla="*/ 132210 w 627845"/>
                    <a:gd name="connsiteY301" fmla="*/ 332033 h 724436"/>
                    <a:gd name="connsiteX302" fmla="*/ 131606 w 627845"/>
                    <a:gd name="connsiteY302" fmla="*/ 328411 h 724436"/>
                    <a:gd name="connsiteX303" fmla="*/ 134021 w 627845"/>
                    <a:gd name="connsiteY303" fmla="*/ 322978 h 724436"/>
                    <a:gd name="connsiteX304" fmla="*/ 131606 w 627845"/>
                    <a:gd name="connsiteY304" fmla="*/ 316941 h 724436"/>
                    <a:gd name="connsiteX305" fmla="*/ 135832 w 627845"/>
                    <a:gd name="connsiteY305" fmla="*/ 310300 h 724436"/>
                    <a:gd name="connsiteX306" fmla="*/ 140058 w 627845"/>
                    <a:gd name="connsiteY306" fmla="*/ 310300 h 724436"/>
                    <a:gd name="connsiteX307" fmla="*/ 149113 w 627845"/>
                    <a:gd name="connsiteY307" fmla="*/ 286756 h 724436"/>
                    <a:gd name="connsiteX308" fmla="*/ 155150 w 627845"/>
                    <a:gd name="connsiteY308" fmla="*/ 280116 h 724436"/>
                    <a:gd name="connsiteX309" fmla="*/ 158772 w 627845"/>
                    <a:gd name="connsiteY309" fmla="*/ 271060 h 724436"/>
                    <a:gd name="connsiteX310" fmla="*/ 149113 w 627845"/>
                    <a:gd name="connsiteY310" fmla="*/ 261401 h 724436"/>
                    <a:gd name="connsiteX311" fmla="*/ 146095 w 627845"/>
                    <a:gd name="connsiteY311" fmla="*/ 262608 h 724436"/>
                    <a:gd name="connsiteX312" fmla="*/ 144284 w 627845"/>
                    <a:gd name="connsiteY312" fmla="*/ 257175 h 724436"/>
                    <a:gd name="connsiteX313" fmla="*/ 149717 w 627845"/>
                    <a:gd name="connsiteY313" fmla="*/ 255364 h 724436"/>
                    <a:gd name="connsiteX314" fmla="*/ 150924 w 627845"/>
                    <a:gd name="connsiteY314" fmla="*/ 251742 h 724436"/>
                    <a:gd name="connsiteX315" fmla="*/ 150321 w 627845"/>
                    <a:gd name="connsiteY315" fmla="*/ 245101 h 724436"/>
                    <a:gd name="connsiteX316" fmla="*/ 145491 w 627845"/>
                    <a:gd name="connsiteY316" fmla="*/ 231820 h 724436"/>
                    <a:gd name="connsiteX317" fmla="*/ 135832 w 627845"/>
                    <a:gd name="connsiteY317" fmla="*/ 213709 h 724436"/>
                    <a:gd name="connsiteX318" fmla="*/ 132813 w 627845"/>
                    <a:gd name="connsiteY318" fmla="*/ 207672 h 724436"/>
                    <a:gd name="connsiteX319" fmla="*/ 133417 w 627845"/>
                    <a:gd name="connsiteY319" fmla="*/ 202239 h 724436"/>
                    <a:gd name="connsiteX320" fmla="*/ 140058 w 627845"/>
                    <a:gd name="connsiteY320" fmla="*/ 199220 h 724436"/>
                    <a:gd name="connsiteX321" fmla="*/ 138850 w 627845"/>
                    <a:gd name="connsiteY321" fmla="*/ 194994 h 724436"/>
                    <a:gd name="connsiteX322" fmla="*/ 139454 w 627845"/>
                    <a:gd name="connsiteY322" fmla="*/ 189561 h 724436"/>
                    <a:gd name="connsiteX323" fmla="*/ 141869 w 627845"/>
                    <a:gd name="connsiteY323" fmla="*/ 185335 h 724436"/>
                    <a:gd name="connsiteX324" fmla="*/ 141265 w 627845"/>
                    <a:gd name="connsiteY324" fmla="*/ 182317 h 724436"/>
                    <a:gd name="connsiteX325" fmla="*/ 149113 w 627845"/>
                    <a:gd name="connsiteY325" fmla="*/ 173261 h 724436"/>
                    <a:gd name="connsiteX326" fmla="*/ 149717 w 627845"/>
                    <a:gd name="connsiteY326" fmla="*/ 169035 h 724436"/>
                    <a:gd name="connsiteX327" fmla="*/ 154546 w 627845"/>
                    <a:gd name="connsiteY327" fmla="*/ 169035 h 724436"/>
                    <a:gd name="connsiteX328" fmla="*/ 160583 w 627845"/>
                    <a:gd name="connsiteY328" fmla="*/ 162395 h 724436"/>
                    <a:gd name="connsiteX329" fmla="*/ 166017 w 627845"/>
                    <a:gd name="connsiteY329" fmla="*/ 159376 h 724436"/>
                    <a:gd name="connsiteX330" fmla="*/ 171450 w 627845"/>
                    <a:gd name="connsiteY330" fmla="*/ 158772 h 724436"/>
                    <a:gd name="connsiteX331" fmla="*/ 172657 w 627845"/>
                    <a:gd name="connsiteY331" fmla="*/ 150924 h 724436"/>
                    <a:gd name="connsiteX332" fmla="*/ 178091 w 627845"/>
                    <a:gd name="connsiteY332" fmla="*/ 155754 h 724436"/>
                    <a:gd name="connsiteX333" fmla="*/ 191372 w 627845"/>
                    <a:gd name="connsiteY333" fmla="*/ 149717 h 724436"/>
                    <a:gd name="connsiteX334" fmla="*/ 195598 w 627845"/>
                    <a:gd name="connsiteY334" fmla="*/ 146095 h 724436"/>
                    <a:gd name="connsiteX335" fmla="*/ 194994 w 627845"/>
                    <a:gd name="connsiteY335" fmla="*/ 141869 h 724436"/>
                    <a:gd name="connsiteX336" fmla="*/ 200427 w 627845"/>
                    <a:gd name="connsiteY336" fmla="*/ 138247 h 724436"/>
                    <a:gd name="connsiteX337" fmla="*/ 205257 w 627845"/>
                    <a:gd name="connsiteY337" fmla="*/ 132813 h 724436"/>
                    <a:gd name="connsiteX338" fmla="*/ 204050 w 627845"/>
                    <a:gd name="connsiteY338" fmla="*/ 129795 h 724436"/>
                    <a:gd name="connsiteX339" fmla="*/ 207672 w 627845"/>
                    <a:gd name="connsiteY339" fmla="*/ 127984 h 724436"/>
                    <a:gd name="connsiteX340" fmla="*/ 211898 w 627845"/>
                    <a:gd name="connsiteY340" fmla="*/ 127984 h 724436"/>
                    <a:gd name="connsiteX341" fmla="*/ 213105 w 627845"/>
                    <a:gd name="connsiteY341" fmla="*/ 125569 h 724436"/>
                    <a:gd name="connsiteX342" fmla="*/ 217331 w 627845"/>
                    <a:gd name="connsiteY342" fmla="*/ 124362 h 724436"/>
                    <a:gd name="connsiteX343" fmla="*/ 224575 w 627845"/>
                    <a:gd name="connsiteY343" fmla="*/ 127380 h 724436"/>
                    <a:gd name="connsiteX344" fmla="*/ 232423 w 627845"/>
                    <a:gd name="connsiteY344" fmla="*/ 133417 h 724436"/>
                    <a:gd name="connsiteX345" fmla="*/ 237253 w 627845"/>
                    <a:gd name="connsiteY345" fmla="*/ 131002 h 724436"/>
                    <a:gd name="connsiteX346" fmla="*/ 243290 w 627845"/>
                    <a:gd name="connsiteY346" fmla="*/ 130399 h 724436"/>
                    <a:gd name="connsiteX347" fmla="*/ 246912 w 627845"/>
                    <a:gd name="connsiteY347" fmla="*/ 126173 h 724436"/>
                    <a:gd name="connsiteX348" fmla="*/ 250534 w 627845"/>
                    <a:gd name="connsiteY348" fmla="*/ 124965 h 724436"/>
                    <a:gd name="connsiteX349" fmla="*/ 257175 w 627845"/>
                    <a:gd name="connsiteY349" fmla="*/ 120136 h 724436"/>
                    <a:gd name="connsiteX350" fmla="*/ 263816 w 627845"/>
                    <a:gd name="connsiteY350" fmla="*/ 120739 h 724436"/>
                    <a:gd name="connsiteX351" fmla="*/ 265023 w 627845"/>
                    <a:gd name="connsiteY351" fmla="*/ 123758 h 724436"/>
                    <a:gd name="connsiteX352" fmla="*/ 271060 w 627845"/>
                    <a:gd name="connsiteY352" fmla="*/ 120136 h 724436"/>
                    <a:gd name="connsiteX353" fmla="*/ 272267 w 627845"/>
                    <a:gd name="connsiteY353" fmla="*/ 112891 h 724436"/>
                    <a:gd name="connsiteX354" fmla="*/ 276493 w 627845"/>
                    <a:gd name="connsiteY354" fmla="*/ 111684 h 724436"/>
                    <a:gd name="connsiteX355" fmla="*/ 278908 w 627845"/>
                    <a:gd name="connsiteY355" fmla="*/ 114702 h 724436"/>
                    <a:gd name="connsiteX356" fmla="*/ 278908 w 627845"/>
                    <a:gd name="connsiteY356" fmla="*/ 118325 h 724436"/>
                    <a:gd name="connsiteX357" fmla="*/ 281927 w 627845"/>
                    <a:gd name="connsiteY357" fmla="*/ 119532 h 724436"/>
                    <a:gd name="connsiteX358" fmla="*/ 288567 w 627845"/>
                    <a:gd name="connsiteY358" fmla="*/ 112891 h 724436"/>
                    <a:gd name="connsiteX359" fmla="*/ 290982 w 627845"/>
                    <a:gd name="connsiteY359" fmla="*/ 105647 h 724436"/>
                    <a:gd name="connsiteX360" fmla="*/ 296415 w 627845"/>
                    <a:gd name="connsiteY360" fmla="*/ 102629 h 724436"/>
                    <a:gd name="connsiteX361" fmla="*/ 298226 w 627845"/>
                    <a:gd name="connsiteY361" fmla="*/ 99006 h 724436"/>
                    <a:gd name="connsiteX362" fmla="*/ 299434 w 627845"/>
                    <a:gd name="connsiteY362" fmla="*/ 91762 h 724436"/>
                    <a:gd name="connsiteX363" fmla="*/ 298226 w 627845"/>
                    <a:gd name="connsiteY363" fmla="*/ 87536 h 724436"/>
                    <a:gd name="connsiteX364" fmla="*/ 304263 w 627845"/>
                    <a:gd name="connsiteY364" fmla="*/ 87536 h 724436"/>
                    <a:gd name="connsiteX365" fmla="*/ 307282 w 627845"/>
                    <a:gd name="connsiteY365" fmla="*/ 82707 h 724436"/>
                    <a:gd name="connsiteX366" fmla="*/ 306678 w 627845"/>
                    <a:gd name="connsiteY366" fmla="*/ 77273 h 724436"/>
                    <a:gd name="connsiteX367" fmla="*/ 308489 w 627845"/>
                    <a:gd name="connsiteY367" fmla="*/ 74859 h 724436"/>
                    <a:gd name="connsiteX368" fmla="*/ 302452 w 627845"/>
                    <a:gd name="connsiteY368" fmla="*/ 70029 h 724436"/>
                    <a:gd name="connsiteX369" fmla="*/ 301849 w 627845"/>
                    <a:gd name="connsiteY369" fmla="*/ 62181 h 724436"/>
                    <a:gd name="connsiteX370" fmla="*/ 298830 w 627845"/>
                    <a:gd name="connsiteY370" fmla="*/ 58559 h 724436"/>
                    <a:gd name="connsiteX371" fmla="*/ 299434 w 627845"/>
                    <a:gd name="connsiteY371" fmla="*/ 57351 h 724436"/>
                    <a:gd name="connsiteX372" fmla="*/ 299434 w 627845"/>
                    <a:gd name="connsiteY372" fmla="*/ 56748 h 724436"/>
                    <a:gd name="connsiteX373" fmla="*/ 301245 w 627845"/>
                    <a:gd name="connsiteY373" fmla="*/ 56748 h 724436"/>
                    <a:gd name="connsiteX374" fmla="*/ 303056 w 627845"/>
                    <a:gd name="connsiteY374" fmla="*/ 57351 h 724436"/>
                    <a:gd name="connsiteX375" fmla="*/ 303660 w 627845"/>
                    <a:gd name="connsiteY375" fmla="*/ 57351 h 724436"/>
                    <a:gd name="connsiteX376" fmla="*/ 303660 w 627845"/>
                    <a:gd name="connsiteY376" fmla="*/ 57955 h 724436"/>
                    <a:gd name="connsiteX377" fmla="*/ 310904 w 627845"/>
                    <a:gd name="connsiteY377" fmla="*/ 60370 h 724436"/>
                    <a:gd name="connsiteX378" fmla="*/ 318148 w 627845"/>
                    <a:gd name="connsiteY378" fmla="*/ 61577 h 724436"/>
                    <a:gd name="connsiteX379" fmla="*/ 319356 w 627845"/>
                    <a:gd name="connsiteY379" fmla="*/ 61577 h 724436"/>
                    <a:gd name="connsiteX380" fmla="*/ 321167 w 627845"/>
                    <a:gd name="connsiteY380" fmla="*/ 60973 h 724436"/>
                    <a:gd name="connsiteX381" fmla="*/ 321771 w 627845"/>
                    <a:gd name="connsiteY381" fmla="*/ 60973 h 724436"/>
                    <a:gd name="connsiteX382" fmla="*/ 330222 w 627845"/>
                    <a:gd name="connsiteY382" fmla="*/ 57955 h 724436"/>
                    <a:gd name="connsiteX383" fmla="*/ 330222 w 627845"/>
                    <a:gd name="connsiteY383" fmla="*/ 59162 h 724436"/>
                    <a:gd name="connsiteX384" fmla="*/ 329015 w 627845"/>
                    <a:gd name="connsiteY384" fmla="*/ 63388 h 724436"/>
                    <a:gd name="connsiteX385" fmla="*/ 333844 w 627845"/>
                    <a:gd name="connsiteY385" fmla="*/ 65199 h 724436"/>
                    <a:gd name="connsiteX386" fmla="*/ 333844 w 627845"/>
                    <a:gd name="connsiteY386" fmla="*/ 70633 h 724436"/>
                    <a:gd name="connsiteX387" fmla="*/ 336863 w 627845"/>
                    <a:gd name="connsiteY387" fmla="*/ 72444 h 724436"/>
                    <a:gd name="connsiteX388" fmla="*/ 336863 w 627845"/>
                    <a:gd name="connsiteY388" fmla="*/ 71840 h 724436"/>
                    <a:gd name="connsiteX389" fmla="*/ 336863 w 627845"/>
                    <a:gd name="connsiteY389" fmla="*/ 71236 h 724436"/>
                    <a:gd name="connsiteX390" fmla="*/ 338674 w 627845"/>
                    <a:gd name="connsiteY390" fmla="*/ 68218 h 724436"/>
                    <a:gd name="connsiteX391" fmla="*/ 340485 w 627845"/>
                    <a:gd name="connsiteY391" fmla="*/ 57955 h 724436"/>
                    <a:gd name="connsiteX392" fmla="*/ 344711 w 627845"/>
                    <a:gd name="connsiteY392" fmla="*/ 52522 h 724436"/>
                    <a:gd name="connsiteX393" fmla="*/ 354974 w 627845"/>
                    <a:gd name="connsiteY393" fmla="*/ 47692 h 724436"/>
                    <a:gd name="connsiteX394" fmla="*/ 366444 w 627845"/>
                    <a:gd name="connsiteY394" fmla="*/ 45881 h 724436"/>
                    <a:gd name="connsiteX395" fmla="*/ 373689 w 627845"/>
                    <a:gd name="connsiteY395" fmla="*/ 42863 h 724436"/>
                    <a:gd name="connsiteX396" fmla="*/ 379122 w 627845"/>
                    <a:gd name="connsiteY396" fmla="*/ 38637 h 724436"/>
                    <a:gd name="connsiteX397" fmla="*/ 386366 w 627845"/>
                    <a:gd name="connsiteY397" fmla="*/ 24148 h 724436"/>
                    <a:gd name="connsiteX398" fmla="*/ 393007 w 627845"/>
                    <a:gd name="connsiteY398" fmla="*/ 24752 h 724436"/>
                    <a:gd name="connsiteX399" fmla="*/ 398440 w 627845"/>
                    <a:gd name="connsiteY399" fmla="*/ 21733 h 724436"/>
                    <a:gd name="connsiteX400" fmla="*/ 402666 w 627845"/>
                    <a:gd name="connsiteY400" fmla="*/ 16300 h 724436"/>
                    <a:gd name="connsiteX401" fmla="*/ 405081 w 627845"/>
                    <a:gd name="connsiteY401" fmla="*/ 9659 h 724436"/>
                    <a:gd name="connsiteX402" fmla="*/ 412325 w 627845"/>
                    <a:gd name="connsiteY402" fmla="*/ 0 h 724436"/>
                    <a:gd name="connsiteX403" fmla="*/ 411721 w 627845"/>
                    <a:gd name="connsiteY403" fmla="*/ 4226 h 724436"/>
                    <a:gd name="connsiteX404" fmla="*/ 409910 w 627845"/>
                    <a:gd name="connsiteY404" fmla="*/ 7848 h 724436"/>
                    <a:gd name="connsiteX405" fmla="*/ 409307 w 627845"/>
                    <a:gd name="connsiteY405" fmla="*/ 9659 h 724436"/>
                    <a:gd name="connsiteX406" fmla="*/ 408099 w 627845"/>
                    <a:gd name="connsiteY406" fmla="*/ 13281 h 724436"/>
                    <a:gd name="connsiteX407" fmla="*/ 408703 w 627845"/>
                    <a:gd name="connsiteY407" fmla="*/ 18715 h 724436"/>
                    <a:gd name="connsiteX408" fmla="*/ 421381 w 627845"/>
                    <a:gd name="connsiteY408" fmla="*/ 31392 h 724436"/>
                    <a:gd name="connsiteX409" fmla="*/ 425003 w 627845"/>
                    <a:gd name="connsiteY409" fmla="*/ 36826 h 724436"/>
                    <a:gd name="connsiteX410" fmla="*/ 423192 w 627845"/>
                    <a:gd name="connsiteY410" fmla="*/ 40448 h 724436"/>
                    <a:gd name="connsiteX411" fmla="*/ 412325 w 627845"/>
                    <a:gd name="connsiteY411" fmla="*/ 43466 h 724436"/>
                    <a:gd name="connsiteX412" fmla="*/ 406288 w 627845"/>
                    <a:gd name="connsiteY412" fmla="*/ 48296 h 724436"/>
                    <a:gd name="connsiteX413" fmla="*/ 389988 w 627845"/>
                    <a:gd name="connsiteY413" fmla="*/ 67010 h 724436"/>
                    <a:gd name="connsiteX414" fmla="*/ 388177 w 627845"/>
                    <a:gd name="connsiteY414" fmla="*/ 70633 h 724436"/>
                    <a:gd name="connsiteX415" fmla="*/ 384555 w 627845"/>
                    <a:gd name="connsiteY415" fmla="*/ 73651 h 724436"/>
                    <a:gd name="connsiteX416" fmla="*/ 371878 w 627845"/>
                    <a:gd name="connsiteY416" fmla="*/ 76066 h 724436"/>
                    <a:gd name="connsiteX417" fmla="*/ 367048 w 627845"/>
                    <a:gd name="connsiteY417" fmla="*/ 78481 h 724436"/>
                    <a:gd name="connsiteX418" fmla="*/ 361011 w 627845"/>
                    <a:gd name="connsiteY418" fmla="*/ 83310 h 724436"/>
                    <a:gd name="connsiteX419" fmla="*/ 360407 w 627845"/>
                    <a:gd name="connsiteY419" fmla="*/ 95384 h 724436"/>
                    <a:gd name="connsiteX420" fmla="*/ 367652 w 627845"/>
                    <a:gd name="connsiteY420" fmla="*/ 97799 h 724436"/>
                    <a:gd name="connsiteX421" fmla="*/ 368859 w 627845"/>
                    <a:gd name="connsiteY421" fmla="*/ 100214 h 724436"/>
                    <a:gd name="connsiteX422" fmla="*/ 367652 w 627845"/>
                    <a:gd name="connsiteY422" fmla="*/ 105043 h 724436"/>
                    <a:gd name="connsiteX423" fmla="*/ 358596 w 627845"/>
                    <a:gd name="connsiteY423" fmla="*/ 116514 h 724436"/>
                    <a:gd name="connsiteX424" fmla="*/ 351955 w 627845"/>
                    <a:gd name="connsiteY424" fmla="*/ 120739 h 724436"/>
                    <a:gd name="connsiteX425" fmla="*/ 356181 w 627845"/>
                    <a:gd name="connsiteY425" fmla="*/ 124362 h 724436"/>
                    <a:gd name="connsiteX426" fmla="*/ 366444 w 627845"/>
                    <a:gd name="connsiteY426" fmla="*/ 121947 h 724436"/>
                    <a:gd name="connsiteX427" fmla="*/ 375500 w 627845"/>
                    <a:gd name="connsiteY427" fmla="*/ 126173 h 724436"/>
                    <a:gd name="connsiteX428" fmla="*/ 379122 w 627845"/>
                    <a:gd name="connsiteY428" fmla="*/ 131606 h 724436"/>
                    <a:gd name="connsiteX429" fmla="*/ 383951 w 627845"/>
                    <a:gd name="connsiteY429" fmla="*/ 131606 h 724436"/>
                    <a:gd name="connsiteX430" fmla="*/ 392403 w 627845"/>
                    <a:gd name="connsiteY430" fmla="*/ 140058 h 724436"/>
                    <a:gd name="connsiteX431" fmla="*/ 396629 w 627845"/>
                    <a:gd name="connsiteY431" fmla="*/ 143076 h 724436"/>
                    <a:gd name="connsiteX432" fmla="*/ 405081 w 627845"/>
                    <a:gd name="connsiteY432" fmla="*/ 144887 h 724436"/>
                    <a:gd name="connsiteX433" fmla="*/ 411118 w 627845"/>
                    <a:gd name="connsiteY433" fmla="*/ 147906 h 724436"/>
                    <a:gd name="connsiteX434" fmla="*/ 417155 w 627845"/>
                    <a:gd name="connsiteY434" fmla="*/ 152735 h 724436"/>
                    <a:gd name="connsiteX435" fmla="*/ 428625 w 627845"/>
                    <a:gd name="connsiteY435" fmla="*/ 177487 h 724436"/>
                    <a:gd name="connsiteX436" fmla="*/ 429229 w 627845"/>
                    <a:gd name="connsiteY436" fmla="*/ 183524 h 724436"/>
                    <a:gd name="connsiteX437" fmla="*/ 422588 w 627845"/>
                    <a:gd name="connsiteY437" fmla="*/ 184731 h 724436"/>
                    <a:gd name="connsiteX438" fmla="*/ 425607 w 627845"/>
                    <a:gd name="connsiteY438" fmla="*/ 192579 h 724436"/>
                    <a:gd name="connsiteX439" fmla="*/ 427418 w 627845"/>
                    <a:gd name="connsiteY439" fmla="*/ 193787 h 724436"/>
                    <a:gd name="connsiteX440" fmla="*/ 434058 w 627845"/>
                    <a:gd name="connsiteY440" fmla="*/ 211898 h 724436"/>
                    <a:gd name="connsiteX441" fmla="*/ 434058 w 627845"/>
                    <a:gd name="connsiteY441" fmla="*/ 214313 h 724436"/>
                    <a:gd name="connsiteX442" fmla="*/ 437680 w 627845"/>
                    <a:gd name="connsiteY442" fmla="*/ 217935 h 724436"/>
                    <a:gd name="connsiteX443" fmla="*/ 439492 w 627845"/>
                    <a:gd name="connsiteY443" fmla="*/ 222161 h 724436"/>
                    <a:gd name="connsiteX444" fmla="*/ 439492 w 627845"/>
                    <a:gd name="connsiteY444" fmla="*/ 226386 h 724436"/>
                    <a:gd name="connsiteX445" fmla="*/ 443717 w 627845"/>
                    <a:gd name="connsiteY445" fmla="*/ 233631 h 724436"/>
                    <a:gd name="connsiteX446" fmla="*/ 447943 w 627845"/>
                    <a:gd name="connsiteY446" fmla="*/ 236649 h 724436"/>
                    <a:gd name="connsiteX447" fmla="*/ 447943 w 627845"/>
                    <a:gd name="connsiteY447" fmla="*/ 239668 h 724436"/>
                    <a:gd name="connsiteX448" fmla="*/ 455791 w 627845"/>
                    <a:gd name="connsiteY448" fmla="*/ 252949 h 724436"/>
                    <a:gd name="connsiteX449" fmla="*/ 457602 w 627845"/>
                    <a:gd name="connsiteY449" fmla="*/ 257175 h 724436"/>
                    <a:gd name="connsiteX450" fmla="*/ 461225 w 627845"/>
                    <a:gd name="connsiteY450" fmla="*/ 262608 h 724436"/>
                    <a:gd name="connsiteX451" fmla="*/ 465451 w 627845"/>
                    <a:gd name="connsiteY451" fmla="*/ 275286 h 724436"/>
                    <a:gd name="connsiteX452" fmla="*/ 468469 w 627845"/>
                    <a:gd name="connsiteY452" fmla="*/ 278304 h 724436"/>
                    <a:gd name="connsiteX453" fmla="*/ 470884 w 627845"/>
                    <a:gd name="connsiteY453" fmla="*/ 284945 h 724436"/>
                    <a:gd name="connsiteX454" fmla="*/ 466658 w 627845"/>
                    <a:gd name="connsiteY454" fmla="*/ 290378 h 724436"/>
                    <a:gd name="connsiteX455" fmla="*/ 467262 w 627845"/>
                    <a:gd name="connsiteY455" fmla="*/ 297019 h 724436"/>
                    <a:gd name="connsiteX456" fmla="*/ 473299 w 627845"/>
                    <a:gd name="connsiteY456" fmla="*/ 300038 h 724436"/>
                    <a:gd name="connsiteX457" fmla="*/ 474506 w 627845"/>
                    <a:gd name="connsiteY457" fmla="*/ 308489 h 724436"/>
                    <a:gd name="connsiteX458" fmla="*/ 481147 w 627845"/>
                    <a:gd name="connsiteY458" fmla="*/ 308489 h 724436"/>
                    <a:gd name="connsiteX459" fmla="*/ 484769 w 627845"/>
                    <a:gd name="connsiteY459" fmla="*/ 306678 h 724436"/>
                    <a:gd name="connsiteX460" fmla="*/ 491409 w 627845"/>
                    <a:gd name="connsiteY460" fmla="*/ 306678 h 724436"/>
                    <a:gd name="connsiteX461" fmla="*/ 492617 w 627845"/>
                    <a:gd name="connsiteY461" fmla="*/ 308489 h 724436"/>
                    <a:gd name="connsiteX462" fmla="*/ 498654 w 627845"/>
                    <a:gd name="connsiteY462" fmla="*/ 306075 h 724436"/>
                    <a:gd name="connsiteX463" fmla="*/ 501069 w 627845"/>
                    <a:gd name="connsiteY463" fmla="*/ 303660 h 724436"/>
                    <a:gd name="connsiteX464" fmla="*/ 499861 w 627845"/>
                    <a:gd name="connsiteY464" fmla="*/ 300038 h 724436"/>
                    <a:gd name="connsiteX465" fmla="*/ 507106 w 627845"/>
                    <a:gd name="connsiteY465" fmla="*/ 298830 h 724436"/>
                    <a:gd name="connsiteX466" fmla="*/ 506502 w 627845"/>
                    <a:gd name="connsiteY466" fmla="*/ 290982 h 724436"/>
                    <a:gd name="connsiteX467" fmla="*/ 504087 w 627845"/>
                    <a:gd name="connsiteY467" fmla="*/ 290378 h 724436"/>
                    <a:gd name="connsiteX468" fmla="*/ 504087 w 627845"/>
                    <a:gd name="connsiteY468" fmla="*/ 285549 h 724436"/>
                    <a:gd name="connsiteX469" fmla="*/ 510124 w 627845"/>
                    <a:gd name="connsiteY469" fmla="*/ 284341 h 724436"/>
                    <a:gd name="connsiteX470" fmla="*/ 512539 w 627845"/>
                    <a:gd name="connsiteY470" fmla="*/ 281927 h 724436"/>
                    <a:gd name="connsiteX471" fmla="*/ 513746 w 627845"/>
                    <a:gd name="connsiteY471" fmla="*/ 275890 h 724436"/>
                    <a:gd name="connsiteX472" fmla="*/ 519180 w 627845"/>
                    <a:gd name="connsiteY472" fmla="*/ 286756 h 724436"/>
                    <a:gd name="connsiteX473" fmla="*/ 519180 w 627845"/>
                    <a:gd name="connsiteY473" fmla="*/ 290982 h 724436"/>
                    <a:gd name="connsiteX474" fmla="*/ 527028 w 627845"/>
                    <a:gd name="connsiteY474" fmla="*/ 303660 h 724436"/>
                    <a:gd name="connsiteX475" fmla="*/ 531254 w 627845"/>
                    <a:gd name="connsiteY475" fmla="*/ 308489 h 724436"/>
                    <a:gd name="connsiteX476" fmla="*/ 534876 w 627845"/>
                    <a:gd name="connsiteY476" fmla="*/ 307282 h 724436"/>
                    <a:gd name="connsiteX477" fmla="*/ 539705 w 627845"/>
                    <a:gd name="connsiteY477" fmla="*/ 316337 h 724436"/>
                    <a:gd name="connsiteX478" fmla="*/ 543931 w 627845"/>
                    <a:gd name="connsiteY478" fmla="*/ 314526 h 724436"/>
                    <a:gd name="connsiteX479" fmla="*/ 551176 w 627845"/>
                    <a:gd name="connsiteY479" fmla="*/ 320563 h 724436"/>
                    <a:gd name="connsiteX480" fmla="*/ 556609 w 627845"/>
                    <a:gd name="connsiteY480" fmla="*/ 314526 h 724436"/>
                    <a:gd name="connsiteX481" fmla="*/ 562646 w 627845"/>
                    <a:gd name="connsiteY481" fmla="*/ 321771 h 724436"/>
                    <a:gd name="connsiteX482" fmla="*/ 557212 w 627845"/>
                    <a:gd name="connsiteY482" fmla="*/ 327808 h 724436"/>
                    <a:gd name="connsiteX483" fmla="*/ 559627 w 627845"/>
                    <a:gd name="connsiteY483" fmla="*/ 330222 h 724436"/>
                    <a:gd name="connsiteX484" fmla="*/ 565664 w 627845"/>
                    <a:gd name="connsiteY484" fmla="*/ 327204 h 724436"/>
                    <a:gd name="connsiteX485" fmla="*/ 569890 w 627845"/>
                    <a:gd name="connsiteY485" fmla="*/ 330826 h 724436"/>
                    <a:gd name="connsiteX486" fmla="*/ 565061 w 627845"/>
                    <a:gd name="connsiteY486" fmla="*/ 333241 h 724436"/>
                    <a:gd name="connsiteX487" fmla="*/ 560231 w 627845"/>
                    <a:gd name="connsiteY487" fmla="*/ 338070 h 724436"/>
                    <a:gd name="connsiteX488" fmla="*/ 560231 w 627845"/>
                    <a:gd name="connsiteY488" fmla="*/ 344711 h 724436"/>
                    <a:gd name="connsiteX489" fmla="*/ 562042 w 627845"/>
                    <a:gd name="connsiteY489" fmla="*/ 345919 h 724436"/>
                    <a:gd name="connsiteX490" fmla="*/ 560231 w 627845"/>
                    <a:gd name="connsiteY490" fmla="*/ 351352 h 724436"/>
                    <a:gd name="connsiteX491" fmla="*/ 567475 w 627845"/>
                    <a:gd name="connsiteY491" fmla="*/ 355578 h 724436"/>
                    <a:gd name="connsiteX492" fmla="*/ 563249 w 627845"/>
                    <a:gd name="connsiteY492" fmla="*/ 363426 h 724436"/>
                    <a:gd name="connsiteX493" fmla="*/ 564457 w 627845"/>
                    <a:gd name="connsiteY493" fmla="*/ 367652 h 724436"/>
                    <a:gd name="connsiteX494" fmla="*/ 562042 w 627845"/>
                    <a:gd name="connsiteY494" fmla="*/ 369463 h 724436"/>
                    <a:gd name="connsiteX495" fmla="*/ 565061 w 627845"/>
                    <a:gd name="connsiteY495" fmla="*/ 377311 h 724436"/>
                    <a:gd name="connsiteX496" fmla="*/ 564457 w 627845"/>
                    <a:gd name="connsiteY496" fmla="*/ 381537 h 724436"/>
                    <a:gd name="connsiteX497" fmla="*/ 573512 w 627845"/>
                    <a:gd name="connsiteY497" fmla="*/ 386970 h 724436"/>
                    <a:gd name="connsiteX498" fmla="*/ 576531 w 627845"/>
                    <a:gd name="connsiteY498" fmla="*/ 389385 h 724436"/>
                    <a:gd name="connsiteX499" fmla="*/ 581964 w 627845"/>
                    <a:gd name="connsiteY499" fmla="*/ 388781 h 724436"/>
                    <a:gd name="connsiteX500" fmla="*/ 585586 w 627845"/>
                    <a:gd name="connsiteY500" fmla="*/ 391196 h 724436"/>
                    <a:gd name="connsiteX501" fmla="*/ 588605 w 627845"/>
                    <a:gd name="connsiteY501" fmla="*/ 396629 h 724436"/>
                    <a:gd name="connsiteX502" fmla="*/ 592831 w 627845"/>
                    <a:gd name="connsiteY502" fmla="*/ 399044 h 724436"/>
                    <a:gd name="connsiteX503" fmla="*/ 597660 w 627845"/>
                    <a:gd name="connsiteY503" fmla="*/ 405081 h 724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Lst>
                  <a:rect l="l" t="t" r="r" b="b"/>
                  <a:pathLst>
                    <a:path w="627845" h="724436">
                      <a:moveTo>
                        <a:pt x="597660" y="405081"/>
                      </a:moveTo>
                      <a:lnTo>
                        <a:pt x="595849" y="408099"/>
                      </a:lnTo>
                      <a:lnTo>
                        <a:pt x="597057" y="411722"/>
                      </a:lnTo>
                      <a:lnTo>
                        <a:pt x="603697" y="420173"/>
                      </a:lnTo>
                      <a:lnTo>
                        <a:pt x="609130" y="422588"/>
                      </a:lnTo>
                      <a:lnTo>
                        <a:pt x="610338" y="429229"/>
                      </a:lnTo>
                      <a:lnTo>
                        <a:pt x="613356" y="432247"/>
                      </a:lnTo>
                      <a:lnTo>
                        <a:pt x="609734" y="438888"/>
                      </a:lnTo>
                      <a:lnTo>
                        <a:pt x="602490" y="438284"/>
                      </a:lnTo>
                      <a:lnTo>
                        <a:pt x="604301" y="435869"/>
                      </a:lnTo>
                      <a:lnTo>
                        <a:pt x="604301" y="434662"/>
                      </a:lnTo>
                      <a:lnTo>
                        <a:pt x="603093" y="434058"/>
                      </a:lnTo>
                      <a:lnTo>
                        <a:pt x="599471" y="436473"/>
                      </a:lnTo>
                      <a:lnTo>
                        <a:pt x="598264" y="434662"/>
                      </a:lnTo>
                      <a:lnTo>
                        <a:pt x="598868" y="434058"/>
                      </a:lnTo>
                      <a:lnTo>
                        <a:pt x="597057" y="431644"/>
                      </a:lnTo>
                      <a:lnTo>
                        <a:pt x="593434" y="431040"/>
                      </a:lnTo>
                      <a:lnTo>
                        <a:pt x="592227" y="431644"/>
                      </a:lnTo>
                      <a:lnTo>
                        <a:pt x="591020" y="432247"/>
                      </a:lnTo>
                      <a:lnTo>
                        <a:pt x="591020" y="432851"/>
                      </a:lnTo>
                      <a:lnTo>
                        <a:pt x="590416" y="434662"/>
                      </a:lnTo>
                      <a:lnTo>
                        <a:pt x="589209" y="435869"/>
                      </a:lnTo>
                      <a:lnTo>
                        <a:pt x="586794" y="437680"/>
                      </a:lnTo>
                      <a:lnTo>
                        <a:pt x="581360" y="440095"/>
                      </a:lnTo>
                      <a:lnTo>
                        <a:pt x="581360" y="440699"/>
                      </a:lnTo>
                      <a:lnTo>
                        <a:pt x="584983" y="446132"/>
                      </a:lnTo>
                      <a:lnTo>
                        <a:pt x="586190" y="450962"/>
                      </a:lnTo>
                      <a:lnTo>
                        <a:pt x="588605" y="452773"/>
                      </a:lnTo>
                      <a:lnTo>
                        <a:pt x="588001" y="453377"/>
                      </a:lnTo>
                      <a:lnTo>
                        <a:pt x="589812" y="455188"/>
                      </a:lnTo>
                      <a:lnTo>
                        <a:pt x="591020" y="456999"/>
                      </a:lnTo>
                      <a:lnTo>
                        <a:pt x="592227" y="456395"/>
                      </a:lnTo>
                      <a:lnTo>
                        <a:pt x="602490" y="461828"/>
                      </a:lnTo>
                      <a:lnTo>
                        <a:pt x="604905" y="458810"/>
                      </a:lnTo>
                      <a:lnTo>
                        <a:pt x="606112" y="458206"/>
                      </a:lnTo>
                      <a:lnTo>
                        <a:pt x="607923" y="457603"/>
                      </a:lnTo>
                      <a:lnTo>
                        <a:pt x="607319" y="463640"/>
                      </a:lnTo>
                      <a:lnTo>
                        <a:pt x="616978" y="461225"/>
                      </a:lnTo>
                      <a:lnTo>
                        <a:pt x="615771" y="468469"/>
                      </a:lnTo>
                      <a:lnTo>
                        <a:pt x="618790" y="468469"/>
                      </a:lnTo>
                      <a:lnTo>
                        <a:pt x="624223" y="473299"/>
                      </a:lnTo>
                      <a:lnTo>
                        <a:pt x="627241" y="478128"/>
                      </a:lnTo>
                      <a:lnTo>
                        <a:pt x="624223" y="486580"/>
                      </a:lnTo>
                      <a:lnTo>
                        <a:pt x="624827" y="490202"/>
                      </a:lnTo>
                      <a:lnTo>
                        <a:pt x="621204" y="492617"/>
                      </a:lnTo>
                      <a:lnTo>
                        <a:pt x="628449" y="496239"/>
                      </a:lnTo>
                      <a:lnTo>
                        <a:pt x="626638" y="503483"/>
                      </a:lnTo>
                      <a:lnTo>
                        <a:pt x="623015" y="504691"/>
                      </a:lnTo>
                      <a:lnTo>
                        <a:pt x="623015" y="513143"/>
                      </a:lnTo>
                      <a:lnTo>
                        <a:pt x="622412" y="517369"/>
                      </a:lnTo>
                      <a:lnTo>
                        <a:pt x="624827" y="519180"/>
                      </a:lnTo>
                      <a:lnTo>
                        <a:pt x="626034" y="525217"/>
                      </a:lnTo>
                      <a:lnTo>
                        <a:pt x="629656" y="528839"/>
                      </a:lnTo>
                      <a:lnTo>
                        <a:pt x="623619" y="534876"/>
                      </a:lnTo>
                      <a:lnTo>
                        <a:pt x="619393" y="534876"/>
                      </a:lnTo>
                      <a:lnTo>
                        <a:pt x="619997" y="530046"/>
                      </a:lnTo>
                      <a:lnTo>
                        <a:pt x="617582" y="527631"/>
                      </a:lnTo>
                      <a:lnTo>
                        <a:pt x="616978" y="524009"/>
                      </a:lnTo>
                      <a:lnTo>
                        <a:pt x="613356" y="522802"/>
                      </a:lnTo>
                      <a:lnTo>
                        <a:pt x="610338" y="517972"/>
                      </a:lnTo>
                      <a:lnTo>
                        <a:pt x="605508" y="523406"/>
                      </a:lnTo>
                      <a:lnTo>
                        <a:pt x="599471" y="522802"/>
                      </a:lnTo>
                      <a:lnTo>
                        <a:pt x="593434" y="519783"/>
                      </a:lnTo>
                      <a:lnTo>
                        <a:pt x="588001" y="520991"/>
                      </a:lnTo>
                      <a:lnTo>
                        <a:pt x="588605" y="525217"/>
                      </a:lnTo>
                      <a:lnTo>
                        <a:pt x="583172" y="527631"/>
                      </a:lnTo>
                      <a:lnTo>
                        <a:pt x="591020" y="536083"/>
                      </a:lnTo>
                      <a:lnTo>
                        <a:pt x="582568" y="543931"/>
                      </a:lnTo>
                      <a:lnTo>
                        <a:pt x="577135" y="545742"/>
                      </a:lnTo>
                      <a:lnTo>
                        <a:pt x="575323" y="549968"/>
                      </a:lnTo>
                      <a:lnTo>
                        <a:pt x="572909" y="549968"/>
                      </a:lnTo>
                      <a:lnTo>
                        <a:pt x="565664" y="556005"/>
                      </a:lnTo>
                      <a:lnTo>
                        <a:pt x="558420" y="557213"/>
                      </a:lnTo>
                      <a:lnTo>
                        <a:pt x="551176" y="560231"/>
                      </a:lnTo>
                      <a:lnTo>
                        <a:pt x="551779" y="565664"/>
                      </a:lnTo>
                      <a:lnTo>
                        <a:pt x="557212" y="560835"/>
                      </a:lnTo>
                      <a:lnTo>
                        <a:pt x="560231" y="560835"/>
                      </a:lnTo>
                      <a:lnTo>
                        <a:pt x="565061" y="568079"/>
                      </a:lnTo>
                      <a:lnTo>
                        <a:pt x="563249" y="570494"/>
                      </a:lnTo>
                      <a:lnTo>
                        <a:pt x="570494" y="572305"/>
                      </a:lnTo>
                      <a:lnTo>
                        <a:pt x="570494" y="577738"/>
                      </a:lnTo>
                      <a:lnTo>
                        <a:pt x="566872" y="580757"/>
                      </a:lnTo>
                      <a:lnTo>
                        <a:pt x="568683" y="589209"/>
                      </a:lnTo>
                      <a:lnTo>
                        <a:pt x="568079" y="595245"/>
                      </a:lnTo>
                      <a:lnTo>
                        <a:pt x="566268" y="598868"/>
                      </a:lnTo>
                      <a:lnTo>
                        <a:pt x="560231" y="602490"/>
                      </a:lnTo>
                      <a:lnTo>
                        <a:pt x="552987" y="598264"/>
                      </a:lnTo>
                      <a:lnTo>
                        <a:pt x="548761" y="601886"/>
                      </a:lnTo>
                      <a:lnTo>
                        <a:pt x="542120" y="603093"/>
                      </a:lnTo>
                      <a:lnTo>
                        <a:pt x="539705" y="598264"/>
                      </a:lnTo>
                      <a:lnTo>
                        <a:pt x="531857" y="597660"/>
                      </a:lnTo>
                      <a:lnTo>
                        <a:pt x="530650" y="592227"/>
                      </a:lnTo>
                      <a:lnTo>
                        <a:pt x="526424" y="586190"/>
                      </a:lnTo>
                      <a:lnTo>
                        <a:pt x="527028" y="578946"/>
                      </a:lnTo>
                      <a:lnTo>
                        <a:pt x="525217" y="574720"/>
                      </a:lnTo>
                      <a:lnTo>
                        <a:pt x="520991" y="574116"/>
                      </a:lnTo>
                      <a:lnTo>
                        <a:pt x="517368" y="577738"/>
                      </a:lnTo>
                      <a:lnTo>
                        <a:pt x="521594" y="583775"/>
                      </a:lnTo>
                      <a:lnTo>
                        <a:pt x="517972" y="586794"/>
                      </a:lnTo>
                      <a:lnTo>
                        <a:pt x="519180" y="591020"/>
                      </a:lnTo>
                      <a:lnTo>
                        <a:pt x="513746" y="591020"/>
                      </a:lnTo>
                      <a:lnTo>
                        <a:pt x="510728" y="585586"/>
                      </a:lnTo>
                      <a:lnTo>
                        <a:pt x="505898" y="586190"/>
                      </a:lnTo>
                      <a:lnTo>
                        <a:pt x="510728" y="591020"/>
                      </a:lnTo>
                      <a:lnTo>
                        <a:pt x="506502" y="595245"/>
                      </a:lnTo>
                      <a:lnTo>
                        <a:pt x="503483" y="595849"/>
                      </a:lnTo>
                      <a:lnTo>
                        <a:pt x="499257" y="593434"/>
                      </a:lnTo>
                      <a:lnTo>
                        <a:pt x="496239" y="594642"/>
                      </a:lnTo>
                      <a:lnTo>
                        <a:pt x="490806" y="593434"/>
                      </a:lnTo>
                      <a:lnTo>
                        <a:pt x="482354" y="584379"/>
                      </a:lnTo>
                      <a:lnTo>
                        <a:pt x="482354" y="589209"/>
                      </a:lnTo>
                      <a:lnTo>
                        <a:pt x="481147" y="591020"/>
                      </a:lnTo>
                      <a:lnTo>
                        <a:pt x="486580" y="595849"/>
                      </a:lnTo>
                      <a:lnTo>
                        <a:pt x="490806" y="596453"/>
                      </a:lnTo>
                      <a:lnTo>
                        <a:pt x="485976" y="602490"/>
                      </a:lnTo>
                      <a:lnTo>
                        <a:pt x="479939" y="613356"/>
                      </a:lnTo>
                      <a:lnTo>
                        <a:pt x="477525" y="620601"/>
                      </a:lnTo>
                      <a:lnTo>
                        <a:pt x="480543" y="635090"/>
                      </a:lnTo>
                      <a:lnTo>
                        <a:pt x="475713" y="634486"/>
                      </a:lnTo>
                      <a:lnTo>
                        <a:pt x="473299" y="638712"/>
                      </a:lnTo>
                      <a:lnTo>
                        <a:pt x="476317" y="639919"/>
                      </a:lnTo>
                      <a:lnTo>
                        <a:pt x="476317" y="646560"/>
                      </a:lnTo>
                      <a:lnTo>
                        <a:pt x="479336" y="648975"/>
                      </a:lnTo>
                      <a:lnTo>
                        <a:pt x="485373" y="648975"/>
                      </a:lnTo>
                      <a:lnTo>
                        <a:pt x="488391" y="652597"/>
                      </a:lnTo>
                      <a:lnTo>
                        <a:pt x="485976" y="656219"/>
                      </a:lnTo>
                      <a:lnTo>
                        <a:pt x="478732" y="658634"/>
                      </a:lnTo>
                      <a:lnTo>
                        <a:pt x="473299" y="664671"/>
                      </a:lnTo>
                      <a:lnTo>
                        <a:pt x="467262" y="665274"/>
                      </a:lnTo>
                      <a:lnTo>
                        <a:pt x="463036" y="670104"/>
                      </a:lnTo>
                      <a:lnTo>
                        <a:pt x="458206" y="666482"/>
                      </a:lnTo>
                      <a:lnTo>
                        <a:pt x="454584" y="667689"/>
                      </a:lnTo>
                      <a:lnTo>
                        <a:pt x="453980" y="673726"/>
                      </a:lnTo>
                      <a:lnTo>
                        <a:pt x="450962" y="675537"/>
                      </a:lnTo>
                      <a:lnTo>
                        <a:pt x="447340" y="681574"/>
                      </a:lnTo>
                      <a:lnTo>
                        <a:pt x="443717" y="679763"/>
                      </a:lnTo>
                      <a:lnTo>
                        <a:pt x="439492" y="680971"/>
                      </a:lnTo>
                      <a:lnTo>
                        <a:pt x="432851" y="685196"/>
                      </a:lnTo>
                      <a:lnTo>
                        <a:pt x="425003" y="685196"/>
                      </a:lnTo>
                      <a:lnTo>
                        <a:pt x="420777" y="683989"/>
                      </a:lnTo>
                      <a:lnTo>
                        <a:pt x="417758" y="679763"/>
                      </a:lnTo>
                      <a:lnTo>
                        <a:pt x="414136" y="681574"/>
                      </a:lnTo>
                      <a:lnTo>
                        <a:pt x="410514" y="680367"/>
                      </a:lnTo>
                      <a:lnTo>
                        <a:pt x="406288" y="674934"/>
                      </a:lnTo>
                      <a:lnTo>
                        <a:pt x="401459" y="665274"/>
                      </a:lnTo>
                      <a:lnTo>
                        <a:pt x="396629" y="667689"/>
                      </a:lnTo>
                      <a:lnTo>
                        <a:pt x="391799" y="662860"/>
                      </a:lnTo>
                      <a:lnTo>
                        <a:pt x="386970" y="666482"/>
                      </a:lnTo>
                      <a:lnTo>
                        <a:pt x="377914" y="667085"/>
                      </a:lnTo>
                      <a:lnTo>
                        <a:pt x="376103" y="679763"/>
                      </a:lnTo>
                      <a:lnTo>
                        <a:pt x="372481" y="679159"/>
                      </a:lnTo>
                      <a:lnTo>
                        <a:pt x="370066" y="675537"/>
                      </a:lnTo>
                      <a:lnTo>
                        <a:pt x="361615" y="675537"/>
                      </a:lnTo>
                      <a:lnTo>
                        <a:pt x="361011" y="680367"/>
                      </a:lnTo>
                      <a:lnTo>
                        <a:pt x="348937" y="682178"/>
                      </a:lnTo>
                      <a:lnTo>
                        <a:pt x="347126" y="677348"/>
                      </a:lnTo>
                      <a:lnTo>
                        <a:pt x="336863" y="675537"/>
                      </a:lnTo>
                      <a:lnTo>
                        <a:pt x="324185" y="667085"/>
                      </a:lnTo>
                      <a:lnTo>
                        <a:pt x="324185" y="672519"/>
                      </a:lnTo>
                      <a:lnTo>
                        <a:pt x="314526" y="678556"/>
                      </a:lnTo>
                      <a:lnTo>
                        <a:pt x="311508" y="684593"/>
                      </a:lnTo>
                      <a:lnTo>
                        <a:pt x="310904" y="690026"/>
                      </a:lnTo>
                      <a:lnTo>
                        <a:pt x="307282" y="690026"/>
                      </a:lnTo>
                      <a:lnTo>
                        <a:pt x="301245" y="695459"/>
                      </a:lnTo>
                      <a:lnTo>
                        <a:pt x="303660" y="699685"/>
                      </a:lnTo>
                      <a:lnTo>
                        <a:pt x="298226" y="699685"/>
                      </a:lnTo>
                      <a:lnTo>
                        <a:pt x="295812" y="708740"/>
                      </a:lnTo>
                      <a:lnTo>
                        <a:pt x="292189" y="711759"/>
                      </a:lnTo>
                      <a:lnTo>
                        <a:pt x="290378" y="715985"/>
                      </a:lnTo>
                      <a:lnTo>
                        <a:pt x="295208" y="719607"/>
                      </a:lnTo>
                      <a:lnTo>
                        <a:pt x="292793" y="725644"/>
                      </a:lnTo>
                      <a:lnTo>
                        <a:pt x="281927" y="728059"/>
                      </a:lnTo>
                      <a:lnTo>
                        <a:pt x="275890" y="720814"/>
                      </a:lnTo>
                      <a:lnTo>
                        <a:pt x="278304" y="714777"/>
                      </a:lnTo>
                      <a:lnTo>
                        <a:pt x="273475" y="711155"/>
                      </a:lnTo>
                      <a:lnTo>
                        <a:pt x="268042" y="709344"/>
                      </a:lnTo>
                      <a:lnTo>
                        <a:pt x="268042" y="705118"/>
                      </a:lnTo>
                      <a:lnTo>
                        <a:pt x="265627" y="700289"/>
                      </a:lnTo>
                      <a:lnTo>
                        <a:pt x="271664" y="697270"/>
                      </a:lnTo>
                      <a:lnTo>
                        <a:pt x="273475" y="693648"/>
                      </a:lnTo>
                      <a:lnTo>
                        <a:pt x="271060" y="690026"/>
                      </a:lnTo>
                      <a:lnTo>
                        <a:pt x="273475" y="685800"/>
                      </a:lnTo>
                      <a:lnTo>
                        <a:pt x="278304" y="685196"/>
                      </a:lnTo>
                      <a:lnTo>
                        <a:pt x="280115" y="680367"/>
                      </a:lnTo>
                      <a:lnTo>
                        <a:pt x="276493" y="672519"/>
                      </a:lnTo>
                      <a:lnTo>
                        <a:pt x="273475" y="670104"/>
                      </a:lnTo>
                      <a:lnTo>
                        <a:pt x="274079" y="662256"/>
                      </a:lnTo>
                      <a:lnTo>
                        <a:pt x="270456" y="659841"/>
                      </a:lnTo>
                      <a:lnTo>
                        <a:pt x="264419" y="664671"/>
                      </a:lnTo>
                      <a:lnTo>
                        <a:pt x="263212" y="671311"/>
                      </a:lnTo>
                      <a:lnTo>
                        <a:pt x="259590" y="672519"/>
                      </a:lnTo>
                      <a:lnTo>
                        <a:pt x="258382" y="667689"/>
                      </a:lnTo>
                      <a:lnTo>
                        <a:pt x="253553" y="668293"/>
                      </a:lnTo>
                      <a:lnTo>
                        <a:pt x="251742" y="664671"/>
                      </a:lnTo>
                      <a:lnTo>
                        <a:pt x="254156" y="659841"/>
                      </a:lnTo>
                      <a:lnTo>
                        <a:pt x="250534" y="658634"/>
                      </a:lnTo>
                      <a:lnTo>
                        <a:pt x="249931" y="655011"/>
                      </a:lnTo>
                      <a:lnTo>
                        <a:pt x="253553" y="653200"/>
                      </a:lnTo>
                      <a:lnTo>
                        <a:pt x="253553" y="645956"/>
                      </a:lnTo>
                      <a:lnTo>
                        <a:pt x="248723" y="642334"/>
                      </a:lnTo>
                      <a:lnTo>
                        <a:pt x="246308" y="650182"/>
                      </a:lnTo>
                      <a:lnTo>
                        <a:pt x="240271" y="649578"/>
                      </a:lnTo>
                      <a:lnTo>
                        <a:pt x="235442" y="653804"/>
                      </a:lnTo>
                      <a:lnTo>
                        <a:pt x="230612" y="655615"/>
                      </a:lnTo>
                      <a:lnTo>
                        <a:pt x="226386" y="650182"/>
                      </a:lnTo>
                      <a:lnTo>
                        <a:pt x="226386" y="647767"/>
                      </a:lnTo>
                      <a:lnTo>
                        <a:pt x="220953" y="644749"/>
                      </a:lnTo>
                      <a:lnTo>
                        <a:pt x="216727" y="635693"/>
                      </a:lnTo>
                      <a:lnTo>
                        <a:pt x="206464" y="631467"/>
                      </a:lnTo>
                      <a:lnTo>
                        <a:pt x="201635" y="631467"/>
                      </a:lnTo>
                      <a:lnTo>
                        <a:pt x="195598" y="627845"/>
                      </a:lnTo>
                      <a:lnTo>
                        <a:pt x="191372" y="623619"/>
                      </a:lnTo>
                      <a:lnTo>
                        <a:pt x="186542" y="627845"/>
                      </a:lnTo>
                      <a:lnTo>
                        <a:pt x="178694" y="629053"/>
                      </a:lnTo>
                      <a:lnTo>
                        <a:pt x="175676" y="630864"/>
                      </a:lnTo>
                      <a:lnTo>
                        <a:pt x="169639" y="628449"/>
                      </a:lnTo>
                      <a:lnTo>
                        <a:pt x="166620" y="633882"/>
                      </a:lnTo>
                      <a:lnTo>
                        <a:pt x="158169" y="639919"/>
                      </a:lnTo>
                      <a:lnTo>
                        <a:pt x="158169" y="644145"/>
                      </a:lnTo>
                      <a:lnTo>
                        <a:pt x="147302" y="641730"/>
                      </a:lnTo>
                      <a:lnTo>
                        <a:pt x="144284" y="639315"/>
                      </a:lnTo>
                      <a:lnTo>
                        <a:pt x="133417" y="635090"/>
                      </a:lnTo>
                      <a:lnTo>
                        <a:pt x="122550" y="634486"/>
                      </a:lnTo>
                      <a:lnTo>
                        <a:pt x="114702" y="633882"/>
                      </a:lnTo>
                      <a:lnTo>
                        <a:pt x="109873" y="633882"/>
                      </a:lnTo>
                      <a:lnTo>
                        <a:pt x="86329" y="632071"/>
                      </a:lnTo>
                      <a:lnTo>
                        <a:pt x="78481" y="632071"/>
                      </a:lnTo>
                      <a:lnTo>
                        <a:pt x="40448" y="629053"/>
                      </a:lnTo>
                      <a:lnTo>
                        <a:pt x="12678" y="628449"/>
                      </a:lnTo>
                      <a:lnTo>
                        <a:pt x="4226" y="628449"/>
                      </a:lnTo>
                      <a:lnTo>
                        <a:pt x="1811" y="622412"/>
                      </a:lnTo>
                      <a:lnTo>
                        <a:pt x="5433" y="608527"/>
                      </a:lnTo>
                      <a:lnTo>
                        <a:pt x="9659" y="605508"/>
                      </a:lnTo>
                      <a:lnTo>
                        <a:pt x="18715" y="591020"/>
                      </a:lnTo>
                      <a:lnTo>
                        <a:pt x="18111" y="587398"/>
                      </a:lnTo>
                      <a:lnTo>
                        <a:pt x="19318" y="575324"/>
                      </a:lnTo>
                      <a:lnTo>
                        <a:pt x="17507" y="559024"/>
                      </a:lnTo>
                      <a:lnTo>
                        <a:pt x="12678" y="549364"/>
                      </a:lnTo>
                      <a:lnTo>
                        <a:pt x="5433" y="538498"/>
                      </a:lnTo>
                      <a:lnTo>
                        <a:pt x="604" y="535480"/>
                      </a:lnTo>
                      <a:lnTo>
                        <a:pt x="0" y="530046"/>
                      </a:lnTo>
                      <a:lnTo>
                        <a:pt x="6641" y="522198"/>
                      </a:lnTo>
                      <a:lnTo>
                        <a:pt x="11470" y="520991"/>
                      </a:lnTo>
                      <a:lnTo>
                        <a:pt x="13281" y="516161"/>
                      </a:lnTo>
                      <a:lnTo>
                        <a:pt x="12678" y="511935"/>
                      </a:lnTo>
                      <a:lnTo>
                        <a:pt x="18715" y="512539"/>
                      </a:lnTo>
                      <a:lnTo>
                        <a:pt x="20526" y="505295"/>
                      </a:lnTo>
                      <a:lnTo>
                        <a:pt x="24148" y="501069"/>
                      </a:lnTo>
                      <a:lnTo>
                        <a:pt x="31996" y="496239"/>
                      </a:lnTo>
                      <a:lnTo>
                        <a:pt x="35014" y="493221"/>
                      </a:lnTo>
                      <a:lnTo>
                        <a:pt x="38033" y="496843"/>
                      </a:lnTo>
                      <a:lnTo>
                        <a:pt x="42259" y="495032"/>
                      </a:lnTo>
                      <a:lnTo>
                        <a:pt x="44070" y="491409"/>
                      </a:lnTo>
                      <a:lnTo>
                        <a:pt x="40448" y="488995"/>
                      </a:lnTo>
                      <a:lnTo>
                        <a:pt x="45277" y="484769"/>
                      </a:lnTo>
                      <a:lnTo>
                        <a:pt x="45277" y="478732"/>
                      </a:lnTo>
                      <a:lnTo>
                        <a:pt x="51918" y="471488"/>
                      </a:lnTo>
                      <a:lnTo>
                        <a:pt x="57351" y="470280"/>
                      </a:lnTo>
                      <a:lnTo>
                        <a:pt x="67010" y="461225"/>
                      </a:lnTo>
                      <a:lnTo>
                        <a:pt x="74255" y="449754"/>
                      </a:lnTo>
                      <a:lnTo>
                        <a:pt x="79084" y="448547"/>
                      </a:lnTo>
                      <a:lnTo>
                        <a:pt x="82707" y="443717"/>
                      </a:lnTo>
                      <a:lnTo>
                        <a:pt x="80895" y="437077"/>
                      </a:lnTo>
                      <a:lnTo>
                        <a:pt x="86329" y="435266"/>
                      </a:lnTo>
                      <a:lnTo>
                        <a:pt x="85121" y="431040"/>
                      </a:lnTo>
                      <a:lnTo>
                        <a:pt x="89951" y="425003"/>
                      </a:lnTo>
                      <a:lnTo>
                        <a:pt x="91762" y="418966"/>
                      </a:lnTo>
                      <a:lnTo>
                        <a:pt x="94780" y="417759"/>
                      </a:lnTo>
                      <a:lnTo>
                        <a:pt x="101421" y="419570"/>
                      </a:lnTo>
                      <a:lnTo>
                        <a:pt x="103232" y="417759"/>
                      </a:lnTo>
                      <a:lnTo>
                        <a:pt x="100817" y="412929"/>
                      </a:lnTo>
                      <a:lnTo>
                        <a:pt x="102025" y="409910"/>
                      </a:lnTo>
                      <a:lnTo>
                        <a:pt x="108062" y="405685"/>
                      </a:lnTo>
                      <a:lnTo>
                        <a:pt x="112891" y="403270"/>
                      </a:lnTo>
                      <a:lnTo>
                        <a:pt x="112891" y="400251"/>
                      </a:lnTo>
                      <a:lnTo>
                        <a:pt x="123154" y="390592"/>
                      </a:lnTo>
                      <a:lnTo>
                        <a:pt x="128587" y="389988"/>
                      </a:lnTo>
                      <a:lnTo>
                        <a:pt x="130399" y="387574"/>
                      </a:lnTo>
                      <a:lnTo>
                        <a:pt x="137643" y="382744"/>
                      </a:lnTo>
                      <a:lnTo>
                        <a:pt x="135832" y="380329"/>
                      </a:lnTo>
                      <a:lnTo>
                        <a:pt x="137643" y="374896"/>
                      </a:lnTo>
                      <a:lnTo>
                        <a:pt x="139454" y="371878"/>
                      </a:lnTo>
                      <a:lnTo>
                        <a:pt x="140661" y="367048"/>
                      </a:lnTo>
                      <a:lnTo>
                        <a:pt x="144284" y="365841"/>
                      </a:lnTo>
                      <a:lnTo>
                        <a:pt x="150321" y="371878"/>
                      </a:lnTo>
                      <a:lnTo>
                        <a:pt x="156961" y="369463"/>
                      </a:lnTo>
                      <a:lnTo>
                        <a:pt x="161791" y="369463"/>
                      </a:lnTo>
                      <a:lnTo>
                        <a:pt x="167224" y="365237"/>
                      </a:lnTo>
                      <a:lnTo>
                        <a:pt x="169639" y="359200"/>
                      </a:lnTo>
                      <a:lnTo>
                        <a:pt x="169035" y="354370"/>
                      </a:lnTo>
                      <a:lnTo>
                        <a:pt x="166620" y="351352"/>
                      </a:lnTo>
                      <a:lnTo>
                        <a:pt x="155754" y="349541"/>
                      </a:lnTo>
                      <a:lnTo>
                        <a:pt x="148509" y="351955"/>
                      </a:lnTo>
                      <a:lnTo>
                        <a:pt x="150321" y="355578"/>
                      </a:lnTo>
                      <a:lnTo>
                        <a:pt x="147906" y="359804"/>
                      </a:lnTo>
                      <a:lnTo>
                        <a:pt x="143076" y="362218"/>
                      </a:lnTo>
                      <a:lnTo>
                        <a:pt x="138850" y="361011"/>
                      </a:lnTo>
                      <a:lnTo>
                        <a:pt x="138850" y="354370"/>
                      </a:lnTo>
                      <a:lnTo>
                        <a:pt x="137039" y="351955"/>
                      </a:lnTo>
                      <a:lnTo>
                        <a:pt x="131002" y="349541"/>
                      </a:lnTo>
                      <a:lnTo>
                        <a:pt x="129795" y="339278"/>
                      </a:lnTo>
                      <a:lnTo>
                        <a:pt x="132210" y="332033"/>
                      </a:lnTo>
                      <a:lnTo>
                        <a:pt x="131606" y="328411"/>
                      </a:lnTo>
                      <a:lnTo>
                        <a:pt x="134021" y="322978"/>
                      </a:lnTo>
                      <a:lnTo>
                        <a:pt x="131606" y="316941"/>
                      </a:lnTo>
                      <a:lnTo>
                        <a:pt x="135832" y="310300"/>
                      </a:lnTo>
                      <a:lnTo>
                        <a:pt x="140058" y="310300"/>
                      </a:lnTo>
                      <a:lnTo>
                        <a:pt x="149113" y="286756"/>
                      </a:lnTo>
                      <a:lnTo>
                        <a:pt x="155150" y="280116"/>
                      </a:lnTo>
                      <a:lnTo>
                        <a:pt x="158772" y="271060"/>
                      </a:lnTo>
                      <a:lnTo>
                        <a:pt x="149113" y="261401"/>
                      </a:lnTo>
                      <a:lnTo>
                        <a:pt x="146095" y="262608"/>
                      </a:lnTo>
                      <a:lnTo>
                        <a:pt x="144284" y="257175"/>
                      </a:lnTo>
                      <a:lnTo>
                        <a:pt x="149717" y="255364"/>
                      </a:lnTo>
                      <a:lnTo>
                        <a:pt x="150924" y="251742"/>
                      </a:lnTo>
                      <a:lnTo>
                        <a:pt x="150321" y="245101"/>
                      </a:lnTo>
                      <a:lnTo>
                        <a:pt x="145491" y="231820"/>
                      </a:lnTo>
                      <a:lnTo>
                        <a:pt x="135832" y="213709"/>
                      </a:lnTo>
                      <a:lnTo>
                        <a:pt x="132813" y="207672"/>
                      </a:lnTo>
                      <a:lnTo>
                        <a:pt x="133417" y="202239"/>
                      </a:lnTo>
                      <a:lnTo>
                        <a:pt x="140058" y="199220"/>
                      </a:lnTo>
                      <a:lnTo>
                        <a:pt x="138850" y="194994"/>
                      </a:lnTo>
                      <a:lnTo>
                        <a:pt x="139454" y="189561"/>
                      </a:lnTo>
                      <a:lnTo>
                        <a:pt x="141869" y="185335"/>
                      </a:lnTo>
                      <a:lnTo>
                        <a:pt x="141265" y="182317"/>
                      </a:lnTo>
                      <a:lnTo>
                        <a:pt x="149113" y="173261"/>
                      </a:lnTo>
                      <a:lnTo>
                        <a:pt x="149717" y="169035"/>
                      </a:lnTo>
                      <a:lnTo>
                        <a:pt x="154546" y="169035"/>
                      </a:lnTo>
                      <a:lnTo>
                        <a:pt x="160583" y="162395"/>
                      </a:lnTo>
                      <a:lnTo>
                        <a:pt x="166017" y="159376"/>
                      </a:lnTo>
                      <a:lnTo>
                        <a:pt x="171450" y="158772"/>
                      </a:lnTo>
                      <a:lnTo>
                        <a:pt x="172657" y="150924"/>
                      </a:lnTo>
                      <a:lnTo>
                        <a:pt x="178091" y="155754"/>
                      </a:lnTo>
                      <a:lnTo>
                        <a:pt x="191372" y="149717"/>
                      </a:lnTo>
                      <a:lnTo>
                        <a:pt x="195598" y="146095"/>
                      </a:lnTo>
                      <a:lnTo>
                        <a:pt x="194994" y="141869"/>
                      </a:lnTo>
                      <a:lnTo>
                        <a:pt x="200427" y="138247"/>
                      </a:lnTo>
                      <a:lnTo>
                        <a:pt x="205257" y="132813"/>
                      </a:lnTo>
                      <a:lnTo>
                        <a:pt x="204050" y="129795"/>
                      </a:lnTo>
                      <a:lnTo>
                        <a:pt x="207672" y="127984"/>
                      </a:lnTo>
                      <a:lnTo>
                        <a:pt x="211898" y="127984"/>
                      </a:lnTo>
                      <a:lnTo>
                        <a:pt x="213105" y="125569"/>
                      </a:lnTo>
                      <a:lnTo>
                        <a:pt x="217331" y="124362"/>
                      </a:lnTo>
                      <a:lnTo>
                        <a:pt x="224575" y="127380"/>
                      </a:lnTo>
                      <a:lnTo>
                        <a:pt x="232423" y="133417"/>
                      </a:lnTo>
                      <a:lnTo>
                        <a:pt x="237253" y="131002"/>
                      </a:lnTo>
                      <a:lnTo>
                        <a:pt x="243290" y="130399"/>
                      </a:lnTo>
                      <a:lnTo>
                        <a:pt x="246912" y="126173"/>
                      </a:lnTo>
                      <a:lnTo>
                        <a:pt x="250534" y="124965"/>
                      </a:lnTo>
                      <a:lnTo>
                        <a:pt x="257175" y="120136"/>
                      </a:lnTo>
                      <a:lnTo>
                        <a:pt x="263816" y="120739"/>
                      </a:lnTo>
                      <a:lnTo>
                        <a:pt x="265023" y="123758"/>
                      </a:lnTo>
                      <a:lnTo>
                        <a:pt x="271060" y="120136"/>
                      </a:lnTo>
                      <a:lnTo>
                        <a:pt x="272267" y="112891"/>
                      </a:lnTo>
                      <a:lnTo>
                        <a:pt x="276493" y="111684"/>
                      </a:lnTo>
                      <a:lnTo>
                        <a:pt x="278908" y="114702"/>
                      </a:lnTo>
                      <a:lnTo>
                        <a:pt x="278908" y="118325"/>
                      </a:lnTo>
                      <a:lnTo>
                        <a:pt x="281927" y="119532"/>
                      </a:lnTo>
                      <a:lnTo>
                        <a:pt x="288567" y="112891"/>
                      </a:lnTo>
                      <a:lnTo>
                        <a:pt x="290982" y="105647"/>
                      </a:lnTo>
                      <a:lnTo>
                        <a:pt x="296415" y="102629"/>
                      </a:lnTo>
                      <a:lnTo>
                        <a:pt x="298226" y="99006"/>
                      </a:lnTo>
                      <a:lnTo>
                        <a:pt x="299434" y="91762"/>
                      </a:lnTo>
                      <a:lnTo>
                        <a:pt x="298226" y="87536"/>
                      </a:lnTo>
                      <a:lnTo>
                        <a:pt x="304263" y="87536"/>
                      </a:lnTo>
                      <a:lnTo>
                        <a:pt x="307282" y="82707"/>
                      </a:lnTo>
                      <a:lnTo>
                        <a:pt x="306678" y="77273"/>
                      </a:lnTo>
                      <a:lnTo>
                        <a:pt x="308489" y="74859"/>
                      </a:lnTo>
                      <a:lnTo>
                        <a:pt x="302452" y="70029"/>
                      </a:lnTo>
                      <a:lnTo>
                        <a:pt x="301849" y="62181"/>
                      </a:lnTo>
                      <a:lnTo>
                        <a:pt x="298830" y="58559"/>
                      </a:lnTo>
                      <a:lnTo>
                        <a:pt x="299434" y="57351"/>
                      </a:lnTo>
                      <a:lnTo>
                        <a:pt x="299434" y="56748"/>
                      </a:lnTo>
                      <a:lnTo>
                        <a:pt x="301245" y="56748"/>
                      </a:lnTo>
                      <a:lnTo>
                        <a:pt x="303056" y="57351"/>
                      </a:lnTo>
                      <a:lnTo>
                        <a:pt x="303660" y="57351"/>
                      </a:lnTo>
                      <a:lnTo>
                        <a:pt x="303660" y="57955"/>
                      </a:lnTo>
                      <a:lnTo>
                        <a:pt x="310904" y="60370"/>
                      </a:lnTo>
                      <a:lnTo>
                        <a:pt x="318148" y="61577"/>
                      </a:lnTo>
                      <a:lnTo>
                        <a:pt x="319356" y="61577"/>
                      </a:lnTo>
                      <a:lnTo>
                        <a:pt x="321167" y="60973"/>
                      </a:lnTo>
                      <a:lnTo>
                        <a:pt x="321771" y="60973"/>
                      </a:lnTo>
                      <a:lnTo>
                        <a:pt x="330222" y="57955"/>
                      </a:lnTo>
                      <a:lnTo>
                        <a:pt x="330222" y="59162"/>
                      </a:lnTo>
                      <a:lnTo>
                        <a:pt x="329015" y="63388"/>
                      </a:lnTo>
                      <a:lnTo>
                        <a:pt x="333844" y="65199"/>
                      </a:lnTo>
                      <a:lnTo>
                        <a:pt x="333844" y="70633"/>
                      </a:lnTo>
                      <a:lnTo>
                        <a:pt x="336863" y="72444"/>
                      </a:lnTo>
                      <a:lnTo>
                        <a:pt x="336863" y="71840"/>
                      </a:lnTo>
                      <a:lnTo>
                        <a:pt x="336863" y="71236"/>
                      </a:lnTo>
                      <a:lnTo>
                        <a:pt x="338674" y="68218"/>
                      </a:lnTo>
                      <a:lnTo>
                        <a:pt x="340485" y="57955"/>
                      </a:lnTo>
                      <a:lnTo>
                        <a:pt x="344711" y="52522"/>
                      </a:lnTo>
                      <a:lnTo>
                        <a:pt x="354974" y="47692"/>
                      </a:lnTo>
                      <a:lnTo>
                        <a:pt x="366444" y="45881"/>
                      </a:lnTo>
                      <a:lnTo>
                        <a:pt x="373689" y="42863"/>
                      </a:lnTo>
                      <a:lnTo>
                        <a:pt x="379122" y="38637"/>
                      </a:lnTo>
                      <a:lnTo>
                        <a:pt x="386366" y="24148"/>
                      </a:lnTo>
                      <a:lnTo>
                        <a:pt x="393007" y="24752"/>
                      </a:lnTo>
                      <a:lnTo>
                        <a:pt x="398440" y="21733"/>
                      </a:lnTo>
                      <a:lnTo>
                        <a:pt x="402666" y="16300"/>
                      </a:lnTo>
                      <a:lnTo>
                        <a:pt x="405081" y="9659"/>
                      </a:lnTo>
                      <a:lnTo>
                        <a:pt x="412325" y="0"/>
                      </a:lnTo>
                      <a:lnTo>
                        <a:pt x="411721" y="4226"/>
                      </a:lnTo>
                      <a:lnTo>
                        <a:pt x="409910" y="7848"/>
                      </a:lnTo>
                      <a:lnTo>
                        <a:pt x="409307" y="9659"/>
                      </a:lnTo>
                      <a:lnTo>
                        <a:pt x="408099" y="13281"/>
                      </a:lnTo>
                      <a:lnTo>
                        <a:pt x="408703" y="18715"/>
                      </a:lnTo>
                      <a:lnTo>
                        <a:pt x="421381" y="31392"/>
                      </a:lnTo>
                      <a:lnTo>
                        <a:pt x="425003" y="36826"/>
                      </a:lnTo>
                      <a:lnTo>
                        <a:pt x="423192" y="40448"/>
                      </a:lnTo>
                      <a:lnTo>
                        <a:pt x="412325" y="43466"/>
                      </a:lnTo>
                      <a:lnTo>
                        <a:pt x="406288" y="48296"/>
                      </a:lnTo>
                      <a:lnTo>
                        <a:pt x="389988" y="67010"/>
                      </a:lnTo>
                      <a:lnTo>
                        <a:pt x="388177" y="70633"/>
                      </a:lnTo>
                      <a:lnTo>
                        <a:pt x="384555" y="73651"/>
                      </a:lnTo>
                      <a:lnTo>
                        <a:pt x="371878" y="76066"/>
                      </a:lnTo>
                      <a:lnTo>
                        <a:pt x="367048" y="78481"/>
                      </a:lnTo>
                      <a:lnTo>
                        <a:pt x="361011" y="83310"/>
                      </a:lnTo>
                      <a:lnTo>
                        <a:pt x="360407" y="95384"/>
                      </a:lnTo>
                      <a:lnTo>
                        <a:pt x="367652" y="97799"/>
                      </a:lnTo>
                      <a:lnTo>
                        <a:pt x="368859" y="100214"/>
                      </a:lnTo>
                      <a:lnTo>
                        <a:pt x="367652" y="105043"/>
                      </a:lnTo>
                      <a:lnTo>
                        <a:pt x="358596" y="116514"/>
                      </a:lnTo>
                      <a:lnTo>
                        <a:pt x="351955" y="120739"/>
                      </a:lnTo>
                      <a:lnTo>
                        <a:pt x="356181" y="124362"/>
                      </a:lnTo>
                      <a:lnTo>
                        <a:pt x="366444" y="121947"/>
                      </a:lnTo>
                      <a:lnTo>
                        <a:pt x="375500" y="126173"/>
                      </a:lnTo>
                      <a:lnTo>
                        <a:pt x="379122" y="131606"/>
                      </a:lnTo>
                      <a:lnTo>
                        <a:pt x="383951" y="131606"/>
                      </a:lnTo>
                      <a:lnTo>
                        <a:pt x="392403" y="140058"/>
                      </a:lnTo>
                      <a:lnTo>
                        <a:pt x="396629" y="143076"/>
                      </a:lnTo>
                      <a:lnTo>
                        <a:pt x="405081" y="144887"/>
                      </a:lnTo>
                      <a:lnTo>
                        <a:pt x="411118" y="147906"/>
                      </a:lnTo>
                      <a:lnTo>
                        <a:pt x="417155" y="152735"/>
                      </a:lnTo>
                      <a:lnTo>
                        <a:pt x="428625" y="177487"/>
                      </a:lnTo>
                      <a:lnTo>
                        <a:pt x="429229" y="183524"/>
                      </a:lnTo>
                      <a:lnTo>
                        <a:pt x="422588" y="184731"/>
                      </a:lnTo>
                      <a:lnTo>
                        <a:pt x="425607" y="192579"/>
                      </a:lnTo>
                      <a:lnTo>
                        <a:pt x="427418" y="193787"/>
                      </a:lnTo>
                      <a:lnTo>
                        <a:pt x="434058" y="211898"/>
                      </a:lnTo>
                      <a:lnTo>
                        <a:pt x="434058" y="214313"/>
                      </a:lnTo>
                      <a:lnTo>
                        <a:pt x="437680" y="217935"/>
                      </a:lnTo>
                      <a:lnTo>
                        <a:pt x="439492" y="222161"/>
                      </a:lnTo>
                      <a:lnTo>
                        <a:pt x="439492" y="226386"/>
                      </a:lnTo>
                      <a:lnTo>
                        <a:pt x="443717" y="233631"/>
                      </a:lnTo>
                      <a:lnTo>
                        <a:pt x="447943" y="236649"/>
                      </a:lnTo>
                      <a:lnTo>
                        <a:pt x="447943" y="239668"/>
                      </a:lnTo>
                      <a:lnTo>
                        <a:pt x="455791" y="252949"/>
                      </a:lnTo>
                      <a:lnTo>
                        <a:pt x="457602" y="257175"/>
                      </a:lnTo>
                      <a:lnTo>
                        <a:pt x="461225" y="262608"/>
                      </a:lnTo>
                      <a:lnTo>
                        <a:pt x="465451" y="275286"/>
                      </a:lnTo>
                      <a:lnTo>
                        <a:pt x="468469" y="278304"/>
                      </a:lnTo>
                      <a:lnTo>
                        <a:pt x="470884" y="284945"/>
                      </a:lnTo>
                      <a:lnTo>
                        <a:pt x="466658" y="290378"/>
                      </a:lnTo>
                      <a:lnTo>
                        <a:pt x="467262" y="297019"/>
                      </a:lnTo>
                      <a:lnTo>
                        <a:pt x="473299" y="300038"/>
                      </a:lnTo>
                      <a:lnTo>
                        <a:pt x="474506" y="308489"/>
                      </a:lnTo>
                      <a:lnTo>
                        <a:pt x="481147" y="308489"/>
                      </a:lnTo>
                      <a:lnTo>
                        <a:pt x="484769" y="306678"/>
                      </a:lnTo>
                      <a:lnTo>
                        <a:pt x="491409" y="306678"/>
                      </a:lnTo>
                      <a:lnTo>
                        <a:pt x="492617" y="308489"/>
                      </a:lnTo>
                      <a:lnTo>
                        <a:pt x="498654" y="306075"/>
                      </a:lnTo>
                      <a:lnTo>
                        <a:pt x="501069" y="303660"/>
                      </a:lnTo>
                      <a:lnTo>
                        <a:pt x="499861" y="300038"/>
                      </a:lnTo>
                      <a:lnTo>
                        <a:pt x="507106" y="298830"/>
                      </a:lnTo>
                      <a:lnTo>
                        <a:pt x="506502" y="290982"/>
                      </a:lnTo>
                      <a:lnTo>
                        <a:pt x="504087" y="290378"/>
                      </a:lnTo>
                      <a:lnTo>
                        <a:pt x="504087" y="285549"/>
                      </a:lnTo>
                      <a:lnTo>
                        <a:pt x="510124" y="284341"/>
                      </a:lnTo>
                      <a:lnTo>
                        <a:pt x="512539" y="281927"/>
                      </a:lnTo>
                      <a:lnTo>
                        <a:pt x="513746" y="275890"/>
                      </a:lnTo>
                      <a:lnTo>
                        <a:pt x="519180" y="286756"/>
                      </a:lnTo>
                      <a:lnTo>
                        <a:pt x="519180" y="290982"/>
                      </a:lnTo>
                      <a:lnTo>
                        <a:pt x="527028" y="303660"/>
                      </a:lnTo>
                      <a:lnTo>
                        <a:pt x="531254" y="308489"/>
                      </a:lnTo>
                      <a:lnTo>
                        <a:pt x="534876" y="307282"/>
                      </a:lnTo>
                      <a:lnTo>
                        <a:pt x="539705" y="316337"/>
                      </a:lnTo>
                      <a:lnTo>
                        <a:pt x="543931" y="314526"/>
                      </a:lnTo>
                      <a:lnTo>
                        <a:pt x="551176" y="320563"/>
                      </a:lnTo>
                      <a:lnTo>
                        <a:pt x="556609" y="314526"/>
                      </a:lnTo>
                      <a:lnTo>
                        <a:pt x="562646" y="321771"/>
                      </a:lnTo>
                      <a:lnTo>
                        <a:pt x="557212" y="327808"/>
                      </a:lnTo>
                      <a:lnTo>
                        <a:pt x="559627" y="330222"/>
                      </a:lnTo>
                      <a:lnTo>
                        <a:pt x="565664" y="327204"/>
                      </a:lnTo>
                      <a:lnTo>
                        <a:pt x="569890" y="330826"/>
                      </a:lnTo>
                      <a:lnTo>
                        <a:pt x="565061" y="333241"/>
                      </a:lnTo>
                      <a:lnTo>
                        <a:pt x="560231" y="338070"/>
                      </a:lnTo>
                      <a:lnTo>
                        <a:pt x="560231" y="344711"/>
                      </a:lnTo>
                      <a:lnTo>
                        <a:pt x="562042" y="345919"/>
                      </a:lnTo>
                      <a:lnTo>
                        <a:pt x="560231" y="351352"/>
                      </a:lnTo>
                      <a:lnTo>
                        <a:pt x="567475" y="355578"/>
                      </a:lnTo>
                      <a:lnTo>
                        <a:pt x="563249" y="363426"/>
                      </a:lnTo>
                      <a:lnTo>
                        <a:pt x="564457" y="367652"/>
                      </a:lnTo>
                      <a:lnTo>
                        <a:pt x="562042" y="369463"/>
                      </a:lnTo>
                      <a:lnTo>
                        <a:pt x="565061" y="377311"/>
                      </a:lnTo>
                      <a:lnTo>
                        <a:pt x="564457" y="381537"/>
                      </a:lnTo>
                      <a:lnTo>
                        <a:pt x="573512" y="386970"/>
                      </a:lnTo>
                      <a:lnTo>
                        <a:pt x="576531" y="389385"/>
                      </a:lnTo>
                      <a:lnTo>
                        <a:pt x="581964" y="388781"/>
                      </a:lnTo>
                      <a:lnTo>
                        <a:pt x="585586" y="391196"/>
                      </a:lnTo>
                      <a:lnTo>
                        <a:pt x="588605" y="396629"/>
                      </a:lnTo>
                      <a:lnTo>
                        <a:pt x="592831" y="399044"/>
                      </a:lnTo>
                      <a:lnTo>
                        <a:pt x="597660" y="405081"/>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8" name="Rajasthan" descr="{&quot;Key&quot;:&quot;rajasthan&quot;,&quot;Name&quot;:&quot;Rajasthan&quot;,&quot;Value&quot;:1.0,&quot;Formula&quot;:&quot;&quot;,&quot;Text&quot;:&quot;&quot;,&quot;OfficeApplication&quot;:1,&quot;HasValue&quot;:true}">
                  <a:extLst>
                    <a:ext uri="{FF2B5EF4-FFF2-40B4-BE49-F238E27FC236}">
                      <a16:creationId xmlns:a16="http://schemas.microsoft.com/office/drawing/2014/main" id="{1446697D-876F-42B4-ACAE-C7656755084E}"/>
                    </a:ext>
                  </a:extLst>
                </p:cNvPr>
                <p:cNvSpPr/>
                <p:nvPr/>
              </p:nvSpPr>
              <p:spPr>
                <a:xfrm>
                  <a:off x="3350385" y="1712689"/>
                  <a:ext cx="1805055" cy="1642056"/>
                </a:xfrm>
                <a:custGeom>
                  <a:avLst/>
                  <a:gdLst>
                    <a:gd name="connsiteX0" fmla="*/ 1038359 w 1805054"/>
                    <a:gd name="connsiteY0" fmla="*/ 59766 h 1642056"/>
                    <a:gd name="connsiteX1" fmla="*/ 1035341 w 1805054"/>
                    <a:gd name="connsiteY1" fmla="*/ 68218 h 1642056"/>
                    <a:gd name="connsiteX2" fmla="*/ 1041378 w 1805054"/>
                    <a:gd name="connsiteY2" fmla="*/ 69425 h 1642056"/>
                    <a:gd name="connsiteX3" fmla="*/ 1045604 w 1805054"/>
                    <a:gd name="connsiteY3" fmla="*/ 78481 h 1642056"/>
                    <a:gd name="connsiteX4" fmla="*/ 1041378 w 1805054"/>
                    <a:gd name="connsiteY4" fmla="*/ 84518 h 1642056"/>
                    <a:gd name="connsiteX5" fmla="*/ 1032926 w 1805054"/>
                    <a:gd name="connsiteY5" fmla="*/ 87536 h 1642056"/>
                    <a:gd name="connsiteX6" fmla="*/ 1028096 w 1805054"/>
                    <a:gd name="connsiteY6" fmla="*/ 93573 h 1642056"/>
                    <a:gd name="connsiteX7" fmla="*/ 1027493 w 1805054"/>
                    <a:gd name="connsiteY7" fmla="*/ 96592 h 1642056"/>
                    <a:gd name="connsiteX8" fmla="*/ 1028700 w 1805054"/>
                    <a:gd name="connsiteY8" fmla="*/ 106854 h 1642056"/>
                    <a:gd name="connsiteX9" fmla="*/ 1039567 w 1805054"/>
                    <a:gd name="connsiteY9" fmla="*/ 107458 h 1642056"/>
                    <a:gd name="connsiteX10" fmla="*/ 1041981 w 1805054"/>
                    <a:gd name="connsiteY10" fmla="*/ 105043 h 1642056"/>
                    <a:gd name="connsiteX11" fmla="*/ 1049226 w 1805054"/>
                    <a:gd name="connsiteY11" fmla="*/ 105043 h 1642056"/>
                    <a:gd name="connsiteX12" fmla="*/ 1053452 w 1805054"/>
                    <a:gd name="connsiteY12" fmla="*/ 102025 h 1642056"/>
                    <a:gd name="connsiteX13" fmla="*/ 1056470 w 1805054"/>
                    <a:gd name="connsiteY13" fmla="*/ 105043 h 1642056"/>
                    <a:gd name="connsiteX14" fmla="*/ 1055866 w 1805054"/>
                    <a:gd name="connsiteY14" fmla="*/ 112288 h 1642056"/>
                    <a:gd name="connsiteX15" fmla="*/ 1050433 w 1805054"/>
                    <a:gd name="connsiteY15" fmla="*/ 128587 h 1642056"/>
                    <a:gd name="connsiteX16" fmla="*/ 1052244 w 1805054"/>
                    <a:gd name="connsiteY16" fmla="*/ 132813 h 1642056"/>
                    <a:gd name="connsiteX17" fmla="*/ 1049830 w 1805054"/>
                    <a:gd name="connsiteY17" fmla="*/ 134624 h 1642056"/>
                    <a:gd name="connsiteX18" fmla="*/ 1049226 w 1805054"/>
                    <a:gd name="connsiteY18" fmla="*/ 144887 h 1642056"/>
                    <a:gd name="connsiteX19" fmla="*/ 1049226 w 1805054"/>
                    <a:gd name="connsiteY19" fmla="*/ 152132 h 1642056"/>
                    <a:gd name="connsiteX20" fmla="*/ 1057678 w 1805054"/>
                    <a:gd name="connsiteY20" fmla="*/ 157565 h 1642056"/>
                    <a:gd name="connsiteX21" fmla="*/ 1057678 w 1805054"/>
                    <a:gd name="connsiteY21" fmla="*/ 159980 h 1642056"/>
                    <a:gd name="connsiteX22" fmla="*/ 1053452 w 1805054"/>
                    <a:gd name="connsiteY22" fmla="*/ 166620 h 1642056"/>
                    <a:gd name="connsiteX23" fmla="*/ 1050433 w 1805054"/>
                    <a:gd name="connsiteY23" fmla="*/ 175072 h 1642056"/>
                    <a:gd name="connsiteX24" fmla="*/ 1041378 w 1805054"/>
                    <a:gd name="connsiteY24" fmla="*/ 173261 h 1642056"/>
                    <a:gd name="connsiteX25" fmla="*/ 1040170 w 1805054"/>
                    <a:gd name="connsiteY25" fmla="*/ 176883 h 1642056"/>
                    <a:gd name="connsiteX26" fmla="*/ 1040774 w 1805054"/>
                    <a:gd name="connsiteY26" fmla="*/ 182920 h 1642056"/>
                    <a:gd name="connsiteX27" fmla="*/ 1045000 w 1805054"/>
                    <a:gd name="connsiteY27" fmla="*/ 183524 h 1642056"/>
                    <a:gd name="connsiteX28" fmla="*/ 1048622 w 1805054"/>
                    <a:gd name="connsiteY28" fmla="*/ 187146 h 1642056"/>
                    <a:gd name="connsiteX29" fmla="*/ 1049226 w 1805054"/>
                    <a:gd name="connsiteY29" fmla="*/ 191976 h 1642056"/>
                    <a:gd name="connsiteX30" fmla="*/ 1055263 w 1805054"/>
                    <a:gd name="connsiteY30" fmla="*/ 199220 h 1642056"/>
                    <a:gd name="connsiteX31" fmla="*/ 1054055 w 1805054"/>
                    <a:gd name="connsiteY31" fmla="*/ 205861 h 1642056"/>
                    <a:gd name="connsiteX32" fmla="*/ 1063714 w 1805054"/>
                    <a:gd name="connsiteY32" fmla="*/ 204653 h 1642056"/>
                    <a:gd name="connsiteX33" fmla="*/ 1065526 w 1805054"/>
                    <a:gd name="connsiteY33" fmla="*/ 194994 h 1642056"/>
                    <a:gd name="connsiteX34" fmla="*/ 1073374 w 1805054"/>
                    <a:gd name="connsiteY34" fmla="*/ 196805 h 1642056"/>
                    <a:gd name="connsiteX35" fmla="*/ 1078203 w 1805054"/>
                    <a:gd name="connsiteY35" fmla="*/ 196202 h 1642056"/>
                    <a:gd name="connsiteX36" fmla="*/ 1082429 w 1805054"/>
                    <a:gd name="connsiteY36" fmla="*/ 199824 h 1642056"/>
                    <a:gd name="connsiteX37" fmla="*/ 1091485 w 1805054"/>
                    <a:gd name="connsiteY37" fmla="*/ 198013 h 1642056"/>
                    <a:gd name="connsiteX38" fmla="*/ 1098125 w 1805054"/>
                    <a:gd name="connsiteY38" fmla="*/ 188957 h 1642056"/>
                    <a:gd name="connsiteX39" fmla="*/ 1106577 w 1805054"/>
                    <a:gd name="connsiteY39" fmla="*/ 187750 h 1642056"/>
                    <a:gd name="connsiteX40" fmla="*/ 1110803 w 1805054"/>
                    <a:gd name="connsiteY40" fmla="*/ 191976 h 1642056"/>
                    <a:gd name="connsiteX41" fmla="*/ 1114425 w 1805054"/>
                    <a:gd name="connsiteY41" fmla="*/ 191976 h 1642056"/>
                    <a:gd name="connsiteX42" fmla="*/ 1122273 w 1805054"/>
                    <a:gd name="connsiteY42" fmla="*/ 196805 h 1642056"/>
                    <a:gd name="connsiteX43" fmla="*/ 1124084 w 1805054"/>
                    <a:gd name="connsiteY43" fmla="*/ 203446 h 1642056"/>
                    <a:gd name="connsiteX44" fmla="*/ 1127103 w 1805054"/>
                    <a:gd name="connsiteY44" fmla="*/ 207672 h 1642056"/>
                    <a:gd name="connsiteX45" fmla="*/ 1125292 w 1805054"/>
                    <a:gd name="connsiteY45" fmla="*/ 211294 h 1642056"/>
                    <a:gd name="connsiteX46" fmla="*/ 1127706 w 1805054"/>
                    <a:gd name="connsiteY46" fmla="*/ 216727 h 1642056"/>
                    <a:gd name="connsiteX47" fmla="*/ 1132536 w 1805054"/>
                    <a:gd name="connsiteY47" fmla="*/ 216727 h 1642056"/>
                    <a:gd name="connsiteX48" fmla="*/ 1135555 w 1805054"/>
                    <a:gd name="connsiteY48" fmla="*/ 219142 h 1642056"/>
                    <a:gd name="connsiteX49" fmla="*/ 1142195 w 1805054"/>
                    <a:gd name="connsiteY49" fmla="*/ 214313 h 1642056"/>
                    <a:gd name="connsiteX50" fmla="*/ 1145817 w 1805054"/>
                    <a:gd name="connsiteY50" fmla="*/ 215520 h 1642056"/>
                    <a:gd name="connsiteX51" fmla="*/ 1148232 w 1805054"/>
                    <a:gd name="connsiteY51" fmla="*/ 220953 h 1642056"/>
                    <a:gd name="connsiteX52" fmla="*/ 1153665 w 1805054"/>
                    <a:gd name="connsiteY52" fmla="*/ 228197 h 1642056"/>
                    <a:gd name="connsiteX53" fmla="*/ 1159702 w 1805054"/>
                    <a:gd name="connsiteY53" fmla="*/ 229405 h 1642056"/>
                    <a:gd name="connsiteX54" fmla="*/ 1160910 w 1805054"/>
                    <a:gd name="connsiteY54" fmla="*/ 225783 h 1642056"/>
                    <a:gd name="connsiteX55" fmla="*/ 1168154 w 1805054"/>
                    <a:gd name="connsiteY55" fmla="*/ 225179 h 1642056"/>
                    <a:gd name="connsiteX56" fmla="*/ 1171173 w 1805054"/>
                    <a:gd name="connsiteY56" fmla="*/ 220953 h 1642056"/>
                    <a:gd name="connsiteX57" fmla="*/ 1174795 w 1805054"/>
                    <a:gd name="connsiteY57" fmla="*/ 219746 h 1642056"/>
                    <a:gd name="connsiteX58" fmla="*/ 1177813 w 1805054"/>
                    <a:gd name="connsiteY58" fmla="*/ 225783 h 1642056"/>
                    <a:gd name="connsiteX59" fmla="*/ 1183850 w 1805054"/>
                    <a:gd name="connsiteY59" fmla="*/ 227594 h 1642056"/>
                    <a:gd name="connsiteX60" fmla="*/ 1186265 w 1805054"/>
                    <a:gd name="connsiteY60" fmla="*/ 223972 h 1642056"/>
                    <a:gd name="connsiteX61" fmla="*/ 1193509 w 1805054"/>
                    <a:gd name="connsiteY61" fmla="*/ 223368 h 1642056"/>
                    <a:gd name="connsiteX62" fmla="*/ 1194717 w 1805054"/>
                    <a:gd name="connsiteY62" fmla="*/ 218538 h 1642056"/>
                    <a:gd name="connsiteX63" fmla="*/ 1203169 w 1805054"/>
                    <a:gd name="connsiteY63" fmla="*/ 213709 h 1642056"/>
                    <a:gd name="connsiteX64" fmla="*/ 1204376 w 1805054"/>
                    <a:gd name="connsiteY64" fmla="*/ 217331 h 1642056"/>
                    <a:gd name="connsiteX65" fmla="*/ 1204376 w 1805054"/>
                    <a:gd name="connsiteY65" fmla="*/ 223972 h 1642056"/>
                    <a:gd name="connsiteX66" fmla="*/ 1202565 w 1805054"/>
                    <a:gd name="connsiteY66" fmla="*/ 227594 h 1642056"/>
                    <a:gd name="connsiteX67" fmla="*/ 1208602 w 1805054"/>
                    <a:gd name="connsiteY67" fmla="*/ 230008 h 1642056"/>
                    <a:gd name="connsiteX68" fmla="*/ 1209809 w 1805054"/>
                    <a:gd name="connsiteY68" fmla="*/ 224575 h 1642056"/>
                    <a:gd name="connsiteX69" fmla="*/ 1215846 w 1805054"/>
                    <a:gd name="connsiteY69" fmla="*/ 220953 h 1642056"/>
                    <a:gd name="connsiteX70" fmla="*/ 1218865 w 1805054"/>
                    <a:gd name="connsiteY70" fmla="*/ 221557 h 1642056"/>
                    <a:gd name="connsiteX71" fmla="*/ 1220072 w 1805054"/>
                    <a:gd name="connsiteY71" fmla="*/ 226386 h 1642056"/>
                    <a:gd name="connsiteX72" fmla="*/ 1217657 w 1805054"/>
                    <a:gd name="connsiteY72" fmla="*/ 228801 h 1642056"/>
                    <a:gd name="connsiteX73" fmla="*/ 1219468 w 1805054"/>
                    <a:gd name="connsiteY73" fmla="*/ 233027 h 1642056"/>
                    <a:gd name="connsiteX74" fmla="*/ 1220072 w 1805054"/>
                    <a:gd name="connsiteY74" fmla="*/ 238460 h 1642056"/>
                    <a:gd name="connsiteX75" fmla="*/ 1217657 w 1805054"/>
                    <a:gd name="connsiteY75" fmla="*/ 242686 h 1642056"/>
                    <a:gd name="connsiteX76" fmla="*/ 1213431 w 1805054"/>
                    <a:gd name="connsiteY76" fmla="*/ 243290 h 1642056"/>
                    <a:gd name="connsiteX77" fmla="*/ 1212224 w 1805054"/>
                    <a:gd name="connsiteY77" fmla="*/ 249327 h 1642056"/>
                    <a:gd name="connsiteX78" fmla="*/ 1219468 w 1805054"/>
                    <a:gd name="connsiteY78" fmla="*/ 252949 h 1642056"/>
                    <a:gd name="connsiteX79" fmla="*/ 1215846 w 1805054"/>
                    <a:gd name="connsiteY79" fmla="*/ 257175 h 1642056"/>
                    <a:gd name="connsiteX80" fmla="*/ 1215846 w 1805054"/>
                    <a:gd name="connsiteY80" fmla="*/ 266834 h 1642056"/>
                    <a:gd name="connsiteX81" fmla="*/ 1226109 w 1805054"/>
                    <a:gd name="connsiteY81" fmla="*/ 268042 h 1642056"/>
                    <a:gd name="connsiteX82" fmla="*/ 1228524 w 1805054"/>
                    <a:gd name="connsiteY82" fmla="*/ 273475 h 1642056"/>
                    <a:gd name="connsiteX83" fmla="*/ 1227316 w 1805054"/>
                    <a:gd name="connsiteY83" fmla="*/ 279512 h 1642056"/>
                    <a:gd name="connsiteX84" fmla="*/ 1235165 w 1805054"/>
                    <a:gd name="connsiteY84" fmla="*/ 278304 h 1642056"/>
                    <a:gd name="connsiteX85" fmla="*/ 1243013 w 1805054"/>
                    <a:gd name="connsiteY85" fmla="*/ 280719 h 1642056"/>
                    <a:gd name="connsiteX86" fmla="*/ 1244220 w 1805054"/>
                    <a:gd name="connsiteY86" fmla="*/ 289171 h 1642056"/>
                    <a:gd name="connsiteX87" fmla="*/ 1241202 w 1805054"/>
                    <a:gd name="connsiteY87" fmla="*/ 292189 h 1642056"/>
                    <a:gd name="connsiteX88" fmla="*/ 1239994 w 1805054"/>
                    <a:gd name="connsiteY88" fmla="*/ 297019 h 1642056"/>
                    <a:gd name="connsiteX89" fmla="*/ 1233957 w 1805054"/>
                    <a:gd name="connsiteY89" fmla="*/ 297623 h 1642056"/>
                    <a:gd name="connsiteX90" fmla="*/ 1233957 w 1805054"/>
                    <a:gd name="connsiteY90" fmla="*/ 300641 h 1642056"/>
                    <a:gd name="connsiteX91" fmla="*/ 1238183 w 1805054"/>
                    <a:gd name="connsiteY91" fmla="*/ 307282 h 1642056"/>
                    <a:gd name="connsiteX92" fmla="*/ 1238183 w 1805054"/>
                    <a:gd name="connsiteY92" fmla="*/ 316337 h 1642056"/>
                    <a:gd name="connsiteX93" fmla="*/ 1243616 w 1805054"/>
                    <a:gd name="connsiteY93" fmla="*/ 321771 h 1642056"/>
                    <a:gd name="connsiteX94" fmla="*/ 1240598 w 1805054"/>
                    <a:gd name="connsiteY94" fmla="*/ 333241 h 1642056"/>
                    <a:gd name="connsiteX95" fmla="*/ 1244220 w 1805054"/>
                    <a:gd name="connsiteY95" fmla="*/ 336863 h 1642056"/>
                    <a:gd name="connsiteX96" fmla="*/ 1247238 w 1805054"/>
                    <a:gd name="connsiteY96" fmla="*/ 345918 h 1642056"/>
                    <a:gd name="connsiteX97" fmla="*/ 1249050 w 1805054"/>
                    <a:gd name="connsiteY97" fmla="*/ 365840 h 1642056"/>
                    <a:gd name="connsiteX98" fmla="*/ 1250861 w 1805054"/>
                    <a:gd name="connsiteY98" fmla="*/ 367048 h 1642056"/>
                    <a:gd name="connsiteX99" fmla="*/ 1252068 w 1805054"/>
                    <a:gd name="connsiteY99" fmla="*/ 373689 h 1642056"/>
                    <a:gd name="connsiteX100" fmla="*/ 1256294 w 1805054"/>
                    <a:gd name="connsiteY100" fmla="*/ 373085 h 1642056"/>
                    <a:gd name="connsiteX101" fmla="*/ 1258105 w 1805054"/>
                    <a:gd name="connsiteY101" fmla="*/ 375500 h 1642056"/>
                    <a:gd name="connsiteX102" fmla="*/ 1262935 w 1805054"/>
                    <a:gd name="connsiteY102" fmla="*/ 376103 h 1642056"/>
                    <a:gd name="connsiteX103" fmla="*/ 1265349 w 1805054"/>
                    <a:gd name="connsiteY103" fmla="*/ 379726 h 1642056"/>
                    <a:gd name="connsiteX104" fmla="*/ 1267161 w 1805054"/>
                    <a:gd name="connsiteY104" fmla="*/ 389988 h 1642056"/>
                    <a:gd name="connsiteX105" fmla="*/ 1275009 w 1805054"/>
                    <a:gd name="connsiteY105" fmla="*/ 393007 h 1642056"/>
                    <a:gd name="connsiteX106" fmla="*/ 1274405 w 1805054"/>
                    <a:gd name="connsiteY106" fmla="*/ 396025 h 1642056"/>
                    <a:gd name="connsiteX107" fmla="*/ 1279838 w 1805054"/>
                    <a:gd name="connsiteY107" fmla="*/ 400855 h 1642056"/>
                    <a:gd name="connsiteX108" fmla="*/ 1289497 w 1805054"/>
                    <a:gd name="connsiteY108" fmla="*/ 403873 h 1642056"/>
                    <a:gd name="connsiteX109" fmla="*/ 1288894 w 1805054"/>
                    <a:gd name="connsiteY109" fmla="*/ 406892 h 1642056"/>
                    <a:gd name="connsiteX110" fmla="*/ 1297949 w 1805054"/>
                    <a:gd name="connsiteY110" fmla="*/ 410514 h 1642056"/>
                    <a:gd name="connsiteX111" fmla="*/ 1299156 w 1805054"/>
                    <a:gd name="connsiteY111" fmla="*/ 414740 h 1642056"/>
                    <a:gd name="connsiteX112" fmla="*/ 1295534 w 1805054"/>
                    <a:gd name="connsiteY112" fmla="*/ 419570 h 1642056"/>
                    <a:gd name="connsiteX113" fmla="*/ 1296138 w 1805054"/>
                    <a:gd name="connsiteY113" fmla="*/ 422588 h 1642056"/>
                    <a:gd name="connsiteX114" fmla="*/ 1299760 w 1805054"/>
                    <a:gd name="connsiteY114" fmla="*/ 423192 h 1642056"/>
                    <a:gd name="connsiteX115" fmla="*/ 1302779 w 1805054"/>
                    <a:gd name="connsiteY115" fmla="*/ 420777 h 1642056"/>
                    <a:gd name="connsiteX116" fmla="*/ 1308212 w 1805054"/>
                    <a:gd name="connsiteY116" fmla="*/ 421984 h 1642056"/>
                    <a:gd name="connsiteX117" fmla="*/ 1309419 w 1805054"/>
                    <a:gd name="connsiteY117" fmla="*/ 425003 h 1642056"/>
                    <a:gd name="connsiteX118" fmla="*/ 1317267 w 1805054"/>
                    <a:gd name="connsiteY118" fmla="*/ 426210 h 1642056"/>
                    <a:gd name="connsiteX119" fmla="*/ 1327530 w 1805054"/>
                    <a:gd name="connsiteY119" fmla="*/ 431644 h 1642056"/>
                    <a:gd name="connsiteX120" fmla="*/ 1328738 w 1805054"/>
                    <a:gd name="connsiteY120" fmla="*/ 437077 h 1642056"/>
                    <a:gd name="connsiteX121" fmla="*/ 1334774 w 1805054"/>
                    <a:gd name="connsiteY121" fmla="*/ 438888 h 1642056"/>
                    <a:gd name="connsiteX122" fmla="*/ 1340811 w 1805054"/>
                    <a:gd name="connsiteY122" fmla="*/ 448547 h 1642056"/>
                    <a:gd name="connsiteX123" fmla="*/ 1347452 w 1805054"/>
                    <a:gd name="connsiteY123" fmla="*/ 452169 h 1642056"/>
                    <a:gd name="connsiteX124" fmla="*/ 1345037 w 1805054"/>
                    <a:gd name="connsiteY124" fmla="*/ 458810 h 1642056"/>
                    <a:gd name="connsiteX125" fmla="*/ 1346245 w 1805054"/>
                    <a:gd name="connsiteY125" fmla="*/ 461225 h 1642056"/>
                    <a:gd name="connsiteX126" fmla="*/ 1351074 w 1805054"/>
                    <a:gd name="connsiteY126" fmla="*/ 464847 h 1642056"/>
                    <a:gd name="connsiteX127" fmla="*/ 1354697 w 1805054"/>
                    <a:gd name="connsiteY127" fmla="*/ 465450 h 1642056"/>
                    <a:gd name="connsiteX128" fmla="*/ 1352885 w 1805054"/>
                    <a:gd name="connsiteY128" fmla="*/ 470280 h 1642056"/>
                    <a:gd name="connsiteX129" fmla="*/ 1357111 w 1805054"/>
                    <a:gd name="connsiteY129" fmla="*/ 471487 h 1642056"/>
                    <a:gd name="connsiteX130" fmla="*/ 1358922 w 1805054"/>
                    <a:gd name="connsiteY130" fmla="*/ 477524 h 1642056"/>
                    <a:gd name="connsiteX131" fmla="*/ 1363148 w 1805054"/>
                    <a:gd name="connsiteY131" fmla="*/ 481750 h 1642056"/>
                    <a:gd name="connsiteX132" fmla="*/ 1360734 w 1805054"/>
                    <a:gd name="connsiteY132" fmla="*/ 484769 h 1642056"/>
                    <a:gd name="connsiteX133" fmla="*/ 1357111 w 1805054"/>
                    <a:gd name="connsiteY133" fmla="*/ 484165 h 1642056"/>
                    <a:gd name="connsiteX134" fmla="*/ 1357111 w 1805054"/>
                    <a:gd name="connsiteY134" fmla="*/ 478732 h 1642056"/>
                    <a:gd name="connsiteX135" fmla="*/ 1349263 w 1805054"/>
                    <a:gd name="connsiteY135" fmla="*/ 477524 h 1642056"/>
                    <a:gd name="connsiteX136" fmla="*/ 1342623 w 1805054"/>
                    <a:gd name="connsiteY136" fmla="*/ 482354 h 1642056"/>
                    <a:gd name="connsiteX137" fmla="*/ 1342019 w 1805054"/>
                    <a:gd name="connsiteY137" fmla="*/ 487787 h 1642056"/>
                    <a:gd name="connsiteX138" fmla="*/ 1339000 w 1805054"/>
                    <a:gd name="connsiteY138" fmla="*/ 487787 h 1642056"/>
                    <a:gd name="connsiteX139" fmla="*/ 1331756 w 1805054"/>
                    <a:gd name="connsiteY139" fmla="*/ 493221 h 1642056"/>
                    <a:gd name="connsiteX140" fmla="*/ 1330549 w 1805054"/>
                    <a:gd name="connsiteY140" fmla="*/ 495635 h 1642056"/>
                    <a:gd name="connsiteX141" fmla="*/ 1335378 w 1805054"/>
                    <a:gd name="connsiteY141" fmla="*/ 498050 h 1642056"/>
                    <a:gd name="connsiteX142" fmla="*/ 1339000 w 1805054"/>
                    <a:gd name="connsiteY142" fmla="*/ 498050 h 1642056"/>
                    <a:gd name="connsiteX143" fmla="*/ 1343830 w 1805054"/>
                    <a:gd name="connsiteY143" fmla="*/ 503483 h 1642056"/>
                    <a:gd name="connsiteX144" fmla="*/ 1346848 w 1805054"/>
                    <a:gd name="connsiteY144" fmla="*/ 498654 h 1642056"/>
                    <a:gd name="connsiteX145" fmla="*/ 1350471 w 1805054"/>
                    <a:gd name="connsiteY145" fmla="*/ 501672 h 1642056"/>
                    <a:gd name="connsiteX146" fmla="*/ 1346848 w 1805054"/>
                    <a:gd name="connsiteY146" fmla="*/ 504691 h 1642056"/>
                    <a:gd name="connsiteX147" fmla="*/ 1345641 w 1805054"/>
                    <a:gd name="connsiteY147" fmla="*/ 508917 h 1642056"/>
                    <a:gd name="connsiteX148" fmla="*/ 1338397 w 1805054"/>
                    <a:gd name="connsiteY148" fmla="*/ 508917 h 1642056"/>
                    <a:gd name="connsiteX149" fmla="*/ 1337793 w 1805054"/>
                    <a:gd name="connsiteY149" fmla="*/ 513746 h 1642056"/>
                    <a:gd name="connsiteX150" fmla="*/ 1341415 w 1805054"/>
                    <a:gd name="connsiteY150" fmla="*/ 516765 h 1642056"/>
                    <a:gd name="connsiteX151" fmla="*/ 1334774 w 1805054"/>
                    <a:gd name="connsiteY151" fmla="*/ 517368 h 1642056"/>
                    <a:gd name="connsiteX152" fmla="*/ 1334774 w 1805054"/>
                    <a:gd name="connsiteY152" fmla="*/ 520387 h 1642056"/>
                    <a:gd name="connsiteX153" fmla="*/ 1340811 w 1805054"/>
                    <a:gd name="connsiteY153" fmla="*/ 521594 h 1642056"/>
                    <a:gd name="connsiteX154" fmla="*/ 1337189 w 1805054"/>
                    <a:gd name="connsiteY154" fmla="*/ 526424 h 1642056"/>
                    <a:gd name="connsiteX155" fmla="*/ 1335982 w 1805054"/>
                    <a:gd name="connsiteY155" fmla="*/ 532461 h 1642056"/>
                    <a:gd name="connsiteX156" fmla="*/ 1332360 w 1805054"/>
                    <a:gd name="connsiteY156" fmla="*/ 531857 h 1642056"/>
                    <a:gd name="connsiteX157" fmla="*/ 1328134 w 1805054"/>
                    <a:gd name="connsiteY157" fmla="*/ 533668 h 1642056"/>
                    <a:gd name="connsiteX158" fmla="*/ 1328738 w 1805054"/>
                    <a:gd name="connsiteY158" fmla="*/ 537291 h 1642056"/>
                    <a:gd name="connsiteX159" fmla="*/ 1334774 w 1805054"/>
                    <a:gd name="connsiteY159" fmla="*/ 536687 h 1642056"/>
                    <a:gd name="connsiteX160" fmla="*/ 1339000 w 1805054"/>
                    <a:gd name="connsiteY160" fmla="*/ 539102 h 1642056"/>
                    <a:gd name="connsiteX161" fmla="*/ 1338397 w 1805054"/>
                    <a:gd name="connsiteY161" fmla="*/ 549364 h 1642056"/>
                    <a:gd name="connsiteX162" fmla="*/ 1345641 w 1805054"/>
                    <a:gd name="connsiteY162" fmla="*/ 549968 h 1642056"/>
                    <a:gd name="connsiteX163" fmla="*/ 1354093 w 1805054"/>
                    <a:gd name="connsiteY163" fmla="*/ 552987 h 1642056"/>
                    <a:gd name="connsiteX164" fmla="*/ 1355904 w 1805054"/>
                    <a:gd name="connsiteY164" fmla="*/ 551175 h 1642056"/>
                    <a:gd name="connsiteX165" fmla="*/ 1360130 w 1805054"/>
                    <a:gd name="connsiteY165" fmla="*/ 552383 h 1642056"/>
                    <a:gd name="connsiteX166" fmla="*/ 1361941 w 1805054"/>
                    <a:gd name="connsiteY166" fmla="*/ 548157 h 1642056"/>
                    <a:gd name="connsiteX167" fmla="*/ 1368582 w 1805054"/>
                    <a:gd name="connsiteY167" fmla="*/ 551779 h 1642056"/>
                    <a:gd name="connsiteX168" fmla="*/ 1369789 w 1805054"/>
                    <a:gd name="connsiteY168" fmla="*/ 556609 h 1642056"/>
                    <a:gd name="connsiteX169" fmla="*/ 1379448 w 1805054"/>
                    <a:gd name="connsiteY169" fmla="*/ 562646 h 1642056"/>
                    <a:gd name="connsiteX170" fmla="*/ 1386089 w 1805054"/>
                    <a:gd name="connsiteY170" fmla="*/ 552987 h 1642056"/>
                    <a:gd name="connsiteX171" fmla="*/ 1383674 w 1805054"/>
                    <a:gd name="connsiteY171" fmla="*/ 549364 h 1642056"/>
                    <a:gd name="connsiteX172" fmla="*/ 1383070 w 1805054"/>
                    <a:gd name="connsiteY172" fmla="*/ 545139 h 1642056"/>
                    <a:gd name="connsiteX173" fmla="*/ 1384881 w 1805054"/>
                    <a:gd name="connsiteY173" fmla="*/ 541516 h 1642056"/>
                    <a:gd name="connsiteX174" fmla="*/ 1378844 w 1805054"/>
                    <a:gd name="connsiteY174" fmla="*/ 539102 h 1642056"/>
                    <a:gd name="connsiteX175" fmla="*/ 1380656 w 1805054"/>
                    <a:gd name="connsiteY175" fmla="*/ 524009 h 1642056"/>
                    <a:gd name="connsiteX176" fmla="*/ 1377033 w 1805054"/>
                    <a:gd name="connsiteY176" fmla="*/ 522198 h 1642056"/>
                    <a:gd name="connsiteX177" fmla="*/ 1375222 w 1805054"/>
                    <a:gd name="connsiteY177" fmla="*/ 519783 h 1642056"/>
                    <a:gd name="connsiteX178" fmla="*/ 1379448 w 1805054"/>
                    <a:gd name="connsiteY178" fmla="*/ 512539 h 1642056"/>
                    <a:gd name="connsiteX179" fmla="*/ 1384278 w 1805054"/>
                    <a:gd name="connsiteY179" fmla="*/ 512539 h 1642056"/>
                    <a:gd name="connsiteX180" fmla="*/ 1385485 w 1805054"/>
                    <a:gd name="connsiteY180" fmla="*/ 510728 h 1642056"/>
                    <a:gd name="connsiteX181" fmla="*/ 1380052 w 1805054"/>
                    <a:gd name="connsiteY181" fmla="*/ 506502 h 1642056"/>
                    <a:gd name="connsiteX182" fmla="*/ 1380052 w 1805054"/>
                    <a:gd name="connsiteY182" fmla="*/ 504087 h 1642056"/>
                    <a:gd name="connsiteX183" fmla="*/ 1391522 w 1805054"/>
                    <a:gd name="connsiteY183" fmla="*/ 504691 h 1642056"/>
                    <a:gd name="connsiteX184" fmla="*/ 1395748 w 1805054"/>
                    <a:gd name="connsiteY184" fmla="*/ 501069 h 1642056"/>
                    <a:gd name="connsiteX185" fmla="*/ 1399974 w 1805054"/>
                    <a:gd name="connsiteY185" fmla="*/ 502276 h 1642056"/>
                    <a:gd name="connsiteX186" fmla="*/ 1403596 w 1805054"/>
                    <a:gd name="connsiteY186" fmla="*/ 506502 h 1642056"/>
                    <a:gd name="connsiteX187" fmla="*/ 1403596 w 1805054"/>
                    <a:gd name="connsiteY187" fmla="*/ 510728 h 1642056"/>
                    <a:gd name="connsiteX188" fmla="*/ 1409029 w 1805054"/>
                    <a:gd name="connsiteY188" fmla="*/ 513143 h 1642056"/>
                    <a:gd name="connsiteX189" fmla="*/ 1413255 w 1805054"/>
                    <a:gd name="connsiteY189" fmla="*/ 510728 h 1642056"/>
                    <a:gd name="connsiteX190" fmla="*/ 1416274 w 1805054"/>
                    <a:gd name="connsiteY190" fmla="*/ 502276 h 1642056"/>
                    <a:gd name="connsiteX191" fmla="*/ 1413255 w 1805054"/>
                    <a:gd name="connsiteY191" fmla="*/ 500465 h 1642056"/>
                    <a:gd name="connsiteX192" fmla="*/ 1407218 w 1805054"/>
                    <a:gd name="connsiteY192" fmla="*/ 492013 h 1642056"/>
                    <a:gd name="connsiteX193" fmla="*/ 1412048 w 1805054"/>
                    <a:gd name="connsiteY193" fmla="*/ 492617 h 1642056"/>
                    <a:gd name="connsiteX194" fmla="*/ 1416877 w 1805054"/>
                    <a:gd name="connsiteY194" fmla="*/ 487787 h 1642056"/>
                    <a:gd name="connsiteX195" fmla="*/ 1412048 w 1805054"/>
                    <a:gd name="connsiteY195" fmla="*/ 485373 h 1642056"/>
                    <a:gd name="connsiteX196" fmla="*/ 1410237 w 1805054"/>
                    <a:gd name="connsiteY196" fmla="*/ 482958 h 1642056"/>
                    <a:gd name="connsiteX197" fmla="*/ 1401181 w 1805054"/>
                    <a:gd name="connsiteY197" fmla="*/ 478128 h 1642056"/>
                    <a:gd name="connsiteX198" fmla="*/ 1401181 w 1805054"/>
                    <a:gd name="connsiteY198" fmla="*/ 475713 h 1642056"/>
                    <a:gd name="connsiteX199" fmla="*/ 1407218 w 1805054"/>
                    <a:gd name="connsiteY199" fmla="*/ 475110 h 1642056"/>
                    <a:gd name="connsiteX200" fmla="*/ 1412652 w 1805054"/>
                    <a:gd name="connsiteY200" fmla="*/ 476317 h 1642056"/>
                    <a:gd name="connsiteX201" fmla="*/ 1416274 w 1805054"/>
                    <a:gd name="connsiteY201" fmla="*/ 478732 h 1642056"/>
                    <a:gd name="connsiteX202" fmla="*/ 1418085 w 1805054"/>
                    <a:gd name="connsiteY202" fmla="*/ 484165 h 1642056"/>
                    <a:gd name="connsiteX203" fmla="*/ 1421103 w 1805054"/>
                    <a:gd name="connsiteY203" fmla="*/ 485373 h 1642056"/>
                    <a:gd name="connsiteX204" fmla="*/ 1425329 w 1805054"/>
                    <a:gd name="connsiteY204" fmla="*/ 482958 h 1642056"/>
                    <a:gd name="connsiteX205" fmla="*/ 1431970 w 1805054"/>
                    <a:gd name="connsiteY205" fmla="*/ 483561 h 1642056"/>
                    <a:gd name="connsiteX206" fmla="*/ 1433781 w 1805054"/>
                    <a:gd name="connsiteY206" fmla="*/ 482354 h 1642056"/>
                    <a:gd name="connsiteX207" fmla="*/ 1441025 w 1805054"/>
                    <a:gd name="connsiteY207" fmla="*/ 482958 h 1642056"/>
                    <a:gd name="connsiteX208" fmla="*/ 1444647 w 1805054"/>
                    <a:gd name="connsiteY208" fmla="*/ 486580 h 1642056"/>
                    <a:gd name="connsiteX209" fmla="*/ 1446458 w 1805054"/>
                    <a:gd name="connsiteY209" fmla="*/ 492617 h 1642056"/>
                    <a:gd name="connsiteX210" fmla="*/ 1438007 w 1805054"/>
                    <a:gd name="connsiteY210" fmla="*/ 492013 h 1642056"/>
                    <a:gd name="connsiteX211" fmla="*/ 1436196 w 1805054"/>
                    <a:gd name="connsiteY211" fmla="*/ 496239 h 1642056"/>
                    <a:gd name="connsiteX212" fmla="*/ 1440422 w 1805054"/>
                    <a:gd name="connsiteY212" fmla="*/ 497446 h 1642056"/>
                    <a:gd name="connsiteX213" fmla="*/ 1446458 w 1805054"/>
                    <a:gd name="connsiteY213" fmla="*/ 502880 h 1642056"/>
                    <a:gd name="connsiteX214" fmla="*/ 1443440 w 1805054"/>
                    <a:gd name="connsiteY214" fmla="*/ 504087 h 1642056"/>
                    <a:gd name="connsiteX215" fmla="*/ 1438007 w 1805054"/>
                    <a:gd name="connsiteY215" fmla="*/ 503483 h 1642056"/>
                    <a:gd name="connsiteX216" fmla="*/ 1437403 w 1805054"/>
                    <a:gd name="connsiteY216" fmla="*/ 507106 h 1642056"/>
                    <a:gd name="connsiteX217" fmla="*/ 1445251 w 1805054"/>
                    <a:gd name="connsiteY217" fmla="*/ 506502 h 1642056"/>
                    <a:gd name="connsiteX218" fmla="*/ 1448873 w 1805054"/>
                    <a:gd name="connsiteY218" fmla="*/ 509520 h 1642056"/>
                    <a:gd name="connsiteX219" fmla="*/ 1451892 w 1805054"/>
                    <a:gd name="connsiteY219" fmla="*/ 507106 h 1642056"/>
                    <a:gd name="connsiteX220" fmla="*/ 1454910 w 1805054"/>
                    <a:gd name="connsiteY220" fmla="*/ 508917 h 1642056"/>
                    <a:gd name="connsiteX221" fmla="*/ 1454910 w 1805054"/>
                    <a:gd name="connsiteY221" fmla="*/ 513746 h 1642056"/>
                    <a:gd name="connsiteX222" fmla="*/ 1453099 w 1805054"/>
                    <a:gd name="connsiteY222" fmla="*/ 522802 h 1642056"/>
                    <a:gd name="connsiteX223" fmla="*/ 1456118 w 1805054"/>
                    <a:gd name="connsiteY223" fmla="*/ 524613 h 1642056"/>
                    <a:gd name="connsiteX224" fmla="*/ 1460947 w 1805054"/>
                    <a:gd name="connsiteY224" fmla="*/ 521594 h 1642056"/>
                    <a:gd name="connsiteX225" fmla="*/ 1466984 w 1805054"/>
                    <a:gd name="connsiteY225" fmla="*/ 515557 h 1642056"/>
                    <a:gd name="connsiteX226" fmla="*/ 1474832 w 1805054"/>
                    <a:gd name="connsiteY226" fmla="*/ 515557 h 1642056"/>
                    <a:gd name="connsiteX227" fmla="*/ 1479662 w 1805054"/>
                    <a:gd name="connsiteY227" fmla="*/ 513143 h 1642056"/>
                    <a:gd name="connsiteX228" fmla="*/ 1477851 w 1805054"/>
                    <a:gd name="connsiteY228" fmla="*/ 507106 h 1642056"/>
                    <a:gd name="connsiteX229" fmla="*/ 1477247 w 1805054"/>
                    <a:gd name="connsiteY229" fmla="*/ 496239 h 1642056"/>
                    <a:gd name="connsiteX230" fmla="*/ 1484492 w 1805054"/>
                    <a:gd name="connsiteY230" fmla="*/ 495032 h 1642056"/>
                    <a:gd name="connsiteX231" fmla="*/ 1489925 w 1805054"/>
                    <a:gd name="connsiteY231" fmla="*/ 486580 h 1642056"/>
                    <a:gd name="connsiteX232" fmla="*/ 1495962 w 1805054"/>
                    <a:gd name="connsiteY232" fmla="*/ 487787 h 1642056"/>
                    <a:gd name="connsiteX233" fmla="*/ 1499584 w 1805054"/>
                    <a:gd name="connsiteY233" fmla="*/ 483561 h 1642056"/>
                    <a:gd name="connsiteX234" fmla="*/ 1506828 w 1805054"/>
                    <a:gd name="connsiteY234" fmla="*/ 481147 h 1642056"/>
                    <a:gd name="connsiteX235" fmla="*/ 1508036 w 1805054"/>
                    <a:gd name="connsiteY235" fmla="*/ 478128 h 1642056"/>
                    <a:gd name="connsiteX236" fmla="*/ 1506828 w 1805054"/>
                    <a:gd name="connsiteY236" fmla="*/ 472695 h 1642056"/>
                    <a:gd name="connsiteX237" fmla="*/ 1509847 w 1805054"/>
                    <a:gd name="connsiteY237" fmla="*/ 470884 h 1642056"/>
                    <a:gd name="connsiteX238" fmla="*/ 1509847 w 1805054"/>
                    <a:gd name="connsiteY238" fmla="*/ 467262 h 1642056"/>
                    <a:gd name="connsiteX239" fmla="*/ 1513469 w 1805054"/>
                    <a:gd name="connsiteY239" fmla="*/ 467865 h 1642056"/>
                    <a:gd name="connsiteX240" fmla="*/ 1515280 w 1805054"/>
                    <a:gd name="connsiteY240" fmla="*/ 465450 h 1642056"/>
                    <a:gd name="connsiteX241" fmla="*/ 1521921 w 1805054"/>
                    <a:gd name="connsiteY241" fmla="*/ 465450 h 1642056"/>
                    <a:gd name="connsiteX242" fmla="*/ 1522524 w 1805054"/>
                    <a:gd name="connsiteY242" fmla="*/ 468469 h 1642056"/>
                    <a:gd name="connsiteX243" fmla="*/ 1529165 w 1805054"/>
                    <a:gd name="connsiteY243" fmla="*/ 469676 h 1642056"/>
                    <a:gd name="connsiteX244" fmla="*/ 1526147 w 1805054"/>
                    <a:gd name="connsiteY244" fmla="*/ 472695 h 1642056"/>
                    <a:gd name="connsiteX245" fmla="*/ 1537617 w 1805054"/>
                    <a:gd name="connsiteY245" fmla="*/ 482958 h 1642056"/>
                    <a:gd name="connsiteX246" fmla="*/ 1541843 w 1805054"/>
                    <a:gd name="connsiteY246" fmla="*/ 484165 h 1642056"/>
                    <a:gd name="connsiteX247" fmla="*/ 1538824 w 1805054"/>
                    <a:gd name="connsiteY247" fmla="*/ 501069 h 1642056"/>
                    <a:gd name="connsiteX248" fmla="*/ 1535806 w 1805054"/>
                    <a:gd name="connsiteY248" fmla="*/ 507709 h 1642056"/>
                    <a:gd name="connsiteX249" fmla="*/ 1533391 w 1805054"/>
                    <a:gd name="connsiteY249" fmla="*/ 518576 h 1642056"/>
                    <a:gd name="connsiteX250" fmla="*/ 1534598 w 1805054"/>
                    <a:gd name="connsiteY250" fmla="*/ 522802 h 1642056"/>
                    <a:gd name="connsiteX251" fmla="*/ 1533391 w 1805054"/>
                    <a:gd name="connsiteY251" fmla="*/ 535479 h 1642056"/>
                    <a:gd name="connsiteX252" fmla="*/ 1537013 w 1805054"/>
                    <a:gd name="connsiteY252" fmla="*/ 536687 h 1642056"/>
                    <a:gd name="connsiteX253" fmla="*/ 1537013 w 1805054"/>
                    <a:gd name="connsiteY253" fmla="*/ 542120 h 1642056"/>
                    <a:gd name="connsiteX254" fmla="*/ 1534598 w 1805054"/>
                    <a:gd name="connsiteY254" fmla="*/ 542120 h 1642056"/>
                    <a:gd name="connsiteX255" fmla="*/ 1535202 w 1805054"/>
                    <a:gd name="connsiteY255" fmla="*/ 551779 h 1642056"/>
                    <a:gd name="connsiteX256" fmla="*/ 1534598 w 1805054"/>
                    <a:gd name="connsiteY256" fmla="*/ 556609 h 1642056"/>
                    <a:gd name="connsiteX257" fmla="*/ 1530976 w 1805054"/>
                    <a:gd name="connsiteY257" fmla="*/ 556005 h 1642056"/>
                    <a:gd name="connsiteX258" fmla="*/ 1529165 w 1805054"/>
                    <a:gd name="connsiteY258" fmla="*/ 559627 h 1642056"/>
                    <a:gd name="connsiteX259" fmla="*/ 1530373 w 1805054"/>
                    <a:gd name="connsiteY259" fmla="*/ 562646 h 1642056"/>
                    <a:gd name="connsiteX260" fmla="*/ 1528561 w 1805054"/>
                    <a:gd name="connsiteY260" fmla="*/ 567475 h 1642056"/>
                    <a:gd name="connsiteX261" fmla="*/ 1526750 w 1805054"/>
                    <a:gd name="connsiteY261" fmla="*/ 583171 h 1642056"/>
                    <a:gd name="connsiteX262" fmla="*/ 1529769 w 1805054"/>
                    <a:gd name="connsiteY262" fmla="*/ 583775 h 1642056"/>
                    <a:gd name="connsiteX263" fmla="*/ 1532184 w 1805054"/>
                    <a:gd name="connsiteY263" fmla="*/ 587397 h 1642056"/>
                    <a:gd name="connsiteX264" fmla="*/ 1527354 w 1805054"/>
                    <a:gd name="connsiteY264" fmla="*/ 592227 h 1642056"/>
                    <a:gd name="connsiteX265" fmla="*/ 1530976 w 1805054"/>
                    <a:gd name="connsiteY265" fmla="*/ 597660 h 1642056"/>
                    <a:gd name="connsiteX266" fmla="*/ 1536410 w 1805054"/>
                    <a:gd name="connsiteY266" fmla="*/ 593434 h 1642056"/>
                    <a:gd name="connsiteX267" fmla="*/ 1543654 w 1805054"/>
                    <a:gd name="connsiteY267" fmla="*/ 597660 h 1642056"/>
                    <a:gd name="connsiteX268" fmla="*/ 1545465 w 1805054"/>
                    <a:gd name="connsiteY268" fmla="*/ 586190 h 1642056"/>
                    <a:gd name="connsiteX269" fmla="*/ 1548483 w 1805054"/>
                    <a:gd name="connsiteY269" fmla="*/ 577738 h 1642056"/>
                    <a:gd name="connsiteX270" fmla="*/ 1556331 w 1805054"/>
                    <a:gd name="connsiteY270" fmla="*/ 576531 h 1642056"/>
                    <a:gd name="connsiteX271" fmla="*/ 1560557 w 1805054"/>
                    <a:gd name="connsiteY271" fmla="*/ 581360 h 1642056"/>
                    <a:gd name="connsiteX272" fmla="*/ 1565991 w 1805054"/>
                    <a:gd name="connsiteY272" fmla="*/ 578946 h 1642056"/>
                    <a:gd name="connsiteX273" fmla="*/ 1564179 w 1805054"/>
                    <a:gd name="connsiteY273" fmla="*/ 574116 h 1642056"/>
                    <a:gd name="connsiteX274" fmla="*/ 1559954 w 1805054"/>
                    <a:gd name="connsiteY274" fmla="*/ 573512 h 1642056"/>
                    <a:gd name="connsiteX275" fmla="*/ 1554520 w 1805054"/>
                    <a:gd name="connsiteY275" fmla="*/ 567475 h 1642056"/>
                    <a:gd name="connsiteX276" fmla="*/ 1557539 w 1805054"/>
                    <a:gd name="connsiteY276" fmla="*/ 559627 h 1642056"/>
                    <a:gd name="connsiteX277" fmla="*/ 1564783 w 1805054"/>
                    <a:gd name="connsiteY277" fmla="*/ 562042 h 1642056"/>
                    <a:gd name="connsiteX278" fmla="*/ 1570820 w 1805054"/>
                    <a:gd name="connsiteY278" fmla="*/ 568079 h 1642056"/>
                    <a:gd name="connsiteX279" fmla="*/ 1580479 w 1805054"/>
                    <a:gd name="connsiteY279" fmla="*/ 567475 h 1642056"/>
                    <a:gd name="connsiteX280" fmla="*/ 1580479 w 1805054"/>
                    <a:gd name="connsiteY280" fmla="*/ 561438 h 1642056"/>
                    <a:gd name="connsiteX281" fmla="*/ 1585309 w 1805054"/>
                    <a:gd name="connsiteY281" fmla="*/ 560835 h 1642056"/>
                    <a:gd name="connsiteX282" fmla="*/ 1588931 w 1805054"/>
                    <a:gd name="connsiteY282" fmla="*/ 565060 h 1642056"/>
                    <a:gd name="connsiteX283" fmla="*/ 1595572 w 1805054"/>
                    <a:gd name="connsiteY283" fmla="*/ 565060 h 1642056"/>
                    <a:gd name="connsiteX284" fmla="*/ 1597987 w 1805054"/>
                    <a:gd name="connsiteY284" fmla="*/ 567475 h 1642056"/>
                    <a:gd name="connsiteX285" fmla="*/ 1602212 w 1805054"/>
                    <a:gd name="connsiteY285" fmla="*/ 565060 h 1642056"/>
                    <a:gd name="connsiteX286" fmla="*/ 1604023 w 1805054"/>
                    <a:gd name="connsiteY286" fmla="*/ 560835 h 1642056"/>
                    <a:gd name="connsiteX287" fmla="*/ 1606438 w 1805054"/>
                    <a:gd name="connsiteY287" fmla="*/ 562646 h 1642056"/>
                    <a:gd name="connsiteX288" fmla="*/ 1610664 w 1805054"/>
                    <a:gd name="connsiteY288" fmla="*/ 564457 h 1642056"/>
                    <a:gd name="connsiteX289" fmla="*/ 1612475 w 1805054"/>
                    <a:gd name="connsiteY289" fmla="*/ 567475 h 1642056"/>
                    <a:gd name="connsiteX290" fmla="*/ 1611872 w 1805054"/>
                    <a:gd name="connsiteY290" fmla="*/ 574720 h 1642056"/>
                    <a:gd name="connsiteX291" fmla="*/ 1613683 w 1805054"/>
                    <a:gd name="connsiteY291" fmla="*/ 578946 h 1642056"/>
                    <a:gd name="connsiteX292" fmla="*/ 1610664 w 1805054"/>
                    <a:gd name="connsiteY292" fmla="*/ 580757 h 1642056"/>
                    <a:gd name="connsiteX293" fmla="*/ 1612475 w 1805054"/>
                    <a:gd name="connsiteY293" fmla="*/ 584379 h 1642056"/>
                    <a:gd name="connsiteX294" fmla="*/ 1618512 w 1805054"/>
                    <a:gd name="connsiteY294" fmla="*/ 585586 h 1642056"/>
                    <a:gd name="connsiteX295" fmla="*/ 1619116 w 1805054"/>
                    <a:gd name="connsiteY295" fmla="*/ 592227 h 1642056"/>
                    <a:gd name="connsiteX296" fmla="*/ 1620323 w 1805054"/>
                    <a:gd name="connsiteY296" fmla="*/ 598868 h 1642056"/>
                    <a:gd name="connsiteX297" fmla="*/ 1614286 w 1805054"/>
                    <a:gd name="connsiteY297" fmla="*/ 608527 h 1642056"/>
                    <a:gd name="connsiteX298" fmla="*/ 1617305 w 1805054"/>
                    <a:gd name="connsiteY298" fmla="*/ 611545 h 1642056"/>
                    <a:gd name="connsiteX299" fmla="*/ 1622134 w 1805054"/>
                    <a:gd name="connsiteY299" fmla="*/ 612753 h 1642056"/>
                    <a:gd name="connsiteX300" fmla="*/ 1617909 w 1805054"/>
                    <a:gd name="connsiteY300" fmla="*/ 617582 h 1642056"/>
                    <a:gd name="connsiteX301" fmla="*/ 1618512 w 1805054"/>
                    <a:gd name="connsiteY301" fmla="*/ 625430 h 1642056"/>
                    <a:gd name="connsiteX302" fmla="*/ 1619720 w 1805054"/>
                    <a:gd name="connsiteY302" fmla="*/ 628449 h 1642056"/>
                    <a:gd name="connsiteX303" fmla="*/ 1627568 w 1805054"/>
                    <a:gd name="connsiteY303" fmla="*/ 629656 h 1642056"/>
                    <a:gd name="connsiteX304" fmla="*/ 1630586 w 1805054"/>
                    <a:gd name="connsiteY304" fmla="*/ 633882 h 1642056"/>
                    <a:gd name="connsiteX305" fmla="*/ 1631190 w 1805054"/>
                    <a:gd name="connsiteY305" fmla="*/ 638712 h 1642056"/>
                    <a:gd name="connsiteX306" fmla="*/ 1638434 w 1805054"/>
                    <a:gd name="connsiteY306" fmla="*/ 642938 h 1642056"/>
                    <a:gd name="connsiteX307" fmla="*/ 1635416 w 1805054"/>
                    <a:gd name="connsiteY307" fmla="*/ 651389 h 1642056"/>
                    <a:gd name="connsiteX308" fmla="*/ 1639038 w 1805054"/>
                    <a:gd name="connsiteY308" fmla="*/ 657426 h 1642056"/>
                    <a:gd name="connsiteX309" fmla="*/ 1646282 w 1805054"/>
                    <a:gd name="connsiteY309" fmla="*/ 661048 h 1642056"/>
                    <a:gd name="connsiteX310" fmla="*/ 1652319 w 1805054"/>
                    <a:gd name="connsiteY310" fmla="*/ 661652 h 1642056"/>
                    <a:gd name="connsiteX311" fmla="*/ 1661978 w 1805054"/>
                    <a:gd name="connsiteY311" fmla="*/ 670707 h 1642056"/>
                    <a:gd name="connsiteX312" fmla="*/ 1668619 w 1805054"/>
                    <a:gd name="connsiteY312" fmla="*/ 674330 h 1642056"/>
                    <a:gd name="connsiteX313" fmla="*/ 1672241 w 1805054"/>
                    <a:gd name="connsiteY313" fmla="*/ 671915 h 1642056"/>
                    <a:gd name="connsiteX314" fmla="*/ 1677071 w 1805054"/>
                    <a:gd name="connsiteY314" fmla="*/ 671915 h 1642056"/>
                    <a:gd name="connsiteX315" fmla="*/ 1676467 w 1805054"/>
                    <a:gd name="connsiteY315" fmla="*/ 677348 h 1642056"/>
                    <a:gd name="connsiteX316" fmla="*/ 1671638 w 1805054"/>
                    <a:gd name="connsiteY316" fmla="*/ 680367 h 1642056"/>
                    <a:gd name="connsiteX317" fmla="*/ 1675260 w 1805054"/>
                    <a:gd name="connsiteY317" fmla="*/ 683385 h 1642056"/>
                    <a:gd name="connsiteX318" fmla="*/ 1674656 w 1805054"/>
                    <a:gd name="connsiteY318" fmla="*/ 687007 h 1642056"/>
                    <a:gd name="connsiteX319" fmla="*/ 1678278 w 1805054"/>
                    <a:gd name="connsiteY319" fmla="*/ 688818 h 1642056"/>
                    <a:gd name="connsiteX320" fmla="*/ 1682504 w 1805054"/>
                    <a:gd name="connsiteY320" fmla="*/ 694855 h 1642056"/>
                    <a:gd name="connsiteX321" fmla="*/ 1682504 w 1805054"/>
                    <a:gd name="connsiteY321" fmla="*/ 700289 h 1642056"/>
                    <a:gd name="connsiteX322" fmla="*/ 1688541 w 1805054"/>
                    <a:gd name="connsiteY322" fmla="*/ 703911 h 1642056"/>
                    <a:gd name="connsiteX323" fmla="*/ 1684919 w 1805054"/>
                    <a:gd name="connsiteY323" fmla="*/ 709344 h 1642056"/>
                    <a:gd name="connsiteX324" fmla="*/ 1680089 w 1805054"/>
                    <a:gd name="connsiteY324" fmla="*/ 710552 h 1642056"/>
                    <a:gd name="connsiteX325" fmla="*/ 1676467 w 1805054"/>
                    <a:gd name="connsiteY325" fmla="*/ 709948 h 1642056"/>
                    <a:gd name="connsiteX326" fmla="*/ 1674656 w 1805054"/>
                    <a:gd name="connsiteY326" fmla="*/ 714777 h 1642056"/>
                    <a:gd name="connsiteX327" fmla="*/ 1672241 w 1805054"/>
                    <a:gd name="connsiteY327" fmla="*/ 717796 h 1642056"/>
                    <a:gd name="connsiteX328" fmla="*/ 1672845 w 1805054"/>
                    <a:gd name="connsiteY328" fmla="*/ 720211 h 1642056"/>
                    <a:gd name="connsiteX329" fmla="*/ 1661978 w 1805054"/>
                    <a:gd name="connsiteY329" fmla="*/ 723229 h 1642056"/>
                    <a:gd name="connsiteX330" fmla="*/ 1656545 w 1805054"/>
                    <a:gd name="connsiteY330" fmla="*/ 729870 h 1642056"/>
                    <a:gd name="connsiteX331" fmla="*/ 1658356 w 1805054"/>
                    <a:gd name="connsiteY331" fmla="*/ 734699 h 1642056"/>
                    <a:gd name="connsiteX332" fmla="*/ 1662582 w 1805054"/>
                    <a:gd name="connsiteY332" fmla="*/ 731681 h 1642056"/>
                    <a:gd name="connsiteX333" fmla="*/ 1666204 w 1805054"/>
                    <a:gd name="connsiteY333" fmla="*/ 732285 h 1642056"/>
                    <a:gd name="connsiteX334" fmla="*/ 1664997 w 1805054"/>
                    <a:gd name="connsiteY334" fmla="*/ 738925 h 1642056"/>
                    <a:gd name="connsiteX335" fmla="*/ 1673449 w 1805054"/>
                    <a:gd name="connsiteY335" fmla="*/ 743755 h 1642056"/>
                    <a:gd name="connsiteX336" fmla="*/ 1685523 w 1805054"/>
                    <a:gd name="connsiteY336" fmla="*/ 744962 h 1642056"/>
                    <a:gd name="connsiteX337" fmla="*/ 1687937 w 1805054"/>
                    <a:gd name="connsiteY337" fmla="*/ 738925 h 1642056"/>
                    <a:gd name="connsiteX338" fmla="*/ 1695182 w 1805054"/>
                    <a:gd name="connsiteY338" fmla="*/ 750396 h 1642056"/>
                    <a:gd name="connsiteX339" fmla="*/ 1698804 w 1805054"/>
                    <a:gd name="connsiteY339" fmla="*/ 750396 h 1642056"/>
                    <a:gd name="connsiteX340" fmla="*/ 1698804 w 1805054"/>
                    <a:gd name="connsiteY340" fmla="*/ 744359 h 1642056"/>
                    <a:gd name="connsiteX341" fmla="*/ 1701219 w 1805054"/>
                    <a:gd name="connsiteY341" fmla="*/ 742548 h 1642056"/>
                    <a:gd name="connsiteX342" fmla="*/ 1703634 w 1805054"/>
                    <a:gd name="connsiteY342" fmla="*/ 747377 h 1642056"/>
                    <a:gd name="connsiteX343" fmla="*/ 1701823 w 1805054"/>
                    <a:gd name="connsiteY343" fmla="*/ 752810 h 1642056"/>
                    <a:gd name="connsiteX344" fmla="*/ 1696993 w 1805054"/>
                    <a:gd name="connsiteY344" fmla="*/ 752207 h 1642056"/>
                    <a:gd name="connsiteX345" fmla="*/ 1692767 w 1805054"/>
                    <a:gd name="connsiteY345" fmla="*/ 755225 h 1642056"/>
                    <a:gd name="connsiteX346" fmla="*/ 1687937 w 1805054"/>
                    <a:gd name="connsiteY346" fmla="*/ 755225 h 1642056"/>
                    <a:gd name="connsiteX347" fmla="*/ 1682504 w 1805054"/>
                    <a:gd name="connsiteY347" fmla="*/ 757640 h 1642056"/>
                    <a:gd name="connsiteX348" fmla="*/ 1669223 w 1805054"/>
                    <a:gd name="connsiteY348" fmla="*/ 766092 h 1642056"/>
                    <a:gd name="connsiteX349" fmla="*/ 1656545 w 1805054"/>
                    <a:gd name="connsiteY349" fmla="*/ 769714 h 1642056"/>
                    <a:gd name="connsiteX350" fmla="*/ 1649301 w 1805054"/>
                    <a:gd name="connsiteY350" fmla="*/ 772732 h 1642056"/>
                    <a:gd name="connsiteX351" fmla="*/ 1643868 w 1805054"/>
                    <a:gd name="connsiteY351" fmla="*/ 775751 h 1642056"/>
                    <a:gd name="connsiteX352" fmla="*/ 1642660 w 1805054"/>
                    <a:gd name="connsiteY352" fmla="*/ 779373 h 1642056"/>
                    <a:gd name="connsiteX353" fmla="*/ 1637227 w 1805054"/>
                    <a:gd name="connsiteY353" fmla="*/ 781184 h 1642056"/>
                    <a:gd name="connsiteX354" fmla="*/ 1636020 w 1805054"/>
                    <a:gd name="connsiteY354" fmla="*/ 786617 h 1642056"/>
                    <a:gd name="connsiteX355" fmla="*/ 1640245 w 1805054"/>
                    <a:gd name="connsiteY355" fmla="*/ 792051 h 1642056"/>
                    <a:gd name="connsiteX356" fmla="*/ 1638434 w 1805054"/>
                    <a:gd name="connsiteY356" fmla="*/ 799899 h 1642056"/>
                    <a:gd name="connsiteX357" fmla="*/ 1642660 w 1805054"/>
                    <a:gd name="connsiteY357" fmla="*/ 801106 h 1642056"/>
                    <a:gd name="connsiteX358" fmla="*/ 1645679 w 1805054"/>
                    <a:gd name="connsiteY358" fmla="*/ 803521 h 1642056"/>
                    <a:gd name="connsiteX359" fmla="*/ 1642057 w 1805054"/>
                    <a:gd name="connsiteY359" fmla="*/ 808954 h 1642056"/>
                    <a:gd name="connsiteX360" fmla="*/ 1648697 w 1805054"/>
                    <a:gd name="connsiteY360" fmla="*/ 807143 h 1642056"/>
                    <a:gd name="connsiteX361" fmla="*/ 1651716 w 1805054"/>
                    <a:gd name="connsiteY361" fmla="*/ 804125 h 1642056"/>
                    <a:gd name="connsiteX362" fmla="*/ 1649301 w 1805054"/>
                    <a:gd name="connsiteY362" fmla="*/ 799295 h 1642056"/>
                    <a:gd name="connsiteX363" fmla="*/ 1652319 w 1805054"/>
                    <a:gd name="connsiteY363" fmla="*/ 785410 h 1642056"/>
                    <a:gd name="connsiteX364" fmla="*/ 1655941 w 1805054"/>
                    <a:gd name="connsiteY364" fmla="*/ 786014 h 1642056"/>
                    <a:gd name="connsiteX365" fmla="*/ 1657149 w 1805054"/>
                    <a:gd name="connsiteY365" fmla="*/ 791447 h 1642056"/>
                    <a:gd name="connsiteX366" fmla="*/ 1666204 w 1805054"/>
                    <a:gd name="connsiteY366" fmla="*/ 790843 h 1642056"/>
                    <a:gd name="connsiteX367" fmla="*/ 1668015 w 1805054"/>
                    <a:gd name="connsiteY367" fmla="*/ 789032 h 1642056"/>
                    <a:gd name="connsiteX368" fmla="*/ 1675260 w 1805054"/>
                    <a:gd name="connsiteY368" fmla="*/ 788428 h 1642056"/>
                    <a:gd name="connsiteX369" fmla="*/ 1678882 w 1805054"/>
                    <a:gd name="connsiteY369" fmla="*/ 785410 h 1642056"/>
                    <a:gd name="connsiteX370" fmla="*/ 1685523 w 1805054"/>
                    <a:gd name="connsiteY370" fmla="*/ 783599 h 1642056"/>
                    <a:gd name="connsiteX371" fmla="*/ 1688541 w 1805054"/>
                    <a:gd name="connsiteY371" fmla="*/ 779373 h 1642056"/>
                    <a:gd name="connsiteX372" fmla="*/ 1697597 w 1805054"/>
                    <a:gd name="connsiteY372" fmla="*/ 777562 h 1642056"/>
                    <a:gd name="connsiteX373" fmla="*/ 1696389 w 1805054"/>
                    <a:gd name="connsiteY373" fmla="*/ 772732 h 1642056"/>
                    <a:gd name="connsiteX374" fmla="*/ 1699408 w 1805054"/>
                    <a:gd name="connsiteY374" fmla="*/ 767903 h 1642056"/>
                    <a:gd name="connsiteX375" fmla="*/ 1704237 w 1805054"/>
                    <a:gd name="connsiteY375" fmla="*/ 767299 h 1642056"/>
                    <a:gd name="connsiteX376" fmla="*/ 1707859 w 1805054"/>
                    <a:gd name="connsiteY376" fmla="*/ 764281 h 1642056"/>
                    <a:gd name="connsiteX377" fmla="*/ 1712689 w 1805054"/>
                    <a:gd name="connsiteY377" fmla="*/ 767903 h 1642056"/>
                    <a:gd name="connsiteX378" fmla="*/ 1715707 w 1805054"/>
                    <a:gd name="connsiteY378" fmla="*/ 766695 h 1642056"/>
                    <a:gd name="connsiteX379" fmla="*/ 1729593 w 1805054"/>
                    <a:gd name="connsiteY379" fmla="*/ 772129 h 1642056"/>
                    <a:gd name="connsiteX380" fmla="*/ 1733215 w 1805054"/>
                    <a:gd name="connsiteY380" fmla="*/ 775751 h 1642056"/>
                    <a:gd name="connsiteX381" fmla="*/ 1737441 w 1805054"/>
                    <a:gd name="connsiteY381" fmla="*/ 770317 h 1642056"/>
                    <a:gd name="connsiteX382" fmla="*/ 1741063 w 1805054"/>
                    <a:gd name="connsiteY382" fmla="*/ 770317 h 1642056"/>
                    <a:gd name="connsiteX383" fmla="*/ 1744081 w 1805054"/>
                    <a:gd name="connsiteY383" fmla="*/ 773336 h 1642056"/>
                    <a:gd name="connsiteX384" fmla="*/ 1748307 w 1805054"/>
                    <a:gd name="connsiteY384" fmla="*/ 770317 h 1642056"/>
                    <a:gd name="connsiteX385" fmla="*/ 1750722 w 1805054"/>
                    <a:gd name="connsiteY385" fmla="*/ 773940 h 1642056"/>
                    <a:gd name="connsiteX386" fmla="*/ 1754344 w 1805054"/>
                    <a:gd name="connsiteY386" fmla="*/ 770921 h 1642056"/>
                    <a:gd name="connsiteX387" fmla="*/ 1759174 w 1805054"/>
                    <a:gd name="connsiteY387" fmla="*/ 771525 h 1642056"/>
                    <a:gd name="connsiteX388" fmla="*/ 1763400 w 1805054"/>
                    <a:gd name="connsiteY388" fmla="*/ 779373 h 1642056"/>
                    <a:gd name="connsiteX389" fmla="*/ 1765211 w 1805054"/>
                    <a:gd name="connsiteY389" fmla="*/ 776958 h 1642056"/>
                    <a:gd name="connsiteX390" fmla="*/ 1764607 w 1805054"/>
                    <a:gd name="connsiteY390" fmla="*/ 769714 h 1642056"/>
                    <a:gd name="connsiteX391" fmla="*/ 1768229 w 1805054"/>
                    <a:gd name="connsiteY391" fmla="*/ 769714 h 1642056"/>
                    <a:gd name="connsiteX392" fmla="*/ 1773662 w 1805054"/>
                    <a:gd name="connsiteY392" fmla="*/ 772732 h 1642056"/>
                    <a:gd name="connsiteX393" fmla="*/ 1777285 w 1805054"/>
                    <a:gd name="connsiteY393" fmla="*/ 770921 h 1642056"/>
                    <a:gd name="connsiteX394" fmla="*/ 1779096 w 1805054"/>
                    <a:gd name="connsiteY394" fmla="*/ 766695 h 1642056"/>
                    <a:gd name="connsiteX395" fmla="*/ 1779699 w 1805054"/>
                    <a:gd name="connsiteY395" fmla="*/ 760658 h 1642056"/>
                    <a:gd name="connsiteX396" fmla="*/ 1784529 w 1805054"/>
                    <a:gd name="connsiteY396" fmla="*/ 760055 h 1642056"/>
                    <a:gd name="connsiteX397" fmla="*/ 1795396 w 1805054"/>
                    <a:gd name="connsiteY397" fmla="*/ 762469 h 1642056"/>
                    <a:gd name="connsiteX398" fmla="*/ 1803847 w 1805054"/>
                    <a:gd name="connsiteY398" fmla="*/ 765488 h 1642056"/>
                    <a:gd name="connsiteX399" fmla="*/ 1809884 w 1805054"/>
                    <a:gd name="connsiteY399" fmla="*/ 766092 h 1642056"/>
                    <a:gd name="connsiteX400" fmla="*/ 1807470 w 1805054"/>
                    <a:gd name="connsiteY400" fmla="*/ 773336 h 1642056"/>
                    <a:gd name="connsiteX401" fmla="*/ 1802640 w 1805054"/>
                    <a:gd name="connsiteY401" fmla="*/ 777562 h 1642056"/>
                    <a:gd name="connsiteX402" fmla="*/ 1798414 w 1805054"/>
                    <a:gd name="connsiteY402" fmla="*/ 778769 h 1642056"/>
                    <a:gd name="connsiteX403" fmla="*/ 1799018 w 1805054"/>
                    <a:gd name="connsiteY403" fmla="*/ 787825 h 1642056"/>
                    <a:gd name="connsiteX404" fmla="*/ 1789359 w 1805054"/>
                    <a:gd name="connsiteY404" fmla="*/ 790240 h 1642056"/>
                    <a:gd name="connsiteX405" fmla="*/ 1792981 w 1805054"/>
                    <a:gd name="connsiteY405" fmla="*/ 796277 h 1642056"/>
                    <a:gd name="connsiteX406" fmla="*/ 1792377 w 1805054"/>
                    <a:gd name="connsiteY406" fmla="*/ 798691 h 1642056"/>
                    <a:gd name="connsiteX407" fmla="*/ 1786340 w 1805054"/>
                    <a:gd name="connsiteY407" fmla="*/ 798088 h 1642056"/>
                    <a:gd name="connsiteX408" fmla="*/ 1780303 w 1805054"/>
                    <a:gd name="connsiteY408" fmla="*/ 795673 h 1642056"/>
                    <a:gd name="connsiteX409" fmla="*/ 1775473 w 1805054"/>
                    <a:gd name="connsiteY409" fmla="*/ 798691 h 1642056"/>
                    <a:gd name="connsiteX410" fmla="*/ 1775473 w 1805054"/>
                    <a:gd name="connsiteY410" fmla="*/ 802917 h 1642056"/>
                    <a:gd name="connsiteX411" fmla="*/ 1779096 w 1805054"/>
                    <a:gd name="connsiteY411" fmla="*/ 808351 h 1642056"/>
                    <a:gd name="connsiteX412" fmla="*/ 1774266 w 1805054"/>
                    <a:gd name="connsiteY412" fmla="*/ 810765 h 1642056"/>
                    <a:gd name="connsiteX413" fmla="*/ 1774266 w 1805054"/>
                    <a:gd name="connsiteY413" fmla="*/ 822839 h 1642056"/>
                    <a:gd name="connsiteX414" fmla="*/ 1771851 w 1805054"/>
                    <a:gd name="connsiteY414" fmla="*/ 824650 h 1642056"/>
                    <a:gd name="connsiteX415" fmla="*/ 1766418 w 1805054"/>
                    <a:gd name="connsiteY415" fmla="*/ 821632 h 1642056"/>
                    <a:gd name="connsiteX416" fmla="*/ 1754344 w 1805054"/>
                    <a:gd name="connsiteY416" fmla="*/ 818613 h 1642056"/>
                    <a:gd name="connsiteX417" fmla="*/ 1749515 w 1805054"/>
                    <a:gd name="connsiteY417" fmla="*/ 824650 h 1642056"/>
                    <a:gd name="connsiteX418" fmla="*/ 1743478 w 1805054"/>
                    <a:gd name="connsiteY418" fmla="*/ 828272 h 1642056"/>
                    <a:gd name="connsiteX419" fmla="*/ 1736233 w 1805054"/>
                    <a:gd name="connsiteY419" fmla="*/ 827065 h 1642056"/>
                    <a:gd name="connsiteX420" fmla="*/ 1733818 w 1805054"/>
                    <a:gd name="connsiteY420" fmla="*/ 830084 h 1642056"/>
                    <a:gd name="connsiteX421" fmla="*/ 1733215 w 1805054"/>
                    <a:gd name="connsiteY421" fmla="*/ 834913 h 1642056"/>
                    <a:gd name="connsiteX422" fmla="*/ 1731404 w 1805054"/>
                    <a:gd name="connsiteY422" fmla="*/ 837932 h 1642056"/>
                    <a:gd name="connsiteX423" fmla="*/ 1723556 w 1805054"/>
                    <a:gd name="connsiteY423" fmla="*/ 839139 h 1642056"/>
                    <a:gd name="connsiteX424" fmla="*/ 1718726 w 1805054"/>
                    <a:gd name="connsiteY424" fmla="*/ 842761 h 1642056"/>
                    <a:gd name="connsiteX425" fmla="*/ 1719933 w 1805054"/>
                    <a:gd name="connsiteY425" fmla="*/ 848798 h 1642056"/>
                    <a:gd name="connsiteX426" fmla="*/ 1717519 w 1805054"/>
                    <a:gd name="connsiteY426" fmla="*/ 853024 h 1642056"/>
                    <a:gd name="connsiteX427" fmla="*/ 1714500 w 1805054"/>
                    <a:gd name="connsiteY427" fmla="*/ 854232 h 1642056"/>
                    <a:gd name="connsiteX428" fmla="*/ 1707859 w 1805054"/>
                    <a:gd name="connsiteY428" fmla="*/ 853024 h 1642056"/>
                    <a:gd name="connsiteX429" fmla="*/ 1702426 w 1805054"/>
                    <a:gd name="connsiteY429" fmla="*/ 856043 h 1642056"/>
                    <a:gd name="connsiteX430" fmla="*/ 1700011 w 1805054"/>
                    <a:gd name="connsiteY430" fmla="*/ 862080 h 1642056"/>
                    <a:gd name="connsiteX431" fmla="*/ 1693371 w 1805054"/>
                    <a:gd name="connsiteY431" fmla="*/ 865702 h 1642056"/>
                    <a:gd name="connsiteX432" fmla="*/ 1687937 w 1805054"/>
                    <a:gd name="connsiteY432" fmla="*/ 863287 h 1642056"/>
                    <a:gd name="connsiteX433" fmla="*/ 1678882 w 1805054"/>
                    <a:gd name="connsiteY433" fmla="*/ 869324 h 1642056"/>
                    <a:gd name="connsiteX434" fmla="*/ 1673449 w 1805054"/>
                    <a:gd name="connsiteY434" fmla="*/ 875964 h 1642056"/>
                    <a:gd name="connsiteX435" fmla="*/ 1663789 w 1805054"/>
                    <a:gd name="connsiteY435" fmla="*/ 879587 h 1642056"/>
                    <a:gd name="connsiteX436" fmla="*/ 1657752 w 1805054"/>
                    <a:gd name="connsiteY436" fmla="*/ 885020 h 1642056"/>
                    <a:gd name="connsiteX437" fmla="*/ 1647490 w 1805054"/>
                    <a:gd name="connsiteY437" fmla="*/ 885020 h 1642056"/>
                    <a:gd name="connsiteX438" fmla="*/ 1637831 w 1805054"/>
                    <a:gd name="connsiteY438" fmla="*/ 886831 h 1642056"/>
                    <a:gd name="connsiteX439" fmla="*/ 1640245 w 1805054"/>
                    <a:gd name="connsiteY439" fmla="*/ 893472 h 1642056"/>
                    <a:gd name="connsiteX440" fmla="*/ 1639038 w 1805054"/>
                    <a:gd name="connsiteY440" fmla="*/ 896490 h 1642056"/>
                    <a:gd name="connsiteX441" fmla="*/ 1633001 w 1805054"/>
                    <a:gd name="connsiteY441" fmla="*/ 895887 h 1642056"/>
                    <a:gd name="connsiteX442" fmla="*/ 1629379 w 1805054"/>
                    <a:gd name="connsiteY442" fmla="*/ 897094 h 1642056"/>
                    <a:gd name="connsiteX443" fmla="*/ 1625153 w 1805054"/>
                    <a:gd name="connsiteY443" fmla="*/ 895283 h 1642056"/>
                    <a:gd name="connsiteX444" fmla="*/ 1615494 w 1805054"/>
                    <a:gd name="connsiteY444" fmla="*/ 900716 h 1642056"/>
                    <a:gd name="connsiteX445" fmla="*/ 1613683 w 1805054"/>
                    <a:gd name="connsiteY445" fmla="*/ 907961 h 1642056"/>
                    <a:gd name="connsiteX446" fmla="*/ 1604627 w 1805054"/>
                    <a:gd name="connsiteY446" fmla="*/ 917016 h 1642056"/>
                    <a:gd name="connsiteX447" fmla="*/ 1599194 w 1805054"/>
                    <a:gd name="connsiteY447" fmla="*/ 920035 h 1642056"/>
                    <a:gd name="connsiteX448" fmla="*/ 1590139 w 1805054"/>
                    <a:gd name="connsiteY448" fmla="*/ 926675 h 1642056"/>
                    <a:gd name="connsiteX449" fmla="*/ 1584102 w 1805054"/>
                    <a:gd name="connsiteY449" fmla="*/ 924260 h 1642056"/>
                    <a:gd name="connsiteX450" fmla="*/ 1576857 w 1805054"/>
                    <a:gd name="connsiteY450" fmla="*/ 925468 h 1642056"/>
                    <a:gd name="connsiteX451" fmla="*/ 1573235 w 1805054"/>
                    <a:gd name="connsiteY451" fmla="*/ 927279 h 1642056"/>
                    <a:gd name="connsiteX452" fmla="*/ 1569613 w 1805054"/>
                    <a:gd name="connsiteY452" fmla="*/ 935731 h 1642056"/>
                    <a:gd name="connsiteX453" fmla="*/ 1567198 w 1805054"/>
                    <a:gd name="connsiteY453" fmla="*/ 937542 h 1642056"/>
                    <a:gd name="connsiteX454" fmla="*/ 1560557 w 1805054"/>
                    <a:gd name="connsiteY454" fmla="*/ 937542 h 1642056"/>
                    <a:gd name="connsiteX455" fmla="*/ 1554520 w 1805054"/>
                    <a:gd name="connsiteY455" fmla="*/ 939956 h 1642056"/>
                    <a:gd name="connsiteX456" fmla="*/ 1550898 w 1805054"/>
                    <a:gd name="connsiteY456" fmla="*/ 944182 h 1642056"/>
                    <a:gd name="connsiteX457" fmla="*/ 1548483 w 1805054"/>
                    <a:gd name="connsiteY457" fmla="*/ 949012 h 1642056"/>
                    <a:gd name="connsiteX458" fmla="*/ 1537013 w 1805054"/>
                    <a:gd name="connsiteY458" fmla="*/ 956256 h 1642056"/>
                    <a:gd name="connsiteX459" fmla="*/ 1530373 w 1805054"/>
                    <a:gd name="connsiteY459" fmla="*/ 957464 h 1642056"/>
                    <a:gd name="connsiteX460" fmla="*/ 1526750 w 1805054"/>
                    <a:gd name="connsiteY460" fmla="*/ 959275 h 1642056"/>
                    <a:gd name="connsiteX461" fmla="*/ 1523128 w 1805054"/>
                    <a:gd name="connsiteY461" fmla="*/ 967727 h 1642056"/>
                    <a:gd name="connsiteX462" fmla="*/ 1514676 w 1805054"/>
                    <a:gd name="connsiteY462" fmla="*/ 973764 h 1642056"/>
                    <a:gd name="connsiteX463" fmla="*/ 1517091 w 1805054"/>
                    <a:gd name="connsiteY463" fmla="*/ 977989 h 1642056"/>
                    <a:gd name="connsiteX464" fmla="*/ 1512262 w 1805054"/>
                    <a:gd name="connsiteY464" fmla="*/ 984026 h 1642056"/>
                    <a:gd name="connsiteX465" fmla="*/ 1512262 w 1805054"/>
                    <a:gd name="connsiteY465" fmla="*/ 987045 h 1642056"/>
                    <a:gd name="connsiteX466" fmla="*/ 1507432 w 1805054"/>
                    <a:gd name="connsiteY466" fmla="*/ 993082 h 1642056"/>
                    <a:gd name="connsiteX467" fmla="*/ 1500791 w 1805054"/>
                    <a:gd name="connsiteY467" fmla="*/ 993685 h 1642056"/>
                    <a:gd name="connsiteX468" fmla="*/ 1500791 w 1805054"/>
                    <a:gd name="connsiteY468" fmla="*/ 998515 h 1642056"/>
                    <a:gd name="connsiteX469" fmla="*/ 1494754 w 1805054"/>
                    <a:gd name="connsiteY469" fmla="*/ 1002741 h 1642056"/>
                    <a:gd name="connsiteX470" fmla="*/ 1491132 w 1805054"/>
                    <a:gd name="connsiteY470" fmla="*/ 1003345 h 1642056"/>
                    <a:gd name="connsiteX471" fmla="*/ 1482680 w 1805054"/>
                    <a:gd name="connsiteY471" fmla="*/ 1000930 h 1642056"/>
                    <a:gd name="connsiteX472" fmla="*/ 1476040 w 1805054"/>
                    <a:gd name="connsiteY472" fmla="*/ 1002137 h 1642056"/>
                    <a:gd name="connsiteX473" fmla="*/ 1474229 w 1805054"/>
                    <a:gd name="connsiteY473" fmla="*/ 1009382 h 1642056"/>
                    <a:gd name="connsiteX474" fmla="*/ 1466984 w 1805054"/>
                    <a:gd name="connsiteY474" fmla="*/ 1008778 h 1642056"/>
                    <a:gd name="connsiteX475" fmla="*/ 1464569 w 1805054"/>
                    <a:gd name="connsiteY475" fmla="*/ 1011193 h 1642056"/>
                    <a:gd name="connsiteX476" fmla="*/ 1460344 w 1805054"/>
                    <a:gd name="connsiteY476" fmla="*/ 1017230 h 1642056"/>
                    <a:gd name="connsiteX477" fmla="*/ 1456721 w 1805054"/>
                    <a:gd name="connsiteY477" fmla="*/ 1020852 h 1642056"/>
                    <a:gd name="connsiteX478" fmla="*/ 1453099 w 1805054"/>
                    <a:gd name="connsiteY478" fmla="*/ 1026889 h 1642056"/>
                    <a:gd name="connsiteX479" fmla="*/ 1451288 w 1805054"/>
                    <a:gd name="connsiteY479" fmla="*/ 1034133 h 1642056"/>
                    <a:gd name="connsiteX480" fmla="*/ 1453099 w 1805054"/>
                    <a:gd name="connsiteY480" fmla="*/ 1039566 h 1642056"/>
                    <a:gd name="connsiteX481" fmla="*/ 1452495 w 1805054"/>
                    <a:gd name="connsiteY481" fmla="*/ 1041981 h 1642056"/>
                    <a:gd name="connsiteX482" fmla="*/ 1447666 w 1805054"/>
                    <a:gd name="connsiteY482" fmla="*/ 1042585 h 1642056"/>
                    <a:gd name="connsiteX483" fmla="*/ 1443440 w 1805054"/>
                    <a:gd name="connsiteY483" fmla="*/ 1045000 h 1642056"/>
                    <a:gd name="connsiteX484" fmla="*/ 1442233 w 1805054"/>
                    <a:gd name="connsiteY484" fmla="*/ 1050433 h 1642056"/>
                    <a:gd name="connsiteX485" fmla="*/ 1448873 w 1805054"/>
                    <a:gd name="connsiteY485" fmla="*/ 1055263 h 1642056"/>
                    <a:gd name="connsiteX486" fmla="*/ 1446458 w 1805054"/>
                    <a:gd name="connsiteY486" fmla="*/ 1061300 h 1642056"/>
                    <a:gd name="connsiteX487" fmla="*/ 1450081 w 1805054"/>
                    <a:gd name="connsiteY487" fmla="*/ 1064318 h 1642056"/>
                    <a:gd name="connsiteX488" fmla="*/ 1450081 w 1805054"/>
                    <a:gd name="connsiteY488" fmla="*/ 1070355 h 1642056"/>
                    <a:gd name="connsiteX489" fmla="*/ 1448873 w 1805054"/>
                    <a:gd name="connsiteY489" fmla="*/ 1076996 h 1642056"/>
                    <a:gd name="connsiteX490" fmla="*/ 1451288 w 1805054"/>
                    <a:gd name="connsiteY490" fmla="*/ 1083637 h 1642056"/>
                    <a:gd name="connsiteX491" fmla="*/ 1450684 w 1805054"/>
                    <a:gd name="connsiteY491" fmla="*/ 1088466 h 1642056"/>
                    <a:gd name="connsiteX492" fmla="*/ 1454307 w 1805054"/>
                    <a:gd name="connsiteY492" fmla="*/ 1092692 h 1642056"/>
                    <a:gd name="connsiteX493" fmla="*/ 1459136 w 1805054"/>
                    <a:gd name="connsiteY493" fmla="*/ 1101144 h 1642056"/>
                    <a:gd name="connsiteX494" fmla="*/ 1459740 w 1805054"/>
                    <a:gd name="connsiteY494" fmla="*/ 1108388 h 1642056"/>
                    <a:gd name="connsiteX495" fmla="*/ 1465173 w 1805054"/>
                    <a:gd name="connsiteY495" fmla="*/ 1110803 h 1642056"/>
                    <a:gd name="connsiteX496" fmla="*/ 1468192 w 1805054"/>
                    <a:gd name="connsiteY496" fmla="*/ 1120462 h 1642056"/>
                    <a:gd name="connsiteX497" fmla="*/ 1472418 w 1805054"/>
                    <a:gd name="connsiteY497" fmla="*/ 1123480 h 1642056"/>
                    <a:gd name="connsiteX498" fmla="*/ 1474832 w 1805054"/>
                    <a:gd name="connsiteY498" fmla="*/ 1122273 h 1642056"/>
                    <a:gd name="connsiteX499" fmla="*/ 1483888 w 1805054"/>
                    <a:gd name="connsiteY499" fmla="*/ 1130121 h 1642056"/>
                    <a:gd name="connsiteX500" fmla="*/ 1491132 w 1805054"/>
                    <a:gd name="connsiteY500" fmla="*/ 1130725 h 1642056"/>
                    <a:gd name="connsiteX501" fmla="*/ 1496565 w 1805054"/>
                    <a:gd name="connsiteY501" fmla="*/ 1129517 h 1642056"/>
                    <a:gd name="connsiteX502" fmla="*/ 1501999 w 1805054"/>
                    <a:gd name="connsiteY502" fmla="*/ 1132536 h 1642056"/>
                    <a:gd name="connsiteX503" fmla="*/ 1503206 w 1805054"/>
                    <a:gd name="connsiteY503" fmla="*/ 1136762 h 1642056"/>
                    <a:gd name="connsiteX504" fmla="*/ 1517695 w 1805054"/>
                    <a:gd name="connsiteY504" fmla="*/ 1133743 h 1642056"/>
                    <a:gd name="connsiteX505" fmla="*/ 1527958 w 1805054"/>
                    <a:gd name="connsiteY505" fmla="*/ 1135554 h 1642056"/>
                    <a:gd name="connsiteX506" fmla="*/ 1535202 w 1805054"/>
                    <a:gd name="connsiteY506" fmla="*/ 1140988 h 1642056"/>
                    <a:gd name="connsiteX507" fmla="*/ 1535202 w 1805054"/>
                    <a:gd name="connsiteY507" fmla="*/ 1145214 h 1642056"/>
                    <a:gd name="connsiteX508" fmla="*/ 1540032 w 1805054"/>
                    <a:gd name="connsiteY508" fmla="*/ 1145817 h 1642056"/>
                    <a:gd name="connsiteX509" fmla="*/ 1541239 w 1805054"/>
                    <a:gd name="connsiteY509" fmla="*/ 1141591 h 1642056"/>
                    <a:gd name="connsiteX510" fmla="*/ 1548483 w 1805054"/>
                    <a:gd name="connsiteY510" fmla="*/ 1140384 h 1642056"/>
                    <a:gd name="connsiteX511" fmla="*/ 1555124 w 1805054"/>
                    <a:gd name="connsiteY511" fmla="*/ 1140384 h 1642056"/>
                    <a:gd name="connsiteX512" fmla="*/ 1558142 w 1805054"/>
                    <a:gd name="connsiteY512" fmla="*/ 1134951 h 1642056"/>
                    <a:gd name="connsiteX513" fmla="*/ 1562972 w 1805054"/>
                    <a:gd name="connsiteY513" fmla="*/ 1134951 h 1642056"/>
                    <a:gd name="connsiteX514" fmla="*/ 1565387 w 1805054"/>
                    <a:gd name="connsiteY514" fmla="*/ 1131329 h 1642056"/>
                    <a:gd name="connsiteX515" fmla="*/ 1573839 w 1805054"/>
                    <a:gd name="connsiteY515" fmla="*/ 1132536 h 1642056"/>
                    <a:gd name="connsiteX516" fmla="*/ 1581687 w 1805054"/>
                    <a:gd name="connsiteY516" fmla="*/ 1137366 h 1642056"/>
                    <a:gd name="connsiteX517" fmla="*/ 1588931 w 1805054"/>
                    <a:gd name="connsiteY517" fmla="*/ 1137969 h 1642056"/>
                    <a:gd name="connsiteX518" fmla="*/ 1590742 w 1805054"/>
                    <a:gd name="connsiteY518" fmla="*/ 1133743 h 1642056"/>
                    <a:gd name="connsiteX519" fmla="*/ 1594968 w 1805054"/>
                    <a:gd name="connsiteY519" fmla="*/ 1133743 h 1642056"/>
                    <a:gd name="connsiteX520" fmla="*/ 1595572 w 1805054"/>
                    <a:gd name="connsiteY520" fmla="*/ 1124084 h 1642056"/>
                    <a:gd name="connsiteX521" fmla="*/ 1603420 w 1805054"/>
                    <a:gd name="connsiteY521" fmla="*/ 1118047 h 1642056"/>
                    <a:gd name="connsiteX522" fmla="*/ 1608249 w 1805054"/>
                    <a:gd name="connsiteY522" fmla="*/ 1112614 h 1642056"/>
                    <a:gd name="connsiteX523" fmla="*/ 1613079 w 1805054"/>
                    <a:gd name="connsiteY523" fmla="*/ 1109595 h 1642056"/>
                    <a:gd name="connsiteX524" fmla="*/ 1624549 w 1805054"/>
                    <a:gd name="connsiteY524" fmla="*/ 1115029 h 1642056"/>
                    <a:gd name="connsiteX525" fmla="*/ 1620927 w 1805054"/>
                    <a:gd name="connsiteY525" fmla="*/ 1120462 h 1642056"/>
                    <a:gd name="connsiteX526" fmla="*/ 1623342 w 1805054"/>
                    <a:gd name="connsiteY526" fmla="*/ 1125292 h 1642056"/>
                    <a:gd name="connsiteX527" fmla="*/ 1620927 w 1805054"/>
                    <a:gd name="connsiteY527" fmla="*/ 1131932 h 1642056"/>
                    <a:gd name="connsiteX528" fmla="*/ 1625153 w 1805054"/>
                    <a:gd name="connsiteY528" fmla="*/ 1133140 h 1642056"/>
                    <a:gd name="connsiteX529" fmla="*/ 1626964 w 1805054"/>
                    <a:gd name="connsiteY529" fmla="*/ 1139177 h 1642056"/>
                    <a:gd name="connsiteX530" fmla="*/ 1625757 w 1805054"/>
                    <a:gd name="connsiteY530" fmla="*/ 1144006 h 1642056"/>
                    <a:gd name="connsiteX531" fmla="*/ 1622134 w 1805054"/>
                    <a:gd name="connsiteY531" fmla="*/ 1147025 h 1642056"/>
                    <a:gd name="connsiteX532" fmla="*/ 1624549 w 1805054"/>
                    <a:gd name="connsiteY532" fmla="*/ 1151854 h 1642056"/>
                    <a:gd name="connsiteX533" fmla="*/ 1628171 w 1805054"/>
                    <a:gd name="connsiteY533" fmla="*/ 1153062 h 1642056"/>
                    <a:gd name="connsiteX534" fmla="*/ 1633605 w 1805054"/>
                    <a:gd name="connsiteY534" fmla="*/ 1157287 h 1642056"/>
                    <a:gd name="connsiteX535" fmla="*/ 1636020 w 1805054"/>
                    <a:gd name="connsiteY535" fmla="*/ 1165136 h 1642056"/>
                    <a:gd name="connsiteX536" fmla="*/ 1630586 w 1805054"/>
                    <a:gd name="connsiteY536" fmla="*/ 1166343 h 1642056"/>
                    <a:gd name="connsiteX537" fmla="*/ 1629379 w 1805054"/>
                    <a:gd name="connsiteY537" fmla="*/ 1181435 h 1642056"/>
                    <a:gd name="connsiteX538" fmla="*/ 1621531 w 1805054"/>
                    <a:gd name="connsiteY538" fmla="*/ 1186869 h 1642056"/>
                    <a:gd name="connsiteX539" fmla="*/ 1618512 w 1805054"/>
                    <a:gd name="connsiteY539" fmla="*/ 1186869 h 1642056"/>
                    <a:gd name="connsiteX540" fmla="*/ 1612475 w 1805054"/>
                    <a:gd name="connsiteY540" fmla="*/ 1189887 h 1642056"/>
                    <a:gd name="connsiteX541" fmla="*/ 1608249 w 1805054"/>
                    <a:gd name="connsiteY541" fmla="*/ 1185058 h 1642056"/>
                    <a:gd name="connsiteX542" fmla="*/ 1604023 w 1805054"/>
                    <a:gd name="connsiteY542" fmla="*/ 1182039 h 1642056"/>
                    <a:gd name="connsiteX543" fmla="*/ 1595572 w 1805054"/>
                    <a:gd name="connsiteY543" fmla="*/ 1183850 h 1642056"/>
                    <a:gd name="connsiteX544" fmla="*/ 1590742 w 1805054"/>
                    <a:gd name="connsiteY544" fmla="*/ 1182643 h 1642056"/>
                    <a:gd name="connsiteX545" fmla="*/ 1584705 w 1805054"/>
                    <a:gd name="connsiteY545" fmla="*/ 1183247 h 1642056"/>
                    <a:gd name="connsiteX546" fmla="*/ 1582290 w 1805054"/>
                    <a:gd name="connsiteY546" fmla="*/ 1188680 h 1642056"/>
                    <a:gd name="connsiteX547" fmla="*/ 1576253 w 1805054"/>
                    <a:gd name="connsiteY547" fmla="*/ 1188680 h 1642056"/>
                    <a:gd name="connsiteX548" fmla="*/ 1573235 w 1805054"/>
                    <a:gd name="connsiteY548" fmla="*/ 1193509 h 1642056"/>
                    <a:gd name="connsiteX549" fmla="*/ 1565991 w 1805054"/>
                    <a:gd name="connsiteY549" fmla="*/ 1195924 h 1642056"/>
                    <a:gd name="connsiteX550" fmla="*/ 1553313 w 1805054"/>
                    <a:gd name="connsiteY550" fmla="*/ 1192302 h 1642056"/>
                    <a:gd name="connsiteX551" fmla="*/ 1546672 w 1805054"/>
                    <a:gd name="connsiteY551" fmla="*/ 1191095 h 1642056"/>
                    <a:gd name="connsiteX552" fmla="*/ 1543654 w 1805054"/>
                    <a:gd name="connsiteY552" fmla="*/ 1196528 h 1642056"/>
                    <a:gd name="connsiteX553" fmla="*/ 1540032 w 1805054"/>
                    <a:gd name="connsiteY553" fmla="*/ 1197735 h 1642056"/>
                    <a:gd name="connsiteX554" fmla="*/ 1529769 w 1805054"/>
                    <a:gd name="connsiteY554" fmla="*/ 1201357 h 1642056"/>
                    <a:gd name="connsiteX555" fmla="*/ 1525543 w 1805054"/>
                    <a:gd name="connsiteY555" fmla="*/ 1201357 h 1642056"/>
                    <a:gd name="connsiteX556" fmla="*/ 1523128 w 1805054"/>
                    <a:gd name="connsiteY556" fmla="*/ 1206187 h 1642056"/>
                    <a:gd name="connsiteX557" fmla="*/ 1522524 w 1805054"/>
                    <a:gd name="connsiteY557" fmla="*/ 1215242 h 1642056"/>
                    <a:gd name="connsiteX558" fmla="*/ 1523732 w 1805054"/>
                    <a:gd name="connsiteY558" fmla="*/ 1219468 h 1642056"/>
                    <a:gd name="connsiteX559" fmla="*/ 1534598 w 1805054"/>
                    <a:gd name="connsiteY559" fmla="*/ 1229127 h 1642056"/>
                    <a:gd name="connsiteX560" fmla="*/ 1532184 w 1805054"/>
                    <a:gd name="connsiteY560" fmla="*/ 1234561 h 1642056"/>
                    <a:gd name="connsiteX561" fmla="*/ 1539428 w 1805054"/>
                    <a:gd name="connsiteY561" fmla="*/ 1238183 h 1642056"/>
                    <a:gd name="connsiteX562" fmla="*/ 1534598 w 1805054"/>
                    <a:gd name="connsiteY562" fmla="*/ 1243013 h 1642056"/>
                    <a:gd name="connsiteX563" fmla="*/ 1527958 w 1805054"/>
                    <a:gd name="connsiteY563" fmla="*/ 1245427 h 1642056"/>
                    <a:gd name="connsiteX564" fmla="*/ 1516487 w 1805054"/>
                    <a:gd name="connsiteY564" fmla="*/ 1245427 h 1642056"/>
                    <a:gd name="connsiteX565" fmla="*/ 1509243 w 1805054"/>
                    <a:gd name="connsiteY565" fmla="*/ 1248446 h 1642056"/>
                    <a:gd name="connsiteX566" fmla="*/ 1511658 w 1805054"/>
                    <a:gd name="connsiteY566" fmla="*/ 1253879 h 1642056"/>
                    <a:gd name="connsiteX567" fmla="*/ 1518299 w 1805054"/>
                    <a:gd name="connsiteY567" fmla="*/ 1261123 h 1642056"/>
                    <a:gd name="connsiteX568" fmla="*/ 1517695 w 1805054"/>
                    <a:gd name="connsiteY568" fmla="*/ 1265349 h 1642056"/>
                    <a:gd name="connsiteX569" fmla="*/ 1521317 w 1805054"/>
                    <a:gd name="connsiteY569" fmla="*/ 1265953 h 1642056"/>
                    <a:gd name="connsiteX570" fmla="*/ 1526750 w 1805054"/>
                    <a:gd name="connsiteY570" fmla="*/ 1264746 h 1642056"/>
                    <a:gd name="connsiteX571" fmla="*/ 1529769 w 1805054"/>
                    <a:gd name="connsiteY571" fmla="*/ 1266557 h 1642056"/>
                    <a:gd name="connsiteX572" fmla="*/ 1533995 w 1805054"/>
                    <a:gd name="connsiteY572" fmla="*/ 1265953 h 1642056"/>
                    <a:gd name="connsiteX573" fmla="*/ 1538824 w 1805054"/>
                    <a:gd name="connsiteY573" fmla="*/ 1262331 h 1642056"/>
                    <a:gd name="connsiteX574" fmla="*/ 1542446 w 1805054"/>
                    <a:gd name="connsiteY574" fmla="*/ 1263538 h 1642056"/>
                    <a:gd name="connsiteX575" fmla="*/ 1544257 w 1805054"/>
                    <a:gd name="connsiteY575" fmla="*/ 1270179 h 1642056"/>
                    <a:gd name="connsiteX576" fmla="*/ 1548483 w 1805054"/>
                    <a:gd name="connsiteY576" fmla="*/ 1273197 h 1642056"/>
                    <a:gd name="connsiteX577" fmla="*/ 1553917 w 1805054"/>
                    <a:gd name="connsiteY577" fmla="*/ 1273801 h 1642056"/>
                    <a:gd name="connsiteX578" fmla="*/ 1556935 w 1805054"/>
                    <a:gd name="connsiteY578" fmla="*/ 1276216 h 1642056"/>
                    <a:gd name="connsiteX579" fmla="*/ 1557539 w 1805054"/>
                    <a:gd name="connsiteY579" fmla="*/ 1281045 h 1642056"/>
                    <a:gd name="connsiteX580" fmla="*/ 1562368 w 1805054"/>
                    <a:gd name="connsiteY580" fmla="*/ 1290101 h 1642056"/>
                    <a:gd name="connsiteX581" fmla="*/ 1561765 w 1805054"/>
                    <a:gd name="connsiteY581" fmla="*/ 1300967 h 1642056"/>
                    <a:gd name="connsiteX582" fmla="*/ 1562972 w 1805054"/>
                    <a:gd name="connsiteY582" fmla="*/ 1308212 h 1642056"/>
                    <a:gd name="connsiteX583" fmla="*/ 1559954 w 1805054"/>
                    <a:gd name="connsiteY583" fmla="*/ 1316663 h 1642056"/>
                    <a:gd name="connsiteX584" fmla="*/ 1556331 w 1805054"/>
                    <a:gd name="connsiteY584" fmla="*/ 1316060 h 1642056"/>
                    <a:gd name="connsiteX585" fmla="*/ 1555124 w 1805054"/>
                    <a:gd name="connsiteY585" fmla="*/ 1322097 h 1642056"/>
                    <a:gd name="connsiteX586" fmla="*/ 1548483 w 1805054"/>
                    <a:gd name="connsiteY586" fmla="*/ 1328737 h 1642056"/>
                    <a:gd name="connsiteX587" fmla="*/ 1541843 w 1805054"/>
                    <a:gd name="connsiteY587" fmla="*/ 1331756 h 1642056"/>
                    <a:gd name="connsiteX588" fmla="*/ 1537617 w 1805054"/>
                    <a:gd name="connsiteY588" fmla="*/ 1329945 h 1642056"/>
                    <a:gd name="connsiteX589" fmla="*/ 1532184 w 1805054"/>
                    <a:gd name="connsiteY589" fmla="*/ 1325115 h 1642056"/>
                    <a:gd name="connsiteX590" fmla="*/ 1532787 w 1805054"/>
                    <a:gd name="connsiteY590" fmla="*/ 1314249 h 1642056"/>
                    <a:gd name="connsiteX591" fmla="*/ 1529165 w 1805054"/>
                    <a:gd name="connsiteY591" fmla="*/ 1311834 h 1642056"/>
                    <a:gd name="connsiteX592" fmla="*/ 1526750 w 1805054"/>
                    <a:gd name="connsiteY592" fmla="*/ 1316663 h 1642056"/>
                    <a:gd name="connsiteX593" fmla="*/ 1524336 w 1805054"/>
                    <a:gd name="connsiteY593" fmla="*/ 1316663 h 1642056"/>
                    <a:gd name="connsiteX594" fmla="*/ 1522524 w 1805054"/>
                    <a:gd name="connsiteY594" fmla="*/ 1311230 h 1642056"/>
                    <a:gd name="connsiteX595" fmla="*/ 1518299 w 1805054"/>
                    <a:gd name="connsiteY595" fmla="*/ 1311230 h 1642056"/>
                    <a:gd name="connsiteX596" fmla="*/ 1511658 w 1805054"/>
                    <a:gd name="connsiteY596" fmla="*/ 1314852 h 1642056"/>
                    <a:gd name="connsiteX597" fmla="*/ 1515884 w 1805054"/>
                    <a:gd name="connsiteY597" fmla="*/ 1322700 h 1642056"/>
                    <a:gd name="connsiteX598" fmla="*/ 1518299 w 1805054"/>
                    <a:gd name="connsiteY598" fmla="*/ 1325115 h 1642056"/>
                    <a:gd name="connsiteX599" fmla="*/ 1519506 w 1805054"/>
                    <a:gd name="connsiteY599" fmla="*/ 1329341 h 1642056"/>
                    <a:gd name="connsiteX600" fmla="*/ 1517091 w 1805054"/>
                    <a:gd name="connsiteY600" fmla="*/ 1335378 h 1642056"/>
                    <a:gd name="connsiteX601" fmla="*/ 1518902 w 1805054"/>
                    <a:gd name="connsiteY601" fmla="*/ 1336586 h 1642056"/>
                    <a:gd name="connsiteX602" fmla="*/ 1517091 w 1805054"/>
                    <a:gd name="connsiteY602" fmla="*/ 1343226 h 1642056"/>
                    <a:gd name="connsiteX603" fmla="*/ 1518902 w 1805054"/>
                    <a:gd name="connsiteY603" fmla="*/ 1347452 h 1642056"/>
                    <a:gd name="connsiteX604" fmla="*/ 1518902 w 1805054"/>
                    <a:gd name="connsiteY604" fmla="*/ 1352282 h 1642056"/>
                    <a:gd name="connsiteX605" fmla="*/ 1516487 w 1805054"/>
                    <a:gd name="connsiteY605" fmla="*/ 1354093 h 1642056"/>
                    <a:gd name="connsiteX606" fmla="*/ 1517695 w 1805054"/>
                    <a:gd name="connsiteY606" fmla="*/ 1361337 h 1642056"/>
                    <a:gd name="connsiteX607" fmla="*/ 1520713 w 1805054"/>
                    <a:gd name="connsiteY607" fmla="*/ 1364959 h 1642056"/>
                    <a:gd name="connsiteX608" fmla="*/ 1523732 w 1805054"/>
                    <a:gd name="connsiteY608" fmla="*/ 1374618 h 1642056"/>
                    <a:gd name="connsiteX609" fmla="*/ 1532787 w 1805054"/>
                    <a:gd name="connsiteY609" fmla="*/ 1383070 h 1642056"/>
                    <a:gd name="connsiteX610" fmla="*/ 1533391 w 1805054"/>
                    <a:gd name="connsiteY610" fmla="*/ 1385485 h 1642056"/>
                    <a:gd name="connsiteX611" fmla="*/ 1538221 w 1805054"/>
                    <a:gd name="connsiteY611" fmla="*/ 1390918 h 1642056"/>
                    <a:gd name="connsiteX612" fmla="*/ 1535806 w 1805054"/>
                    <a:gd name="connsiteY612" fmla="*/ 1393333 h 1642056"/>
                    <a:gd name="connsiteX613" fmla="*/ 1532787 w 1805054"/>
                    <a:gd name="connsiteY613" fmla="*/ 1392730 h 1642056"/>
                    <a:gd name="connsiteX614" fmla="*/ 1529165 w 1805054"/>
                    <a:gd name="connsiteY614" fmla="*/ 1406011 h 1642056"/>
                    <a:gd name="connsiteX615" fmla="*/ 1523732 w 1805054"/>
                    <a:gd name="connsiteY615" fmla="*/ 1404200 h 1642056"/>
                    <a:gd name="connsiteX616" fmla="*/ 1520110 w 1805054"/>
                    <a:gd name="connsiteY616" fmla="*/ 1404200 h 1642056"/>
                    <a:gd name="connsiteX617" fmla="*/ 1514073 w 1805054"/>
                    <a:gd name="connsiteY617" fmla="*/ 1407218 h 1642056"/>
                    <a:gd name="connsiteX618" fmla="*/ 1508639 w 1805054"/>
                    <a:gd name="connsiteY618" fmla="*/ 1408426 h 1642056"/>
                    <a:gd name="connsiteX619" fmla="*/ 1506828 w 1805054"/>
                    <a:gd name="connsiteY619" fmla="*/ 1407218 h 1642056"/>
                    <a:gd name="connsiteX620" fmla="*/ 1501999 w 1805054"/>
                    <a:gd name="connsiteY620" fmla="*/ 1398163 h 1642056"/>
                    <a:gd name="connsiteX621" fmla="*/ 1499584 w 1805054"/>
                    <a:gd name="connsiteY621" fmla="*/ 1396955 h 1642056"/>
                    <a:gd name="connsiteX622" fmla="*/ 1494151 w 1805054"/>
                    <a:gd name="connsiteY622" fmla="*/ 1396955 h 1642056"/>
                    <a:gd name="connsiteX623" fmla="*/ 1492339 w 1805054"/>
                    <a:gd name="connsiteY623" fmla="*/ 1398767 h 1642056"/>
                    <a:gd name="connsiteX624" fmla="*/ 1488114 w 1805054"/>
                    <a:gd name="connsiteY624" fmla="*/ 1396955 h 1642056"/>
                    <a:gd name="connsiteX625" fmla="*/ 1482680 w 1805054"/>
                    <a:gd name="connsiteY625" fmla="*/ 1392126 h 1642056"/>
                    <a:gd name="connsiteX626" fmla="*/ 1485699 w 1805054"/>
                    <a:gd name="connsiteY626" fmla="*/ 1383070 h 1642056"/>
                    <a:gd name="connsiteX627" fmla="*/ 1488717 w 1805054"/>
                    <a:gd name="connsiteY627" fmla="*/ 1379448 h 1642056"/>
                    <a:gd name="connsiteX628" fmla="*/ 1486303 w 1805054"/>
                    <a:gd name="connsiteY628" fmla="*/ 1370996 h 1642056"/>
                    <a:gd name="connsiteX629" fmla="*/ 1483888 w 1805054"/>
                    <a:gd name="connsiteY629" fmla="*/ 1374618 h 1642056"/>
                    <a:gd name="connsiteX630" fmla="*/ 1475436 w 1805054"/>
                    <a:gd name="connsiteY630" fmla="*/ 1376430 h 1642056"/>
                    <a:gd name="connsiteX631" fmla="*/ 1470606 w 1805054"/>
                    <a:gd name="connsiteY631" fmla="*/ 1376430 h 1642056"/>
                    <a:gd name="connsiteX632" fmla="*/ 1470003 w 1805054"/>
                    <a:gd name="connsiteY632" fmla="*/ 1380656 h 1642056"/>
                    <a:gd name="connsiteX633" fmla="*/ 1461551 w 1805054"/>
                    <a:gd name="connsiteY633" fmla="*/ 1387296 h 1642056"/>
                    <a:gd name="connsiteX634" fmla="*/ 1460344 w 1805054"/>
                    <a:gd name="connsiteY634" fmla="*/ 1390315 h 1642056"/>
                    <a:gd name="connsiteX635" fmla="*/ 1463362 w 1805054"/>
                    <a:gd name="connsiteY635" fmla="*/ 1394541 h 1642056"/>
                    <a:gd name="connsiteX636" fmla="*/ 1457929 w 1805054"/>
                    <a:gd name="connsiteY636" fmla="*/ 1397559 h 1642056"/>
                    <a:gd name="connsiteX637" fmla="*/ 1451288 w 1805054"/>
                    <a:gd name="connsiteY637" fmla="*/ 1398767 h 1642056"/>
                    <a:gd name="connsiteX638" fmla="*/ 1448873 w 1805054"/>
                    <a:gd name="connsiteY638" fmla="*/ 1395144 h 1642056"/>
                    <a:gd name="connsiteX639" fmla="*/ 1448270 w 1805054"/>
                    <a:gd name="connsiteY639" fmla="*/ 1390315 h 1642056"/>
                    <a:gd name="connsiteX640" fmla="*/ 1445855 w 1805054"/>
                    <a:gd name="connsiteY640" fmla="*/ 1387900 h 1642056"/>
                    <a:gd name="connsiteX641" fmla="*/ 1439214 w 1805054"/>
                    <a:gd name="connsiteY641" fmla="*/ 1383674 h 1642056"/>
                    <a:gd name="connsiteX642" fmla="*/ 1437403 w 1805054"/>
                    <a:gd name="connsiteY642" fmla="*/ 1386693 h 1642056"/>
                    <a:gd name="connsiteX643" fmla="*/ 1430762 w 1805054"/>
                    <a:gd name="connsiteY643" fmla="*/ 1384278 h 1642056"/>
                    <a:gd name="connsiteX644" fmla="*/ 1428348 w 1805054"/>
                    <a:gd name="connsiteY644" fmla="*/ 1388504 h 1642056"/>
                    <a:gd name="connsiteX645" fmla="*/ 1416274 w 1805054"/>
                    <a:gd name="connsiteY645" fmla="*/ 1379448 h 1642056"/>
                    <a:gd name="connsiteX646" fmla="*/ 1409029 w 1805054"/>
                    <a:gd name="connsiteY646" fmla="*/ 1378844 h 1642056"/>
                    <a:gd name="connsiteX647" fmla="*/ 1403596 w 1805054"/>
                    <a:gd name="connsiteY647" fmla="*/ 1381863 h 1642056"/>
                    <a:gd name="connsiteX648" fmla="*/ 1400578 w 1805054"/>
                    <a:gd name="connsiteY648" fmla="*/ 1386693 h 1642056"/>
                    <a:gd name="connsiteX649" fmla="*/ 1394541 w 1805054"/>
                    <a:gd name="connsiteY649" fmla="*/ 1384278 h 1642056"/>
                    <a:gd name="connsiteX650" fmla="*/ 1389711 w 1805054"/>
                    <a:gd name="connsiteY650" fmla="*/ 1384881 h 1642056"/>
                    <a:gd name="connsiteX651" fmla="*/ 1386089 w 1805054"/>
                    <a:gd name="connsiteY651" fmla="*/ 1383070 h 1642056"/>
                    <a:gd name="connsiteX652" fmla="*/ 1386089 w 1805054"/>
                    <a:gd name="connsiteY652" fmla="*/ 1374618 h 1642056"/>
                    <a:gd name="connsiteX653" fmla="*/ 1383674 w 1805054"/>
                    <a:gd name="connsiteY653" fmla="*/ 1370996 h 1642056"/>
                    <a:gd name="connsiteX654" fmla="*/ 1386089 w 1805054"/>
                    <a:gd name="connsiteY654" fmla="*/ 1365563 h 1642056"/>
                    <a:gd name="connsiteX655" fmla="*/ 1381863 w 1805054"/>
                    <a:gd name="connsiteY655" fmla="*/ 1360733 h 1642056"/>
                    <a:gd name="connsiteX656" fmla="*/ 1379448 w 1805054"/>
                    <a:gd name="connsiteY656" fmla="*/ 1364356 h 1642056"/>
                    <a:gd name="connsiteX657" fmla="*/ 1378844 w 1805054"/>
                    <a:gd name="connsiteY657" fmla="*/ 1368581 h 1642056"/>
                    <a:gd name="connsiteX658" fmla="*/ 1374619 w 1805054"/>
                    <a:gd name="connsiteY658" fmla="*/ 1369789 h 1642056"/>
                    <a:gd name="connsiteX659" fmla="*/ 1372808 w 1805054"/>
                    <a:gd name="connsiteY659" fmla="*/ 1372204 h 1642056"/>
                    <a:gd name="connsiteX660" fmla="*/ 1375826 w 1805054"/>
                    <a:gd name="connsiteY660" fmla="*/ 1380656 h 1642056"/>
                    <a:gd name="connsiteX661" fmla="*/ 1375222 w 1805054"/>
                    <a:gd name="connsiteY661" fmla="*/ 1382467 h 1642056"/>
                    <a:gd name="connsiteX662" fmla="*/ 1369185 w 1805054"/>
                    <a:gd name="connsiteY662" fmla="*/ 1389107 h 1642056"/>
                    <a:gd name="connsiteX663" fmla="*/ 1368582 w 1805054"/>
                    <a:gd name="connsiteY663" fmla="*/ 1395144 h 1642056"/>
                    <a:gd name="connsiteX664" fmla="*/ 1370393 w 1805054"/>
                    <a:gd name="connsiteY664" fmla="*/ 1397559 h 1642056"/>
                    <a:gd name="connsiteX665" fmla="*/ 1372204 w 1805054"/>
                    <a:gd name="connsiteY665" fmla="*/ 1406011 h 1642056"/>
                    <a:gd name="connsiteX666" fmla="*/ 1370393 w 1805054"/>
                    <a:gd name="connsiteY666" fmla="*/ 1408426 h 1642056"/>
                    <a:gd name="connsiteX667" fmla="*/ 1371600 w 1805054"/>
                    <a:gd name="connsiteY667" fmla="*/ 1413859 h 1642056"/>
                    <a:gd name="connsiteX668" fmla="*/ 1365563 w 1805054"/>
                    <a:gd name="connsiteY668" fmla="*/ 1413859 h 1642056"/>
                    <a:gd name="connsiteX669" fmla="*/ 1364356 w 1805054"/>
                    <a:gd name="connsiteY669" fmla="*/ 1415670 h 1642056"/>
                    <a:gd name="connsiteX670" fmla="*/ 1352885 w 1805054"/>
                    <a:gd name="connsiteY670" fmla="*/ 1418688 h 1642056"/>
                    <a:gd name="connsiteX671" fmla="*/ 1349263 w 1805054"/>
                    <a:gd name="connsiteY671" fmla="*/ 1424121 h 1642056"/>
                    <a:gd name="connsiteX672" fmla="*/ 1341415 w 1805054"/>
                    <a:gd name="connsiteY672" fmla="*/ 1428951 h 1642056"/>
                    <a:gd name="connsiteX673" fmla="*/ 1335378 w 1805054"/>
                    <a:gd name="connsiteY673" fmla="*/ 1429555 h 1642056"/>
                    <a:gd name="connsiteX674" fmla="*/ 1335378 w 1805054"/>
                    <a:gd name="connsiteY674" fmla="*/ 1436195 h 1642056"/>
                    <a:gd name="connsiteX675" fmla="*/ 1339604 w 1805054"/>
                    <a:gd name="connsiteY675" fmla="*/ 1441629 h 1642056"/>
                    <a:gd name="connsiteX676" fmla="*/ 1339604 w 1805054"/>
                    <a:gd name="connsiteY676" fmla="*/ 1448269 h 1642056"/>
                    <a:gd name="connsiteX677" fmla="*/ 1339000 w 1805054"/>
                    <a:gd name="connsiteY677" fmla="*/ 1450684 h 1642056"/>
                    <a:gd name="connsiteX678" fmla="*/ 1332963 w 1805054"/>
                    <a:gd name="connsiteY678" fmla="*/ 1453099 h 1642056"/>
                    <a:gd name="connsiteX679" fmla="*/ 1329341 w 1805054"/>
                    <a:gd name="connsiteY679" fmla="*/ 1457929 h 1642056"/>
                    <a:gd name="connsiteX680" fmla="*/ 1327530 w 1805054"/>
                    <a:gd name="connsiteY680" fmla="*/ 1457325 h 1642056"/>
                    <a:gd name="connsiteX681" fmla="*/ 1318475 w 1805054"/>
                    <a:gd name="connsiteY681" fmla="*/ 1461551 h 1642056"/>
                    <a:gd name="connsiteX682" fmla="*/ 1313645 w 1805054"/>
                    <a:gd name="connsiteY682" fmla="*/ 1459136 h 1642056"/>
                    <a:gd name="connsiteX683" fmla="*/ 1302779 w 1805054"/>
                    <a:gd name="connsiteY683" fmla="*/ 1464569 h 1642056"/>
                    <a:gd name="connsiteX684" fmla="*/ 1298553 w 1805054"/>
                    <a:gd name="connsiteY684" fmla="*/ 1468192 h 1642056"/>
                    <a:gd name="connsiteX685" fmla="*/ 1294327 w 1805054"/>
                    <a:gd name="connsiteY685" fmla="*/ 1467588 h 1642056"/>
                    <a:gd name="connsiteX686" fmla="*/ 1294327 w 1805054"/>
                    <a:gd name="connsiteY686" fmla="*/ 1462155 h 1642056"/>
                    <a:gd name="connsiteX687" fmla="*/ 1287686 w 1805054"/>
                    <a:gd name="connsiteY687" fmla="*/ 1457929 h 1642056"/>
                    <a:gd name="connsiteX688" fmla="*/ 1282253 w 1805054"/>
                    <a:gd name="connsiteY688" fmla="*/ 1457325 h 1642056"/>
                    <a:gd name="connsiteX689" fmla="*/ 1281649 w 1805054"/>
                    <a:gd name="connsiteY689" fmla="*/ 1463362 h 1642056"/>
                    <a:gd name="connsiteX690" fmla="*/ 1287686 w 1805054"/>
                    <a:gd name="connsiteY690" fmla="*/ 1466380 h 1642056"/>
                    <a:gd name="connsiteX691" fmla="*/ 1286479 w 1805054"/>
                    <a:gd name="connsiteY691" fmla="*/ 1474832 h 1642056"/>
                    <a:gd name="connsiteX692" fmla="*/ 1284668 w 1805054"/>
                    <a:gd name="connsiteY692" fmla="*/ 1477247 h 1642056"/>
                    <a:gd name="connsiteX693" fmla="*/ 1279838 w 1805054"/>
                    <a:gd name="connsiteY693" fmla="*/ 1476040 h 1642056"/>
                    <a:gd name="connsiteX694" fmla="*/ 1281649 w 1805054"/>
                    <a:gd name="connsiteY694" fmla="*/ 1483284 h 1642056"/>
                    <a:gd name="connsiteX695" fmla="*/ 1279234 w 1805054"/>
                    <a:gd name="connsiteY695" fmla="*/ 1486906 h 1642056"/>
                    <a:gd name="connsiteX696" fmla="*/ 1271386 w 1805054"/>
                    <a:gd name="connsiteY696" fmla="*/ 1480869 h 1642056"/>
                    <a:gd name="connsiteX697" fmla="*/ 1264746 w 1805054"/>
                    <a:gd name="connsiteY697" fmla="*/ 1479058 h 1642056"/>
                    <a:gd name="connsiteX698" fmla="*/ 1257501 w 1805054"/>
                    <a:gd name="connsiteY698" fmla="*/ 1480869 h 1642056"/>
                    <a:gd name="connsiteX699" fmla="*/ 1254483 w 1805054"/>
                    <a:gd name="connsiteY699" fmla="*/ 1477247 h 1642056"/>
                    <a:gd name="connsiteX700" fmla="*/ 1255087 w 1805054"/>
                    <a:gd name="connsiteY700" fmla="*/ 1473021 h 1642056"/>
                    <a:gd name="connsiteX701" fmla="*/ 1253275 w 1805054"/>
                    <a:gd name="connsiteY701" fmla="*/ 1467588 h 1642056"/>
                    <a:gd name="connsiteX702" fmla="*/ 1248446 w 1805054"/>
                    <a:gd name="connsiteY702" fmla="*/ 1463362 h 1642056"/>
                    <a:gd name="connsiteX703" fmla="*/ 1241202 w 1805054"/>
                    <a:gd name="connsiteY703" fmla="*/ 1459740 h 1642056"/>
                    <a:gd name="connsiteX704" fmla="*/ 1238183 w 1805054"/>
                    <a:gd name="connsiteY704" fmla="*/ 1455514 h 1642056"/>
                    <a:gd name="connsiteX705" fmla="*/ 1231542 w 1805054"/>
                    <a:gd name="connsiteY705" fmla="*/ 1453703 h 1642056"/>
                    <a:gd name="connsiteX706" fmla="*/ 1233353 w 1805054"/>
                    <a:gd name="connsiteY706" fmla="*/ 1439818 h 1642056"/>
                    <a:gd name="connsiteX707" fmla="*/ 1238787 w 1805054"/>
                    <a:gd name="connsiteY707" fmla="*/ 1434384 h 1642056"/>
                    <a:gd name="connsiteX708" fmla="*/ 1243616 w 1805054"/>
                    <a:gd name="connsiteY708" fmla="*/ 1424725 h 1642056"/>
                    <a:gd name="connsiteX709" fmla="*/ 1247238 w 1805054"/>
                    <a:gd name="connsiteY709" fmla="*/ 1428347 h 1642056"/>
                    <a:gd name="connsiteX710" fmla="*/ 1255690 w 1805054"/>
                    <a:gd name="connsiteY710" fmla="*/ 1431366 h 1642056"/>
                    <a:gd name="connsiteX711" fmla="*/ 1255087 w 1805054"/>
                    <a:gd name="connsiteY711" fmla="*/ 1435592 h 1642056"/>
                    <a:gd name="connsiteX712" fmla="*/ 1258105 w 1805054"/>
                    <a:gd name="connsiteY712" fmla="*/ 1437403 h 1642056"/>
                    <a:gd name="connsiteX713" fmla="*/ 1260520 w 1805054"/>
                    <a:gd name="connsiteY713" fmla="*/ 1435592 h 1642056"/>
                    <a:gd name="connsiteX714" fmla="*/ 1268368 w 1805054"/>
                    <a:gd name="connsiteY714" fmla="*/ 1435592 h 1642056"/>
                    <a:gd name="connsiteX715" fmla="*/ 1269575 w 1805054"/>
                    <a:gd name="connsiteY715" fmla="*/ 1431366 h 1642056"/>
                    <a:gd name="connsiteX716" fmla="*/ 1275612 w 1805054"/>
                    <a:gd name="connsiteY716" fmla="*/ 1427744 h 1642056"/>
                    <a:gd name="connsiteX717" fmla="*/ 1278631 w 1805054"/>
                    <a:gd name="connsiteY717" fmla="*/ 1431366 h 1642056"/>
                    <a:gd name="connsiteX718" fmla="*/ 1278631 w 1805054"/>
                    <a:gd name="connsiteY718" fmla="*/ 1436195 h 1642056"/>
                    <a:gd name="connsiteX719" fmla="*/ 1281649 w 1805054"/>
                    <a:gd name="connsiteY719" fmla="*/ 1442836 h 1642056"/>
                    <a:gd name="connsiteX720" fmla="*/ 1288894 w 1805054"/>
                    <a:gd name="connsiteY720" fmla="*/ 1439818 h 1642056"/>
                    <a:gd name="connsiteX721" fmla="*/ 1289497 w 1805054"/>
                    <a:gd name="connsiteY721" fmla="*/ 1436799 h 1642056"/>
                    <a:gd name="connsiteX722" fmla="*/ 1294931 w 1805054"/>
                    <a:gd name="connsiteY722" fmla="*/ 1436195 h 1642056"/>
                    <a:gd name="connsiteX723" fmla="*/ 1298553 w 1805054"/>
                    <a:gd name="connsiteY723" fmla="*/ 1427140 h 1642056"/>
                    <a:gd name="connsiteX724" fmla="*/ 1298553 w 1805054"/>
                    <a:gd name="connsiteY724" fmla="*/ 1421707 h 1642056"/>
                    <a:gd name="connsiteX725" fmla="*/ 1308816 w 1805054"/>
                    <a:gd name="connsiteY725" fmla="*/ 1419292 h 1642056"/>
                    <a:gd name="connsiteX726" fmla="*/ 1308816 w 1805054"/>
                    <a:gd name="connsiteY726" fmla="*/ 1411444 h 1642056"/>
                    <a:gd name="connsiteX727" fmla="*/ 1305193 w 1805054"/>
                    <a:gd name="connsiteY727" fmla="*/ 1412048 h 1642056"/>
                    <a:gd name="connsiteX728" fmla="*/ 1300364 w 1805054"/>
                    <a:gd name="connsiteY728" fmla="*/ 1410840 h 1642056"/>
                    <a:gd name="connsiteX729" fmla="*/ 1297949 w 1805054"/>
                    <a:gd name="connsiteY729" fmla="*/ 1405407 h 1642056"/>
                    <a:gd name="connsiteX730" fmla="*/ 1290705 w 1805054"/>
                    <a:gd name="connsiteY730" fmla="*/ 1404200 h 1642056"/>
                    <a:gd name="connsiteX731" fmla="*/ 1296742 w 1805054"/>
                    <a:gd name="connsiteY731" fmla="*/ 1385485 h 1642056"/>
                    <a:gd name="connsiteX732" fmla="*/ 1303382 w 1805054"/>
                    <a:gd name="connsiteY732" fmla="*/ 1383674 h 1642056"/>
                    <a:gd name="connsiteX733" fmla="*/ 1305193 w 1805054"/>
                    <a:gd name="connsiteY733" fmla="*/ 1376430 h 1642056"/>
                    <a:gd name="connsiteX734" fmla="*/ 1305193 w 1805054"/>
                    <a:gd name="connsiteY734" fmla="*/ 1367374 h 1642056"/>
                    <a:gd name="connsiteX735" fmla="*/ 1302175 w 1805054"/>
                    <a:gd name="connsiteY735" fmla="*/ 1364356 h 1642056"/>
                    <a:gd name="connsiteX736" fmla="*/ 1295534 w 1805054"/>
                    <a:gd name="connsiteY736" fmla="*/ 1365563 h 1642056"/>
                    <a:gd name="connsiteX737" fmla="*/ 1289497 w 1805054"/>
                    <a:gd name="connsiteY737" fmla="*/ 1357111 h 1642056"/>
                    <a:gd name="connsiteX738" fmla="*/ 1290101 w 1805054"/>
                    <a:gd name="connsiteY738" fmla="*/ 1347452 h 1642056"/>
                    <a:gd name="connsiteX739" fmla="*/ 1289497 w 1805054"/>
                    <a:gd name="connsiteY739" fmla="*/ 1344434 h 1642056"/>
                    <a:gd name="connsiteX740" fmla="*/ 1293119 w 1805054"/>
                    <a:gd name="connsiteY740" fmla="*/ 1343226 h 1642056"/>
                    <a:gd name="connsiteX741" fmla="*/ 1293723 w 1805054"/>
                    <a:gd name="connsiteY741" fmla="*/ 1339000 h 1642056"/>
                    <a:gd name="connsiteX742" fmla="*/ 1299760 w 1805054"/>
                    <a:gd name="connsiteY742" fmla="*/ 1331756 h 1642056"/>
                    <a:gd name="connsiteX743" fmla="*/ 1300364 w 1805054"/>
                    <a:gd name="connsiteY743" fmla="*/ 1328134 h 1642056"/>
                    <a:gd name="connsiteX744" fmla="*/ 1305797 w 1805054"/>
                    <a:gd name="connsiteY744" fmla="*/ 1330549 h 1642056"/>
                    <a:gd name="connsiteX745" fmla="*/ 1305193 w 1805054"/>
                    <a:gd name="connsiteY745" fmla="*/ 1336586 h 1642056"/>
                    <a:gd name="connsiteX746" fmla="*/ 1308212 w 1805054"/>
                    <a:gd name="connsiteY746" fmla="*/ 1340208 h 1642056"/>
                    <a:gd name="connsiteX747" fmla="*/ 1314853 w 1805054"/>
                    <a:gd name="connsiteY747" fmla="*/ 1339604 h 1642056"/>
                    <a:gd name="connsiteX748" fmla="*/ 1323908 w 1805054"/>
                    <a:gd name="connsiteY748" fmla="*/ 1334774 h 1642056"/>
                    <a:gd name="connsiteX749" fmla="*/ 1325115 w 1805054"/>
                    <a:gd name="connsiteY749" fmla="*/ 1332360 h 1642056"/>
                    <a:gd name="connsiteX750" fmla="*/ 1325719 w 1805054"/>
                    <a:gd name="connsiteY750" fmla="*/ 1324512 h 1642056"/>
                    <a:gd name="connsiteX751" fmla="*/ 1324512 w 1805054"/>
                    <a:gd name="connsiteY751" fmla="*/ 1321493 h 1642056"/>
                    <a:gd name="connsiteX752" fmla="*/ 1328134 w 1805054"/>
                    <a:gd name="connsiteY752" fmla="*/ 1313645 h 1642056"/>
                    <a:gd name="connsiteX753" fmla="*/ 1324512 w 1805054"/>
                    <a:gd name="connsiteY753" fmla="*/ 1311230 h 1642056"/>
                    <a:gd name="connsiteX754" fmla="*/ 1325115 w 1805054"/>
                    <a:gd name="connsiteY754" fmla="*/ 1305193 h 1642056"/>
                    <a:gd name="connsiteX755" fmla="*/ 1319682 w 1805054"/>
                    <a:gd name="connsiteY755" fmla="*/ 1303986 h 1642056"/>
                    <a:gd name="connsiteX756" fmla="*/ 1317871 w 1805054"/>
                    <a:gd name="connsiteY756" fmla="*/ 1297949 h 1642056"/>
                    <a:gd name="connsiteX757" fmla="*/ 1313042 w 1805054"/>
                    <a:gd name="connsiteY757" fmla="*/ 1296742 h 1642056"/>
                    <a:gd name="connsiteX758" fmla="*/ 1311834 w 1805054"/>
                    <a:gd name="connsiteY758" fmla="*/ 1292516 h 1642056"/>
                    <a:gd name="connsiteX759" fmla="*/ 1311230 w 1805054"/>
                    <a:gd name="connsiteY759" fmla="*/ 1284064 h 1642056"/>
                    <a:gd name="connsiteX760" fmla="*/ 1308212 w 1805054"/>
                    <a:gd name="connsiteY760" fmla="*/ 1284668 h 1642056"/>
                    <a:gd name="connsiteX761" fmla="*/ 1311230 w 1805054"/>
                    <a:gd name="connsiteY761" fmla="*/ 1273197 h 1642056"/>
                    <a:gd name="connsiteX762" fmla="*/ 1310627 w 1805054"/>
                    <a:gd name="connsiteY762" fmla="*/ 1270179 h 1642056"/>
                    <a:gd name="connsiteX763" fmla="*/ 1303382 w 1805054"/>
                    <a:gd name="connsiteY763" fmla="*/ 1264142 h 1642056"/>
                    <a:gd name="connsiteX764" fmla="*/ 1299760 w 1805054"/>
                    <a:gd name="connsiteY764" fmla="*/ 1262331 h 1642056"/>
                    <a:gd name="connsiteX765" fmla="*/ 1290705 w 1805054"/>
                    <a:gd name="connsiteY765" fmla="*/ 1263538 h 1642056"/>
                    <a:gd name="connsiteX766" fmla="*/ 1278027 w 1805054"/>
                    <a:gd name="connsiteY766" fmla="*/ 1270783 h 1642056"/>
                    <a:gd name="connsiteX767" fmla="*/ 1273197 w 1805054"/>
                    <a:gd name="connsiteY767" fmla="*/ 1276820 h 1642056"/>
                    <a:gd name="connsiteX768" fmla="*/ 1264142 w 1805054"/>
                    <a:gd name="connsiteY768" fmla="*/ 1279838 h 1642056"/>
                    <a:gd name="connsiteX769" fmla="*/ 1257501 w 1805054"/>
                    <a:gd name="connsiteY769" fmla="*/ 1271990 h 1642056"/>
                    <a:gd name="connsiteX770" fmla="*/ 1251464 w 1805054"/>
                    <a:gd name="connsiteY770" fmla="*/ 1273801 h 1642056"/>
                    <a:gd name="connsiteX771" fmla="*/ 1247842 w 1805054"/>
                    <a:gd name="connsiteY771" fmla="*/ 1272594 h 1642056"/>
                    <a:gd name="connsiteX772" fmla="*/ 1236976 w 1805054"/>
                    <a:gd name="connsiteY772" fmla="*/ 1277423 h 1642056"/>
                    <a:gd name="connsiteX773" fmla="*/ 1230939 w 1805054"/>
                    <a:gd name="connsiteY773" fmla="*/ 1278631 h 1642056"/>
                    <a:gd name="connsiteX774" fmla="*/ 1212828 w 1805054"/>
                    <a:gd name="connsiteY774" fmla="*/ 1275008 h 1642056"/>
                    <a:gd name="connsiteX775" fmla="*/ 1209809 w 1805054"/>
                    <a:gd name="connsiteY775" fmla="*/ 1273197 h 1642056"/>
                    <a:gd name="connsiteX776" fmla="*/ 1200150 w 1805054"/>
                    <a:gd name="connsiteY776" fmla="*/ 1272594 h 1642056"/>
                    <a:gd name="connsiteX777" fmla="*/ 1192906 w 1805054"/>
                    <a:gd name="connsiteY777" fmla="*/ 1269575 h 1642056"/>
                    <a:gd name="connsiteX778" fmla="*/ 1188680 w 1805054"/>
                    <a:gd name="connsiteY778" fmla="*/ 1270783 h 1642056"/>
                    <a:gd name="connsiteX779" fmla="*/ 1184454 w 1805054"/>
                    <a:gd name="connsiteY779" fmla="*/ 1268971 h 1642056"/>
                    <a:gd name="connsiteX780" fmla="*/ 1182039 w 1805054"/>
                    <a:gd name="connsiteY780" fmla="*/ 1271990 h 1642056"/>
                    <a:gd name="connsiteX781" fmla="*/ 1177813 w 1805054"/>
                    <a:gd name="connsiteY781" fmla="*/ 1263538 h 1642056"/>
                    <a:gd name="connsiteX782" fmla="*/ 1177210 w 1805054"/>
                    <a:gd name="connsiteY782" fmla="*/ 1256897 h 1642056"/>
                    <a:gd name="connsiteX783" fmla="*/ 1182643 w 1805054"/>
                    <a:gd name="connsiteY783" fmla="*/ 1249653 h 1642056"/>
                    <a:gd name="connsiteX784" fmla="*/ 1188680 w 1805054"/>
                    <a:gd name="connsiteY784" fmla="*/ 1249653 h 1642056"/>
                    <a:gd name="connsiteX785" fmla="*/ 1189284 w 1805054"/>
                    <a:gd name="connsiteY785" fmla="*/ 1246031 h 1642056"/>
                    <a:gd name="connsiteX786" fmla="*/ 1184454 w 1805054"/>
                    <a:gd name="connsiteY786" fmla="*/ 1243616 h 1642056"/>
                    <a:gd name="connsiteX787" fmla="*/ 1179021 w 1805054"/>
                    <a:gd name="connsiteY787" fmla="*/ 1235164 h 1642056"/>
                    <a:gd name="connsiteX788" fmla="*/ 1189284 w 1805054"/>
                    <a:gd name="connsiteY788" fmla="*/ 1232750 h 1642056"/>
                    <a:gd name="connsiteX789" fmla="*/ 1187472 w 1805054"/>
                    <a:gd name="connsiteY789" fmla="*/ 1240598 h 1642056"/>
                    <a:gd name="connsiteX790" fmla="*/ 1195924 w 1805054"/>
                    <a:gd name="connsiteY790" fmla="*/ 1243013 h 1642056"/>
                    <a:gd name="connsiteX791" fmla="*/ 1199546 w 1805054"/>
                    <a:gd name="connsiteY791" fmla="*/ 1250861 h 1642056"/>
                    <a:gd name="connsiteX792" fmla="*/ 1201961 w 1805054"/>
                    <a:gd name="connsiteY792" fmla="*/ 1251464 h 1642056"/>
                    <a:gd name="connsiteX793" fmla="*/ 1205583 w 1805054"/>
                    <a:gd name="connsiteY793" fmla="*/ 1247238 h 1642056"/>
                    <a:gd name="connsiteX794" fmla="*/ 1208602 w 1805054"/>
                    <a:gd name="connsiteY794" fmla="*/ 1247238 h 1642056"/>
                    <a:gd name="connsiteX795" fmla="*/ 1223694 w 1805054"/>
                    <a:gd name="connsiteY795" fmla="*/ 1239994 h 1642056"/>
                    <a:gd name="connsiteX796" fmla="*/ 1224902 w 1805054"/>
                    <a:gd name="connsiteY796" fmla="*/ 1233353 h 1642056"/>
                    <a:gd name="connsiteX797" fmla="*/ 1221279 w 1805054"/>
                    <a:gd name="connsiteY797" fmla="*/ 1233353 h 1642056"/>
                    <a:gd name="connsiteX798" fmla="*/ 1214035 w 1805054"/>
                    <a:gd name="connsiteY798" fmla="*/ 1236976 h 1642056"/>
                    <a:gd name="connsiteX799" fmla="*/ 1204980 w 1805054"/>
                    <a:gd name="connsiteY799" fmla="*/ 1234561 h 1642056"/>
                    <a:gd name="connsiteX800" fmla="*/ 1201961 w 1805054"/>
                    <a:gd name="connsiteY800" fmla="*/ 1238787 h 1642056"/>
                    <a:gd name="connsiteX801" fmla="*/ 1191698 w 1805054"/>
                    <a:gd name="connsiteY801" fmla="*/ 1233957 h 1642056"/>
                    <a:gd name="connsiteX802" fmla="*/ 1192302 w 1805054"/>
                    <a:gd name="connsiteY802" fmla="*/ 1228524 h 1642056"/>
                    <a:gd name="connsiteX803" fmla="*/ 1197132 w 1805054"/>
                    <a:gd name="connsiteY803" fmla="*/ 1225505 h 1642056"/>
                    <a:gd name="connsiteX804" fmla="*/ 1192302 w 1805054"/>
                    <a:gd name="connsiteY804" fmla="*/ 1217657 h 1642056"/>
                    <a:gd name="connsiteX805" fmla="*/ 1196528 w 1805054"/>
                    <a:gd name="connsiteY805" fmla="*/ 1214035 h 1642056"/>
                    <a:gd name="connsiteX806" fmla="*/ 1197132 w 1805054"/>
                    <a:gd name="connsiteY806" fmla="*/ 1220072 h 1642056"/>
                    <a:gd name="connsiteX807" fmla="*/ 1203169 w 1805054"/>
                    <a:gd name="connsiteY807" fmla="*/ 1230335 h 1642056"/>
                    <a:gd name="connsiteX808" fmla="*/ 1204376 w 1805054"/>
                    <a:gd name="connsiteY808" fmla="*/ 1223090 h 1642056"/>
                    <a:gd name="connsiteX809" fmla="*/ 1207394 w 1805054"/>
                    <a:gd name="connsiteY809" fmla="*/ 1217657 h 1642056"/>
                    <a:gd name="connsiteX810" fmla="*/ 1204376 w 1805054"/>
                    <a:gd name="connsiteY810" fmla="*/ 1212828 h 1642056"/>
                    <a:gd name="connsiteX811" fmla="*/ 1203169 w 1805054"/>
                    <a:gd name="connsiteY811" fmla="*/ 1207394 h 1642056"/>
                    <a:gd name="connsiteX812" fmla="*/ 1209809 w 1805054"/>
                    <a:gd name="connsiteY812" fmla="*/ 1203168 h 1642056"/>
                    <a:gd name="connsiteX813" fmla="*/ 1209809 w 1805054"/>
                    <a:gd name="connsiteY813" fmla="*/ 1199546 h 1642056"/>
                    <a:gd name="connsiteX814" fmla="*/ 1201357 w 1805054"/>
                    <a:gd name="connsiteY814" fmla="*/ 1198339 h 1642056"/>
                    <a:gd name="connsiteX815" fmla="*/ 1179021 w 1805054"/>
                    <a:gd name="connsiteY815" fmla="*/ 1201357 h 1642056"/>
                    <a:gd name="connsiteX816" fmla="*/ 1173587 w 1805054"/>
                    <a:gd name="connsiteY816" fmla="*/ 1196528 h 1642056"/>
                    <a:gd name="connsiteX817" fmla="*/ 1170569 w 1805054"/>
                    <a:gd name="connsiteY817" fmla="*/ 1198943 h 1642056"/>
                    <a:gd name="connsiteX818" fmla="*/ 1169361 w 1805054"/>
                    <a:gd name="connsiteY818" fmla="*/ 1202565 h 1642056"/>
                    <a:gd name="connsiteX819" fmla="*/ 1172380 w 1805054"/>
                    <a:gd name="connsiteY819" fmla="*/ 1206791 h 1642056"/>
                    <a:gd name="connsiteX820" fmla="*/ 1171173 w 1805054"/>
                    <a:gd name="connsiteY820" fmla="*/ 1211016 h 1642056"/>
                    <a:gd name="connsiteX821" fmla="*/ 1165739 w 1805054"/>
                    <a:gd name="connsiteY821" fmla="*/ 1212224 h 1642056"/>
                    <a:gd name="connsiteX822" fmla="*/ 1161514 w 1805054"/>
                    <a:gd name="connsiteY822" fmla="*/ 1217053 h 1642056"/>
                    <a:gd name="connsiteX823" fmla="*/ 1162117 w 1805054"/>
                    <a:gd name="connsiteY823" fmla="*/ 1233957 h 1642056"/>
                    <a:gd name="connsiteX824" fmla="*/ 1156080 w 1805054"/>
                    <a:gd name="connsiteY824" fmla="*/ 1236372 h 1642056"/>
                    <a:gd name="connsiteX825" fmla="*/ 1152458 w 1805054"/>
                    <a:gd name="connsiteY825" fmla="*/ 1234561 h 1642056"/>
                    <a:gd name="connsiteX826" fmla="*/ 1146421 w 1805054"/>
                    <a:gd name="connsiteY826" fmla="*/ 1241201 h 1642056"/>
                    <a:gd name="connsiteX827" fmla="*/ 1140384 w 1805054"/>
                    <a:gd name="connsiteY827" fmla="*/ 1237579 h 1642056"/>
                    <a:gd name="connsiteX828" fmla="*/ 1125895 w 1805054"/>
                    <a:gd name="connsiteY828" fmla="*/ 1236976 h 1642056"/>
                    <a:gd name="connsiteX829" fmla="*/ 1127103 w 1805054"/>
                    <a:gd name="connsiteY829" fmla="*/ 1232750 h 1642056"/>
                    <a:gd name="connsiteX830" fmla="*/ 1119255 w 1805054"/>
                    <a:gd name="connsiteY830" fmla="*/ 1232146 h 1642056"/>
                    <a:gd name="connsiteX831" fmla="*/ 1119858 w 1805054"/>
                    <a:gd name="connsiteY831" fmla="*/ 1225505 h 1642056"/>
                    <a:gd name="connsiteX832" fmla="*/ 1116840 w 1805054"/>
                    <a:gd name="connsiteY832" fmla="*/ 1222487 h 1642056"/>
                    <a:gd name="connsiteX833" fmla="*/ 1110199 w 1805054"/>
                    <a:gd name="connsiteY833" fmla="*/ 1223090 h 1642056"/>
                    <a:gd name="connsiteX834" fmla="*/ 1108992 w 1805054"/>
                    <a:gd name="connsiteY834" fmla="*/ 1217053 h 1642056"/>
                    <a:gd name="connsiteX835" fmla="*/ 1107181 w 1805054"/>
                    <a:gd name="connsiteY835" fmla="*/ 1214639 h 1642056"/>
                    <a:gd name="connsiteX836" fmla="*/ 1102955 w 1805054"/>
                    <a:gd name="connsiteY836" fmla="*/ 1216450 h 1642056"/>
                    <a:gd name="connsiteX837" fmla="*/ 1101144 w 1805054"/>
                    <a:gd name="connsiteY837" fmla="*/ 1222487 h 1642056"/>
                    <a:gd name="connsiteX838" fmla="*/ 1101747 w 1805054"/>
                    <a:gd name="connsiteY838" fmla="*/ 1232146 h 1642056"/>
                    <a:gd name="connsiteX839" fmla="*/ 1107784 w 1805054"/>
                    <a:gd name="connsiteY839" fmla="*/ 1242409 h 1642056"/>
                    <a:gd name="connsiteX840" fmla="*/ 1108388 w 1805054"/>
                    <a:gd name="connsiteY840" fmla="*/ 1251464 h 1642056"/>
                    <a:gd name="connsiteX841" fmla="*/ 1112614 w 1805054"/>
                    <a:gd name="connsiteY841" fmla="*/ 1251464 h 1642056"/>
                    <a:gd name="connsiteX842" fmla="*/ 1113821 w 1805054"/>
                    <a:gd name="connsiteY842" fmla="*/ 1253879 h 1642056"/>
                    <a:gd name="connsiteX843" fmla="*/ 1118047 w 1805054"/>
                    <a:gd name="connsiteY843" fmla="*/ 1255086 h 1642056"/>
                    <a:gd name="connsiteX844" fmla="*/ 1131329 w 1805054"/>
                    <a:gd name="connsiteY844" fmla="*/ 1256294 h 1642056"/>
                    <a:gd name="connsiteX845" fmla="*/ 1137366 w 1805054"/>
                    <a:gd name="connsiteY845" fmla="*/ 1255086 h 1642056"/>
                    <a:gd name="connsiteX846" fmla="*/ 1140384 w 1805054"/>
                    <a:gd name="connsiteY846" fmla="*/ 1255690 h 1642056"/>
                    <a:gd name="connsiteX847" fmla="*/ 1142195 w 1805054"/>
                    <a:gd name="connsiteY847" fmla="*/ 1260520 h 1642056"/>
                    <a:gd name="connsiteX848" fmla="*/ 1141591 w 1805054"/>
                    <a:gd name="connsiteY848" fmla="*/ 1265349 h 1642056"/>
                    <a:gd name="connsiteX849" fmla="*/ 1136158 w 1805054"/>
                    <a:gd name="connsiteY849" fmla="*/ 1265349 h 1642056"/>
                    <a:gd name="connsiteX850" fmla="*/ 1135555 w 1805054"/>
                    <a:gd name="connsiteY850" fmla="*/ 1269575 h 1642056"/>
                    <a:gd name="connsiteX851" fmla="*/ 1137366 w 1805054"/>
                    <a:gd name="connsiteY851" fmla="*/ 1275008 h 1642056"/>
                    <a:gd name="connsiteX852" fmla="*/ 1130121 w 1805054"/>
                    <a:gd name="connsiteY852" fmla="*/ 1276820 h 1642056"/>
                    <a:gd name="connsiteX853" fmla="*/ 1125895 w 1805054"/>
                    <a:gd name="connsiteY853" fmla="*/ 1285875 h 1642056"/>
                    <a:gd name="connsiteX854" fmla="*/ 1117444 w 1805054"/>
                    <a:gd name="connsiteY854" fmla="*/ 1287082 h 1642056"/>
                    <a:gd name="connsiteX855" fmla="*/ 1111407 w 1805054"/>
                    <a:gd name="connsiteY855" fmla="*/ 1284064 h 1642056"/>
                    <a:gd name="connsiteX856" fmla="*/ 1110199 w 1805054"/>
                    <a:gd name="connsiteY856" fmla="*/ 1279234 h 1642056"/>
                    <a:gd name="connsiteX857" fmla="*/ 1106577 w 1805054"/>
                    <a:gd name="connsiteY857" fmla="*/ 1275008 h 1642056"/>
                    <a:gd name="connsiteX858" fmla="*/ 1099936 w 1805054"/>
                    <a:gd name="connsiteY858" fmla="*/ 1262331 h 1642056"/>
                    <a:gd name="connsiteX859" fmla="*/ 1098125 w 1805054"/>
                    <a:gd name="connsiteY859" fmla="*/ 1255086 h 1642056"/>
                    <a:gd name="connsiteX860" fmla="*/ 1096314 w 1805054"/>
                    <a:gd name="connsiteY860" fmla="*/ 1255690 h 1642056"/>
                    <a:gd name="connsiteX861" fmla="*/ 1096918 w 1805054"/>
                    <a:gd name="connsiteY861" fmla="*/ 1264746 h 1642056"/>
                    <a:gd name="connsiteX862" fmla="*/ 1092088 w 1805054"/>
                    <a:gd name="connsiteY862" fmla="*/ 1267160 h 1642056"/>
                    <a:gd name="connsiteX863" fmla="*/ 1093899 w 1805054"/>
                    <a:gd name="connsiteY863" fmla="*/ 1271386 h 1642056"/>
                    <a:gd name="connsiteX864" fmla="*/ 1091485 w 1805054"/>
                    <a:gd name="connsiteY864" fmla="*/ 1280442 h 1642056"/>
                    <a:gd name="connsiteX865" fmla="*/ 1099333 w 1805054"/>
                    <a:gd name="connsiteY865" fmla="*/ 1280442 h 1642056"/>
                    <a:gd name="connsiteX866" fmla="*/ 1099936 w 1805054"/>
                    <a:gd name="connsiteY866" fmla="*/ 1283460 h 1642056"/>
                    <a:gd name="connsiteX867" fmla="*/ 1095107 w 1805054"/>
                    <a:gd name="connsiteY867" fmla="*/ 1287686 h 1642056"/>
                    <a:gd name="connsiteX868" fmla="*/ 1092692 w 1805054"/>
                    <a:gd name="connsiteY868" fmla="*/ 1291308 h 1642056"/>
                    <a:gd name="connsiteX869" fmla="*/ 1094503 w 1805054"/>
                    <a:gd name="connsiteY869" fmla="*/ 1297345 h 1642056"/>
                    <a:gd name="connsiteX870" fmla="*/ 1085448 w 1805054"/>
                    <a:gd name="connsiteY870" fmla="*/ 1300364 h 1642056"/>
                    <a:gd name="connsiteX871" fmla="*/ 1087259 w 1805054"/>
                    <a:gd name="connsiteY871" fmla="*/ 1308212 h 1642056"/>
                    <a:gd name="connsiteX872" fmla="*/ 1085448 w 1805054"/>
                    <a:gd name="connsiteY872" fmla="*/ 1314249 h 1642056"/>
                    <a:gd name="connsiteX873" fmla="*/ 1081825 w 1805054"/>
                    <a:gd name="connsiteY873" fmla="*/ 1314852 h 1642056"/>
                    <a:gd name="connsiteX874" fmla="*/ 1078807 w 1805054"/>
                    <a:gd name="connsiteY874" fmla="*/ 1317267 h 1642056"/>
                    <a:gd name="connsiteX875" fmla="*/ 1087259 w 1805054"/>
                    <a:gd name="connsiteY875" fmla="*/ 1325115 h 1642056"/>
                    <a:gd name="connsiteX876" fmla="*/ 1092088 w 1805054"/>
                    <a:gd name="connsiteY876" fmla="*/ 1326323 h 1642056"/>
                    <a:gd name="connsiteX877" fmla="*/ 1094503 w 1805054"/>
                    <a:gd name="connsiteY877" fmla="*/ 1323908 h 1642056"/>
                    <a:gd name="connsiteX878" fmla="*/ 1099333 w 1805054"/>
                    <a:gd name="connsiteY878" fmla="*/ 1324512 h 1642056"/>
                    <a:gd name="connsiteX879" fmla="*/ 1108388 w 1805054"/>
                    <a:gd name="connsiteY879" fmla="*/ 1333567 h 1642056"/>
                    <a:gd name="connsiteX880" fmla="*/ 1098729 w 1805054"/>
                    <a:gd name="connsiteY880" fmla="*/ 1343226 h 1642056"/>
                    <a:gd name="connsiteX881" fmla="*/ 1096918 w 1805054"/>
                    <a:gd name="connsiteY881" fmla="*/ 1348056 h 1642056"/>
                    <a:gd name="connsiteX882" fmla="*/ 1093296 w 1805054"/>
                    <a:gd name="connsiteY882" fmla="*/ 1352282 h 1642056"/>
                    <a:gd name="connsiteX883" fmla="*/ 1092692 w 1805054"/>
                    <a:gd name="connsiteY883" fmla="*/ 1363752 h 1642056"/>
                    <a:gd name="connsiteX884" fmla="*/ 1087259 w 1805054"/>
                    <a:gd name="connsiteY884" fmla="*/ 1368581 h 1642056"/>
                    <a:gd name="connsiteX885" fmla="*/ 1087259 w 1805054"/>
                    <a:gd name="connsiteY885" fmla="*/ 1372807 h 1642056"/>
                    <a:gd name="connsiteX886" fmla="*/ 1090881 w 1805054"/>
                    <a:gd name="connsiteY886" fmla="*/ 1374015 h 1642056"/>
                    <a:gd name="connsiteX887" fmla="*/ 1099333 w 1805054"/>
                    <a:gd name="connsiteY887" fmla="*/ 1372807 h 1642056"/>
                    <a:gd name="connsiteX888" fmla="*/ 1107181 w 1805054"/>
                    <a:gd name="connsiteY888" fmla="*/ 1374618 h 1642056"/>
                    <a:gd name="connsiteX889" fmla="*/ 1112010 w 1805054"/>
                    <a:gd name="connsiteY889" fmla="*/ 1372807 h 1642056"/>
                    <a:gd name="connsiteX890" fmla="*/ 1115632 w 1805054"/>
                    <a:gd name="connsiteY890" fmla="*/ 1376430 h 1642056"/>
                    <a:gd name="connsiteX891" fmla="*/ 1118047 w 1805054"/>
                    <a:gd name="connsiteY891" fmla="*/ 1383070 h 1642056"/>
                    <a:gd name="connsiteX892" fmla="*/ 1112614 w 1805054"/>
                    <a:gd name="connsiteY892" fmla="*/ 1386693 h 1642056"/>
                    <a:gd name="connsiteX893" fmla="*/ 1116840 w 1805054"/>
                    <a:gd name="connsiteY893" fmla="*/ 1396352 h 1642056"/>
                    <a:gd name="connsiteX894" fmla="*/ 1122877 w 1805054"/>
                    <a:gd name="connsiteY894" fmla="*/ 1399974 h 1642056"/>
                    <a:gd name="connsiteX895" fmla="*/ 1124688 w 1805054"/>
                    <a:gd name="connsiteY895" fmla="*/ 1408426 h 1642056"/>
                    <a:gd name="connsiteX896" fmla="*/ 1128914 w 1805054"/>
                    <a:gd name="connsiteY896" fmla="*/ 1410840 h 1642056"/>
                    <a:gd name="connsiteX897" fmla="*/ 1130121 w 1805054"/>
                    <a:gd name="connsiteY897" fmla="*/ 1416877 h 1642056"/>
                    <a:gd name="connsiteX898" fmla="*/ 1133140 w 1805054"/>
                    <a:gd name="connsiteY898" fmla="*/ 1419292 h 1642056"/>
                    <a:gd name="connsiteX899" fmla="*/ 1133743 w 1805054"/>
                    <a:gd name="connsiteY899" fmla="*/ 1426536 h 1642056"/>
                    <a:gd name="connsiteX900" fmla="*/ 1136158 w 1805054"/>
                    <a:gd name="connsiteY900" fmla="*/ 1428951 h 1642056"/>
                    <a:gd name="connsiteX901" fmla="*/ 1134951 w 1805054"/>
                    <a:gd name="connsiteY901" fmla="*/ 1432573 h 1642056"/>
                    <a:gd name="connsiteX902" fmla="*/ 1131932 w 1805054"/>
                    <a:gd name="connsiteY902" fmla="*/ 1434988 h 1642056"/>
                    <a:gd name="connsiteX903" fmla="*/ 1130121 w 1805054"/>
                    <a:gd name="connsiteY903" fmla="*/ 1441629 h 1642056"/>
                    <a:gd name="connsiteX904" fmla="*/ 1125292 w 1805054"/>
                    <a:gd name="connsiteY904" fmla="*/ 1444647 h 1642056"/>
                    <a:gd name="connsiteX905" fmla="*/ 1119858 w 1805054"/>
                    <a:gd name="connsiteY905" fmla="*/ 1455514 h 1642056"/>
                    <a:gd name="connsiteX906" fmla="*/ 1118047 w 1805054"/>
                    <a:gd name="connsiteY906" fmla="*/ 1465173 h 1642056"/>
                    <a:gd name="connsiteX907" fmla="*/ 1120462 w 1805054"/>
                    <a:gd name="connsiteY907" fmla="*/ 1470606 h 1642056"/>
                    <a:gd name="connsiteX908" fmla="*/ 1119255 w 1805054"/>
                    <a:gd name="connsiteY908" fmla="*/ 1480266 h 1642056"/>
                    <a:gd name="connsiteX909" fmla="*/ 1122877 w 1805054"/>
                    <a:gd name="connsiteY909" fmla="*/ 1480869 h 1642056"/>
                    <a:gd name="connsiteX910" fmla="*/ 1125292 w 1805054"/>
                    <a:gd name="connsiteY910" fmla="*/ 1488114 h 1642056"/>
                    <a:gd name="connsiteX911" fmla="*/ 1123481 w 1805054"/>
                    <a:gd name="connsiteY911" fmla="*/ 1489925 h 1642056"/>
                    <a:gd name="connsiteX912" fmla="*/ 1125292 w 1805054"/>
                    <a:gd name="connsiteY912" fmla="*/ 1495358 h 1642056"/>
                    <a:gd name="connsiteX913" fmla="*/ 1121669 w 1805054"/>
                    <a:gd name="connsiteY913" fmla="*/ 1498980 h 1642056"/>
                    <a:gd name="connsiteX914" fmla="*/ 1121669 w 1805054"/>
                    <a:gd name="connsiteY914" fmla="*/ 1503810 h 1642056"/>
                    <a:gd name="connsiteX915" fmla="*/ 1119255 w 1805054"/>
                    <a:gd name="connsiteY915" fmla="*/ 1508639 h 1642056"/>
                    <a:gd name="connsiteX916" fmla="*/ 1121669 w 1805054"/>
                    <a:gd name="connsiteY916" fmla="*/ 1510450 h 1642056"/>
                    <a:gd name="connsiteX917" fmla="*/ 1125292 w 1805054"/>
                    <a:gd name="connsiteY917" fmla="*/ 1518902 h 1642056"/>
                    <a:gd name="connsiteX918" fmla="*/ 1118047 w 1805054"/>
                    <a:gd name="connsiteY918" fmla="*/ 1520713 h 1642056"/>
                    <a:gd name="connsiteX919" fmla="*/ 1113821 w 1805054"/>
                    <a:gd name="connsiteY919" fmla="*/ 1524335 h 1642056"/>
                    <a:gd name="connsiteX920" fmla="*/ 1110803 w 1805054"/>
                    <a:gd name="connsiteY920" fmla="*/ 1531580 h 1642056"/>
                    <a:gd name="connsiteX921" fmla="*/ 1107181 w 1805054"/>
                    <a:gd name="connsiteY921" fmla="*/ 1535202 h 1642056"/>
                    <a:gd name="connsiteX922" fmla="*/ 1096918 w 1805054"/>
                    <a:gd name="connsiteY922" fmla="*/ 1540635 h 1642056"/>
                    <a:gd name="connsiteX923" fmla="*/ 1095710 w 1805054"/>
                    <a:gd name="connsiteY923" fmla="*/ 1537617 h 1642056"/>
                    <a:gd name="connsiteX924" fmla="*/ 1090881 w 1805054"/>
                    <a:gd name="connsiteY924" fmla="*/ 1538220 h 1642056"/>
                    <a:gd name="connsiteX925" fmla="*/ 1089070 w 1805054"/>
                    <a:gd name="connsiteY925" fmla="*/ 1542446 h 1642056"/>
                    <a:gd name="connsiteX926" fmla="*/ 1084240 w 1805054"/>
                    <a:gd name="connsiteY926" fmla="*/ 1543654 h 1642056"/>
                    <a:gd name="connsiteX927" fmla="*/ 1082429 w 1805054"/>
                    <a:gd name="connsiteY927" fmla="*/ 1547879 h 1642056"/>
                    <a:gd name="connsiteX928" fmla="*/ 1078203 w 1805054"/>
                    <a:gd name="connsiteY928" fmla="*/ 1546672 h 1642056"/>
                    <a:gd name="connsiteX929" fmla="*/ 1069148 w 1805054"/>
                    <a:gd name="connsiteY929" fmla="*/ 1552105 h 1642056"/>
                    <a:gd name="connsiteX930" fmla="*/ 1067337 w 1805054"/>
                    <a:gd name="connsiteY930" fmla="*/ 1555728 h 1642056"/>
                    <a:gd name="connsiteX931" fmla="*/ 1057678 w 1805054"/>
                    <a:gd name="connsiteY931" fmla="*/ 1556935 h 1642056"/>
                    <a:gd name="connsiteX932" fmla="*/ 1054659 w 1805054"/>
                    <a:gd name="connsiteY932" fmla="*/ 1564179 h 1642056"/>
                    <a:gd name="connsiteX933" fmla="*/ 1049830 w 1805054"/>
                    <a:gd name="connsiteY933" fmla="*/ 1566594 h 1642056"/>
                    <a:gd name="connsiteX934" fmla="*/ 1049226 w 1805054"/>
                    <a:gd name="connsiteY934" fmla="*/ 1574442 h 1642056"/>
                    <a:gd name="connsiteX935" fmla="*/ 1046811 w 1805054"/>
                    <a:gd name="connsiteY935" fmla="*/ 1578668 h 1642056"/>
                    <a:gd name="connsiteX936" fmla="*/ 1043793 w 1805054"/>
                    <a:gd name="connsiteY936" fmla="*/ 1578668 h 1642056"/>
                    <a:gd name="connsiteX937" fmla="*/ 1043189 w 1805054"/>
                    <a:gd name="connsiteY937" fmla="*/ 1584705 h 1642056"/>
                    <a:gd name="connsiteX938" fmla="*/ 1041378 w 1805054"/>
                    <a:gd name="connsiteY938" fmla="*/ 1587724 h 1642056"/>
                    <a:gd name="connsiteX939" fmla="*/ 1044396 w 1805054"/>
                    <a:gd name="connsiteY939" fmla="*/ 1596175 h 1642056"/>
                    <a:gd name="connsiteX940" fmla="*/ 1048622 w 1805054"/>
                    <a:gd name="connsiteY940" fmla="*/ 1593761 h 1642056"/>
                    <a:gd name="connsiteX941" fmla="*/ 1052244 w 1805054"/>
                    <a:gd name="connsiteY941" fmla="*/ 1596779 h 1642056"/>
                    <a:gd name="connsiteX942" fmla="*/ 1058281 w 1805054"/>
                    <a:gd name="connsiteY942" fmla="*/ 1596779 h 1642056"/>
                    <a:gd name="connsiteX943" fmla="*/ 1061903 w 1805054"/>
                    <a:gd name="connsiteY943" fmla="*/ 1601609 h 1642056"/>
                    <a:gd name="connsiteX944" fmla="*/ 1066129 w 1805054"/>
                    <a:gd name="connsiteY944" fmla="*/ 1602212 h 1642056"/>
                    <a:gd name="connsiteX945" fmla="*/ 1070355 w 1805054"/>
                    <a:gd name="connsiteY945" fmla="*/ 1598590 h 1642056"/>
                    <a:gd name="connsiteX946" fmla="*/ 1075788 w 1805054"/>
                    <a:gd name="connsiteY946" fmla="*/ 1599194 h 1642056"/>
                    <a:gd name="connsiteX947" fmla="*/ 1080014 w 1805054"/>
                    <a:gd name="connsiteY947" fmla="*/ 1605835 h 1642056"/>
                    <a:gd name="connsiteX948" fmla="*/ 1074581 w 1805054"/>
                    <a:gd name="connsiteY948" fmla="*/ 1608853 h 1642056"/>
                    <a:gd name="connsiteX949" fmla="*/ 1079411 w 1805054"/>
                    <a:gd name="connsiteY949" fmla="*/ 1611268 h 1642056"/>
                    <a:gd name="connsiteX950" fmla="*/ 1086051 w 1805054"/>
                    <a:gd name="connsiteY950" fmla="*/ 1608853 h 1642056"/>
                    <a:gd name="connsiteX951" fmla="*/ 1084844 w 1805054"/>
                    <a:gd name="connsiteY951" fmla="*/ 1613079 h 1642056"/>
                    <a:gd name="connsiteX952" fmla="*/ 1078807 w 1805054"/>
                    <a:gd name="connsiteY952" fmla="*/ 1616701 h 1642056"/>
                    <a:gd name="connsiteX953" fmla="*/ 1069148 w 1805054"/>
                    <a:gd name="connsiteY953" fmla="*/ 1615494 h 1642056"/>
                    <a:gd name="connsiteX954" fmla="*/ 1066129 w 1805054"/>
                    <a:gd name="connsiteY954" fmla="*/ 1619720 h 1642056"/>
                    <a:gd name="connsiteX955" fmla="*/ 1060092 w 1805054"/>
                    <a:gd name="connsiteY955" fmla="*/ 1623945 h 1642056"/>
                    <a:gd name="connsiteX956" fmla="*/ 1056470 w 1805054"/>
                    <a:gd name="connsiteY956" fmla="*/ 1628171 h 1642056"/>
                    <a:gd name="connsiteX957" fmla="*/ 1043793 w 1805054"/>
                    <a:gd name="connsiteY957" fmla="*/ 1630586 h 1642056"/>
                    <a:gd name="connsiteX958" fmla="*/ 1044396 w 1805054"/>
                    <a:gd name="connsiteY958" fmla="*/ 1633604 h 1642056"/>
                    <a:gd name="connsiteX959" fmla="*/ 1041981 w 1805054"/>
                    <a:gd name="connsiteY959" fmla="*/ 1637830 h 1642056"/>
                    <a:gd name="connsiteX960" fmla="*/ 1037152 w 1805054"/>
                    <a:gd name="connsiteY960" fmla="*/ 1640245 h 1642056"/>
                    <a:gd name="connsiteX961" fmla="*/ 1027493 w 1805054"/>
                    <a:gd name="connsiteY961" fmla="*/ 1641452 h 1642056"/>
                    <a:gd name="connsiteX962" fmla="*/ 1023267 w 1805054"/>
                    <a:gd name="connsiteY962" fmla="*/ 1639641 h 1642056"/>
                    <a:gd name="connsiteX963" fmla="*/ 1020852 w 1805054"/>
                    <a:gd name="connsiteY963" fmla="*/ 1636623 h 1642056"/>
                    <a:gd name="connsiteX964" fmla="*/ 1011797 w 1805054"/>
                    <a:gd name="connsiteY964" fmla="*/ 1635416 h 1642056"/>
                    <a:gd name="connsiteX965" fmla="*/ 1005760 w 1805054"/>
                    <a:gd name="connsiteY965" fmla="*/ 1640245 h 1642056"/>
                    <a:gd name="connsiteX966" fmla="*/ 1003345 w 1805054"/>
                    <a:gd name="connsiteY966" fmla="*/ 1644471 h 1642056"/>
                    <a:gd name="connsiteX967" fmla="*/ 997911 w 1805054"/>
                    <a:gd name="connsiteY967" fmla="*/ 1646282 h 1642056"/>
                    <a:gd name="connsiteX968" fmla="*/ 995497 w 1805054"/>
                    <a:gd name="connsiteY968" fmla="*/ 1642660 h 1642056"/>
                    <a:gd name="connsiteX969" fmla="*/ 989460 w 1805054"/>
                    <a:gd name="connsiteY969" fmla="*/ 1639038 h 1642056"/>
                    <a:gd name="connsiteX970" fmla="*/ 990667 w 1805054"/>
                    <a:gd name="connsiteY970" fmla="*/ 1633604 h 1642056"/>
                    <a:gd name="connsiteX971" fmla="*/ 987649 w 1805054"/>
                    <a:gd name="connsiteY971" fmla="*/ 1625153 h 1642056"/>
                    <a:gd name="connsiteX972" fmla="*/ 982819 w 1805054"/>
                    <a:gd name="connsiteY972" fmla="*/ 1620323 h 1642056"/>
                    <a:gd name="connsiteX973" fmla="*/ 974367 w 1805054"/>
                    <a:gd name="connsiteY973" fmla="*/ 1617305 h 1642056"/>
                    <a:gd name="connsiteX974" fmla="*/ 970141 w 1805054"/>
                    <a:gd name="connsiteY974" fmla="*/ 1622134 h 1642056"/>
                    <a:gd name="connsiteX975" fmla="*/ 968934 w 1805054"/>
                    <a:gd name="connsiteY975" fmla="*/ 1626360 h 1642056"/>
                    <a:gd name="connsiteX976" fmla="*/ 963501 w 1805054"/>
                    <a:gd name="connsiteY976" fmla="*/ 1625153 h 1642056"/>
                    <a:gd name="connsiteX977" fmla="*/ 961690 w 1805054"/>
                    <a:gd name="connsiteY977" fmla="*/ 1620927 h 1642056"/>
                    <a:gd name="connsiteX978" fmla="*/ 957464 w 1805054"/>
                    <a:gd name="connsiteY978" fmla="*/ 1620323 h 1642056"/>
                    <a:gd name="connsiteX979" fmla="*/ 956860 w 1805054"/>
                    <a:gd name="connsiteY979" fmla="*/ 1614286 h 1642056"/>
                    <a:gd name="connsiteX980" fmla="*/ 959879 w 1805054"/>
                    <a:gd name="connsiteY980" fmla="*/ 1609457 h 1642056"/>
                    <a:gd name="connsiteX981" fmla="*/ 959275 w 1805054"/>
                    <a:gd name="connsiteY981" fmla="*/ 1601005 h 1642056"/>
                    <a:gd name="connsiteX982" fmla="*/ 955049 w 1805054"/>
                    <a:gd name="connsiteY982" fmla="*/ 1597987 h 1642056"/>
                    <a:gd name="connsiteX983" fmla="*/ 953238 w 1805054"/>
                    <a:gd name="connsiteY983" fmla="*/ 1594364 h 1642056"/>
                    <a:gd name="connsiteX984" fmla="*/ 949616 w 1805054"/>
                    <a:gd name="connsiteY984" fmla="*/ 1593761 h 1642056"/>
                    <a:gd name="connsiteX985" fmla="*/ 941164 w 1805054"/>
                    <a:gd name="connsiteY985" fmla="*/ 1594364 h 1642056"/>
                    <a:gd name="connsiteX986" fmla="*/ 937542 w 1805054"/>
                    <a:gd name="connsiteY986" fmla="*/ 1588931 h 1642056"/>
                    <a:gd name="connsiteX987" fmla="*/ 938146 w 1805054"/>
                    <a:gd name="connsiteY987" fmla="*/ 1585913 h 1642056"/>
                    <a:gd name="connsiteX988" fmla="*/ 929694 w 1805054"/>
                    <a:gd name="connsiteY988" fmla="*/ 1584705 h 1642056"/>
                    <a:gd name="connsiteX989" fmla="*/ 927883 w 1805054"/>
                    <a:gd name="connsiteY989" fmla="*/ 1579876 h 1642056"/>
                    <a:gd name="connsiteX990" fmla="*/ 923657 w 1805054"/>
                    <a:gd name="connsiteY990" fmla="*/ 1575046 h 1642056"/>
                    <a:gd name="connsiteX991" fmla="*/ 920638 w 1805054"/>
                    <a:gd name="connsiteY991" fmla="*/ 1576857 h 1642056"/>
                    <a:gd name="connsiteX992" fmla="*/ 918827 w 1805054"/>
                    <a:gd name="connsiteY992" fmla="*/ 1584101 h 1642056"/>
                    <a:gd name="connsiteX993" fmla="*/ 909772 w 1805054"/>
                    <a:gd name="connsiteY993" fmla="*/ 1584705 h 1642056"/>
                    <a:gd name="connsiteX994" fmla="*/ 909772 w 1805054"/>
                    <a:gd name="connsiteY994" fmla="*/ 1581083 h 1642056"/>
                    <a:gd name="connsiteX995" fmla="*/ 906753 w 1805054"/>
                    <a:gd name="connsiteY995" fmla="*/ 1578064 h 1642056"/>
                    <a:gd name="connsiteX996" fmla="*/ 903735 w 1805054"/>
                    <a:gd name="connsiteY996" fmla="*/ 1571424 h 1642056"/>
                    <a:gd name="connsiteX997" fmla="*/ 895887 w 1805054"/>
                    <a:gd name="connsiteY997" fmla="*/ 1559953 h 1642056"/>
                    <a:gd name="connsiteX998" fmla="*/ 886831 w 1805054"/>
                    <a:gd name="connsiteY998" fmla="*/ 1562972 h 1642056"/>
                    <a:gd name="connsiteX999" fmla="*/ 882605 w 1805054"/>
                    <a:gd name="connsiteY999" fmla="*/ 1557539 h 1642056"/>
                    <a:gd name="connsiteX1000" fmla="*/ 876568 w 1805054"/>
                    <a:gd name="connsiteY1000" fmla="*/ 1564783 h 1642056"/>
                    <a:gd name="connsiteX1001" fmla="*/ 872946 w 1805054"/>
                    <a:gd name="connsiteY1001" fmla="*/ 1566594 h 1642056"/>
                    <a:gd name="connsiteX1002" fmla="*/ 870531 w 1805054"/>
                    <a:gd name="connsiteY1002" fmla="*/ 1558142 h 1642056"/>
                    <a:gd name="connsiteX1003" fmla="*/ 863287 w 1805054"/>
                    <a:gd name="connsiteY1003" fmla="*/ 1558746 h 1642056"/>
                    <a:gd name="connsiteX1004" fmla="*/ 859665 w 1805054"/>
                    <a:gd name="connsiteY1004" fmla="*/ 1561765 h 1642056"/>
                    <a:gd name="connsiteX1005" fmla="*/ 855439 w 1805054"/>
                    <a:gd name="connsiteY1005" fmla="*/ 1558746 h 1642056"/>
                    <a:gd name="connsiteX1006" fmla="*/ 857854 w 1805054"/>
                    <a:gd name="connsiteY1006" fmla="*/ 1549087 h 1642056"/>
                    <a:gd name="connsiteX1007" fmla="*/ 860872 w 1805054"/>
                    <a:gd name="connsiteY1007" fmla="*/ 1544861 h 1642056"/>
                    <a:gd name="connsiteX1008" fmla="*/ 856646 w 1805054"/>
                    <a:gd name="connsiteY1008" fmla="*/ 1541239 h 1642056"/>
                    <a:gd name="connsiteX1009" fmla="*/ 856646 w 1805054"/>
                    <a:gd name="connsiteY1009" fmla="*/ 1533994 h 1642056"/>
                    <a:gd name="connsiteX1010" fmla="*/ 859061 w 1805054"/>
                    <a:gd name="connsiteY1010" fmla="*/ 1530976 h 1642056"/>
                    <a:gd name="connsiteX1011" fmla="*/ 859061 w 1805054"/>
                    <a:gd name="connsiteY1011" fmla="*/ 1523732 h 1642056"/>
                    <a:gd name="connsiteX1012" fmla="*/ 861476 w 1805054"/>
                    <a:gd name="connsiteY1012" fmla="*/ 1520713 h 1642056"/>
                    <a:gd name="connsiteX1013" fmla="*/ 857854 w 1805054"/>
                    <a:gd name="connsiteY1013" fmla="*/ 1518902 h 1642056"/>
                    <a:gd name="connsiteX1014" fmla="*/ 853024 w 1805054"/>
                    <a:gd name="connsiteY1014" fmla="*/ 1514073 h 1642056"/>
                    <a:gd name="connsiteX1015" fmla="*/ 842761 w 1805054"/>
                    <a:gd name="connsiteY1015" fmla="*/ 1513469 h 1642056"/>
                    <a:gd name="connsiteX1016" fmla="*/ 839139 w 1805054"/>
                    <a:gd name="connsiteY1016" fmla="*/ 1518902 h 1642056"/>
                    <a:gd name="connsiteX1017" fmla="*/ 833706 w 1805054"/>
                    <a:gd name="connsiteY1017" fmla="*/ 1523128 h 1642056"/>
                    <a:gd name="connsiteX1018" fmla="*/ 831291 w 1805054"/>
                    <a:gd name="connsiteY1018" fmla="*/ 1521921 h 1642056"/>
                    <a:gd name="connsiteX1019" fmla="*/ 828273 w 1805054"/>
                    <a:gd name="connsiteY1019" fmla="*/ 1517695 h 1642056"/>
                    <a:gd name="connsiteX1020" fmla="*/ 830687 w 1805054"/>
                    <a:gd name="connsiteY1020" fmla="*/ 1503810 h 1642056"/>
                    <a:gd name="connsiteX1021" fmla="*/ 828876 w 1805054"/>
                    <a:gd name="connsiteY1021" fmla="*/ 1501999 h 1642056"/>
                    <a:gd name="connsiteX1022" fmla="*/ 824047 w 1805054"/>
                    <a:gd name="connsiteY1022" fmla="*/ 1501395 h 1642056"/>
                    <a:gd name="connsiteX1023" fmla="*/ 822839 w 1805054"/>
                    <a:gd name="connsiteY1023" fmla="*/ 1497169 h 1642056"/>
                    <a:gd name="connsiteX1024" fmla="*/ 819217 w 1805054"/>
                    <a:gd name="connsiteY1024" fmla="*/ 1494151 h 1642056"/>
                    <a:gd name="connsiteX1025" fmla="*/ 818010 w 1805054"/>
                    <a:gd name="connsiteY1025" fmla="*/ 1491132 h 1642056"/>
                    <a:gd name="connsiteX1026" fmla="*/ 814388 w 1805054"/>
                    <a:gd name="connsiteY1026" fmla="*/ 1489321 h 1642056"/>
                    <a:gd name="connsiteX1027" fmla="*/ 811973 w 1805054"/>
                    <a:gd name="connsiteY1027" fmla="*/ 1485095 h 1642056"/>
                    <a:gd name="connsiteX1028" fmla="*/ 807747 w 1805054"/>
                    <a:gd name="connsiteY1028" fmla="*/ 1484491 h 1642056"/>
                    <a:gd name="connsiteX1029" fmla="*/ 802917 w 1805054"/>
                    <a:gd name="connsiteY1029" fmla="*/ 1488114 h 1642056"/>
                    <a:gd name="connsiteX1030" fmla="*/ 799899 w 1805054"/>
                    <a:gd name="connsiteY1030" fmla="*/ 1482680 h 1642056"/>
                    <a:gd name="connsiteX1031" fmla="*/ 802314 w 1805054"/>
                    <a:gd name="connsiteY1031" fmla="*/ 1475436 h 1642056"/>
                    <a:gd name="connsiteX1032" fmla="*/ 799295 w 1805054"/>
                    <a:gd name="connsiteY1032" fmla="*/ 1468192 h 1642056"/>
                    <a:gd name="connsiteX1033" fmla="*/ 804728 w 1805054"/>
                    <a:gd name="connsiteY1033" fmla="*/ 1456721 h 1642056"/>
                    <a:gd name="connsiteX1034" fmla="*/ 807143 w 1805054"/>
                    <a:gd name="connsiteY1034" fmla="*/ 1454306 h 1642056"/>
                    <a:gd name="connsiteX1035" fmla="*/ 811973 w 1805054"/>
                    <a:gd name="connsiteY1035" fmla="*/ 1453099 h 1642056"/>
                    <a:gd name="connsiteX1036" fmla="*/ 811973 w 1805054"/>
                    <a:gd name="connsiteY1036" fmla="*/ 1441025 h 1642056"/>
                    <a:gd name="connsiteX1037" fmla="*/ 809558 w 1805054"/>
                    <a:gd name="connsiteY1037" fmla="*/ 1436195 h 1642056"/>
                    <a:gd name="connsiteX1038" fmla="*/ 810765 w 1805054"/>
                    <a:gd name="connsiteY1038" fmla="*/ 1424121 h 1642056"/>
                    <a:gd name="connsiteX1039" fmla="*/ 807143 w 1805054"/>
                    <a:gd name="connsiteY1039" fmla="*/ 1419292 h 1642056"/>
                    <a:gd name="connsiteX1040" fmla="*/ 801106 w 1805054"/>
                    <a:gd name="connsiteY1040" fmla="*/ 1415670 h 1642056"/>
                    <a:gd name="connsiteX1041" fmla="*/ 801106 w 1805054"/>
                    <a:gd name="connsiteY1041" fmla="*/ 1410237 h 1642056"/>
                    <a:gd name="connsiteX1042" fmla="*/ 794466 w 1805054"/>
                    <a:gd name="connsiteY1042" fmla="*/ 1409633 h 1642056"/>
                    <a:gd name="connsiteX1043" fmla="*/ 794466 w 1805054"/>
                    <a:gd name="connsiteY1043" fmla="*/ 1416877 h 1642056"/>
                    <a:gd name="connsiteX1044" fmla="*/ 792654 w 1805054"/>
                    <a:gd name="connsiteY1044" fmla="*/ 1421707 h 1642056"/>
                    <a:gd name="connsiteX1045" fmla="*/ 788429 w 1805054"/>
                    <a:gd name="connsiteY1045" fmla="*/ 1424121 h 1642056"/>
                    <a:gd name="connsiteX1046" fmla="*/ 785410 w 1805054"/>
                    <a:gd name="connsiteY1046" fmla="*/ 1429555 h 1642056"/>
                    <a:gd name="connsiteX1047" fmla="*/ 781788 w 1805054"/>
                    <a:gd name="connsiteY1047" fmla="*/ 1428951 h 1642056"/>
                    <a:gd name="connsiteX1048" fmla="*/ 777562 w 1805054"/>
                    <a:gd name="connsiteY1048" fmla="*/ 1433177 h 1642056"/>
                    <a:gd name="connsiteX1049" fmla="*/ 766695 w 1805054"/>
                    <a:gd name="connsiteY1049" fmla="*/ 1425329 h 1642056"/>
                    <a:gd name="connsiteX1050" fmla="*/ 771525 w 1805054"/>
                    <a:gd name="connsiteY1050" fmla="*/ 1413255 h 1642056"/>
                    <a:gd name="connsiteX1051" fmla="*/ 766695 w 1805054"/>
                    <a:gd name="connsiteY1051" fmla="*/ 1410840 h 1642056"/>
                    <a:gd name="connsiteX1052" fmla="*/ 760658 w 1805054"/>
                    <a:gd name="connsiteY1052" fmla="*/ 1410237 h 1642056"/>
                    <a:gd name="connsiteX1053" fmla="*/ 755829 w 1805054"/>
                    <a:gd name="connsiteY1053" fmla="*/ 1407822 h 1642056"/>
                    <a:gd name="connsiteX1054" fmla="*/ 750396 w 1805054"/>
                    <a:gd name="connsiteY1054" fmla="*/ 1403596 h 1642056"/>
                    <a:gd name="connsiteX1055" fmla="*/ 749188 w 1805054"/>
                    <a:gd name="connsiteY1055" fmla="*/ 1401181 h 1642056"/>
                    <a:gd name="connsiteX1056" fmla="*/ 742548 w 1805054"/>
                    <a:gd name="connsiteY1056" fmla="*/ 1393937 h 1642056"/>
                    <a:gd name="connsiteX1057" fmla="*/ 744359 w 1805054"/>
                    <a:gd name="connsiteY1057" fmla="*/ 1385485 h 1642056"/>
                    <a:gd name="connsiteX1058" fmla="*/ 749188 w 1805054"/>
                    <a:gd name="connsiteY1058" fmla="*/ 1376430 h 1642056"/>
                    <a:gd name="connsiteX1059" fmla="*/ 754018 w 1805054"/>
                    <a:gd name="connsiteY1059" fmla="*/ 1372204 h 1642056"/>
                    <a:gd name="connsiteX1060" fmla="*/ 755225 w 1805054"/>
                    <a:gd name="connsiteY1060" fmla="*/ 1366167 h 1642056"/>
                    <a:gd name="connsiteX1061" fmla="*/ 760658 w 1805054"/>
                    <a:gd name="connsiteY1061" fmla="*/ 1367374 h 1642056"/>
                    <a:gd name="connsiteX1062" fmla="*/ 763073 w 1805054"/>
                    <a:gd name="connsiteY1062" fmla="*/ 1365563 h 1642056"/>
                    <a:gd name="connsiteX1063" fmla="*/ 763677 w 1805054"/>
                    <a:gd name="connsiteY1063" fmla="*/ 1360130 h 1642056"/>
                    <a:gd name="connsiteX1064" fmla="*/ 768507 w 1805054"/>
                    <a:gd name="connsiteY1064" fmla="*/ 1360130 h 1642056"/>
                    <a:gd name="connsiteX1065" fmla="*/ 769714 w 1805054"/>
                    <a:gd name="connsiteY1065" fmla="*/ 1356508 h 1642056"/>
                    <a:gd name="connsiteX1066" fmla="*/ 772732 w 1805054"/>
                    <a:gd name="connsiteY1066" fmla="*/ 1352885 h 1642056"/>
                    <a:gd name="connsiteX1067" fmla="*/ 768507 w 1805054"/>
                    <a:gd name="connsiteY1067" fmla="*/ 1350471 h 1642056"/>
                    <a:gd name="connsiteX1068" fmla="*/ 762470 w 1805054"/>
                    <a:gd name="connsiteY1068" fmla="*/ 1356508 h 1642056"/>
                    <a:gd name="connsiteX1069" fmla="*/ 758847 w 1805054"/>
                    <a:gd name="connsiteY1069" fmla="*/ 1355904 h 1642056"/>
                    <a:gd name="connsiteX1070" fmla="*/ 751603 w 1805054"/>
                    <a:gd name="connsiteY1070" fmla="*/ 1352282 h 1642056"/>
                    <a:gd name="connsiteX1071" fmla="*/ 747981 w 1805054"/>
                    <a:gd name="connsiteY1071" fmla="*/ 1348056 h 1642056"/>
                    <a:gd name="connsiteX1072" fmla="*/ 742548 w 1805054"/>
                    <a:gd name="connsiteY1072" fmla="*/ 1346245 h 1642056"/>
                    <a:gd name="connsiteX1073" fmla="*/ 747377 w 1805054"/>
                    <a:gd name="connsiteY1073" fmla="*/ 1340811 h 1642056"/>
                    <a:gd name="connsiteX1074" fmla="*/ 747377 w 1805054"/>
                    <a:gd name="connsiteY1074" fmla="*/ 1332360 h 1642056"/>
                    <a:gd name="connsiteX1075" fmla="*/ 744359 w 1805054"/>
                    <a:gd name="connsiteY1075" fmla="*/ 1323908 h 1642056"/>
                    <a:gd name="connsiteX1076" fmla="*/ 735907 w 1805054"/>
                    <a:gd name="connsiteY1076" fmla="*/ 1330549 h 1642056"/>
                    <a:gd name="connsiteX1077" fmla="*/ 729870 w 1805054"/>
                    <a:gd name="connsiteY1077" fmla="*/ 1330549 h 1642056"/>
                    <a:gd name="connsiteX1078" fmla="*/ 728059 w 1805054"/>
                    <a:gd name="connsiteY1078" fmla="*/ 1326323 h 1642056"/>
                    <a:gd name="connsiteX1079" fmla="*/ 721418 w 1805054"/>
                    <a:gd name="connsiteY1079" fmla="*/ 1333567 h 1642056"/>
                    <a:gd name="connsiteX1080" fmla="*/ 723229 w 1805054"/>
                    <a:gd name="connsiteY1080" fmla="*/ 1340208 h 1642056"/>
                    <a:gd name="connsiteX1081" fmla="*/ 717796 w 1805054"/>
                    <a:gd name="connsiteY1081" fmla="*/ 1346848 h 1642056"/>
                    <a:gd name="connsiteX1082" fmla="*/ 722626 w 1805054"/>
                    <a:gd name="connsiteY1082" fmla="*/ 1351074 h 1642056"/>
                    <a:gd name="connsiteX1083" fmla="*/ 720815 w 1805054"/>
                    <a:gd name="connsiteY1083" fmla="*/ 1354697 h 1642056"/>
                    <a:gd name="connsiteX1084" fmla="*/ 709344 w 1805054"/>
                    <a:gd name="connsiteY1084" fmla="*/ 1361941 h 1642056"/>
                    <a:gd name="connsiteX1085" fmla="*/ 704515 w 1805054"/>
                    <a:gd name="connsiteY1085" fmla="*/ 1355904 h 1642056"/>
                    <a:gd name="connsiteX1086" fmla="*/ 697874 w 1805054"/>
                    <a:gd name="connsiteY1086" fmla="*/ 1352885 h 1642056"/>
                    <a:gd name="connsiteX1087" fmla="*/ 690026 w 1805054"/>
                    <a:gd name="connsiteY1087" fmla="*/ 1352885 h 1642056"/>
                    <a:gd name="connsiteX1088" fmla="*/ 687007 w 1805054"/>
                    <a:gd name="connsiteY1088" fmla="*/ 1354697 h 1642056"/>
                    <a:gd name="connsiteX1089" fmla="*/ 670104 w 1805054"/>
                    <a:gd name="connsiteY1089" fmla="*/ 1354093 h 1642056"/>
                    <a:gd name="connsiteX1090" fmla="*/ 664671 w 1805054"/>
                    <a:gd name="connsiteY1090" fmla="*/ 1346848 h 1642056"/>
                    <a:gd name="connsiteX1091" fmla="*/ 662256 w 1805054"/>
                    <a:gd name="connsiteY1091" fmla="*/ 1340811 h 1642056"/>
                    <a:gd name="connsiteX1092" fmla="*/ 661652 w 1805054"/>
                    <a:gd name="connsiteY1092" fmla="*/ 1331756 h 1642056"/>
                    <a:gd name="connsiteX1093" fmla="*/ 655011 w 1805054"/>
                    <a:gd name="connsiteY1093" fmla="*/ 1332360 h 1642056"/>
                    <a:gd name="connsiteX1094" fmla="*/ 640523 w 1805054"/>
                    <a:gd name="connsiteY1094" fmla="*/ 1328737 h 1642056"/>
                    <a:gd name="connsiteX1095" fmla="*/ 637504 w 1805054"/>
                    <a:gd name="connsiteY1095" fmla="*/ 1325115 h 1642056"/>
                    <a:gd name="connsiteX1096" fmla="*/ 630864 w 1805054"/>
                    <a:gd name="connsiteY1096" fmla="*/ 1321493 h 1642056"/>
                    <a:gd name="connsiteX1097" fmla="*/ 622412 w 1805054"/>
                    <a:gd name="connsiteY1097" fmla="*/ 1333567 h 1642056"/>
                    <a:gd name="connsiteX1098" fmla="*/ 624223 w 1805054"/>
                    <a:gd name="connsiteY1098" fmla="*/ 1340811 h 1642056"/>
                    <a:gd name="connsiteX1099" fmla="*/ 619393 w 1805054"/>
                    <a:gd name="connsiteY1099" fmla="*/ 1343830 h 1642056"/>
                    <a:gd name="connsiteX1100" fmla="*/ 614564 w 1805054"/>
                    <a:gd name="connsiteY1100" fmla="*/ 1343830 h 1642056"/>
                    <a:gd name="connsiteX1101" fmla="*/ 613356 w 1805054"/>
                    <a:gd name="connsiteY1101" fmla="*/ 1336586 h 1642056"/>
                    <a:gd name="connsiteX1102" fmla="*/ 609131 w 1805054"/>
                    <a:gd name="connsiteY1102" fmla="*/ 1331756 h 1642056"/>
                    <a:gd name="connsiteX1103" fmla="*/ 611545 w 1805054"/>
                    <a:gd name="connsiteY1103" fmla="*/ 1323908 h 1642056"/>
                    <a:gd name="connsiteX1104" fmla="*/ 610338 w 1805054"/>
                    <a:gd name="connsiteY1104" fmla="*/ 1321493 h 1642056"/>
                    <a:gd name="connsiteX1105" fmla="*/ 606112 w 1805054"/>
                    <a:gd name="connsiteY1105" fmla="*/ 1320889 h 1642056"/>
                    <a:gd name="connsiteX1106" fmla="*/ 598868 w 1805054"/>
                    <a:gd name="connsiteY1106" fmla="*/ 1322097 h 1642056"/>
                    <a:gd name="connsiteX1107" fmla="*/ 592831 w 1805054"/>
                    <a:gd name="connsiteY1107" fmla="*/ 1310626 h 1642056"/>
                    <a:gd name="connsiteX1108" fmla="*/ 588001 w 1805054"/>
                    <a:gd name="connsiteY1108" fmla="*/ 1310023 h 1642056"/>
                    <a:gd name="connsiteX1109" fmla="*/ 587397 w 1805054"/>
                    <a:gd name="connsiteY1109" fmla="*/ 1313041 h 1642056"/>
                    <a:gd name="connsiteX1110" fmla="*/ 580153 w 1805054"/>
                    <a:gd name="connsiteY1110" fmla="*/ 1313645 h 1642056"/>
                    <a:gd name="connsiteX1111" fmla="*/ 578946 w 1805054"/>
                    <a:gd name="connsiteY1111" fmla="*/ 1309419 h 1642056"/>
                    <a:gd name="connsiteX1112" fmla="*/ 575323 w 1805054"/>
                    <a:gd name="connsiteY1112" fmla="*/ 1311230 h 1642056"/>
                    <a:gd name="connsiteX1113" fmla="*/ 570494 w 1805054"/>
                    <a:gd name="connsiteY1113" fmla="*/ 1304590 h 1642056"/>
                    <a:gd name="connsiteX1114" fmla="*/ 575927 w 1805054"/>
                    <a:gd name="connsiteY1114" fmla="*/ 1299760 h 1642056"/>
                    <a:gd name="connsiteX1115" fmla="*/ 580757 w 1805054"/>
                    <a:gd name="connsiteY1115" fmla="*/ 1299760 h 1642056"/>
                    <a:gd name="connsiteX1116" fmla="*/ 583775 w 1805054"/>
                    <a:gd name="connsiteY1116" fmla="*/ 1303382 h 1642056"/>
                    <a:gd name="connsiteX1117" fmla="*/ 589812 w 1805054"/>
                    <a:gd name="connsiteY1117" fmla="*/ 1301571 h 1642056"/>
                    <a:gd name="connsiteX1118" fmla="*/ 592227 w 1805054"/>
                    <a:gd name="connsiteY1118" fmla="*/ 1295534 h 1642056"/>
                    <a:gd name="connsiteX1119" fmla="*/ 589209 w 1805054"/>
                    <a:gd name="connsiteY1119" fmla="*/ 1294931 h 1642056"/>
                    <a:gd name="connsiteX1120" fmla="*/ 583775 w 1805054"/>
                    <a:gd name="connsiteY1120" fmla="*/ 1297949 h 1642056"/>
                    <a:gd name="connsiteX1121" fmla="*/ 575927 w 1805054"/>
                    <a:gd name="connsiteY1121" fmla="*/ 1294931 h 1642056"/>
                    <a:gd name="connsiteX1122" fmla="*/ 570494 w 1805054"/>
                    <a:gd name="connsiteY1122" fmla="*/ 1294931 h 1642056"/>
                    <a:gd name="connsiteX1123" fmla="*/ 566268 w 1805054"/>
                    <a:gd name="connsiteY1123" fmla="*/ 1292516 h 1642056"/>
                    <a:gd name="connsiteX1124" fmla="*/ 563853 w 1805054"/>
                    <a:gd name="connsiteY1124" fmla="*/ 1295534 h 1642056"/>
                    <a:gd name="connsiteX1125" fmla="*/ 557213 w 1805054"/>
                    <a:gd name="connsiteY1125" fmla="*/ 1297949 h 1642056"/>
                    <a:gd name="connsiteX1126" fmla="*/ 552383 w 1805054"/>
                    <a:gd name="connsiteY1126" fmla="*/ 1296138 h 1642056"/>
                    <a:gd name="connsiteX1127" fmla="*/ 549968 w 1805054"/>
                    <a:gd name="connsiteY1127" fmla="*/ 1291912 h 1642056"/>
                    <a:gd name="connsiteX1128" fmla="*/ 543327 w 1805054"/>
                    <a:gd name="connsiteY1128" fmla="*/ 1292516 h 1642056"/>
                    <a:gd name="connsiteX1129" fmla="*/ 536687 w 1805054"/>
                    <a:gd name="connsiteY1129" fmla="*/ 1287686 h 1642056"/>
                    <a:gd name="connsiteX1130" fmla="*/ 537894 w 1805054"/>
                    <a:gd name="connsiteY1130" fmla="*/ 1282857 h 1642056"/>
                    <a:gd name="connsiteX1131" fmla="*/ 536687 w 1805054"/>
                    <a:gd name="connsiteY1131" fmla="*/ 1278027 h 1642056"/>
                    <a:gd name="connsiteX1132" fmla="*/ 530046 w 1805054"/>
                    <a:gd name="connsiteY1132" fmla="*/ 1275612 h 1642056"/>
                    <a:gd name="connsiteX1133" fmla="*/ 527631 w 1805054"/>
                    <a:gd name="connsiteY1133" fmla="*/ 1278027 h 1642056"/>
                    <a:gd name="connsiteX1134" fmla="*/ 517972 w 1805054"/>
                    <a:gd name="connsiteY1134" fmla="*/ 1282253 h 1642056"/>
                    <a:gd name="connsiteX1135" fmla="*/ 517972 w 1805054"/>
                    <a:gd name="connsiteY1135" fmla="*/ 1287082 h 1642056"/>
                    <a:gd name="connsiteX1136" fmla="*/ 512539 w 1805054"/>
                    <a:gd name="connsiteY1136" fmla="*/ 1291308 h 1642056"/>
                    <a:gd name="connsiteX1137" fmla="*/ 505295 w 1805054"/>
                    <a:gd name="connsiteY1137" fmla="*/ 1293723 h 1642056"/>
                    <a:gd name="connsiteX1138" fmla="*/ 502276 w 1805054"/>
                    <a:gd name="connsiteY1138" fmla="*/ 1289497 h 1642056"/>
                    <a:gd name="connsiteX1139" fmla="*/ 503484 w 1805054"/>
                    <a:gd name="connsiteY1139" fmla="*/ 1285875 h 1642056"/>
                    <a:gd name="connsiteX1140" fmla="*/ 501069 w 1805054"/>
                    <a:gd name="connsiteY1140" fmla="*/ 1284064 h 1642056"/>
                    <a:gd name="connsiteX1141" fmla="*/ 496843 w 1805054"/>
                    <a:gd name="connsiteY1141" fmla="*/ 1284668 h 1642056"/>
                    <a:gd name="connsiteX1142" fmla="*/ 492617 w 1805054"/>
                    <a:gd name="connsiteY1142" fmla="*/ 1283460 h 1642056"/>
                    <a:gd name="connsiteX1143" fmla="*/ 490806 w 1805054"/>
                    <a:gd name="connsiteY1143" fmla="*/ 1288894 h 1642056"/>
                    <a:gd name="connsiteX1144" fmla="*/ 492013 w 1805054"/>
                    <a:gd name="connsiteY1144" fmla="*/ 1294327 h 1642056"/>
                    <a:gd name="connsiteX1145" fmla="*/ 487184 w 1805054"/>
                    <a:gd name="connsiteY1145" fmla="*/ 1296742 h 1642056"/>
                    <a:gd name="connsiteX1146" fmla="*/ 479939 w 1805054"/>
                    <a:gd name="connsiteY1146" fmla="*/ 1294931 h 1642056"/>
                    <a:gd name="connsiteX1147" fmla="*/ 481147 w 1805054"/>
                    <a:gd name="connsiteY1147" fmla="*/ 1289497 h 1642056"/>
                    <a:gd name="connsiteX1148" fmla="*/ 480543 w 1805054"/>
                    <a:gd name="connsiteY1148" fmla="*/ 1285875 h 1642056"/>
                    <a:gd name="connsiteX1149" fmla="*/ 474506 w 1805054"/>
                    <a:gd name="connsiteY1149" fmla="*/ 1284064 h 1642056"/>
                    <a:gd name="connsiteX1150" fmla="*/ 466658 w 1805054"/>
                    <a:gd name="connsiteY1150" fmla="*/ 1287686 h 1642056"/>
                    <a:gd name="connsiteX1151" fmla="*/ 460621 w 1805054"/>
                    <a:gd name="connsiteY1151" fmla="*/ 1287686 h 1642056"/>
                    <a:gd name="connsiteX1152" fmla="*/ 449151 w 1805054"/>
                    <a:gd name="connsiteY1152" fmla="*/ 1292516 h 1642056"/>
                    <a:gd name="connsiteX1153" fmla="*/ 446132 w 1805054"/>
                    <a:gd name="connsiteY1153" fmla="*/ 1287686 h 1642056"/>
                    <a:gd name="connsiteX1154" fmla="*/ 440095 w 1805054"/>
                    <a:gd name="connsiteY1154" fmla="*/ 1284064 h 1642056"/>
                    <a:gd name="connsiteX1155" fmla="*/ 435869 w 1805054"/>
                    <a:gd name="connsiteY1155" fmla="*/ 1285271 h 1642056"/>
                    <a:gd name="connsiteX1156" fmla="*/ 432851 w 1805054"/>
                    <a:gd name="connsiteY1156" fmla="*/ 1282253 h 1642056"/>
                    <a:gd name="connsiteX1157" fmla="*/ 426814 w 1805054"/>
                    <a:gd name="connsiteY1157" fmla="*/ 1284064 h 1642056"/>
                    <a:gd name="connsiteX1158" fmla="*/ 423795 w 1805054"/>
                    <a:gd name="connsiteY1158" fmla="*/ 1281649 h 1642056"/>
                    <a:gd name="connsiteX1159" fmla="*/ 413533 w 1805054"/>
                    <a:gd name="connsiteY1159" fmla="*/ 1282857 h 1642056"/>
                    <a:gd name="connsiteX1160" fmla="*/ 410514 w 1805054"/>
                    <a:gd name="connsiteY1160" fmla="*/ 1285271 h 1642056"/>
                    <a:gd name="connsiteX1161" fmla="*/ 405685 w 1805054"/>
                    <a:gd name="connsiteY1161" fmla="*/ 1286479 h 1642056"/>
                    <a:gd name="connsiteX1162" fmla="*/ 399648 w 1805054"/>
                    <a:gd name="connsiteY1162" fmla="*/ 1291308 h 1642056"/>
                    <a:gd name="connsiteX1163" fmla="*/ 391196 w 1805054"/>
                    <a:gd name="connsiteY1163" fmla="*/ 1294931 h 1642056"/>
                    <a:gd name="connsiteX1164" fmla="*/ 388781 w 1805054"/>
                    <a:gd name="connsiteY1164" fmla="*/ 1293723 h 1642056"/>
                    <a:gd name="connsiteX1165" fmla="*/ 386366 w 1805054"/>
                    <a:gd name="connsiteY1165" fmla="*/ 1287686 h 1642056"/>
                    <a:gd name="connsiteX1166" fmla="*/ 380329 w 1805054"/>
                    <a:gd name="connsiteY1166" fmla="*/ 1290101 h 1642056"/>
                    <a:gd name="connsiteX1167" fmla="*/ 374292 w 1805054"/>
                    <a:gd name="connsiteY1167" fmla="*/ 1297949 h 1642056"/>
                    <a:gd name="connsiteX1168" fmla="*/ 366444 w 1805054"/>
                    <a:gd name="connsiteY1168" fmla="*/ 1294931 h 1642056"/>
                    <a:gd name="connsiteX1169" fmla="*/ 362822 w 1805054"/>
                    <a:gd name="connsiteY1169" fmla="*/ 1293723 h 1642056"/>
                    <a:gd name="connsiteX1170" fmla="*/ 355578 w 1805054"/>
                    <a:gd name="connsiteY1170" fmla="*/ 1290705 h 1642056"/>
                    <a:gd name="connsiteX1171" fmla="*/ 348333 w 1805054"/>
                    <a:gd name="connsiteY1171" fmla="*/ 1288894 h 1642056"/>
                    <a:gd name="connsiteX1172" fmla="*/ 337467 w 1805054"/>
                    <a:gd name="connsiteY1172" fmla="*/ 1284064 h 1642056"/>
                    <a:gd name="connsiteX1173" fmla="*/ 335052 w 1805054"/>
                    <a:gd name="connsiteY1173" fmla="*/ 1281649 h 1642056"/>
                    <a:gd name="connsiteX1174" fmla="*/ 327808 w 1805054"/>
                    <a:gd name="connsiteY1174" fmla="*/ 1274405 h 1642056"/>
                    <a:gd name="connsiteX1175" fmla="*/ 319960 w 1805054"/>
                    <a:gd name="connsiteY1175" fmla="*/ 1254483 h 1642056"/>
                    <a:gd name="connsiteX1176" fmla="*/ 313923 w 1805054"/>
                    <a:gd name="connsiteY1176" fmla="*/ 1242409 h 1642056"/>
                    <a:gd name="connsiteX1177" fmla="*/ 308489 w 1805054"/>
                    <a:gd name="connsiteY1177" fmla="*/ 1233957 h 1642056"/>
                    <a:gd name="connsiteX1178" fmla="*/ 303660 w 1805054"/>
                    <a:gd name="connsiteY1178" fmla="*/ 1228524 h 1642056"/>
                    <a:gd name="connsiteX1179" fmla="*/ 301849 w 1805054"/>
                    <a:gd name="connsiteY1179" fmla="*/ 1223694 h 1642056"/>
                    <a:gd name="connsiteX1180" fmla="*/ 297623 w 1805054"/>
                    <a:gd name="connsiteY1180" fmla="*/ 1210413 h 1642056"/>
                    <a:gd name="connsiteX1181" fmla="*/ 295208 w 1805054"/>
                    <a:gd name="connsiteY1181" fmla="*/ 1198339 h 1642056"/>
                    <a:gd name="connsiteX1182" fmla="*/ 290982 w 1805054"/>
                    <a:gd name="connsiteY1182" fmla="*/ 1176002 h 1642056"/>
                    <a:gd name="connsiteX1183" fmla="*/ 283134 w 1805054"/>
                    <a:gd name="connsiteY1183" fmla="*/ 1167550 h 1642056"/>
                    <a:gd name="connsiteX1184" fmla="*/ 273475 w 1805054"/>
                    <a:gd name="connsiteY1184" fmla="*/ 1157891 h 1642056"/>
                    <a:gd name="connsiteX1185" fmla="*/ 263212 w 1805054"/>
                    <a:gd name="connsiteY1185" fmla="*/ 1146421 h 1642056"/>
                    <a:gd name="connsiteX1186" fmla="*/ 260194 w 1805054"/>
                    <a:gd name="connsiteY1186" fmla="*/ 1136158 h 1642056"/>
                    <a:gd name="connsiteX1187" fmla="*/ 255968 w 1805054"/>
                    <a:gd name="connsiteY1187" fmla="*/ 1130121 h 1642056"/>
                    <a:gd name="connsiteX1188" fmla="*/ 245705 w 1805054"/>
                    <a:gd name="connsiteY1188" fmla="*/ 1120462 h 1642056"/>
                    <a:gd name="connsiteX1189" fmla="*/ 246912 w 1805054"/>
                    <a:gd name="connsiteY1189" fmla="*/ 1113821 h 1642056"/>
                    <a:gd name="connsiteX1190" fmla="*/ 246912 w 1805054"/>
                    <a:gd name="connsiteY1190" fmla="*/ 1107181 h 1642056"/>
                    <a:gd name="connsiteX1191" fmla="*/ 248723 w 1805054"/>
                    <a:gd name="connsiteY1191" fmla="*/ 1090881 h 1642056"/>
                    <a:gd name="connsiteX1192" fmla="*/ 246308 w 1805054"/>
                    <a:gd name="connsiteY1192" fmla="*/ 1089673 h 1642056"/>
                    <a:gd name="connsiteX1193" fmla="*/ 246308 w 1805054"/>
                    <a:gd name="connsiteY1193" fmla="*/ 1074581 h 1642056"/>
                    <a:gd name="connsiteX1194" fmla="*/ 246912 w 1805054"/>
                    <a:gd name="connsiteY1194" fmla="*/ 1058281 h 1642056"/>
                    <a:gd name="connsiteX1195" fmla="*/ 243894 w 1805054"/>
                    <a:gd name="connsiteY1195" fmla="*/ 1049829 h 1642056"/>
                    <a:gd name="connsiteX1196" fmla="*/ 240271 w 1805054"/>
                    <a:gd name="connsiteY1196" fmla="*/ 1048018 h 1642056"/>
                    <a:gd name="connsiteX1197" fmla="*/ 230612 w 1805054"/>
                    <a:gd name="connsiteY1197" fmla="*/ 1048622 h 1642056"/>
                    <a:gd name="connsiteX1198" fmla="*/ 223368 w 1805054"/>
                    <a:gd name="connsiteY1198" fmla="*/ 1052244 h 1642056"/>
                    <a:gd name="connsiteX1199" fmla="*/ 216727 w 1805054"/>
                    <a:gd name="connsiteY1199" fmla="*/ 1054659 h 1642056"/>
                    <a:gd name="connsiteX1200" fmla="*/ 207672 w 1805054"/>
                    <a:gd name="connsiteY1200" fmla="*/ 1054659 h 1642056"/>
                    <a:gd name="connsiteX1201" fmla="*/ 194391 w 1805054"/>
                    <a:gd name="connsiteY1201" fmla="*/ 1056470 h 1642056"/>
                    <a:gd name="connsiteX1202" fmla="*/ 188957 w 1805054"/>
                    <a:gd name="connsiteY1202" fmla="*/ 1057677 h 1642056"/>
                    <a:gd name="connsiteX1203" fmla="*/ 184128 w 1805054"/>
                    <a:gd name="connsiteY1203" fmla="*/ 1056470 h 1642056"/>
                    <a:gd name="connsiteX1204" fmla="*/ 165413 w 1805054"/>
                    <a:gd name="connsiteY1204" fmla="*/ 1049829 h 1642056"/>
                    <a:gd name="connsiteX1205" fmla="*/ 162998 w 1805054"/>
                    <a:gd name="connsiteY1205" fmla="*/ 1047415 h 1642056"/>
                    <a:gd name="connsiteX1206" fmla="*/ 160583 w 1805054"/>
                    <a:gd name="connsiteY1206" fmla="*/ 1039566 h 1642056"/>
                    <a:gd name="connsiteX1207" fmla="*/ 156961 w 1805054"/>
                    <a:gd name="connsiteY1207" fmla="*/ 1034133 h 1642056"/>
                    <a:gd name="connsiteX1208" fmla="*/ 148510 w 1805054"/>
                    <a:gd name="connsiteY1208" fmla="*/ 1025078 h 1642056"/>
                    <a:gd name="connsiteX1209" fmla="*/ 143680 w 1805054"/>
                    <a:gd name="connsiteY1209" fmla="*/ 1022059 h 1642056"/>
                    <a:gd name="connsiteX1210" fmla="*/ 140661 w 1805054"/>
                    <a:gd name="connsiteY1210" fmla="*/ 1016022 h 1642056"/>
                    <a:gd name="connsiteX1211" fmla="*/ 128588 w 1805054"/>
                    <a:gd name="connsiteY1211" fmla="*/ 997911 h 1642056"/>
                    <a:gd name="connsiteX1212" fmla="*/ 125569 w 1805054"/>
                    <a:gd name="connsiteY1212" fmla="*/ 988856 h 1642056"/>
                    <a:gd name="connsiteX1213" fmla="*/ 125569 w 1805054"/>
                    <a:gd name="connsiteY1213" fmla="*/ 981008 h 1642056"/>
                    <a:gd name="connsiteX1214" fmla="*/ 123154 w 1805054"/>
                    <a:gd name="connsiteY1214" fmla="*/ 967123 h 1642056"/>
                    <a:gd name="connsiteX1215" fmla="*/ 126173 w 1805054"/>
                    <a:gd name="connsiteY1215" fmla="*/ 958067 h 1642056"/>
                    <a:gd name="connsiteX1216" fmla="*/ 136436 w 1805054"/>
                    <a:gd name="connsiteY1216" fmla="*/ 942371 h 1642056"/>
                    <a:gd name="connsiteX1217" fmla="*/ 139454 w 1805054"/>
                    <a:gd name="connsiteY1217" fmla="*/ 935731 h 1642056"/>
                    <a:gd name="connsiteX1218" fmla="*/ 142473 w 1805054"/>
                    <a:gd name="connsiteY1218" fmla="*/ 924260 h 1642056"/>
                    <a:gd name="connsiteX1219" fmla="*/ 140661 w 1805054"/>
                    <a:gd name="connsiteY1219" fmla="*/ 917016 h 1642056"/>
                    <a:gd name="connsiteX1220" fmla="*/ 141265 w 1805054"/>
                    <a:gd name="connsiteY1220" fmla="*/ 909772 h 1642056"/>
                    <a:gd name="connsiteX1221" fmla="*/ 143680 w 1805054"/>
                    <a:gd name="connsiteY1221" fmla="*/ 900112 h 1642056"/>
                    <a:gd name="connsiteX1222" fmla="*/ 143076 w 1805054"/>
                    <a:gd name="connsiteY1222" fmla="*/ 880794 h 1642056"/>
                    <a:gd name="connsiteX1223" fmla="*/ 144887 w 1805054"/>
                    <a:gd name="connsiteY1223" fmla="*/ 868720 h 1642056"/>
                    <a:gd name="connsiteX1224" fmla="*/ 141265 w 1805054"/>
                    <a:gd name="connsiteY1224" fmla="*/ 854232 h 1642056"/>
                    <a:gd name="connsiteX1225" fmla="*/ 137643 w 1805054"/>
                    <a:gd name="connsiteY1225" fmla="*/ 850006 h 1642056"/>
                    <a:gd name="connsiteX1226" fmla="*/ 128588 w 1805054"/>
                    <a:gd name="connsiteY1226" fmla="*/ 845176 h 1642056"/>
                    <a:gd name="connsiteX1227" fmla="*/ 120136 w 1805054"/>
                    <a:gd name="connsiteY1227" fmla="*/ 842761 h 1642056"/>
                    <a:gd name="connsiteX1228" fmla="*/ 111684 w 1805054"/>
                    <a:gd name="connsiteY1228" fmla="*/ 842761 h 1642056"/>
                    <a:gd name="connsiteX1229" fmla="*/ 89951 w 1805054"/>
                    <a:gd name="connsiteY1229" fmla="*/ 846383 h 1642056"/>
                    <a:gd name="connsiteX1230" fmla="*/ 76670 w 1805054"/>
                    <a:gd name="connsiteY1230" fmla="*/ 846383 h 1642056"/>
                    <a:gd name="connsiteX1231" fmla="*/ 68821 w 1805054"/>
                    <a:gd name="connsiteY1231" fmla="*/ 844572 h 1642056"/>
                    <a:gd name="connsiteX1232" fmla="*/ 59766 w 1805054"/>
                    <a:gd name="connsiteY1232" fmla="*/ 839139 h 1642056"/>
                    <a:gd name="connsiteX1233" fmla="*/ 49503 w 1805054"/>
                    <a:gd name="connsiteY1233" fmla="*/ 830084 h 1642056"/>
                    <a:gd name="connsiteX1234" fmla="*/ 8452 w 1805054"/>
                    <a:gd name="connsiteY1234" fmla="*/ 811369 h 1642056"/>
                    <a:gd name="connsiteX1235" fmla="*/ 5433 w 1805054"/>
                    <a:gd name="connsiteY1235" fmla="*/ 808351 h 1642056"/>
                    <a:gd name="connsiteX1236" fmla="*/ 0 w 1805054"/>
                    <a:gd name="connsiteY1236" fmla="*/ 795069 h 1642056"/>
                    <a:gd name="connsiteX1237" fmla="*/ 3622 w 1805054"/>
                    <a:gd name="connsiteY1237" fmla="*/ 773336 h 1642056"/>
                    <a:gd name="connsiteX1238" fmla="*/ 4226 w 1805054"/>
                    <a:gd name="connsiteY1238" fmla="*/ 763073 h 1642056"/>
                    <a:gd name="connsiteX1239" fmla="*/ 6641 w 1805054"/>
                    <a:gd name="connsiteY1239" fmla="*/ 746170 h 1642056"/>
                    <a:gd name="connsiteX1240" fmla="*/ 11470 w 1805054"/>
                    <a:gd name="connsiteY1240" fmla="*/ 734096 h 1642056"/>
                    <a:gd name="connsiteX1241" fmla="*/ 16904 w 1805054"/>
                    <a:gd name="connsiteY1241" fmla="*/ 718400 h 1642056"/>
                    <a:gd name="connsiteX1242" fmla="*/ 21733 w 1805054"/>
                    <a:gd name="connsiteY1242" fmla="*/ 708740 h 1642056"/>
                    <a:gd name="connsiteX1243" fmla="*/ 38033 w 1805054"/>
                    <a:gd name="connsiteY1243" fmla="*/ 691837 h 1642056"/>
                    <a:gd name="connsiteX1244" fmla="*/ 68218 w 1805054"/>
                    <a:gd name="connsiteY1244" fmla="*/ 667085 h 1642056"/>
                    <a:gd name="connsiteX1245" fmla="*/ 78481 w 1805054"/>
                    <a:gd name="connsiteY1245" fmla="*/ 656822 h 1642056"/>
                    <a:gd name="connsiteX1246" fmla="*/ 87536 w 1805054"/>
                    <a:gd name="connsiteY1246" fmla="*/ 643541 h 1642056"/>
                    <a:gd name="connsiteX1247" fmla="*/ 93573 w 1805054"/>
                    <a:gd name="connsiteY1247" fmla="*/ 633882 h 1642056"/>
                    <a:gd name="connsiteX1248" fmla="*/ 109873 w 1805054"/>
                    <a:gd name="connsiteY1248" fmla="*/ 621204 h 1642056"/>
                    <a:gd name="connsiteX1249" fmla="*/ 111684 w 1805054"/>
                    <a:gd name="connsiteY1249" fmla="*/ 618186 h 1642056"/>
                    <a:gd name="connsiteX1250" fmla="*/ 117117 w 1805054"/>
                    <a:gd name="connsiteY1250" fmla="*/ 602490 h 1642056"/>
                    <a:gd name="connsiteX1251" fmla="*/ 129191 w 1805054"/>
                    <a:gd name="connsiteY1251" fmla="*/ 572305 h 1642056"/>
                    <a:gd name="connsiteX1252" fmla="*/ 138850 w 1805054"/>
                    <a:gd name="connsiteY1252" fmla="*/ 556609 h 1642056"/>
                    <a:gd name="connsiteX1253" fmla="*/ 144284 w 1805054"/>
                    <a:gd name="connsiteY1253" fmla="*/ 551175 h 1642056"/>
                    <a:gd name="connsiteX1254" fmla="*/ 149717 w 1805054"/>
                    <a:gd name="connsiteY1254" fmla="*/ 544535 h 1642056"/>
                    <a:gd name="connsiteX1255" fmla="*/ 164809 w 1805054"/>
                    <a:gd name="connsiteY1255" fmla="*/ 534272 h 1642056"/>
                    <a:gd name="connsiteX1256" fmla="*/ 169035 w 1805054"/>
                    <a:gd name="connsiteY1256" fmla="*/ 530046 h 1642056"/>
                    <a:gd name="connsiteX1257" fmla="*/ 176280 w 1805054"/>
                    <a:gd name="connsiteY1257" fmla="*/ 521594 h 1642056"/>
                    <a:gd name="connsiteX1258" fmla="*/ 182317 w 1805054"/>
                    <a:gd name="connsiteY1258" fmla="*/ 515557 h 1642056"/>
                    <a:gd name="connsiteX1259" fmla="*/ 195598 w 1805054"/>
                    <a:gd name="connsiteY1259" fmla="*/ 512539 h 1642056"/>
                    <a:gd name="connsiteX1260" fmla="*/ 205257 w 1805054"/>
                    <a:gd name="connsiteY1260" fmla="*/ 510124 h 1642056"/>
                    <a:gd name="connsiteX1261" fmla="*/ 216124 w 1805054"/>
                    <a:gd name="connsiteY1261" fmla="*/ 510124 h 1642056"/>
                    <a:gd name="connsiteX1262" fmla="*/ 222764 w 1805054"/>
                    <a:gd name="connsiteY1262" fmla="*/ 513143 h 1642056"/>
                    <a:gd name="connsiteX1263" fmla="*/ 242686 w 1805054"/>
                    <a:gd name="connsiteY1263" fmla="*/ 534272 h 1642056"/>
                    <a:gd name="connsiteX1264" fmla="*/ 245101 w 1805054"/>
                    <a:gd name="connsiteY1264" fmla="*/ 537894 h 1642056"/>
                    <a:gd name="connsiteX1265" fmla="*/ 245705 w 1805054"/>
                    <a:gd name="connsiteY1265" fmla="*/ 548157 h 1642056"/>
                    <a:gd name="connsiteX1266" fmla="*/ 246308 w 1805054"/>
                    <a:gd name="connsiteY1266" fmla="*/ 555401 h 1642056"/>
                    <a:gd name="connsiteX1267" fmla="*/ 258986 w 1805054"/>
                    <a:gd name="connsiteY1267" fmla="*/ 577738 h 1642056"/>
                    <a:gd name="connsiteX1268" fmla="*/ 262608 w 1805054"/>
                    <a:gd name="connsiteY1268" fmla="*/ 583775 h 1642056"/>
                    <a:gd name="connsiteX1269" fmla="*/ 275286 w 1805054"/>
                    <a:gd name="connsiteY1269" fmla="*/ 586794 h 1642056"/>
                    <a:gd name="connsiteX1270" fmla="*/ 289171 w 1805054"/>
                    <a:gd name="connsiteY1270" fmla="*/ 588001 h 1642056"/>
                    <a:gd name="connsiteX1271" fmla="*/ 293397 w 1805054"/>
                    <a:gd name="connsiteY1271" fmla="*/ 587397 h 1642056"/>
                    <a:gd name="connsiteX1272" fmla="*/ 319960 w 1805054"/>
                    <a:gd name="connsiteY1272" fmla="*/ 574116 h 1642056"/>
                    <a:gd name="connsiteX1273" fmla="*/ 330826 w 1805054"/>
                    <a:gd name="connsiteY1273" fmla="*/ 569890 h 1642056"/>
                    <a:gd name="connsiteX1274" fmla="*/ 348937 w 1805054"/>
                    <a:gd name="connsiteY1274" fmla="*/ 561438 h 1642056"/>
                    <a:gd name="connsiteX1275" fmla="*/ 356181 w 1805054"/>
                    <a:gd name="connsiteY1275" fmla="*/ 559023 h 1642056"/>
                    <a:gd name="connsiteX1276" fmla="*/ 368859 w 1805054"/>
                    <a:gd name="connsiteY1276" fmla="*/ 554798 h 1642056"/>
                    <a:gd name="connsiteX1277" fmla="*/ 391196 w 1805054"/>
                    <a:gd name="connsiteY1277" fmla="*/ 549968 h 1642056"/>
                    <a:gd name="connsiteX1278" fmla="*/ 397233 w 1805054"/>
                    <a:gd name="connsiteY1278" fmla="*/ 549364 h 1642056"/>
                    <a:gd name="connsiteX1279" fmla="*/ 422588 w 1805054"/>
                    <a:gd name="connsiteY1279" fmla="*/ 549364 h 1642056"/>
                    <a:gd name="connsiteX1280" fmla="*/ 434058 w 1805054"/>
                    <a:gd name="connsiteY1280" fmla="*/ 548157 h 1642056"/>
                    <a:gd name="connsiteX1281" fmla="*/ 448547 w 1805054"/>
                    <a:gd name="connsiteY1281" fmla="*/ 548157 h 1642056"/>
                    <a:gd name="connsiteX1282" fmla="*/ 456999 w 1805054"/>
                    <a:gd name="connsiteY1282" fmla="*/ 545139 h 1642056"/>
                    <a:gd name="connsiteX1283" fmla="*/ 470884 w 1805054"/>
                    <a:gd name="connsiteY1283" fmla="*/ 538498 h 1642056"/>
                    <a:gd name="connsiteX1284" fmla="*/ 489598 w 1805054"/>
                    <a:gd name="connsiteY1284" fmla="*/ 531254 h 1642056"/>
                    <a:gd name="connsiteX1285" fmla="*/ 498050 w 1805054"/>
                    <a:gd name="connsiteY1285" fmla="*/ 527631 h 1642056"/>
                    <a:gd name="connsiteX1286" fmla="*/ 501069 w 1805054"/>
                    <a:gd name="connsiteY1286" fmla="*/ 511935 h 1642056"/>
                    <a:gd name="connsiteX1287" fmla="*/ 501069 w 1805054"/>
                    <a:gd name="connsiteY1287" fmla="*/ 506502 h 1642056"/>
                    <a:gd name="connsiteX1288" fmla="*/ 504691 w 1805054"/>
                    <a:gd name="connsiteY1288" fmla="*/ 488995 h 1642056"/>
                    <a:gd name="connsiteX1289" fmla="*/ 511935 w 1805054"/>
                    <a:gd name="connsiteY1289" fmla="*/ 479336 h 1642056"/>
                    <a:gd name="connsiteX1290" fmla="*/ 517972 w 1805054"/>
                    <a:gd name="connsiteY1290" fmla="*/ 469676 h 1642056"/>
                    <a:gd name="connsiteX1291" fmla="*/ 522802 w 1805054"/>
                    <a:gd name="connsiteY1291" fmla="*/ 464847 h 1642056"/>
                    <a:gd name="connsiteX1292" fmla="*/ 545139 w 1805054"/>
                    <a:gd name="connsiteY1292" fmla="*/ 446736 h 1642056"/>
                    <a:gd name="connsiteX1293" fmla="*/ 551176 w 1805054"/>
                    <a:gd name="connsiteY1293" fmla="*/ 438888 h 1642056"/>
                    <a:gd name="connsiteX1294" fmla="*/ 557213 w 1805054"/>
                    <a:gd name="connsiteY1294" fmla="*/ 434058 h 1642056"/>
                    <a:gd name="connsiteX1295" fmla="*/ 562042 w 1805054"/>
                    <a:gd name="connsiteY1295" fmla="*/ 424399 h 1642056"/>
                    <a:gd name="connsiteX1296" fmla="*/ 581360 w 1805054"/>
                    <a:gd name="connsiteY1296" fmla="*/ 362218 h 1642056"/>
                    <a:gd name="connsiteX1297" fmla="*/ 586190 w 1805054"/>
                    <a:gd name="connsiteY1297" fmla="*/ 353766 h 1642056"/>
                    <a:gd name="connsiteX1298" fmla="*/ 598264 w 1805054"/>
                    <a:gd name="connsiteY1298" fmla="*/ 338674 h 1642056"/>
                    <a:gd name="connsiteX1299" fmla="*/ 601886 w 1805054"/>
                    <a:gd name="connsiteY1299" fmla="*/ 335656 h 1642056"/>
                    <a:gd name="connsiteX1300" fmla="*/ 610942 w 1805054"/>
                    <a:gd name="connsiteY1300" fmla="*/ 332033 h 1642056"/>
                    <a:gd name="connsiteX1301" fmla="*/ 626034 w 1805054"/>
                    <a:gd name="connsiteY1301" fmla="*/ 323582 h 1642056"/>
                    <a:gd name="connsiteX1302" fmla="*/ 640523 w 1805054"/>
                    <a:gd name="connsiteY1302" fmla="*/ 314526 h 1642056"/>
                    <a:gd name="connsiteX1303" fmla="*/ 653200 w 1805054"/>
                    <a:gd name="connsiteY1303" fmla="*/ 306074 h 1642056"/>
                    <a:gd name="connsiteX1304" fmla="*/ 671915 w 1805054"/>
                    <a:gd name="connsiteY1304" fmla="*/ 295208 h 1642056"/>
                    <a:gd name="connsiteX1305" fmla="*/ 710552 w 1805054"/>
                    <a:gd name="connsiteY1305" fmla="*/ 278304 h 1642056"/>
                    <a:gd name="connsiteX1306" fmla="*/ 713570 w 1805054"/>
                    <a:gd name="connsiteY1306" fmla="*/ 275890 h 1642056"/>
                    <a:gd name="connsiteX1307" fmla="*/ 725040 w 1805054"/>
                    <a:gd name="connsiteY1307" fmla="*/ 248119 h 1642056"/>
                    <a:gd name="connsiteX1308" fmla="*/ 741340 w 1805054"/>
                    <a:gd name="connsiteY1308" fmla="*/ 228197 h 1642056"/>
                    <a:gd name="connsiteX1309" fmla="*/ 753414 w 1805054"/>
                    <a:gd name="connsiteY1309" fmla="*/ 205257 h 1642056"/>
                    <a:gd name="connsiteX1310" fmla="*/ 764884 w 1805054"/>
                    <a:gd name="connsiteY1310" fmla="*/ 181713 h 1642056"/>
                    <a:gd name="connsiteX1311" fmla="*/ 766695 w 1805054"/>
                    <a:gd name="connsiteY1311" fmla="*/ 178694 h 1642056"/>
                    <a:gd name="connsiteX1312" fmla="*/ 770921 w 1805054"/>
                    <a:gd name="connsiteY1312" fmla="*/ 169639 h 1642056"/>
                    <a:gd name="connsiteX1313" fmla="*/ 781184 w 1805054"/>
                    <a:gd name="connsiteY1313" fmla="*/ 151528 h 1642056"/>
                    <a:gd name="connsiteX1314" fmla="*/ 786617 w 1805054"/>
                    <a:gd name="connsiteY1314" fmla="*/ 133417 h 1642056"/>
                    <a:gd name="connsiteX1315" fmla="*/ 789636 w 1805054"/>
                    <a:gd name="connsiteY1315" fmla="*/ 120739 h 1642056"/>
                    <a:gd name="connsiteX1316" fmla="*/ 795069 w 1805054"/>
                    <a:gd name="connsiteY1316" fmla="*/ 101421 h 1642056"/>
                    <a:gd name="connsiteX1317" fmla="*/ 799295 w 1805054"/>
                    <a:gd name="connsiteY1317" fmla="*/ 85121 h 1642056"/>
                    <a:gd name="connsiteX1318" fmla="*/ 800503 w 1805054"/>
                    <a:gd name="connsiteY1318" fmla="*/ 81499 h 1642056"/>
                    <a:gd name="connsiteX1319" fmla="*/ 804728 w 1805054"/>
                    <a:gd name="connsiteY1319" fmla="*/ 63992 h 1642056"/>
                    <a:gd name="connsiteX1320" fmla="*/ 805936 w 1805054"/>
                    <a:gd name="connsiteY1320" fmla="*/ 60973 h 1642056"/>
                    <a:gd name="connsiteX1321" fmla="*/ 810162 w 1805054"/>
                    <a:gd name="connsiteY1321" fmla="*/ 58559 h 1642056"/>
                    <a:gd name="connsiteX1322" fmla="*/ 851213 w 1805054"/>
                    <a:gd name="connsiteY1322" fmla="*/ 41051 h 1642056"/>
                    <a:gd name="connsiteX1323" fmla="*/ 859665 w 1805054"/>
                    <a:gd name="connsiteY1323" fmla="*/ 38637 h 1642056"/>
                    <a:gd name="connsiteX1324" fmla="*/ 871135 w 1805054"/>
                    <a:gd name="connsiteY1324" fmla="*/ 35014 h 1642056"/>
                    <a:gd name="connsiteX1325" fmla="*/ 880794 w 1805054"/>
                    <a:gd name="connsiteY1325" fmla="*/ 32600 h 1642056"/>
                    <a:gd name="connsiteX1326" fmla="*/ 888642 w 1805054"/>
                    <a:gd name="connsiteY1326" fmla="*/ 29581 h 1642056"/>
                    <a:gd name="connsiteX1327" fmla="*/ 897698 w 1805054"/>
                    <a:gd name="connsiteY1327" fmla="*/ 20526 h 1642056"/>
                    <a:gd name="connsiteX1328" fmla="*/ 915809 w 1805054"/>
                    <a:gd name="connsiteY1328" fmla="*/ 6037 h 1642056"/>
                    <a:gd name="connsiteX1329" fmla="*/ 922449 w 1805054"/>
                    <a:gd name="connsiteY1329" fmla="*/ 1811 h 1642056"/>
                    <a:gd name="connsiteX1330" fmla="*/ 924260 w 1805054"/>
                    <a:gd name="connsiteY1330" fmla="*/ 0 h 1642056"/>
                    <a:gd name="connsiteX1331" fmla="*/ 923053 w 1805054"/>
                    <a:gd name="connsiteY1331" fmla="*/ 12074 h 1642056"/>
                    <a:gd name="connsiteX1332" fmla="*/ 923657 w 1805054"/>
                    <a:gd name="connsiteY1332" fmla="*/ 15696 h 1642056"/>
                    <a:gd name="connsiteX1333" fmla="*/ 914601 w 1805054"/>
                    <a:gd name="connsiteY1333" fmla="*/ 30185 h 1642056"/>
                    <a:gd name="connsiteX1334" fmla="*/ 910375 w 1805054"/>
                    <a:gd name="connsiteY1334" fmla="*/ 33203 h 1642056"/>
                    <a:gd name="connsiteX1335" fmla="*/ 906753 w 1805054"/>
                    <a:gd name="connsiteY1335" fmla="*/ 47088 h 1642056"/>
                    <a:gd name="connsiteX1336" fmla="*/ 909168 w 1805054"/>
                    <a:gd name="connsiteY1336" fmla="*/ 53125 h 1642056"/>
                    <a:gd name="connsiteX1337" fmla="*/ 917620 w 1805054"/>
                    <a:gd name="connsiteY1337" fmla="*/ 53125 h 1642056"/>
                    <a:gd name="connsiteX1338" fmla="*/ 945390 w 1805054"/>
                    <a:gd name="connsiteY1338" fmla="*/ 53729 h 1642056"/>
                    <a:gd name="connsiteX1339" fmla="*/ 983423 w 1805054"/>
                    <a:gd name="connsiteY1339" fmla="*/ 56748 h 1642056"/>
                    <a:gd name="connsiteX1340" fmla="*/ 991271 w 1805054"/>
                    <a:gd name="connsiteY1340" fmla="*/ 56748 h 1642056"/>
                    <a:gd name="connsiteX1341" fmla="*/ 1014815 w 1805054"/>
                    <a:gd name="connsiteY1341" fmla="*/ 58559 h 1642056"/>
                    <a:gd name="connsiteX1342" fmla="*/ 1019645 w 1805054"/>
                    <a:gd name="connsiteY1342" fmla="*/ 58559 h 1642056"/>
                    <a:gd name="connsiteX1343" fmla="*/ 1027493 w 1805054"/>
                    <a:gd name="connsiteY1343" fmla="*/ 59162 h 1642056"/>
                    <a:gd name="connsiteX1344" fmla="*/ 1038359 w 1805054"/>
                    <a:gd name="connsiteY1344" fmla="*/ 59766 h 164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Lst>
                  <a:rect l="l" t="t" r="r" b="b"/>
                  <a:pathLst>
                    <a:path w="1805054" h="1642056">
                      <a:moveTo>
                        <a:pt x="1038359" y="59766"/>
                      </a:moveTo>
                      <a:lnTo>
                        <a:pt x="1035341" y="68218"/>
                      </a:lnTo>
                      <a:lnTo>
                        <a:pt x="1041378" y="69425"/>
                      </a:lnTo>
                      <a:lnTo>
                        <a:pt x="1045604" y="78481"/>
                      </a:lnTo>
                      <a:lnTo>
                        <a:pt x="1041378" y="84518"/>
                      </a:lnTo>
                      <a:lnTo>
                        <a:pt x="1032926" y="87536"/>
                      </a:lnTo>
                      <a:lnTo>
                        <a:pt x="1028096" y="93573"/>
                      </a:lnTo>
                      <a:lnTo>
                        <a:pt x="1027493" y="96592"/>
                      </a:lnTo>
                      <a:lnTo>
                        <a:pt x="1028700" y="106854"/>
                      </a:lnTo>
                      <a:lnTo>
                        <a:pt x="1039567" y="107458"/>
                      </a:lnTo>
                      <a:lnTo>
                        <a:pt x="1041981" y="105043"/>
                      </a:lnTo>
                      <a:lnTo>
                        <a:pt x="1049226" y="105043"/>
                      </a:lnTo>
                      <a:lnTo>
                        <a:pt x="1053452" y="102025"/>
                      </a:lnTo>
                      <a:lnTo>
                        <a:pt x="1056470" y="105043"/>
                      </a:lnTo>
                      <a:lnTo>
                        <a:pt x="1055866" y="112288"/>
                      </a:lnTo>
                      <a:lnTo>
                        <a:pt x="1050433" y="128587"/>
                      </a:lnTo>
                      <a:lnTo>
                        <a:pt x="1052244" y="132813"/>
                      </a:lnTo>
                      <a:lnTo>
                        <a:pt x="1049830" y="134624"/>
                      </a:lnTo>
                      <a:lnTo>
                        <a:pt x="1049226" y="144887"/>
                      </a:lnTo>
                      <a:lnTo>
                        <a:pt x="1049226" y="152132"/>
                      </a:lnTo>
                      <a:lnTo>
                        <a:pt x="1057678" y="157565"/>
                      </a:lnTo>
                      <a:lnTo>
                        <a:pt x="1057678" y="159980"/>
                      </a:lnTo>
                      <a:lnTo>
                        <a:pt x="1053452" y="166620"/>
                      </a:lnTo>
                      <a:lnTo>
                        <a:pt x="1050433" y="175072"/>
                      </a:lnTo>
                      <a:lnTo>
                        <a:pt x="1041378" y="173261"/>
                      </a:lnTo>
                      <a:lnTo>
                        <a:pt x="1040170" y="176883"/>
                      </a:lnTo>
                      <a:lnTo>
                        <a:pt x="1040774" y="182920"/>
                      </a:lnTo>
                      <a:lnTo>
                        <a:pt x="1045000" y="183524"/>
                      </a:lnTo>
                      <a:lnTo>
                        <a:pt x="1048622" y="187146"/>
                      </a:lnTo>
                      <a:lnTo>
                        <a:pt x="1049226" y="191976"/>
                      </a:lnTo>
                      <a:lnTo>
                        <a:pt x="1055263" y="199220"/>
                      </a:lnTo>
                      <a:lnTo>
                        <a:pt x="1054055" y="205861"/>
                      </a:lnTo>
                      <a:lnTo>
                        <a:pt x="1063714" y="204653"/>
                      </a:lnTo>
                      <a:lnTo>
                        <a:pt x="1065526" y="194994"/>
                      </a:lnTo>
                      <a:lnTo>
                        <a:pt x="1073374" y="196805"/>
                      </a:lnTo>
                      <a:lnTo>
                        <a:pt x="1078203" y="196202"/>
                      </a:lnTo>
                      <a:lnTo>
                        <a:pt x="1082429" y="199824"/>
                      </a:lnTo>
                      <a:lnTo>
                        <a:pt x="1091485" y="198013"/>
                      </a:lnTo>
                      <a:lnTo>
                        <a:pt x="1098125" y="188957"/>
                      </a:lnTo>
                      <a:lnTo>
                        <a:pt x="1106577" y="187750"/>
                      </a:lnTo>
                      <a:lnTo>
                        <a:pt x="1110803" y="191976"/>
                      </a:lnTo>
                      <a:lnTo>
                        <a:pt x="1114425" y="191976"/>
                      </a:lnTo>
                      <a:lnTo>
                        <a:pt x="1122273" y="196805"/>
                      </a:lnTo>
                      <a:lnTo>
                        <a:pt x="1124084" y="203446"/>
                      </a:lnTo>
                      <a:lnTo>
                        <a:pt x="1127103" y="207672"/>
                      </a:lnTo>
                      <a:lnTo>
                        <a:pt x="1125292" y="211294"/>
                      </a:lnTo>
                      <a:lnTo>
                        <a:pt x="1127706" y="216727"/>
                      </a:lnTo>
                      <a:lnTo>
                        <a:pt x="1132536" y="216727"/>
                      </a:lnTo>
                      <a:lnTo>
                        <a:pt x="1135555" y="219142"/>
                      </a:lnTo>
                      <a:lnTo>
                        <a:pt x="1142195" y="214313"/>
                      </a:lnTo>
                      <a:lnTo>
                        <a:pt x="1145817" y="215520"/>
                      </a:lnTo>
                      <a:lnTo>
                        <a:pt x="1148232" y="220953"/>
                      </a:lnTo>
                      <a:lnTo>
                        <a:pt x="1153665" y="228197"/>
                      </a:lnTo>
                      <a:lnTo>
                        <a:pt x="1159702" y="229405"/>
                      </a:lnTo>
                      <a:lnTo>
                        <a:pt x="1160910" y="225783"/>
                      </a:lnTo>
                      <a:lnTo>
                        <a:pt x="1168154" y="225179"/>
                      </a:lnTo>
                      <a:lnTo>
                        <a:pt x="1171173" y="220953"/>
                      </a:lnTo>
                      <a:lnTo>
                        <a:pt x="1174795" y="219746"/>
                      </a:lnTo>
                      <a:lnTo>
                        <a:pt x="1177813" y="225783"/>
                      </a:lnTo>
                      <a:lnTo>
                        <a:pt x="1183850" y="227594"/>
                      </a:lnTo>
                      <a:lnTo>
                        <a:pt x="1186265" y="223972"/>
                      </a:lnTo>
                      <a:lnTo>
                        <a:pt x="1193509" y="223368"/>
                      </a:lnTo>
                      <a:lnTo>
                        <a:pt x="1194717" y="218538"/>
                      </a:lnTo>
                      <a:lnTo>
                        <a:pt x="1203169" y="213709"/>
                      </a:lnTo>
                      <a:lnTo>
                        <a:pt x="1204376" y="217331"/>
                      </a:lnTo>
                      <a:lnTo>
                        <a:pt x="1204376" y="223972"/>
                      </a:lnTo>
                      <a:lnTo>
                        <a:pt x="1202565" y="227594"/>
                      </a:lnTo>
                      <a:lnTo>
                        <a:pt x="1208602" y="230008"/>
                      </a:lnTo>
                      <a:lnTo>
                        <a:pt x="1209809" y="224575"/>
                      </a:lnTo>
                      <a:lnTo>
                        <a:pt x="1215846" y="220953"/>
                      </a:lnTo>
                      <a:lnTo>
                        <a:pt x="1218865" y="221557"/>
                      </a:lnTo>
                      <a:lnTo>
                        <a:pt x="1220072" y="226386"/>
                      </a:lnTo>
                      <a:lnTo>
                        <a:pt x="1217657" y="228801"/>
                      </a:lnTo>
                      <a:lnTo>
                        <a:pt x="1219468" y="233027"/>
                      </a:lnTo>
                      <a:lnTo>
                        <a:pt x="1220072" y="238460"/>
                      </a:lnTo>
                      <a:lnTo>
                        <a:pt x="1217657" y="242686"/>
                      </a:lnTo>
                      <a:lnTo>
                        <a:pt x="1213431" y="243290"/>
                      </a:lnTo>
                      <a:lnTo>
                        <a:pt x="1212224" y="249327"/>
                      </a:lnTo>
                      <a:lnTo>
                        <a:pt x="1219468" y="252949"/>
                      </a:lnTo>
                      <a:lnTo>
                        <a:pt x="1215846" y="257175"/>
                      </a:lnTo>
                      <a:lnTo>
                        <a:pt x="1215846" y="266834"/>
                      </a:lnTo>
                      <a:lnTo>
                        <a:pt x="1226109" y="268042"/>
                      </a:lnTo>
                      <a:lnTo>
                        <a:pt x="1228524" y="273475"/>
                      </a:lnTo>
                      <a:lnTo>
                        <a:pt x="1227316" y="279512"/>
                      </a:lnTo>
                      <a:lnTo>
                        <a:pt x="1235165" y="278304"/>
                      </a:lnTo>
                      <a:lnTo>
                        <a:pt x="1243013" y="280719"/>
                      </a:lnTo>
                      <a:lnTo>
                        <a:pt x="1244220" y="289171"/>
                      </a:lnTo>
                      <a:lnTo>
                        <a:pt x="1241202" y="292189"/>
                      </a:lnTo>
                      <a:lnTo>
                        <a:pt x="1239994" y="297019"/>
                      </a:lnTo>
                      <a:lnTo>
                        <a:pt x="1233957" y="297623"/>
                      </a:lnTo>
                      <a:lnTo>
                        <a:pt x="1233957" y="300641"/>
                      </a:lnTo>
                      <a:lnTo>
                        <a:pt x="1238183" y="307282"/>
                      </a:lnTo>
                      <a:lnTo>
                        <a:pt x="1238183" y="316337"/>
                      </a:lnTo>
                      <a:lnTo>
                        <a:pt x="1243616" y="321771"/>
                      </a:lnTo>
                      <a:lnTo>
                        <a:pt x="1240598" y="333241"/>
                      </a:lnTo>
                      <a:lnTo>
                        <a:pt x="1244220" y="336863"/>
                      </a:lnTo>
                      <a:lnTo>
                        <a:pt x="1247238" y="345918"/>
                      </a:lnTo>
                      <a:lnTo>
                        <a:pt x="1249050" y="365840"/>
                      </a:lnTo>
                      <a:lnTo>
                        <a:pt x="1250861" y="367048"/>
                      </a:lnTo>
                      <a:lnTo>
                        <a:pt x="1252068" y="373689"/>
                      </a:lnTo>
                      <a:lnTo>
                        <a:pt x="1256294" y="373085"/>
                      </a:lnTo>
                      <a:lnTo>
                        <a:pt x="1258105" y="375500"/>
                      </a:lnTo>
                      <a:lnTo>
                        <a:pt x="1262935" y="376103"/>
                      </a:lnTo>
                      <a:lnTo>
                        <a:pt x="1265349" y="379726"/>
                      </a:lnTo>
                      <a:lnTo>
                        <a:pt x="1267161" y="389988"/>
                      </a:lnTo>
                      <a:lnTo>
                        <a:pt x="1275009" y="393007"/>
                      </a:lnTo>
                      <a:lnTo>
                        <a:pt x="1274405" y="396025"/>
                      </a:lnTo>
                      <a:lnTo>
                        <a:pt x="1279838" y="400855"/>
                      </a:lnTo>
                      <a:lnTo>
                        <a:pt x="1289497" y="403873"/>
                      </a:lnTo>
                      <a:lnTo>
                        <a:pt x="1288894" y="406892"/>
                      </a:lnTo>
                      <a:lnTo>
                        <a:pt x="1297949" y="410514"/>
                      </a:lnTo>
                      <a:lnTo>
                        <a:pt x="1299156" y="414740"/>
                      </a:lnTo>
                      <a:lnTo>
                        <a:pt x="1295534" y="419570"/>
                      </a:lnTo>
                      <a:lnTo>
                        <a:pt x="1296138" y="422588"/>
                      </a:lnTo>
                      <a:lnTo>
                        <a:pt x="1299760" y="423192"/>
                      </a:lnTo>
                      <a:lnTo>
                        <a:pt x="1302779" y="420777"/>
                      </a:lnTo>
                      <a:lnTo>
                        <a:pt x="1308212" y="421984"/>
                      </a:lnTo>
                      <a:lnTo>
                        <a:pt x="1309419" y="425003"/>
                      </a:lnTo>
                      <a:lnTo>
                        <a:pt x="1317267" y="426210"/>
                      </a:lnTo>
                      <a:lnTo>
                        <a:pt x="1327530" y="431644"/>
                      </a:lnTo>
                      <a:lnTo>
                        <a:pt x="1328738" y="437077"/>
                      </a:lnTo>
                      <a:lnTo>
                        <a:pt x="1334774" y="438888"/>
                      </a:lnTo>
                      <a:lnTo>
                        <a:pt x="1340811" y="448547"/>
                      </a:lnTo>
                      <a:lnTo>
                        <a:pt x="1347452" y="452169"/>
                      </a:lnTo>
                      <a:lnTo>
                        <a:pt x="1345037" y="458810"/>
                      </a:lnTo>
                      <a:lnTo>
                        <a:pt x="1346245" y="461225"/>
                      </a:lnTo>
                      <a:lnTo>
                        <a:pt x="1351074" y="464847"/>
                      </a:lnTo>
                      <a:lnTo>
                        <a:pt x="1354697" y="465450"/>
                      </a:lnTo>
                      <a:lnTo>
                        <a:pt x="1352885" y="470280"/>
                      </a:lnTo>
                      <a:lnTo>
                        <a:pt x="1357111" y="471487"/>
                      </a:lnTo>
                      <a:lnTo>
                        <a:pt x="1358922" y="477524"/>
                      </a:lnTo>
                      <a:lnTo>
                        <a:pt x="1363148" y="481750"/>
                      </a:lnTo>
                      <a:lnTo>
                        <a:pt x="1360734" y="484769"/>
                      </a:lnTo>
                      <a:lnTo>
                        <a:pt x="1357111" y="484165"/>
                      </a:lnTo>
                      <a:lnTo>
                        <a:pt x="1357111" y="478732"/>
                      </a:lnTo>
                      <a:lnTo>
                        <a:pt x="1349263" y="477524"/>
                      </a:lnTo>
                      <a:lnTo>
                        <a:pt x="1342623" y="482354"/>
                      </a:lnTo>
                      <a:lnTo>
                        <a:pt x="1342019" y="487787"/>
                      </a:lnTo>
                      <a:lnTo>
                        <a:pt x="1339000" y="487787"/>
                      </a:lnTo>
                      <a:lnTo>
                        <a:pt x="1331756" y="493221"/>
                      </a:lnTo>
                      <a:lnTo>
                        <a:pt x="1330549" y="495635"/>
                      </a:lnTo>
                      <a:lnTo>
                        <a:pt x="1335378" y="498050"/>
                      </a:lnTo>
                      <a:lnTo>
                        <a:pt x="1339000" y="498050"/>
                      </a:lnTo>
                      <a:lnTo>
                        <a:pt x="1343830" y="503483"/>
                      </a:lnTo>
                      <a:lnTo>
                        <a:pt x="1346848" y="498654"/>
                      </a:lnTo>
                      <a:lnTo>
                        <a:pt x="1350471" y="501672"/>
                      </a:lnTo>
                      <a:lnTo>
                        <a:pt x="1346848" y="504691"/>
                      </a:lnTo>
                      <a:lnTo>
                        <a:pt x="1345641" y="508917"/>
                      </a:lnTo>
                      <a:lnTo>
                        <a:pt x="1338397" y="508917"/>
                      </a:lnTo>
                      <a:lnTo>
                        <a:pt x="1337793" y="513746"/>
                      </a:lnTo>
                      <a:lnTo>
                        <a:pt x="1341415" y="516765"/>
                      </a:lnTo>
                      <a:lnTo>
                        <a:pt x="1334774" y="517368"/>
                      </a:lnTo>
                      <a:lnTo>
                        <a:pt x="1334774" y="520387"/>
                      </a:lnTo>
                      <a:lnTo>
                        <a:pt x="1340811" y="521594"/>
                      </a:lnTo>
                      <a:lnTo>
                        <a:pt x="1337189" y="526424"/>
                      </a:lnTo>
                      <a:lnTo>
                        <a:pt x="1335982" y="532461"/>
                      </a:lnTo>
                      <a:lnTo>
                        <a:pt x="1332360" y="531857"/>
                      </a:lnTo>
                      <a:lnTo>
                        <a:pt x="1328134" y="533668"/>
                      </a:lnTo>
                      <a:lnTo>
                        <a:pt x="1328738" y="537291"/>
                      </a:lnTo>
                      <a:lnTo>
                        <a:pt x="1334774" y="536687"/>
                      </a:lnTo>
                      <a:lnTo>
                        <a:pt x="1339000" y="539102"/>
                      </a:lnTo>
                      <a:lnTo>
                        <a:pt x="1338397" y="549364"/>
                      </a:lnTo>
                      <a:lnTo>
                        <a:pt x="1345641" y="549968"/>
                      </a:lnTo>
                      <a:lnTo>
                        <a:pt x="1354093" y="552987"/>
                      </a:lnTo>
                      <a:lnTo>
                        <a:pt x="1355904" y="551175"/>
                      </a:lnTo>
                      <a:lnTo>
                        <a:pt x="1360130" y="552383"/>
                      </a:lnTo>
                      <a:lnTo>
                        <a:pt x="1361941" y="548157"/>
                      </a:lnTo>
                      <a:lnTo>
                        <a:pt x="1368582" y="551779"/>
                      </a:lnTo>
                      <a:lnTo>
                        <a:pt x="1369789" y="556609"/>
                      </a:lnTo>
                      <a:lnTo>
                        <a:pt x="1379448" y="562646"/>
                      </a:lnTo>
                      <a:lnTo>
                        <a:pt x="1386089" y="552987"/>
                      </a:lnTo>
                      <a:lnTo>
                        <a:pt x="1383674" y="549364"/>
                      </a:lnTo>
                      <a:lnTo>
                        <a:pt x="1383070" y="545139"/>
                      </a:lnTo>
                      <a:lnTo>
                        <a:pt x="1384881" y="541516"/>
                      </a:lnTo>
                      <a:lnTo>
                        <a:pt x="1378844" y="539102"/>
                      </a:lnTo>
                      <a:lnTo>
                        <a:pt x="1380656" y="524009"/>
                      </a:lnTo>
                      <a:lnTo>
                        <a:pt x="1377033" y="522198"/>
                      </a:lnTo>
                      <a:lnTo>
                        <a:pt x="1375222" y="519783"/>
                      </a:lnTo>
                      <a:lnTo>
                        <a:pt x="1379448" y="512539"/>
                      </a:lnTo>
                      <a:lnTo>
                        <a:pt x="1384278" y="512539"/>
                      </a:lnTo>
                      <a:lnTo>
                        <a:pt x="1385485" y="510728"/>
                      </a:lnTo>
                      <a:lnTo>
                        <a:pt x="1380052" y="506502"/>
                      </a:lnTo>
                      <a:lnTo>
                        <a:pt x="1380052" y="504087"/>
                      </a:lnTo>
                      <a:lnTo>
                        <a:pt x="1391522" y="504691"/>
                      </a:lnTo>
                      <a:lnTo>
                        <a:pt x="1395748" y="501069"/>
                      </a:lnTo>
                      <a:lnTo>
                        <a:pt x="1399974" y="502276"/>
                      </a:lnTo>
                      <a:lnTo>
                        <a:pt x="1403596" y="506502"/>
                      </a:lnTo>
                      <a:lnTo>
                        <a:pt x="1403596" y="510728"/>
                      </a:lnTo>
                      <a:lnTo>
                        <a:pt x="1409029" y="513143"/>
                      </a:lnTo>
                      <a:lnTo>
                        <a:pt x="1413255" y="510728"/>
                      </a:lnTo>
                      <a:lnTo>
                        <a:pt x="1416274" y="502276"/>
                      </a:lnTo>
                      <a:lnTo>
                        <a:pt x="1413255" y="500465"/>
                      </a:lnTo>
                      <a:lnTo>
                        <a:pt x="1407218" y="492013"/>
                      </a:lnTo>
                      <a:lnTo>
                        <a:pt x="1412048" y="492617"/>
                      </a:lnTo>
                      <a:lnTo>
                        <a:pt x="1416877" y="487787"/>
                      </a:lnTo>
                      <a:lnTo>
                        <a:pt x="1412048" y="485373"/>
                      </a:lnTo>
                      <a:lnTo>
                        <a:pt x="1410237" y="482958"/>
                      </a:lnTo>
                      <a:lnTo>
                        <a:pt x="1401181" y="478128"/>
                      </a:lnTo>
                      <a:lnTo>
                        <a:pt x="1401181" y="475713"/>
                      </a:lnTo>
                      <a:lnTo>
                        <a:pt x="1407218" y="475110"/>
                      </a:lnTo>
                      <a:lnTo>
                        <a:pt x="1412652" y="476317"/>
                      </a:lnTo>
                      <a:lnTo>
                        <a:pt x="1416274" y="478732"/>
                      </a:lnTo>
                      <a:lnTo>
                        <a:pt x="1418085" y="484165"/>
                      </a:lnTo>
                      <a:lnTo>
                        <a:pt x="1421103" y="485373"/>
                      </a:lnTo>
                      <a:lnTo>
                        <a:pt x="1425329" y="482958"/>
                      </a:lnTo>
                      <a:lnTo>
                        <a:pt x="1431970" y="483561"/>
                      </a:lnTo>
                      <a:lnTo>
                        <a:pt x="1433781" y="482354"/>
                      </a:lnTo>
                      <a:lnTo>
                        <a:pt x="1441025" y="482958"/>
                      </a:lnTo>
                      <a:lnTo>
                        <a:pt x="1444647" y="486580"/>
                      </a:lnTo>
                      <a:lnTo>
                        <a:pt x="1446458" y="492617"/>
                      </a:lnTo>
                      <a:lnTo>
                        <a:pt x="1438007" y="492013"/>
                      </a:lnTo>
                      <a:lnTo>
                        <a:pt x="1436196" y="496239"/>
                      </a:lnTo>
                      <a:lnTo>
                        <a:pt x="1440422" y="497446"/>
                      </a:lnTo>
                      <a:lnTo>
                        <a:pt x="1446458" y="502880"/>
                      </a:lnTo>
                      <a:lnTo>
                        <a:pt x="1443440" y="504087"/>
                      </a:lnTo>
                      <a:lnTo>
                        <a:pt x="1438007" y="503483"/>
                      </a:lnTo>
                      <a:lnTo>
                        <a:pt x="1437403" y="507106"/>
                      </a:lnTo>
                      <a:lnTo>
                        <a:pt x="1445251" y="506502"/>
                      </a:lnTo>
                      <a:lnTo>
                        <a:pt x="1448873" y="509520"/>
                      </a:lnTo>
                      <a:lnTo>
                        <a:pt x="1451892" y="507106"/>
                      </a:lnTo>
                      <a:lnTo>
                        <a:pt x="1454910" y="508917"/>
                      </a:lnTo>
                      <a:lnTo>
                        <a:pt x="1454910" y="513746"/>
                      </a:lnTo>
                      <a:lnTo>
                        <a:pt x="1453099" y="522802"/>
                      </a:lnTo>
                      <a:lnTo>
                        <a:pt x="1456118" y="524613"/>
                      </a:lnTo>
                      <a:lnTo>
                        <a:pt x="1460947" y="521594"/>
                      </a:lnTo>
                      <a:lnTo>
                        <a:pt x="1466984" y="515557"/>
                      </a:lnTo>
                      <a:lnTo>
                        <a:pt x="1474832" y="515557"/>
                      </a:lnTo>
                      <a:lnTo>
                        <a:pt x="1479662" y="513143"/>
                      </a:lnTo>
                      <a:lnTo>
                        <a:pt x="1477851" y="507106"/>
                      </a:lnTo>
                      <a:lnTo>
                        <a:pt x="1477247" y="496239"/>
                      </a:lnTo>
                      <a:lnTo>
                        <a:pt x="1484492" y="495032"/>
                      </a:lnTo>
                      <a:lnTo>
                        <a:pt x="1489925" y="486580"/>
                      </a:lnTo>
                      <a:lnTo>
                        <a:pt x="1495962" y="487787"/>
                      </a:lnTo>
                      <a:lnTo>
                        <a:pt x="1499584" y="483561"/>
                      </a:lnTo>
                      <a:lnTo>
                        <a:pt x="1506828" y="481147"/>
                      </a:lnTo>
                      <a:lnTo>
                        <a:pt x="1508036" y="478128"/>
                      </a:lnTo>
                      <a:lnTo>
                        <a:pt x="1506828" y="472695"/>
                      </a:lnTo>
                      <a:lnTo>
                        <a:pt x="1509847" y="470884"/>
                      </a:lnTo>
                      <a:lnTo>
                        <a:pt x="1509847" y="467262"/>
                      </a:lnTo>
                      <a:lnTo>
                        <a:pt x="1513469" y="467865"/>
                      </a:lnTo>
                      <a:lnTo>
                        <a:pt x="1515280" y="465450"/>
                      </a:lnTo>
                      <a:lnTo>
                        <a:pt x="1521921" y="465450"/>
                      </a:lnTo>
                      <a:lnTo>
                        <a:pt x="1522524" y="468469"/>
                      </a:lnTo>
                      <a:lnTo>
                        <a:pt x="1529165" y="469676"/>
                      </a:lnTo>
                      <a:lnTo>
                        <a:pt x="1526147" y="472695"/>
                      </a:lnTo>
                      <a:lnTo>
                        <a:pt x="1537617" y="482958"/>
                      </a:lnTo>
                      <a:lnTo>
                        <a:pt x="1541843" y="484165"/>
                      </a:lnTo>
                      <a:lnTo>
                        <a:pt x="1538824" y="501069"/>
                      </a:lnTo>
                      <a:lnTo>
                        <a:pt x="1535806" y="507709"/>
                      </a:lnTo>
                      <a:lnTo>
                        <a:pt x="1533391" y="518576"/>
                      </a:lnTo>
                      <a:lnTo>
                        <a:pt x="1534598" y="522802"/>
                      </a:lnTo>
                      <a:lnTo>
                        <a:pt x="1533391" y="535479"/>
                      </a:lnTo>
                      <a:lnTo>
                        <a:pt x="1537013" y="536687"/>
                      </a:lnTo>
                      <a:lnTo>
                        <a:pt x="1537013" y="542120"/>
                      </a:lnTo>
                      <a:lnTo>
                        <a:pt x="1534598" y="542120"/>
                      </a:lnTo>
                      <a:lnTo>
                        <a:pt x="1535202" y="551779"/>
                      </a:lnTo>
                      <a:lnTo>
                        <a:pt x="1534598" y="556609"/>
                      </a:lnTo>
                      <a:lnTo>
                        <a:pt x="1530976" y="556005"/>
                      </a:lnTo>
                      <a:lnTo>
                        <a:pt x="1529165" y="559627"/>
                      </a:lnTo>
                      <a:lnTo>
                        <a:pt x="1530373" y="562646"/>
                      </a:lnTo>
                      <a:lnTo>
                        <a:pt x="1528561" y="567475"/>
                      </a:lnTo>
                      <a:lnTo>
                        <a:pt x="1526750" y="583171"/>
                      </a:lnTo>
                      <a:lnTo>
                        <a:pt x="1529769" y="583775"/>
                      </a:lnTo>
                      <a:lnTo>
                        <a:pt x="1532184" y="587397"/>
                      </a:lnTo>
                      <a:lnTo>
                        <a:pt x="1527354" y="592227"/>
                      </a:lnTo>
                      <a:lnTo>
                        <a:pt x="1530976" y="597660"/>
                      </a:lnTo>
                      <a:lnTo>
                        <a:pt x="1536410" y="593434"/>
                      </a:lnTo>
                      <a:lnTo>
                        <a:pt x="1543654" y="597660"/>
                      </a:lnTo>
                      <a:lnTo>
                        <a:pt x="1545465" y="586190"/>
                      </a:lnTo>
                      <a:lnTo>
                        <a:pt x="1548483" y="577738"/>
                      </a:lnTo>
                      <a:lnTo>
                        <a:pt x="1556331" y="576531"/>
                      </a:lnTo>
                      <a:lnTo>
                        <a:pt x="1560557" y="581360"/>
                      </a:lnTo>
                      <a:lnTo>
                        <a:pt x="1565991" y="578946"/>
                      </a:lnTo>
                      <a:lnTo>
                        <a:pt x="1564179" y="574116"/>
                      </a:lnTo>
                      <a:lnTo>
                        <a:pt x="1559954" y="573512"/>
                      </a:lnTo>
                      <a:lnTo>
                        <a:pt x="1554520" y="567475"/>
                      </a:lnTo>
                      <a:lnTo>
                        <a:pt x="1557539" y="559627"/>
                      </a:lnTo>
                      <a:lnTo>
                        <a:pt x="1564783" y="562042"/>
                      </a:lnTo>
                      <a:lnTo>
                        <a:pt x="1570820" y="568079"/>
                      </a:lnTo>
                      <a:lnTo>
                        <a:pt x="1580479" y="567475"/>
                      </a:lnTo>
                      <a:lnTo>
                        <a:pt x="1580479" y="561438"/>
                      </a:lnTo>
                      <a:lnTo>
                        <a:pt x="1585309" y="560835"/>
                      </a:lnTo>
                      <a:lnTo>
                        <a:pt x="1588931" y="565060"/>
                      </a:lnTo>
                      <a:lnTo>
                        <a:pt x="1595572" y="565060"/>
                      </a:lnTo>
                      <a:lnTo>
                        <a:pt x="1597987" y="567475"/>
                      </a:lnTo>
                      <a:lnTo>
                        <a:pt x="1602212" y="565060"/>
                      </a:lnTo>
                      <a:lnTo>
                        <a:pt x="1604023" y="560835"/>
                      </a:lnTo>
                      <a:lnTo>
                        <a:pt x="1606438" y="562646"/>
                      </a:lnTo>
                      <a:lnTo>
                        <a:pt x="1610664" y="564457"/>
                      </a:lnTo>
                      <a:lnTo>
                        <a:pt x="1612475" y="567475"/>
                      </a:lnTo>
                      <a:lnTo>
                        <a:pt x="1611872" y="574720"/>
                      </a:lnTo>
                      <a:lnTo>
                        <a:pt x="1613683" y="578946"/>
                      </a:lnTo>
                      <a:lnTo>
                        <a:pt x="1610664" y="580757"/>
                      </a:lnTo>
                      <a:lnTo>
                        <a:pt x="1612475" y="584379"/>
                      </a:lnTo>
                      <a:lnTo>
                        <a:pt x="1618512" y="585586"/>
                      </a:lnTo>
                      <a:lnTo>
                        <a:pt x="1619116" y="592227"/>
                      </a:lnTo>
                      <a:lnTo>
                        <a:pt x="1620323" y="598868"/>
                      </a:lnTo>
                      <a:lnTo>
                        <a:pt x="1614286" y="608527"/>
                      </a:lnTo>
                      <a:lnTo>
                        <a:pt x="1617305" y="611545"/>
                      </a:lnTo>
                      <a:lnTo>
                        <a:pt x="1622134" y="612753"/>
                      </a:lnTo>
                      <a:lnTo>
                        <a:pt x="1617909" y="617582"/>
                      </a:lnTo>
                      <a:lnTo>
                        <a:pt x="1618512" y="625430"/>
                      </a:lnTo>
                      <a:lnTo>
                        <a:pt x="1619720" y="628449"/>
                      </a:lnTo>
                      <a:lnTo>
                        <a:pt x="1627568" y="629656"/>
                      </a:lnTo>
                      <a:lnTo>
                        <a:pt x="1630586" y="633882"/>
                      </a:lnTo>
                      <a:lnTo>
                        <a:pt x="1631190" y="638712"/>
                      </a:lnTo>
                      <a:lnTo>
                        <a:pt x="1638434" y="642938"/>
                      </a:lnTo>
                      <a:lnTo>
                        <a:pt x="1635416" y="651389"/>
                      </a:lnTo>
                      <a:lnTo>
                        <a:pt x="1639038" y="657426"/>
                      </a:lnTo>
                      <a:lnTo>
                        <a:pt x="1646282" y="661048"/>
                      </a:lnTo>
                      <a:lnTo>
                        <a:pt x="1652319" y="661652"/>
                      </a:lnTo>
                      <a:lnTo>
                        <a:pt x="1661978" y="670707"/>
                      </a:lnTo>
                      <a:lnTo>
                        <a:pt x="1668619" y="674330"/>
                      </a:lnTo>
                      <a:lnTo>
                        <a:pt x="1672241" y="671915"/>
                      </a:lnTo>
                      <a:lnTo>
                        <a:pt x="1677071" y="671915"/>
                      </a:lnTo>
                      <a:lnTo>
                        <a:pt x="1676467" y="677348"/>
                      </a:lnTo>
                      <a:lnTo>
                        <a:pt x="1671638" y="680367"/>
                      </a:lnTo>
                      <a:lnTo>
                        <a:pt x="1675260" y="683385"/>
                      </a:lnTo>
                      <a:lnTo>
                        <a:pt x="1674656" y="687007"/>
                      </a:lnTo>
                      <a:lnTo>
                        <a:pt x="1678278" y="688818"/>
                      </a:lnTo>
                      <a:lnTo>
                        <a:pt x="1682504" y="694855"/>
                      </a:lnTo>
                      <a:lnTo>
                        <a:pt x="1682504" y="700289"/>
                      </a:lnTo>
                      <a:lnTo>
                        <a:pt x="1688541" y="703911"/>
                      </a:lnTo>
                      <a:lnTo>
                        <a:pt x="1684919" y="709344"/>
                      </a:lnTo>
                      <a:lnTo>
                        <a:pt x="1680089" y="710552"/>
                      </a:lnTo>
                      <a:lnTo>
                        <a:pt x="1676467" y="709948"/>
                      </a:lnTo>
                      <a:lnTo>
                        <a:pt x="1674656" y="714777"/>
                      </a:lnTo>
                      <a:lnTo>
                        <a:pt x="1672241" y="717796"/>
                      </a:lnTo>
                      <a:lnTo>
                        <a:pt x="1672845" y="720211"/>
                      </a:lnTo>
                      <a:lnTo>
                        <a:pt x="1661978" y="723229"/>
                      </a:lnTo>
                      <a:lnTo>
                        <a:pt x="1656545" y="729870"/>
                      </a:lnTo>
                      <a:lnTo>
                        <a:pt x="1658356" y="734699"/>
                      </a:lnTo>
                      <a:lnTo>
                        <a:pt x="1662582" y="731681"/>
                      </a:lnTo>
                      <a:lnTo>
                        <a:pt x="1666204" y="732285"/>
                      </a:lnTo>
                      <a:lnTo>
                        <a:pt x="1664997" y="738925"/>
                      </a:lnTo>
                      <a:lnTo>
                        <a:pt x="1673449" y="743755"/>
                      </a:lnTo>
                      <a:lnTo>
                        <a:pt x="1685523" y="744962"/>
                      </a:lnTo>
                      <a:lnTo>
                        <a:pt x="1687937" y="738925"/>
                      </a:lnTo>
                      <a:lnTo>
                        <a:pt x="1695182" y="750396"/>
                      </a:lnTo>
                      <a:lnTo>
                        <a:pt x="1698804" y="750396"/>
                      </a:lnTo>
                      <a:lnTo>
                        <a:pt x="1698804" y="744359"/>
                      </a:lnTo>
                      <a:lnTo>
                        <a:pt x="1701219" y="742548"/>
                      </a:lnTo>
                      <a:lnTo>
                        <a:pt x="1703634" y="747377"/>
                      </a:lnTo>
                      <a:lnTo>
                        <a:pt x="1701823" y="752810"/>
                      </a:lnTo>
                      <a:lnTo>
                        <a:pt x="1696993" y="752207"/>
                      </a:lnTo>
                      <a:lnTo>
                        <a:pt x="1692767" y="755225"/>
                      </a:lnTo>
                      <a:lnTo>
                        <a:pt x="1687937" y="755225"/>
                      </a:lnTo>
                      <a:lnTo>
                        <a:pt x="1682504" y="757640"/>
                      </a:lnTo>
                      <a:lnTo>
                        <a:pt x="1669223" y="766092"/>
                      </a:lnTo>
                      <a:lnTo>
                        <a:pt x="1656545" y="769714"/>
                      </a:lnTo>
                      <a:lnTo>
                        <a:pt x="1649301" y="772732"/>
                      </a:lnTo>
                      <a:lnTo>
                        <a:pt x="1643868" y="775751"/>
                      </a:lnTo>
                      <a:lnTo>
                        <a:pt x="1642660" y="779373"/>
                      </a:lnTo>
                      <a:lnTo>
                        <a:pt x="1637227" y="781184"/>
                      </a:lnTo>
                      <a:lnTo>
                        <a:pt x="1636020" y="786617"/>
                      </a:lnTo>
                      <a:lnTo>
                        <a:pt x="1640245" y="792051"/>
                      </a:lnTo>
                      <a:lnTo>
                        <a:pt x="1638434" y="799899"/>
                      </a:lnTo>
                      <a:lnTo>
                        <a:pt x="1642660" y="801106"/>
                      </a:lnTo>
                      <a:lnTo>
                        <a:pt x="1645679" y="803521"/>
                      </a:lnTo>
                      <a:lnTo>
                        <a:pt x="1642057" y="808954"/>
                      </a:lnTo>
                      <a:lnTo>
                        <a:pt x="1648697" y="807143"/>
                      </a:lnTo>
                      <a:lnTo>
                        <a:pt x="1651716" y="804125"/>
                      </a:lnTo>
                      <a:lnTo>
                        <a:pt x="1649301" y="799295"/>
                      </a:lnTo>
                      <a:lnTo>
                        <a:pt x="1652319" y="785410"/>
                      </a:lnTo>
                      <a:lnTo>
                        <a:pt x="1655941" y="786014"/>
                      </a:lnTo>
                      <a:lnTo>
                        <a:pt x="1657149" y="791447"/>
                      </a:lnTo>
                      <a:lnTo>
                        <a:pt x="1666204" y="790843"/>
                      </a:lnTo>
                      <a:lnTo>
                        <a:pt x="1668015" y="789032"/>
                      </a:lnTo>
                      <a:lnTo>
                        <a:pt x="1675260" y="788428"/>
                      </a:lnTo>
                      <a:lnTo>
                        <a:pt x="1678882" y="785410"/>
                      </a:lnTo>
                      <a:lnTo>
                        <a:pt x="1685523" y="783599"/>
                      </a:lnTo>
                      <a:lnTo>
                        <a:pt x="1688541" y="779373"/>
                      </a:lnTo>
                      <a:lnTo>
                        <a:pt x="1697597" y="777562"/>
                      </a:lnTo>
                      <a:lnTo>
                        <a:pt x="1696389" y="772732"/>
                      </a:lnTo>
                      <a:lnTo>
                        <a:pt x="1699408" y="767903"/>
                      </a:lnTo>
                      <a:lnTo>
                        <a:pt x="1704237" y="767299"/>
                      </a:lnTo>
                      <a:lnTo>
                        <a:pt x="1707859" y="764281"/>
                      </a:lnTo>
                      <a:lnTo>
                        <a:pt x="1712689" y="767903"/>
                      </a:lnTo>
                      <a:lnTo>
                        <a:pt x="1715707" y="766695"/>
                      </a:lnTo>
                      <a:lnTo>
                        <a:pt x="1729593" y="772129"/>
                      </a:lnTo>
                      <a:lnTo>
                        <a:pt x="1733215" y="775751"/>
                      </a:lnTo>
                      <a:lnTo>
                        <a:pt x="1737441" y="770317"/>
                      </a:lnTo>
                      <a:lnTo>
                        <a:pt x="1741063" y="770317"/>
                      </a:lnTo>
                      <a:lnTo>
                        <a:pt x="1744081" y="773336"/>
                      </a:lnTo>
                      <a:lnTo>
                        <a:pt x="1748307" y="770317"/>
                      </a:lnTo>
                      <a:lnTo>
                        <a:pt x="1750722" y="773940"/>
                      </a:lnTo>
                      <a:lnTo>
                        <a:pt x="1754344" y="770921"/>
                      </a:lnTo>
                      <a:lnTo>
                        <a:pt x="1759174" y="771525"/>
                      </a:lnTo>
                      <a:lnTo>
                        <a:pt x="1763400" y="779373"/>
                      </a:lnTo>
                      <a:lnTo>
                        <a:pt x="1765211" y="776958"/>
                      </a:lnTo>
                      <a:lnTo>
                        <a:pt x="1764607" y="769714"/>
                      </a:lnTo>
                      <a:lnTo>
                        <a:pt x="1768229" y="769714"/>
                      </a:lnTo>
                      <a:lnTo>
                        <a:pt x="1773662" y="772732"/>
                      </a:lnTo>
                      <a:lnTo>
                        <a:pt x="1777285" y="770921"/>
                      </a:lnTo>
                      <a:lnTo>
                        <a:pt x="1779096" y="766695"/>
                      </a:lnTo>
                      <a:lnTo>
                        <a:pt x="1779699" y="760658"/>
                      </a:lnTo>
                      <a:lnTo>
                        <a:pt x="1784529" y="760055"/>
                      </a:lnTo>
                      <a:lnTo>
                        <a:pt x="1795396" y="762469"/>
                      </a:lnTo>
                      <a:lnTo>
                        <a:pt x="1803847" y="765488"/>
                      </a:lnTo>
                      <a:lnTo>
                        <a:pt x="1809884" y="766092"/>
                      </a:lnTo>
                      <a:lnTo>
                        <a:pt x="1807470" y="773336"/>
                      </a:lnTo>
                      <a:lnTo>
                        <a:pt x="1802640" y="777562"/>
                      </a:lnTo>
                      <a:lnTo>
                        <a:pt x="1798414" y="778769"/>
                      </a:lnTo>
                      <a:lnTo>
                        <a:pt x="1799018" y="787825"/>
                      </a:lnTo>
                      <a:lnTo>
                        <a:pt x="1789359" y="790240"/>
                      </a:lnTo>
                      <a:lnTo>
                        <a:pt x="1792981" y="796277"/>
                      </a:lnTo>
                      <a:lnTo>
                        <a:pt x="1792377" y="798691"/>
                      </a:lnTo>
                      <a:lnTo>
                        <a:pt x="1786340" y="798088"/>
                      </a:lnTo>
                      <a:lnTo>
                        <a:pt x="1780303" y="795673"/>
                      </a:lnTo>
                      <a:lnTo>
                        <a:pt x="1775473" y="798691"/>
                      </a:lnTo>
                      <a:lnTo>
                        <a:pt x="1775473" y="802917"/>
                      </a:lnTo>
                      <a:lnTo>
                        <a:pt x="1779096" y="808351"/>
                      </a:lnTo>
                      <a:lnTo>
                        <a:pt x="1774266" y="810765"/>
                      </a:lnTo>
                      <a:lnTo>
                        <a:pt x="1774266" y="822839"/>
                      </a:lnTo>
                      <a:lnTo>
                        <a:pt x="1771851" y="824650"/>
                      </a:lnTo>
                      <a:lnTo>
                        <a:pt x="1766418" y="821632"/>
                      </a:lnTo>
                      <a:lnTo>
                        <a:pt x="1754344" y="818613"/>
                      </a:lnTo>
                      <a:lnTo>
                        <a:pt x="1749515" y="824650"/>
                      </a:lnTo>
                      <a:lnTo>
                        <a:pt x="1743478" y="828272"/>
                      </a:lnTo>
                      <a:lnTo>
                        <a:pt x="1736233" y="827065"/>
                      </a:lnTo>
                      <a:lnTo>
                        <a:pt x="1733818" y="830084"/>
                      </a:lnTo>
                      <a:lnTo>
                        <a:pt x="1733215" y="834913"/>
                      </a:lnTo>
                      <a:lnTo>
                        <a:pt x="1731404" y="837932"/>
                      </a:lnTo>
                      <a:lnTo>
                        <a:pt x="1723556" y="839139"/>
                      </a:lnTo>
                      <a:lnTo>
                        <a:pt x="1718726" y="842761"/>
                      </a:lnTo>
                      <a:lnTo>
                        <a:pt x="1719933" y="848798"/>
                      </a:lnTo>
                      <a:lnTo>
                        <a:pt x="1717519" y="853024"/>
                      </a:lnTo>
                      <a:lnTo>
                        <a:pt x="1714500" y="854232"/>
                      </a:lnTo>
                      <a:lnTo>
                        <a:pt x="1707859" y="853024"/>
                      </a:lnTo>
                      <a:lnTo>
                        <a:pt x="1702426" y="856043"/>
                      </a:lnTo>
                      <a:lnTo>
                        <a:pt x="1700011" y="862080"/>
                      </a:lnTo>
                      <a:lnTo>
                        <a:pt x="1693371" y="865702"/>
                      </a:lnTo>
                      <a:lnTo>
                        <a:pt x="1687937" y="863287"/>
                      </a:lnTo>
                      <a:lnTo>
                        <a:pt x="1678882" y="869324"/>
                      </a:lnTo>
                      <a:lnTo>
                        <a:pt x="1673449" y="875964"/>
                      </a:lnTo>
                      <a:lnTo>
                        <a:pt x="1663789" y="879587"/>
                      </a:lnTo>
                      <a:lnTo>
                        <a:pt x="1657752" y="885020"/>
                      </a:lnTo>
                      <a:lnTo>
                        <a:pt x="1647490" y="885020"/>
                      </a:lnTo>
                      <a:lnTo>
                        <a:pt x="1637831" y="886831"/>
                      </a:lnTo>
                      <a:lnTo>
                        <a:pt x="1640245" y="893472"/>
                      </a:lnTo>
                      <a:lnTo>
                        <a:pt x="1639038" y="896490"/>
                      </a:lnTo>
                      <a:lnTo>
                        <a:pt x="1633001" y="895887"/>
                      </a:lnTo>
                      <a:lnTo>
                        <a:pt x="1629379" y="897094"/>
                      </a:lnTo>
                      <a:lnTo>
                        <a:pt x="1625153" y="895283"/>
                      </a:lnTo>
                      <a:lnTo>
                        <a:pt x="1615494" y="900716"/>
                      </a:lnTo>
                      <a:lnTo>
                        <a:pt x="1613683" y="907961"/>
                      </a:lnTo>
                      <a:lnTo>
                        <a:pt x="1604627" y="917016"/>
                      </a:lnTo>
                      <a:lnTo>
                        <a:pt x="1599194" y="920035"/>
                      </a:lnTo>
                      <a:lnTo>
                        <a:pt x="1590139" y="926675"/>
                      </a:lnTo>
                      <a:lnTo>
                        <a:pt x="1584102" y="924260"/>
                      </a:lnTo>
                      <a:lnTo>
                        <a:pt x="1576857" y="925468"/>
                      </a:lnTo>
                      <a:lnTo>
                        <a:pt x="1573235" y="927279"/>
                      </a:lnTo>
                      <a:lnTo>
                        <a:pt x="1569613" y="935731"/>
                      </a:lnTo>
                      <a:lnTo>
                        <a:pt x="1567198" y="937542"/>
                      </a:lnTo>
                      <a:lnTo>
                        <a:pt x="1560557" y="937542"/>
                      </a:lnTo>
                      <a:lnTo>
                        <a:pt x="1554520" y="939956"/>
                      </a:lnTo>
                      <a:lnTo>
                        <a:pt x="1550898" y="944182"/>
                      </a:lnTo>
                      <a:lnTo>
                        <a:pt x="1548483" y="949012"/>
                      </a:lnTo>
                      <a:lnTo>
                        <a:pt x="1537013" y="956256"/>
                      </a:lnTo>
                      <a:lnTo>
                        <a:pt x="1530373" y="957464"/>
                      </a:lnTo>
                      <a:lnTo>
                        <a:pt x="1526750" y="959275"/>
                      </a:lnTo>
                      <a:lnTo>
                        <a:pt x="1523128" y="967727"/>
                      </a:lnTo>
                      <a:lnTo>
                        <a:pt x="1514676" y="973764"/>
                      </a:lnTo>
                      <a:lnTo>
                        <a:pt x="1517091" y="977989"/>
                      </a:lnTo>
                      <a:lnTo>
                        <a:pt x="1512262" y="984026"/>
                      </a:lnTo>
                      <a:lnTo>
                        <a:pt x="1512262" y="987045"/>
                      </a:lnTo>
                      <a:lnTo>
                        <a:pt x="1507432" y="993082"/>
                      </a:lnTo>
                      <a:lnTo>
                        <a:pt x="1500791" y="993685"/>
                      </a:lnTo>
                      <a:lnTo>
                        <a:pt x="1500791" y="998515"/>
                      </a:lnTo>
                      <a:lnTo>
                        <a:pt x="1494754" y="1002741"/>
                      </a:lnTo>
                      <a:lnTo>
                        <a:pt x="1491132" y="1003345"/>
                      </a:lnTo>
                      <a:lnTo>
                        <a:pt x="1482680" y="1000930"/>
                      </a:lnTo>
                      <a:lnTo>
                        <a:pt x="1476040" y="1002137"/>
                      </a:lnTo>
                      <a:lnTo>
                        <a:pt x="1474229" y="1009382"/>
                      </a:lnTo>
                      <a:lnTo>
                        <a:pt x="1466984" y="1008778"/>
                      </a:lnTo>
                      <a:lnTo>
                        <a:pt x="1464569" y="1011193"/>
                      </a:lnTo>
                      <a:lnTo>
                        <a:pt x="1460344" y="1017230"/>
                      </a:lnTo>
                      <a:lnTo>
                        <a:pt x="1456721" y="1020852"/>
                      </a:lnTo>
                      <a:lnTo>
                        <a:pt x="1453099" y="1026889"/>
                      </a:lnTo>
                      <a:lnTo>
                        <a:pt x="1451288" y="1034133"/>
                      </a:lnTo>
                      <a:lnTo>
                        <a:pt x="1453099" y="1039566"/>
                      </a:lnTo>
                      <a:lnTo>
                        <a:pt x="1452495" y="1041981"/>
                      </a:lnTo>
                      <a:lnTo>
                        <a:pt x="1447666" y="1042585"/>
                      </a:lnTo>
                      <a:lnTo>
                        <a:pt x="1443440" y="1045000"/>
                      </a:lnTo>
                      <a:lnTo>
                        <a:pt x="1442233" y="1050433"/>
                      </a:lnTo>
                      <a:lnTo>
                        <a:pt x="1448873" y="1055263"/>
                      </a:lnTo>
                      <a:lnTo>
                        <a:pt x="1446458" y="1061300"/>
                      </a:lnTo>
                      <a:lnTo>
                        <a:pt x="1450081" y="1064318"/>
                      </a:lnTo>
                      <a:lnTo>
                        <a:pt x="1450081" y="1070355"/>
                      </a:lnTo>
                      <a:lnTo>
                        <a:pt x="1448873" y="1076996"/>
                      </a:lnTo>
                      <a:lnTo>
                        <a:pt x="1451288" y="1083637"/>
                      </a:lnTo>
                      <a:lnTo>
                        <a:pt x="1450684" y="1088466"/>
                      </a:lnTo>
                      <a:lnTo>
                        <a:pt x="1454307" y="1092692"/>
                      </a:lnTo>
                      <a:lnTo>
                        <a:pt x="1459136" y="1101144"/>
                      </a:lnTo>
                      <a:lnTo>
                        <a:pt x="1459740" y="1108388"/>
                      </a:lnTo>
                      <a:lnTo>
                        <a:pt x="1465173" y="1110803"/>
                      </a:lnTo>
                      <a:lnTo>
                        <a:pt x="1468192" y="1120462"/>
                      </a:lnTo>
                      <a:lnTo>
                        <a:pt x="1472418" y="1123480"/>
                      </a:lnTo>
                      <a:lnTo>
                        <a:pt x="1474832" y="1122273"/>
                      </a:lnTo>
                      <a:lnTo>
                        <a:pt x="1483888" y="1130121"/>
                      </a:lnTo>
                      <a:lnTo>
                        <a:pt x="1491132" y="1130725"/>
                      </a:lnTo>
                      <a:lnTo>
                        <a:pt x="1496565" y="1129517"/>
                      </a:lnTo>
                      <a:lnTo>
                        <a:pt x="1501999" y="1132536"/>
                      </a:lnTo>
                      <a:lnTo>
                        <a:pt x="1503206" y="1136762"/>
                      </a:lnTo>
                      <a:lnTo>
                        <a:pt x="1517695" y="1133743"/>
                      </a:lnTo>
                      <a:lnTo>
                        <a:pt x="1527958" y="1135554"/>
                      </a:lnTo>
                      <a:lnTo>
                        <a:pt x="1535202" y="1140988"/>
                      </a:lnTo>
                      <a:lnTo>
                        <a:pt x="1535202" y="1145214"/>
                      </a:lnTo>
                      <a:lnTo>
                        <a:pt x="1540032" y="1145817"/>
                      </a:lnTo>
                      <a:lnTo>
                        <a:pt x="1541239" y="1141591"/>
                      </a:lnTo>
                      <a:lnTo>
                        <a:pt x="1548483" y="1140384"/>
                      </a:lnTo>
                      <a:lnTo>
                        <a:pt x="1555124" y="1140384"/>
                      </a:lnTo>
                      <a:lnTo>
                        <a:pt x="1558142" y="1134951"/>
                      </a:lnTo>
                      <a:lnTo>
                        <a:pt x="1562972" y="1134951"/>
                      </a:lnTo>
                      <a:lnTo>
                        <a:pt x="1565387" y="1131329"/>
                      </a:lnTo>
                      <a:lnTo>
                        <a:pt x="1573839" y="1132536"/>
                      </a:lnTo>
                      <a:lnTo>
                        <a:pt x="1581687" y="1137366"/>
                      </a:lnTo>
                      <a:lnTo>
                        <a:pt x="1588931" y="1137969"/>
                      </a:lnTo>
                      <a:lnTo>
                        <a:pt x="1590742" y="1133743"/>
                      </a:lnTo>
                      <a:lnTo>
                        <a:pt x="1594968" y="1133743"/>
                      </a:lnTo>
                      <a:lnTo>
                        <a:pt x="1595572" y="1124084"/>
                      </a:lnTo>
                      <a:lnTo>
                        <a:pt x="1603420" y="1118047"/>
                      </a:lnTo>
                      <a:lnTo>
                        <a:pt x="1608249" y="1112614"/>
                      </a:lnTo>
                      <a:lnTo>
                        <a:pt x="1613079" y="1109595"/>
                      </a:lnTo>
                      <a:lnTo>
                        <a:pt x="1624549" y="1115029"/>
                      </a:lnTo>
                      <a:lnTo>
                        <a:pt x="1620927" y="1120462"/>
                      </a:lnTo>
                      <a:lnTo>
                        <a:pt x="1623342" y="1125292"/>
                      </a:lnTo>
                      <a:lnTo>
                        <a:pt x="1620927" y="1131932"/>
                      </a:lnTo>
                      <a:lnTo>
                        <a:pt x="1625153" y="1133140"/>
                      </a:lnTo>
                      <a:lnTo>
                        <a:pt x="1626964" y="1139177"/>
                      </a:lnTo>
                      <a:lnTo>
                        <a:pt x="1625757" y="1144006"/>
                      </a:lnTo>
                      <a:lnTo>
                        <a:pt x="1622134" y="1147025"/>
                      </a:lnTo>
                      <a:lnTo>
                        <a:pt x="1624549" y="1151854"/>
                      </a:lnTo>
                      <a:lnTo>
                        <a:pt x="1628171" y="1153062"/>
                      </a:lnTo>
                      <a:lnTo>
                        <a:pt x="1633605" y="1157287"/>
                      </a:lnTo>
                      <a:lnTo>
                        <a:pt x="1636020" y="1165136"/>
                      </a:lnTo>
                      <a:lnTo>
                        <a:pt x="1630586" y="1166343"/>
                      </a:lnTo>
                      <a:lnTo>
                        <a:pt x="1629379" y="1181435"/>
                      </a:lnTo>
                      <a:lnTo>
                        <a:pt x="1621531" y="1186869"/>
                      </a:lnTo>
                      <a:lnTo>
                        <a:pt x="1618512" y="1186869"/>
                      </a:lnTo>
                      <a:lnTo>
                        <a:pt x="1612475" y="1189887"/>
                      </a:lnTo>
                      <a:lnTo>
                        <a:pt x="1608249" y="1185058"/>
                      </a:lnTo>
                      <a:lnTo>
                        <a:pt x="1604023" y="1182039"/>
                      </a:lnTo>
                      <a:lnTo>
                        <a:pt x="1595572" y="1183850"/>
                      </a:lnTo>
                      <a:lnTo>
                        <a:pt x="1590742" y="1182643"/>
                      </a:lnTo>
                      <a:lnTo>
                        <a:pt x="1584705" y="1183247"/>
                      </a:lnTo>
                      <a:lnTo>
                        <a:pt x="1582290" y="1188680"/>
                      </a:lnTo>
                      <a:lnTo>
                        <a:pt x="1576253" y="1188680"/>
                      </a:lnTo>
                      <a:lnTo>
                        <a:pt x="1573235" y="1193509"/>
                      </a:lnTo>
                      <a:lnTo>
                        <a:pt x="1565991" y="1195924"/>
                      </a:lnTo>
                      <a:lnTo>
                        <a:pt x="1553313" y="1192302"/>
                      </a:lnTo>
                      <a:lnTo>
                        <a:pt x="1546672" y="1191095"/>
                      </a:lnTo>
                      <a:lnTo>
                        <a:pt x="1543654" y="1196528"/>
                      </a:lnTo>
                      <a:lnTo>
                        <a:pt x="1540032" y="1197735"/>
                      </a:lnTo>
                      <a:lnTo>
                        <a:pt x="1529769" y="1201357"/>
                      </a:lnTo>
                      <a:lnTo>
                        <a:pt x="1525543" y="1201357"/>
                      </a:lnTo>
                      <a:lnTo>
                        <a:pt x="1523128" y="1206187"/>
                      </a:lnTo>
                      <a:lnTo>
                        <a:pt x="1522524" y="1215242"/>
                      </a:lnTo>
                      <a:lnTo>
                        <a:pt x="1523732" y="1219468"/>
                      </a:lnTo>
                      <a:lnTo>
                        <a:pt x="1534598" y="1229127"/>
                      </a:lnTo>
                      <a:lnTo>
                        <a:pt x="1532184" y="1234561"/>
                      </a:lnTo>
                      <a:lnTo>
                        <a:pt x="1539428" y="1238183"/>
                      </a:lnTo>
                      <a:lnTo>
                        <a:pt x="1534598" y="1243013"/>
                      </a:lnTo>
                      <a:lnTo>
                        <a:pt x="1527958" y="1245427"/>
                      </a:lnTo>
                      <a:lnTo>
                        <a:pt x="1516487" y="1245427"/>
                      </a:lnTo>
                      <a:lnTo>
                        <a:pt x="1509243" y="1248446"/>
                      </a:lnTo>
                      <a:lnTo>
                        <a:pt x="1511658" y="1253879"/>
                      </a:lnTo>
                      <a:lnTo>
                        <a:pt x="1518299" y="1261123"/>
                      </a:lnTo>
                      <a:lnTo>
                        <a:pt x="1517695" y="1265349"/>
                      </a:lnTo>
                      <a:lnTo>
                        <a:pt x="1521317" y="1265953"/>
                      </a:lnTo>
                      <a:lnTo>
                        <a:pt x="1526750" y="1264746"/>
                      </a:lnTo>
                      <a:lnTo>
                        <a:pt x="1529769" y="1266557"/>
                      </a:lnTo>
                      <a:lnTo>
                        <a:pt x="1533995" y="1265953"/>
                      </a:lnTo>
                      <a:lnTo>
                        <a:pt x="1538824" y="1262331"/>
                      </a:lnTo>
                      <a:lnTo>
                        <a:pt x="1542446" y="1263538"/>
                      </a:lnTo>
                      <a:lnTo>
                        <a:pt x="1544257" y="1270179"/>
                      </a:lnTo>
                      <a:lnTo>
                        <a:pt x="1548483" y="1273197"/>
                      </a:lnTo>
                      <a:lnTo>
                        <a:pt x="1553917" y="1273801"/>
                      </a:lnTo>
                      <a:lnTo>
                        <a:pt x="1556935" y="1276216"/>
                      </a:lnTo>
                      <a:lnTo>
                        <a:pt x="1557539" y="1281045"/>
                      </a:lnTo>
                      <a:lnTo>
                        <a:pt x="1562368" y="1290101"/>
                      </a:lnTo>
                      <a:lnTo>
                        <a:pt x="1561765" y="1300967"/>
                      </a:lnTo>
                      <a:lnTo>
                        <a:pt x="1562972" y="1308212"/>
                      </a:lnTo>
                      <a:lnTo>
                        <a:pt x="1559954" y="1316663"/>
                      </a:lnTo>
                      <a:lnTo>
                        <a:pt x="1556331" y="1316060"/>
                      </a:lnTo>
                      <a:lnTo>
                        <a:pt x="1555124" y="1322097"/>
                      </a:lnTo>
                      <a:lnTo>
                        <a:pt x="1548483" y="1328737"/>
                      </a:lnTo>
                      <a:lnTo>
                        <a:pt x="1541843" y="1331756"/>
                      </a:lnTo>
                      <a:lnTo>
                        <a:pt x="1537617" y="1329945"/>
                      </a:lnTo>
                      <a:lnTo>
                        <a:pt x="1532184" y="1325115"/>
                      </a:lnTo>
                      <a:lnTo>
                        <a:pt x="1532787" y="1314249"/>
                      </a:lnTo>
                      <a:lnTo>
                        <a:pt x="1529165" y="1311834"/>
                      </a:lnTo>
                      <a:lnTo>
                        <a:pt x="1526750" y="1316663"/>
                      </a:lnTo>
                      <a:lnTo>
                        <a:pt x="1524336" y="1316663"/>
                      </a:lnTo>
                      <a:lnTo>
                        <a:pt x="1522524" y="1311230"/>
                      </a:lnTo>
                      <a:lnTo>
                        <a:pt x="1518299" y="1311230"/>
                      </a:lnTo>
                      <a:lnTo>
                        <a:pt x="1511658" y="1314852"/>
                      </a:lnTo>
                      <a:lnTo>
                        <a:pt x="1515884" y="1322700"/>
                      </a:lnTo>
                      <a:lnTo>
                        <a:pt x="1518299" y="1325115"/>
                      </a:lnTo>
                      <a:lnTo>
                        <a:pt x="1519506" y="1329341"/>
                      </a:lnTo>
                      <a:lnTo>
                        <a:pt x="1517091" y="1335378"/>
                      </a:lnTo>
                      <a:lnTo>
                        <a:pt x="1518902" y="1336586"/>
                      </a:lnTo>
                      <a:lnTo>
                        <a:pt x="1517091" y="1343226"/>
                      </a:lnTo>
                      <a:lnTo>
                        <a:pt x="1518902" y="1347452"/>
                      </a:lnTo>
                      <a:lnTo>
                        <a:pt x="1518902" y="1352282"/>
                      </a:lnTo>
                      <a:lnTo>
                        <a:pt x="1516487" y="1354093"/>
                      </a:lnTo>
                      <a:lnTo>
                        <a:pt x="1517695" y="1361337"/>
                      </a:lnTo>
                      <a:lnTo>
                        <a:pt x="1520713" y="1364959"/>
                      </a:lnTo>
                      <a:lnTo>
                        <a:pt x="1523732" y="1374618"/>
                      </a:lnTo>
                      <a:lnTo>
                        <a:pt x="1532787" y="1383070"/>
                      </a:lnTo>
                      <a:lnTo>
                        <a:pt x="1533391" y="1385485"/>
                      </a:lnTo>
                      <a:lnTo>
                        <a:pt x="1538221" y="1390918"/>
                      </a:lnTo>
                      <a:lnTo>
                        <a:pt x="1535806" y="1393333"/>
                      </a:lnTo>
                      <a:lnTo>
                        <a:pt x="1532787" y="1392730"/>
                      </a:lnTo>
                      <a:lnTo>
                        <a:pt x="1529165" y="1406011"/>
                      </a:lnTo>
                      <a:lnTo>
                        <a:pt x="1523732" y="1404200"/>
                      </a:lnTo>
                      <a:lnTo>
                        <a:pt x="1520110" y="1404200"/>
                      </a:lnTo>
                      <a:lnTo>
                        <a:pt x="1514073" y="1407218"/>
                      </a:lnTo>
                      <a:lnTo>
                        <a:pt x="1508639" y="1408426"/>
                      </a:lnTo>
                      <a:lnTo>
                        <a:pt x="1506828" y="1407218"/>
                      </a:lnTo>
                      <a:lnTo>
                        <a:pt x="1501999" y="1398163"/>
                      </a:lnTo>
                      <a:lnTo>
                        <a:pt x="1499584" y="1396955"/>
                      </a:lnTo>
                      <a:lnTo>
                        <a:pt x="1494151" y="1396955"/>
                      </a:lnTo>
                      <a:lnTo>
                        <a:pt x="1492339" y="1398767"/>
                      </a:lnTo>
                      <a:lnTo>
                        <a:pt x="1488114" y="1396955"/>
                      </a:lnTo>
                      <a:lnTo>
                        <a:pt x="1482680" y="1392126"/>
                      </a:lnTo>
                      <a:lnTo>
                        <a:pt x="1485699" y="1383070"/>
                      </a:lnTo>
                      <a:lnTo>
                        <a:pt x="1488717" y="1379448"/>
                      </a:lnTo>
                      <a:lnTo>
                        <a:pt x="1486303" y="1370996"/>
                      </a:lnTo>
                      <a:lnTo>
                        <a:pt x="1483888" y="1374618"/>
                      </a:lnTo>
                      <a:lnTo>
                        <a:pt x="1475436" y="1376430"/>
                      </a:lnTo>
                      <a:lnTo>
                        <a:pt x="1470606" y="1376430"/>
                      </a:lnTo>
                      <a:lnTo>
                        <a:pt x="1470003" y="1380656"/>
                      </a:lnTo>
                      <a:lnTo>
                        <a:pt x="1461551" y="1387296"/>
                      </a:lnTo>
                      <a:lnTo>
                        <a:pt x="1460344" y="1390315"/>
                      </a:lnTo>
                      <a:lnTo>
                        <a:pt x="1463362" y="1394541"/>
                      </a:lnTo>
                      <a:lnTo>
                        <a:pt x="1457929" y="1397559"/>
                      </a:lnTo>
                      <a:lnTo>
                        <a:pt x="1451288" y="1398767"/>
                      </a:lnTo>
                      <a:lnTo>
                        <a:pt x="1448873" y="1395144"/>
                      </a:lnTo>
                      <a:lnTo>
                        <a:pt x="1448270" y="1390315"/>
                      </a:lnTo>
                      <a:lnTo>
                        <a:pt x="1445855" y="1387900"/>
                      </a:lnTo>
                      <a:lnTo>
                        <a:pt x="1439214" y="1383674"/>
                      </a:lnTo>
                      <a:lnTo>
                        <a:pt x="1437403" y="1386693"/>
                      </a:lnTo>
                      <a:lnTo>
                        <a:pt x="1430762" y="1384278"/>
                      </a:lnTo>
                      <a:lnTo>
                        <a:pt x="1428348" y="1388504"/>
                      </a:lnTo>
                      <a:lnTo>
                        <a:pt x="1416274" y="1379448"/>
                      </a:lnTo>
                      <a:lnTo>
                        <a:pt x="1409029" y="1378844"/>
                      </a:lnTo>
                      <a:lnTo>
                        <a:pt x="1403596" y="1381863"/>
                      </a:lnTo>
                      <a:lnTo>
                        <a:pt x="1400578" y="1386693"/>
                      </a:lnTo>
                      <a:lnTo>
                        <a:pt x="1394541" y="1384278"/>
                      </a:lnTo>
                      <a:lnTo>
                        <a:pt x="1389711" y="1384881"/>
                      </a:lnTo>
                      <a:lnTo>
                        <a:pt x="1386089" y="1383070"/>
                      </a:lnTo>
                      <a:lnTo>
                        <a:pt x="1386089" y="1374618"/>
                      </a:lnTo>
                      <a:lnTo>
                        <a:pt x="1383674" y="1370996"/>
                      </a:lnTo>
                      <a:lnTo>
                        <a:pt x="1386089" y="1365563"/>
                      </a:lnTo>
                      <a:lnTo>
                        <a:pt x="1381863" y="1360733"/>
                      </a:lnTo>
                      <a:lnTo>
                        <a:pt x="1379448" y="1364356"/>
                      </a:lnTo>
                      <a:lnTo>
                        <a:pt x="1378844" y="1368581"/>
                      </a:lnTo>
                      <a:lnTo>
                        <a:pt x="1374619" y="1369789"/>
                      </a:lnTo>
                      <a:lnTo>
                        <a:pt x="1372808" y="1372204"/>
                      </a:lnTo>
                      <a:lnTo>
                        <a:pt x="1375826" y="1380656"/>
                      </a:lnTo>
                      <a:lnTo>
                        <a:pt x="1375222" y="1382467"/>
                      </a:lnTo>
                      <a:lnTo>
                        <a:pt x="1369185" y="1389107"/>
                      </a:lnTo>
                      <a:lnTo>
                        <a:pt x="1368582" y="1395144"/>
                      </a:lnTo>
                      <a:lnTo>
                        <a:pt x="1370393" y="1397559"/>
                      </a:lnTo>
                      <a:lnTo>
                        <a:pt x="1372204" y="1406011"/>
                      </a:lnTo>
                      <a:lnTo>
                        <a:pt x="1370393" y="1408426"/>
                      </a:lnTo>
                      <a:lnTo>
                        <a:pt x="1371600" y="1413859"/>
                      </a:lnTo>
                      <a:lnTo>
                        <a:pt x="1365563" y="1413859"/>
                      </a:lnTo>
                      <a:lnTo>
                        <a:pt x="1364356" y="1415670"/>
                      </a:lnTo>
                      <a:lnTo>
                        <a:pt x="1352885" y="1418688"/>
                      </a:lnTo>
                      <a:lnTo>
                        <a:pt x="1349263" y="1424121"/>
                      </a:lnTo>
                      <a:lnTo>
                        <a:pt x="1341415" y="1428951"/>
                      </a:lnTo>
                      <a:lnTo>
                        <a:pt x="1335378" y="1429555"/>
                      </a:lnTo>
                      <a:lnTo>
                        <a:pt x="1335378" y="1436195"/>
                      </a:lnTo>
                      <a:lnTo>
                        <a:pt x="1339604" y="1441629"/>
                      </a:lnTo>
                      <a:lnTo>
                        <a:pt x="1339604" y="1448269"/>
                      </a:lnTo>
                      <a:lnTo>
                        <a:pt x="1339000" y="1450684"/>
                      </a:lnTo>
                      <a:lnTo>
                        <a:pt x="1332963" y="1453099"/>
                      </a:lnTo>
                      <a:lnTo>
                        <a:pt x="1329341" y="1457929"/>
                      </a:lnTo>
                      <a:lnTo>
                        <a:pt x="1327530" y="1457325"/>
                      </a:lnTo>
                      <a:lnTo>
                        <a:pt x="1318475" y="1461551"/>
                      </a:lnTo>
                      <a:lnTo>
                        <a:pt x="1313645" y="1459136"/>
                      </a:lnTo>
                      <a:lnTo>
                        <a:pt x="1302779" y="1464569"/>
                      </a:lnTo>
                      <a:lnTo>
                        <a:pt x="1298553" y="1468192"/>
                      </a:lnTo>
                      <a:lnTo>
                        <a:pt x="1294327" y="1467588"/>
                      </a:lnTo>
                      <a:lnTo>
                        <a:pt x="1294327" y="1462155"/>
                      </a:lnTo>
                      <a:lnTo>
                        <a:pt x="1287686" y="1457929"/>
                      </a:lnTo>
                      <a:lnTo>
                        <a:pt x="1282253" y="1457325"/>
                      </a:lnTo>
                      <a:lnTo>
                        <a:pt x="1281649" y="1463362"/>
                      </a:lnTo>
                      <a:lnTo>
                        <a:pt x="1287686" y="1466380"/>
                      </a:lnTo>
                      <a:lnTo>
                        <a:pt x="1286479" y="1474832"/>
                      </a:lnTo>
                      <a:lnTo>
                        <a:pt x="1284668" y="1477247"/>
                      </a:lnTo>
                      <a:lnTo>
                        <a:pt x="1279838" y="1476040"/>
                      </a:lnTo>
                      <a:lnTo>
                        <a:pt x="1281649" y="1483284"/>
                      </a:lnTo>
                      <a:lnTo>
                        <a:pt x="1279234" y="1486906"/>
                      </a:lnTo>
                      <a:lnTo>
                        <a:pt x="1271386" y="1480869"/>
                      </a:lnTo>
                      <a:lnTo>
                        <a:pt x="1264746" y="1479058"/>
                      </a:lnTo>
                      <a:lnTo>
                        <a:pt x="1257501" y="1480869"/>
                      </a:lnTo>
                      <a:lnTo>
                        <a:pt x="1254483" y="1477247"/>
                      </a:lnTo>
                      <a:lnTo>
                        <a:pt x="1255087" y="1473021"/>
                      </a:lnTo>
                      <a:lnTo>
                        <a:pt x="1253275" y="1467588"/>
                      </a:lnTo>
                      <a:lnTo>
                        <a:pt x="1248446" y="1463362"/>
                      </a:lnTo>
                      <a:lnTo>
                        <a:pt x="1241202" y="1459740"/>
                      </a:lnTo>
                      <a:lnTo>
                        <a:pt x="1238183" y="1455514"/>
                      </a:lnTo>
                      <a:lnTo>
                        <a:pt x="1231542" y="1453703"/>
                      </a:lnTo>
                      <a:lnTo>
                        <a:pt x="1233353" y="1439818"/>
                      </a:lnTo>
                      <a:lnTo>
                        <a:pt x="1238787" y="1434384"/>
                      </a:lnTo>
                      <a:lnTo>
                        <a:pt x="1243616" y="1424725"/>
                      </a:lnTo>
                      <a:lnTo>
                        <a:pt x="1247238" y="1428347"/>
                      </a:lnTo>
                      <a:lnTo>
                        <a:pt x="1255690" y="1431366"/>
                      </a:lnTo>
                      <a:lnTo>
                        <a:pt x="1255087" y="1435592"/>
                      </a:lnTo>
                      <a:lnTo>
                        <a:pt x="1258105" y="1437403"/>
                      </a:lnTo>
                      <a:lnTo>
                        <a:pt x="1260520" y="1435592"/>
                      </a:lnTo>
                      <a:lnTo>
                        <a:pt x="1268368" y="1435592"/>
                      </a:lnTo>
                      <a:lnTo>
                        <a:pt x="1269575" y="1431366"/>
                      </a:lnTo>
                      <a:lnTo>
                        <a:pt x="1275612" y="1427744"/>
                      </a:lnTo>
                      <a:lnTo>
                        <a:pt x="1278631" y="1431366"/>
                      </a:lnTo>
                      <a:lnTo>
                        <a:pt x="1278631" y="1436195"/>
                      </a:lnTo>
                      <a:lnTo>
                        <a:pt x="1281649" y="1442836"/>
                      </a:lnTo>
                      <a:lnTo>
                        <a:pt x="1288894" y="1439818"/>
                      </a:lnTo>
                      <a:lnTo>
                        <a:pt x="1289497" y="1436799"/>
                      </a:lnTo>
                      <a:lnTo>
                        <a:pt x="1294931" y="1436195"/>
                      </a:lnTo>
                      <a:lnTo>
                        <a:pt x="1298553" y="1427140"/>
                      </a:lnTo>
                      <a:lnTo>
                        <a:pt x="1298553" y="1421707"/>
                      </a:lnTo>
                      <a:lnTo>
                        <a:pt x="1308816" y="1419292"/>
                      </a:lnTo>
                      <a:lnTo>
                        <a:pt x="1308816" y="1411444"/>
                      </a:lnTo>
                      <a:lnTo>
                        <a:pt x="1305193" y="1412048"/>
                      </a:lnTo>
                      <a:lnTo>
                        <a:pt x="1300364" y="1410840"/>
                      </a:lnTo>
                      <a:lnTo>
                        <a:pt x="1297949" y="1405407"/>
                      </a:lnTo>
                      <a:lnTo>
                        <a:pt x="1290705" y="1404200"/>
                      </a:lnTo>
                      <a:lnTo>
                        <a:pt x="1296742" y="1385485"/>
                      </a:lnTo>
                      <a:lnTo>
                        <a:pt x="1303382" y="1383674"/>
                      </a:lnTo>
                      <a:lnTo>
                        <a:pt x="1305193" y="1376430"/>
                      </a:lnTo>
                      <a:lnTo>
                        <a:pt x="1305193" y="1367374"/>
                      </a:lnTo>
                      <a:lnTo>
                        <a:pt x="1302175" y="1364356"/>
                      </a:lnTo>
                      <a:lnTo>
                        <a:pt x="1295534" y="1365563"/>
                      </a:lnTo>
                      <a:lnTo>
                        <a:pt x="1289497" y="1357111"/>
                      </a:lnTo>
                      <a:lnTo>
                        <a:pt x="1290101" y="1347452"/>
                      </a:lnTo>
                      <a:lnTo>
                        <a:pt x="1289497" y="1344434"/>
                      </a:lnTo>
                      <a:lnTo>
                        <a:pt x="1293119" y="1343226"/>
                      </a:lnTo>
                      <a:lnTo>
                        <a:pt x="1293723" y="1339000"/>
                      </a:lnTo>
                      <a:lnTo>
                        <a:pt x="1299760" y="1331756"/>
                      </a:lnTo>
                      <a:lnTo>
                        <a:pt x="1300364" y="1328134"/>
                      </a:lnTo>
                      <a:lnTo>
                        <a:pt x="1305797" y="1330549"/>
                      </a:lnTo>
                      <a:lnTo>
                        <a:pt x="1305193" y="1336586"/>
                      </a:lnTo>
                      <a:lnTo>
                        <a:pt x="1308212" y="1340208"/>
                      </a:lnTo>
                      <a:lnTo>
                        <a:pt x="1314853" y="1339604"/>
                      </a:lnTo>
                      <a:lnTo>
                        <a:pt x="1323908" y="1334774"/>
                      </a:lnTo>
                      <a:lnTo>
                        <a:pt x="1325115" y="1332360"/>
                      </a:lnTo>
                      <a:lnTo>
                        <a:pt x="1325719" y="1324512"/>
                      </a:lnTo>
                      <a:lnTo>
                        <a:pt x="1324512" y="1321493"/>
                      </a:lnTo>
                      <a:lnTo>
                        <a:pt x="1328134" y="1313645"/>
                      </a:lnTo>
                      <a:lnTo>
                        <a:pt x="1324512" y="1311230"/>
                      </a:lnTo>
                      <a:lnTo>
                        <a:pt x="1325115" y="1305193"/>
                      </a:lnTo>
                      <a:lnTo>
                        <a:pt x="1319682" y="1303986"/>
                      </a:lnTo>
                      <a:lnTo>
                        <a:pt x="1317871" y="1297949"/>
                      </a:lnTo>
                      <a:lnTo>
                        <a:pt x="1313042" y="1296742"/>
                      </a:lnTo>
                      <a:lnTo>
                        <a:pt x="1311834" y="1292516"/>
                      </a:lnTo>
                      <a:lnTo>
                        <a:pt x="1311230" y="1284064"/>
                      </a:lnTo>
                      <a:lnTo>
                        <a:pt x="1308212" y="1284668"/>
                      </a:lnTo>
                      <a:lnTo>
                        <a:pt x="1311230" y="1273197"/>
                      </a:lnTo>
                      <a:lnTo>
                        <a:pt x="1310627" y="1270179"/>
                      </a:lnTo>
                      <a:lnTo>
                        <a:pt x="1303382" y="1264142"/>
                      </a:lnTo>
                      <a:lnTo>
                        <a:pt x="1299760" y="1262331"/>
                      </a:lnTo>
                      <a:lnTo>
                        <a:pt x="1290705" y="1263538"/>
                      </a:lnTo>
                      <a:lnTo>
                        <a:pt x="1278027" y="1270783"/>
                      </a:lnTo>
                      <a:lnTo>
                        <a:pt x="1273197" y="1276820"/>
                      </a:lnTo>
                      <a:lnTo>
                        <a:pt x="1264142" y="1279838"/>
                      </a:lnTo>
                      <a:lnTo>
                        <a:pt x="1257501" y="1271990"/>
                      </a:lnTo>
                      <a:lnTo>
                        <a:pt x="1251464" y="1273801"/>
                      </a:lnTo>
                      <a:lnTo>
                        <a:pt x="1247842" y="1272594"/>
                      </a:lnTo>
                      <a:lnTo>
                        <a:pt x="1236976" y="1277423"/>
                      </a:lnTo>
                      <a:lnTo>
                        <a:pt x="1230939" y="1278631"/>
                      </a:lnTo>
                      <a:lnTo>
                        <a:pt x="1212828" y="1275008"/>
                      </a:lnTo>
                      <a:lnTo>
                        <a:pt x="1209809" y="1273197"/>
                      </a:lnTo>
                      <a:lnTo>
                        <a:pt x="1200150" y="1272594"/>
                      </a:lnTo>
                      <a:lnTo>
                        <a:pt x="1192906" y="1269575"/>
                      </a:lnTo>
                      <a:lnTo>
                        <a:pt x="1188680" y="1270783"/>
                      </a:lnTo>
                      <a:lnTo>
                        <a:pt x="1184454" y="1268971"/>
                      </a:lnTo>
                      <a:lnTo>
                        <a:pt x="1182039" y="1271990"/>
                      </a:lnTo>
                      <a:lnTo>
                        <a:pt x="1177813" y="1263538"/>
                      </a:lnTo>
                      <a:lnTo>
                        <a:pt x="1177210" y="1256897"/>
                      </a:lnTo>
                      <a:lnTo>
                        <a:pt x="1182643" y="1249653"/>
                      </a:lnTo>
                      <a:lnTo>
                        <a:pt x="1188680" y="1249653"/>
                      </a:lnTo>
                      <a:lnTo>
                        <a:pt x="1189284" y="1246031"/>
                      </a:lnTo>
                      <a:lnTo>
                        <a:pt x="1184454" y="1243616"/>
                      </a:lnTo>
                      <a:lnTo>
                        <a:pt x="1179021" y="1235164"/>
                      </a:lnTo>
                      <a:lnTo>
                        <a:pt x="1189284" y="1232750"/>
                      </a:lnTo>
                      <a:lnTo>
                        <a:pt x="1187472" y="1240598"/>
                      </a:lnTo>
                      <a:lnTo>
                        <a:pt x="1195924" y="1243013"/>
                      </a:lnTo>
                      <a:lnTo>
                        <a:pt x="1199546" y="1250861"/>
                      </a:lnTo>
                      <a:lnTo>
                        <a:pt x="1201961" y="1251464"/>
                      </a:lnTo>
                      <a:lnTo>
                        <a:pt x="1205583" y="1247238"/>
                      </a:lnTo>
                      <a:lnTo>
                        <a:pt x="1208602" y="1247238"/>
                      </a:lnTo>
                      <a:lnTo>
                        <a:pt x="1223694" y="1239994"/>
                      </a:lnTo>
                      <a:lnTo>
                        <a:pt x="1224902" y="1233353"/>
                      </a:lnTo>
                      <a:lnTo>
                        <a:pt x="1221279" y="1233353"/>
                      </a:lnTo>
                      <a:lnTo>
                        <a:pt x="1214035" y="1236976"/>
                      </a:lnTo>
                      <a:lnTo>
                        <a:pt x="1204980" y="1234561"/>
                      </a:lnTo>
                      <a:lnTo>
                        <a:pt x="1201961" y="1238787"/>
                      </a:lnTo>
                      <a:lnTo>
                        <a:pt x="1191698" y="1233957"/>
                      </a:lnTo>
                      <a:lnTo>
                        <a:pt x="1192302" y="1228524"/>
                      </a:lnTo>
                      <a:lnTo>
                        <a:pt x="1197132" y="1225505"/>
                      </a:lnTo>
                      <a:lnTo>
                        <a:pt x="1192302" y="1217657"/>
                      </a:lnTo>
                      <a:lnTo>
                        <a:pt x="1196528" y="1214035"/>
                      </a:lnTo>
                      <a:lnTo>
                        <a:pt x="1197132" y="1220072"/>
                      </a:lnTo>
                      <a:lnTo>
                        <a:pt x="1203169" y="1230335"/>
                      </a:lnTo>
                      <a:lnTo>
                        <a:pt x="1204376" y="1223090"/>
                      </a:lnTo>
                      <a:lnTo>
                        <a:pt x="1207394" y="1217657"/>
                      </a:lnTo>
                      <a:lnTo>
                        <a:pt x="1204376" y="1212828"/>
                      </a:lnTo>
                      <a:lnTo>
                        <a:pt x="1203169" y="1207394"/>
                      </a:lnTo>
                      <a:lnTo>
                        <a:pt x="1209809" y="1203168"/>
                      </a:lnTo>
                      <a:lnTo>
                        <a:pt x="1209809" y="1199546"/>
                      </a:lnTo>
                      <a:lnTo>
                        <a:pt x="1201357" y="1198339"/>
                      </a:lnTo>
                      <a:lnTo>
                        <a:pt x="1179021" y="1201357"/>
                      </a:lnTo>
                      <a:lnTo>
                        <a:pt x="1173587" y="1196528"/>
                      </a:lnTo>
                      <a:lnTo>
                        <a:pt x="1170569" y="1198943"/>
                      </a:lnTo>
                      <a:lnTo>
                        <a:pt x="1169361" y="1202565"/>
                      </a:lnTo>
                      <a:lnTo>
                        <a:pt x="1172380" y="1206791"/>
                      </a:lnTo>
                      <a:lnTo>
                        <a:pt x="1171173" y="1211016"/>
                      </a:lnTo>
                      <a:lnTo>
                        <a:pt x="1165739" y="1212224"/>
                      </a:lnTo>
                      <a:lnTo>
                        <a:pt x="1161514" y="1217053"/>
                      </a:lnTo>
                      <a:lnTo>
                        <a:pt x="1162117" y="1233957"/>
                      </a:lnTo>
                      <a:lnTo>
                        <a:pt x="1156080" y="1236372"/>
                      </a:lnTo>
                      <a:lnTo>
                        <a:pt x="1152458" y="1234561"/>
                      </a:lnTo>
                      <a:lnTo>
                        <a:pt x="1146421" y="1241201"/>
                      </a:lnTo>
                      <a:lnTo>
                        <a:pt x="1140384" y="1237579"/>
                      </a:lnTo>
                      <a:lnTo>
                        <a:pt x="1125895" y="1236976"/>
                      </a:lnTo>
                      <a:lnTo>
                        <a:pt x="1127103" y="1232750"/>
                      </a:lnTo>
                      <a:lnTo>
                        <a:pt x="1119255" y="1232146"/>
                      </a:lnTo>
                      <a:lnTo>
                        <a:pt x="1119858" y="1225505"/>
                      </a:lnTo>
                      <a:lnTo>
                        <a:pt x="1116840" y="1222487"/>
                      </a:lnTo>
                      <a:lnTo>
                        <a:pt x="1110199" y="1223090"/>
                      </a:lnTo>
                      <a:lnTo>
                        <a:pt x="1108992" y="1217053"/>
                      </a:lnTo>
                      <a:lnTo>
                        <a:pt x="1107181" y="1214639"/>
                      </a:lnTo>
                      <a:lnTo>
                        <a:pt x="1102955" y="1216450"/>
                      </a:lnTo>
                      <a:lnTo>
                        <a:pt x="1101144" y="1222487"/>
                      </a:lnTo>
                      <a:lnTo>
                        <a:pt x="1101747" y="1232146"/>
                      </a:lnTo>
                      <a:lnTo>
                        <a:pt x="1107784" y="1242409"/>
                      </a:lnTo>
                      <a:lnTo>
                        <a:pt x="1108388" y="1251464"/>
                      </a:lnTo>
                      <a:lnTo>
                        <a:pt x="1112614" y="1251464"/>
                      </a:lnTo>
                      <a:lnTo>
                        <a:pt x="1113821" y="1253879"/>
                      </a:lnTo>
                      <a:lnTo>
                        <a:pt x="1118047" y="1255086"/>
                      </a:lnTo>
                      <a:lnTo>
                        <a:pt x="1131329" y="1256294"/>
                      </a:lnTo>
                      <a:lnTo>
                        <a:pt x="1137366" y="1255086"/>
                      </a:lnTo>
                      <a:lnTo>
                        <a:pt x="1140384" y="1255690"/>
                      </a:lnTo>
                      <a:lnTo>
                        <a:pt x="1142195" y="1260520"/>
                      </a:lnTo>
                      <a:lnTo>
                        <a:pt x="1141591" y="1265349"/>
                      </a:lnTo>
                      <a:lnTo>
                        <a:pt x="1136158" y="1265349"/>
                      </a:lnTo>
                      <a:lnTo>
                        <a:pt x="1135555" y="1269575"/>
                      </a:lnTo>
                      <a:lnTo>
                        <a:pt x="1137366" y="1275008"/>
                      </a:lnTo>
                      <a:lnTo>
                        <a:pt x="1130121" y="1276820"/>
                      </a:lnTo>
                      <a:lnTo>
                        <a:pt x="1125895" y="1285875"/>
                      </a:lnTo>
                      <a:lnTo>
                        <a:pt x="1117444" y="1287082"/>
                      </a:lnTo>
                      <a:lnTo>
                        <a:pt x="1111407" y="1284064"/>
                      </a:lnTo>
                      <a:lnTo>
                        <a:pt x="1110199" y="1279234"/>
                      </a:lnTo>
                      <a:lnTo>
                        <a:pt x="1106577" y="1275008"/>
                      </a:lnTo>
                      <a:lnTo>
                        <a:pt x="1099936" y="1262331"/>
                      </a:lnTo>
                      <a:lnTo>
                        <a:pt x="1098125" y="1255086"/>
                      </a:lnTo>
                      <a:lnTo>
                        <a:pt x="1096314" y="1255690"/>
                      </a:lnTo>
                      <a:lnTo>
                        <a:pt x="1096918" y="1264746"/>
                      </a:lnTo>
                      <a:lnTo>
                        <a:pt x="1092088" y="1267160"/>
                      </a:lnTo>
                      <a:lnTo>
                        <a:pt x="1093899" y="1271386"/>
                      </a:lnTo>
                      <a:lnTo>
                        <a:pt x="1091485" y="1280442"/>
                      </a:lnTo>
                      <a:lnTo>
                        <a:pt x="1099333" y="1280442"/>
                      </a:lnTo>
                      <a:lnTo>
                        <a:pt x="1099936" y="1283460"/>
                      </a:lnTo>
                      <a:lnTo>
                        <a:pt x="1095107" y="1287686"/>
                      </a:lnTo>
                      <a:lnTo>
                        <a:pt x="1092692" y="1291308"/>
                      </a:lnTo>
                      <a:lnTo>
                        <a:pt x="1094503" y="1297345"/>
                      </a:lnTo>
                      <a:lnTo>
                        <a:pt x="1085448" y="1300364"/>
                      </a:lnTo>
                      <a:lnTo>
                        <a:pt x="1087259" y="1308212"/>
                      </a:lnTo>
                      <a:lnTo>
                        <a:pt x="1085448" y="1314249"/>
                      </a:lnTo>
                      <a:lnTo>
                        <a:pt x="1081825" y="1314852"/>
                      </a:lnTo>
                      <a:lnTo>
                        <a:pt x="1078807" y="1317267"/>
                      </a:lnTo>
                      <a:lnTo>
                        <a:pt x="1087259" y="1325115"/>
                      </a:lnTo>
                      <a:lnTo>
                        <a:pt x="1092088" y="1326323"/>
                      </a:lnTo>
                      <a:lnTo>
                        <a:pt x="1094503" y="1323908"/>
                      </a:lnTo>
                      <a:lnTo>
                        <a:pt x="1099333" y="1324512"/>
                      </a:lnTo>
                      <a:lnTo>
                        <a:pt x="1108388" y="1333567"/>
                      </a:lnTo>
                      <a:lnTo>
                        <a:pt x="1098729" y="1343226"/>
                      </a:lnTo>
                      <a:lnTo>
                        <a:pt x="1096918" y="1348056"/>
                      </a:lnTo>
                      <a:lnTo>
                        <a:pt x="1093296" y="1352282"/>
                      </a:lnTo>
                      <a:lnTo>
                        <a:pt x="1092692" y="1363752"/>
                      </a:lnTo>
                      <a:lnTo>
                        <a:pt x="1087259" y="1368581"/>
                      </a:lnTo>
                      <a:lnTo>
                        <a:pt x="1087259" y="1372807"/>
                      </a:lnTo>
                      <a:lnTo>
                        <a:pt x="1090881" y="1374015"/>
                      </a:lnTo>
                      <a:lnTo>
                        <a:pt x="1099333" y="1372807"/>
                      </a:lnTo>
                      <a:lnTo>
                        <a:pt x="1107181" y="1374618"/>
                      </a:lnTo>
                      <a:lnTo>
                        <a:pt x="1112010" y="1372807"/>
                      </a:lnTo>
                      <a:lnTo>
                        <a:pt x="1115632" y="1376430"/>
                      </a:lnTo>
                      <a:lnTo>
                        <a:pt x="1118047" y="1383070"/>
                      </a:lnTo>
                      <a:lnTo>
                        <a:pt x="1112614" y="1386693"/>
                      </a:lnTo>
                      <a:lnTo>
                        <a:pt x="1116840" y="1396352"/>
                      </a:lnTo>
                      <a:lnTo>
                        <a:pt x="1122877" y="1399974"/>
                      </a:lnTo>
                      <a:lnTo>
                        <a:pt x="1124688" y="1408426"/>
                      </a:lnTo>
                      <a:lnTo>
                        <a:pt x="1128914" y="1410840"/>
                      </a:lnTo>
                      <a:lnTo>
                        <a:pt x="1130121" y="1416877"/>
                      </a:lnTo>
                      <a:lnTo>
                        <a:pt x="1133140" y="1419292"/>
                      </a:lnTo>
                      <a:lnTo>
                        <a:pt x="1133743" y="1426536"/>
                      </a:lnTo>
                      <a:lnTo>
                        <a:pt x="1136158" y="1428951"/>
                      </a:lnTo>
                      <a:lnTo>
                        <a:pt x="1134951" y="1432573"/>
                      </a:lnTo>
                      <a:lnTo>
                        <a:pt x="1131932" y="1434988"/>
                      </a:lnTo>
                      <a:lnTo>
                        <a:pt x="1130121" y="1441629"/>
                      </a:lnTo>
                      <a:lnTo>
                        <a:pt x="1125292" y="1444647"/>
                      </a:lnTo>
                      <a:lnTo>
                        <a:pt x="1119858" y="1455514"/>
                      </a:lnTo>
                      <a:lnTo>
                        <a:pt x="1118047" y="1465173"/>
                      </a:lnTo>
                      <a:lnTo>
                        <a:pt x="1120462" y="1470606"/>
                      </a:lnTo>
                      <a:lnTo>
                        <a:pt x="1119255" y="1480266"/>
                      </a:lnTo>
                      <a:lnTo>
                        <a:pt x="1122877" y="1480869"/>
                      </a:lnTo>
                      <a:lnTo>
                        <a:pt x="1125292" y="1488114"/>
                      </a:lnTo>
                      <a:lnTo>
                        <a:pt x="1123481" y="1489925"/>
                      </a:lnTo>
                      <a:lnTo>
                        <a:pt x="1125292" y="1495358"/>
                      </a:lnTo>
                      <a:lnTo>
                        <a:pt x="1121669" y="1498980"/>
                      </a:lnTo>
                      <a:lnTo>
                        <a:pt x="1121669" y="1503810"/>
                      </a:lnTo>
                      <a:lnTo>
                        <a:pt x="1119255" y="1508639"/>
                      </a:lnTo>
                      <a:lnTo>
                        <a:pt x="1121669" y="1510450"/>
                      </a:lnTo>
                      <a:lnTo>
                        <a:pt x="1125292" y="1518902"/>
                      </a:lnTo>
                      <a:lnTo>
                        <a:pt x="1118047" y="1520713"/>
                      </a:lnTo>
                      <a:lnTo>
                        <a:pt x="1113821" y="1524335"/>
                      </a:lnTo>
                      <a:lnTo>
                        <a:pt x="1110803" y="1531580"/>
                      </a:lnTo>
                      <a:lnTo>
                        <a:pt x="1107181" y="1535202"/>
                      </a:lnTo>
                      <a:lnTo>
                        <a:pt x="1096918" y="1540635"/>
                      </a:lnTo>
                      <a:lnTo>
                        <a:pt x="1095710" y="1537617"/>
                      </a:lnTo>
                      <a:lnTo>
                        <a:pt x="1090881" y="1538220"/>
                      </a:lnTo>
                      <a:lnTo>
                        <a:pt x="1089070" y="1542446"/>
                      </a:lnTo>
                      <a:lnTo>
                        <a:pt x="1084240" y="1543654"/>
                      </a:lnTo>
                      <a:lnTo>
                        <a:pt x="1082429" y="1547879"/>
                      </a:lnTo>
                      <a:lnTo>
                        <a:pt x="1078203" y="1546672"/>
                      </a:lnTo>
                      <a:lnTo>
                        <a:pt x="1069148" y="1552105"/>
                      </a:lnTo>
                      <a:lnTo>
                        <a:pt x="1067337" y="1555728"/>
                      </a:lnTo>
                      <a:lnTo>
                        <a:pt x="1057678" y="1556935"/>
                      </a:lnTo>
                      <a:lnTo>
                        <a:pt x="1054659" y="1564179"/>
                      </a:lnTo>
                      <a:lnTo>
                        <a:pt x="1049830" y="1566594"/>
                      </a:lnTo>
                      <a:lnTo>
                        <a:pt x="1049226" y="1574442"/>
                      </a:lnTo>
                      <a:lnTo>
                        <a:pt x="1046811" y="1578668"/>
                      </a:lnTo>
                      <a:lnTo>
                        <a:pt x="1043793" y="1578668"/>
                      </a:lnTo>
                      <a:lnTo>
                        <a:pt x="1043189" y="1584705"/>
                      </a:lnTo>
                      <a:lnTo>
                        <a:pt x="1041378" y="1587724"/>
                      </a:lnTo>
                      <a:lnTo>
                        <a:pt x="1044396" y="1596175"/>
                      </a:lnTo>
                      <a:lnTo>
                        <a:pt x="1048622" y="1593761"/>
                      </a:lnTo>
                      <a:lnTo>
                        <a:pt x="1052244" y="1596779"/>
                      </a:lnTo>
                      <a:lnTo>
                        <a:pt x="1058281" y="1596779"/>
                      </a:lnTo>
                      <a:lnTo>
                        <a:pt x="1061903" y="1601609"/>
                      </a:lnTo>
                      <a:lnTo>
                        <a:pt x="1066129" y="1602212"/>
                      </a:lnTo>
                      <a:lnTo>
                        <a:pt x="1070355" y="1598590"/>
                      </a:lnTo>
                      <a:lnTo>
                        <a:pt x="1075788" y="1599194"/>
                      </a:lnTo>
                      <a:lnTo>
                        <a:pt x="1080014" y="1605835"/>
                      </a:lnTo>
                      <a:lnTo>
                        <a:pt x="1074581" y="1608853"/>
                      </a:lnTo>
                      <a:lnTo>
                        <a:pt x="1079411" y="1611268"/>
                      </a:lnTo>
                      <a:lnTo>
                        <a:pt x="1086051" y="1608853"/>
                      </a:lnTo>
                      <a:lnTo>
                        <a:pt x="1084844" y="1613079"/>
                      </a:lnTo>
                      <a:lnTo>
                        <a:pt x="1078807" y="1616701"/>
                      </a:lnTo>
                      <a:lnTo>
                        <a:pt x="1069148" y="1615494"/>
                      </a:lnTo>
                      <a:lnTo>
                        <a:pt x="1066129" y="1619720"/>
                      </a:lnTo>
                      <a:lnTo>
                        <a:pt x="1060092" y="1623945"/>
                      </a:lnTo>
                      <a:lnTo>
                        <a:pt x="1056470" y="1628171"/>
                      </a:lnTo>
                      <a:lnTo>
                        <a:pt x="1043793" y="1630586"/>
                      </a:lnTo>
                      <a:lnTo>
                        <a:pt x="1044396" y="1633604"/>
                      </a:lnTo>
                      <a:lnTo>
                        <a:pt x="1041981" y="1637830"/>
                      </a:lnTo>
                      <a:lnTo>
                        <a:pt x="1037152" y="1640245"/>
                      </a:lnTo>
                      <a:lnTo>
                        <a:pt x="1027493" y="1641452"/>
                      </a:lnTo>
                      <a:lnTo>
                        <a:pt x="1023267" y="1639641"/>
                      </a:lnTo>
                      <a:lnTo>
                        <a:pt x="1020852" y="1636623"/>
                      </a:lnTo>
                      <a:lnTo>
                        <a:pt x="1011797" y="1635416"/>
                      </a:lnTo>
                      <a:lnTo>
                        <a:pt x="1005760" y="1640245"/>
                      </a:lnTo>
                      <a:lnTo>
                        <a:pt x="1003345" y="1644471"/>
                      </a:lnTo>
                      <a:lnTo>
                        <a:pt x="997911" y="1646282"/>
                      </a:lnTo>
                      <a:lnTo>
                        <a:pt x="995497" y="1642660"/>
                      </a:lnTo>
                      <a:lnTo>
                        <a:pt x="989460" y="1639038"/>
                      </a:lnTo>
                      <a:lnTo>
                        <a:pt x="990667" y="1633604"/>
                      </a:lnTo>
                      <a:lnTo>
                        <a:pt x="987649" y="1625153"/>
                      </a:lnTo>
                      <a:lnTo>
                        <a:pt x="982819" y="1620323"/>
                      </a:lnTo>
                      <a:lnTo>
                        <a:pt x="974367" y="1617305"/>
                      </a:lnTo>
                      <a:lnTo>
                        <a:pt x="970141" y="1622134"/>
                      </a:lnTo>
                      <a:lnTo>
                        <a:pt x="968934" y="1626360"/>
                      </a:lnTo>
                      <a:lnTo>
                        <a:pt x="963501" y="1625153"/>
                      </a:lnTo>
                      <a:lnTo>
                        <a:pt x="961690" y="1620927"/>
                      </a:lnTo>
                      <a:lnTo>
                        <a:pt x="957464" y="1620323"/>
                      </a:lnTo>
                      <a:lnTo>
                        <a:pt x="956860" y="1614286"/>
                      </a:lnTo>
                      <a:lnTo>
                        <a:pt x="959879" y="1609457"/>
                      </a:lnTo>
                      <a:lnTo>
                        <a:pt x="959275" y="1601005"/>
                      </a:lnTo>
                      <a:lnTo>
                        <a:pt x="955049" y="1597987"/>
                      </a:lnTo>
                      <a:lnTo>
                        <a:pt x="953238" y="1594364"/>
                      </a:lnTo>
                      <a:lnTo>
                        <a:pt x="949616" y="1593761"/>
                      </a:lnTo>
                      <a:lnTo>
                        <a:pt x="941164" y="1594364"/>
                      </a:lnTo>
                      <a:lnTo>
                        <a:pt x="937542" y="1588931"/>
                      </a:lnTo>
                      <a:lnTo>
                        <a:pt x="938146" y="1585913"/>
                      </a:lnTo>
                      <a:lnTo>
                        <a:pt x="929694" y="1584705"/>
                      </a:lnTo>
                      <a:lnTo>
                        <a:pt x="927883" y="1579876"/>
                      </a:lnTo>
                      <a:lnTo>
                        <a:pt x="923657" y="1575046"/>
                      </a:lnTo>
                      <a:lnTo>
                        <a:pt x="920638" y="1576857"/>
                      </a:lnTo>
                      <a:lnTo>
                        <a:pt x="918827" y="1584101"/>
                      </a:lnTo>
                      <a:lnTo>
                        <a:pt x="909772" y="1584705"/>
                      </a:lnTo>
                      <a:lnTo>
                        <a:pt x="909772" y="1581083"/>
                      </a:lnTo>
                      <a:lnTo>
                        <a:pt x="906753" y="1578064"/>
                      </a:lnTo>
                      <a:lnTo>
                        <a:pt x="903735" y="1571424"/>
                      </a:lnTo>
                      <a:lnTo>
                        <a:pt x="895887" y="1559953"/>
                      </a:lnTo>
                      <a:lnTo>
                        <a:pt x="886831" y="1562972"/>
                      </a:lnTo>
                      <a:lnTo>
                        <a:pt x="882605" y="1557539"/>
                      </a:lnTo>
                      <a:lnTo>
                        <a:pt x="876568" y="1564783"/>
                      </a:lnTo>
                      <a:lnTo>
                        <a:pt x="872946" y="1566594"/>
                      </a:lnTo>
                      <a:lnTo>
                        <a:pt x="870531" y="1558142"/>
                      </a:lnTo>
                      <a:lnTo>
                        <a:pt x="863287" y="1558746"/>
                      </a:lnTo>
                      <a:lnTo>
                        <a:pt x="859665" y="1561765"/>
                      </a:lnTo>
                      <a:lnTo>
                        <a:pt x="855439" y="1558746"/>
                      </a:lnTo>
                      <a:lnTo>
                        <a:pt x="857854" y="1549087"/>
                      </a:lnTo>
                      <a:lnTo>
                        <a:pt x="860872" y="1544861"/>
                      </a:lnTo>
                      <a:lnTo>
                        <a:pt x="856646" y="1541239"/>
                      </a:lnTo>
                      <a:lnTo>
                        <a:pt x="856646" y="1533994"/>
                      </a:lnTo>
                      <a:lnTo>
                        <a:pt x="859061" y="1530976"/>
                      </a:lnTo>
                      <a:lnTo>
                        <a:pt x="859061" y="1523732"/>
                      </a:lnTo>
                      <a:lnTo>
                        <a:pt x="861476" y="1520713"/>
                      </a:lnTo>
                      <a:lnTo>
                        <a:pt x="857854" y="1518902"/>
                      </a:lnTo>
                      <a:lnTo>
                        <a:pt x="853024" y="1514073"/>
                      </a:lnTo>
                      <a:lnTo>
                        <a:pt x="842761" y="1513469"/>
                      </a:lnTo>
                      <a:lnTo>
                        <a:pt x="839139" y="1518902"/>
                      </a:lnTo>
                      <a:lnTo>
                        <a:pt x="833706" y="1523128"/>
                      </a:lnTo>
                      <a:lnTo>
                        <a:pt x="831291" y="1521921"/>
                      </a:lnTo>
                      <a:lnTo>
                        <a:pt x="828273" y="1517695"/>
                      </a:lnTo>
                      <a:lnTo>
                        <a:pt x="830687" y="1503810"/>
                      </a:lnTo>
                      <a:lnTo>
                        <a:pt x="828876" y="1501999"/>
                      </a:lnTo>
                      <a:lnTo>
                        <a:pt x="824047" y="1501395"/>
                      </a:lnTo>
                      <a:lnTo>
                        <a:pt x="822839" y="1497169"/>
                      </a:lnTo>
                      <a:lnTo>
                        <a:pt x="819217" y="1494151"/>
                      </a:lnTo>
                      <a:lnTo>
                        <a:pt x="818010" y="1491132"/>
                      </a:lnTo>
                      <a:lnTo>
                        <a:pt x="814388" y="1489321"/>
                      </a:lnTo>
                      <a:lnTo>
                        <a:pt x="811973" y="1485095"/>
                      </a:lnTo>
                      <a:lnTo>
                        <a:pt x="807747" y="1484491"/>
                      </a:lnTo>
                      <a:lnTo>
                        <a:pt x="802917" y="1488114"/>
                      </a:lnTo>
                      <a:lnTo>
                        <a:pt x="799899" y="1482680"/>
                      </a:lnTo>
                      <a:lnTo>
                        <a:pt x="802314" y="1475436"/>
                      </a:lnTo>
                      <a:lnTo>
                        <a:pt x="799295" y="1468192"/>
                      </a:lnTo>
                      <a:lnTo>
                        <a:pt x="804728" y="1456721"/>
                      </a:lnTo>
                      <a:lnTo>
                        <a:pt x="807143" y="1454306"/>
                      </a:lnTo>
                      <a:lnTo>
                        <a:pt x="811973" y="1453099"/>
                      </a:lnTo>
                      <a:lnTo>
                        <a:pt x="811973" y="1441025"/>
                      </a:lnTo>
                      <a:lnTo>
                        <a:pt x="809558" y="1436195"/>
                      </a:lnTo>
                      <a:lnTo>
                        <a:pt x="810765" y="1424121"/>
                      </a:lnTo>
                      <a:lnTo>
                        <a:pt x="807143" y="1419292"/>
                      </a:lnTo>
                      <a:lnTo>
                        <a:pt x="801106" y="1415670"/>
                      </a:lnTo>
                      <a:lnTo>
                        <a:pt x="801106" y="1410237"/>
                      </a:lnTo>
                      <a:lnTo>
                        <a:pt x="794466" y="1409633"/>
                      </a:lnTo>
                      <a:lnTo>
                        <a:pt x="794466" y="1416877"/>
                      </a:lnTo>
                      <a:lnTo>
                        <a:pt x="792654" y="1421707"/>
                      </a:lnTo>
                      <a:lnTo>
                        <a:pt x="788429" y="1424121"/>
                      </a:lnTo>
                      <a:lnTo>
                        <a:pt x="785410" y="1429555"/>
                      </a:lnTo>
                      <a:lnTo>
                        <a:pt x="781788" y="1428951"/>
                      </a:lnTo>
                      <a:lnTo>
                        <a:pt x="777562" y="1433177"/>
                      </a:lnTo>
                      <a:lnTo>
                        <a:pt x="766695" y="1425329"/>
                      </a:lnTo>
                      <a:lnTo>
                        <a:pt x="771525" y="1413255"/>
                      </a:lnTo>
                      <a:lnTo>
                        <a:pt x="766695" y="1410840"/>
                      </a:lnTo>
                      <a:lnTo>
                        <a:pt x="760658" y="1410237"/>
                      </a:lnTo>
                      <a:lnTo>
                        <a:pt x="755829" y="1407822"/>
                      </a:lnTo>
                      <a:lnTo>
                        <a:pt x="750396" y="1403596"/>
                      </a:lnTo>
                      <a:lnTo>
                        <a:pt x="749188" y="1401181"/>
                      </a:lnTo>
                      <a:lnTo>
                        <a:pt x="742548" y="1393937"/>
                      </a:lnTo>
                      <a:lnTo>
                        <a:pt x="744359" y="1385485"/>
                      </a:lnTo>
                      <a:lnTo>
                        <a:pt x="749188" y="1376430"/>
                      </a:lnTo>
                      <a:lnTo>
                        <a:pt x="754018" y="1372204"/>
                      </a:lnTo>
                      <a:lnTo>
                        <a:pt x="755225" y="1366167"/>
                      </a:lnTo>
                      <a:lnTo>
                        <a:pt x="760658" y="1367374"/>
                      </a:lnTo>
                      <a:lnTo>
                        <a:pt x="763073" y="1365563"/>
                      </a:lnTo>
                      <a:lnTo>
                        <a:pt x="763677" y="1360130"/>
                      </a:lnTo>
                      <a:lnTo>
                        <a:pt x="768507" y="1360130"/>
                      </a:lnTo>
                      <a:lnTo>
                        <a:pt x="769714" y="1356508"/>
                      </a:lnTo>
                      <a:lnTo>
                        <a:pt x="772732" y="1352885"/>
                      </a:lnTo>
                      <a:lnTo>
                        <a:pt x="768507" y="1350471"/>
                      </a:lnTo>
                      <a:lnTo>
                        <a:pt x="762470" y="1356508"/>
                      </a:lnTo>
                      <a:lnTo>
                        <a:pt x="758847" y="1355904"/>
                      </a:lnTo>
                      <a:lnTo>
                        <a:pt x="751603" y="1352282"/>
                      </a:lnTo>
                      <a:lnTo>
                        <a:pt x="747981" y="1348056"/>
                      </a:lnTo>
                      <a:lnTo>
                        <a:pt x="742548" y="1346245"/>
                      </a:lnTo>
                      <a:lnTo>
                        <a:pt x="747377" y="1340811"/>
                      </a:lnTo>
                      <a:lnTo>
                        <a:pt x="747377" y="1332360"/>
                      </a:lnTo>
                      <a:lnTo>
                        <a:pt x="744359" y="1323908"/>
                      </a:lnTo>
                      <a:lnTo>
                        <a:pt x="735907" y="1330549"/>
                      </a:lnTo>
                      <a:lnTo>
                        <a:pt x="729870" y="1330549"/>
                      </a:lnTo>
                      <a:lnTo>
                        <a:pt x="728059" y="1326323"/>
                      </a:lnTo>
                      <a:lnTo>
                        <a:pt x="721418" y="1333567"/>
                      </a:lnTo>
                      <a:lnTo>
                        <a:pt x="723229" y="1340208"/>
                      </a:lnTo>
                      <a:lnTo>
                        <a:pt x="717796" y="1346848"/>
                      </a:lnTo>
                      <a:lnTo>
                        <a:pt x="722626" y="1351074"/>
                      </a:lnTo>
                      <a:lnTo>
                        <a:pt x="720815" y="1354697"/>
                      </a:lnTo>
                      <a:lnTo>
                        <a:pt x="709344" y="1361941"/>
                      </a:lnTo>
                      <a:lnTo>
                        <a:pt x="704515" y="1355904"/>
                      </a:lnTo>
                      <a:lnTo>
                        <a:pt x="697874" y="1352885"/>
                      </a:lnTo>
                      <a:lnTo>
                        <a:pt x="690026" y="1352885"/>
                      </a:lnTo>
                      <a:lnTo>
                        <a:pt x="687007" y="1354697"/>
                      </a:lnTo>
                      <a:lnTo>
                        <a:pt x="670104" y="1354093"/>
                      </a:lnTo>
                      <a:lnTo>
                        <a:pt x="664671" y="1346848"/>
                      </a:lnTo>
                      <a:lnTo>
                        <a:pt x="662256" y="1340811"/>
                      </a:lnTo>
                      <a:lnTo>
                        <a:pt x="661652" y="1331756"/>
                      </a:lnTo>
                      <a:lnTo>
                        <a:pt x="655011" y="1332360"/>
                      </a:lnTo>
                      <a:lnTo>
                        <a:pt x="640523" y="1328737"/>
                      </a:lnTo>
                      <a:lnTo>
                        <a:pt x="637504" y="1325115"/>
                      </a:lnTo>
                      <a:lnTo>
                        <a:pt x="630864" y="1321493"/>
                      </a:lnTo>
                      <a:lnTo>
                        <a:pt x="622412" y="1333567"/>
                      </a:lnTo>
                      <a:lnTo>
                        <a:pt x="624223" y="1340811"/>
                      </a:lnTo>
                      <a:lnTo>
                        <a:pt x="619393" y="1343830"/>
                      </a:lnTo>
                      <a:lnTo>
                        <a:pt x="614564" y="1343830"/>
                      </a:lnTo>
                      <a:lnTo>
                        <a:pt x="613356" y="1336586"/>
                      </a:lnTo>
                      <a:lnTo>
                        <a:pt x="609131" y="1331756"/>
                      </a:lnTo>
                      <a:lnTo>
                        <a:pt x="611545" y="1323908"/>
                      </a:lnTo>
                      <a:lnTo>
                        <a:pt x="610338" y="1321493"/>
                      </a:lnTo>
                      <a:lnTo>
                        <a:pt x="606112" y="1320889"/>
                      </a:lnTo>
                      <a:lnTo>
                        <a:pt x="598868" y="1322097"/>
                      </a:lnTo>
                      <a:lnTo>
                        <a:pt x="592831" y="1310626"/>
                      </a:lnTo>
                      <a:lnTo>
                        <a:pt x="588001" y="1310023"/>
                      </a:lnTo>
                      <a:lnTo>
                        <a:pt x="587397" y="1313041"/>
                      </a:lnTo>
                      <a:lnTo>
                        <a:pt x="580153" y="1313645"/>
                      </a:lnTo>
                      <a:lnTo>
                        <a:pt x="578946" y="1309419"/>
                      </a:lnTo>
                      <a:lnTo>
                        <a:pt x="575323" y="1311230"/>
                      </a:lnTo>
                      <a:lnTo>
                        <a:pt x="570494" y="1304590"/>
                      </a:lnTo>
                      <a:lnTo>
                        <a:pt x="575927" y="1299760"/>
                      </a:lnTo>
                      <a:lnTo>
                        <a:pt x="580757" y="1299760"/>
                      </a:lnTo>
                      <a:lnTo>
                        <a:pt x="583775" y="1303382"/>
                      </a:lnTo>
                      <a:lnTo>
                        <a:pt x="589812" y="1301571"/>
                      </a:lnTo>
                      <a:lnTo>
                        <a:pt x="592227" y="1295534"/>
                      </a:lnTo>
                      <a:lnTo>
                        <a:pt x="589209" y="1294931"/>
                      </a:lnTo>
                      <a:lnTo>
                        <a:pt x="583775" y="1297949"/>
                      </a:lnTo>
                      <a:lnTo>
                        <a:pt x="575927" y="1294931"/>
                      </a:lnTo>
                      <a:lnTo>
                        <a:pt x="570494" y="1294931"/>
                      </a:lnTo>
                      <a:lnTo>
                        <a:pt x="566268" y="1292516"/>
                      </a:lnTo>
                      <a:lnTo>
                        <a:pt x="563853" y="1295534"/>
                      </a:lnTo>
                      <a:lnTo>
                        <a:pt x="557213" y="1297949"/>
                      </a:lnTo>
                      <a:lnTo>
                        <a:pt x="552383" y="1296138"/>
                      </a:lnTo>
                      <a:lnTo>
                        <a:pt x="549968" y="1291912"/>
                      </a:lnTo>
                      <a:lnTo>
                        <a:pt x="543327" y="1292516"/>
                      </a:lnTo>
                      <a:lnTo>
                        <a:pt x="536687" y="1287686"/>
                      </a:lnTo>
                      <a:lnTo>
                        <a:pt x="537894" y="1282857"/>
                      </a:lnTo>
                      <a:lnTo>
                        <a:pt x="536687" y="1278027"/>
                      </a:lnTo>
                      <a:lnTo>
                        <a:pt x="530046" y="1275612"/>
                      </a:lnTo>
                      <a:lnTo>
                        <a:pt x="527631" y="1278027"/>
                      </a:lnTo>
                      <a:lnTo>
                        <a:pt x="517972" y="1282253"/>
                      </a:lnTo>
                      <a:lnTo>
                        <a:pt x="517972" y="1287082"/>
                      </a:lnTo>
                      <a:lnTo>
                        <a:pt x="512539" y="1291308"/>
                      </a:lnTo>
                      <a:lnTo>
                        <a:pt x="505295" y="1293723"/>
                      </a:lnTo>
                      <a:lnTo>
                        <a:pt x="502276" y="1289497"/>
                      </a:lnTo>
                      <a:lnTo>
                        <a:pt x="503484" y="1285875"/>
                      </a:lnTo>
                      <a:lnTo>
                        <a:pt x="501069" y="1284064"/>
                      </a:lnTo>
                      <a:lnTo>
                        <a:pt x="496843" y="1284668"/>
                      </a:lnTo>
                      <a:lnTo>
                        <a:pt x="492617" y="1283460"/>
                      </a:lnTo>
                      <a:lnTo>
                        <a:pt x="490806" y="1288894"/>
                      </a:lnTo>
                      <a:lnTo>
                        <a:pt x="492013" y="1294327"/>
                      </a:lnTo>
                      <a:lnTo>
                        <a:pt x="487184" y="1296742"/>
                      </a:lnTo>
                      <a:lnTo>
                        <a:pt x="479939" y="1294931"/>
                      </a:lnTo>
                      <a:lnTo>
                        <a:pt x="481147" y="1289497"/>
                      </a:lnTo>
                      <a:lnTo>
                        <a:pt x="480543" y="1285875"/>
                      </a:lnTo>
                      <a:lnTo>
                        <a:pt x="474506" y="1284064"/>
                      </a:lnTo>
                      <a:lnTo>
                        <a:pt x="466658" y="1287686"/>
                      </a:lnTo>
                      <a:lnTo>
                        <a:pt x="460621" y="1287686"/>
                      </a:lnTo>
                      <a:lnTo>
                        <a:pt x="449151" y="1292516"/>
                      </a:lnTo>
                      <a:lnTo>
                        <a:pt x="446132" y="1287686"/>
                      </a:lnTo>
                      <a:lnTo>
                        <a:pt x="440095" y="1284064"/>
                      </a:lnTo>
                      <a:lnTo>
                        <a:pt x="435869" y="1285271"/>
                      </a:lnTo>
                      <a:lnTo>
                        <a:pt x="432851" y="1282253"/>
                      </a:lnTo>
                      <a:lnTo>
                        <a:pt x="426814" y="1284064"/>
                      </a:lnTo>
                      <a:lnTo>
                        <a:pt x="423795" y="1281649"/>
                      </a:lnTo>
                      <a:lnTo>
                        <a:pt x="413533" y="1282857"/>
                      </a:lnTo>
                      <a:lnTo>
                        <a:pt x="410514" y="1285271"/>
                      </a:lnTo>
                      <a:lnTo>
                        <a:pt x="405685" y="1286479"/>
                      </a:lnTo>
                      <a:lnTo>
                        <a:pt x="399648" y="1291308"/>
                      </a:lnTo>
                      <a:lnTo>
                        <a:pt x="391196" y="1294931"/>
                      </a:lnTo>
                      <a:lnTo>
                        <a:pt x="388781" y="1293723"/>
                      </a:lnTo>
                      <a:lnTo>
                        <a:pt x="386366" y="1287686"/>
                      </a:lnTo>
                      <a:lnTo>
                        <a:pt x="380329" y="1290101"/>
                      </a:lnTo>
                      <a:lnTo>
                        <a:pt x="374292" y="1297949"/>
                      </a:lnTo>
                      <a:lnTo>
                        <a:pt x="366444" y="1294931"/>
                      </a:lnTo>
                      <a:lnTo>
                        <a:pt x="362822" y="1293723"/>
                      </a:lnTo>
                      <a:lnTo>
                        <a:pt x="355578" y="1290705"/>
                      </a:lnTo>
                      <a:lnTo>
                        <a:pt x="348333" y="1288894"/>
                      </a:lnTo>
                      <a:lnTo>
                        <a:pt x="337467" y="1284064"/>
                      </a:lnTo>
                      <a:lnTo>
                        <a:pt x="335052" y="1281649"/>
                      </a:lnTo>
                      <a:lnTo>
                        <a:pt x="327808" y="1274405"/>
                      </a:lnTo>
                      <a:lnTo>
                        <a:pt x="319960" y="1254483"/>
                      </a:lnTo>
                      <a:lnTo>
                        <a:pt x="313923" y="1242409"/>
                      </a:lnTo>
                      <a:lnTo>
                        <a:pt x="308489" y="1233957"/>
                      </a:lnTo>
                      <a:lnTo>
                        <a:pt x="303660" y="1228524"/>
                      </a:lnTo>
                      <a:lnTo>
                        <a:pt x="301849" y="1223694"/>
                      </a:lnTo>
                      <a:lnTo>
                        <a:pt x="297623" y="1210413"/>
                      </a:lnTo>
                      <a:lnTo>
                        <a:pt x="295208" y="1198339"/>
                      </a:lnTo>
                      <a:lnTo>
                        <a:pt x="290982" y="1176002"/>
                      </a:lnTo>
                      <a:lnTo>
                        <a:pt x="283134" y="1167550"/>
                      </a:lnTo>
                      <a:lnTo>
                        <a:pt x="273475" y="1157891"/>
                      </a:lnTo>
                      <a:lnTo>
                        <a:pt x="263212" y="1146421"/>
                      </a:lnTo>
                      <a:lnTo>
                        <a:pt x="260194" y="1136158"/>
                      </a:lnTo>
                      <a:lnTo>
                        <a:pt x="255968" y="1130121"/>
                      </a:lnTo>
                      <a:lnTo>
                        <a:pt x="245705" y="1120462"/>
                      </a:lnTo>
                      <a:lnTo>
                        <a:pt x="246912" y="1113821"/>
                      </a:lnTo>
                      <a:lnTo>
                        <a:pt x="246912" y="1107181"/>
                      </a:lnTo>
                      <a:lnTo>
                        <a:pt x="248723" y="1090881"/>
                      </a:lnTo>
                      <a:lnTo>
                        <a:pt x="246308" y="1089673"/>
                      </a:lnTo>
                      <a:lnTo>
                        <a:pt x="246308" y="1074581"/>
                      </a:lnTo>
                      <a:lnTo>
                        <a:pt x="246912" y="1058281"/>
                      </a:lnTo>
                      <a:lnTo>
                        <a:pt x="243894" y="1049829"/>
                      </a:lnTo>
                      <a:lnTo>
                        <a:pt x="240271" y="1048018"/>
                      </a:lnTo>
                      <a:lnTo>
                        <a:pt x="230612" y="1048622"/>
                      </a:lnTo>
                      <a:lnTo>
                        <a:pt x="223368" y="1052244"/>
                      </a:lnTo>
                      <a:lnTo>
                        <a:pt x="216727" y="1054659"/>
                      </a:lnTo>
                      <a:lnTo>
                        <a:pt x="207672" y="1054659"/>
                      </a:lnTo>
                      <a:lnTo>
                        <a:pt x="194391" y="1056470"/>
                      </a:lnTo>
                      <a:lnTo>
                        <a:pt x="188957" y="1057677"/>
                      </a:lnTo>
                      <a:lnTo>
                        <a:pt x="184128" y="1056470"/>
                      </a:lnTo>
                      <a:lnTo>
                        <a:pt x="165413" y="1049829"/>
                      </a:lnTo>
                      <a:lnTo>
                        <a:pt x="162998" y="1047415"/>
                      </a:lnTo>
                      <a:lnTo>
                        <a:pt x="160583" y="1039566"/>
                      </a:lnTo>
                      <a:lnTo>
                        <a:pt x="156961" y="1034133"/>
                      </a:lnTo>
                      <a:lnTo>
                        <a:pt x="148510" y="1025078"/>
                      </a:lnTo>
                      <a:lnTo>
                        <a:pt x="143680" y="1022059"/>
                      </a:lnTo>
                      <a:lnTo>
                        <a:pt x="140661" y="1016022"/>
                      </a:lnTo>
                      <a:lnTo>
                        <a:pt x="128588" y="997911"/>
                      </a:lnTo>
                      <a:lnTo>
                        <a:pt x="125569" y="988856"/>
                      </a:lnTo>
                      <a:lnTo>
                        <a:pt x="125569" y="981008"/>
                      </a:lnTo>
                      <a:lnTo>
                        <a:pt x="123154" y="967123"/>
                      </a:lnTo>
                      <a:lnTo>
                        <a:pt x="126173" y="958067"/>
                      </a:lnTo>
                      <a:lnTo>
                        <a:pt x="136436" y="942371"/>
                      </a:lnTo>
                      <a:lnTo>
                        <a:pt x="139454" y="935731"/>
                      </a:lnTo>
                      <a:lnTo>
                        <a:pt x="142473" y="924260"/>
                      </a:lnTo>
                      <a:lnTo>
                        <a:pt x="140661" y="917016"/>
                      </a:lnTo>
                      <a:lnTo>
                        <a:pt x="141265" y="909772"/>
                      </a:lnTo>
                      <a:lnTo>
                        <a:pt x="143680" y="900112"/>
                      </a:lnTo>
                      <a:lnTo>
                        <a:pt x="143076" y="880794"/>
                      </a:lnTo>
                      <a:lnTo>
                        <a:pt x="144887" y="868720"/>
                      </a:lnTo>
                      <a:lnTo>
                        <a:pt x="141265" y="854232"/>
                      </a:lnTo>
                      <a:lnTo>
                        <a:pt x="137643" y="850006"/>
                      </a:lnTo>
                      <a:lnTo>
                        <a:pt x="128588" y="845176"/>
                      </a:lnTo>
                      <a:lnTo>
                        <a:pt x="120136" y="842761"/>
                      </a:lnTo>
                      <a:lnTo>
                        <a:pt x="111684" y="842761"/>
                      </a:lnTo>
                      <a:lnTo>
                        <a:pt x="89951" y="846383"/>
                      </a:lnTo>
                      <a:lnTo>
                        <a:pt x="76670" y="846383"/>
                      </a:lnTo>
                      <a:lnTo>
                        <a:pt x="68821" y="844572"/>
                      </a:lnTo>
                      <a:lnTo>
                        <a:pt x="59766" y="839139"/>
                      </a:lnTo>
                      <a:lnTo>
                        <a:pt x="49503" y="830084"/>
                      </a:lnTo>
                      <a:lnTo>
                        <a:pt x="8452" y="811369"/>
                      </a:lnTo>
                      <a:lnTo>
                        <a:pt x="5433" y="808351"/>
                      </a:lnTo>
                      <a:lnTo>
                        <a:pt x="0" y="795069"/>
                      </a:lnTo>
                      <a:lnTo>
                        <a:pt x="3622" y="773336"/>
                      </a:lnTo>
                      <a:lnTo>
                        <a:pt x="4226" y="763073"/>
                      </a:lnTo>
                      <a:lnTo>
                        <a:pt x="6641" y="746170"/>
                      </a:lnTo>
                      <a:lnTo>
                        <a:pt x="11470" y="734096"/>
                      </a:lnTo>
                      <a:lnTo>
                        <a:pt x="16904" y="718400"/>
                      </a:lnTo>
                      <a:lnTo>
                        <a:pt x="21733" y="708740"/>
                      </a:lnTo>
                      <a:lnTo>
                        <a:pt x="38033" y="691837"/>
                      </a:lnTo>
                      <a:lnTo>
                        <a:pt x="68218" y="667085"/>
                      </a:lnTo>
                      <a:lnTo>
                        <a:pt x="78481" y="656822"/>
                      </a:lnTo>
                      <a:lnTo>
                        <a:pt x="87536" y="643541"/>
                      </a:lnTo>
                      <a:lnTo>
                        <a:pt x="93573" y="633882"/>
                      </a:lnTo>
                      <a:lnTo>
                        <a:pt x="109873" y="621204"/>
                      </a:lnTo>
                      <a:lnTo>
                        <a:pt x="111684" y="618186"/>
                      </a:lnTo>
                      <a:lnTo>
                        <a:pt x="117117" y="602490"/>
                      </a:lnTo>
                      <a:lnTo>
                        <a:pt x="129191" y="572305"/>
                      </a:lnTo>
                      <a:lnTo>
                        <a:pt x="138850" y="556609"/>
                      </a:lnTo>
                      <a:lnTo>
                        <a:pt x="144284" y="551175"/>
                      </a:lnTo>
                      <a:lnTo>
                        <a:pt x="149717" y="544535"/>
                      </a:lnTo>
                      <a:lnTo>
                        <a:pt x="164809" y="534272"/>
                      </a:lnTo>
                      <a:lnTo>
                        <a:pt x="169035" y="530046"/>
                      </a:lnTo>
                      <a:lnTo>
                        <a:pt x="176280" y="521594"/>
                      </a:lnTo>
                      <a:lnTo>
                        <a:pt x="182317" y="515557"/>
                      </a:lnTo>
                      <a:lnTo>
                        <a:pt x="195598" y="512539"/>
                      </a:lnTo>
                      <a:lnTo>
                        <a:pt x="205257" y="510124"/>
                      </a:lnTo>
                      <a:lnTo>
                        <a:pt x="216124" y="510124"/>
                      </a:lnTo>
                      <a:lnTo>
                        <a:pt x="222764" y="513143"/>
                      </a:lnTo>
                      <a:lnTo>
                        <a:pt x="242686" y="534272"/>
                      </a:lnTo>
                      <a:lnTo>
                        <a:pt x="245101" y="537894"/>
                      </a:lnTo>
                      <a:lnTo>
                        <a:pt x="245705" y="548157"/>
                      </a:lnTo>
                      <a:lnTo>
                        <a:pt x="246308" y="555401"/>
                      </a:lnTo>
                      <a:lnTo>
                        <a:pt x="258986" y="577738"/>
                      </a:lnTo>
                      <a:lnTo>
                        <a:pt x="262608" y="583775"/>
                      </a:lnTo>
                      <a:lnTo>
                        <a:pt x="275286" y="586794"/>
                      </a:lnTo>
                      <a:lnTo>
                        <a:pt x="289171" y="588001"/>
                      </a:lnTo>
                      <a:lnTo>
                        <a:pt x="293397" y="587397"/>
                      </a:lnTo>
                      <a:lnTo>
                        <a:pt x="319960" y="574116"/>
                      </a:lnTo>
                      <a:lnTo>
                        <a:pt x="330826" y="569890"/>
                      </a:lnTo>
                      <a:lnTo>
                        <a:pt x="348937" y="561438"/>
                      </a:lnTo>
                      <a:lnTo>
                        <a:pt x="356181" y="559023"/>
                      </a:lnTo>
                      <a:lnTo>
                        <a:pt x="368859" y="554798"/>
                      </a:lnTo>
                      <a:lnTo>
                        <a:pt x="391196" y="549968"/>
                      </a:lnTo>
                      <a:lnTo>
                        <a:pt x="397233" y="549364"/>
                      </a:lnTo>
                      <a:lnTo>
                        <a:pt x="422588" y="549364"/>
                      </a:lnTo>
                      <a:lnTo>
                        <a:pt x="434058" y="548157"/>
                      </a:lnTo>
                      <a:lnTo>
                        <a:pt x="448547" y="548157"/>
                      </a:lnTo>
                      <a:lnTo>
                        <a:pt x="456999" y="545139"/>
                      </a:lnTo>
                      <a:lnTo>
                        <a:pt x="470884" y="538498"/>
                      </a:lnTo>
                      <a:lnTo>
                        <a:pt x="489598" y="531254"/>
                      </a:lnTo>
                      <a:lnTo>
                        <a:pt x="498050" y="527631"/>
                      </a:lnTo>
                      <a:lnTo>
                        <a:pt x="501069" y="511935"/>
                      </a:lnTo>
                      <a:lnTo>
                        <a:pt x="501069" y="506502"/>
                      </a:lnTo>
                      <a:lnTo>
                        <a:pt x="504691" y="488995"/>
                      </a:lnTo>
                      <a:lnTo>
                        <a:pt x="511935" y="479336"/>
                      </a:lnTo>
                      <a:lnTo>
                        <a:pt x="517972" y="469676"/>
                      </a:lnTo>
                      <a:lnTo>
                        <a:pt x="522802" y="464847"/>
                      </a:lnTo>
                      <a:lnTo>
                        <a:pt x="545139" y="446736"/>
                      </a:lnTo>
                      <a:lnTo>
                        <a:pt x="551176" y="438888"/>
                      </a:lnTo>
                      <a:lnTo>
                        <a:pt x="557213" y="434058"/>
                      </a:lnTo>
                      <a:lnTo>
                        <a:pt x="562042" y="424399"/>
                      </a:lnTo>
                      <a:lnTo>
                        <a:pt x="581360" y="362218"/>
                      </a:lnTo>
                      <a:lnTo>
                        <a:pt x="586190" y="353766"/>
                      </a:lnTo>
                      <a:lnTo>
                        <a:pt x="598264" y="338674"/>
                      </a:lnTo>
                      <a:lnTo>
                        <a:pt x="601886" y="335656"/>
                      </a:lnTo>
                      <a:lnTo>
                        <a:pt x="610942" y="332033"/>
                      </a:lnTo>
                      <a:lnTo>
                        <a:pt x="626034" y="323582"/>
                      </a:lnTo>
                      <a:lnTo>
                        <a:pt x="640523" y="314526"/>
                      </a:lnTo>
                      <a:lnTo>
                        <a:pt x="653200" y="306074"/>
                      </a:lnTo>
                      <a:lnTo>
                        <a:pt x="671915" y="295208"/>
                      </a:lnTo>
                      <a:lnTo>
                        <a:pt x="710552" y="278304"/>
                      </a:lnTo>
                      <a:lnTo>
                        <a:pt x="713570" y="275890"/>
                      </a:lnTo>
                      <a:lnTo>
                        <a:pt x="725040" y="248119"/>
                      </a:lnTo>
                      <a:lnTo>
                        <a:pt x="741340" y="228197"/>
                      </a:lnTo>
                      <a:lnTo>
                        <a:pt x="753414" y="205257"/>
                      </a:lnTo>
                      <a:lnTo>
                        <a:pt x="764884" y="181713"/>
                      </a:lnTo>
                      <a:lnTo>
                        <a:pt x="766695" y="178694"/>
                      </a:lnTo>
                      <a:lnTo>
                        <a:pt x="770921" y="169639"/>
                      </a:lnTo>
                      <a:lnTo>
                        <a:pt x="781184" y="151528"/>
                      </a:lnTo>
                      <a:lnTo>
                        <a:pt x="786617" y="133417"/>
                      </a:lnTo>
                      <a:lnTo>
                        <a:pt x="789636" y="120739"/>
                      </a:lnTo>
                      <a:lnTo>
                        <a:pt x="795069" y="101421"/>
                      </a:lnTo>
                      <a:lnTo>
                        <a:pt x="799295" y="85121"/>
                      </a:lnTo>
                      <a:lnTo>
                        <a:pt x="800503" y="81499"/>
                      </a:lnTo>
                      <a:lnTo>
                        <a:pt x="804728" y="63992"/>
                      </a:lnTo>
                      <a:lnTo>
                        <a:pt x="805936" y="60973"/>
                      </a:lnTo>
                      <a:lnTo>
                        <a:pt x="810162" y="58559"/>
                      </a:lnTo>
                      <a:lnTo>
                        <a:pt x="851213" y="41051"/>
                      </a:lnTo>
                      <a:lnTo>
                        <a:pt x="859665" y="38637"/>
                      </a:lnTo>
                      <a:lnTo>
                        <a:pt x="871135" y="35014"/>
                      </a:lnTo>
                      <a:lnTo>
                        <a:pt x="880794" y="32600"/>
                      </a:lnTo>
                      <a:lnTo>
                        <a:pt x="888642" y="29581"/>
                      </a:lnTo>
                      <a:lnTo>
                        <a:pt x="897698" y="20526"/>
                      </a:lnTo>
                      <a:lnTo>
                        <a:pt x="915809" y="6037"/>
                      </a:lnTo>
                      <a:lnTo>
                        <a:pt x="922449" y="1811"/>
                      </a:lnTo>
                      <a:lnTo>
                        <a:pt x="924260" y="0"/>
                      </a:lnTo>
                      <a:lnTo>
                        <a:pt x="923053" y="12074"/>
                      </a:lnTo>
                      <a:lnTo>
                        <a:pt x="923657" y="15696"/>
                      </a:lnTo>
                      <a:lnTo>
                        <a:pt x="914601" y="30185"/>
                      </a:lnTo>
                      <a:lnTo>
                        <a:pt x="910375" y="33203"/>
                      </a:lnTo>
                      <a:lnTo>
                        <a:pt x="906753" y="47088"/>
                      </a:lnTo>
                      <a:lnTo>
                        <a:pt x="909168" y="53125"/>
                      </a:lnTo>
                      <a:lnTo>
                        <a:pt x="917620" y="53125"/>
                      </a:lnTo>
                      <a:lnTo>
                        <a:pt x="945390" y="53729"/>
                      </a:lnTo>
                      <a:lnTo>
                        <a:pt x="983423" y="56748"/>
                      </a:lnTo>
                      <a:lnTo>
                        <a:pt x="991271" y="56748"/>
                      </a:lnTo>
                      <a:lnTo>
                        <a:pt x="1014815" y="58559"/>
                      </a:lnTo>
                      <a:lnTo>
                        <a:pt x="1019645" y="58559"/>
                      </a:lnTo>
                      <a:lnTo>
                        <a:pt x="1027493" y="59162"/>
                      </a:lnTo>
                      <a:lnTo>
                        <a:pt x="1038359" y="59766"/>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09" name="Sikkim" descr="{&quot;Key&quot;:&quot;sikkim&quot;,&quot;Name&quot;:&quot;Sikkim&quot;,&quot;Value&quot;:1.0,&quot;Formula&quot;:&quot;&quot;,&quot;Text&quot;:&quot;&quot;,&quot;OfficeApplication&quot;:1,&quot;HasValue&quot;:true}">
                  <a:extLst>
                    <a:ext uri="{FF2B5EF4-FFF2-40B4-BE49-F238E27FC236}">
                      <a16:creationId xmlns:a16="http://schemas.microsoft.com/office/drawing/2014/main" id="{ADB5568F-A65C-4171-AC9A-24AC18704297}"/>
                    </a:ext>
                  </a:extLst>
                </p:cNvPr>
                <p:cNvSpPr/>
                <p:nvPr/>
              </p:nvSpPr>
              <p:spPr>
                <a:xfrm>
                  <a:off x="7171788" y="2199872"/>
                  <a:ext cx="181109" cy="241479"/>
                </a:xfrm>
                <a:custGeom>
                  <a:avLst/>
                  <a:gdLst>
                    <a:gd name="connsiteX0" fmla="*/ 151528 w 181109"/>
                    <a:gd name="connsiteY0" fmla="*/ 228801 h 241478"/>
                    <a:gd name="connsiteX1" fmla="*/ 147302 w 181109"/>
                    <a:gd name="connsiteY1" fmla="*/ 231216 h 241478"/>
                    <a:gd name="connsiteX2" fmla="*/ 144283 w 181109"/>
                    <a:gd name="connsiteY2" fmla="*/ 229405 h 241478"/>
                    <a:gd name="connsiteX3" fmla="*/ 143076 w 181109"/>
                    <a:gd name="connsiteY3" fmla="*/ 224575 h 241478"/>
                    <a:gd name="connsiteX4" fmla="*/ 137643 w 181109"/>
                    <a:gd name="connsiteY4" fmla="*/ 221557 h 241478"/>
                    <a:gd name="connsiteX5" fmla="*/ 132209 w 181109"/>
                    <a:gd name="connsiteY5" fmla="*/ 225179 h 241478"/>
                    <a:gd name="connsiteX6" fmla="*/ 127984 w 181109"/>
                    <a:gd name="connsiteY6" fmla="*/ 223972 h 241478"/>
                    <a:gd name="connsiteX7" fmla="*/ 123758 w 181109"/>
                    <a:gd name="connsiteY7" fmla="*/ 219746 h 241478"/>
                    <a:gd name="connsiteX8" fmla="*/ 118325 w 181109"/>
                    <a:gd name="connsiteY8" fmla="*/ 217935 h 241478"/>
                    <a:gd name="connsiteX9" fmla="*/ 108062 w 181109"/>
                    <a:gd name="connsiteY9" fmla="*/ 220349 h 241478"/>
                    <a:gd name="connsiteX10" fmla="*/ 103836 w 181109"/>
                    <a:gd name="connsiteY10" fmla="*/ 222764 h 241478"/>
                    <a:gd name="connsiteX11" fmla="*/ 103836 w 181109"/>
                    <a:gd name="connsiteY11" fmla="*/ 228198 h 241478"/>
                    <a:gd name="connsiteX12" fmla="*/ 98403 w 181109"/>
                    <a:gd name="connsiteY12" fmla="*/ 234235 h 241478"/>
                    <a:gd name="connsiteX13" fmla="*/ 92366 w 181109"/>
                    <a:gd name="connsiteY13" fmla="*/ 236649 h 241478"/>
                    <a:gd name="connsiteX14" fmla="*/ 89951 w 181109"/>
                    <a:gd name="connsiteY14" fmla="*/ 242083 h 241478"/>
                    <a:gd name="connsiteX15" fmla="*/ 85121 w 181109"/>
                    <a:gd name="connsiteY15" fmla="*/ 243894 h 241478"/>
                    <a:gd name="connsiteX16" fmla="*/ 80895 w 181109"/>
                    <a:gd name="connsiteY16" fmla="*/ 242083 h 241478"/>
                    <a:gd name="connsiteX17" fmla="*/ 72444 w 181109"/>
                    <a:gd name="connsiteY17" fmla="*/ 240272 h 241478"/>
                    <a:gd name="connsiteX18" fmla="*/ 68821 w 181109"/>
                    <a:gd name="connsiteY18" fmla="*/ 239668 h 241478"/>
                    <a:gd name="connsiteX19" fmla="*/ 67614 w 181109"/>
                    <a:gd name="connsiteY19" fmla="*/ 238460 h 241478"/>
                    <a:gd name="connsiteX20" fmla="*/ 62784 w 181109"/>
                    <a:gd name="connsiteY20" fmla="*/ 238460 h 241478"/>
                    <a:gd name="connsiteX21" fmla="*/ 62181 w 181109"/>
                    <a:gd name="connsiteY21" fmla="*/ 236046 h 241478"/>
                    <a:gd name="connsiteX22" fmla="*/ 59162 w 181109"/>
                    <a:gd name="connsiteY22" fmla="*/ 233027 h 241478"/>
                    <a:gd name="connsiteX23" fmla="*/ 57955 w 181109"/>
                    <a:gd name="connsiteY23" fmla="*/ 233631 h 241478"/>
                    <a:gd name="connsiteX24" fmla="*/ 53729 w 181109"/>
                    <a:gd name="connsiteY24" fmla="*/ 232423 h 241478"/>
                    <a:gd name="connsiteX25" fmla="*/ 44070 w 181109"/>
                    <a:gd name="connsiteY25" fmla="*/ 235442 h 241478"/>
                    <a:gd name="connsiteX26" fmla="*/ 40448 w 181109"/>
                    <a:gd name="connsiteY26" fmla="*/ 231820 h 241478"/>
                    <a:gd name="connsiteX27" fmla="*/ 33203 w 181109"/>
                    <a:gd name="connsiteY27" fmla="*/ 231820 h 241478"/>
                    <a:gd name="connsiteX28" fmla="*/ 28977 w 181109"/>
                    <a:gd name="connsiteY28" fmla="*/ 236649 h 241478"/>
                    <a:gd name="connsiteX29" fmla="*/ 24751 w 181109"/>
                    <a:gd name="connsiteY29" fmla="*/ 236046 h 241478"/>
                    <a:gd name="connsiteX30" fmla="*/ 13885 w 181109"/>
                    <a:gd name="connsiteY30" fmla="*/ 230009 h 241478"/>
                    <a:gd name="connsiteX31" fmla="*/ 13281 w 181109"/>
                    <a:gd name="connsiteY31" fmla="*/ 224575 h 241478"/>
                    <a:gd name="connsiteX32" fmla="*/ 10263 w 181109"/>
                    <a:gd name="connsiteY32" fmla="*/ 219142 h 241478"/>
                    <a:gd name="connsiteX33" fmla="*/ 12074 w 181109"/>
                    <a:gd name="connsiteY33" fmla="*/ 216727 h 241478"/>
                    <a:gd name="connsiteX34" fmla="*/ 8452 w 181109"/>
                    <a:gd name="connsiteY34" fmla="*/ 213709 h 241478"/>
                    <a:gd name="connsiteX35" fmla="*/ 3018 w 181109"/>
                    <a:gd name="connsiteY35" fmla="*/ 211898 h 241478"/>
                    <a:gd name="connsiteX36" fmla="*/ 0 w 181109"/>
                    <a:gd name="connsiteY36" fmla="*/ 212501 h 241478"/>
                    <a:gd name="connsiteX37" fmla="*/ 3018 w 181109"/>
                    <a:gd name="connsiteY37" fmla="*/ 205257 h 241478"/>
                    <a:gd name="connsiteX38" fmla="*/ 3622 w 181109"/>
                    <a:gd name="connsiteY38" fmla="*/ 196805 h 241478"/>
                    <a:gd name="connsiteX39" fmla="*/ 7848 w 181109"/>
                    <a:gd name="connsiteY39" fmla="*/ 187750 h 241478"/>
                    <a:gd name="connsiteX40" fmla="*/ 10866 w 181109"/>
                    <a:gd name="connsiteY40" fmla="*/ 185335 h 241478"/>
                    <a:gd name="connsiteX41" fmla="*/ 8452 w 181109"/>
                    <a:gd name="connsiteY41" fmla="*/ 180505 h 241478"/>
                    <a:gd name="connsiteX42" fmla="*/ 5433 w 181109"/>
                    <a:gd name="connsiteY42" fmla="*/ 176883 h 241478"/>
                    <a:gd name="connsiteX43" fmla="*/ 7244 w 181109"/>
                    <a:gd name="connsiteY43" fmla="*/ 167224 h 241478"/>
                    <a:gd name="connsiteX44" fmla="*/ 13281 w 181109"/>
                    <a:gd name="connsiteY44" fmla="*/ 162998 h 241478"/>
                    <a:gd name="connsiteX45" fmla="*/ 8452 w 181109"/>
                    <a:gd name="connsiteY45" fmla="*/ 154547 h 241478"/>
                    <a:gd name="connsiteX46" fmla="*/ 6037 w 181109"/>
                    <a:gd name="connsiteY46" fmla="*/ 152132 h 241478"/>
                    <a:gd name="connsiteX47" fmla="*/ 6641 w 181109"/>
                    <a:gd name="connsiteY47" fmla="*/ 146699 h 241478"/>
                    <a:gd name="connsiteX48" fmla="*/ 9659 w 181109"/>
                    <a:gd name="connsiteY48" fmla="*/ 144284 h 241478"/>
                    <a:gd name="connsiteX49" fmla="*/ 9659 w 181109"/>
                    <a:gd name="connsiteY49" fmla="*/ 137643 h 241478"/>
                    <a:gd name="connsiteX50" fmla="*/ 12074 w 181109"/>
                    <a:gd name="connsiteY50" fmla="*/ 130399 h 241478"/>
                    <a:gd name="connsiteX51" fmla="*/ 15696 w 181109"/>
                    <a:gd name="connsiteY51" fmla="*/ 124362 h 241478"/>
                    <a:gd name="connsiteX52" fmla="*/ 20525 w 181109"/>
                    <a:gd name="connsiteY52" fmla="*/ 121343 h 241478"/>
                    <a:gd name="connsiteX53" fmla="*/ 21733 w 181109"/>
                    <a:gd name="connsiteY53" fmla="*/ 113495 h 241478"/>
                    <a:gd name="connsiteX54" fmla="*/ 26562 w 181109"/>
                    <a:gd name="connsiteY54" fmla="*/ 108665 h 241478"/>
                    <a:gd name="connsiteX55" fmla="*/ 28977 w 181109"/>
                    <a:gd name="connsiteY55" fmla="*/ 102629 h 241478"/>
                    <a:gd name="connsiteX56" fmla="*/ 27166 w 181109"/>
                    <a:gd name="connsiteY56" fmla="*/ 100214 h 241478"/>
                    <a:gd name="connsiteX57" fmla="*/ 29581 w 181109"/>
                    <a:gd name="connsiteY57" fmla="*/ 91158 h 241478"/>
                    <a:gd name="connsiteX58" fmla="*/ 33807 w 181109"/>
                    <a:gd name="connsiteY58" fmla="*/ 89347 h 241478"/>
                    <a:gd name="connsiteX59" fmla="*/ 34411 w 181109"/>
                    <a:gd name="connsiteY59" fmla="*/ 83310 h 241478"/>
                    <a:gd name="connsiteX60" fmla="*/ 37429 w 181109"/>
                    <a:gd name="connsiteY60" fmla="*/ 79688 h 241478"/>
                    <a:gd name="connsiteX61" fmla="*/ 35014 w 181109"/>
                    <a:gd name="connsiteY61" fmla="*/ 74858 h 241478"/>
                    <a:gd name="connsiteX62" fmla="*/ 35618 w 181109"/>
                    <a:gd name="connsiteY62" fmla="*/ 71236 h 241478"/>
                    <a:gd name="connsiteX63" fmla="*/ 38636 w 181109"/>
                    <a:gd name="connsiteY63" fmla="*/ 68821 h 241478"/>
                    <a:gd name="connsiteX64" fmla="*/ 37429 w 181109"/>
                    <a:gd name="connsiteY64" fmla="*/ 64596 h 241478"/>
                    <a:gd name="connsiteX65" fmla="*/ 33807 w 181109"/>
                    <a:gd name="connsiteY65" fmla="*/ 63992 h 241478"/>
                    <a:gd name="connsiteX66" fmla="*/ 27770 w 181109"/>
                    <a:gd name="connsiteY66" fmla="*/ 59162 h 241478"/>
                    <a:gd name="connsiteX67" fmla="*/ 22940 w 181109"/>
                    <a:gd name="connsiteY67" fmla="*/ 57955 h 241478"/>
                    <a:gd name="connsiteX68" fmla="*/ 19922 w 181109"/>
                    <a:gd name="connsiteY68" fmla="*/ 51314 h 241478"/>
                    <a:gd name="connsiteX69" fmla="*/ 22940 w 181109"/>
                    <a:gd name="connsiteY69" fmla="*/ 44674 h 241478"/>
                    <a:gd name="connsiteX70" fmla="*/ 21733 w 181109"/>
                    <a:gd name="connsiteY70" fmla="*/ 42259 h 241478"/>
                    <a:gd name="connsiteX71" fmla="*/ 24751 w 181109"/>
                    <a:gd name="connsiteY71" fmla="*/ 39240 h 241478"/>
                    <a:gd name="connsiteX72" fmla="*/ 31996 w 181109"/>
                    <a:gd name="connsiteY72" fmla="*/ 43466 h 241478"/>
                    <a:gd name="connsiteX73" fmla="*/ 36222 w 181109"/>
                    <a:gd name="connsiteY73" fmla="*/ 42863 h 241478"/>
                    <a:gd name="connsiteX74" fmla="*/ 38033 w 181109"/>
                    <a:gd name="connsiteY74" fmla="*/ 38637 h 241478"/>
                    <a:gd name="connsiteX75" fmla="*/ 44070 w 181109"/>
                    <a:gd name="connsiteY75" fmla="*/ 38637 h 241478"/>
                    <a:gd name="connsiteX76" fmla="*/ 46485 w 181109"/>
                    <a:gd name="connsiteY76" fmla="*/ 42863 h 241478"/>
                    <a:gd name="connsiteX77" fmla="*/ 52522 w 181109"/>
                    <a:gd name="connsiteY77" fmla="*/ 40448 h 241478"/>
                    <a:gd name="connsiteX78" fmla="*/ 54333 w 181109"/>
                    <a:gd name="connsiteY78" fmla="*/ 38033 h 241478"/>
                    <a:gd name="connsiteX79" fmla="*/ 59162 w 181109"/>
                    <a:gd name="connsiteY79" fmla="*/ 37429 h 241478"/>
                    <a:gd name="connsiteX80" fmla="*/ 65803 w 181109"/>
                    <a:gd name="connsiteY80" fmla="*/ 33203 h 241478"/>
                    <a:gd name="connsiteX81" fmla="*/ 71236 w 181109"/>
                    <a:gd name="connsiteY81" fmla="*/ 33203 h 241478"/>
                    <a:gd name="connsiteX82" fmla="*/ 76670 w 181109"/>
                    <a:gd name="connsiteY82" fmla="*/ 35618 h 241478"/>
                    <a:gd name="connsiteX83" fmla="*/ 79084 w 181109"/>
                    <a:gd name="connsiteY83" fmla="*/ 34411 h 241478"/>
                    <a:gd name="connsiteX84" fmla="*/ 84518 w 181109"/>
                    <a:gd name="connsiteY84" fmla="*/ 28978 h 241478"/>
                    <a:gd name="connsiteX85" fmla="*/ 91762 w 181109"/>
                    <a:gd name="connsiteY85" fmla="*/ 25959 h 241478"/>
                    <a:gd name="connsiteX86" fmla="*/ 95384 w 181109"/>
                    <a:gd name="connsiteY86" fmla="*/ 19922 h 241478"/>
                    <a:gd name="connsiteX87" fmla="*/ 99610 w 181109"/>
                    <a:gd name="connsiteY87" fmla="*/ 19318 h 241478"/>
                    <a:gd name="connsiteX88" fmla="*/ 106251 w 181109"/>
                    <a:gd name="connsiteY88" fmla="*/ 21733 h 241478"/>
                    <a:gd name="connsiteX89" fmla="*/ 109873 w 181109"/>
                    <a:gd name="connsiteY89" fmla="*/ 15092 h 241478"/>
                    <a:gd name="connsiteX90" fmla="*/ 110477 w 181109"/>
                    <a:gd name="connsiteY90" fmla="*/ 10867 h 241478"/>
                    <a:gd name="connsiteX91" fmla="*/ 114702 w 181109"/>
                    <a:gd name="connsiteY91" fmla="*/ 10867 h 241478"/>
                    <a:gd name="connsiteX92" fmla="*/ 123154 w 181109"/>
                    <a:gd name="connsiteY92" fmla="*/ 6641 h 241478"/>
                    <a:gd name="connsiteX93" fmla="*/ 121343 w 181109"/>
                    <a:gd name="connsiteY93" fmla="*/ 604 h 241478"/>
                    <a:gd name="connsiteX94" fmla="*/ 124361 w 181109"/>
                    <a:gd name="connsiteY94" fmla="*/ 0 h 241478"/>
                    <a:gd name="connsiteX95" fmla="*/ 127984 w 181109"/>
                    <a:gd name="connsiteY95" fmla="*/ 6037 h 241478"/>
                    <a:gd name="connsiteX96" fmla="*/ 134021 w 181109"/>
                    <a:gd name="connsiteY96" fmla="*/ 13281 h 241478"/>
                    <a:gd name="connsiteX97" fmla="*/ 137643 w 181109"/>
                    <a:gd name="connsiteY97" fmla="*/ 12074 h 241478"/>
                    <a:gd name="connsiteX98" fmla="*/ 150924 w 181109"/>
                    <a:gd name="connsiteY98" fmla="*/ 13281 h 241478"/>
                    <a:gd name="connsiteX99" fmla="*/ 157565 w 181109"/>
                    <a:gd name="connsiteY99" fmla="*/ 18715 h 241478"/>
                    <a:gd name="connsiteX100" fmla="*/ 161187 w 181109"/>
                    <a:gd name="connsiteY100" fmla="*/ 23544 h 241478"/>
                    <a:gd name="connsiteX101" fmla="*/ 167224 w 181109"/>
                    <a:gd name="connsiteY101" fmla="*/ 27166 h 241478"/>
                    <a:gd name="connsiteX102" fmla="*/ 169639 w 181109"/>
                    <a:gd name="connsiteY102" fmla="*/ 32600 h 241478"/>
                    <a:gd name="connsiteX103" fmla="*/ 168431 w 181109"/>
                    <a:gd name="connsiteY103" fmla="*/ 46485 h 241478"/>
                    <a:gd name="connsiteX104" fmla="*/ 173261 w 181109"/>
                    <a:gd name="connsiteY104" fmla="*/ 48296 h 241478"/>
                    <a:gd name="connsiteX105" fmla="*/ 177487 w 181109"/>
                    <a:gd name="connsiteY105" fmla="*/ 54936 h 241478"/>
                    <a:gd name="connsiteX106" fmla="*/ 178091 w 181109"/>
                    <a:gd name="connsiteY106" fmla="*/ 68218 h 241478"/>
                    <a:gd name="connsiteX107" fmla="*/ 172657 w 181109"/>
                    <a:gd name="connsiteY107" fmla="*/ 73047 h 241478"/>
                    <a:gd name="connsiteX108" fmla="*/ 172054 w 181109"/>
                    <a:gd name="connsiteY108" fmla="*/ 82103 h 241478"/>
                    <a:gd name="connsiteX109" fmla="*/ 173865 w 181109"/>
                    <a:gd name="connsiteY109" fmla="*/ 91158 h 241478"/>
                    <a:gd name="connsiteX110" fmla="*/ 170846 w 181109"/>
                    <a:gd name="connsiteY110" fmla="*/ 100214 h 241478"/>
                    <a:gd name="connsiteX111" fmla="*/ 170846 w 181109"/>
                    <a:gd name="connsiteY111" fmla="*/ 108062 h 241478"/>
                    <a:gd name="connsiteX112" fmla="*/ 166017 w 181109"/>
                    <a:gd name="connsiteY112" fmla="*/ 114099 h 241478"/>
                    <a:gd name="connsiteX113" fmla="*/ 162998 w 181109"/>
                    <a:gd name="connsiteY113" fmla="*/ 114099 h 241478"/>
                    <a:gd name="connsiteX114" fmla="*/ 162394 w 181109"/>
                    <a:gd name="connsiteY114" fmla="*/ 123154 h 241478"/>
                    <a:gd name="connsiteX115" fmla="*/ 158169 w 181109"/>
                    <a:gd name="connsiteY115" fmla="*/ 129191 h 241478"/>
                    <a:gd name="connsiteX116" fmla="*/ 154546 w 181109"/>
                    <a:gd name="connsiteY116" fmla="*/ 132210 h 241478"/>
                    <a:gd name="connsiteX117" fmla="*/ 156357 w 181109"/>
                    <a:gd name="connsiteY117" fmla="*/ 138247 h 241478"/>
                    <a:gd name="connsiteX118" fmla="*/ 158772 w 181109"/>
                    <a:gd name="connsiteY118" fmla="*/ 140662 h 241478"/>
                    <a:gd name="connsiteX119" fmla="*/ 157565 w 181109"/>
                    <a:gd name="connsiteY119" fmla="*/ 147906 h 241478"/>
                    <a:gd name="connsiteX120" fmla="*/ 157565 w 181109"/>
                    <a:gd name="connsiteY120" fmla="*/ 157565 h 241478"/>
                    <a:gd name="connsiteX121" fmla="*/ 159980 w 181109"/>
                    <a:gd name="connsiteY121" fmla="*/ 159376 h 241478"/>
                    <a:gd name="connsiteX122" fmla="*/ 162998 w 181109"/>
                    <a:gd name="connsiteY122" fmla="*/ 169035 h 241478"/>
                    <a:gd name="connsiteX123" fmla="*/ 169035 w 181109"/>
                    <a:gd name="connsiteY123" fmla="*/ 175072 h 241478"/>
                    <a:gd name="connsiteX124" fmla="*/ 172657 w 181109"/>
                    <a:gd name="connsiteY124" fmla="*/ 173261 h 241478"/>
                    <a:gd name="connsiteX125" fmla="*/ 175072 w 181109"/>
                    <a:gd name="connsiteY125" fmla="*/ 177487 h 241478"/>
                    <a:gd name="connsiteX126" fmla="*/ 177487 w 181109"/>
                    <a:gd name="connsiteY126" fmla="*/ 178694 h 241478"/>
                    <a:gd name="connsiteX127" fmla="*/ 179902 w 181109"/>
                    <a:gd name="connsiteY127" fmla="*/ 185335 h 241478"/>
                    <a:gd name="connsiteX128" fmla="*/ 186542 w 181109"/>
                    <a:gd name="connsiteY128" fmla="*/ 187146 h 241478"/>
                    <a:gd name="connsiteX129" fmla="*/ 183524 w 181109"/>
                    <a:gd name="connsiteY129" fmla="*/ 191976 h 241478"/>
                    <a:gd name="connsiteX130" fmla="*/ 181713 w 181109"/>
                    <a:gd name="connsiteY130" fmla="*/ 199220 h 241478"/>
                    <a:gd name="connsiteX131" fmla="*/ 176280 w 181109"/>
                    <a:gd name="connsiteY131" fmla="*/ 202842 h 241478"/>
                    <a:gd name="connsiteX132" fmla="*/ 168431 w 181109"/>
                    <a:gd name="connsiteY132" fmla="*/ 202239 h 241478"/>
                    <a:gd name="connsiteX133" fmla="*/ 161187 w 181109"/>
                    <a:gd name="connsiteY133" fmla="*/ 205861 h 241478"/>
                    <a:gd name="connsiteX134" fmla="*/ 161187 w 181109"/>
                    <a:gd name="connsiteY134" fmla="*/ 211898 h 241478"/>
                    <a:gd name="connsiteX135" fmla="*/ 158169 w 181109"/>
                    <a:gd name="connsiteY135" fmla="*/ 220953 h 241478"/>
                    <a:gd name="connsiteX136" fmla="*/ 152735 w 181109"/>
                    <a:gd name="connsiteY136" fmla="*/ 223368 h 241478"/>
                    <a:gd name="connsiteX137" fmla="*/ 151528 w 181109"/>
                    <a:gd name="connsiteY137" fmla="*/ 228801 h 24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81109" h="241478">
                      <a:moveTo>
                        <a:pt x="151528" y="228801"/>
                      </a:moveTo>
                      <a:lnTo>
                        <a:pt x="147302" y="231216"/>
                      </a:lnTo>
                      <a:lnTo>
                        <a:pt x="144283" y="229405"/>
                      </a:lnTo>
                      <a:lnTo>
                        <a:pt x="143076" y="224575"/>
                      </a:lnTo>
                      <a:lnTo>
                        <a:pt x="137643" y="221557"/>
                      </a:lnTo>
                      <a:lnTo>
                        <a:pt x="132209" y="225179"/>
                      </a:lnTo>
                      <a:lnTo>
                        <a:pt x="127984" y="223972"/>
                      </a:lnTo>
                      <a:lnTo>
                        <a:pt x="123758" y="219746"/>
                      </a:lnTo>
                      <a:lnTo>
                        <a:pt x="118325" y="217935"/>
                      </a:lnTo>
                      <a:lnTo>
                        <a:pt x="108062" y="220349"/>
                      </a:lnTo>
                      <a:lnTo>
                        <a:pt x="103836" y="222764"/>
                      </a:lnTo>
                      <a:lnTo>
                        <a:pt x="103836" y="228198"/>
                      </a:lnTo>
                      <a:lnTo>
                        <a:pt x="98403" y="234235"/>
                      </a:lnTo>
                      <a:lnTo>
                        <a:pt x="92366" y="236649"/>
                      </a:lnTo>
                      <a:lnTo>
                        <a:pt x="89951" y="242083"/>
                      </a:lnTo>
                      <a:lnTo>
                        <a:pt x="85121" y="243894"/>
                      </a:lnTo>
                      <a:lnTo>
                        <a:pt x="80895" y="242083"/>
                      </a:lnTo>
                      <a:lnTo>
                        <a:pt x="72444" y="240272"/>
                      </a:lnTo>
                      <a:lnTo>
                        <a:pt x="68821" y="239668"/>
                      </a:lnTo>
                      <a:lnTo>
                        <a:pt x="67614" y="238460"/>
                      </a:lnTo>
                      <a:lnTo>
                        <a:pt x="62784" y="238460"/>
                      </a:lnTo>
                      <a:lnTo>
                        <a:pt x="62181" y="236046"/>
                      </a:lnTo>
                      <a:lnTo>
                        <a:pt x="59162" y="233027"/>
                      </a:lnTo>
                      <a:lnTo>
                        <a:pt x="57955" y="233631"/>
                      </a:lnTo>
                      <a:lnTo>
                        <a:pt x="53729" y="232423"/>
                      </a:lnTo>
                      <a:lnTo>
                        <a:pt x="44070" y="235442"/>
                      </a:lnTo>
                      <a:lnTo>
                        <a:pt x="40448" y="231820"/>
                      </a:lnTo>
                      <a:lnTo>
                        <a:pt x="33203" y="231820"/>
                      </a:lnTo>
                      <a:lnTo>
                        <a:pt x="28977" y="236649"/>
                      </a:lnTo>
                      <a:lnTo>
                        <a:pt x="24751" y="236046"/>
                      </a:lnTo>
                      <a:lnTo>
                        <a:pt x="13885" y="230009"/>
                      </a:lnTo>
                      <a:lnTo>
                        <a:pt x="13281" y="224575"/>
                      </a:lnTo>
                      <a:lnTo>
                        <a:pt x="10263" y="219142"/>
                      </a:lnTo>
                      <a:lnTo>
                        <a:pt x="12074" y="216727"/>
                      </a:lnTo>
                      <a:lnTo>
                        <a:pt x="8452" y="213709"/>
                      </a:lnTo>
                      <a:lnTo>
                        <a:pt x="3018" y="211898"/>
                      </a:lnTo>
                      <a:lnTo>
                        <a:pt x="0" y="212501"/>
                      </a:lnTo>
                      <a:lnTo>
                        <a:pt x="3018" y="205257"/>
                      </a:lnTo>
                      <a:lnTo>
                        <a:pt x="3622" y="196805"/>
                      </a:lnTo>
                      <a:lnTo>
                        <a:pt x="7848" y="187750"/>
                      </a:lnTo>
                      <a:lnTo>
                        <a:pt x="10866" y="185335"/>
                      </a:lnTo>
                      <a:lnTo>
                        <a:pt x="8452" y="180505"/>
                      </a:lnTo>
                      <a:lnTo>
                        <a:pt x="5433" y="176883"/>
                      </a:lnTo>
                      <a:lnTo>
                        <a:pt x="7244" y="167224"/>
                      </a:lnTo>
                      <a:lnTo>
                        <a:pt x="13281" y="162998"/>
                      </a:lnTo>
                      <a:lnTo>
                        <a:pt x="8452" y="154547"/>
                      </a:lnTo>
                      <a:lnTo>
                        <a:pt x="6037" y="152132"/>
                      </a:lnTo>
                      <a:lnTo>
                        <a:pt x="6641" y="146699"/>
                      </a:lnTo>
                      <a:lnTo>
                        <a:pt x="9659" y="144284"/>
                      </a:lnTo>
                      <a:lnTo>
                        <a:pt x="9659" y="137643"/>
                      </a:lnTo>
                      <a:lnTo>
                        <a:pt x="12074" y="130399"/>
                      </a:lnTo>
                      <a:lnTo>
                        <a:pt x="15696" y="124362"/>
                      </a:lnTo>
                      <a:lnTo>
                        <a:pt x="20525" y="121343"/>
                      </a:lnTo>
                      <a:lnTo>
                        <a:pt x="21733" y="113495"/>
                      </a:lnTo>
                      <a:lnTo>
                        <a:pt x="26562" y="108665"/>
                      </a:lnTo>
                      <a:lnTo>
                        <a:pt x="28977" y="102629"/>
                      </a:lnTo>
                      <a:lnTo>
                        <a:pt x="27166" y="100214"/>
                      </a:lnTo>
                      <a:lnTo>
                        <a:pt x="29581" y="91158"/>
                      </a:lnTo>
                      <a:lnTo>
                        <a:pt x="33807" y="89347"/>
                      </a:lnTo>
                      <a:lnTo>
                        <a:pt x="34411" y="83310"/>
                      </a:lnTo>
                      <a:lnTo>
                        <a:pt x="37429" y="79688"/>
                      </a:lnTo>
                      <a:lnTo>
                        <a:pt x="35014" y="74858"/>
                      </a:lnTo>
                      <a:lnTo>
                        <a:pt x="35618" y="71236"/>
                      </a:lnTo>
                      <a:lnTo>
                        <a:pt x="38636" y="68821"/>
                      </a:lnTo>
                      <a:lnTo>
                        <a:pt x="37429" y="64596"/>
                      </a:lnTo>
                      <a:lnTo>
                        <a:pt x="33807" y="63992"/>
                      </a:lnTo>
                      <a:lnTo>
                        <a:pt x="27770" y="59162"/>
                      </a:lnTo>
                      <a:lnTo>
                        <a:pt x="22940" y="57955"/>
                      </a:lnTo>
                      <a:lnTo>
                        <a:pt x="19922" y="51314"/>
                      </a:lnTo>
                      <a:lnTo>
                        <a:pt x="22940" y="44674"/>
                      </a:lnTo>
                      <a:lnTo>
                        <a:pt x="21733" y="42259"/>
                      </a:lnTo>
                      <a:lnTo>
                        <a:pt x="24751" y="39240"/>
                      </a:lnTo>
                      <a:lnTo>
                        <a:pt x="31996" y="43466"/>
                      </a:lnTo>
                      <a:lnTo>
                        <a:pt x="36222" y="42863"/>
                      </a:lnTo>
                      <a:lnTo>
                        <a:pt x="38033" y="38637"/>
                      </a:lnTo>
                      <a:lnTo>
                        <a:pt x="44070" y="38637"/>
                      </a:lnTo>
                      <a:lnTo>
                        <a:pt x="46485" y="42863"/>
                      </a:lnTo>
                      <a:lnTo>
                        <a:pt x="52522" y="40448"/>
                      </a:lnTo>
                      <a:lnTo>
                        <a:pt x="54333" y="38033"/>
                      </a:lnTo>
                      <a:lnTo>
                        <a:pt x="59162" y="37429"/>
                      </a:lnTo>
                      <a:lnTo>
                        <a:pt x="65803" y="33203"/>
                      </a:lnTo>
                      <a:lnTo>
                        <a:pt x="71236" y="33203"/>
                      </a:lnTo>
                      <a:lnTo>
                        <a:pt x="76670" y="35618"/>
                      </a:lnTo>
                      <a:lnTo>
                        <a:pt x="79084" y="34411"/>
                      </a:lnTo>
                      <a:lnTo>
                        <a:pt x="84518" y="28978"/>
                      </a:lnTo>
                      <a:lnTo>
                        <a:pt x="91762" y="25959"/>
                      </a:lnTo>
                      <a:lnTo>
                        <a:pt x="95384" y="19922"/>
                      </a:lnTo>
                      <a:lnTo>
                        <a:pt x="99610" y="19318"/>
                      </a:lnTo>
                      <a:lnTo>
                        <a:pt x="106251" y="21733"/>
                      </a:lnTo>
                      <a:lnTo>
                        <a:pt x="109873" y="15092"/>
                      </a:lnTo>
                      <a:lnTo>
                        <a:pt x="110477" y="10867"/>
                      </a:lnTo>
                      <a:lnTo>
                        <a:pt x="114702" y="10867"/>
                      </a:lnTo>
                      <a:lnTo>
                        <a:pt x="123154" y="6641"/>
                      </a:lnTo>
                      <a:lnTo>
                        <a:pt x="121343" y="604"/>
                      </a:lnTo>
                      <a:lnTo>
                        <a:pt x="124361" y="0"/>
                      </a:lnTo>
                      <a:lnTo>
                        <a:pt x="127984" y="6037"/>
                      </a:lnTo>
                      <a:lnTo>
                        <a:pt x="134021" y="13281"/>
                      </a:lnTo>
                      <a:lnTo>
                        <a:pt x="137643" y="12074"/>
                      </a:lnTo>
                      <a:lnTo>
                        <a:pt x="150924" y="13281"/>
                      </a:lnTo>
                      <a:lnTo>
                        <a:pt x="157565" y="18715"/>
                      </a:lnTo>
                      <a:lnTo>
                        <a:pt x="161187" y="23544"/>
                      </a:lnTo>
                      <a:lnTo>
                        <a:pt x="167224" y="27166"/>
                      </a:lnTo>
                      <a:lnTo>
                        <a:pt x="169639" y="32600"/>
                      </a:lnTo>
                      <a:lnTo>
                        <a:pt x="168431" y="46485"/>
                      </a:lnTo>
                      <a:lnTo>
                        <a:pt x="173261" y="48296"/>
                      </a:lnTo>
                      <a:lnTo>
                        <a:pt x="177487" y="54936"/>
                      </a:lnTo>
                      <a:lnTo>
                        <a:pt x="178091" y="68218"/>
                      </a:lnTo>
                      <a:lnTo>
                        <a:pt x="172657" y="73047"/>
                      </a:lnTo>
                      <a:lnTo>
                        <a:pt x="172054" y="82103"/>
                      </a:lnTo>
                      <a:lnTo>
                        <a:pt x="173865" y="91158"/>
                      </a:lnTo>
                      <a:lnTo>
                        <a:pt x="170846" y="100214"/>
                      </a:lnTo>
                      <a:lnTo>
                        <a:pt x="170846" y="108062"/>
                      </a:lnTo>
                      <a:lnTo>
                        <a:pt x="166017" y="114099"/>
                      </a:lnTo>
                      <a:lnTo>
                        <a:pt x="162998" y="114099"/>
                      </a:lnTo>
                      <a:lnTo>
                        <a:pt x="162394" y="123154"/>
                      </a:lnTo>
                      <a:lnTo>
                        <a:pt x="158169" y="129191"/>
                      </a:lnTo>
                      <a:lnTo>
                        <a:pt x="154546" y="132210"/>
                      </a:lnTo>
                      <a:lnTo>
                        <a:pt x="156357" y="138247"/>
                      </a:lnTo>
                      <a:lnTo>
                        <a:pt x="158772" y="140662"/>
                      </a:lnTo>
                      <a:lnTo>
                        <a:pt x="157565" y="147906"/>
                      </a:lnTo>
                      <a:lnTo>
                        <a:pt x="157565" y="157565"/>
                      </a:lnTo>
                      <a:lnTo>
                        <a:pt x="159980" y="159376"/>
                      </a:lnTo>
                      <a:lnTo>
                        <a:pt x="162998" y="169035"/>
                      </a:lnTo>
                      <a:lnTo>
                        <a:pt x="169035" y="175072"/>
                      </a:lnTo>
                      <a:lnTo>
                        <a:pt x="172657" y="173261"/>
                      </a:lnTo>
                      <a:lnTo>
                        <a:pt x="175072" y="177487"/>
                      </a:lnTo>
                      <a:lnTo>
                        <a:pt x="177487" y="178694"/>
                      </a:lnTo>
                      <a:lnTo>
                        <a:pt x="179902" y="185335"/>
                      </a:lnTo>
                      <a:lnTo>
                        <a:pt x="186542" y="187146"/>
                      </a:lnTo>
                      <a:lnTo>
                        <a:pt x="183524" y="191976"/>
                      </a:lnTo>
                      <a:lnTo>
                        <a:pt x="181713" y="199220"/>
                      </a:lnTo>
                      <a:lnTo>
                        <a:pt x="176280" y="202842"/>
                      </a:lnTo>
                      <a:lnTo>
                        <a:pt x="168431" y="202239"/>
                      </a:lnTo>
                      <a:lnTo>
                        <a:pt x="161187" y="205861"/>
                      </a:lnTo>
                      <a:lnTo>
                        <a:pt x="161187" y="211898"/>
                      </a:lnTo>
                      <a:lnTo>
                        <a:pt x="158169" y="220953"/>
                      </a:lnTo>
                      <a:lnTo>
                        <a:pt x="152735" y="223368"/>
                      </a:lnTo>
                      <a:lnTo>
                        <a:pt x="151528" y="228801"/>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10" name="Tamil Nadu" descr="{&quot;Key&quot;:&quot;tamil nadu&quot;,&quot;Name&quot;:&quot;Tamil Nadu&quot;,&quot;Value&quot;:1.0,&quot;Formula&quot;:&quot;&quot;,&quot;Text&quot;:&quot;&quot;,&quot;OfficeApplication&quot;:1,&quot;HasValue&quot;:true}">
                  <a:extLst>
                    <a:ext uri="{FF2B5EF4-FFF2-40B4-BE49-F238E27FC236}">
                      <a16:creationId xmlns:a16="http://schemas.microsoft.com/office/drawing/2014/main" id="{D62EDFFD-A55D-4469-AEF3-764B54A2EE3D}"/>
                    </a:ext>
                  </a:extLst>
                </p:cNvPr>
                <p:cNvSpPr/>
                <p:nvPr/>
              </p:nvSpPr>
              <p:spPr>
                <a:xfrm>
                  <a:off x="4740700" y="5430256"/>
                  <a:ext cx="845176" cy="1140988"/>
                </a:xfrm>
                <a:custGeom>
                  <a:avLst/>
                  <a:gdLst>
                    <a:gd name="connsiteX0" fmla="*/ 636297 w 845176"/>
                    <a:gd name="connsiteY0" fmla="*/ 885624 h 1140987"/>
                    <a:gd name="connsiteX1" fmla="*/ 641127 w 845176"/>
                    <a:gd name="connsiteY1" fmla="*/ 889246 h 1140987"/>
                    <a:gd name="connsiteX2" fmla="*/ 636901 w 845176"/>
                    <a:gd name="connsiteY2" fmla="*/ 894679 h 1140987"/>
                    <a:gd name="connsiteX3" fmla="*/ 639315 w 845176"/>
                    <a:gd name="connsiteY3" fmla="*/ 900112 h 1140987"/>
                    <a:gd name="connsiteX4" fmla="*/ 648975 w 845176"/>
                    <a:gd name="connsiteY4" fmla="*/ 908564 h 1140987"/>
                    <a:gd name="connsiteX5" fmla="*/ 648371 w 845176"/>
                    <a:gd name="connsiteY5" fmla="*/ 911583 h 1140987"/>
                    <a:gd name="connsiteX6" fmla="*/ 638108 w 845176"/>
                    <a:gd name="connsiteY6" fmla="*/ 904942 h 1140987"/>
                    <a:gd name="connsiteX7" fmla="*/ 629053 w 845176"/>
                    <a:gd name="connsiteY7" fmla="*/ 901320 h 1140987"/>
                    <a:gd name="connsiteX8" fmla="*/ 617582 w 845176"/>
                    <a:gd name="connsiteY8" fmla="*/ 898302 h 1140987"/>
                    <a:gd name="connsiteX9" fmla="*/ 613960 w 845176"/>
                    <a:gd name="connsiteY9" fmla="*/ 895887 h 1140987"/>
                    <a:gd name="connsiteX10" fmla="*/ 617582 w 845176"/>
                    <a:gd name="connsiteY10" fmla="*/ 893472 h 1140987"/>
                    <a:gd name="connsiteX11" fmla="*/ 627241 w 845176"/>
                    <a:gd name="connsiteY11" fmla="*/ 892868 h 1140987"/>
                    <a:gd name="connsiteX12" fmla="*/ 631467 w 845176"/>
                    <a:gd name="connsiteY12" fmla="*/ 887435 h 1140987"/>
                    <a:gd name="connsiteX13" fmla="*/ 636297 w 845176"/>
                    <a:gd name="connsiteY13" fmla="*/ 885624 h 1140987"/>
                    <a:gd name="connsiteX14" fmla="*/ 842761 w 845176"/>
                    <a:gd name="connsiteY14" fmla="*/ 23544 h 1140987"/>
                    <a:gd name="connsiteX15" fmla="*/ 845780 w 845176"/>
                    <a:gd name="connsiteY15" fmla="*/ 22940 h 1140987"/>
                    <a:gd name="connsiteX16" fmla="*/ 845780 w 845176"/>
                    <a:gd name="connsiteY16" fmla="*/ 28977 h 1140987"/>
                    <a:gd name="connsiteX17" fmla="*/ 849402 w 845176"/>
                    <a:gd name="connsiteY17" fmla="*/ 44674 h 1140987"/>
                    <a:gd name="connsiteX18" fmla="*/ 849402 w 845176"/>
                    <a:gd name="connsiteY18" fmla="*/ 51314 h 1140987"/>
                    <a:gd name="connsiteX19" fmla="*/ 847591 w 845176"/>
                    <a:gd name="connsiteY19" fmla="*/ 60370 h 1140987"/>
                    <a:gd name="connsiteX20" fmla="*/ 842158 w 845176"/>
                    <a:gd name="connsiteY20" fmla="*/ 79688 h 1140987"/>
                    <a:gd name="connsiteX21" fmla="*/ 839743 w 845176"/>
                    <a:gd name="connsiteY21" fmla="*/ 83914 h 1140987"/>
                    <a:gd name="connsiteX22" fmla="*/ 840950 w 845176"/>
                    <a:gd name="connsiteY22" fmla="*/ 94177 h 1140987"/>
                    <a:gd name="connsiteX23" fmla="*/ 836121 w 845176"/>
                    <a:gd name="connsiteY23" fmla="*/ 102025 h 1140987"/>
                    <a:gd name="connsiteX24" fmla="*/ 835517 w 845176"/>
                    <a:gd name="connsiteY24" fmla="*/ 108665 h 1140987"/>
                    <a:gd name="connsiteX25" fmla="*/ 831291 w 845176"/>
                    <a:gd name="connsiteY25" fmla="*/ 127984 h 1140987"/>
                    <a:gd name="connsiteX26" fmla="*/ 829480 w 845176"/>
                    <a:gd name="connsiteY26" fmla="*/ 143680 h 1140987"/>
                    <a:gd name="connsiteX27" fmla="*/ 828876 w 845176"/>
                    <a:gd name="connsiteY27" fmla="*/ 155150 h 1140987"/>
                    <a:gd name="connsiteX28" fmla="*/ 830687 w 845176"/>
                    <a:gd name="connsiteY28" fmla="*/ 160583 h 1140987"/>
                    <a:gd name="connsiteX29" fmla="*/ 821632 w 845176"/>
                    <a:gd name="connsiteY29" fmla="*/ 185939 h 1140987"/>
                    <a:gd name="connsiteX30" fmla="*/ 819217 w 845176"/>
                    <a:gd name="connsiteY30" fmla="*/ 195598 h 1140987"/>
                    <a:gd name="connsiteX31" fmla="*/ 811973 w 845176"/>
                    <a:gd name="connsiteY31" fmla="*/ 214313 h 1140987"/>
                    <a:gd name="connsiteX32" fmla="*/ 810765 w 845176"/>
                    <a:gd name="connsiteY32" fmla="*/ 225783 h 1140987"/>
                    <a:gd name="connsiteX33" fmla="*/ 808954 w 845176"/>
                    <a:gd name="connsiteY33" fmla="*/ 228801 h 1140987"/>
                    <a:gd name="connsiteX34" fmla="*/ 802314 w 845176"/>
                    <a:gd name="connsiteY34" fmla="*/ 239668 h 1140987"/>
                    <a:gd name="connsiteX35" fmla="*/ 792654 w 845176"/>
                    <a:gd name="connsiteY35" fmla="*/ 250534 h 1140987"/>
                    <a:gd name="connsiteX36" fmla="*/ 787221 w 845176"/>
                    <a:gd name="connsiteY36" fmla="*/ 248119 h 1140987"/>
                    <a:gd name="connsiteX37" fmla="*/ 786014 w 845176"/>
                    <a:gd name="connsiteY37" fmla="*/ 250534 h 1140987"/>
                    <a:gd name="connsiteX38" fmla="*/ 789032 w 845176"/>
                    <a:gd name="connsiteY38" fmla="*/ 254156 h 1140987"/>
                    <a:gd name="connsiteX39" fmla="*/ 781788 w 845176"/>
                    <a:gd name="connsiteY39" fmla="*/ 267438 h 1140987"/>
                    <a:gd name="connsiteX40" fmla="*/ 780580 w 845176"/>
                    <a:gd name="connsiteY40" fmla="*/ 269853 h 1140987"/>
                    <a:gd name="connsiteX41" fmla="*/ 775147 w 845176"/>
                    <a:gd name="connsiteY41" fmla="*/ 272267 h 1140987"/>
                    <a:gd name="connsiteX42" fmla="*/ 775751 w 845176"/>
                    <a:gd name="connsiteY42" fmla="*/ 277701 h 1140987"/>
                    <a:gd name="connsiteX43" fmla="*/ 763677 w 845176"/>
                    <a:gd name="connsiteY43" fmla="*/ 295812 h 1140987"/>
                    <a:gd name="connsiteX44" fmla="*/ 754018 w 845176"/>
                    <a:gd name="connsiteY44" fmla="*/ 311508 h 1140987"/>
                    <a:gd name="connsiteX45" fmla="*/ 746774 w 845176"/>
                    <a:gd name="connsiteY45" fmla="*/ 329619 h 1140987"/>
                    <a:gd name="connsiteX46" fmla="*/ 744359 w 845176"/>
                    <a:gd name="connsiteY46" fmla="*/ 337467 h 1140987"/>
                    <a:gd name="connsiteX47" fmla="*/ 741944 w 845176"/>
                    <a:gd name="connsiteY47" fmla="*/ 337467 h 1140987"/>
                    <a:gd name="connsiteX48" fmla="*/ 738322 w 845176"/>
                    <a:gd name="connsiteY48" fmla="*/ 336259 h 1140987"/>
                    <a:gd name="connsiteX49" fmla="*/ 737718 w 845176"/>
                    <a:gd name="connsiteY49" fmla="*/ 332637 h 1140987"/>
                    <a:gd name="connsiteX50" fmla="*/ 736511 w 845176"/>
                    <a:gd name="connsiteY50" fmla="*/ 332637 h 1140987"/>
                    <a:gd name="connsiteX51" fmla="*/ 735303 w 845176"/>
                    <a:gd name="connsiteY51" fmla="*/ 334448 h 1140987"/>
                    <a:gd name="connsiteX52" fmla="*/ 734700 w 845176"/>
                    <a:gd name="connsiteY52" fmla="*/ 337467 h 1140987"/>
                    <a:gd name="connsiteX53" fmla="*/ 731681 w 845176"/>
                    <a:gd name="connsiteY53" fmla="*/ 336259 h 1140987"/>
                    <a:gd name="connsiteX54" fmla="*/ 731077 w 845176"/>
                    <a:gd name="connsiteY54" fmla="*/ 336259 h 1140987"/>
                    <a:gd name="connsiteX55" fmla="*/ 730474 w 845176"/>
                    <a:gd name="connsiteY55" fmla="*/ 337467 h 1140987"/>
                    <a:gd name="connsiteX56" fmla="*/ 729266 w 845176"/>
                    <a:gd name="connsiteY56" fmla="*/ 338674 h 1140987"/>
                    <a:gd name="connsiteX57" fmla="*/ 726248 w 845176"/>
                    <a:gd name="connsiteY57" fmla="*/ 342900 h 1140987"/>
                    <a:gd name="connsiteX58" fmla="*/ 724437 w 845176"/>
                    <a:gd name="connsiteY58" fmla="*/ 344711 h 1140987"/>
                    <a:gd name="connsiteX59" fmla="*/ 723229 w 845176"/>
                    <a:gd name="connsiteY59" fmla="*/ 336259 h 1140987"/>
                    <a:gd name="connsiteX60" fmla="*/ 719003 w 845176"/>
                    <a:gd name="connsiteY60" fmla="*/ 334448 h 1140987"/>
                    <a:gd name="connsiteX61" fmla="*/ 719607 w 845176"/>
                    <a:gd name="connsiteY61" fmla="*/ 332033 h 1140987"/>
                    <a:gd name="connsiteX62" fmla="*/ 719607 w 845176"/>
                    <a:gd name="connsiteY62" fmla="*/ 331430 h 1140987"/>
                    <a:gd name="connsiteX63" fmla="*/ 722022 w 845176"/>
                    <a:gd name="connsiteY63" fmla="*/ 333241 h 1140987"/>
                    <a:gd name="connsiteX64" fmla="*/ 725644 w 845176"/>
                    <a:gd name="connsiteY64" fmla="*/ 331430 h 1140987"/>
                    <a:gd name="connsiteX65" fmla="*/ 726851 w 845176"/>
                    <a:gd name="connsiteY65" fmla="*/ 330222 h 1140987"/>
                    <a:gd name="connsiteX66" fmla="*/ 722022 w 845176"/>
                    <a:gd name="connsiteY66" fmla="*/ 327808 h 1140987"/>
                    <a:gd name="connsiteX67" fmla="*/ 721418 w 845176"/>
                    <a:gd name="connsiteY67" fmla="*/ 329619 h 1140987"/>
                    <a:gd name="connsiteX68" fmla="*/ 719607 w 845176"/>
                    <a:gd name="connsiteY68" fmla="*/ 330222 h 1140987"/>
                    <a:gd name="connsiteX69" fmla="*/ 717192 w 845176"/>
                    <a:gd name="connsiteY69" fmla="*/ 329619 h 1140987"/>
                    <a:gd name="connsiteX70" fmla="*/ 714174 w 845176"/>
                    <a:gd name="connsiteY70" fmla="*/ 325996 h 1140987"/>
                    <a:gd name="connsiteX71" fmla="*/ 714174 w 845176"/>
                    <a:gd name="connsiteY71" fmla="*/ 321167 h 1140987"/>
                    <a:gd name="connsiteX72" fmla="*/ 709948 w 845176"/>
                    <a:gd name="connsiteY72" fmla="*/ 323582 h 1140987"/>
                    <a:gd name="connsiteX73" fmla="*/ 707533 w 845176"/>
                    <a:gd name="connsiteY73" fmla="*/ 325996 h 1140987"/>
                    <a:gd name="connsiteX74" fmla="*/ 706326 w 845176"/>
                    <a:gd name="connsiteY74" fmla="*/ 325393 h 1140987"/>
                    <a:gd name="connsiteX75" fmla="*/ 705118 w 845176"/>
                    <a:gd name="connsiteY75" fmla="*/ 326600 h 1140987"/>
                    <a:gd name="connsiteX76" fmla="*/ 704515 w 845176"/>
                    <a:gd name="connsiteY76" fmla="*/ 330222 h 1140987"/>
                    <a:gd name="connsiteX77" fmla="*/ 715381 w 845176"/>
                    <a:gd name="connsiteY77" fmla="*/ 330222 h 1140987"/>
                    <a:gd name="connsiteX78" fmla="*/ 716589 w 845176"/>
                    <a:gd name="connsiteY78" fmla="*/ 335052 h 1140987"/>
                    <a:gd name="connsiteX79" fmla="*/ 712966 w 845176"/>
                    <a:gd name="connsiteY79" fmla="*/ 336259 h 1140987"/>
                    <a:gd name="connsiteX80" fmla="*/ 712966 w 845176"/>
                    <a:gd name="connsiteY80" fmla="*/ 340485 h 1140987"/>
                    <a:gd name="connsiteX81" fmla="*/ 717192 w 845176"/>
                    <a:gd name="connsiteY81" fmla="*/ 339881 h 1140987"/>
                    <a:gd name="connsiteX82" fmla="*/ 717192 w 845176"/>
                    <a:gd name="connsiteY82" fmla="*/ 343504 h 1140987"/>
                    <a:gd name="connsiteX83" fmla="*/ 721418 w 845176"/>
                    <a:gd name="connsiteY83" fmla="*/ 347729 h 1140987"/>
                    <a:gd name="connsiteX84" fmla="*/ 714777 w 845176"/>
                    <a:gd name="connsiteY84" fmla="*/ 356181 h 1140987"/>
                    <a:gd name="connsiteX85" fmla="*/ 722626 w 845176"/>
                    <a:gd name="connsiteY85" fmla="*/ 357389 h 1140987"/>
                    <a:gd name="connsiteX86" fmla="*/ 727455 w 845176"/>
                    <a:gd name="connsiteY86" fmla="*/ 354974 h 1140987"/>
                    <a:gd name="connsiteX87" fmla="*/ 729870 w 845176"/>
                    <a:gd name="connsiteY87" fmla="*/ 358596 h 1140987"/>
                    <a:gd name="connsiteX88" fmla="*/ 734096 w 845176"/>
                    <a:gd name="connsiteY88" fmla="*/ 359200 h 1140987"/>
                    <a:gd name="connsiteX89" fmla="*/ 737114 w 845176"/>
                    <a:gd name="connsiteY89" fmla="*/ 365237 h 1140987"/>
                    <a:gd name="connsiteX90" fmla="*/ 735303 w 845176"/>
                    <a:gd name="connsiteY90" fmla="*/ 374292 h 1140987"/>
                    <a:gd name="connsiteX91" fmla="*/ 732285 w 845176"/>
                    <a:gd name="connsiteY91" fmla="*/ 386366 h 1140987"/>
                    <a:gd name="connsiteX92" fmla="*/ 728663 w 845176"/>
                    <a:gd name="connsiteY92" fmla="*/ 405081 h 1140987"/>
                    <a:gd name="connsiteX93" fmla="*/ 728059 w 845176"/>
                    <a:gd name="connsiteY93" fmla="*/ 412929 h 1140987"/>
                    <a:gd name="connsiteX94" fmla="*/ 728663 w 845176"/>
                    <a:gd name="connsiteY94" fmla="*/ 422588 h 1140987"/>
                    <a:gd name="connsiteX95" fmla="*/ 734096 w 845176"/>
                    <a:gd name="connsiteY95" fmla="*/ 435266 h 1140987"/>
                    <a:gd name="connsiteX96" fmla="*/ 736511 w 845176"/>
                    <a:gd name="connsiteY96" fmla="*/ 438284 h 1140987"/>
                    <a:gd name="connsiteX97" fmla="*/ 739529 w 845176"/>
                    <a:gd name="connsiteY97" fmla="*/ 447943 h 1140987"/>
                    <a:gd name="connsiteX98" fmla="*/ 743151 w 845176"/>
                    <a:gd name="connsiteY98" fmla="*/ 461225 h 1140987"/>
                    <a:gd name="connsiteX99" fmla="*/ 744962 w 845176"/>
                    <a:gd name="connsiteY99" fmla="*/ 461225 h 1140987"/>
                    <a:gd name="connsiteX100" fmla="*/ 744962 w 845176"/>
                    <a:gd name="connsiteY100" fmla="*/ 475713 h 1140987"/>
                    <a:gd name="connsiteX101" fmla="*/ 746774 w 845176"/>
                    <a:gd name="connsiteY101" fmla="*/ 486580 h 1140987"/>
                    <a:gd name="connsiteX102" fmla="*/ 749188 w 845176"/>
                    <a:gd name="connsiteY102" fmla="*/ 505898 h 1140987"/>
                    <a:gd name="connsiteX103" fmla="*/ 747981 w 845176"/>
                    <a:gd name="connsiteY103" fmla="*/ 540309 h 1140987"/>
                    <a:gd name="connsiteX104" fmla="*/ 747377 w 845176"/>
                    <a:gd name="connsiteY104" fmla="*/ 540913 h 1140987"/>
                    <a:gd name="connsiteX105" fmla="*/ 744359 w 845176"/>
                    <a:gd name="connsiteY105" fmla="*/ 540309 h 1140987"/>
                    <a:gd name="connsiteX106" fmla="*/ 743755 w 845176"/>
                    <a:gd name="connsiteY106" fmla="*/ 540309 h 1140987"/>
                    <a:gd name="connsiteX107" fmla="*/ 741944 w 845176"/>
                    <a:gd name="connsiteY107" fmla="*/ 538498 h 1140987"/>
                    <a:gd name="connsiteX108" fmla="*/ 738925 w 845176"/>
                    <a:gd name="connsiteY108" fmla="*/ 539102 h 1140987"/>
                    <a:gd name="connsiteX109" fmla="*/ 737114 w 845176"/>
                    <a:gd name="connsiteY109" fmla="*/ 538498 h 1140987"/>
                    <a:gd name="connsiteX110" fmla="*/ 735907 w 845176"/>
                    <a:gd name="connsiteY110" fmla="*/ 539102 h 1140987"/>
                    <a:gd name="connsiteX111" fmla="*/ 734700 w 845176"/>
                    <a:gd name="connsiteY111" fmla="*/ 540913 h 1140987"/>
                    <a:gd name="connsiteX112" fmla="*/ 731681 w 845176"/>
                    <a:gd name="connsiteY112" fmla="*/ 540309 h 1140987"/>
                    <a:gd name="connsiteX113" fmla="*/ 728663 w 845176"/>
                    <a:gd name="connsiteY113" fmla="*/ 539705 h 1140987"/>
                    <a:gd name="connsiteX114" fmla="*/ 725040 w 845176"/>
                    <a:gd name="connsiteY114" fmla="*/ 538498 h 1140987"/>
                    <a:gd name="connsiteX115" fmla="*/ 722626 w 845176"/>
                    <a:gd name="connsiteY115" fmla="*/ 538498 h 1140987"/>
                    <a:gd name="connsiteX116" fmla="*/ 722626 w 845176"/>
                    <a:gd name="connsiteY116" fmla="*/ 540913 h 1140987"/>
                    <a:gd name="connsiteX117" fmla="*/ 723833 w 845176"/>
                    <a:gd name="connsiteY117" fmla="*/ 542120 h 1140987"/>
                    <a:gd name="connsiteX118" fmla="*/ 724437 w 845176"/>
                    <a:gd name="connsiteY118" fmla="*/ 542724 h 1140987"/>
                    <a:gd name="connsiteX119" fmla="*/ 724437 w 845176"/>
                    <a:gd name="connsiteY119" fmla="*/ 543327 h 1140987"/>
                    <a:gd name="connsiteX120" fmla="*/ 724437 w 845176"/>
                    <a:gd name="connsiteY120" fmla="*/ 544535 h 1140987"/>
                    <a:gd name="connsiteX121" fmla="*/ 725644 w 845176"/>
                    <a:gd name="connsiteY121" fmla="*/ 546346 h 1140987"/>
                    <a:gd name="connsiteX122" fmla="*/ 724437 w 845176"/>
                    <a:gd name="connsiteY122" fmla="*/ 547553 h 1140987"/>
                    <a:gd name="connsiteX123" fmla="*/ 721418 w 845176"/>
                    <a:gd name="connsiteY123" fmla="*/ 545742 h 1140987"/>
                    <a:gd name="connsiteX124" fmla="*/ 719607 w 845176"/>
                    <a:gd name="connsiteY124" fmla="*/ 545139 h 1140987"/>
                    <a:gd name="connsiteX125" fmla="*/ 717192 w 845176"/>
                    <a:gd name="connsiteY125" fmla="*/ 546346 h 1140987"/>
                    <a:gd name="connsiteX126" fmla="*/ 719607 w 845176"/>
                    <a:gd name="connsiteY126" fmla="*/ 548761 h 1140987"/>
                    <a:gd name="connsiteX127" fmla="*/ 720814 w 845176"/>
                    <a:gd name="connsiteY127" fmla="*/ 549364 h 1140987"/>
                    <a:gd name="connsiteX128" fmla="*/ 717796 w 845176"/>
                    <a:gd name="connsiteY128" fmla="*/ 551779 h 1140987"/>
                    <a:gd name="connsiteX129" fmla="*/ 717192 w 845176"/>
                    <a:gd name="connsiteY129" fmla="*/ 552383 h 1140987"/>
                    <a:gd name="connsiteX130" fmla="*/ 718400 w 845176"/>
                    <a:gd name="connsiteY130" fmla="*/ 552383 h 1140987"/>
                    <a:gd name="connsiteX131" fmla="*/ 717796 w 845176"/>
                    <a:gd name="connsiteY131" fmla="*/ 553590 h 1140987"/>
                    <a:gd name="connsiteX132" fmla="*/ 720211 w 845176"/>
                    <a:gd name="connsiteY132" fmla="*/ 554194 h 1140987"/>
                    <a:gd name="connsiteX133" fmla="*/ 720211 w 845176"/>
                    <a:gd name="connsiteY133" fmla="*/ 555401 h 1140987"/>
                    <a:gd name="connsiteX134" fmla="*/ 721418 w 845176"/>
                    <a:gd name="connsiteY134" fmla="*/ 554798 h 1140987"/>
                    <a:gd name="connsiteX135" fmla="*/ 722022 w 845176"/>
                    <a:gd name="connsiteY135" fmla="*/ 556005 h 1140987"/>
                    <a:gd name="connsiteX136" fmla="*/ 725040 w 845176"/>
                    <a:gd name="connsiteY136" fmla="*/ 556609 h 1140987"/>
                    <a:gd name="connsiteX137" fmla="*/ 726248 w 845176"/>
                    <a:gd name="connsiteY137" fmla="*/ 557816 h 1140987"/>
                    <a:gd name="connsiteX138" fmla="*/ 727455 w 845176"/>
                    <a:gd name="connsiteY138" fmla="*/ 559627 h 1140987"/>
                    <a:gd name="connsiteX139" fmla="*/ 728663 w 845176"/>
                    <a:gd name="connsiteY139" fmla="*/ 560231 h 1140987"/>
                    <a:gd name="connsiteX140" fmla="*/ 731077 w 845176"/>
                    <a:gd name="connsiteY140" fmla="*/ 559023 h 1140987"/>
                    <a:gd name="connsiteX141" fmla="*/ 731681 w 845176"/>
                    <a:gd name="connsiteY141" fmla="*/ 560231 h 1140987"/>
                    <a:gd name="connsiteX142" fmla="*/ 730474 w 845176"/>
                    <a:gd name="connsiteY142" fmla="*/ 561438 h 1140987"/>
                    <a:gd name="connsiteX143" fmla="*/ 731681 w 845176"/>
                    <a:gd name="connsiteY143" fmla="*/ 561438 h 1140987"/>
                    <a:gd name="connsiteX144" fmla="*/ 733492 w 845176"/>
                    <a:gd name="connsiteY144" fmla="*/ 562042 h 1140987"/>
                    <a:gd name="connsiteX145" fmla="*/ 734700 w 845176"/>
                    <a:gd name="connsiteY145" fmla="*/ 564457 h 1140987"/>
                    <a:gd name="connsiteX146" fmla="*/ 738322 w 845176"/>
                    <a:gd name="connsiteY146" fmla="*/ 566268 h 1140987"/>
                    <a:gd name="connsiteX147" fmla="*/ 735303 w 845176"/>
                    <a:gd name="connsiteY147" fmla="*/ 567475 h 1140987"/>
                    <a:gd name="connsiteX148" fmla="*/ 735303 w 845176"/>
                    <a:gd name="connsiteY148" fmla="*/ 569286 h 1140987"/>
                    <a:gd name="connsiteX149" fmla="*/ 737718 w 845176"/>
                    <a:gd name="connsiteY149" fmla="*/ 570494 h 1140987"/>
                    <a:gd name="connsiteX150" fmla="*/ 738322 w 845176"/>
                    <a:gd name="connsiteY150" fmla="*/ 571097 h 1140987"/>
                    <a:gd name="connsiteX151" fmla="*/ 739529 w 845176"/>
                    <a:gd name="connsiteY151" fmla="*/ 571701 h 1140987"/>
                    <a:gd name="connsiteX152" fmla="*/ 739529 w 845176"/>
                    <a:gd name="connsiteY152" fmla="*/ 573512 h 1140987"/>
                    <a:gd name="connsiteX153" fmla="*/ 739529 w 845176"/>
                    <a:gd name="connsiteY153" fmla="*/ 574720 h 1140987"/>
                    <a:gd name="connsiteX154" fmla="*/ 744359 w 845176"/>
                    <a:gd name="connsiteY154" fmla="*/ 575323 h 1140987"/>
                    <a:gd name="connsiteX155" fmla="*/ 747377 w 845176"/>
                    <a:gd name="connsiteY155" fmla="*/ 574720 h 1140987"/>
                    <a:gd name="connsiteX156" fmla="*/ 747377 w 845176"/>
                    <a:gd name="connsiteY156" fmla="*/ 585586 h 1140987"/>
                    <a:gd name="connsiteX157" fmla="*/ 748585 w 845176"/>
                    <a:gd name="connsiteY157" fmla="*/ 622412 h 1140987"/>
                    <a:gd name="connsiteX158" fmla="*/ 749188 w 845176"/>
                    <a:gd name="connsiteY158" fmla="*/ 629656 h 1140987"/>
                    <a:gd name="connsiteX159" fmla="*/ 750396 w 845176"/>
                    <a:gd name="connsiteY159" fmla="*/ 658030 h 1140987"/>
                    <a:gd name="connsiteX160" fmla="*/ 751603 w 845176"/>
                    <a:gd name="connsiteY160" fmla="*/ 668293 h 1140987"/>
                    <a:gd name="connsiteX161" fmla="*/ 754018 w 845176"/>
                    <a:gd name="connsiteY161" fmla="*/ 680970 h 1140987"/>
                    <a:gd name="connsiteX162" fmla="*/ 750396 w 845176"/>
                    <a:gd name="connsiteY162" fmla="*/ 685196 h 1140987"/>
                    <a:gd name="connsiteX163" fmla="*/ 744359 w 845176"/>
                    <a:gd name="connsiteY163" fmla="*/ 687611 h 1140987"/>
                    <a:gd name="connsiteX164" fmla="*/ 735907 w 845176"/>
                    <a:gd name="connsiteY164" fmla="*/ 688215 h 1140987"/>
                    <a:gd name="connsiteX165" fmla="*/ 725040 w 845176"/>
                    <a:gd name="connsiteY165" fmla="*/ 687611 h 1140987"/>
                    <a:gd name="connsiteX166" fmla="*/ 729266 w 845176"/>
                    <a:gd name="connsiteY166" fmla="*/ 682178 h 1140987"/>
                    <a:gd name="connsiteX167" fmla="*/ 728663 w 845176"/>
                    <a:gd name="connsiteY167" fmla="*/ 679763 h 1140987"/>
                    <a:gd name="connsiteX168" fmla="*/ 722626 w 845176"/>
                    <a:gd name="connsiteY168" fmla="*/ 680367 h 1140987"/>
                    <a:gd name="connsiteX169" fmla="*/ 720814 w 845176"/>
                    <a:gd name="connsiteY169" fmla="*/ 678556 h 1140987"/>
                    <a:gd name="connsiteX170" fmla="*/ 713570 w 845176"/>
                    <a:gd name="connsiteY170" fmla="*/ 677348 h 1140987"/>
                    <a:gd name="connsiteX171" fmla="*/ 705118 w 845176"/>
                    <a:gd name="connsiteY171" fmla="*/ 677952 h 1140987"/>
                    <a:gd name="connsiteX172" fmla="*/ 701496 w 845176"/>
                    <a:gd name="connsiteY172" fmla="*/ 673122 h 1140987"/>
                    <a:gd name="connsiteX173" fmla="*/ 698478 w 845176"/>
                    <a:gd name="connsiteY173" fmla="*/ 678556 h 1140987"/>
                    <a:gd name="connsiteX174" fmla="*/ 691837 w 845176"/>
                    <a:gd name="connsiteY174" fmla="*/ 681574 h 1140987"/>
                    <a:gd name="connsiteX175" fmla="*/ 709344 w 845176"/>
                    <a:gd name="connsiteY175" fmla="*/ 684593 h 1140987"/>
                    <a:gd name="connsiteX176" fmla="*/ 712966 w 845176"/>
                    <a:gd name="connsiteY176" fmla="*/ 684593 h 1140987"/>
                    <a:gd name="connsiteX177" fmla="*/ 722022 w 845176"/>
                    <a:gd name="connsiteY177" fmla="*/ 686404 h 1140987"/>
                    <a:gd name="connsiteX178" fmla="*/ 722022 w 845176"/>
                    <a:gd name="connsiteY178" fmla="*/ 687611 h 1140987"/>
                    <a:gd name="connsiteX179" fmla="*/ 680367 w 845176"/>
                    <a:gd name="connsiteY179" fmla="*/ 680970 h 1140987"/>
                    <a:gd name="connsiteX180" fmla="*/ 685196 w 845176"/>
                    <a:gd name="connsiteY180" fmla="*/ 679159 h 1140987"/>
                    <a:gd name="connsiteX181" fmla="*/ 687611 w 845176"/>
                    <a:gd name="connsiteY181" fmla="*/ 675537 h 1140987"/>
                    <a:gd name="connsiteX182" fmla="*/ 693044 w 845176"/>
                    <a:gd name="connsiteY182" fmla="*/ 676744 h 1140987"/>
                    <a:gd name="connsiteX183" fmla="*/ 693648 w 845176"/>
                    <a:gd name="connsiteY183" fmla="*/ 673726 h 1140987"/>
                    <a:gd name="connsiteX184" fmla="*/ 684593 w 845176"/>
                    <a:gd name="connsiteY184" fmla="*/ 672519 h 1140987"/>
                    <a:gd name="connsiteX185" fmla="*/ 683989 w 845176"/>
                    <a:gd name="connsiteY185" fmla="*/ 677348 h 1140987"/>
                    <a:gd name="connsiteX186" fmla="*/ 677348 w 845176"/>
                    <a:gd name="connsiteY186" fmla="*/ 680367 h 1140987"/>
                    <a:gd name="connsiteX187" fmla="*/ 653804 w 845176"/>
                    <a:gd name="connsiteY187" fmla="*/ 678556 h 1140987"/>
                    <a:gd name="connsiteX188" fmla="*/ 650786 w 845176"/>
                    <a:gd name="connsiteY188" fmla="*/ 679159 h 1140987"/>
                    <a:gd name="connsiteX189" fmla="*/ 648371 w 845176"/>
                    <a:gd name="connsiteY189" fmla="*/ 683385 h 1140987"/>
                    <a:gd name="connsiteX190" fmla="*/ 640523 w 845176"/>
                    <a:gd name="connsiteY190" fmla="*/ 685196 h 1140987"/>
                    <a:gd name="connsiteX191" fmla="*/ 630864 w 845176"/>
                    <a:gd name="connsiteY191" fmla="*/ 691837 h 1140987"/>
                    <a:gd name="connsiteX192" fmla="*/ 627241 w 845176"/>
                    <a:gd name="connsiteY192" fmla="*/ 696667 h 1140987"/>
                    <a:gd name="connsiteX193" fmla="*/ 629656 w 845176"/>
                    <a:gd name="connsiteY193" fmla="*/ 700289 h 1140987"/>
                    <a:gd name="connsiteX194" fmla="*/ 621808 w 845176"/>
                    <a:gd name="connsiteY194" fmla="*/ 707533 h 1140987"/>
                    <a:gd name="connsiteX195" fmla="*/ 621204 w 845176"/>
                    <a:gd name="connsiteY195" fmla="*/ 712966 h 1140987"/>
                    <a:gd name="connsiteX196" fmla="*/ 619393 w 845176"/>
                    <a:gd name="connsiteY196" fmla="*/ 713570 h 1140987"/>
                    <a:gd name="connsiteX197" fmla="*/ 619997 w 845176"/>
                    <a:gd name="connsiteY197" fmla="*/ 719003 h 1140987"/>
                    <a:gd name="connsiteX198" fmla="*/ 618790 w 845176"/>
                    <a:gd name="connsiteY198" fmla="*/ 724437 h 1140987"/>
                    <a:gd name="connsiteX199" fmla="*/ 620601 w 845176"/>
                    <a:gd name="connsiteY199" fmla="*/ 729870 h 1140987"/>
                    <a:gd name="connsiteX200" fmla="*/ 623619 w 845176"/>
                    <a:gd name="connsiteY200" fmla="*/ 731077 h 1140987"/>
                    <a:gd name="connsiteX201" fmla="*/ 626034 w 845176"/>
                    <a:gd name="connsiteY201" fmla="*/ 736511 h 1140987"/>
                    <a:gd name="connsiteX202" fmla="*/ 621808 w 845176"/>
                    <a:gd name="connsiteY202" fmla="*/ 740133 h 1140987"/>
                    <a:gd name="connsiteX203" fmla="*/ 611545 w 845176"/>
                    <a:gd name="connsiteY203" fmla="*/ 752207 h 1140987"/>
                    <a:gd name="connsiteX204" fmla="*/ 603697 w 845176"/>
                    <a:gd name="connsiteY204" fmla="*/ 759451 h 1140987"/>
                    <a:gd name="connsiteX205" fmla="*/ 602490 w 845176"/>
                    <a:gd name="connsiteY205" fmla="*/ 763677 h 1140987"/>
                    <a:gd name="connsiteX206" fmla="*/ 598264 w 845176"/>
                    <a:gd name="connsiteY206" fmla="*/ 767299 h 1140987"/>
                    <a:gd name="connsiteX207" fmla="*/ 597660 w 845176"/>
                    <a:gd name="connsiteY207" fmla="*/ 773336 h 1140987"/>
                    <a:gd name="connsiteX208" fmla="*/ 594038 w 845176"/>
                    <a:gd name="connsiteY208" fmla="*/ 779373 h 1140987"/>
                    <a:gd name="connsiteX209" fmla="*/ 591020 w 845176"/>
                    <a:gd name="connsiteY209" fmla="*/ 781184 h 1140987"/>
                    <a:gd name="connsiteX210" fmla="*/ 583775 w 845176"/>
                    <a:gd name="connsiteY210" fmla="*/ 792655 h 1140987"/>
                    <a:gd name="connsiteX211" fmla="*/ 580153 w 845176"/>
                    <a:gd name="connsiteY211" fmla="*/ 794465 h 1140987"/>
                    <a:gd name="connsiteX212" fmla="*/ 575323 w 845176"/>
                    <a:gd name="connsiteY212" fmla="*/ 801106 h 1140987"/>
                    <a:gd name="connsiteX213" fmla="*/ 567475 w 845176"/>
                    <a:gd name="connsiteY213" fmla="*/ 810766 h 1140987"/>
                    <a:gd name="connsiteX214" fmla="*/ 565664 w 845176"/>
                    <a:gd name="connsiteY214" fmla="*/ 817406 h 1140987"/>
                    <a:gd name="connsiteX215" fmla="*/ 562646 w 845176"/>
                    <a:gd name="connsiteY215" fmla="*/ 823443 h 1140987"/>
                    <a:gd name="connsiteX216" fmla="*/ 558420 w 845176"/>
                    <a:gd name="connsiteY216" fmla="*/ 827669 h 1140987"/>
                    <a:gd name="connsiteX217" fmla="*/ 554798 w 845176"/>
                    <a:gd name="connsiteY217" fmla="*/ 842158 h 1140987"/>
                    <a:gd name="connsiteX218" fmla="*/ 554194 w 845176"/>
                    <a:gd name="connsiteY218" fmla="*/ 851213 h 1140987"/>
                    <a:gd name="connsiteX219" fmla="*/ 551176 w 845176"/>
                    <a:gd name="connsiteY219" fmla="*/ 851817 h 1140987"/>
                    <a:gd name="connsiteX220" fmla="*/ 551176 w 845176"/>
                    <a:gd name="connsiteY220" fmla="*/ 856646 h 1140987"/>
                    <a:gd name="connsiteX221" fmla="*/ 559627 w 845176"/>
                    <a:gd name="connsiteY221" fmla="*/ 869324 h 1140987"/>
                    <a:gd name="connsiteX222" fmla="*/ 569890 w 845176"/>
                    <a:gd name="connsiteY222" fmla="*/ 880191 h 1140987"/>
                    <a:gd name="connsiteX223" fmla="*/ 576531 w 845176"/>
                    <a:gd name="connsiteY223" fmla="*/ 885624 h 1140987"/>
                    <a:gd name="connsiteX224" fmla="*/ 585586 w 845176"/>
                    <a:gd name="connsiteY224" fmla="*/ 891660 h 1140987"/>
                    <a:gd name="connsiteX225" fmla="*/ 593434 w 845176"/>
                    <a:gd name="connsiteY225" fmla="*/ 894075 h 1140987"/>
                    <a:gd name="connsiteX226" fmla="*/ 599471 w 845176"/>
                    <a:gd name="connsiteY226" fmla="*/ 894075 h 1140987"/>
                    <a:gd name="connsiteX227" fmla="*/ 601282 w 845176"/>
                    <a:gd name="connsiteY227" fmla="*/ 897094 h 1140987"/>
                    <a:gd name="connsiteX228" fmla="*/ 591020 w 845176"/>
                    <a:gd name="connsiteY228" fmla="*/ 900112 h 1140987"/>
                    <a:gd name="connsiteX229" fmla="*/ 584983 w 845176"/>
                    <a:gd name="connsiteY229" fmla="*/ 899509 h 1140987"/>
                    <a:gd name="connsiteX230" fmla="*/ 567475 w 845176"/>
                    <a:gd name="connsiteY230" fmla="*/ 897094 h 1140987"/>
                    <a:gd name="connsiteX231" fmla="*/ 556005 w 845176"/>
                    <a:gd name="connsiteY231" fmla="*/ 898905 h 1140987"/>
                    <a:gd name="connsiteX232" fmla="*/ 552383 w 845176"/>
                    <a:gd name="connsiteY232" fmla="*/ 901924 h 1140987"/>
                    <a:gd name="connsiteX233" fmla="*/ 547553 w 845176"/>
                    <a:gd name="connsiteY233" fmla="*/ 900716 h 1140987"/>
                    <a:gd name="connsiteX234" fmla="*/ 543328 w 845176"/>
                    <a:gd name="connsiteY234" fmla="*/ 901320 h 1140987"/>
                    <a:gd name="connsiteX235" fmla="*/ 531857 w 845176"/>
                    <a:gd name="connsiteY235" fmla="*/ 904942 h 1140987"/>
                    <a:gd name="connsiteX236" fmla="*/ 521594 w 845176"/>
                    <a:gd name="connsiteY236" fmla="*/ 909168 h 1140987"/>
                    <a:gd name="connsiteX237" fmla="*/ 517369 w 845176"/>
                    <a:gd name="connsiteY237" fmla="*/ 909771 h 1140987"/>
                    <a:gd name="connsiteX238" fmla="*/ 513746 w 845176"/>
                    <a:gd name="connsiteY238" fmla="*/ 914601 h 1140987"/>
                    <a:gd name="connsiteX239" fmla="*/ 503483 w 845176"/>
                    <a:gd name="connsiteY239" fmla="*/ 913394 h 1140987"/>
                    <a:gd name="connsiteX240" fmla="*/ 498654 w 845176"/>
                    <a:gd name="connsiteY240" fmla="*/ 916413 h 1140987"/>
                    <a:gd name="connsiteX241" fmla="*/ 499861 w 845176"/>
                    <a:gd name="connsiteY241" fmla="*/ 921845 h 1140987"/>
                    <a:gd name="connsiteX242" fmla="*/ 494428 w 845176"/>
                    <a:gd name="connsiteY242" fmla="*/ 921845 h 1140987"/>
                    <a:gd name="connsiteX243" fmla="*/ 484165 w 845176"/>
                    <a:gd name="connsiteY243" fmla="*/ 926675 h 1140987"/>
                    <a:gd name="connsiteX244" fmla="*/ 479336 w 845176"/>
                    <a:gd name="connsiteY244" fmla="*/ 925468 h 1140987"/>
                    <a:gd name="connsiteX245" fmla="*/ 470884 w 845176"/>
                    <a:gd name="connsiteY245" fmla="*/ 926072 h 1140987"/>
                    <a:gd name="connsiteX246" fmla="*/ 460017 w 845176"/>
                    <a:gd name="connsiteY246" fmla="*/ 927882 h 1140987"/>
                    <a:gd name="connsiteX247" fmla="*/ 450358 w 845176"/>
                    <a:gd name="connsiteY247" fmla="*/ 930901 h 1140987"/>
                    <a:gd name="connsiteX248" fmla="*/ 429832 w 845176"/>
                    <a:gd name="connsiteY248" fmla="*/ 947805 h 1140987"/>
                    <a:gd name="connsiteX249" fmla="*/ 414740 w 845176"/>
                    <a:gd name="connsiteY249" fmla="*/ 957464 h 1140987"/>
                    <a:gd name="connsiteX250" fmla="*/ 409307 w 845176"/>
                    <a:gd name="connsiteY250" fmla="*/ 962293 h 1140987"/>
                    <a:gd name="connsiteX251" fmla="*/ 403873 w 845176"/>
                    <a:gd name="connsiteY251" fmla="*/ 971349 h 1140987"/>
                    <a:gd name="connsiteX252" fmla="*/ 403270 w 845176"/>
                    <a:gd name="connsiteY252" fmla="*/ 976178 h 1140987"/>
                    <a:gd name="connsiteX253" fmla="*/ 400251 w 845176"/>
                    <a:gd name="connsiteY253" fmla="*/ 979197 h 1140987"/>
                    <a:gd name="connsiteX254" fmla="*/ 399648 w 845176"/>
                    <a:gd name="connsiteY254" fmla="*/ 991271 h 1140987"/>
                    <a:gd name="connsiteX255" fmla="*/ 398440 w 845176"/>
                    <a:gd name="connsiteY255" fmla="*/ 995497 h 1140987"/>
                    <a:gd name="connsiteX256" fmla="*/ 399044 w 845176"/>
                    <a:gd name="connsiteY256" fmla="*/ 1001534 h 1140987"/>
                    <a:gd name="connsiteX257" fmla="*/ 405685 w 845176"/>
                    <a:gd name="connsiteY257" fmla="*/ 1002741 h 1140987"/>
                    <a:gd name="connsiteX258" fmla="*/ 406892 w 845176"/>
                    <a:gd name="connsiteY258" fmla="*/ 1005759 h 1140987"/>
                    <a:gd name="connsiteX259" fmla="*/ 399044 w 845176"/>
                    <a:gd name="connsiteY259" fmla="*/ 1008778 h 1140987"/>
                    <a:gd name="connsiteX260" fmla="*/ 397836 w 845176"/>
                    <a:gd name="connsiteY260" fmla="*/ 1014211 h 1140987"/>
                    <a:gd name="connsiteX261" fmla="*/ 393611 w 845176"/>
                    <a:gd name="connsiteY261" fmla="*/ 1019041 h 1140987"/>
                    <a:gd name="connsiteX262" fmla="*/ 391799 w 845176"/>
                    <a:gd name="connsiteY262" fmla="*/ 1025682 h 1140987"/>
                    <a:gd name="connsiteX263" fmla="*/ 388781 w 845176"/>
                    <a:gd name="connsiteY263" fmla="*/ 1026285 h 1140987"/>
                    <a:gd name="connsiteX264" fmla="*/ 386366 w 845176"/>
                    <a:gd name="connsiteY264" fmla="*/ 1029907 h 1140987"/>
                    <a:gd name="connsiteX265" fmla="*/ 386366 w 845176"/>
                    <a:gd name="connsiteY265" fmla="*/ 1035341 h 1140987"/>
                    <a:gd name="connsiteX266" fmla="*/ 393007 w 845176"/>
                    <a:gd name="connsiteY266" fmla="*/ 1037152 h 1140987"/>
                    <a:gd name="connsiteX267" fmla="*/ 394214 w 845176"/>
                    <a:gd name="connsiteY267" fmla="*/ 1040171 h 1140987"/>
                    <a:gd name="connsiteX268" fmla="*/ 391196 w 845176"/>
                    <a:gd name="connsiteY268" fmla="*/ 1055263 h 1140987"/>
                    <a:gd name="connsiteX269" fmla="*/ 392403 w 845176"/>
                    <a:gd name="connsiteY269" fmla="*/ 1058885 h 1140987"/>
                    <a:gd name="connsiteX270" fmla="*/ 383951 w 845176"/>
                    <a:gd name="connsiteY270" fmla="*/ 1068544 h 1140987"/>
                    <a:gd name="connsiteX271" fmla="*/ 379122 w 845176"/>
                    <a:gd name="connsiteY271" fmla="*/ 1075185 h 1140987"/>
                    <a:gd name="connsiteX272" fmla="*/ 377311 w 845176"/>
                    <a:gd name="connsiteY272" fmla="*/ 1083033 h 1140987"/>
                    <a:gd name="connsiteX273" fmla="*/ 379726 w 845176"/>
                    <a:gd name="connsiteY273" fmla="*/ 1085448 h 1140987"/>
                    <a:gd name="connsiteX274" fmla="*/ 370670 w 845176"/>
                    <a:gd name="connsiteY274" fmla="*/ 1087862 h 1140987"/>
                    <a:gd name="connsiteX275" fmla="*/ 361615 w 845176"/>
                    <a:gd name="connsiteY275" fmla="*/ 1092088 h 1140987"/>
                    <a:gd name="connsiteX276" fmla="*/ 356181 w 845176"/>
                    <a:gd name="connsiteY276" fmla="*/ 1097522 h 1140987"/>
                    <a:gd name="connsiteX277" fmla="*/ 345315 w 845176"/>
                    <a:gd name="connsiteY277" fmla="*/ 1102955 h 1140987"/>
                    <a:gd name="connsiteX278" fmla="*/ 342296 w 845176"/>
                    <a:gd name="connsiteY278" fmla="*/ 1105973 h 1140987"/>
                    <a:gd name="connsiteX279" fmla="*/ 327204 w 845176"/>
                    <a:gd name="connsiteY279" fmla="*/ 1111406 h 1140987"/>
                    <a:gd name="connsiteX280" fmla="*/ 321771 w 845176"/>
                    <a:gd name="connsiteY280" fmla="*/ 1116236 h 1140987"/>
                    <a:gd name="connsiteX281" fmla="*/ 321167 w 845176"/>
                    <a:gd name="connsiteY281" fmla="*/ 1119858 h 1140987"/>
                    <a:gd name="connsiteX282" fmla="*/ 312715 w 845176"/>
                    <a:gd name="connsiteY282" fmla="*/ 1125895 h 1140987"/>
                    <a:gd name="connsiteX283" fmla="*/ 307282 w 845176"/>
                    <a:gd name="connsiteY283" fmla="*/ 1128310 h 1140987"/>
                    <a:gd name="connsiteX284" fmla="*/ 286152 w 845176"/>
                    <a:gd name="connsiteY284" fmla="*/ 1131329 h 1140987"/>
                    <a:gd name="connsiteX285" fmla="*/ 278304 w 845176"/>
                    <a:gd name="connsiteY285" fmla="*/ 1134347 h 1140987"/>
                    <a:gd name="connsiteX286" fmla="*/ 274682 w 845176"/>
                    <a:gd name="connsiteY286" fmla="*/ 1137969 h 1140987"/>
                    <a:gd name="connsiteX287" fmla="*/ 274682 w 845176"/>
                    <a:gd name="connsiteY287" fmla="*/ 1144006 h 1140987"/>
                    <a:gd name="connsiteX288" fmla="*/ 269853 w 845176"/>
                    <a:gd name="connsiteY288" fmla="*/ 1146421 h 1140987"/>
                    <a:gd name="connsiteX289" fmla="*/ 246912 w 845176"/>
                    <a:gd name="connsiteY289" fmla="*/ 1142195 h 1140987"/>
                    <a:gd name="connsiteX290" fmla="*/ 231820 w 845176"/>
                    <a:gd name="connsiteY290" fmla="*/ 1137366 h 1140987"/>
                    <a:gd name="connsiteX291" fmla="*/ 222764 w 845176"/>
                    <a:gd name="connsiteY291" fmla="*/ 1136158 h 1140987"/>
                    <a:gd name="connsiteX292" fmla="*/ 220953 w 845176"/>
                    <a:gd name="connsiteY292" fmla="*/ 1131329 h 1140987"/>
                    <a:gd name="connsiteX293" fmla="*/ 213709 w 845176"/>
                    <a:gd name="connsiteY293" fmla="*/ 1127102 h 1140987"/>
                    <a:gd name="connsiteX294" fmla="*/ 210087 w 845176"/>
                    <a:gd name="connsiteY294" fmla="*/ 1126499 h 1140987"/>
                    <a:gd name="connsiteX295" fmla="*/ 204050 w 845176"/>
                    <a:gd name="connsiteY295" fmla="*/ 1120462 h 1140987"/>
                    <a:gd name="connsiteX296" fmla="*/ 197409 w 845176"/>
                    <a:gd name="connsiteY296" fmla="*/ 1116840 h 1140987"/>
                    <a:gd name="connsiteX297" fmla="*/ 192579 w 845176"/>
                    <a:gd name="connsiteY297" fmla="*/ 1111406 h 1140987"/>
                    <a:gd name="connsiteX298" fmla="*/ 178091 w 845176"/>
                    <a:gd name="connsiteY298" fmla="*/ 1100540 h 1140987"/>
                    <a:gd name="connsiteX299" fmla="*/ 181109 w 845176"/>
                    <a:gd name="connsiteY299" fmla="*/ 1099936 h 1140987"/>
                    <a:gd name="connsiteX300" fmla="*/ 184731 w 845176"/>
                    <a:gd name="connsiteY300" fmla="*/ 1095710 h 1140987"/>
                    <a:gd name="connsiteX301" fmla="*/ 190165 w 845176"/>
                    <a:gd name="connsiteY301" fmla="*/ 1095710 h 1140987"/>
                    <a:gd name="connsiteX302" fmla="*/ 191976 w 845176"/>
                    <a:gd name="connsiteY302" fmla="*/ 1090881 h 1140987"/>
                    <a:gd name="connsiteX303" fmla="*/ 187146 w 845176"/>
                    <a:gd name="connsiteY303" fmla="*/ 1083637 h 1140987"/>
                    <a:gd name="connsiteX304" fmla="*/ 191372 w 845176"/>
                    <a:gd name="connsiteY304" fmla="*/ 1084240 h 1140987"/>
                    <a:gd name="connsiteX305" fmla="*/ 196805 w 845176"/>
                    <a:gd name="connsiteY305" fmla="*/ 1077600 h 1140987"/>
                    <a:gd name="connsiteX306" fmla="*/ 198616 w 845176"/>
                    <a:gd name="connsiteY306" fmla="*/ 1072166 h 1140987"/>
                    <a:gd name="connsiteX307" fmla="*/ 202842 w 845176"/>
                    <a:gd name="connsiteY307" fmla="*/ 1071563 h 1140987"/>
                    <a:gd name="connsiteX308" fmla="*/ 198616 w 845176"/>
                    <a:gd name="connsiteY308" fmla="*/ 1061300 h 1140987"/>
                    <a:gd name="connsiteX309" fmla="*/ 202239 w 845176"/>
                    <a:gd name="connsiteY309" fmla="*/ 1057677 h 1140987"/>
                    <a:gd name="connsiteX310" fmla="*/ 205257 w 845176"/>
                    <a:gd name="connsiteY310" fmla="*/ 1060696 h 1140987"/>
                    <a:gd name="connsiteX311" fmla="*/ 210690 w 845176"/>
                    <a:gd name="connsiteY311" fmla="*/ 1058282 h 1140987"/>
                    <a:gd name="connsiteX312" fmla="*/ 214313 w 845176"/>
                    <a:gd name="connsiteY312" fmla="*/ 1051037 h 1140987"/>
                    <a:gd name="connsiteX313" fmla="*/ 211294 w 845176"/>
                    <a:gd name="connsiteY313" fmla="*/ 1043793 h 1140987"/>
                    <a:gd name="connsiteX314" fmla="*/ 206465 w 845176"/>
                    <a:gd name="connsiteY314" fmla="*/ 1038359 h 1140987"/>
                    <a:gd name="connsiteX315" fmla="*/ 206465 w 845176"/>
                    <a:gd name="connsiteY315" fmla="*/ 1034737 h 1140987"/>
                    <a:gd name="connsiteX316" fmla="*/ 200428 w 845176"/>
                    <a:gd name="connsiteY316" fmla="*/ 1029304 h 1140987"/>
                    <a:gd name="connsiteX317" fmla="*/ 196805 w 845176"/>
                    <a:gd name="connsiteY317" fmla="*/ 1017230 h 1140987"/>
                    <a:gd name="connsiteX318" fmla="*/ 193787 w 845176"/>
                    <a:gd name="connsiteY318" fmla="*/ 1015418 h 1140987"/>
                    <a:gd name="connsiteX319" fmla="*/ 191372 w 845176"/>
                    <a:gd name="connsiteY319" fmla="*/ 1008778 h 1140987"/>
                    <a:gd name="connsiteX320" fmla="*/ 196202 w 845176"/>
                    <a:gd name="connsiteY320" fmla="*/ 1009381 h 1140987"/>
                    <a:gd name="connsiteX321" fmla="*/ 204050 w 845176"/>
                    <a:gd name="connsiteY321" fmla="*/ 1000930 h 1140987"/>
                    <a:gd name="connsiteX322" fmla="*/ 204653 w 845176"/>
                    <a:gd name="connsiteY322" fmla="*/ 996704 h 1140987"/>
                    <a:gd name="connsiteX323" fmla="*/ 210690 w 845176"/>
                    <a:gd name="connsiteY323" fmla="*/ 989460 h 1140987"/>
                    <a:gd name="connsiteX324" fmla="*/ 208879 w 845176"/>
                    <a:gd name="connsiteY324" fmla="*/ 981612 h 1140987"/>
                    <a:gd name="connsiteX325" fmla="*/ 202239 w 845176"/>
                    <a:gd name="connsiteY325" fmla="*/ 976782 h 1140987"/>
                    <a:gd name="connsiteX326" fmla="*/ 199220 w 845176"/>
                    <a:gd name="connsiteY326" fmla="*/ 970745 h 1140987"/>
                    <a:gd name="connsiteX327" fmla="*/ 196805 w 845176"/>
                    <a:gd name="connsiteY327" fmla="*/ 971952 h 1140987"/>
                    <a:gd name="connsiteX328" fmla="*/ 196805 w 845176"/>
                    <a:gd name="connsiteY328" fmla="*/ 965312 h 1140987"/>
                    <a:gd name="connsiteX329" fmla="*/ 193183 w 845176"/>
                    <a:gd name="connsiteY329" fmla="*/ 962293 h 1140987"/>
                    <a:gd name="connsiteX330" fmla="*/ 191976 w 845176"/>
                    <a:gd name="connsiteY330" fmla="*/ 958671 h 1140987"/>
                    <a:gd name="connsiteX331" fmla="*/ 187146 w 845176"/>
                    <a:gd name="connsiteY331" fmla="*/ 954445 h 1140987"/>
                    <a:gd name="connsiteX332" fmla="*/ 186542 w 845176"/>
                    <a:gd name="connsiteY332" fmla="*/ 952030 h 1140987"/>
                    <a:gd name="connsiteX333" fmla="*/ 191372 w 845176"/>
                    <a:gd name="connsiteY333" fmla="*/ 946598 h 1140987"/>
                    <a:gd name="connsiteX334" fmla="*/ 196805 w 845176"/>
                    <a:gd name="connsiteY334" fmla="*/ 944786 h 1140987"/>
                    <a:gd name="connsiteX335" fmla="*/ 199220 w 845176"/>
                    <a:gd name="connsiteY335" fmla="*/ 940561 h 1140987"/>
                    <a:gd name="connsiteX336" fmla="*/ 199824 w 845176"/>
                    <a:gd name="connsiteY336" fmla="*/ 935731 h 1140987"/>
                    <a:gd name="connsiteX337" fmla="*/ 203446 w 845176"/>
                    <a:gd name="connsiteY337" fmla="*/ 932109 h 1140987"/>
                    <a:gd name="connsiteX338" fmla="*/ 207672 w 845176"/>
                    <a:gd name="connsiteY338" fmla="*/ 929694 h 1140987"/>
                    <a:gd name="connsiteX339" fmla="*/ 211294 w 845176"/>
                    <a:gd name="connsiteY339" fmla="*/ 924260 h 1140987"/>
                    <a:gd name="connsiteX340" fmla="*/ 211294 w 845176"/>
                    <a:gd name="connsiteY340" fmla="*/ 914601 h 1140987"/>
                    <a:gd name="connsiteX341" fmla="*/ 214313 w 845176"/>
                    <a:gd name="connsiteY341" fmla="*/ 910376 h 1140987"/>
                    <a:gd name="connsiteX342" fmla="*/ 213105 w 845176"/>
                    <a:gd name="connsiteY342" fmla="*/ 907357 h 1140987"/>
                    <a:gd name="connsiteX343" fmla="*/ 214916 w 845176"/>
                    <a:gd name="connsiteY343" fmla="*/ 899509 h 1140987"/>
                    <a:gd name="connsiteX344" fmla="*/ 214313 w 845176"/>
                    <a:gd name="connsiteY344" fmla="*/ 893472 h 1140987"/>
                    <a:gd name="connsiteX345" fmla="*/ 218538 w 845176"/>
                    <a:gd name="connsiteY345" fmla="*/ 889850 h 1140987"/>
                    <a:gd name="connsiteX346" fmla="*/ 225783 w 845176"/>
                    <a:gd name="connsiteY346" fmla="*/ 880794 h 1140987"/>
                    <a:gd name="connsiteX347" fmla="*/ 225783 w 845176"/>
                    <a:gd name="connsiteY347" fmla="*/ 869324 h 1140987"/>
                    <a:gd name="connsiteX348" fmla="*/ 228197 w 845176"/>
                    <a:gd name="connsiteY348" fmla="*/ 864494 h 1140987"/>
                    <a:gd name="connsiteX349" fmla="*/ 231820 w 845176"/>
                    <a:gd name="connsiteY349" fmla="*/ 860269 h 1140987"/>
                    <a:gd name="connsiteX350" fmla="*/ 236046 w 845176"/>
                    <a:gd name="connsiteY350" fmla="*/ 861476 h 1140987"/>
                    <a:gd name="connsiteX351" fmla="*/ 239064 w 845176"/>
                    <a:gd name="connsiteY351" fmla="*/ 856646 h 1140987"/>
                    <a:gd name="connsiteX352" fmla="*/ 241479 w 845176"/>
                    <a:gd name="connsiteY352" fmla="*/ 850610 h 1140987"/>
                    <a:gd name="connsiteX353" fmla="*/ 236046 w 845176"/>
                    <a:gd name="connsiteY353" fmla="*/ 848195 h 1140987"/>
                    <a:gd name="connsiteX354" fmla="*/ 231820 w 845176"/>
                    <a:gd name="connsiteY354" fmla="*/ 844573 h 1140987"/>
                    <a:gd name="connsiteX355" fmla="*/ 231820 w 845176"/>
                    <a:gd name="connsiteY355" fmla="*/ 841554 h 1140987"/>
                    <a:gd name="connsiteX356" fmla="*/ 225783 w 845176"/>
                    <a:gd name="connsiteY356" fmla="*/ 835517 h 1140987"/>
                    <a:gd name="connsiteX357" fmla="*/ 222161 w 845176"/>
                    <a:gd name="connsiteY357" fmla="*/ 830084 h 1140987"/>
                    <a:gd name="connsiteX358" fmla="*/ 218538 w 845176"/>
                    <a:gd name="connsiteY358" fmla="*/ 831291 h 1140987"/>
                    <a:gd name="connsiteX359" fmla="*/ 213105 w 845176"/>
                    <a:gd name="connsiteY359" fmla="*/ 836121 h 1140987"/>
                    <a:gd name="connsiteX360" fmla="*/ 205257 w 845176"/>
                    <a:gd name="connsiteY360" fmla="*/ 834309 h 1140987"/>
                    <a:gd name="connsiteX361" fmla="*/ 198013 w 845176"/>
                    <a:gd name="connsiteY361" fmla="*/ 827669 h 1140987"/>
                    <a:gd name="connsiteX362" fmla="*/ 195598 w 845176"/>
                    <a:gd name="connsiteY362" fmla="*/ 829480 h 1140987"/>
                    <a:gd name="connsiteX363" fmla="*/ 191372 w 845176"/>
                    <a:gd name="connsiteY363" fmla="*/ 828877 h 1140987"/>
                    <a:gd name="connsiteX364" fmla="*/ 193787 w 845176"/>
                    <a:gd name="connsiteY364" fmla="*/ 818613 h 1140987"/>
                    <a:gd name="connsiteX365" fmla="*/ 196805 w 845176"/>
                    <a:gd name="connsiteY365" fmla="*/ 816198 h 1140987"/>
                    <a:gd name="connsiteX366" fmla="*/ 199220 w 845176"/>
                    <a:gd name="connsiteY366" fmla="*/ 810766 h 1140987"/>
                    <a:gd name="connsiteX367" fmla="*/ 198616 w 845176"/>
                    <a:gd name="connsiteY367" fmla="*/ 804729 h 1140987"/>
                    <a:gd name="connsiteX368" fmla="*/ 202239 w 845176"/>
                    <a:gd name="connsiteY368" fmla="*/ 803521 h 1140987"/>
                    <a:gd name="connsiteX369" fmla="*/ 203446 w 845176"/>
                    <a:gd name="connsiteY369" fmla="*/ 796277 h 1140987"/>
                    <a:gd name="connsiteX370" fmla="*/ 202842 w 845176"/>
                    <a:gd name="connsiteY370" fmla="*/ 791447 h 1140987"/>
                    <a:gd name="connsiteX371" fmla="*/ 207672 w 845176"/>
                    <a:gd name="connsiteY371" fmla="*/ 789636 h 1140987"/>
                    <a:gd name="connsiteX372" fmla="*/ 204653 w 845176"/>
                    <a:gd name="connsiteY372" fmla="*/ 784203 h 1140987"/>
                    <a:gd name="connsiteX373" fmla="*/ 205861 w 845176"/>
                    <a:gd name="connsiteY373" fmla="*/ 778166 h 1140987"/>
                    <a:gd name="connsiteX374" fmla="*/ 200428 w 845176"/>
                    <a:gd name="connsiteY374" fmla="*/ 773336 h 1140987"/>
                    <a:gd name="connsiteX375" fmla="*/ 201635 w 845176"/>
                    <a:gd name="connsiteY375" fmla="*/ 767299 h 1140987"/>
                    <a:gd name="connsiteX376" fmla="*/ 205257 w 845176"/>
                    <a:gd name="connsiteY376" fmla="*/ 761262 h 1140987"/>
                    <a:gd name="connsiteX377" fmla="*/ 213709 w 845176"/>
                    <a:gd name="connsiteY377" fmla="*/ 752810 h 1140987"/>
                    <a:gd name="connsiteX378" fmla="*/ 211294 w 845176"/>
                    <a:gd name="connsiteY378" fmla="*/ 750999 h 1140987"/>
                    <a:gd name="connsiteX379" fmla="*/ 208879 w 845176"/>
                    <a:gd name="connsiteY379" fmla="*/ 744359 h 1140987"/>
                    <a:gd name="connsiteX380" fmla="*/ 210690 w 845176"/>
                    <a:gd name="connsiteY380" fmla="*/ 741944 h 1140987"/>
                    <a:gd name="connsiteX381" fmla="*/ 201635 w 845176"/>
                    <a:gd name="connsiteY381" fmla="*/ 731077 h 1140987"/>
                    <a:gd name="connsiteX382" fmla="*/ 198616 w 845176"/>
                    <a:gd name="connsiteY382" fmla="*/ 725040 h 1140987"/>
                    <a:gd name="connsiteX383" fmla="*/ 207068 w 845176"/>
                    <a:gd name="connsiteY383" fmla="*/ 720211 h 1140987"/>
                    <a:gd name="connsiteX384" fmla="*/ 211898 w 845176"/>
                    <a:gd name="connsiteY384" fmla="*/ 722022 h 1140987"/>
                    <a:gd name="connsiteX385" fmla="*/ 213105 w 845176"/>
                    <a:gd name="connsiteY385" fmla="*/ 718400 h 1140987"/>
                    <a:gd name="connsiteX386" fmla="*/ 213105 w 845176"/>
                    <a:gd name="connsiteY386" fmla="*/ 712966 h 1140987"/>
                    <a:gd name="connsiteX387" fmla="*/ 214313 w 845176"/>
                    <a:gd name="connsiteY387" fmla="*/ 707533 h 1140987"/>
                    <a:gd name="connsiteX388" fmla="*/ 217331 w 845176"/>
                    <a:gd name="connsiteY388" fmla="*/ 702100 h 1140987"/>
                    <a:gd name="connsiteX389" fmla="*/ 214916 w 845176"/>
                    <a:gd name="connsiteY389" fmla="*/ 698478 h 1140987"/>
                    <a:gd name="connsiteX390" fmla="*/ 211294 w 845176"/>
                    <a:gd name="connsiteY390" fmla="*/ 698478 h 1140987"/>
                    <a:gd name="connsiteX391" fmla="*/ 211294 w 845176"/>
                    <a:gd name="connsiteY391" fmla="*/ 691837 h 1140987"/>
                    <a:gd name="connsiteX392" fmla="*/ 204050 w 845176"/>
                    <a:gd name="connsiteY392" fmla="*/ 680970 h 1140987"/>
                    <a:gd name="connsiteX393" fmla="*/ 205257 w 845176"/>
                    <a:gd name="connsiteY393" fmla="*/ 673726 h 1140987"/>
                    <a:gd name="connsiteX394" fmla="*/ 193183 w 845176"/>
                    <a:gd name="connsiteY394" fmla="*/ 672519 h 1140987"/>
                    <a:gd name="connsiteX395" fmla="*/ 182920 w 845176"/>
                    <a:gd name="connsiteY395" fmla="*/ 680367 h 1140987"/>
                    <a:gd name="connsiteX396" fmla="*/ 174468 w 845176"/>
                    <a:gd name="connsiteY396" fmla="*/ 683385 h 1140987"/>
                    <a:gd name="connsiteX397" fmla="*/ 169035 w 845176"/>
                    <a:gd name="connsiteY397" fmla="*/ 687611 h 1140987"/>
                    <a:gd name="connsiteX398" fmla="*/ 167224 w 845176"/>
                    <a:gd name="connsiteY398" fmla="*/ 693044 h 1140987"/>
                    <a:gd name="connsiteX399" fmla="*/ 163602 w 845176"/>
                    <a:gd name="connsiteY399" fmla="*/ 694855 h 1140987"/>
                    <a:gd name="connsiteX400" fmla="*/ 155754 w 845176"/>
                    <a:gd name="connsiteY400" fmla="*/ 699081 h 1140987"/>
                    <a:gd name="connsiteX401" fmla="*/ 150924 w 845176"/>
                    <a:gd name="connsiteY401" fmla="*/ 699685 h 1140987"/>
                    <a:gd name="connsiteX402" fmla="*/ 144887 w 845176"/>
                    <a:gd name="connsiteY402" fmla="*/ 697270 h 1140987"/>
                    <a:gd name="connsiteX403" fmla="*/ 140661 w 845176"/>
                    <a:gd name="connsiteY403" fmla="*/ 698478 h 1140987"/>
                    <a:gd name="connsiteX404" fmla="*/ 137643 w 845176"/>
                    <a:gd name="connsiteY404" fmla="*/ 696667 h 1140987"/>
                    <a:gd name="connsiteX405" fmla="*/ 135832 w 845176"/>
                    <a:gd name="connsiteY405" fmla="*/ 691837 h 1140987"/>
                    <a:gd name="connsiteX406" fmla="*/ 131002 w 845176"/>
                    <a:gd name="connsiteY406" fmla="*/ 689422 h 1140987"/>
                    <a:gd name="connsiteX407" fmla="*/ 131002 w 845176"/>
                    <a:gd name="connsiteY407" fmla="*/ 685800 h 1140987"/>
                    <a:gd name="connsiteX408" fmla="*/ 124965 w 845176"/>
                    <a:gd name="connsiteY408" fmla="*/ 685800 h 1140987"/>
                    <a:gd name="connsiteX409" fmla="*/ 122550 w 845176"/>
                    <a:gd name="connsiteY409" fmla="*/ 683385 h 1140987"/>
                    <a:gd name="connsiteX410" fmla="*/ 123758 w 845176"/>
                    <a:gd name="connsiteY410" fmla="*/ 674330 h 1140987"/>
                    <a:gd name="connsiteX411" fmla="*/ 126173 w 845176"/>
                    <a:gd name="connsiteY411" fmla="*/ 670104 h 1140987"/>
                    <a:gd name="connsiteX412" fmla="*/ 121343 w 845176"/>
                    <a:gd name="connsiteY412" fmla="*/ 664067 h 1140987"/>
                    <a:gd name="connsiteX413" fmla="*/ 123154 w 845176"/>
                    <a:gd name="connsiteY413" fmla="*/ 662859 h 1140987"/>
                    <a:gd name="connsiteX414" fmla="*/ 119532 w 845176"/>
                    <a:gd name="connsiteY414" fmla="*/ 658030 h 1140987"/>
                    <a:gd name="connsiteX415" fmla="*/ 121947 w 845176"/>
                    <a:gd name="connsiteY415" fmla="*/ 653200 h 1140987"/>
                    <a:gd name="connsiteX416" fmla="*/ 122550 w 845176"/>
                    <a:gd name="connsiteY416" fmla="*/ 642334 h 1140987"/>
                    <a:gd name="connsiteX417" fmla="*/ 124965 w 845176"/>
                    <a:gd name="connsiteY417" fmla="*/ 634486 h 1140987"/>
                    <a:gd name="connsiteX418" fmla="*/ 123154 w 845176"/>
                    <a:gd name="connsiteY418" fmla="*/ 632675 h 1140987"/>
                    <a:gd name="connsiteX419" fmla="*/ 124362 w 845176"/>
                    <a:gd name="connsiteY419" fmla="*/ 622412 h 1140987"/>
                    <a:gd name="connsiteX420" fmla="*/ 121343 w 845176"/>
                    <a:gd name="connsiteY420" fmla="*/ 621808 h 1140987"/>
                    <a:gd name="connsiteX421" fmla="*/ 118928 w 845176"/>
                    <a:gd name="connsiteY421" fmla="*/ 616375 h 1140987"/>
                    <a:gd name="connsiteX422" fmla="*/ 119532 w 845176"/>
                    <a:gd name="connsiteY422" fmla="*/ 613960 h 1140987"/>
                    <a:gd name="connsiteX423" fmla="*/ 133417 w 845176"/>
                    <a:gd name="connsiteY423" fmla="*/ 613356 h 1140987"/>
                    <a:gd name="connsiteX424" fmla="*/ 132813 w 845176"/>
                    <a:gd name="connsiteY424" fmla="*/ 606112 h 1140987"/>
                    <a:gd name="connsiteX425" fmla="*/ 129795 w 845176"/>
                    <a:gd name="connsiteY425" fmla="*/ 604301 h 1140987"/>
                    <a:gd name="connsiteX426" fmla="*/ 134021 w 845176"/>
                    <a:gd name="connsiteY426" fmla="*/ 597057 h 1140987"/>
                    <a:gd name="connsiteX427" fmla="*/ 137643 w 845176"/>
                    <a:gd name="connsiteY427" fmla="*/ 588001 h 1140987"/>
                    <a:gd name="connsiteX428" fmla="*/ 138247 w 845176"/>
                    <a:gd name="connsiteY428" fmla="*/ 583775 h 1140987"/>
                    <a:gd name="connsiteX429" fmla="*/ 136436 w 845176"/>
                    <a:gd name="connsiteY429" fmla="*/ 577738 h 1140987"/>
                    <a:gd name="connsiteX430" fmla="*/ 130399 w 845176"/>
                    <a:gd name="connsiteY430" fmla="*/ 577738 h 1140987"/>
                    <a:gd name="connsiteX431" fmla="*/ 126173 w 845176"/>
                    <a:gd name="connsiteY431" fmla="*/ 574116 h 1140987"/>
                    <a:gd name="connsiteX432" fmla="*/ 127380 w 845176"/>
                    <a:gd name="connsiteY432" fmla="*/ 571701 h 1140987"/>
                    <a:gd name="connsiteX433" fmla="*/ 121947 w 845176"/>
                    <a:gd name="connsiteY433" fmla="*/ 564457 h 1140987"/>
                    <a:gd name="connsiteX434" fmla="*/ 115306 w 845176"/>
                    <a:gd name="connsiteY434" fmla="*/ 562646 h 1140987"/>
                    <a:gd name="connsiteX435" fmla="*/ 112891 w 845176"/>
                    <a:gd name="connsiteY435" fmla="*/ 560231 h 1140987"/>
                    <a:gd name="connsiteX436" fmla="*/ 104440 w 845176"/>
                    <a:gd name="connsiteY436" fmla="*/ 560231 h 1140987"/>
                    <a:gd name="connsiteX437" fmla="*/ 97799 w 845176"/>
                    <a:gd name="connsiteY437" fmla="*/ 556609 h 1140987"/>
                    <a:gd name="connsiteX438" fmla="*/ 94781 w 845176"/>
                    <a:gd name="connsiteY438" fmla="*/ 556005 h 1140987"/>
                    <a:gd name="connsiteX439" fmla="*/ 88140 w 845176"/>
                    <a:gd name="connsiteY439" fmla="*/ 552383 h 1140987"/>
                    <a:gd name="connsiteX440" fmla="*/ 89347 w 845176"/>
                    <a:gd name="connsiteY440" fmla="*/ 543931 h 1140987"/>
                    <a:gd name="connsiteX441" fmla="*/ 92969 w 845176"/>
                    <a:gd name="connsiteY441" fmla="*/ 539705 h 1140987"/>
                    <a:gd name="connsiteX442" fmla="*/ 95988 w 845176"/>
                    <a:gd name="connsiteY442" fmla="*/ 531857 h 1140987"/>
                    <a:gd name="connsiteX443" fmla="*/ 100214 w 845176"/>
                    <a:gd name="connsiteY443" fmla="*/ 528839 h 1140987"/>
                    <a:gd name="connsiteX444" fmla="*/ 109269 w 845176"/>
                    <a:gd name="connsiteY444" fmla="*/ 530650 h 1140987"/>
                    <a:gd name="connsiteX445" fmla="*/ 108062 w 845176"/>
                    <a:gd name="connsiteY445" fmla="*/ 525820 h 1140987"/>
                    <a:gd name="connsiteX446" fmla="*/ 105043 w 845176"/>
                    <a:gd name="connsiteY446" fmla="*/ 522198 h 1140987"/>
                    <a:gd name="connsiteX447" fmla="*/ 106854 w 845176"/>
                    <a:gd name="connsiteY447" fmla="*/ 517972 h 1140987"/>
                    <a:gd name="connsiteX448" fmla="*/ 104440 w 845176"/>
                    <a:gd name="connsiteY448" fmla="*/ 516161 h 1140987"/>
                    <a:gd name="connsiteX449" fmla="*/ 106251 w 845176"/>
                    <a:gd name="connsiteY449" fmla="*/ 512539 h 1140987"/>
                    <a:gd name="connsiteX450" fmla="*/ 97195 w 845176"/>
                    <a:gd name="connsiteY450" fmla="*/ 507709 h 1140987"/>
                    <a:gd name="connsiteX451" fmla="*/ 94781 w 845176"/>
                    <a:gd name="connsiteY451" fmla="*/ 502276 h 1140987"/>
                    <a:gd name="connsiteX452" fmla="*/ 99006 w 845176"/>
                    <a:gd name="connsiteY452" fmla="*/ 498050 h 1140987"/>
                    <a:gd name="connsiteX453" fmla="*/ 102025 w 845176"/>
                    <a:gd name="connsiteY453" fmla="*/ 496843 h 1140987"/>
                    <a:gd name="connsiteX454" fmla="*/ 103232 w 845176"/>
                    <a:gd name="connsiteY454" fmla="*/ 492013 h 1140987"/>
                    <a:gd name="connsiteX455" fmla="*/ 97195 w 845176"/>
                    <a:gd name="connsiteY455" fmla="*/ 487184 h 1140987"/>
                    <a:gd name="connsiteX456" fmla="*/ 82103 w 845176"/>
                    <a:gd name="connsiteY456" fmla="*/ 496239 h 1140987"/>
                    <a:gd name="connsiteX457" fmla="*/ 77273 w 845176"/>
                    <a:gd name="connsiteY457" fmla="*/ 494428 h 1140987"/>
                    <a:gd name="connsiteX458" fmla="*/ 72444 w 845176"/>
                    <a:gd name="connsiteY458" fmla="*/ 494428 h 1140987"/>
                    <a:gd name="connsiteX459" fmla="*/ 60973 w 845176"/>
                    <a:gd name="connsiteY459" fmla="*/ 495635 h 1140987"/>
                    <a:gd name="connsiteX460" fmla="*/ 57955 w 845176"/>
                    <a:gd name="connsiteY460" fmla="*/ 493221 h 1140987"/>
                    <a:gd name="connsiteX461" fmla="*/ 49503 w 845176"/>
                    <a:gd name="connsiteY461" fmla="*/ 493824 h 1140987"/>
                    <a:gd name="connsiteX462" fmla="*/ 46485 w 845176"/>
                    <a:gd name="connsiteY462" fmla="*/ 497447 h 1140987"/>
                    <a:gd name="connsiteX463" fmla="*/ 44674 w 845176"/>
                    <a:gd name="connsiteY463" fmla="*/ 493221 h 1140987"/>
                    <a:gd name="connsiteX464" fmla="*/ 45277 w 845176"/>
                    <a:gd name="connsiteY464" fmla="*/ 487184 h 1140987"/>
                    <a:gd name="connsiteX465" fmla="*/ 59162 w 845176"/>
                    <a:gd name="connsiteY465" fmla="*/ 480543 h 1140987"/>
                    <a:gd name="connsiteX466" fmla="*/ 64596 w 845176"/>
                    <a:gd name="connsiteY466" fmla="*/ 467865 h 1140987"/>
                    <a:gd name="connsiteX467" fmla="*/ 64596 w 845176"/>
                    <a:gd name="connsiteY467" fmla="*/ 461828 h 1140987"/>
                    <a:gd name="connsiteX468" fmla="*/ 58559 w 845176"/>
                    <a:gd name="connsiteY468" fmla="*/ 462432 h 1140987"/>
                    <a:gd name="connsiteX469" fmla="*/ 58559 w 845176"/>
                    <a:gd name="connsiteY469" fmla="*/ 459413 h 1140987"/>
                    <a:gd name="connsiteX470" fmla="*/ 45881 w 845176"/>
                    <a:gd name="connsiteY470" fmla="*/ 455188 h 1140987"/>
                    <a:gd name="connsiteX471" fmla="*/ 37429 w 845176"/>
                    <a:gd name="connsiteY471" fmla="*/ 448547 h 1140987"/>
                    <a:gd name="connsiteX472" fmla="*/ 27770 w 845176"/>
                    <a:gd name="connsiteY472" fmla="*/ 441303 h 1140987"/>
                    <a:gd name="connsiteX473" fmla="*/ 22337 w 845176"/>
                    <a:gd name="connsiteY473" fmla="*/ 438888 h 1140987"/>
                    <a:gd name="connsiteX474" fmla="*/ 19318 w 845176"/>
                    <a:gd name="connsiteY474" fmla="*/ 441906 h 1140987"/>
                    <a:gd name="connsiteX475" fmla="*/ 10866 w 845176"/>
                    <a:gd name="connsiteY475" fmla="*/ 435869 h 1140987"/>
                    <a:gd name="connsiteX476" fmla="*/ 6641 w 845176"/>
                    <a:gd name="connsiteY476" fmla="*/ 435869 h 1140987"/>
                    <a:gd name="connsiteX477" fmla="*/ 1207 w 845176"/>
                    <a:gd name="connsiteY477" fmla="*/ 426210 h 1140987"/>
                    <a:gd name="connsiteX478" fmla="*/ 3622 w 845176"/>
                    <a:gd name="connsiteY478" fmla="*/ 425607 h 1140987"/>
                    <a:gd name="connsiteX479" fmla="*/ 0 w 845176"/>
                    <a:gd name="connsiteY479" fmla="*/ 417155 h 1140987"/>
                    <a:gd name="connsiteX480" fmla="*/ 9055 w 845176"/>
                    <a:gd name="connsiteY480" fmla="*/ 411118 h 1140987"/>
                    <a:gd name="connsiteX481" fmla="*/ 13281 w 845176"/>
                    <a:gd name="connsiteY481" fmla="*/ 413533 h 1140987"/>
                    <a:gd name="connsiteX482" fmla="*/ 15092 w 845176"/>
                    <a:gd name="connsiteY482" fmla="*/ 417155 h 1140987"/>
                    <a:gd name="connsiteX483" fmla="*/ 21129 w 845176"/>
                    <a:gd name="connsiteY483" fmla="*/ 411722 h 1140987"/>
                    <a:gd name="connsiteX484" fmla="*/ 22337 w 845176"/>
                    <a:gd name="connsiteY484" fmla="*/ 414136 h 1140987"/>
                    <a:gd name="connsiteX485" fmla="*/ 29581 w 845176"/>
                    <a:gd name="connsiteY485" fmla="*/ 410514 h 1140987"/>
                    <a:gd name="connsiteX486" fmla="*/ 31996 w 845176"/>
                    <a:gd name="connsiteY486" fmla="*/ 404477 h 1140987"/>
                    <a:gd name="connsiteX487" fmla="*/ 40448 w 845176"/>
                    <a:gd name="connsiteY487" fmla="*/ 403874 h 1140987"/>
                    <a:gd name="connsiteX488" fmla="*/ 42863 w 845176"/>
                    <a:gd name="connsiteY488" fmla="*/ 402062 h 1140987"/>
                    <a:gd name="connsiteX489" fmla="*/ 40448 w 845176"/>
                    <a:gd name="connsiteY489" fmla="*/ 396629 h 1140987"/>
                    <a:gd name="connsiteX490" fmla="*/ 46485 w 845176"/>
                    <a:gd name="connsiteY490" fmla="*/ 397837 h 1140987"/>
                    <a:gd name="connsiteX491" fmla="*/ 51314 w 845176"/>
                    <a:gd name="connsiteY491" fmla="*/ 393007 h 1140987"/>
                    <a:gd name="connsiteX492" fmla="*/ 57351 w 845176"/>
                    <a:gd name="connsiteY492" fmla="*/ 388781 h 1140987"/>
                    <a:gd name="connsiteX493" fmla="*/ 64596 w 845176"/>
                    <a:gd name="connsiteY493" fmla="*/ 394818 h 1140987"/>
                    <a:gd name="connsiteX494" fmla="*/ 67614 w 845176"/>
                    <a:gd name="connsiteY494" fmla="*/ 406892 h 1140987"/>
                    <a:gd name="connsiteX495" fmla="*/ 78481 w 845176"/>
                    <a:gd name="connsiteY495" fmla="*/ 409307 h 1140987"/>
                    <a:gd name="connsiteX496" fmla="*/ 82103 w 845176"/>
                    <a:gd name="connsiteY496" fmla="*/ 408703 h 1140987"/>
                    <a:gd name="connsiteX497" fmla="*/ 108062 w 845176"/>
                    <a:gd name="connsiteY497" fmla="*/ 408099 h 1140987"/>
                    <a:gd name="connsiteX498" fmla="*/ 121947 w 845176"/>
                    <a:gd name="connsiteY498" fmla="*/ 409911 h 1140987"/>
                    <a:gd name="connsiteX499" fmla="*/ 125569 w 845176"/>
                    <a:gd name="connsiteY499" fmla="*/ 412929 h 1140987"/>
                    <a:gd name="connsiteX500" fmla="*/ 128587 w 845176"/>
                    <a:gd name="connsiteY500" fmla="*/ 408703 h 1140987"/>
                    <a:gd name="connsiteX501" fmla="*/ 124362 w 845176"/>
                    <a:gd name="connsiteY501" fmla="*/ 403270 h 1140987"/>
                    <a:gd name="connsiteX502" fmla="*/ 124362 w 845176"/>
                    <a:gd name="connsiteY502" fmla="*/ 399044 h 1140987"/>
                    <a:gd name="connsiteX503" fmla="*/ 129191 w 845176"/>
                    <a:gd name="connsiteY503" fmla="*/ 388781 h 1140987"/>
                    <a:gd name="connsiteX504" fmla="*/ 135228 w 845176"/>
                    <a:gd name="connsiteY504" fmla="*/ 383348 h 1140987"/>
                    <a:gd name="connsiteX505" fmla="*/ 136436 w 845176"/>
                    <a:gd name="connsiteY505" fmla="*/ 374292 h 1140987"/>
                    <a:gd name="connsiteX506" fmla="*/ 138850 w 845176"/>
                    <a:gd name="connsiteY506" fmla="*/ 370670 h 1140987"/>
                    <a:gd name="connsiteX507" fmla="*/ 147906 w 845176"/>
                    <a:gd name="connsiteY507" fmla="*/ 371274 h 1140987"/>
                    <a:gd name="connsiteX508" fmla="*/ 150924 w 845176"/>
                    <a:gd name="connsiteY508" fmla="*/ 374896 h 1140987"/>
                    <a:gd name="connsiteX509" fmla="*/ 154547 w 845176"/>
                    <a:gd name="connsiteY509" fmla="*/ 369463 h 1140987"/>
                    <a:gd name="connsiteX510" fmla="*/ 160583 w 845176"/>
                    <a:gd name="connsiteY510" fmla="*/ 366444 h 1140987"/>
                    <a:gd name="connsiteX511" fmla="*/ 167828 w 845176"/>
                    <a:gd name="connsiteY511" fmla="*/ 371877 h 1140987"/>
                    <a:gd name="connsiteX512" fmla="*/ 169639 w 845176"/>
                    <a:gd name="connsiteY512" fmla="*/ 376103 h 1140987"/>
                    <a:gd name="connsiteX513" fmla="*/ 175072 w 845176"/>
                    <a:gd name="connsiteY513" fmla="*/ 383348 h 1140987"/>
                    <a:gd name="connsiteX514" fmla="*/ 179298 w 845176"/>
                    <a:gd name="connsiteY514" fmla="*/ 383348 h 1140987"/>
                    <a:gd name="connsiteX515" fmla="*/ 182920 w 845176"/>
                    <a:gd name="connsiteY515" fmla="*/ 375500 h 1140987"/>
                    <a:gd name="connsiteX516" fmla="*/ 187750 w 845176"/>
                    <a:gd name="connsiteY516" fmla="*/ 373085 h 1140987"/>
                    <a:gd name="connsiteX517" fmla="*/ 193787 w 845176"/>
                    <a:gd name="connsiteY517" fmla="*/ 372481 h 1140987"/>
                    <a:gd name="connsiteX518" fmla="*/ 198616 w 845176"/>
                    <a:gd name="connsiteY518" fmla="*/ 370670 h 1140987"/>
                    <a:gd name="connsiteX519" fmla="*/ 206465 w 845176"/>
                    <a:gd name="connsiteY519" fmla="*/ 370670 h 1140987"/>
                    <a:gd name="connsiteX520" fmla="*/ 209483 w 845176"/>
                    <a:gd name="connsiteY520" fmla="*/ 367048 h 1140987"/>
                    <a:gd name="connsiteX521" fmla="*/ 216727 w 845176"/>
                    <a:gd name="connsiteY521" fmla="*/ 369463 h 1140987"/>
                    <a:gd name="connsiteX522" fmla="*/ 218538 w 845176"/>
                    <a:gd name="connsiteY522" fmla="*/ 367652 h 1140987"/>
                    <a:gd name="connsiteX523" fmla="*/ 226990 w 845176"/>
                    <a:gd name="connsiteY523" fmla="*/ 376103 h 1140987"/>
                    <a:gd name="connsiteX524" fmla="*/ 230612 w 845176"/>
                    <a:gd name="connsiteY524" fmla="*/ 374896 h 1140987"/>
                    <a:gd name="connsiteX525" fmla="*/ 233027 w 845176"/>
                    <a:gd name="connsiteY525" fmla="*/ 371877 h 1140987"/>
                    <a:gd name="connsiteX526" fmla="*/ 238460 w 845176"/>
                    <a:gd name="connsiteY526" fmla="*/ 372481 h 1140987"/>
                    <a:gd name="connsiteX527" fmla="*/ 244497 w 845176"/>
                    <a:gd name="connsiteY527" fmla="*/ 375500 h 1140987"/>
                    <a:gd name="connsiteX528" fmla="*/ 248120 w 845176"/>
                    <a:gd name="connsiteY528" fmla="*/ 373085 h 1140987"/>
                    <a:gd name="connsiteX529" fmla="*/ 253553 w 845176"/>
                    <a:gd name="connsiteY529" fmla="*/ 359200 h 1140987"/>
                    <a:gd name="connsiteX530" fmla="*/ 252949 w 845176"/>
                    <a:gd name="connsiteY530" fmla="*/ 348333 h 1140987"/>
                    <a:gd name="connsiteX531" fmla="*/ 257779 w 845176"/>
                    <a:gd name="connsiteY531" fmla="*/ 348333 h 1140987"/>
                    <a:gd name="connsiteX532" fmla="*/ 260797 w 845176"/>
                    <a:gd name="connsiteY532" fmla="*/ 339881 h 1140987"/>
                    <a:gd name="connsiteX533" fmla="*/ 267438 w 845176"/>
                    <a:gd name="connsiteY533" fmla="*/ 341692 h 1140987"/>
                    <a:gd name="connsiteX534" fmla="*/ 272267 w 845176"/>
                    <a:gd name="connsiteY534" fmla="*/ 339881 h 1140987"/>
                    <a:gd name="connsiteX535" fmla="*/ 277701 w 845176"/>
                    <a:gd name="connsiteY535" fmla="*/ 341089 h 1140987"/>
                    <a:gd name="connsiteX536" fmla="*/ 290982 w 845176"/>
                    <a:gd name="connsiteY536" fmla="*/ 337467 h 1140987"/>
                    <a:gd name="connsiteX537" fmla="*/ 296415 w 845176"/>
                    <a:gd name="connsiteY537" fmla="*/ 338070 h 1140987"/>
                    <a:gd name="connsiteX538" fmla="*/ 296415 w 845176"/>
                    <a:gd name="connsiteY538" fmla="*/ 335052 h 1140987"/>
                    <a:gd name="connsiteX539" fmla="*/ 301849 w 845176"/>
                    <a:gd name="connsiteY539" fmla="*/ 322978 h 1140987"/>
                    <a:gd name="connsiteX540" fmla="*/ 307886 w 845176"/>
                    <a:gd name="connsiteY540" fmla="*/ 313923 h 1140987"/>
                    <a:gd name="connsiteX541" fmla="*/ 313319 w 845176"/>
                    <a:gd name="connsiteY541" fmla="*/ 310301 h 1140987"/>
                    <a:gd name="connsiteX542" fmla="*/ 317545 w 845176"/>
                    <a:gd name="connsiteY542" fmla="*/ 301849 h 1140987"/>
                    <a:gd name="connsiteX543" fmla="*/ 312112 w 845176"/>
                    <a:gd name="connsiteY543" fmla="*/ 297623 h 1140987"/>
                    <a:gd name="connsiteX544" fmla="*/ 312112 w 845176"/>
                    <a:gd name="connsiteY544" fmla="*/ 294001 h 1140987"/>
                    <a:gd name="connsiteX545" fmla="*/ 309093 w 845176"/>
                    <a:gd name="connsiteY545" fmla="*/ 289775 h 1140987"/>
                    <a:gd name="connsiteX546" fmla="*/ 294604 w 845176"/>
                    <a:gd name="connsiteY546" fmla="*/ 285549 h 1140987"/>
                    <a:gd name="connsiteX547" fmla="*/ 289171 w 845176"/>
                    <a:gd name="connsiteY547" fmla="*/ 286153 h 1140987"/>
                    <a:gd name="connsiteX548" fmla="*/ 284341 w 845176"/>
                    <a:gd name="connsiteY548" fmla="*/ 283738 h 1140987"/>
                    <a:gd name="connsiteX549" fmla="*/ 274079 w 845176"/>
                    <a:gd name="connsiteY549" fmla="*/ 285549 h 1140987"/>
                    <a:gd name="connsiteX550" fmla="*/ 270456 w 845176"/>
                    <a:gd name="connsiteY550" fmla="*/ 284341 h 1140987"/>
                    <a:gd name="connsiteX551" fmla="*/ 265023 w 845176"/>
                    <a:gd name="connsiteY551" fmla="*/ 286153 h 1140987"/>
                    <a:gd name="connsiteX552" fmla="*/ 258986 w 845176"/>
                    <a:gd name="connsiteY552" fmla="*/ 284945 h 1140987"/>
                    <a:gd name="connsiteX553" fmla="*/ 255364 w 845176"/>
                    <a:gd name="connsiteY553" fmla="*/ 282530 h 1140987"/>
                    <a:gd name="connsiteX554" fmla="*/ 257175 w 845176"/>
                    <a:gd name="connsiteY554" fmla="*/ 277701 h 1140987"/>
                    <a:gd name="connsiteX555" fmla="*/ 254760 w 845176"/>
                    <a:gd name="connsiteY555" fmla="*/ 275286 h 1140987"/>
                    <a:gd name="connsiteX556" fmla="*/ 256571 w 845176"/>
                    <a:gd name="connsiteY556" fmla="*/ 269853 h 1140987"/>
                    <a:gd name="connsiteX557" fmla="*/ 261401 w 845176"/>
                    <a:gd name="connsiteY557" fmla="*/ 267438 h 1140987"/>
                    <a:gd name="connsiteX558" fmla="*/ 266231 w 845176"/>
                    <a:gd name="connsiteY558" fmla="*/ 268042 h 1140987"/>
                    <a:gd name="connsiteX559" fmla="*/ 274079 w 845176"/>
                    <a:gd name="connsiteY559" fmla="*/ 262608 h 1140987"/>
                    <a:gd name="connsiteX560" fmla="*/ 276493 w 845176"/>
                    <a:gd name="connsiteY560" fmla="*/ 256571 h 1140987"/>
                    <a:gd name="connsiteX561" fmla="*/ 284341 w 845176"/>
                    <a:gd name="connsiteY561" fmla="*/ 250534 h 1140987"/>
                    <a:gd name="connsiteX562" fmla="*/ 286756 w 845176"/>
                    <a:gd name="connsiteY562" fmla="*/ 239668 h 1140987"/>
                    <a:gd name="connsiteX563" fmla="*/ 288567 w 845176"/>
                    <a:gd name="connsiteY563" fmla="*/ 224575 h 1140987"/>
                    <a:gd name="connsiteX564" fmla="*/ 286756 w 845176"/>
                    <a:gd name="connsiteY564" fmla="*/ 222764 h 1140987"/>
                    <a:gd name="connsiteX565" fmla="*/ 282530 w 845176"/>
                    <a:gd name="connsiteY565" fmla="*/ 226990 h 1140987"/>
                    <a:gd name="connsiteX566" fmla="*/ 278304 w 845176"/>
                    <a:gd name="connsiteY566" fmla="*/ 226386 h 1140987"/>
                    <a:gd name="connsiteX567" fmla="*/ 283738 w 845176"/>
                    <a:gd name="connsiteY567" fmla="*/ 221557 h 1140987"/>
                    <a:gd name="connsiteX568" fmla="*/ 284341 w 845176"/>
                    <a:gd name="connsiteY568" fmla="*/ 219142 h 1140987"/>
                    <a:gd name="connsiteX569" fmla="*/ 278908 w 845176"/>
                    <a:gd name="connsiteY569" fmla="*/ 217935 h 1140987"/>
                    <a:gd name="connsiteX570" fmla="*/ 277097 w 845176"/>
                    <a:gd name="connsiteY570" fmla="*/ 207672 h 1140987"/>
                    <a:gd name="connsiteX571" fmla="*/ 279512 w 845176"/>
                    <a:gd name="connsiteY571" fmla="*/ 201635 h 1140987"/>
                    <a:gd name="connsiteX572" fmla="*/ 279512 w 845176"/>
                    <a:gd name="connsiteY572" fmla="*/ 197409 h 1140987"/>
                    <a:gd name="connsiteX573" fmla="*/ 282530 w 845176"/>
                    <a:gd name="connsiteY573" fmla="*/ 194391 h 1140987"/>
                    <a:gd name="connsiteX574" fmla="*/ 280719 w 845176"/>
                    <a:gd name="connsiteY574" fmla="*/ 189561 h 1140987"/>
                    <a:gd name="connsiteX575" fmla="*/ 281323 w 845176"/>
                    <a:gd name="connsiteY575" fmla="*/ 186543 h 1140987"/>
                    <a:gd name="connsiteX576" fmla="*/ 294604 w 845176"/>
                    <a:gd name="connsiteY576" fmla="*/ 182920 h 1140987"/>
                    <a:gd name="connsiteX577" fmla="*/ 297623 w 845176"/>
                    <a:gd name="connsiteY577" fmla="*/ 183524 h 1140987"/>
                    <a:gd name="connsiteX578" fmla="*/ 297019 w 845176"/>
                    <a:gd name="connsiteY578" fmla="*/ 187750 h 1140987"/>
                    <a:gd name="connsiteX579" fmla="*/ 303056 w 845176"/>
                    <a:gd name="connsiteY579" fmla="*/ 187750 h 1140987"/>
                    <a:gd name="connsiteX580" fmla="*/ 304867 w 845176"/>
                    <a:gd name="connsiteY580" fmla="*/ 182920 h 1140987"/>
                    <a:gd name="connsiteX581" fmla="*/ 307886 w 845176"/>
                    <a:gd name="connsiteY581" fmla="*/ 185335 h 1140987"/>
                    <a:gd name="connsiteX582" fmla="*/ 309697 w 845176"/>
                    <a:gd name="connsiteY582" fmla="*/ 181109 h 1140987"/>
                    <a:gd name="connsiteX583" fmla="*/ 314526 w 845176"/>
                    <a:gd name="connsiteY583" fmla="*/ 179902 h 1140987"/>
                    <a:gd name="connsiteX584" fmla="*/ 316941 w 845176"/>
                    <a:gd name="connsiteY584" fmla="*/ 174469 h 1140987"/>
                    <a:gd name="connsiteX585" fmla="*/ 315734 w 845176"/>
                    <a:gd name="connsiteY585" fmla="*/ 171450 h 1140987"/>
                    <a:gd name="connsiteX586" fmla="*/ 321167 w 845176"/>
                    <a:gd name="connsiteY586" fmla="*/ 167828 h 1140987"/>
                    <a:gd name="connsiteX587" fmla="*/ 318752 w 845176"/>
                    <a:gd name="connsiteY587" fmla="*/ 164809 h 1140987"/>
                    <a:gd name="connsiteX588" fmla="*/ 321771 w 845176"/>
                    <a:gd name="connsiteY588" fmla="*/ 159980 h 1140987"/>
                    <a:gd name="connsiteX589" fmla="*/ 324789 w 845176"/>
                    <a:gd name="connsiteY589" fmla="*/ 152132 h 1140987"/>
                    <a:gd name="connsiteX590" fmla="*/ 321167 w 845176"/>
                    <a:gd name="connsiteY590" fmla="*/ 150321 h 1140987"/>
                    <a:gd name="connsiteX591" fmla="*/ 329015 w 845176"/>
                    <a:gd name="connsiteY591" fmla="*/ 145491 h 1140987"/>
                    <a:gd name="connsiteX592" fmla="*/ 329619 w 845176"/>
                    <a:gd name="connsiteY592" fmla="*/ 143680 h 1140987"/>
                    <a:gd name="connsiteX593" fmla="*/ 341693 w 845176"/>
                    <a:gd name="connsiteY593" fmla="*/ 143680 h 1140987"/>
                    <a:gd name="connsiteX594" fmla="*/ 342296 w 845176"/>
                    <a:gd name="connsiteY594" fmla="*/ 141869 h 1140987"/>
                    <a:gd name="connsiteX595" fmla="*/ 348333 w 845176"/>
                    <a:gd name="connsiteY595" fmla="*/ 140661 h 1140987"/>
                    <a:gd name="connsiteX596" fmla="*/ 350748 w 845176"/>
                    <a:gd name="connsiteY596" fmla="*/ 145491 h 1140987"/>
                    <a:gd name="connsiteX597" fmla="*/ 348333 w 845176"/>
                    <a:gd name="connsiteY597" fmla="*/ 146698 h 1140987"/>
                    <a:gd name="connsiteX598" fmla="*/ 347126 w 845176"/>
                    <a:gd name="connsiteY598" fmla="*/ 151528 h 1140987"/>
                    <a:gd name="connsiteX599" fmla="*/ 351955 w 845176"/>
                    <a:gd name="connsiteY599" fmla="*/ 153339 h 1140987"/>
                    <a:gd name="connsiteX600" fmla="*/ 353163 w 845176"/>
                    <a:gd name="connsiteY600" fmla="*/ 150321 h 1140987"/>
                    <a:gd name="connsiteX601" fmla="*/ 356785 w 845176"/>
                    <a:gd name="connsiteY601" fmla="*/ 148509 h 1140987"/>
                    <a:gd name="connsiteX602" fmla="*/ 361615 w 845176"/>
                    <a:gd name="connsiteY602" fmla="*/ 153943 h 1140987"/>
                    <a:gd name="connsiteX603" fmla="*/ 364633 w 845176"/>
                    <a:gd name="connsiteY603" fmla="*/ 153339 h 1140987"/>
                    <a:gd name="connsiteX604" fmla="*/ 370066 w 845176"/>
                    <a:gd name="connsiteY604" fmla="*/ 147302 h 1140987"/>
                    <a:gd name="connsiteX605" fmla="*/ 379122 w 845176"/>
                    <a:gd name="connsiteY605" fmla="*/ 149717 h 1140987"/>
                    <a:gd name="connsiteX606" fmla="*/ 383348 w 845176"/>
                    <a:gd name="connsiteY606" fmla="*/ 155754 h 1140987"/>
                    <a:gd name="connsiteX607" fmla="*/ 389385 w 845176"/>
                    <a:gd name="connsiteY607" fmla="*/ 158772 h 1140987"/>
                    <a:gd name="connsiteX608" fmla="*/ 390592 w 845176"/>
                    <a:gd name="connsiteY608" fmla="*/ 162395 h 1140987"/>
                    <a:gd name="connsiteX609" fmla="*/ 398440 w 845176"/>
                    <a:gd name="connsiteY609" fmla="*/ 164809 h 1140987"/>
                    <a:gd name="connsiteX610" fmla="*/ 400251 w 845176"/>
                    <a:gd name="connsiteY610" fmla="*/ 163602 h 1140987"/>
                    <a:gd name="connsiteX611" fmla="*/ 411118 w 845176"/>
                    <a:gd name="connsiteY611" fmla="*/ 166017 h 1140987"/>
                    <a:gd name="connsiteX612" fmla="*/ 412929 w 845176"/>
                    <a:gd name="connsiteY612" fmla="*/ 173261 h 1140987"/>
                    <a:gd name="connsiteX613" fmla="*/ 411118 w 845176"/>
                    <a:gd name="connsiteY613" fmla="*/ 176883 h 1140987"/>
                    <a:gd name="connsiteX614" fmla="*/ 405685 w 845176"/>
                    <a:gd name="connsiteY614" fmla="*/ 178694 h 1140987"/>
                    <a:gd name="connsiteX615" fmla="*/ 406892 w 845176"/>
                    <a:gd name="connsiteY615" fmla="*/ 182317 h 1140987"/>
                    <a:gd name="connsiteX616" fmla="*/ 412929 w 845176"/>
                    <a:gd name="connsiteY616" fmla="*/ 182920 h 1140987"/>
                    <a:gd name="connsiteX617" fmla="*/ 412325 w 845176"/>
                    <a:gd name="connsiteY617" fmla="*/ 179902 h 1140987"/>
                    <a:gd name="connsiteX618" fmla="*/ 420173 w 845176"/>
                    <a:gd name="connsiteY618" fmla="*/ 179298 h 1140987"/>
                    <a:gd name="connsiteX619" fmla="*/ 425607 w 845176"/>
                    <a:gd name="connsiteY619" fmla="*/ 187146 h 1140987"/>
                    <a:gd name="connsiteX620" fmla="*/ 429229 w 845176"/>
                    <a:gd name="connsiteY620" fmla="*/ 187750 h 1140987"/>
                    <a:gd name="connsiteX621" fmla="*/ 441906 w 845176"/>
                    <a:gd name="connsiteY621" fmla="*/ 196202 h 1140987"/>
                    <a:gd name="connsiteX622" fmla="*/ 460621 w 845176"/>
                    <a:gd name="connsiteY622" fmla="*/ 194994 h 1140987"/>
                    <a:gd name="connsiteX623" fmla="*/ 460017 w 845176"/>
                    <a:gd name="connsiteY623" fmla="*/ 185335 h 1140987"/>
                    <a:gd name="connsiteX624" fmla="*/ 463639 w 845176"/>
                    <a:gd name="connsiteY624" fmla="*/ 185939 h 1140987"/>
                    <a:gd name="connsiteX625" fmla="*/ 467262 w 845176"/>
                    <a:gd name="connsiteY625" fmla="*/ 184128 h 1140987"/>
                    <a:gd name="connsiteX626" fmla="*/ 467865 w 845176"/>
                    <a:gd name="connsiteY626" fmla="*/ 170846 h 1140987"/>
                    <a:gd name="connsiteX627" fmla="*/ 472091 w 845176"/>
                    <a:gd name="connsiteY627" fmla="*/ 176883 h 1140987"/>
                    <a:gd name="connsiteX628" fmla="*/ 473902 w 845176"/>
                    <a:gd name="connsiteY628" fmla="*/ 181713 h 1140987"/>
                    <a:gd name="connsiteX629" fmla="*/ 479336 w 845176"/>
                    <a:gd name="connsiteY629" fmla="*/ 178091 h 1140987"/>
                    <a:gd name="connsiteX630" fmla="*/ 478128 w 845176"/>
                    <a:gd name="connsiteY630" fmla="*/ 171450 h 1140987"/>
                    <a:gd name="connsiteX631" fmla="*/ 480543 w 845176"/>
                    <a:gd name="connsiteY631" fmla="*/ 166620 h 1140987"/>
                    <a:gd name="connsiteX632" fmla="*/ 485373 w 845176"/>
                    <a:gd name="connsiteY632" fmla="*/ 162998 h 1140987"/>
                    <a:gd name="connsiteX633" fmla="*/ 487184 w 845176"/>
                    <a:gd name="connsiteY633" fmla="*/ 155150 h 1140987"/>
                    <a:gd name="connsiteX634" fmla="*/ 488995 w 845176"/>
                    <a:gd name="connsiteY634" fmla="*/ 153943 h 1140987"/>
                    <a:gd name="connsiteX635" fmla="*/ 487787 w 845176"/>
                    <a:gd name="connsiteY635" fmla="*/ 147906 h 1140987"/>
                    <a:gd name="connsiteX636" fmla="*/ 490202 w 845176"/>
                    <a:gd name="connsiteY636" fmla="*/ 144284 h 1140987"/>
                    <a:gd name="connsiteX637" fmla="*/ 490806 w 845176"/>
                    <a:gd name="connsiteY637" fmla="*/ 140661 h 1140987"/>
                    <a:gd name="connsiteX638" fmla="*/ 494428 w 845176"/>
                    <a:gd name="connsiteY638" fmla="*/ 132210 h 1140987"/>
                    <a:gd name="connsiteX639" fmla="*/ 499258 w 845176"/>
                    <a:gd name="connsiteY639" fmla="*/ 131002 h 1140987"/>
                    <a:gd name="connsiteX640" fmla="*/ 493824 w 845176"/>
                    <a:gd name="connsiteY640" fmla="*/ 119532 h 1140987"/>
                    <a:gd name="connsiteX641" fmla="*/ 499861 w 845176"/>
                    <a:gd name="connsiteY641" fmla="*/ 109873 h 1140987"/>
                    <a:gd name="connsiteX642" fmla="*/ 508917 w 845176"/>
                    <a:gd name="connsiteY642" fmla="*/ 112891 h 1140987"/>
                    <a:gd name="connsiteX643" fmla="*/ 510728 w 845176"/>
                    <a:gd name="connsiteY643" fmla="*/ 102025 h 1140987"/>
                    <a:gd name="connsiteX644" fmla="*/ 517972 w 845176"/>
                    <a:gd name="connsiteY644" fmla="*/ 104440 h 1140987"/>
                    <a:gd name="connsiteX645" fmla="*/ 525820 w 845176"/>
                    <a:gd name="connsiteY645" fmla="*/ 102629 h 1140987"/>
                    <a:gd name="connsiteX646" fmla="*/ 530650 w 845176"/>
                    <a:gd name="connsiteY646" fmla="*/ 97799 h 1140987"/>
                    <a:gd name="connsiteX647" fmla="*/ 537291 w 845176"/>
                    <a:gd name="connsiteY647" fmla="*/ 99006 h 1140987"/>
                    <a:gd name="connsiteX648" fmla="*/ 546950 w 845176"/>
                    <a:gd name="connsiteY648" fmla="*/ 99006 h 1140987"/>
                    <a:gd name="connsiteX649" fmla="*/ 547553 w 845176"/>
                    <a:gd name="connsiteY649" fmla="*/ 109873 h 1140987"/>
                    <a:gd name="connsiteX650" fmla="*/ 554194 w 845176"/>
                    <a:gd name="connsiteY650" fmla="*/ 99610 h 1140987"/>
                    <a:gd name="connsiteX651" fmla="*/ 560835 w 845176"/>
                    <a:gd name="connsiteY651" fmla="*/ 100818 h 1140987"/>
                    <a:gd name="connsiteX652" fmla="*/ 568079 w 845176"/>
                    <a:gd name="connsiteY652" fmla="*/ 97799 h 1140987"/>
                    <a:gd name="connsiteX653" fmla="*/ 571701 w 845176"/>
                    <a:gd name="connsiteY653" fmla="*/ 101421 h 1140987"/>
                    <a:gd name="connsiteX654" fmla="*/ 582568 w 845176"/>
                    <a:gd name="connsiteY654" fmla="*/ 105647 h 1140987"/>
                    <a:gd name="connsiteX655" fmla="*/ 586190 w 845176"/>
                    <a:gd name="connsiteY655" fmla="*/ 111080 h 1140987"/>
                    <a:gd name="connsiteX656" fmla="*/ 589209 w 845176"/>
                    <a:gd name="connsiteY656" fmla="*/ 111080 h 1140987"/>
                    <a:gd name="connsiteX657" fmla="*/ 593434 w 845176"/>
                    <a:gd name="connsiteY657" fmla="*/ 108665 h 1140987"/>
                    <a:gd name="connsiteX658" fmla="*/ 603093 w 845176"/>
                    <a:gd name="connsiteY658" fmla="*/ 112288 h 1140987"/>
                    <a:gd name="connsiteX659" fmla="*/ 607319 w 845176"/>
                    <a:gd name="connsiteY659" fmla="*/ 110477 h 1140987"/>
                    <a:gd name="connsiteX660" fmla="*/ 608527 w 845176"/>
                    <a:gd name="connsiteY660" fmla="*/ 105647 h 1140987"/>
                    <a:gd name="connsiteX661" fmla="*/ 606716 w 845176"/>
                    <a:gd name="connsiteY661" fmla="*/ 102629 h 1140987"/>
                    <a:gd name="connsiteX662" fmla="*/ 611545 w 845176"/>
                    <a:gd name="connsiteY662" fmla="*/ 94781 h 1140987"/>
                    <a:gd name="connsiteX663" fmla="*/ 615771 w 845176"/>
                    <a:gd name="connsiteY663" fmla="*/ 93573 h 1140987"/>
                    <a:gd name="connsiteX664" fmla="*/ 618790 w 845176"/>
                    <a:gd name="connsiteY664" fmla="*/ 85725 h 1140987"/>
                    <a:gd name="connsiteX665" fmla="*/ 627845 w 845176"/>
                    <a:gd name="connsiteY665" fmla="*/ 84518 h 1140987"/>
                    <a:gd name="connsiteX666" fmla="*/ 628449 w 845176"/>
                    <a:gd name="connsiteY666" fmla="*/ 88140 h 1140987"/>
                    <a:gd name="connsiteX667" fmla="*/ 633278 w 845176"/>
                    <a:gd name="connsiteY667" fmla="*/ 89951 h 1140987"/>
                    <a:gd name="connsiteX668" fmla="*/ 644145 w 845176"/>
                    <a:gd name="connsiteY668" fmla="*/ 87536 h 1140987"/>
                    <a:gd name="connsiteX669" fmla="*/ 643541 w 845176"/>
                    <a:gd name="connsiteY669" fmla="*/ 79688 h 1140987"/>
                    <a:gd name="connsiteX670" fmla="*/ 646560 w 845176"/>
                    <a:gd name="connsiteY670" fmla="*/ 80896 h 1140987"/>
                    <a:gd name="connsiteX671" fmla="*/ 647767 w 845176"/>
                    <a:gd name="connsiteY671" fmla="*/ 76670 h 1140987"/>
                    <a:gd name="connsiteX672" fmla="*/ 651389 w 845176"/>
                    <a:gd name="connsiteY672" fmla="*/ 74859 h 1140987"/>
                    <a:gd name="connsiteX673" fmla="*/ 658634 w 845176"/>
                    <a:gd name="connsiteY673" fmla="*/ 74859 h 1140987"/>
                    <a:gd name="connsiteX674" fmla="*/ 658634 w 845176"/>
                    <a:gd name="connsiteY674" fmla="*/ 70029 h 1140987"/>
                    <a:gd name="connsiteX675" fmla="*/ 663463 w 845176"/>
                    <a:gd name="connsiteY675" fmla="*/ 68218 h 1140987"/>
                    <a:gd name="connsiteX676" fmla="*/ 661652 w 845176"/>
                    <a:gd name="connsiteY676" fmla="*/ 65199 h 1140987"/>
                    <a:gd name="connsiteX677" fmla="*/ 656823 w 845176"/>
                    <a:gd name="connsiteY677" fmla="*/ 68822 h 1140987"/>
                    <a:gd name="connsiteX678" fmla="*/ 655615 w 845176"/>
                    <a:gd name="connsiteY678" fmla="*/ 63388 h 1140987"/>
                    <a:gd name="connsiteX679" fmla="*/ 658634 w 845176"/>
                    <a:gd name="connsiteY679" fmla="*/ 53125 h 1140987"/>
                    <a:gd name="connsiteX680" fmla="*/ 655615 w 845176"/>
                    <a:gd name="connsiteY680" fmla="*/ 53729 h 1140987"/>
                    <a:gd name="connsiteX681" fmla="*/ 648975 w 845176"/>
                    <a:gd name="connsiteY681" fmla="*/ 49503 h 1140987"/>
                    <a:gd name="connsiteX682" fmla="*/ 658030 w 845176"/>
                    <a:gd name="connsiteY682" fmla="*/ 45881 h 1140987"/>
                    <a:gd name="connsiteX683" fmla="*/ 665878 w 845176"/>
                    <a:gd name="connsiteY683" fmla="*/ 45277 h 1140987"/>
                    <a:gd name="connsiteX684" fmla="*/ 674330 w 845176"/>
                    <a:gd name="connsiteY684" fmla="*/ 47088 h 1140987"/>
                    <a:gd name="connsiteX685" fmla="*/ 682178 w 845176"/>
                    <a:gd name="connsiteY685" fmla="*/ 48296 h 1140987"/>
                    <a:gd name="connsiteX686" fmla="*/ 683385 w 845176"/>
                    <a:gd name="connsiteY686" fmla="*/ 54936 h 1140987"/>
                    <a:gd name="connsiteX687" fmla="*/ 688215 w 845176"/>
                    <a:gd name="connsiteY687" fmla="*/ 60973 h 1140987"/>
                    <a:gd name="connsiteX688" fmla="*/ 692441 w 845176"/>
                    <a:gd name="connsiteY688" fmla="*/ 61577 h 1140987"/>
                    <a:gd name="connsiteX689" fmla="*/ 696063 w 845176"/>
                    <a:gd name="connsiteY689" fmla="*/ 57351 h 1140987"/>
                    <a:gd name="connsiteX690" fmla="*/ 699685 w 845176"/>
                    <a:gd name="connsiteY690" fmla="*/ 59162 h 1140987"/>
                    <a:gd name="connsiteX691" fmla="*/ 702100 w 845176"/>
                    <a:gd name="connsiteY691" fmla="*/ 56144 h 1140987"/>
                    <a:gd name="connsiteX692" fmla="*/ 709948 w 845176"/>
                    <a:gd name="connsiteY692" fmla="*/ 54333 h 1140987"/>
                    <a:gd name="connsiteX693" fmla="*/ 712966 w 845176"/>
                    <a:gd name="connsiteY693" fmla="*/ 59766 h 1140987"/>
                    <a:gd name="connsiteX694" fmla="*/ 709948 w 845176"/>
                    <a:gd name="connsiteY694" fmla="*/ 63992 h 1140987"/>
                    <a:gd name="connsiteX695" fmla="*/ 719607 w 845176"/>
                    <a:gd name="connsiteY695" fmla="*/ 68822 h 1140987"/>
                    <a:gd name="connsiteX696" fmla="*/ 722626 w 845176"/>
                    <a:gd name="connsiteY696" fmla="*/ 68218 h 1140987"/>
                    <a:gd name="connsiteX697" fmla="*/ 725644 w 845176"/>
                    <a:gd name="connsiteY697" fmla="*/ 72444 h 1140987"/>
                    <a:gd name="connsiteX698" fmla="*/ 733492 w 845176"/>
                    <a:gd name="connsiteY698" fmla="*/ 65803 h 1140987"/>
                    <a:gd name="connsiteX699" fmla="*/ 726851 w 845176"/>
                    <a:gd name="connsiteY699" fmla="*/ 62181 h 1140987"/>
                    <a:gd name="connsiteX700" fmla="*/ 720814 w 845176"/>
                    <a:gd name="connsiteY700" fmla="*/ 57955 h 1140987"/>
                    <a:gd name="connsiteX701" fmla="*/ 725644 w 845176"/>
                    <a:gd name="connsiteY701" fmla="*/ 54936 h 1140987"/>
                    <a:gd name="connsiteX702" fmla="*/ 727455 w 845176"/>
                    <a:gd name="connsiteY702" fmla="*/ 50107 h 1140987"/>
                    <a:gd name="connsiteX703" fmla="*/ 732888 w 845176"/>
                    <a:gd name="connsiteY703" fmla="*/ 54333 h 1140987"/>
                    <a:gd name="connsiteX704" fmla="*/ 737114 w 845176"/>
                    <a:gd name="connsiteY704" fmla="*/ 49503 h 1140987"/>
                    <a:gd name="connsiteX705" fmla="*/ 747377 w 845176"/>
                    <a:gd name="connsiteY705" fmla="*/ 49503 h 1140987"/>
                    <a:gd name="connsiteX706" fmla="*/ 758244 w 845176"/>
                    <a:gd name="connsiteY706" fmla="*/ 43466 h 1140987"/>
                    <a:gd name="connsiteX707" fmla="*/ 762470 w 845176"/>
                    <a:gd name="connsiteY707" fmla="*/ 42862 h 1140987"/>
                    <a:gd name="connsiteX708" fmla="*/ 768506 w 845176"/>
                    <a:gd name="connsiteY708" fmla="*/ 35014 h 1140987"/>
                    <a:gd name="connsiteX709" fmla="*/ 764884 w 845176"/>
                    <a:gd name="connsiteY709" fmla="*/ 32600 h 1140987"/>
                    <a:gd name="connsiteX710" fmla="*/ 764281 w 845176"/>
                    <a:gd name="connsiteY710" fmla="*/ 28374 h 1140987"/>
                    <a:gd name="connsiteX711" fmla="*/ 770318 w 845176"/>
                    <a:gd name="connsiteY711" fmla="*/ 25355 h 1140987"/>
                    <a:gd name="connsiteX712" fmla="*/ 770318 w 845176"/>
                    <a:gd name="connsiteY712" fmla="*/ 18111 h 1140987"/>
                    <a:gd name="connsiteX713" fmla="*/ 776958 w 845176"/>
                    <a:gd name="connsiteY713" fmla="*/ 16903 h 1140987"/>
                    <a:gd name="connsiteX714" fmla="*/ 779373 w 845176"/>
                    <a:gd name="connsiteY714" fmla="*/ 10866 h 1140987"/>
                    <a:gd name="connsiteX715" fmla="*/ 785410 w 845176"/>
                    <a:gd name="connsiteY715" fmla="*/ 11470 h 1140987"/>
                    <a:gd name="connsiteX716" fmla="*/ 775751 w 845176"/>
                    <a:gd name="connsiteY716" fmla="*/ 2415 h 1140987"/>
                    <a:gd name="connsiteX717" fmla="*/ 787221 w 845176"/>
                    <a:gd name="connsiteY717" fmla="*/ 3622 h 1140987"/>
                    <a:gd name="connsiteX718" fmla="*/ 792654 w 845176"/>
                    <a:gd name="connsiteY718" fmla="*/ 0 h 1140987"/>
                    <a:gd name="connsiteX719" fmla="*/ 793862 w 845176"/>
                    <a:gd name="connsiteY719" fmla="*/ 2415 h 1140987"/>
                    <a:gd name="connsiteX720" fmla="*/ 794466 w 845176"/>
                    <a:gd name="connsiteY720" fmla="*/ 1811 h 1140987"/>
                    <a:gd name="connsiteX721" fmla="*/ 796277 w 845176"/>
                    <a:gd name="connsiteY721" fmla="*/ 2415 h 1140987"/>
                    <a:gd name="connsiteX722" fmla="*/ 797484 w 845176"/>
                    <a:gd name="connsiteY722" fmla="*/ 6037 h 1140987"/>
                    <a:gd name="connsiteX723" fmla="*/ 798691 w 845176"/>
                    <a:gd name="connsiteY723" fmla="*/ 7244 h 1140987"/>
                    <a:gd name="connsiteX724" fmla="*/ 802917 w 845176"/>
                    <a:gd name="connsiteY724" fmla="*/ 7848 h 1140987"/>
                    <a:gd name="connsiteX725" fmla="*/ 805332 w 845176"/>
                    <a:gd name="connsiteY725" fmla="*/ 9055 h 1140987"/>
                    <a:gd name="connsiteX726" fmla="*/ 805936 w 845176"/>
                    <a:gd name="connsiteY726" fmla="*/ 9659 h 1140987"/>
                    <a:gd name="connsiteX727" fmla="*/ 807747 w 845176"/>
                    <a:gd name="connsiteY727" fmla="*/ 11470 h 1140987"/>
                    <a:gd name="connsiteX728" fmla="*/ 808954 w 845176"/>
                    <a:gd name="connsiteY728" fmla="*/ 12074 h 1140987"/>
                    <a:gd name="connsiteX729" fmla="*/ 809558 w 845176"/>
                    <a:gd name="connsiteY729" fmla="*/ 12677 h 1140987"/>
                    <a:gd name="connsiteX730" fmla="*/ 810162 w 845176"/>
                    <a:gd name="connsiteY730" fmla="*/ 12677 h 1140987"/>
                    <a:gd name="connsiteX731" fmla="*/ 811973 w 845176"/>
                    <a:gd name="connsiteY731" fmla="*/ 12677 h 1140987"/>
                    <a:gd name="connsiteX732" fmla="*/ 818010 w 845176"/>
                    <a:gd name="connsiteY732" fmla="*/ 13281 h 1140987"/>
                    <a:gd name="connsiteX733" fmla="*/ 822839 w 845176"/>
                    <a:gd name="connsiteY733" fmla="*/ 12074 h 1140987"/>
                    <a:gd name="connsiteX734" fmla="*/ 828876 w 845176"/>
                    <a:gd name="connsiteY734" fmla="*/ 15696 h 1140987"/>
                    <a:gd name="connsiteX735" fmla="*/ 831895 w 845176"/>
                    <a:gd name="connsiteY735" fmla="*/ 19318 h 1140987"/>
                    <a:gd name="connsiteX736" fmla="*/ 834913 w 845176"/>
                    <a:gd name="connsiteY736" fmla="*/ 31392 h 1140987"/>
                    <a:gd name="connsiteX737" fmla="*/ 843365 w 845176"/>
                    <a:gd name="connsiteY737" fmla="*/ 35014 h 1140987"/>
                    <a:gd name="connsiteX738" fmla="*/ 842761 w 845176"/>
                    <a:gd name="connsiteY738" fmla="*/ 23544 h 114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Lst>
                  <a:rect l="l" t="t" r="r" b="b"/>
                  <a:pathLst>
                    <a:path w="845176" h="1140987">
                      <a:moveTo>
                        <a:pt x="636297" y="885624"/>
                      </a:moveTo>
                      <a:lnTo>
                        <a:pt x="641127" y="889246"/>
                      </a:lnTo>
                      <a:lnTo>
                        <a:pt x="636901" y="894679"/>
                      </a:lnTo>
                      <a:lnTo>
                        <a:pt x="639315" y="900112"/>
                      </a:lnTo>
                      <a:lnTo>
                        <a:pt x="648975" y="908564"/>
                      </a:lnTo>
                      <a:lnTo>
                        <a:pt x="648371" y="911583"/>
                      </a:lnTo>
                      <a:lnTo>
                        <a:pt x="638108" y="904942"/>
                      </a:lnTo>
                      <a:lnTo>
                        <a:pt x="629053" y="901320"/>
                      </a:lnTo>
                      <a:lnTo>
                        <a:pt x="617582" y="898302"/>
                      </a:lnTo>
                      <a:lnTo>
                        <a:pt x="613960" y="895887"/>
                      </a:lnTo>
                      <a:lnTo>
                        <a:pt x="617582" y="893472"/>
                      </a:lnTo>
                      <a:lnTo>
                        <a:pt x="627241" y="892868"/>
                      </a:lnTo>
                      <a:lnTo>
                        <a:pt x="631467" y="887435"/>
                      </a:lnTo>
                      <a:lnTo>
                        <a:pt x="636297" y="885624"/>
                      </a:lnTo>
                      <a:close/>
                      <a:moveTo>
                        <a:pt x="842761" y="23544"/>
                      </a:moveTo>
                      <a:lnTo>
                        <a:pt x="845780" y="22940"/>
                      </a:lnTo>
                      <a:lnTo>
                        <a:pt x="845780" y="28977"/>
                      </a:lnTo>
                      <a:lnTo>
                        <a:pt x="849402" y="44674"/>
                      </a:lnTo>
                      <a:lnTo>
                        <a:pt x="849402" y="51314"/>
                      </a:lnTo>
                      <a:lnTo>
                        <a:pt x="847591" y="60370"/>
                      </a:lnTo>
                      <a:lnTo>
                        <a:pt x="842158" y="79688"/>
                      </a:lnTo>
                      <a:lnTo>
                        <a:pt x="839743" y="83914"/>
                      </a:lnTo>
                      <a:lnTo>
                        <a:pt x="840950" y="94177"/>
                      </a:lnTo>
                      <a:lnTo>
                        <a:pt x="836121" y="102025"/>
                      </a:lnTo>
                      <a:lnTo>
                        <a:pt x="835517" y="108665"/>
                      </a:lnTo>
                      <a:lnTo>
                        <a:pt x="831291" y="127984"/>
                      </a:lnTo>
                      <a:lnTo>
                        <a:pt x="829480" y="143680"/>
                      </a:lnTo>
                      <a:lnTo>
                        <a:pt x="828876" y="155150"/>
                      </a:lnTo>
                      <a:lnTo>
                        <a:pt x="830687" y="160583"/>
                      </a:lnTo>
                      <a:lnTo>
                        <a:pt x="821632" y="185939"/>
                      </a:lnTo>
                      <a:lnTo>
                        <a:pt x="819217" y="195598"/>
                      </a:lnTo>
                      <a:lnTo>
                        <a:pt x="811973" y="214313"/>
                      </a:lnTo>
                      <a:lnTo>
                        <a:pt x="810765" y="225783"/>
                      </a:lnTo>
                      <a:lnTo>
                        <a:pt x="808954" y="228801"/>
                      </a:lnTo>
                      <a:lnTo>
                        <a:pt x="802314" y="239668"/>
                      </a:lnTo>
                      <a:lnTo>
                        <a:pt x="792654" y="250534"/>
                      </a:lnTo>
                      <a:lnTo>
                        <a:pt x="787221" y="248119"/>
                      </a:lnTo>
                      <a:lnTo>
                        <a:pt x="786014" y="250534"/>
                      </a:lnTo>
                      <a:lnTo>
                        <a:pt x="789032" y="254156"/>
                      </a:lnTo>
                      <a:lnTo>
                        <a:pt x="781788" y="267438"/>
                      </a:lnTo>
                      <a:lnTo>
                        <a:pt x="780580" y="269853"/>
                      </a:lnTo>
                      <a:lnTo>
                        <a:pt x="775147" y="272267"/>
                      </a:lnTo>
                      <a:lnTo>
                        <a:pt x="775751" y="277701"/>
                      </a:lnTo>
                      <a:lnTo>
                        <a:pt x="763677" y="295812"/>
                      </a:lnTo>
                      <a:lnTo>
                        <a:pt x="754018" y="311508"/>
                      </a:lnTo>
                      <a:lnTo>
                        <a:pt x="746774" y="329619"/>
                      </a:lnTo>
                      <a:lnTo>
                        <a:pt x="744359" y="337467"/>
                      </a:lnTo>
                      <a:lnTo>
                        <a:pt x="741944" y="337467"/>
                      </a:lnTo>
                      <a:lnTo>
                        <a:pt x="738322" y="336259"/>
                      </a:lnTo>
                      <a:lnTo>
                        <a:pt x="737718" y="332637"/>
                      </a:lnTo>
                      <a:lnTo>
                        <a:pt x="736511" y="332637"/>
                      </a:lnTo>
                      <a:lnTo>
                        <a:pt x="735303" y="334448"/>
                      </a:lnTo>
                      <a:lnTo>
                        <a:pt x="734700" y="337467"/>
                      </a:lnTo>
                      <a:lnTo>
                        <a:pt x="731681" y="336259"/>
                      </a:lnTo>
                      <a:lnTo>
                        <a:pt x="731077" y="336259"/>
                      </a:lnTo>
                      <a:lnTo>
                        <a:pt x="730474" y="337467"/>
                      </a:lnTo>
                      <a:lnTo>
                        <a:pt x="729266" y="338674"/>
                      </a:lnTo>
                      <a:lnTo>
                        <a:pt x="726248" y="342900"/>
                      </a:lnTo>
                      <a:lnTo>
                        <a:pt x="724437" y="344711"/>
                      </a:lnTo>
                      <a:lnTo>
                        <a:pt x="723229" y="336259"/>
                      </a:lnTo>
                      <a:lnTo>
                        <a:pt x="719003" y="334448"/>
                      </a:lnTo>
                      <a:lnTo>
                        <a:pt x="719607" y="332033"/>
                      </a:lnTo>
                      <a:lnTo>
                        <a:pt x="719607" y="331430"/>
                      </a:lnTo>
                      <a:lnTo>
                        <a:pt x="722022" y="333241"/>
                      </a:lnTo>
                      <a:lnTo>
                        <a:pt x="725644" y="331430"/>
                      </a:lnTo>
                      <a:lnTo>
                        <a:pt x="726851" y="330222"/>
                      </a:lnTo>
                      <a:lnTo>
                        <a:pt x="722022" y="327808"/>
                      </a:lnTo>
                      <a:lnTo>
                        <a:pt x="721418" y="329619"/>
                      </a:lnTo>
                      <a:lnTo>
                        <a:pt x="719607" y="330222"/>
                      </a:lnTo>
                      <a:lnTo>
                        <a:pt x="717192" y="329619"/>
                      </a:lnTo>
                      <a:lnTo>
                        <a:pt x="714174" y="325996"/>
                      </a:lnTo>
                      <a:lnTo>
                        <a:pt x="714174" y="321167"/>
                      </a:lnTo>
                      <a:lnTo>
                        <a:pt x="709948" y="323582"/>
                      </a:lnTo>
                      <a:lnTo>
                        <a:pt x="707533" y="325996"/>
                      </a:lnTo>
                      <a:lnTo>
                        <a:pt x="706326" y="325393"/>
                      </a:lnTo>
                      <a:lnTo>
                        <a:pt x="705118" y="326600"/>
                      </a:lnTo>
                      <a:lnTo>
                        <a:pt x="704515" y="330222"/>
                      </a:lnTo>
                      <a:lnTo>
                        <a:pt x="715381" y="330222"/>
                      </a:lnTo>
                      <a:lnTo>
                        <a:pt x="716589" y="335052"/>
                      </a:lnTo>
                      <a:lnTo>
                        <a:pt x="712966" y="336259"/>
                      </a:lnTo>
                      <a:lnTo>
                        <a:pt x="712966" y="340485"/>
                      </a:lnTo>
                      <a:lnTo>
                        <a:pt x="717192" y="339881"/>
                      </a:lnTo>
                      <a:lnTo>
                        <a:pt x="717192" y="343504"/>
                      </a:lnTo>
                      <a:lnTo>
                        <a:pt x="721418" y="347729"/>
                      </a:lnTo>
                      <a:lnTo>
                        <a:pt x="714777" y="356181"/>
                      </a:lnTo>
                      <a:lnTo>
                        <a:pt x="722626" y="357389"/>
                      </a:lnTo>
                      <a:lnTo>
                        <a:pt x="727455" y="354974"/>
                      </a:lnTo>
                      <a:lnTo>
                        <a:pt x="729870" y="358596"/>
                      </a:lnTo>
                      <a:lnTo>
                        <a:pt x="734096" y="359200"/>
                      </a:lnTo>
                      <a:lnTo>
                        <a:pt x="737114" y="365237"/>
                      </a:lnTo>
                      <a:lnTo>
                        <a:pt x="735303" y="374292"/>
                      </a:lnTo>
                      <a:lnTo>
                        <a:pt x="732285" y="386366"/>
                      </a:lnTo>
                      <a:lnTo>
                        <a:pt x="728663" y="405081"/>
                      </a:lnTo>
                      <a:lnTo>
                        <a:pt x="728059" y="412929"/>
                      </a:lnTo>
                      <a:lnTo>
                        <a:pt x="728663" y="422588"/>
                      </a:lnTo>
                      <a:lnTo>
                        <a:pt x="734096" y="435266"/>
                      </a:lnTo>
                      <a:lnTo>
                        <a:pt x="736511" y="438284"/>
                      </a:lnTo>
                      <a:lnTo>
                        <a:pt x="739529" y="447943"/>
                      </a:lnTo>
                      <a:lnTo>
                        <a:pt x="743151" y="461225"/>
                      </a:lnTo>
                      <a:lnTo>
                        <a:pt x="744962" y="461225"/>
                      </a:lnTo>
                      <a:lnTo>
                        <a:pt x="744962" y="475713"/>
                      </a:lnTo>
                      <a:lnTo>
                        <a:pt x="746774" y="486580"/>
                      </a:lnTo>
                      <a:lnTo>
                        <a:pt x="749188" y="505898"/>
                      </a:lnTo>
                      <a:lnTo>
                        <a:pt x="747981" y="540309"/>
                      </a:lnTo>
                      <a:lnTo>
                        <a:pt x="747377" y="540913"/>
                      </a:lnTo>
                      <a:lnTo>
                        <a:pt x="744359" y="540309"/>
                      </a:lnTo>
                      <a:lnTo>
                        <a:pt x="743755" y="540309"/>
                      </a:lnTo>
                      <a:lnTo>
                        <a:pt x="741944" y="538498"/>
                      </a:lnTo>
                      <a:lnTo>
                        <a:pt x="738925" y="539102"/>
                      </a:lnTo>
                      <a:lnTo>
                        <a:pt x="737114" y="538498"/>
                      </a:lnTo>
                      <a:lnTo>
                        <a:pt x="735907" y="539102"/>
                      </a:lnTo>
                      <a:lnTo>
                        <a:pt x="734700" y="540913"/>
                      </a:lnTo>
                      <a:lnTo>
                        <a:pt x="731681" y="540309"/>
                      </a:lnTo>
                      <a:lnTo>
                        <a:pt x="728663" y="539705"/>
                      </a:lnTo>
                      <a:lnTo>
                        <a:pt x="725040" y="538498"/>
                      </a:lnTo>
                      <a:lnTo>
                        <a:pt x="722626" y="538498"/>
                      </a:lnTo>
                      <a:lnTo>
                        <a:pt x="722626" y="540913"/>
                      </a:lnTo>
                      <a:lnTo>
                        <a:pt x="723833" y="542120"/>
                      </a:lnTo>
                      <a:lnTo>
                        <a:pt x="724437" y="542724"/>
                      </a:lnTo>
                      <a:lnTo>
                        <a:pt x="724437" y="543327"/>
                      </a:lnTo>
                      <a:lnTo>
                        <a:pt x="724437" y="544535"/>
                      </a:lnTo>
                      <a:lnTo>
                        <a:pt x="725644" y="546346"/>
                      </a:lnTo>
                      <a:lnTo>
                        <a:pt x="724437" y="547553"/>
                      </a:lnTo>
                      <a:lnTo>
                        <a:pt x="721418" y="545742"/>
                      </a:lnTo>
                      <a:lnTo>
                        <a:pt x="719607" y="545139"/>
                      </a:lnTo>
                      <a:lnTo>
                        <a:pt x="717192" y="546346"/>
                      </a:lnTo>
                      <a:lnTo>
                        <a:pt x="719607" y="548761"/>
                      </a:lnTo>
                      <a:lnTo>
                        <a:pt x="720814" y="549364"/>
                      </a:lnTo>
                      <a:lnTo>
                        <a:pt x="717796" y="551779"/>
                      </a:lnTo>
                      <a:lnTo>
                        <a:pt x="717192" y="552383"/>
                      </a:lnTo>
                      <a:lnTo>
                        <a:pt x="718400" y="552383"/>
                      </a:lnTo>
                      <a:lnTo>
                        <a:pt x="717796" y="553590"/>
                      </a:lnTo>
                      <a:lnTo>
                        <a:pt x="720211" y="554194"/>
                      </a:lnTo>
                      <a:lnTo>
                        <a:pt x="720211" y="555401"/>
                      </a:lnTo>
                      <a:lnTo>
                        <a:pt x="721418" y="554798"/>
                      </a:lnTo>
                      <a:lnTo>
                        <a:pt x="722022" y="556005"/>
                      </a:lnTo>
                      <a:lnTo>
                        <a:pt x="725040" y="556609"/>
                      </a:lnTo>
                      <a:lnTo>
                        <a:pt x="726248" y="557816"/>
                      </a:lnTo>
                      <a:lnTo>
                        <a:pt x="727455" y="559627"/>
                      </a:lnTo>
                      <a:lnTo>
                        <a:pt x="728663" y="560231"/>
                      </a:lnTo>
                      <a:lnTo>
                        <a:pt x="731077" y="559023"/>
                      </a:lnTo>
                      <a:lnTo>
                        <a:pt x="731681" y="560231"/>
                      </a:lnTo>
                      <a:lnTo>
                        <a:pt x="730474" y="561438"/>
                      </a:lnTo>
                      <a:lnTo>
                        <a:pt x="731681" y="561438"/>
                      </a:lnTo>
                      <a:lnTo>
                        <a:pt x="733492" y="562042"/>
                      </a:lnTo>
                      <a:lnTo>
                        <a:pt x="734700" y="564457"/>
                      </a:lnTo>
                      <a:lnTo>
                        <a:pt x="738322" y="566268"/>
                      </a:lnTo>
                      <a:lnTo>
                        <a:pt x="735303" y="567475"/>
                      </a:lnTo>
                      <a:lnTo>
                        <a:pt x="735303" y="569286"/>
                      </a:lnTo>
                      <a:lnTo>
                        <a:pt x="737718" y="570494"/>
                      </a:lnTo>
                      <a:lnTo>
                        <a:pt x="738322" y="571097"/>
                      </a:lnTo>
                      <a:lnTo>
                        <a:pt x="739529" y="571701"/>
                      </a:lnTo>
                      <a:lnTo>
                        <a:pt x="739529" y="573512"/>
                      </a:lnTo>
                      <a:lnTo>
                        <a:pt x="739529" y="574720"/>
                      </a:lnTo>
                      <a:lnTo>
                        <a:pt x="744359" y="575323"/>
                      </a:lnTo>
                      <a:lnTo>
                        <a:pt x="747377" y="574720"/>
                      </a:lnTo>
                      <a:lnTo>
                        <a:pt x="747377" y="585586"/>
                      </a:lnTo>
                      <a:lnTo>
                        <a:pt x="748585" y="622412"/>
                      </a:lnTo>
                      <a:lnTo>
                        <a:pt x="749188" y="629656"/>
                      </a:lnTo>
                      <a:lnTo>
                        <a:pt x="750396" y="658030"/>
                      </a:lnTo>
                      <a:lnTo>
                        <a:pt x="751603" y="668293"/>
                      </a:lnTo>
                      <a:lnTo>
                        <a:pt x="754018" y="680970"/>
                      </a:lnTo>
                      <a:lnTo>
                        <a:pt x="750396" y="685196"/>
                      </a:lnTo>
                      <a:lnTo>
                        <a:pt x="744359" y="687611"/>
                      </a:lnTo>
                      <a:lnTo>
                        <a:pt x="735907" y="688215"/>
                      </a:lnTo>
                      <a:lnTo>
                        <a:pt x="725040" y="687611"/>
                      </a:lnTo>
                      <a:lnTo>
                        <a:pt x="729266" y="682178"/>
                      </a:lnTo>
                      <a:lnTo>
                        <a:pt x="728663" y="679763"/>
                      </a:lnTo>
                      <a:lnTo>
                        <a:pt x="722626" y="680367"/>
                      </a:lnTo>
                      <a:lnTo>
                        <a:pt x="720814" y="678556"/>
                      </a:lnTo>
                      <a:lnTo>
                        <a:pt x="713570" y="677348"/>
                      </a:lnTo>
                      <a:lnTo>
                        <a:pt x="705118" y="677952"/>
                      </a:lnTo>
                      <a:lnTo>
                        <a:pt x="701496" y="673122"/>
                      </a:lnTo>
                      <a:lnTo>
                        <a:pt x="698478" y="678556"/>
                      </a:lnTo>
                      <a:lnTo>
                        <a:pt x="691837" y="681574"/>
                      </a:lnTo>
                      <a:lnTo>
                        <a:pt x="709344" y="684593"/>
                      </a:lnTo>
                      <a:lnTo>
                        <a:pt x="712966" y="684593"/>
                      </a:lnTo>
                      <a:lnTo>
                        <a:pt x="722022" y="686404"/>
                      </a:lnTo>
                      <a:lnTo>
                        <a:pt x="722022" y="687611"/>
                      </a:lnTo>
                      <a:lnTo>
                        <a:pt x="680367" y="680970"/>
                      </a:lnTo>
                      <a:lnTo>
                        <a:pt x="685196" y="679159"/>
                      </a:lnTo>
                      <a:lnTo>
                        <a:pt x="687611" y="675537"/>
                      </a:lnTo>
                      <a:lnTo>
                        <a:pt x="693044" y="676744"/>
                      </a:lnTo>
                      <a:lnTo>
                        <a:pt x="693648" y="673726"/>
                      </a:lnTo>
                      <a:lnTo>
                        <a:pt x="684593" y="672519"/>
                      </a:lnTo>
                      <a:lnTo>
                        <a:pt x="683989" y="677348"/>
                      </a:lnTo>
                      <a:lnTo>
                        <a:pt x="677348" y="680367"/>
                      </a:lnTo>
                      <a:lnTo>
                        <a:pt x="653804" y="678556"/>
                      </a:lnTo>
                      <a:lnTo>
                        <a:pt x="650786" y="679159"/>
                      </a:lnTo>
                      <a:lnTo>
                        <a:pt x="648371" y="683385"/>
                      </a:lnTo>
                      <a:lnTo>
                        <a:pt x="640523" y="685196"/>
                      </a:lnTo>
                      <a:lnTo>
                        <a:pt x="630864" y="691837"/>
                      </a:lnTo>
                      <a:lnTo>
                        <a:pt x="627241" y="696667"/>
                      </a:lnTo>
                      <a:lnTo>
                        <a:pt x="629656" y="700289"/>
                      </a:lnTo>
                      <a:lnTo>
                        <a:pt x="621808" y="707533"/>
                      </a:lnTo>
                      <a:lnTo>
                        <a:pt x="621204" y="712966"/>
                      </a:lnTo>
                      <a:lnTo>
                        <a:pt x="619393" y="713570"/>
                      </a:lnTo>
                      <a:lnTo>
                        <a:pt x="619997" y="719003"/>
                      </a:lnTo>
                      <a:lnTo>
                        <a:pt x="618790" y="724437"/>
                      </a:lnTo>
                      <a:lnTo>
                        <a:pt x="620601" y="729870"/>
                      </a:lnTo>
                      <a:lnTo>
                        <a:pt x="623619" y="731077"/>
                      </a:lnTo>
                      <a:lnTo>
                        <a:pt x="626034" y="736511"/>
                      </a:lnTo>
                      <a:lnTo>
                        <a:pt x="621808" y="740133"/>
                      </a:lnTo>
                      <a:lnTo>
                        <a:pt x="611545" y="752207"/>
                      </a:lnTo>
                      <a:lnTo>
                        <a:pt x="603697" y="759451"/>
                      </a:lnTo>
                      <a:lnTo>
                        <a:pt x="602490" y="763677"/>
                      </a:lnTo>
                      <a:lnTo>
                        <a:pt x="598264" y="767299"/>
                      </a:lnTo>
                      <a:lnTo>
                        <a:pt x="597660" y="773336"/>
                      </a:lnTo>
                      <a:lnTo>
                        <a:pt x="594038" y="779373"/>
                      </a:lnTo>
                      <a:lnTo>
                        <a:pt x="591020" y="781184"/>
                      </a:lnTo>
                      <a:lnTo>
                        <a:pt x="583775" y="792655"/>
                      </a:lnTo>
                      <a:lnTo>
                        <a:pt x="580153" y="794465"/>
                      </a:lnTo>
                      <a:lnTo>
                        <a:pt x="575323" y="801106"/>
                      </a:lnTo>
                      <a:lnTo>
                        <a:pt x="567475" y="810766"/>
                      </a:lnTo>
                      <a:lnTo>
                        <a:pt x="565664" y="817406"/>
                      </a:lnTo>
                      <a:lnTo>
                        <a:pt x="562646" y="823443"/>
                      </a:lnTo>
                      <a:lnTo>
                        <a:pt x="558420" y="827669"/>
                      </a:lnTo>
                      <a:lnTo>
                        <a:pt x="554798" y="842158"/>
                      </a:lnTo>
                      <a:lnTo>
                        <a:pt x="554194" y="851213"/>
                      </a:lnTo>
                      <a:lnTo>
                        <a:pt x="551176" y="851817"/>
                      </a:lnTo>
                      <a:lnTo>
                        <a:pt x="551176" y="856646"/>
                      </a:lnTo>
                      <a:lnTo>
                        <a:pt x="559627" y="869324"/>
                      </a:lnTo>
                      <a:lnTo>
                        <a:pt x="569890" y="880191"/>
                      </a:lnTo>
                      <a:lnTo>
                        <a:pt x="576531" y="885624"/>
                      </a:lnTo>
                      <a:lnTo>
                        <a:pt x="585586" y="891660"/>
                      </a:lnTo>
                      <a:lnTo>
                        <a:pt x="593434" y="894075"/>
                      </a:lnTo>
                      <a:lnTo>
                        <a:pt x="599471" y="894075"/>
                      </a:lnTo>
                      <a:lnTo>
                        <a:pt x="601282" y="897094"/>
                      </a:lnTo>
                      <a:lnTo>
                        <a:pt x="591020" y="900112"/>
                      </a:lnTo>
                      <a:lnTo>
                        <a:pt x="584983" y="899509"/>
                      </a:lnTo>
                      <a:lnTo>
                        <a:pt x="567475" y="897094"/>
                      </a:lnTo>
                      <a:lnTo>
                        <a:pt x="556005" y="898905"/>
                      </a:lnTo>
                      <a:lnTo>
                        <a:pt x="552383" y="901924"/>
                      </a:lnTo>
                      <a:lnTo>
                        <a:pt x="547553" y="900716"/>
                      </a:lnTo>
                      <a:lnTo>
                        <a:pt x="543328" y="901320"/>
                      </a:lnTo>
                      <a:lnTo>
                        <a:pt x="531857" y="904942"/>
                      </a:lnTo>
                      <a:lnTo>
                        <a:pt x="521594" y="909168"/>
                      </a:lnTo>
                      <a:lnTo>
                        <a:pt x="517369" y="909771"/>
                      </a:lnTo>
                      <a:lnTo>
                        <a:pt x="513746" y="914601"/>
                      </a:lnTo>
                      <a:lnTo>
                        <a:pt x="503483" y="913394"/>
                      </a:lnTo>
                      <a:lnTo>
                        <a:pt x="498654" y="916413"/>
                      </a:lnTo>
                      <a:lnTo>
                        <a:pt x="499861" y="921845"/>
                      </a:lnTo>
                      <a:lnTo>
                        <a:pt x="494428" y="921845"/>
                      </a:lnTo>
                      <a:lnTo>
                        <a:pt x="484165" y="926675"/>
                      </a:lnTo>
                      <a:lnTo>
                        <a:pt x="479336" y="925468"/>
                      </a:lnTo>
                      <a:lnTo>
                        <a:pt x="470884" y="926072"/>
                      </a:lnTo>
                      <a:lnTo>
                        <a:pt x="460017" y="927882"/>
                      </a:lnTo>
                      <a:lnTo>
                        <a:pt x="450358" y="930901"/>
                      </a:lnTo>
                      <a:lnTo>
                        <a:pt x="429832" y="947805"/>
                      </a:lnTo>
                      <a:lnTo>
                        <a:pt x="414740" y="957464"/>
                      </a:lnTo>
                      <a:lnTo>
                        <a:pt x="409307" y="962293"/>
                      </a:lnTo>
                      <a:lnTo>
                        <a:pt x="403873" y="971349"/>
                      </a:lnTo>
                      <a:lnTo>
                        <a:pt x="403270" y="976178"/>
                      </a:lnTo>
                      <a:lnTo>
                        <a:pt x="400251" y="979197"/>
                      </a:lnTo>
                      <a:lnTo>
                        <a:pt x="399648" y="991271"/>
                      </a:lnTo>
                      <a:lnTo>
                        <a:pt x="398440" y="995497"/>
                      </a:lnTo>
                      <a:lnTo>
                        <a:pt x="399044" y="1001534"/>
                      </a:lnTo>
                      <a:lnTo>
                        <a:pt x="405685" y="1002741"/>
                      </a:lnTo>
                      <a:lnTo>
                        <a:pt x="406892" y="1005759"/>
                      </a:lnTo>
                      <a:lnTo>
                        <a:pt x="399044" y="1008778"/>
                      </a:lnTo>
                      <a:lnTo>
                        <a:pt x="397836" y="1014211"/>
                      </a:lnTo>
                      <a:lnTo>
                        <a:pt x="393611" y="1019041"/>
                      </a:lnTo>
                      <a:lnTo>
                        <a:pt x="391799" y="1025682"/>
                      </a:lnTo>
                      <a:lnTo>
                        <a:pt x="388781" y="1026285"/>
                      </a:lnTo>
                      <a:lnTo>
                        <a:pt x="386366" y="1029907"/>
                      </a:lnTo>
                      <a:lnTo>
                        <a:pt x="386366" y="1035341"/>
                      </a:lnTo>
                      <a:lnTo>
                        <a:pt x="393007" y="1037152"/>
                      </a:lnTo>
                      <a:lnTo>
                        <a:pt x="394214" y="1040171"/>
                      </a:lnTo>
                      <a:lnTo>
                        <a:pt x="391196" y="1055263"/>
                      </a:lnTo>
                      <a:lnTo>
                        <a:pt x="392403" y="1058885"/>
                      </a:lnTo>
                      <a:lnTo>
                        <a:pt x="383951" y="1068544"/>
                      </a:lnTo>
                      <a:lnTo>
                        <a:pt x="379122" y="1075185"/>
                      </a:lnTo>
                      <a:lnTo>
                        <a:pt x="377311" y="1083033"/>
                      </a:lnTo>
                      <a:lnTo>
                        <a:pt x="379726" y="1085448"/>
                      </a:lnTo>
                      <a:lnTo>
                        <a:pt x="370670" y="1087862"/>
                      </a:lnTo>
                      <a:lnTo>
                        <a:pt x="361615" y="1092088"/>
                      </a:lnTo>
                      <a:lnTo>
                        <a:pt x="356181" y="1097522"/>
                      </a:lnTo>
                      <a:lnTo>
                        <a:pt x="345315" y="1102955"/>
                      </a:lnTo>
                      <a:lnTo>
                        <a:pt x="342296" y="1105973"/>
                      </a:lnTo>
                      <a:lnTo>
                        <a:pt x="327204" y="1111406"/>
                      </a:lnTo>
                      <a:lnTo>
                        <a:pt x="321771" y="1116236"/>
                      </a:lnTo>
                      <a:lnTo>
                        <a:pt x="321167" y="1119858"/>
                      </a:lnTo>
                      <a:lnTo>
                        <a:pt x="312715" y="1125895"/>
                      </a:lnTo>
                      <a:lnTo>
                        <a:pt x="307282" y="1128310"/>
                      </a:lnTo>
                      <a:lnTo>
                        <a:pt x="286152" y="1131329"/>
                      </a:lnTo>
                      <a:lnTo>
                        <a:pt x="278304" y="1134347"/>
                      </a:lnTo>
                      <a:lnTo>
                        <a:pt x="274682" y="1137969"/>
                      </a:lnTo>
                      <a:lnTo>
                        <a:pt x="274682" y="1144006"/>
                      </a:lnTo>
                      <a:lnTo>
                        <a:pt x="269853" y="1146421"/>
                      </a:lnTo>
                      <a:lnTo>
                        <a:pt x="246912" y="1142195"/>
                      </a:lnTo>
                      <a:lnTo>
                        <a:pt x="231820" y="1137366"/>
                      </a:lnTo>
                      <a:lnTo>
                        <a:pt x="222764" y="1136158"/>
                      </a:lnTo>
                      <a:lnTo>
                        <a:pt x="220953" y="1131329"/>
                      </a:lnTo>
                      <a:lnTo>
                        <a:pt x="213709" y="1127102"/>
                      </a:lnTo>
                      <a:lnTo>
                        <a:pt x="210087" y="1126499"/>
                      </a:lnTo>
                      <a:lnTo>
                        <a:pt x="204050" y="1120462"/>
                      </a:lnTo>
                      <a:lnTo>
                        <a:pt x="197409" y="1116840"/>
                      </a:lnTo>
                      <a:lnTo>
                        <a:pt x="192579" y="1111406"/>
                      </a:lnTo>
                      <a:lnTo>
                        <a:pt x="178091" y="1100540"/>
                      </a:lnTo>
                      <a:lnTo>
                        <a:pt x="181109" y="1099936"/>
                      </a:lnTo>
                      <a:lnTo>
                        <a:pt x="184731" y="1095710"/>
                      </a:lnTo>
                      <a:lnTo>
                        <a:pt x="190165" y="1095710"/>
                      </a:lnTo>
                      <a:lnTo>
                        <a:pt x="191976" y="1090881"/>
                      </a:lnTo>
                      <a:lnTo>
                        <a:pt x="187146" y="1083637"/>
                      </a:lnTo>
                      <a:lnTo>
                        <a:pt x="191372" y="1084240"/>
                      </a:lnTo>
                      <a:lnTo>
                        <a:pt x="196805" y="1077600"/>
                      </a:lnTo>
                      <a:lnTo>
                        <a:pt x="198616" y="1072166"/>
                      </a:lnTo>
                      <a:lnTo>
                        <a:pt x="202842" y="1071563"/>
                      </a:lnTo>
                      <a:lnTo>
                        <a:pt x="198616" y="1061300"/>
                      </a:lnTo>
                      <a:lnTo>
                        <a:pt x="202239" y="1057677"/>
                      </a:lnTo>
                      <a:lnTo>
                        <a:pt x="205257" y="1060696"/>
                      </a:lnTo>
                      <a:lnTo>
                        <a:pt x="210690" y="1058282"/>
                      </a:lnTo>
                      <a:lnTo>
                        <a:pt x="214313" y="1051037"/>
                      </a:lnTo>
                      <a:lnTo>
                        <a:pt x="211294" y="1043793"/>
                      </a:lnTo>
                      <a:lnTo>
                        <a:pt x="206465" y="1038359"/>
                      </a:lnTo>
                      <a:lnTo>
                        <a:pt x="206465" y="1034737"/>
                      </a:lnTo>
                      <a:lnTo>
                        <a:pt x="200428" y="1029304"/>
                      </a:lnTo>
                      <a:lnTo>
                        <a:pt x="196805" y="1017230"/>
                      </a:lnTo>
                      <a:lnTo>
                        <a:pt x="193787" y="1015418"/>
                      </a:lnTo>
                      <a:lnTo>
                        <a:pt x="191372" y="1008778"/>
                      </a:lnTo>
                      <a:lnTo>
                        <a:pt x="196202" y="1009381"/>
                      </a:lnTo>
                      <a:lnTo>
                        <a:pt x="204050" y="1000930"/>
                      </a:lnTo>
                      <a:lnTo>
                        <a:pt x="204653" y="996704"/>
                      </a:lnTo>
                      <a:lnTo>
                        <a:pt x="210690" y="989460"/>
                      </a:lnTo>
                      <a:lnTo>
                        <a:pt x="208879" y="981612"/>
                      </a:lnTo>
                      <a:lnTo>
                        <a:pt x="202239" y="976782"/>
                      </a:lnTo>
                      <a:lnTo>
                        <a:pt x="199220" y="970745"/>
                      </a:lnTo>
                      <a:lnTo>
                        <a:pt x="196805" y="971952"/>
                      </a:lnTo>
                      <a:lnTo>
                        <a:pt x="196805" y="965312"/>
                      </a:lnTo>
                      <a:lnTo>
                        <a:pt x="193183" y="962293"/>
                      </a:lnTo>
                      <a:lnTo>
                        <a:pt x="191976" y="958671"/>
                      </a:lnTo>
                      <a:lnTo>
                        <a:pt x="187146" y="954445"/>
                      </a:lnTo>
                      <a:lnTo>
                        <a:pt x="186542" y="952030"/>
                      </a:lnTo>
                      <a:lnTo>
                        <a:pt x="191372" y="946598"/>
                      </a:lnTo>
                      <a:lnTo>
                        <a:pt x="196805" y="944786"/>
                      </a:lnTo>
                      <a:lnTo>
                        <a:pt x="199220" y="940561"/>
                      </a:lnTo>
                      <a:lnTo>
                        <a:pt x="199824" y="935731"/>
                      </a:lnTo>
                      <a:lnTo>
                        <a:pt x="203446" y="932109"/>
                      </a:lnTo>
                      <a:lnTo>
                        <a:pt x="207672" y="929694"/>
                      </a:lnTo>
                      <a:lnTo>
                        <a:pt x="211294" y="924260"/>
                      </a:lnTo>
                      <a:lnTo>
                        <a:pt x="211294" y="914601"/>
                      </a:lnTo>
                      <a:lnTo>
                        <a:pt x="214313" y="910376"/>
                      </a:lnTo>
                      <a:lnTo>
                        <a:pt x="213105" y="907357"/>
                      </a:lnTo>
                      <a:lnTo>
                        <a:pt x="214916" y="899509"/>
                      </a:lnTo>
                      <a:lnTo>
                        <a:pt x="214313" y="893472"/>
                      </a:lnTo>
                      <a:lnTo>
                        <a:pt x="218538" y="889850"/>
                      </a:lnTo>
                      <a:lnTo>
                        <a:pt x="225783" y="880794"/>
                      </a:lnTo>
                      <a:lnTo>
                        <a:pt x="225783" y="869324"/>
                      </a:lnTo>
                      <a:lnTo>
                        <a:pt x="228197" y="864494"/>
                      </a:lnTo>
                      <a:lnTo>
                        <a:pt x="231820" y="860269"/>
                      </a:lnTo>
                      <a:lnTo>
                        <a:pt x="236046" y="861476"/>
                      </a:lnTo>
                      <a:lnTo>
                        <a:pt x="239064" y="856646"/>
                      </a:lnTo>
                      <a:lnTo>
                        <a:pt x="241479" y="850610"/>
                      </a:lnTo>
                      <a:lnTo>
                        <a:pt x="236046" y="848195"/>
                      </a:lnTo>
                      <a:lnTo>
                        <a:pt x="231820" y="844573"/>
                      </a:lnTo>
                      <a:lnTo>
                        <a:pt x="231820" y="841554"/>
                      </a:lnTo>
                      <a:lnTo>
                        <a:pt x="225783" y="835517"/>
                      </a:lnTo>
                      <a:lnTo>
                        <a:pt x="222161" y="830084"/>
                      </a:lnTo>
                      <a:lnTo>
                        <a:pt x="218538" y="831291"/>
                      </a:lnTo>
                      <a:lnTo>
                        <a:pt x="213105" y="836121"/>
                      </a:lnTo>
                      <a:lnTo>
                        <a:pt x="205257" y="834309"/>
                      </a:lnTo>
                      <a:lnTo>
                        <a:pt x="198013" y="827669"/>
                      </a:lnTo>
                      <a:lnTo>
                        <a:pt x="195598" y="829480"/>
                      </a:lnTo>
                      <a:lnTo>
                        <a:pt x="191372" y="828877"/>
                      </a:lnTo>
                      <a:lnTo>
                        <a:pt x="193787" y="818613"/>
                      </a:lnTo>
                      <a:lnTo>
                        <a:pt x="196805" y="816198"/>
                      </a:lnTo>
                      <a:lnTo>
                        <a:pt x="199220" y="810766"/>
                      </a:lnTo>
                      <a:lnTo>
                        <a:pt x="198616" y="804729"/>
                      </a:lnTo>
                      <a:lnTo>
                        <a:pt x="202239" y="803521"/>
                      </a:lnTo>
                      <a:lnTo>
                        <a:pt x="203446" y="796277"/>
                      </a:lnTo>
                      <a:lnTo>
                        <a:pt x="202842" y="791447"/>
                      </a:lnTo>
                      <a:lnTo>
                        <a:pt x="207672" y="789636"/>
                      </a:lnTo>
                      <a:lnTo>
                        <a:pt x="204653" y="784203"/>
                      </a:lnTo>
                      <a:lnTo>
                        <a:pt x="205861" y="778166"/>
                      </a:lnTo>
                      <a:lnTo>
                        <a:pt x="200428" y="773336"/>
                      </a:lnTo>
                      <a:lnTo>
                        <a:pt x="201635" y="767299"/>
                      </a:lnTo>
                      <a:lnTo>
                        <a:pt x="205257" y="761262"/>
                      </a:lnTo>
                      <a:lnTo>
                        <a:pt x="213709" y="752810"/>
                      </a:lnTo>
                      <a:lnTo>
                        <a:pt x="211294" y="750999"/>
                      </a:lnTo>
                      <a:lnTo>
                        <a:pt x="208879" y="744359"/>
                      </a:lnTo>
                      <a:lnTo>
                        <a:pt x="210690" y="741944"/>
                      </a:lnTo>
                      <a:lnTo>
                        <a:pt x="201635" y="731077"/>
                      </a:lnTo>
                      <a:lnTo>
                        <a:pt x="198616" y="725040"/>
                      </a:lnTo>
                      <a:lnTo>
                        <a:pt x="207068" y="720211"/>
                      </a:lnTo>
                      <a:lnTo>
                        <a:pt x="211898" y="722022"/>
                      </a:lnTo>
                      <a:lnTo>
                        <a:pt x="213105" y="718400"/>
                      </a:lnTo>
                      <a:lnTo>
                        <a:pt x="213105" y="712966"/>
                      </a:lnTo>
                      <a:lnTo>
                        <a:pt x="214313" y="707533"/>
                      </a:lnTo>
                      <a:lnTo>
                        <a:pt x="217331" y="702100"/>
                      </a:lnTo>
                      <a:lnTo>
                        <a:pt x="214916" y="698478"/>
                      </a:lnTo>
                      <a:lnTo>
                        <a:pt x="211294" y="698478"/>
                      </a:lnTo>
                      <a:lnTo>
                        <a:pt x="211294" y="691837"/>
                      </a:lnTo>
                      <a:lnTo>
                        <a:pt x="204050" y="680970"/>
                      </a:lnTo>
                      <a:lnTo>
                        <a:pt x="205257" y="673726"/>
                      </a:lnTo>
                      <a:lnTo>
                        <a:pt x="193183" y="672519"/>
                      </a:lnTo>
                      <a:lnTo>
                        <a:pt x="182920" y="680367"/>
                      </a:lnTo>
                      <a:lnTo>
                        <a:pt x="174468" y="683385"/>
                      </a:lnTo>
                      <a:lnTo>
                        <a:pt x="169035" y="687611"/>
                      </a:lnTo>
                      <a:lnTo>
                        <a:pt x="167224" y="693044"/>
                      </a:lnTo>
                      <a:lnTo>
                        <a:pt x="163602" y="694855"/>
                      </a:lnTo>
                      <a:lnTo>
                        <a:pt x="155754" y="699081"/>
                      </a:lnTo>
                      <a:lnTo>
                        <a:pt x="150924" y="699685"/>
                      </a:lnTo>
                      <a:lnTo>
                        <a:pt x="144887" y="697270"/>
                      </a:lnTo>
                      <a:lnTo>
                        <a:pt x="140661" y="698478"/>
                      </a:lnTo>
                      <a:lnTo>
                        <a:pt x="137643" y="696667"/>
                      </a:lnTo>
                      <a:lnTo>
                        <a:pt x="135832" y="691837"/>
                      </a:lnTo>
                      <a:lnTo>
                        <a:pt x="131002" y="689422"/>
                      </a:lnTo>
                      <a:lnTo>
                        <a:pt x="131002" y="685800"/>
                      </a:lnTo>
                      <a:lnTo>
                        <a:pt x="124965" y="685800"/>
                      </a:lnTo>
                      <a:lnTo>
                        <a:pt x="122550" y="683385"/>
                      </a:lnTo>
                      <a:lnTo>
                        <a:pt x="123758" y="674330"/>
                      </a:lnTo>
                      <a:lnTo>
                        <a:pt x="126173" y="670104"/>
                      </a:lnTo>
                      <a:lnTo>
                        <a:pt x="121343" y="664067"/>
                      </a:lnTo>
                      <a:lnTo>
                        <a:pt x="123154" y="662859"/>
                      </a:lnTo>
                      <a:lnTo>
                        <a:pt x="119532" y="658030"/>
                      </a:lnTo>
                      <a:lnTo>
                        <a:pt x="121947" y="653200"/>
                      </a:lnTo>
                      <a:lnTo>
                        <a:pt x="122550" y="642334"/>
                      </a:lnTo>
                      <a:lnTo>
                        <a:pt x="124965" y="634486"/>
                      </a:lnTo>
                      <a:lnTo>
                        <a:pt x="123154" y="632675"/>
                      </a:lnTo>
                      <a:lnTo>
                        <a:pt x="124362" y="622412"/>
                      </a:lnTo>
                      <a:lnTo>
                        <a:pt x="121343" y="621808"/>
                      </a:lnTo>
                      <a:lnTo>
                        <a:pt x="118928" y="616375"/>
                      </a:lnTo>
                      <a:lnTo>
                        <a:pt x="119532" y="613960"/>
                      </a:lnTo>
                      <a:lnTo>
                        <a:pt x="133417" y="613356"/>
                      </a:lnTo>
                      <a:lnTo>
                        <a:pt x="132813" y="606112"/>
                      </a:lnTo>
                      <a:lnTo>
                        <a:pt x="129795" y="604301"/>
                      </a:lnTo>
                      <a:lnTo>
                        <a:pt x="134021" y="597057"/>
                      </a:lnTo>
                      <a:lnTo>
                        <a:pt x="137643" y="588001"/>
                      </a:lnTo>
                      <a:lnTo>
                        <a:pt x="138247" y="583775"/>
                      </a:lnTo>
                      <a:lnTo>
                        <a:pt x="136436" y="577738"/>
                      </a:lnTo>
                      <a:lnTo>
                        <a:pt x="130399" y="577738"/>
                      </a:lnTo>
                      <a:lnTo>
                        <a:pt x="126173" y="574116"/>
                      </a:lnTo>
                      <a:lnTo>
                        <a:pt x="127380" y="571701"/>
                      </a:lnTo>
                      <a:lnTo>
                        <a:pt x="121947" y="564457"/>
                      </a:lnTo>
                      <a:lnTo>
                        <a:pt x="115306" y="562646"/>
                      </a:lnTo>
                      <a:lnTo>
                        <a:pt x="112891" y="560231"/>
                      </a:lnTo>
                      <a:lnTo>
                        <a:pt x="104440" y="560231"/>
                      </a:lnTo>
                      <a:lnTo>
                        <a:pt x="97799" y="556609"/>
                      </a:lnTo>
                      <a:lnTo>
                        <a:pt x="94781" y="556005"/>
                      </a:lnTo>
                      <a:lnTo>
                        <a:pt x="88140" y="552383"/>
                      </a:lnTo>
                      <a:lnTo>
                        <a:pt x="89347" y="543931"/>
                      </a:lnTo>
                      <a:lnTo>
                        <a:pt x="92969" y="539705"/>
                      </a:lnTo>
                      <a:lnTo>
                        <a:pt x="95988" y="531857"/>
                      </a:lnTo>
                      <a:lnTo>
                        <a:pt x="100214" y="528839"/>
                      </a:lnTo>
                      <a:lnTo>
                        <a:pt x="109269" y="530650"/>
                      </a:lnTo>
                      <a:lnTo>
                        <a:pt x="108062" y="525820"/>
                      </a:lnTo>
                      <a:lnTo>
                        <a:pt x="105043" y="522198"/>
                      </a:lnTo>
                      <a:lnTo>
                        <a:pt x="106854" y="517972"/>
                      </a:lnTo>
                      <a:lnTo>
                        <a:pt x="104440" y="516161"/>
                      </a:lnTo>
                      <a:lnTo>
                        <a:pt x="106251" y="512539"/>
                      </a:lnTo>
                      <a:lnTo>
                        <a:pt x="97195" y="507709"/>
                      </a:lnTo>
                      <a:lnTo>
                        <a:pt x="94781" y="502276"/>
                      </a:lnTo>
                      <a:lnTo>
                        <a:pt x="99006" y="498050"/>
                      </a:lnTo>
                      <a:lnTo>
                        <a:pt x="102025" y="496843"/>
                      </a:lnTo>
                      <a:lnTo>
                        <a:pt x="103232" y="492013"/>
                      </a:lnTo>
                      <a:lnTo>
                        <a:pt x="97195" y="487184"/>
                      </a:lnTo>
                      <a:lnTo>
                        <a:pt x="82103" y="496239"/>
                      </a:lnTo>
                      <a:lnTo>
                        <a:pt x="77273" y="494428"/>
                      </a:lnTo>
                      <a:lnTo>
                        <a:pt x="72444" y="494428"/>
                      </a:lnTo>
                      <a:lnTo>
                        <a:pt x="60973" y="495635"/>
                      </a:lnTo>
                      <a:lnTo>
                        <a:pt x="57955" y="493221"/>
                      </a:lnTo>
                      <a:lnTo>
                        <a:pt x="49503" y="493824"/>
                      </a:lnTo>
                      <a:lnTo>
                        <a:pt x="46485" y="497447"/>
                      </a:lnTo>
                      <a:lnTo>
                        <a:pt x="44674" y="493221"/>
                      </a:lnTo>
                      <a:lnTo>
                        <a:pt x="45277" y="487184"/>
                      </a:lnTo>
                      <a:lnTo>
                        <a:pt x="59162" y="480543"/>
                      </a:lnTo>
                      <a:lnTo>
                        <a:pt x="64596" y="467865"/>
                      </a:lnTo>
                      <a:lnTo>
                        <a:pt x="64596" y="461828"/>
                      </a:lnTo>
                      <a:lnTo>
                        <a:pt x="58559" y="462432"/>
                      </a:lnTo>
                      <a:lnTo>
                        <a:pt x="58559" y="459413"/>
                      </a:lnTo>
                      <a:lnTo>
                        <a:pt x="45881" y="455188"/>
                      </a:lnTo>
                      <a:lnTo>
                        <a:pt x="37429" y="448547"/>
                      </a:lnTo>
                      <a:lnTo>
                        <a:pt x="27770" y="441303"/>
                      </a:lnTo>
                      <a:lnTo>
                        <a:pt x="22337" y="438888"/>
                      </a:lnTo>
                      <a:lnTo>
                        <a:pt x="19318" y="441906"/>
                      </a:lnTo>
                      <a:lnTo>
                        <a:pt x="10866" y="435869"/>
                      </a:lnTo>
                      <a:lnTo>
                        <a:pt x="6641" y="435869"/>
                      </a:lnTo>
                      <a:lnTo>
                        <a:pt x="1207" y="426210"/>
                      </a:lnTo>
                      <a:lnTo>
                        <a:pt x="3622" y="425607"/>
                      </a:lnTo>
                      <a:lnTo>
                        <a:pt x="0" y="417155"/>
                      </a:lnTo>
                      <a:lnTo>
                        <a:pt x="9055" y="411118"/>
                      </a:lnTo>
                      <a:lnTo>
                        <a:pt x="13281" y="413533"/>
                      </a:lnTo>
                      <a:lnTo>
                        <a:pt x="15092" y="417155"/>
                      </a:lnTo>
                      <a:lnTo>
                        <a:pt x="21129" y="411722"/>
                      </a:lnTo>
                      <a:lnTo>
                        <a:pt x="22337" y="414136"/>
                      </a:lnTo>
                      <a:lnTo>
                        <a:pt x="29581" y="410514"/>
                      </a:lnTo>
                      <a:lnTo>
                        <a:pt x="31996" y="404477"/>
                      </a:lnTo>
                      <a:lnTo>
                        <a:pt x="40448" y="403874"/>
                      </a:lnTo>
                      <a:lnTo>
                        <a:pt x="42863" y="402062"/>
                      </a:lnTo>
                      <a:lnTo>
                        <a:pt x="40448" y="396629"/>
                      </a:lnTo>
                      <a:lnTo>
                        <a:pt x="46485" y="397837"/>
                      </a:lnTo>
                      <a:lnTo>
                        <a:pt x="51314" y="393007"/>
                      </a:lnTo>
                      <a:lnTo>
                        <a:pt x="57351" y="388781"/>
                      </a:lnTo>
                      <a:lnTo>
                        <a:pt x="64596" y="394818"/>
                      </a:lnTo>
                      <a:lnTo>
                        <a:pt x="67614" y="406892"/>
                      </a:lnTo>
                      <a:lnTo>
                        <a:pt x="78481" y="409307"/>
                      </a:lnTo>
                      <a:lnTo>
                        <a:pt x="82103" y="408703"/>
                      </a:lnTo>
                      <a:lnTo>
                        <a:pt x="108062" y="408099"/>
                      </a:lnTo>
                      <a:lnTo>
                        <a:pt x="121947" y="409911"/>
                      </a:lnTo>
                      <a:lnTo>
                        <a:pt x="125569" y="412929"/>
                      </a:lnTo>
                      <a:lnTo>
                        <a:pt x="128587" y="408703"/>
                      </a:lnTo>
                      <a:lnTo>
                        <a:pt x="124362" y="403270"/>
                      </a:lnTo>
                      <a:lnTo>
                        <a:pt x="124362" y="399044"/>
                      </a:lnTo>
                      <a:lnTo>
                        <a:pt x="129191" y="388781"/>
                      </a:lnTo>
                      <a:lnTo>
                        <a:pt x="135228" y="383348"/>
                      </a:lnTo>
                      <a:lnTo>
                        <a:pt x="136436" y="374292"/>
                      </a:lnTo>
                      <a:lnTo>
                        <a:pt x="138850" y="370670"/>
                      </a:lnTo>
                      <a:lnTo>
                        <a:pt x="147906" y="371274"/>
                      </a:lnTo>
                      <a:lnTo>
                        <a:pt x="150924" y="374896"/>
                      </a:lnTo>
                      <a:lnTo>
                        <a:pt x="154547" y="369463"/>
                      </a:lnTo>
                      <a:lnTo>
                        <a:pt x="160583" y="366444"/>
                      </a:lnTo>
                      <a:lnTo>
                        <a:pt x="167828" y="371877"/>
                      </a:lnTo>
                      <a:lnTo>
                        <a:pt x="169639" y="376103"/>
                      </a:lnTo>
                      <a:lnTo>
                        <a:pt x="175072" y="383348"/>
                      </a:lnTo>
                      <a:lnTo>
                        <a:pt x="179298" y="383348"/>
                      </a:lnTo>
                      <a:lnTo>
                        <a:pt x="182920" y="375500"/>
                      </a:lnTo>
                      <a:lnTo>
                        <a:pt x="187750" y="373085"/>
                      </a:lnTo>
                      <a:lnTo>
                        <a:pt x="193787" y="372481"/>
                      </a:lnTo>
                      <a:lnTo>
                        <a:pt x="198616" y="370670"/>
                      </a:lnTo>
                      <a:lnTo>
                        <a:pt x="206465" y="370670"/>
                      </a:lnTo>
                      <a:lnTo>
                        <a:pt x="209483" y="367048"/>
                      </a:lnTo>
                      <a:lnTo>
                        <a:pt x="216727" y="369463"/>
                      </a:lnTo>
                      <a:lnTo>
                        <a:pt x="218538" y="367652"/>
                      </a:lnTo>
                      <a:lnTo>
                        <a:pt x="226990" y="376103"/>
                      </a:lnTo>
                      <a:lnTo>
                        <a:pt x="230612" y="374896"/>
                      </a:lnTo>
                      <a:lnTo>
                        <a:pt x="233027" y="371877"/>
                      </a:lnTo>
                      <a:lnTo>
                        <a:pt x="238460" y="372481"/>
                      </a:lnTo>
                      <a:lnTo>
                        <a:pt x="244497" y="375500"/>
                      </a:lnTo>
                      <a:lnTo>
                        <a:pt x="248120" y="373085"/>
                      </a:lnTo>
                      <a:lnTo>
                        <a:pt x="253553" y="359200"/>
                      </a:lnTo>
                      <a:lnTo>
                        <a:pt x="252949" y="348333"/>
                      </a:lnTo>
                      <a:lnTo>
                        <a:pt x="257779" y="348333"/>
                      </a:lnTo>
                      <a:lnTo>
                        <a:pt x="260797" y="339881"/>
                      </a:lnTo>
                      <a:lnTo>
                        <a:pt x="267438" y="341692"/>
                      </a:lnTo>
                      <a:lnTo>
                        <a:pt x="272267" y="339881"/>
                      </a:lnTo>
                      <a:lnTo>
                        <a:pt x="277701" y="341089"/>
                      </a:lnTo>
                      <a:lnTo>
                        <a:pt x="290982" y="337467"/>
                      </a:lnTo>
                      <a:lnTo>
                        <a:pt x="296415" y="338070"/>
                      </a:lnTo>
                      <a:lnTo>
                        <a:pt x="296415" y="335052"/>
                      </a:lnTo>
                      <a:lnTo>
                        <a:pt x="301849" y="322978"/>
                      </a:lnTo>
                      <a:lnTo>
                        <a:pt x="307886" y="313923"/>
                      </a:lnTo>
                      <a:lnTo>
                        <a:pt x="313319" y="310301"/>
                      </a:lnTo>
                      <a:lnTo>
                        <a:pt x="317545" y="301849"/>
                      </a:lnTo>
                      <a:lnTo>
                        <a:pt x="312112" y="297623"/>
                      </a:lnTo>
                      <a:lnTo>
                        <a:pt x="312112" y="294001"/>
                      </a:lnTo>
                      <a:lnTo>
                        <a:pt x="309093" y="289775"/>
                      </a:lnTo>
                      <a:lnTo>
                        <a:pt x="294604" y="285549"/>
                      </a:lnTo>
                      <a:lnTo>
                        <a:pt x="289171" y="286153"/>
                      </a:lnTo>
                      <a:lnTo>
                        <a:pt x="284341" y="283738"/>
                      </a:lnTo>
                      <a:lnTo>
                        <a:pt x="274079" y="285549"/>
                      </a:lnTo>
                      <a:lnTo>
                        <a:pt x="270456" y="284341"/>
                      </a:lnTo>
                      <a:lnTo>
                        <a:pt x="265023" y="286153"/>
                      </a:lnTo>
                      <a:lnTo>
                        <a:pt x="258986" y="284945"/>
                      </a:lnTo>
                      <a:lnTo>
                        <a:pt x="255364" y="282530"/>
                      </a:lnTo>
                      <a:lnTo>
                        <a:pt x="257175" y="277701"/>
                      </a:lnTo>
                      <a:lnTo>
                        <a:pt x="254760" y="275286"/>
                      </a:lnTo>
                      <a:lnTo>
                        <a:pt x="256571" y="269853"/>
                      </a:lnTo>
                      <a:lnTo>
                        <a:pt x="261401" y="267438"/>
                      </a:lnTo>
                      <a:lnTo>
                        <a:pt x="266231" y="268042"/>
                      </a:lnTo>
                      <a:lnTo>
                        <a:pt x="274079" y="262608"/>
                      </a:lnTo>
                      <a:lnTo>
                        <a:pt x="276493" y="256571"/>
                      </a:lnTo>
                      <a:lnTo>
                        <a:pt x="284341" y="250534"/>
                      </a:lnTo>
                      <a:lnTo>
                        <a:pt x="286756" y="239668"/>
                      </a:lnTo>
                      <a:lnTo>
                        <a:pt x="288567" y="224575"/>
                      </a:lnTo>
                      <a:lnTo>
                        <a:pt x="286756" y="222764"/>
                      </a:lnTo>
                      <a:lnTo>
                        <a:pt x="282530" y="226990"/>
                      </a:lnTo>
                      <a:lnTo>
                        <a:pt x="278304" y="226386"/>
                      </a:lnTo>
                      <a:lnTo>
                        <a:pt x="283738" y="221557"/>
                      </a:lnTo>
                      <a:lnTo>
                        <a:pt x="284341" y="219142"/>
                      </a:lnTo>
                      <a:lnTo>
                        <a:pt x="278908" y="217935"/>
                      </a:lnTo>
                      <a:lnTo>
                        <a:pt x="277097" y="207672"/>
                      </a:lnTo>
                      <a:lnTo>
                        <a:pt x="279512" y="201635"/>
                      </a:lnTo>
                      <a:lnTo>
                        <a:pt x="279512" y="197409"/>
                      </a:lnTo>
                      <a:lnTo>
                        <a:pt x="282530" y="194391"/>
                      </a:lnTo>
                      <a:lnTo>
                        <a:pt x="280719" y="189561"/>
                      </a:lnTo>
                      <a:lnTo>
                        <a:pt x="281323" y="186543"/>
                      </a:lnTo>
                      <a:lnTo>
                        <a:pt x="294604" y="182920"/>
                      </a:lnTo>
                      <a:lnTo>
                        <a:pt x="297623" y="183524"/>
                      </a:lnTo>
                      <a:lnTo>
                        <a:pt x="297019" y="187750"/>
                      </a:lnTo>
                      <a:lnTo>
                        <a:pt x="303056" y="187750"/>
                      </a:lnTo>
                      <a:lnTo>
                        <a:pt x="304867" y="182920"/>
                      </a:lnTo>
                      <a:lnTo>
                        <a:pt x="307886" y="185335"/>
                      </a:lnTo>
                      <a:lnTo>
                        <a:pt x="309697" y="181109"/>
                      </a:lnTo>
                      <a:lnTo>
                        <a:pt x="314526" y="179902"/>
                      </a:lnTo>
                      <a:lnTo>
                        <a:pt x="316941" y="174469"/>
                      </a:lnTo>
                      <a:lnTo>
                        <a:pt x="315734" y="171450"/>
                      </a:lnTo>
                      <a:lnTo>
                        <a:pt x="321167" y="167828"/>
                      </a:lnTo>
                      <a:lnTo>
                        <a:pt x="318752" y="164809"/>
                      </a:lnTo>
                      <a:lnTo>
                        <a:pt x="321771" y="159980"/>
                      </a:lnTo>
                      <a:lnTo>
                        <a:pt x="324789" y="152132"/>
                      </a:lnTo>
                      <a:lnTo>
                        <a:pt x="321167" y="150321"/>
                      </a:lnTo>
                      <a:lnTo>
                        <a:pt x="329015" y="145491"/>
                      </a:lnTo>
                      <a:lnTo>
                        <a:pt x="329619" y="143680"/>
                      </a:lnTo>
                      <a:lnTo>
                        <a:pt x="341693" y="143680"/>
                      </a:lnTo>
                      <a:lnTo>
                        <a:pt x="342296" y="141869"/>
                      </a:lnTo>
                      <a:lnTo>
                        <a:pt x="348333" y="140661"/>
                      </a:lnTo>
                      <a:lnTo>
                        <a:pt x="350748" y="145491"/>
                      </a:lnTo>
                      <a:lnTo>
                        <a:pt x="348333" y="146698"/>
                      </a:lnTo>
                      <a:lnTo>
                        <a:pt x="347126" y="151528"/>
                      </a:lnTo>
                      <a:lnTo>
                        <a:pt x="351955" y="153339"/>
                      </a:lnTo>
                      <a:lnTo>
                        <a:pt x="353163" y="150321"/>
                      </a:lnTo>
                      <a:lnTo>
                        <a:pt x="356785" y="148509"/>
                      </a:lnTo>
                      <a:lnTo>
                        <a:pt x="361615" y="153943"/>
                      </a:lnTo>
                      <a:lnTo>
                        <a:pt x="364633" y="153339"/>
                      </a:lnTo>
                      <a:lnTo>
                        <a:pt x="370066" y="147302"/>
                      </a:lnTo>
                      <a:lnTo>
                        <a:pt x="379122" y="149717"/>
                      </a:lnTo>
                      <a:lnTo>
                        <a:pt x="383348" y="155754"/>
                      </a:lnTo>
                      <a:lnTo>
                        <a:pt x="389385" y="158772"/>
                      </a:lnTo>
                      <a:lnTo>
                        <a:pt x="390592" y="162395"/>
                      </a:lnTo>
                      <a:lnTo>
                        <a:pt x="398440" y="164809"/>
                      </a:lnTo>
                      <a:lnTo>
                        <a:pt x="400251" y="163602"/>
                      </a:lnTo>
                      <a:lnTo>
                        <a:pt x="411118" y="166017"/>
                      </a:lnTo>
                      <a:lnTo>
                        <a:pt x="412929" y="173261"/>
                      </a:lnTo>
                      <a:lnTo>
                        <a:pt x="411118" y="176883"/>
                      </a:lnTo>
                      <a:lnTo>
                        <a:pt x="405685" y="178694"/>
                      </a:lnTo>
                      <a:lnTo>
                        <a:pt x="406892" y="182317"/>
                      </a:lnTo>
                      <a:lnTo>
                        <a:pt x="412929" y="182920"/>
                      </a:lnTo>
                      <a:lnTo>
                        <a:pt x="412325" y="179902"/>
                      </a:lnTo>
                      <a:lnTo>
                        <a:pt x="420173" y="179298"/>
                      </a:lnTo>
                      <a:lnTo>
                        <a:pt x="425607" y="187146"/>
                      </a:lnTo>
                      <a:lnTo>
                        <a:pt x="429229" y="187750"/>
                      </a:lnTo>
                      <a:lnTo>
                        <a:pt x="441906" y="196202"/>
                      </a:lnTo>
                      <a:lnTo>
                        <a:pt x="460621" y="194994"/>
                      </a:lnTo>
                      <a:lnTo>
                        <a:pt x="460017" y="185335"/>
                      </a:lnTo>
                      <a:lnTo>
                        <a:pt x="463639" y="185939"/>
                      </a:lnTo>
                      <a:lnTo>
                        <a:pt x="467262" y="184128"/>
                      </a:lnTo>
                      <a:lnTo>
                        <a:pt x="467865" y="170846"/>
                      </a:lnTo>
                      <a:lnTo>
                        <a:pt x="472091" y="176883"/>
                      </a:lnTo>
                      <a:lnTo>
                        <a:pt x="473902" y="181713"/>
                      </a:lnTo>
                      <a:lnTo>
                        <a:pt x="479336" y="178091"/>
                      </a:lnTo>
                      <a:lnTo>
                        <a:pt x="478128" y="171450"/>
                      </a:lnTo>
                      <a:lnTo>
                        <a:pt x="480543" y="166620"/>
                      </a:lnTo>
                      <a:lnTo>
                        <a:pt x="485373" y="162998"/>
                      </a:lnTo>
                      <a:lnTo>
                        <a:pt x="487184" y="155150"/>
                      </a:lnTo>
                      <a:lnTo>
                        <a:pt x="488995" y="153943"/>
                      </a:lnTo>
                      <a:lnTo>
                        <a:pt x="487787" y="147906"/>
                      </a:lnTo>
                      <a:lnTo>
                        <a:pt x="490202" y="144284"/>
                      </a:lnTo>
                      <a:lnTo>
                        <a:pt x="490806" y="140661"/>
                      </a:lnTo>
                      <a:lnTo>
                        <a:pt x="494428" y="132210"/>
                      </a:lnTo>
                      <a:lnTo>
                        <a:pt x="499258" y="131002"/>
                      </a:lnTo>
                      <a:lnTo>
                        <a:pt x="493824" y="119532"/>
                      </a:lnTo>
                      <a:lnTo>
                        <a:pt x="499861" y="109873"/>
                      </a:lnTo>
                      <a:lnTo>
                        <a:pt x="508917" y="112891"/>
                      </a:lnTo>
                      <a:lnTo>
                        <a:pt x="510728" y="102025"/>
                      </a:lnTo>
                      <a:lnTo>
                        <a:pt x="517972" y="104440"/>
                      </a:lnTo>
                      <a:lnTo>
                        <a:pt x="525820" y="102629"/>
                      </a:lnTo>
                      <a:lnTo>
                        <a:pt x="530650" y="97799"/>
                      </a:lnTo>
                      <a:lnTo>
                        <a:pt x="537291" y="99006"/>
                      </a:lnTo>
                      <a:lnTo>
                        <a:pt x="546950" y="99006"/>
                      </a:lnTo>
                      <a:lnTo>
                        <a:pt x="547553" y="109873"/>
                      </a:lnTo>
                      <a:lnTo>
                        <a:pt x="554194" y="99610"/>
                      </a:lnTo>
                      <a:lnTo>
                        <a:pt x="560835" y="100818"/>
                      </a:lnTo>
                      <a:lnTo>
                        <a:pt x="568079" y="97799"/>
                      </a:lnTo>
                      <a:lnTo>
                        <a:pt x="571701" y="101421"/>
                      </a:lnTo>
                      <a:lnTo>
                        <a:pt x="582568" y="105647"/>
                      </a:lnTo>
                      <a:lnTo>
                        <a:pt x="586190" y="111080"/>
                      </a:lnTo>
                      <a:lnTo>
                        <a:pt x="589209" y="111080"/>
                      </a:lnTo>
                      <a:lnTo>
                        <a:pt x="593434" y="108665"/>
                      </a:lnTo>
                      <a:lnTo>
                        <a:pt x="603093" y="112288"/>
                      </a:lnTo>
                      <a:lnTo>
                        <a:pt x="607319" y="110477"/>
                      </a:lnTo>
                      <a:lnTo>
                        <a:pt x="608527" y="105647"/>
                      </a:lnTo>
                      <a:lnTo>
                        <a:pt x="606716" y="102629"/>
                      </a:lnTo>
                      <a:lnTo>
                        <a:pt x="611545" y="94781"/>
                      </a:lnTo>
                      <a:lnTo>
                        <a:pt x="615771" y="93573"/>
                      </a:lnTo>
                      <a:lnTo>
                        <a:pt x="618790" y="85725"/>
                      </a:lnTo>
                      <a:lnTo>
                        <a:pt x="627845" y="84518"/>
                      </a:lnTo>
                      <a:lnTo>
                        <a:pt x="628449" y="88140"/>
                      </a:lnTo>
                      <a:lnTo>
                        <a:pt x="633278" y="89951"/>
                      </a:lnTo>
                      <a:lnTo>
                        <a:pt x="644145" y="87536"/>
                      </a:lnTo>
                      <a:lnTo>
                        <a:pt x="643541" y="79688"/>
                      </a:lnTo>
                      <a:lnTo>
                        <a:pt x="646560" y="80896"/>
                      </a:lnTo>
                      <a:lnTo>
                        <a:pt x="647767" y="76670"/>
                      </a:lnTo>
                      <a:lnTo>
                        <a:pt x="651389" y="74859"/>
                      </a:lnTo>
                      <a:lnTo>
                        <a:pt x="658634" y="74859"/>
                      </a:lnTo>
                      <a:lnTo>
                        <a:pt x="658634" y="70029"/>
                      </a:lnTo>
                      <a:lnTo>
                        <a:pt x="663463" y="68218"/>
                      </a:lnTo>
                      <a:lnTo>
                        <a:pt x="661652" y="65199"/>
                      </a:lnTo>
                      <a:lnTo>
                        <a:pt x="656823" y="68822"/>
                      </a:lnTo>
                      <a:lnTo>
                        <a:pt x="655615" y="63388"/>
                      </a:lnTo>
                      <a:lnTo>
                        <a:pt x="658634" y="53125"/>
                      </a:lnTo>
                      <a:lnTo>
                        <a:pt x="655615" y="53729"/>
                      </a:lnTo>
                      <a:lnTo>
                        <a:pt x="648975" y="49503"/>
                      </a:lnTo>
                      <a:lnTo>
                        <a:pt x="658030" y="45881"/>
                      </a:lnTo>
                      <a:lnTo>
                        <a:pt x="665878" y="45277"/>
                      </a:lnTo>
                      <a:lnTo>
                        <a:pt x="674330" y="47088"/>
                      </a:lnTo>
                      <a:lnTo>
                        <a:pt x="682178" y="48296"/>
                      </a:lnTo>
                      <a:lnTo>
                        <a:pt x="683385" y="54936"/>
                      </a:lnTo>
                      <a:lnTo>
                        <a:pt x="688215" y="60973"/>
                      </a:lnTo>
                      <a:lnTo>
                        <a:pt x="692441" y="61577"/>
                      </a:lnTo>
                      <a:lnTo>
                        <a:pt x="696063" y="57351"/>
                      </a:lnTo>
                      <a:lnTo>
                        <a:pt x="699685" y="59162"/>
                      </a:lnTo>
                      <a:lnTo>
                        <a:pt x="702100" y="56144"/>
                      </a:lnTo>
                      <a:lnTo>
                        <a:pt x="709948" y="54333"/>
                      </a:lnTo>
                      <a:lnTo>
                        <a:pt x="712966" y="59766"/>
                      </a:lnTo>
                      <a:lnTo>
                        <a:pt x="709948" y="63992"/>
                      </a:lnTo>
                      <a:lnTo>
                        <a:pt x="719607" y="68822"/>
                      </a:lnTo>
                      <a:lnTo>
                        <a:pt x="722626" y="68218"/>
                      </a:lnTo>
                      <a:lnTo>
                        <a:pt x="725644" y="72444"/>
                      </a:lnTo>
                      <a:lnTo>
                        <a:pt x="733492" y="65803"/>
                      </a:lnTo>
                      <a:lnTo>
                        <a:pt x="726851" y="62181"/>
                      </a:lnTo>
                      <a:lnTo>
                        <a:pt x="720814" y="57955"/>
                      </a:lnTo>
                      <a:lnTo>
                        <a:pt x="725644" y="54936"/>
                      </a:lnTo>
                      <a:lnTo>
                        <a:pt x="727455" y="50107"/>
                      </a:lnTo>
                      <a:lnTo>
                        <a:pt x="732888" y="54333"/>
                      </a:lnTo>
                      <a:lnTo>
                        <a:pt x="737114" y="49503"/>
                      </a:lnTo>
                      <a:lnTo>
                        <a:pt x="747377" y="49503"/>
                      </a:lnTo>
                      <a:lnTo>
                        <a:pt x="758244" y="43466"/>
                      </a:lnTo>
                      <a:lnTo>
                        <a:pt x="762470" y="42862"/>
                      </a:lnTo>
                      <a:lnTo>
                        <a:pt x="768506" y="35014"/>
                      </a:lnTo>
                      <a:lnTo>
                        <a:pt x="764884" y="32600"/>
                      </a:lnTo>
                      <a:lnTo>
                        <a:pt x="764281" y="28374"/>
                      </a:lnTo>
                      <a:lnTo>
                        <a:pt x="770318" y="25355"/>
                      </a:lnTo>
                      <a:lnTo>
                        <a:pt x="770318" y="18111"/>
                      </a:lnTo>
                      <a:lnTo>
                        <a:pt x="776958" y="16903"/>
                      </a:lnTo>
                      <a:lnTo>
                        <a:pt x="779373" y="10866"/>
                      </a:lnTo>
                      <a:lnTo>
                        <a:pt x="785410" y="11470"/>
                      </a:lnTo>
                      <a:lnTo>
                        <a:pt x="775751" y="2415"/>
                      </a:lnTo>
                      <a:lnTo>
                        <a:pt x="787221" y="3622"/>
                      </a:lnTo>
                      <a:lnTo>
                        <a:pt x="792654" y="0"/>
                      </a:lnTo>
                      <a:lnTo>
                        <a:pt x="793862" y="2415"/>
                      </a:lnTo>
                      <a:lnTo>
                        <a:pt x="794466" y="1811"/>
                      </a:lnTo>
                      <a:lnTo>
                        <a:pt x="796277" y="2415"/>
                      </a:lnTo>
                      <a:lnTo>
                        <a:pt x="797484" y="6037"/>
                      </a:lnTo>
                      <a:lnTo>
                        <a:pt x="798691" y="7244"/>
                      </a:lnTo>
                      <a:lnTo>
                        <a:pt x="802917" y="7848"/>
                      </a:lnTo>
                      <a:lnTo>
                        <a:pt x="805332" y="9055"/>
                      </a:lnTo>
                      <a:lnTo>
                        <a:pt x="805936" y="9659"/>
                      </a:lnTo>
                      <a:lnTo>
                        <a:pt x="807747" y="11470"/>
                      </a:lnTo>
                      <a:lnTo>
                        <a:pt x="808954" y="12074"/>
                      </a:lnTo>
                      <a:lnTo>
                        <a:pt x="809558" y="12677"/>
                      </a:lnTo>
                      <a:lnTo>
                        <a:pt x="810162" y="12677"/>
                      </a:lnTo>
                      <a:lnTo>
                        <a:pt x="811973" y="12677"/>
                      </a:lnTo>
                      <a:lnTo>
                        <a:pt x="818010" y="13281"/>
                      </a:lnTo>
                      <a:lnTo>
                        <a:pt x="822839" y="12074"/>
                      </a:lnTo>
                      <a:lnTo>
                        <a:pt x="828876" y="15696"/>
                      </a:lnTo>
                      <a:lnTo>
                        <a:pt x="831895" y="19318"/>
                      </a:lnTo>
                      <a:lnTo>
                        <a:pt x="834913" y="31392"/>
                      </a:lnTo>
                      <a:lnTo>
                        <a:pt x="843365" y="35014"/>
                      </a:lnTo>
                      <a:lnTo>
                        <a:pt x="842761" y="23544"/>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11" name="Tripura" descr="{&quot;Key&quot;:&quot;tripura&quot;,&quot;Name&quot;:&quot;Tripura&quot;,&quot;Value&quot;:1.0,&quot;Formula&quot;:&quot;&quot;,&quot;Text&quot;:&quot;&quot;,&quot;OfficeApplication&quot;:1,&quot;HasValue&quot;:true}">
                  <a:extLst>
                    <a:ext uri="{FF2B5EF4-FFF2-40B4-BE49-F238E27FC236}">
                      <a16:creationId xmlns:a16="http://schemas.microsoft.com/office/drawing/2014/main" id="{987D8C70-919E-4507-B740-86B89F9C2E1E}"/>
                    </a:ext>
                  </a:extLst>
                </p:cNvPr>
                <p:cNvSpPr/>
                <p:nvPr/>
              </p:nvSpPr>
              <p:spPr>
                <a:xfrm>
                  <a:off x="7818952" y="3027541"/>
                  <a:ext cx="241479" cy="356181"/>
                </a:xfrm>
                <a:custGeom>
                  <a:avLst/>
                  <a:gdLst>
                    <a:gd name="connsiteX0" fmla="*/ 221557 w 241478"/>
                    <a:gd name="connsiteY0" fmla="*/ 6641 h 356181"/>
                    <a:gd name="connsiteX1" fmla="*/ 221557 w 241478"/>
                    <a:gd name="connsiteY1" fmla="*/ 16903 h 356181"/>
                    <a:gd name="connsiteX2" fmla="*/ 226386 w 241478"/>
                    <a:gd name="connsiteY2" fmla="*/ 22337 h 356181"/>
                    <a:gd name="connsiteX3" fmla="*/ 226386 w 241478"/>
                    <a:gd name="connsiteY3" fmla="*/ 25959 h 356181"/>
                    <a:gd name="connsiteX4" fmla="*/ 230008 w 241478"/>
                    <a:gd name="connsiteY4" fmla="*/ 33203 h 356181"/>
                    <a:gd name="connsiteX5" fmla="*/ 228197 w 241478"/>
                    <a:gd name="connsiteY5" fmla="*/ 38637 h 356181"/>
                    <a:gd name="connsiteX6" fmla="*/ 217935 w 241478"/>
                    <a:gd name="connsiteY6" fmla="*/ 64596 h 356181"/>
                    <a:gd name="connsiteX7" fmla="*/ 234838 w 241478"/>
                    <a:gd name="connsiteY7" fmla="*/ 63992 h 356181"/>
                    <a:gd name="connsiteX8" fmla="*/ 234838 w 241478"/>
                    <a:gd name="connsiteY8" fmla="*/ 64596 h 356181"/>
                    <a:gd name="connsiteX9" fmla="*/ 234838 w 241478"/>
                    <a:gd name="connsiteY9" fmla="*/ 66407 h 356181"/>
                    <a:gd name="connsiteX10" fmla="*/ 234838 w 241478"/>
                    <a:gd name="connsiteY10" fmla="*/ 67010 h 356181"/>
                    <a:gd name="connsiteX11" fmla="*/ 234838 w 241478"/>
                    <a:gd name="connsiteY11" fmla="*/ 67614 h 356181"/>
                    <a:gd name="connsiteX12" fmla="*/ 235442 w 241478"/>
                    <a:gd name="connsiteY12" fmla="*/ 68218 h 356181"/>
                    <a:gd name="connsiteX13" fmla="*/ 235442 w 241478"/>
                    <a:gd name="connsiteY13" fmla="*/ 69425 h 356181"/>
                    <a:gd name="connsiteX14" fmla="*/ 236045 w 241478"/>
                    <a:gd name="connsiteY14" fmla="*/ 70029 h 356181"/>
                    <a:gd name="connsiteX15" fmla="*/ 237856 w 241478"/>
                    <a:gd name="connsiteY15" fmla="*/ 72444 h 356181"/>
                    <a:gd name="connsiteX16" fmla="*/ 239064 w 241478"/>
                    <a:gd name="connsiteY16" fmla="*/ 72444 h 356181"/>
                    <a:gd name="connsiteX17" fmla="*/ 241479 w 241478"/>
                    <a:gd name="connsiteY17" fmla="*/ 77273 h 356181"/>
                    <a:gd name="connsiteX18" fmla="*/ 241479 w 241478"/>
                    <a:gd name="connsiteY18" fmla="*/ 78481 h 356181"/>
                    <a:gd name="connsiteX19" fmla="*/ 242082 w 241478"/>
                    <a:gd name="connsiteY19" fmla="*/ 81499 h 356181"/>
                    <a:gd name="connsiteX20" fmla="*/ 242082 w 241478"/>
                    <a:gd name="connsiteY20" fmla="*/ 83914 h 356181"/>
                    <a:gd name="connsiteX21" fmla="*/ 242686 w 241478"/>
                    <a:gd name="connsiteY21" fmla="*/ 86933 h 356181"/>
                    <a:gd name="connsiteX22" fmla="*/ 243290 w 241478"/>
                    <a:gd name="connsiteY22" fmla="*/ 88140 h 356181"/>
                    <a:gd name="connsiteX23" fmla="*/ 242686 w 241478"/>
                    <a:gd name="connsiteY23" fmla="*/ 88140 h 356181"/>
                    <a:gd name="connsiteX24" fmla="*/ 242082 w 241478"/>
                    <a:gd name="connsiteY24" fmla="*/ 88140 h 356181"/>
                    <a:gd name="connsiteX25" fmla="*/ 241479 w 241478"/>
                    <a:gd name="connsiteY25" fmla="*/ 89347 h 356181"/>
                    <a:gd name="connsiteX26" fmla="*/ 241479 w 241478"/>
                    <a:gd name="connsiteY26" fmla="*/ 89951 h 356181"/>
                    <a:gd name="connsiteX27" fmla="*/ 241479 w 241478"/>
                    <a:gd name="connsiteY27" fmla="*/ 92366 h 356181"/>
                    <a:gd name="connsiteX28" fmla="*/ 242082 w 241478"/>
                    <a:gd name="connsiteY28" fmla="*/ 95384 h 356181"/>
                    <a:gd name="connsiteX29" fmla="*/ 241479 w 241478"/>
                    <a:gd name="connsiteY29" fmla="*/ 95988 h 356181"/>
                    <a:gd name="connsiteX30" fmla="*/ 242082 w 241478"/>
                    <a:gd name="connsiteY30" fmla="*/ 97195 h 356181"/>
                    <a:gd name="connsiteX31" fmla="*/ 241479 w 241478"/>
                    <a:gd name="connsiteY31" fmla="*/ 97799 h 356181"/>
                    <a:gd name="connsiteX32" fmla="*/ 241479 w 241478"/>
                    <a:gd name="connsiteY32" fmla="*/ 103232 h 356181"/>
                    <a:gd name="connsiteX33" fmla="*/ 239064 w 241478"/>
                    <a:gd name="connsiteY33" fmla="*/ 105647 h 356181"/>
                    <a:gd name="connsiteX34" fmla="*/ 240271 w 241478"/>
                    <a:gd name="connsiteY34" fmla="*/ 107458 h 356181"/>
                    <a:gd name="connsiteX35" fmla="*/ 239668 w 241478"/>
                    <a:gd name="connsiteY35" fmla="*/ 109269 h 356181"/>
                    <a:gd name="connsiteX36" fmla="*/ 239064 w 241478"/>
                    <a:gd name="connsiteY36" fmla="*/ 109873 h 356181"/>
                    <a:gd name="connsiteX37" fmla="*/ 239064 w 241478"/>
                    <a:gd name="connsiteY37" fmla="*/ 112288 h 356181"/>
                    <a:gd name="connsiteX38" fmla="*/ 239668 w 241478"/>
                    <a:gd name="connsiteY38" fmla="*/ 113495 h 356181"/>
                    <a:gd name="connsiteX39" fmla="*/ 239064 w 241478"/>
                    <a:gd name="connsiteY39" fmla="*/ 114702 h 356181"/>
                    <a:gd name="connsiteX40" fmla="*/ 240271 w 241478"/>
                    <a:gd name="connsiteY40" fmla="*/ 116513 h 356181"/>
                    <a:gd name="connsiteX41" fmla="*/ 239668 w 241478"/>
                    <a:gd name="connsiteY41" fmla="*/ 116513 h 356181"/>
                    <a:gd name="connsiteX42" fmla="*/ 239064 w 241478"/>
                    <a:gd name="connsiteY42" fmla="*/ 116513 h 356181"/>
                    <a:gd name="connsiteX43" fmla="*/ 241479 w 241478"/>
                    <a:gd name="connsiteY43" fmla="*/ 123154 h 356181"/>
                    <a:gd name="connsiteX44" fmla="*/ 239668 w 241478"/>
                    <a:gd name="connsiteY44" fmla="*/ 126173 h 356181"/>
                    <a:gd name="connsiteX45" fmla="*/ 238460 w 241478"/>
                    <a:gd name="connsiteY45" fmla="*/ 127380 h 356181"/>
                    <a:gd name="connsiteX46" fmla="*/ 238460 w 241478"/>
                    <a:gd name="connsiteY46" fmla="*/ 129795 h 356181"/>
                    <a:gd name="connsiteX47" fmla="*/ 238460 w 241478"/>
                    <a:gd name="connsiteY47" fmla="*/ 130398 h 356181"/>
                    <a:gd name="connsiteX48" fmla="*/ 238460 w 241478"/>
                    <a:gd name="connsiteY48" fmla="*/ 135228 h 356181"/>
                    <a:gd name="connsiteX49" fmla="*/ 240271 w 241478"/>
                    <a:gd name="connsiteY49" fmla="*/ 137643 h 356181"/>
                    <a:gd name="connsiteX50" fmla="*/ 242082 w 241478"/>
                    <a:gd name="connsiteY50" fmla="*/ 138247 h 356181"/>
                    <a:gd name="connsiteX51" fmla="*/ 242082 w 241478"/>
                    <a:gd name="connsiteY51" fmla="*/ 141869 h 356181"/>
                    <a:gd name="connsiteX52" fmla="*/ 240271 w 241478"/>
                    <a:gd name="connsiteY52" fmla="*/ 142472 h 356181"/>
                    <a:gd name="connsiteX53" fmla="*/ 240271 w 241478"/>
                    <a:gd name="connsiteY53" fmla="*/ 145491 h 356181"/>
                    <a:gd name="connsiteX54" fmla="*/ 239668 w 241478"/>
                    <a:gd name="connsiteY54" fmla="*/ 146095 h 356181"/>
                    <a:gd name="connsiteX55" fmla="*/ 239668 w 241478"/>
                    <a:gd name="connsiteY55" fmla="*/ 146698 h 356181"/>
                    <a:gd name="connsiteX56" fmla="*/ 239064 w 241478"/>
                    <a:gd name="connsiteY56" fmla="*/ 147302 h 356181"/>
                    <a:gd name="connsiteX57" fmla="*/ 239064 w 241478"/>
                    <a:gd name="connsiteY57" fmla="*/ 147906 h 356181"/>
                    <a:gd name="connsiteX58" fmla="*/ 239668 w 241478"/>
                    <a:gd name="connsiteY58" fmla="*/ 148509 h 356181"/>
                    <a:gd name="connsiteX59" fmla="*/ 240271 w 241478"/>
                    <a:gd name="connsiteY59" fmla="*/ 150321 h 356181"/>
                    <a:gd name="connsiteX60" fmla="*/ 239668 w 241478"/>
                    <a:gd name="connsiteY60" fmla="*/ 150924 h 356181"/>
                    <a:gd name="connsiteX61" fmla="*/ 237253 w 241478"/>
                    <a:gd name="connsiteY61" fmla="*/ 151528 h 356181"/>
                    <a:gd name="connsiteX62" fmla="*/ 236045 w 241478"/>
                    <a:gd name="connsiteY62" fmla="*/ 150924 h 356181"/>
                    <a:gd name="connsiteX63" fmla="*/ 234838 w 241478"/>
                    <a:gd name="connsiteY63" fmla="*/ 149717 h 356181"/>
                    <a:gd name="connsiteX64" fmla="*/ 234234 w 241478"/>
                    <a:gd name="connsiteY64" fmla="*/ 149717 h 356181"/>
                    <a:gd name="connsiteX65" fmla="*/ 233027 w 241478"/>
                    <a:gd name="connsiteY65" fmla="*/ 150924 h 356181"/>
                    <a:gd name="connsiteX66" fmla="*/ 230612 w 241478"/>
                    <a:gd name="connsiteY66" fmla="*/ 155754 h 356181"/>
                    <a:gd name="connsiteX67" fmla="*/ 231216 w 241478"/>
                    <a:gd name="connsiteY67" fmla="*/ 157565 h 356181"/>
                    <a:gd name="connsiteX68" fmla="*/ 231820 w 241478"/>
                    <a:gd name="connsiteY68" fmla="*/ 158772 h 356181"/>
                    <a:gd name="connsiteX69" fmla="*/ 232423 w 241478"/>
                    <a:gd name="connsiteY69" fmla="*/ 160583 h 356181"/>
                    <a:gd name="connsiteX70" fmla="*/ 233027 w 241478"/>
                    <a:gd name="connsiteY70" fmla="*/ 161791 h 356181"/>
                    <a:gd name="connsiteX71" fmla="*/ 231820 w 241478"/>
                    <a:gd name="connsiteY71" fmla="*/ 162395 h 356181"/>
                    <a:gd name="connsiteX72" fmla="*/ 229405 w 241478"/>
                    <a:gd name="connsiteY72" fmla="*/ 161791 h 356181"/>
                    <a:gd name="connsiteX73" fmla="*/ 227594 w 241478"/>
                    <a:gd name="connsiteY73" fmla="*/ 164809 h 356181"/>
                    <a:gd name="connsiteX74" fmla="*/ 228801 w 241478"/>
                    <a:gd name="connsiteY74" fmla="*/ 174469 h 356181"/>
                    <a:gd name="connsiteX75" fmla="*/ 228801 w 241478"/>
                    <a:gd name="connsiteY75" fmla="*/ 179902 h 356181"/>
                    <a:gd name="connsiteX76" fmla="*/ 229405 w 241478"/>
                    <a:gd name="connsiteY76" fmla="*/ 181713 h 356181"/>
                    <a:gd name="connsiteX77" fmla="*/ 224575 w 241478"/>
                    <a:gd name="connsiteY77" fmla="*/ 182920 h 356181"/>
                    <a:gd name="connsiteX78" fmla="*/ 223368 w 241478"/>
                    <a:gd name="connsiteY78" fmla="*/ 186543 h 356181"/>
                    <a:gd name="connsiteX79" fmla="*/ 224575 w 241478"/>
                    <a:gd name="connsiteY79" fmla="*/ 190165 h 356181"/>
                    <a:gd name="connsiteX80" fmla="*/ 220953 w 241478"/>
                    <a:gd name="connsiteY80" fmla="*/ 197409 h 356181"/>
                    <a:gd name="connsiteX81" fmla="*/ 217935 w 241478"/>
                    <a:gd name="connsiteY81" fmla="*/ 196202 h 356181"/>
                    <a:gd name="connsiteX82" fmla="*/ 218538 w 241478"/>
                    <a:gd name="connsiteY82" fmla="*/ 189561 h 356181"/>
                    <a:gd name="connsiteX83" fmla="*/ 210690 w 241478"/>
                    <a:gd name="connsiteY83" fmla="*/ 183524 h 356181"/>
                    <a:gd name="connsiteX84" fmla="*/ 211294 w 241478"/>
                    <a:gd name="connsiteY84" fmla="*/ 178694 h 356181"/>
                    <a:gd name="connsiteX85" fmla="*/ 204653 w 241478"/>
                    <a:gd name="connsiteY85" fmla="*/ 181109 h 356181"/>
                    <a:gd name="connsiteX86" fmla="*/ 195598 w 241478"/>
                    <a:gd name="connsiteY86" fmla="*/ 193787 h 356181"/>
                    <a:gd name="connsiteX87" fmla="*/ 192579 w 241478"/>
                    <a:gd name="connsiteY87" fmla="*/ 193787 h 356181"/>
                    <a:gd name="connsiteX88" fmla="*/ 191976 w 241478"/>
                    <a:gd name="connsiteY88" fmla="*/ 198617 h 356181"/>
                    <a:gd name="connsiteX89" fmla="*/ 188353 w 241478"/>
                    <a:gd name="connsiteY89" fmla="*/ 201031 h 356181"/>
                    <a:gd name="connsiteX90" fmla="*/ 181109 w 241478"/>
                    <a:gd name="connsiteY90" fmla="*/ 196805 h 356181"/>
                    <a:gd name="connsiteX91" fmla="*/ 179298 w 241478"/>
                    <a:gd name="connsiteY91" fmla="*/ 198013 h 356181"/>
                    <a:gd name="connsiteX92" fmla="*/ 174468 w 241478"/>
                    <a:gd name="connsiteY92" fmla="*/ 190768 h 356181"/>
                    <a:gd name="connsiteX93" fmla="*/ 170242 w 241478"/>
                    <a:gd name="connsiteY93" fmla="*/ 181713 h 356181"/>
                    <a:gd name="connsiteX94" fmla="*/ 166017 w 241478"/>
                    <a:gd name="connsiteY94" fmla="*/ 182317 h 356181"/>
                    <a:gd name="connsiteX95" fmla="*/ 164809 w 241478"/>
                    <a:gd name="connsiteY95" fmla="*/ 188354 h 356181"/>
                    <a:gd name="connsiteX96" fmla="*/ 161791 w 241478"/>
                    <a:gd name="connsiteY96" fmla="*/ 192580 h 356181"/>
                    <a:gd name="connsiteX97" fmla="*/ 164809 w 241478"/>
                    <a:gd name="connsiteY97" fmla="*/ 207068 h 356181"/>
                    <a:gd name="connsiteX98" fmla="*/ 164205 w 241478"/>
                    <a:gd name="connsiteY98" fmla="*/ 211898 h 356181"/>
                    <a:gd name="connsiteX99" fmla="*/ 166620 w 241478"/>
                    <a:gd name="connsiteY99" fmla="*/ 215520 h 356181"/>
                    <a:gd name="connsiteX100" fmla="*/ 166620 w 241478"/>
                    <a:gd name="connsiteY100" fmla="*/ 220953 h 356181"/>
                    <a:gd name="connsiteX101" fmla="*/ 166017 w 241478"/>
                    <a:gd name="connsiteY101" fmla="*/ 229405 h 356181"/>
                    <a:gd name="connsiteX102" fmla="*/ 169035 w 241478"/>
                    <a:gd name="connsiteY102" fmla="*/ 234234 h 356181"/>
                    <a:gd name="connsiteX103" fmla="*/ 161791 w 241478"/>
                    <a:gd name="connsiteY103" fmla="*/ 242082 h 356181"/>
                    <a:gd name="connsiteX104" fmla="*/ 161791 w 241478"/>
                    <a:gd name="connsiteY104" fmla="*/ 247516 h 356181"/>
                    <a:gd name="connsiteX105" fmla="*/ 153943 w 241478"/>
                    <a:gd name="connsiteY105" fmla="*/ 246308 h 356181"/>
                    <a:gd name="connsiteX106" fmla="*/ 147302 w 241478"/>
                    <a:gd name="connsiteY106" fmla="*/ 252345 h 356181"/>
                    <a:gd name="connsiteX107" fmla="*/ 143076 w 241478"/>
                    <a:gd name="connsiteY107" fmla="*/ 255364 h 356181"/>
                    <a:gd name="connsiteX108" fmla="*/ 141869 w 241478"/>
                    <a:gd name="connsiteY108" fmla="*/ 260193 h 356181"/>
                    <a:gd name="connsiteX109" fmla="*/ 134020 w 241478"/>
                    <a:gd name="connsiteY109" fmla="*/ 269853 h 356181"/>
                    <a:gd name="connsiteX110" fmla="*/ 130398 w 241478"/>
                    <a:gd name="connsiteY110" fmla="*/ 276493 h 356181"/>
                    <a:gd name="connsiteX111" fmla="*/ 126776 w 241478"/>
                    <a:gd name="connsiteY111" fmla="*/ 286153 h 356181"/>
                    <a:gd name="connsiteX112" fmla="*/ 127984 w 241478"/>
                    <a:gd name="connsiteY112" fmla="*/ 291586 h 356181"/>
                    <a:gd name="connsiteX113" fmla="*/ 131002 w 241478"/>
                    <a:gd name="connsiteY113" fmla="*/ 294001 h 356181"/>
                    <a:gd name="connsiteX114" fmla="*/ 130398 w 241478"/>
                    <a:gd name="connsiteY114" fmla="*/ 297623 h 356181"/>
                    <a:gd name="connsiteX115" fmla="*/ 132209 w 241478"/>
                    <a:gd name="connsiteY115" fmla="*/ 301245 h 356181"/>
                    <a:gd name="connsiteX116" fmla="*/ 135832 w 241478"/>
                    <a:gd name="connsiteY116" fmla="*/ 314526 h 356181"/>
                    <a:gd name="connsiteX117" fmla="*/ 135228 w 241478"/>
                    <a:gd name="connsiteY117" fmla="*/ 316337 h 356181"/>
                    <a:gd name="connsiteX118" fmla="*/ 139454 w 241478"/>
                    <a:gd name="connsiteY118" fmla="*/ 324789 h 356181"/>
                    <a:gd name="connsiteX119" fmla="*/ 137643 w 241478"/>
                    <a:gd name="connsiteY119" fmla="*/ 328411 h 356181"/>
                    <a:gd name="connsiteX120" fmla="*/ 127984 w 241478"/>
                    <a:gd name="connsiteY120" fmla="*/ 330826 h 356181"/>
                    <a:gd name="connsiteX121" fmla="*/ 129795 w 241478"/>
                    <a:gd name="connsiteY121" fmla="*/ 337467 h 356181"/>
                    <a:gd name="connsiteX122" fmla="*/ 126776 w 241478"/>
                    <a:gd name="connsiteY122" fmla="*/ 337467 h 356181"/>
                    <a:gd name="connsiteX123" fmla="*/ 123758 w 241478"/>
                    <a:gd name="connsiteY123" fmla="*/ 342296 h 356181"/>
                    <a:gd name="connsiteX124" fmla="*/ 117721 w 241478"/>
                    <a:gd name="connsiteY124" fmla="*/ 346522 h 356181"/>
                    <a:gd name="connsiteX125" fmla="*/ 111684 w 241478"/>
                    <a:gd name="connsiteY125" fmla="*/ 344711 h 356181"/>
                    <a:gd name="connsiteX126" fmla="*/ 109269 w 241478"/>
                    <a:gd name="connsiteY126" fmla="*/ 348333 h 356181"/>
                    <a:gd name="connsiteX127" fmla="*/ 103232 w 241478"/>
                    <a:gd name="connsiteY127" fmla="*/ 348333 h 356181"/>
                    <a:gd name="connsiteX128" fmla="*/ 98403 w 241478"/>
                    <a:gd name="connsiteY128" fmla="*/ 352559 h 356181"/>
                    <a:gd name="connsiteX129" fmla="*/ 96592 w 241478"/>
                    <a:gd name="connsiteY129" fmla="*/ 356181 h 356181"/>
                    <a:gd name="connsiteX130" fmla="*/ 92366 w 241478"/>
                    <a:gd name="connsiteY130" fmla="*/ 355578 h 356181"/>
                    <a:gd name="connsiteX131" fmla="*/ 83914 w 241478"/>
                    <a:gd name="connsiteY131" fmla="*/ 350748 h 356181"/>
                    <a:gd name="connsiteX132" fmla="*/ 83914 w 241478"/>
                    <a:gd name="connsiteY132" fmla="*/ 347729 h 356181"/>
                    <a:gd name="connsiteX133" fmla="*/ 80292 w 241478"/>
                    <a:gd name="connsiteY133" fmla="*/ 345918 h 356181"/>
                    <a:gd name="connsiteX134" fmla="*/ 82103 w 241478"/>
                    <a:gd name="connsiteY134" fmla="*/ 338070 h 356181"/>
                    <a:gd name="connsiteX135" fmla="*/ 78481 w 241478"/>
                    <a:gd name="connsiteY135" fmla="*/ 337467 h 356181"/>
                    <a:gd name="connsiteX136" fmla="*/ 79084 w 241478"/>
                    <a:gd name="connsiteY136" fmla="*/ 331430 h 356181"/>
                    <a:gd name="connsiteX137" fmla="*/ 73651 w 241478"/>
                    <a:gd name="connsiteY137" fmla="*/ 321771 h 356181"/>
                    <a:gd name="connsiteX138" fmla="*/ 74858 w 241478"/>
                    <a:gd name="connsiteY138" fmla="*/ 318752 h 356181"/>
                    <a:gd name="connsiteX139" fmla="*/ 70632 w 241478"/>
                    <a:gd name="connsiteY139" fmla="*/ 311508 h 356181"/>
                    <a:gd name="connsiteX140" fmla="*/ 71840 w 241478"/>
                    <a:gd name="connsiteY140" fmla="*/ 303660 h 356181"/>
                    <a:gd name="connsiteX141" fmla="*/ 68821 w 241478"/>
                    <a:gd name="connsiteY141" fmla="*/ 300038 h 356181"/>
                    <a:gd name="connsiteX142" fmla="*/ 62784 w 241478"/>
                    <a:gd name="connsiteY142" fmla="*/ 291586 h 356181"/>
                    <a:gd name="connsiteX143" fmla="*/ 62181 w 241478"/>
                    <a:gd name="connsiteY143" fmla="*/ 287964 h 356181"/>
                    <a:gd name="connsiteX144" fmla="*/ 54333 w 241478"/>
                    <a:gd name="connsiteY144" fmla="*/ 287964 h 356181"/>
                    <a:gd name="connsiteX145" fmla="*/ 49503 w 241478"/>
                    <a:gd name="connsiteY145" fmla="*/ 295208 h 356181"/>
                    <a:gd name="connsiteX146" fmla="*/ 47692 w 241478"/>
                    <a:gd name="connsiteY146" fmla="*/ 305471 h 356181"/>
                    <a:gd name="connsiteX147" fmla="*/ 48296 w 241478"/>
                    <a:gd name="connsiteY147" fmla="*/ 311508 h 356181"/>
                    <a:gd name="connsiteX148" fmla="*/ 51918 w 241478"/>
                    <a:gd name="connsiteY148" fmla="*/ 321771 h 356181"/>
                    <a:gd name="connsiteX149" fmla="*/ 51918 w 241478"/>
                    <a:gd name="connsiteY149" fmla="*/ 324185 h 356181"/>
                    <a:gd name="connsiteX150" fmla="*/ 54936 w 241478"/>
                    <a:gd name="connsiteY150" fmla="*/ 332033 h 356181"/>
                    <a:gd name="connsiteX151" fmla="*/ 50710 w 241478"/>
                    <a:gd name="connsiteY151" fmla="*/ 333844 h 356181"/>
                    <a:gd name="connsiteX152" fmla="*/ 45277 w 241478"/>
                    <a:gd name="connsiteY152" fmla="*/ 331430 h 356181"/>
                    <a:gd name="connsiteX153" fmla="*/ 40447 w 241478"/>
                    <a:gd name="connsiteY153" fmla="*/ 322978 h 356181"/>
                    <a:gd name="connsiteX154" fmla="*/ 37429 w 241478"/>
                    <a:gd name="connsiteY154" fmla="*/ 311508 h 356181"/>
                    <a:gd name="connsiteX155" fmla="*/ 35618 w 241478"/>
                    <a:gd name="connsiteY155" fmla="*/ 310301 h 356181"/>
                    <a:gd name="connsiteX156" fmla="*/ 35618 w 241478"/>
                    <a:gd name="connsiteY156" fmla="*/ 297019 h 356181"/>
                    <a:gd name="connsiteX157" fmla="*/ 34410 w 241478"/>
                    <a:gd name="connsiteY157" fmla="*/ 288567 h 356181"/>
                    <a:gd name="connsiteX158" fmla="*/ 30788 w 241478"/>
                    <a:gd name="connsiteY158" fmla="*/ 280116 h 356181"/>
                    <a:gd name="connsiteX159" fmla="*/ 33807 w 241478"/>
                    <a:gd name="connsiteY159" fmla="*/ 277701 h 356181"/>
                    <a:gd name="connsiteX160" fmla="*/ 32599 w 241478"/>
                    <a:gd name="connsiteY160" fmla="*/ 275286 h 356181"/>
                    <a:gd name="connsiteX161" fmla="*/ 28977 w 241478"/>
                    <a:gd name="connsiteY161" fmla="*/ 273475 h 356181"/>
                    <a:gd name="connsiteX162" fmla="*/ 31392 w 241478"/>
                    <a:gd name="connsiteY162" fmla="*/ 265627 h 356181"/>
                    <a:gd name="connsiteX163" fmla="*/ 27770 w 241478"/>
                    <a:gd name="connsiteY163" fmla="*/ 263212 h 356181"/>
                    <a:gd name="connsiteX164" fmla="*/ 25959 w 241478"/>
                    <a:gd name="connsiteY164" fmla="*/ 258986 h 356181"/>
                    <a:gd name="connsiteX165" fmla="*/ 25959 w 241478"/>
                    <a:gd name="connsiteY165" fmla="*/ 253553 h 356181"/>
                    <a:gd name="connsiteX166" fmla="*/ 21129 w 241478"/>
                    <a:gd name="connsiteY166" fmla="*/ 245101 h 356181"/>
                    <a:gd name="connsiteX167" fmla="*/ 19922 w 241478"/>
                    <a:gd name="connsiteY167" fmla="*/ 235442 h 356181"/>
                    <a:gd name="connsiteX168" fmla="*/ 14489 w 241478"/>
                    <a:gd name="connsiteY168" fmla="*/ 233631 h 356181"/>
                    <a:gd name="connsiteX169" fmla="*/ 14489 w 241478"/>
                    <a:gd name="connsiteY169" fmla="*/ 230008 h 356181"/>
                    <a:gd name="connsiteX170" fmla="*/ 9659 w 241478"/>
                    <a:gd name="connsiteY170" fmla="*/ 227594 h 356181"/>
                    <a:gd name="connsiteX171" fmla="*/ 10866 w 241478"/>
                    <a:gd name="connsiteY171" fmla="*/ 222764 h 356181"/>
                    <a:gd name="connsiteX172" fmla="*/ 8452 w 241478"/>
                    <a:gd name="connsiteY172" fmla="*/ 222160 h 356181"/>
                    <a:gd name="connsiteX173" fmla="*/ 7848 w 241478"/>
                    <a:gd name="connsiteY173" fmla="*/ 216727 h 356181"/>
                    <a:gd name="connsiteX174" fmla="*/ 2415 w 241478"/>
                    <a:gd name="connsiteY174" fmla="*/ 211898 h 356181"/>
                    <a:gd name="connsiteX175" fmla="*/ 1207 w 241478"/>
                    <a:gd name="connsiteY175" fmla="*/ 204654 h 356181"/>
                    <a:gd name="connsiteX176" fmla="*/ 4226 w 241478"/>
                    <a:gd name="connsiteY176" fmla="*/ 198013 h 356181"/>
                    <a:gd name="connsiteX177" fmla="*/ 10263 w 241478"/>
                    <a:gd name="connsiteY177" fmla="*/ 199220 h 356181"/>
                    <a:gd name="connsiteX178" fmla="*/ 10866 w 241478"/>
                    <a:gd name="connsiteY178" fmla="*/ 191976 h 356181"/>
                    <a:gd name="connsiteX179" fmla="*/ 9055 w 241478"/>
                    <a:gd name="connsiteY179" fmla="*/ 190165 h 356181"/>
                    <a:gd name="connsiteX180" fmla="*/ 0 w 241478"/>
                    <a:gd name="connsiteY180" fmla="*/ 190165 h 356181"/>
                    <a:gd name="connsiteX181" fmla="*/ 0 w 241478"/>
                    <a:gd name="connsiteY181" fmla="*/ 182920 h 356181"/>
                    <a:gd name="connsiteX182" fmla="*/ 3018 w 241478"/>
                    <a:gd name="connsiteY182" fmla="*/ 176883 h 356181"/>
                    <a:gd name="connsiteX183" fmla="*/ 10866 w 241478"/>
                    <a:gd name="connsiteY183" fmla="*/ 176883 h 356181"/>
                    <a:gd name="connsiteX184" fmla="*/ 13885 w 241478"/>
                    <a:gd name="connsiteY184" fmla="*/ 179298 h 356181"/>
                    <a:gd name="connsiteX185" fmla="*/ 15696 w 241478"/>
                    <a:gd name="connsiteY185" fmla="*/ 172657 h 356181"/>
                    <a:gd name="connsiteX186" fmla="*/ 15092 w 241478"/>
                    <a:gd name="connsiteY186" fmla="*/ 167828 h 356181"/>
                    <a:gd name="connsiteX187" fmla="*/ 16903 w 241478"/>
                    <a:gd name="connsiteY187" fmla="*/ 162998 h 356181"/>
                    <a:gd name="connsiteX188" fmla="*/ 20525 w 241478"/>
                    <a:gd name="connsiteY188" fmla="*/ 156961 h 356181"/>
                    <a:gd name="connsiteX189" fmla="*/ 16903 w 241478"/>
                    <a:gd name="connsiteY189" fmla="*/ 147906 h 356181"/>
                    <a:gd name="connsiteX190" fmla="*/ 15696 w 241478"/>
                    <a:gd name="connsiteY190" fmla="*/ 143680 h 356181"/>
                    <a:gd name="connsiteX191" fmla="*/ 18714 w 241478"/>
                    <a:gd name="connsiteY191" fmla="*/ 141265 h 356181"/>
                    <a:gd name="connsiteX192" fmla="*/ 18111 w 241478"/>
                    <a:gd name="connsiteY192" fmla="*/ 137643 h 356181"/>
                    <a:gd name="connsiteX193" fmla="*/ 24751 w 241478"/>
                    <a:gd name="connsiteY193" fmla="*/ 137643 h 356181"/>
                    <a:gd name="connsiteX194" fmla="*/ 22337 w 241478"/>
                    <a:gd name="connsiteY194" fmla="*/ 132210 h 356181"/>
                    <a:gd name="connsiteX195" fmla="*/ 25959 w 241478"/>
                    <a:gd name="connsiteY195" fmla="*/ 124965 h 356181"/>
                    <a:gd name="connsiteX196" fmla="*/ 29581 w 241478"/>
                    <a:gd name="connsiteY196" fmla="*/ 126776 h 356181"/>
                    <a:gd name="connsiteX197" fmla="*/ 30788 w 241478"/>
                    <a:gd name="connsiteY197" fmla="*/ 120739 h 356181"/>
                    <a:gd name="connsiteX198" fmla="*/ 42259 w 241478"/>
                    <a:gd name="connsiteY198" fmla="*/ 123758 h 356181"/>
                    <a:gd name="connsiteX199" fmla="*/ 45881 w 241478"/>
                    <a:gd name="connsiteY199" fmla="*/ 125569 h 356181"/>
                    <a:gd name="connsiteX200" fmla="*/ 44673 w 241478"/>
                    <a:gd name="connsiteY200" fmla="*/ 118928 h 356181"/>
                    <a:gd name="connsiteX201" fmla="*/ 48296 w 241478"/>
                    <a:gd name="connsiteY201" fmla="*/ 114099 h 356181"/>
                    <a:gd name="connsiteX202" fmla="*/ 49503 w 241478"/>
                    <a:gd name="connsiteY202" fmla="*/ 109269 h 356181"/>
                    <a:gd name="connsiteX203" fmla="*/ 45277 w 241478"/>
                    <a:gd name="connsiteY203" fmla="*/ 102629 h 356181"/>
                    <a:gd name="connsiteX204" fmla="*/ 45277 w 241478"/>
                    <a:gd name="connsiteY204" fmla="*/ 96592 h 356181"/>
                    <a:gd name="connsiteX205" fmla="*/ 52521 w 241478"/>
                    <a:gd name="connsiteY205" fmla="*/ 95384 h 356181"/>
                    <a:gd name="connsiteX206" fmla="*/ 63388 w 241478"/>
                    <a:gd name="connsiteY206" fmla="*/ 98403 h 356181"/>
                    <a:gd name="connsiteX207" fmla="*/ 68821 w 241478"/>
                    <a:gd name="connsiteY207" fmla="*/ 98403 h 356181"/>
                    <a:gd name="connsiteX208" fmla="*/ 70029 w 241478"/>
                    <a:gd name="connsiteY208" fmla="*/ 100818 h 356181"/>
                    <a:gd name="connsiteX209" fmla="*/ 74858 w 241478"/>
                    <a:gd name="connsiteY209" fmla="*/ 101421 h 356181"/>
                    <a:gd name="connsiteX210" fmla="*/ 80292 w 241478"/>
                    <a:gd name="connsiteY210" fmla="*/ 103836 h 356181"/>
                    <a:gd name="connsiteX211" fmla="*/ 90555 w 241478"/>
                    <a:gd name="connsiteY211" fmla="*/ 102629 h 356181"/>
                    <a:gd name="connsiteX212" fmla="*/ 93573 w 241478"/>
                    <a:gd name="connsiteY212" fmla="*/ 99610 h 356181"/>
                    <a:gd name="connsiteX213" fmla="*/ 98403 w 241478"/>
                    <a:gd name="connsiteY213" fmla="*/ 97799 h 356181"/>
                    <a:gd name="connsiteX214" fmla="*/ 100214 w 241478"/>
                    <a:gd name="connsiteY214" fmla="*/ 94177 h 356181"/>
                    <a:gd name="connsiteX215" fmla="*/ 99006 w 241478"/>
                    <a:gd name="connsiteY215" fmla="*/ 89347 h 356181"/>
                    <a:gd name="connsiteX216" fmla="*/ 100817 w 241478"/>
                    <a:gd name="connsiteY216" fmla="*/ 85725 h 356181"/>
                    <a:gd name="connsiteX217" fmla="*/ 100214 w 241478"/>
                    <a:gd name="connsiteY217" fmla="*/ 82707 h 356181"/>
                    <a:gd name="connsiteX218" fmla="*/ 103836 w 241478"/>
                    <a:gd name="connsiteY218" fmla="*/ 78481 h 356181"/>
                    <a:gd name="connsiteX219" fmla="*/ 101421 w 241478"/>
                    <a:gd name="connsiteY219" fmla="*/ 72444 h 356181"/>
                    <a:gd name="connsiteX220" fmla="*/ 105647 w 241478"/>
                    <a:gd name="connsiteY220" fmla="*/ 73047 h 356181"/>
                    <a:gd name="connsiteX221" fmla="*/ 107458 w 241478"/>
                    <a:gd name="connsiteY221" fmla="*/ 76066 h 356181"/>
                    <a:gd name="connsiteX222" fmla="*/ 108665 w 241478"/>
                    <a:gd name="connsiteY222" fmla="*/ 82707 h 356181"/>
                    <a:gd name="connsiteX223" fmla="*/ 114099 w 241478"/>
                    <a:gd name="connsiteY223" fmla="*/ 86329 h 356181"/>
                    <a:gd name="connsiteX224" fmla="*/ 120136 w 241478"/>
                    <a:gd name="connsiteY224" fmla="*/ 88744 h 356181"/>
                    <a:gd name="connsiteX225" fmla="*/ 124965 w 241478"/>
                    <a:gd name="connsiteY225" fmla="*/ 88140 h 356181"/>
                    <a:gd name="connsiteX226" fmla="*/ 120739 w 241478"/>
                    <a:gd name="connsiteY226" fmla="*/ 64596 h 356181"/>
                    <a:gd name="connsiteX227" fmla="*/ 135832 w 241478"/>
                    <a:gd name="connsiteY227" fmla="*/ 73651 h 356181"/>
                    <a:gd name="connsiteX228" fmla="*/ 141265 w 241478"/>
                    <a:gd name="connsiteY228" fmla="*/ 70633 h 356181"/>
                    <a:gd name="connsiteX229" fmla="*/ 141265 w 241478"/>
                    <a:gd name="connsiteY229" fmla="*/ 76066 h 356181"/>
                    <a:gd name="connsiteX230" fmla="*/ 147302 w 241478"/>
                    <a:gd name="connsiteY230" fmla="*/ 81499 h 356181"/>
                    <a:gd name="connsiteX231" fmla="*/ 148509 w 241478"/>
                    <a:gd name="connsiteY231" fmla="*/ 87536 h 356181"/>
                    <a:gd name="connsiteX232" fmla="*/ 150924 w 241478"/>
                    <a:gd name="connsiteY232" fmla="*/ 89951 h 356181"/>
                    <a:gd name="connsiteX233" fmla="*/ 155150 w 241478"/>
                    <a:gd name="connsiteY233" fmla="*/ 88744 h 356181"/>
                    <a:gd name="connsiteX234" fmla="*/ 155754 w 241478"/>
                    <a:gd name="connsiteY234" fmla="*/ 82103 h 356181"/>
                    <a:gd name="connsiteX235" fmla="*/ 161791 w 241478"/>
                    <a:gd name="connsiteY235" fmla="*/ 60370 h 356181"/>
                    <a:gd name="connsiteX236" fmla="*/ 157565 w 241478"/>
                    <a:gd name="connsiteY236" fmla="*/ 44674 h 356181"/>
                    <a:gd name="connsiteX237" fmla="*/ 164809 w 241478"/>
                    <a:gd name="connsiteY237" fmla="*/ 40448 h 356181"/>
                    <a:gd name="connsiteX238" fmla="*/ 167828 w 241478"/>
                    <a:gd name="connsiteY238" fmla="*/ 41655 h 356181"/>
                    <a:gd name="connsiteX239" fmla="*/ 168431 w 241478"/>
                    <a:gd name="connsiteY239" fmla="*/ 45881 h 356181"/>
                    <a:gd name="connsiteX240" fmla="*/ 172657 w 241478"/>
                    <a:gd name="connsiteY240" fmla="*/ 48296 h 356181"/>
                    <a:gd name="connsiteX241" fmla="*/ 173261 w 241478"/>
                    <a:gd name="connsiteY241" fmla="*/ 44070 h 356181"/>
                    <a:gd name="connsiteX242" fmla="*/ 169639 w 241478"/>
                    <a:gd name="connsiteY242" fmla="*/ 34411 h 356181"/>
                    <a:gd name="connsiteX243" fmla="*/ 173261 w 241478"/>
                    <a:gd name="connsiteY243" fmla="*/ 32600 h 356181"/>
                    <a:gd name="connsiteX244" fmla="*/ 175676 w 241478"/>
                    <a:gd name="connsiteY244" fmla="*/ 34411 h 356181"/>
                    <a:gd name="connsiteX245" fmla="*/ 188353 w 241478"/>
                    <a:gd name="connsiteY245" fmla="*/ 35618 h 356181"/>
                    <a:gd name="connsiteX246" fmla="*/ 193787 w 241478"/>
                    <a:gd name="connsiteY246" fmla="*/ 35618 h 356181"/>
                    <a:gd name="connsiteX247" fmla="*/ 198616 w 241478"/>
                    <a:gd name="connsiteY247" fmla="*/ 33807 h 356181"/>
                    <a:gd name="connsiteX248" fmla="*/ 202239 w 241478"/>
                    <a:gd name="connsiteY248" fmla="*/ 27770 h 356181"/>
                    <a:gd name="connsiteX249" fmla="*/ 202239 w 241478"/>
                    <a:gd name="connsiteY249" fmla="*/ 24752 h 356181"/>
                    <a:gd name="connsiteX250" fmla="*/ 209483 w 241478"/>
                    <a:gd name="connsiteY250" fmla="*/ 23544 h 356181"/>
                    <a:gd name="connsiteX251" fmla="*/ 206464 w 241478"/>
                    <a:gd name="connsiteY251" fmla="*/ 16903 h 356181"/>
                    <a:gd name="connsiteX252" fmla="*/ 205861 w 241478"/>
                    <a:gd name="connsiteY252" fmla="*/ 12074 h 356181"/>
                    <a:gd name="connsiteX253" fmla="*/ 207068 w 241478"/>
                    <a:gd name="connsiteY253" fmla="*/ 4830 h 356181"/>
                    <a:gd name="connsiteX254" fmla="*/ 205861 w 241478"/>
                    <a:gd name="connsiteY254" fmla="*/ 2415 h 356181"/>
                    <a:gd name="connsiteX255" fmla="*/ 209483 w 241478"/>
                    <a:gd name="connsiteY255" fmla="*/ 0 h 356181"/>
                    <a:gd name="connsiteX256" fmla="*/ 216727 w 241478"/>
                    <a:gd name="connsiteY256" fmla="*/ 6037 h 356181"/>
                    <a:gd name="connsiteX257" fmla="*/ 221557 w 241478"/>
                    <a:gd name="connsiteY257" fmla="*/ 6641 h 35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41478" h="356181">
                      <a:moveTo>
                        <a:pt x="221557" y="6641"/>
                      </a:moveTo>
                      <a:lnTo>
                        <a:pt x="221557" y="16903"/>
                      </a:lnTo>
                      <a:lnTo>
                        <a:pt x="226386" y="22337"/>
                      </a:lnTo>
                      <a:lnTo>
                        <a:pt x="226386" y="25959"/>
                      </a:lnTo>
                      <a:lnTo>
                        <a:pt x="230008" y="33203"/>
                      </a:lnTo>
                      <a:lnTo>
                        <a:pt x="228197" y="38637"/>
                      </a:lnTo>
                      <a:lnTo>
                        <a:pt x="217935" y="64596"/>
                      </a:lnTo>
                      <a:lnTo>
                        <a:pt x="234838" y="63992"/>
                      </a:lnTo>
                      <a:lnTo>
                        <a:pt x="234838" y="64596"/>
                      </a:lnTo>
                      <a:lnTo>
                        <a:pt x="234838" y="66407"/>
                      </a:lnTo>
                      <a:lnTo>
                        <a:pt x="234838" y="67010"/>
                      </a:lnTo>
                      <a:lnTo>
                        <a:pt x="234838" y="67614"/>
                      </a:lnTo>
                      <a:lnTo>
                        <a:pt x="235442" y="68218"/>
                      </a:lnTo>
                      <a:lnTo>
                        <a:pt x="235442" y="69425"/>
                      </a:lnTo>
                      <a:lnTo>
                        <a:pt x="236045" y="70029"/>
                      </a:lnTo>
                      <a:lnTo>
                        <a:pt x="237856" y="72444"/>
                      </a:lnTo>
                      <a:lnTo>
                        <a:pt x="239064" y="72444"/>
                      </a:lnTo>
                      <a:lnTo>
                        <a:pt x="241479" y="77273"/>
                      </a:lnTo>
                      <a:lnTo>
                        <a:pt x="241479" y="78481"/>
                      </a:lnTo>
                      <a:lnTo>
                        <a:pt x="242082" y="81499"/>
                      </a:lnTo>
                      <a:lnTo>
                        <a:pt x="242082" y="83914"/>
                      </a:lnTo>
                      <a:lnTo>
                        <a:pt x="242686" y="86933"/>
                      </a:lnTo>
                      <a:lnTo>
                        <a:pt x="243290" y="88140"/>
                      </a:lnTo>
                      <a:lnTo>
                        <a:pt x="242686" y="88140"/>
                      </a:lnTo>
                      <a:lnTo>
                        <a:pt x="242082" y="88140"/>
                      </a:lnTo>
                      <a:lnTo>
                        <a:pt x="241479" y="89347"/>
                      </a:lnTo>
                      <a:lnTo>
                        <a:pt x="241479" y="89951"/>
                      </a:lnTo>
                      <a:lnTo>
                        <a:pt x="241479" y="92366"/>
                      </a:lnTo>
                      <a:lnTo>
                        <a:pt x="242082" y="95384"/>
                      </a:lnTo>
                      <a:lnTo>
                        <a:pt x="241479" y="95988"/>
                      </a:lnTo>
                      <a:lnTo>
                        <a:pt x="242082" y="97195"/>
                      </a:lnTo>
                      <a:lnTo>
                        <a:pt x="241479" y="97799"/>
                      </a:lnTo>
                      <a:lnTo>
                        <a:pt x="241479" y="103232"/>
                      </a:lnTo>
                      <a:lnTo>
                        <a:pt x="239064" y="105647"/>
                      </a:lnTo>
                      <a:lnTo>
                        <a:pt x="240271" y="107458"/>
                      </a:lnTo>
                      <a:lnTo>
                        <a:pt x="239668" y="109269"/>
                      </a:lnTo>
                      <a:lnTo>
                        <a:pt x="239064" y="109873"/>
                      </a:lnTo>
                      <a:lnTo>
                        <a:pt x="239064" y="112288"/>
                      </a:lnTo>
                      <a:lnTo>
                        <a:pt x="239668" y="113495"/>
                      </a:lnTo>
                      <a:lnTo>
                        <a:pt x="239064" y="114702"/>
                      </a:lnTo>
                      <a:lnTo>
                        <a:pt x="240271" y="116513"/>
                      </a:lnTo>
                      <a:lnTo>
                        <a:pt x="239668" y="116513"/>
                      </a:lnTo>
                      <a:lnTo>
                        <a:pt x="239064" y="116513"/>
                      </a:lnTo>
                      <a:lnTo>
                        <a:pt x="241479" y="123154"/>
                      </a:lnTo>
                      <a:lnTo>
                        <a:pt x="239668" y="126173"/>
                      </a:lnTo>
                      <a:lnTo>
                        <a:pt x="238460" y="127380"/>
                      </a:lnTo>
                      <a:lnTo>
                        <a:pt x="238460" y="129795"/>
                      </a:lnTo>
                      <a:lnTo>
                        <a:pt x="238460" y="130398"/>
                      </a:lnTo>
                      <a:lnTo>
                        <a:pt x="238460" y="135228"/>
                      </a:lnTo>
                      <a:lnTo>
                        <a:pt x="240271" y="137643"/>
                      </a:lnTo>
                      <a:lnTo>
                        <a:pt x="242082" y="138247"/>
                      </a:lnTo>
                      <a:lnTo>
                        <a:pt x="242082" y="141869"/>
                      </a:lnTo>
                      <a:lnTo>
                        <a:pt x="240271" y="142472"/>
                      </a:lnTo>
                      <a:lnTo>
                        <a:pt x="240271" y="145491"/>
                      </a:lnTo>
                      <a:lnTo>
                        <a:pt x="239668" y="146095"/>
                      </a:lnTo>
                      <a:lnTo>
                        <a:pt x="239668" y="146698"/>
                      </a:lnTo>
                      <a:lnTo>
                        <a:pt x="239064" y="147302"/>
                      </a:lnTo>
                      <a:lnTo>
                        <a:pt x="239064" y="147906"/>
                      </a:lnTo>
                      <a:lnTo>
                        <a:pt x="239668" y="148509"/>
                      </a:lnTo>
                      <a:lnTo>
                        <a:pt x="240271" y="150321"/>
                      </a:lnTo>
                      <a:lnTo>
                        <a:pt x="239668" y="150924"/>
                      </a:lnTo>
                      <a:lnTo>
                        <a:pt x="237253" y="151528"/>
                      </a:lnTo>
                      <a:lnTo>
                        <a:pt x="236045" y="150924"/>
                      </a:lnTo>
                      <a:lnTo>
                        <a:pt x="234838" y="149717"/>
                      </a:lnTo>
                      <a:lnTo>
                        <a:pt x="234234" y="149717"/>
                      </a:lnTo>
                      <a:lnTo>
                        <a:pt x="233027" y="150924"/>
                      </a:lnTo>
                      <a:lnTo>
                        <a:pt x="230612" y="155754"/>
                      </a:lnTo>
                      <a:lnTo>
                        <a:pt x="231216" y="157565"/>
                      </a:lnTo>
                      <a:lnTo>
                        <a:pt x="231820" y="158772"/>
                      </a:lnTo>
                      <a:lnTo>
                        <a:pt x="232423" y="160583"/>
                      </a:lnTo>
                      <a:lnTo>
                        <a:pt x="233027" y="161791"/>
                      </a:lnTo>
                      <a:lnTo>
                        <a:pt x="231820" y="162395"/>
                      </a:lnTo>
                      <a:lnTo>
                        <a:pt x="229405" y="161791"/>
                      </a:lnTo>
                      <a:lnTo>
                        <a:pt x="227594" y="164809"/>
                      </a:lnTo>
                      <a:lnTo>
                        <a:pt x="228801" y="174469"/>
                      </a:lnTo>
                      <a:lnTo>
                        <a:pt x="228801" y="179902"/>
                      </a:lnTo>
                      <a:lnTo>
                        <a:pt x="229405" y="181713"/>
                      </a:lnTo>
                      <a:lnTo>
                        <a:pt x="224575" y="182920"/>
                      </a:lnTo>
                      <a:lnTo>
                        <a:pt x="223368" y="186543"/>
                      </a:lnTo>
                      <a:lnTo>
                        <a:pt x="224575" y="190165"/>
                      </a:lnTo>
                      <a:lnTo>
                        <a:pt x="220953" y="197409"/>
                      </a:lnTo>
                      <a:lnTo>
                        <a:pt x="217935" y="196202"/>
                      </a:lnTo>
                      <a:lnTo>
                        <a:pt x="218538" y="189561"/>
                      </a:lnTo>
                      <a:lnTo>
                        <a:pt x="210690" y="183524"/>
                      </a:lnTo>
                      <a:lnTo>
                        <a:pt x="211294" y="178694"/>
                      </a:lnTo>
                      <a:lnTo>
                        <a:pt x="204653" y="181109"/>
                      </a:lnTo>
                      <a:lnTo>
                        <a:pt x="195598" y="193787"/>
                      </a:lnTo>
                      <a:lnTo>
                        <a:pt x="192579" y="193787"/>
                      </a:lnTo>
                      <a:lnTo>
                        <a:pt x="191976" y="198617"/>
                      </a:lnTo>
                      <a:lnTo>
                        <a:pt x="188353" y="201031"/>
                      </a:lnTo>
                      <a:lnTo>
                        <a:pt x="181109" y="196805"/>
                      </a:lnTo>
                      <a:lnTo>
                        <a:pt x="179298" y="198013"/>
                      </a:lnTo>
                      <a:lnTo>
                        <a:pt x="174468" y="190768"/>
                      </a:lnTo>
                      <a:lnTo>
                        <a:pt x="170242" y="181713"/>
                      </a:lnTo>
                      <a:lnTo>
                        <a:pt x="166017" y="182317"/>
                      </a:lnTo>
                      <a:lnTo>
                        <a:pt x="164809" y="188354"/>
                      </a:lnTo>
                      <a:lnTo>
                        <a:pt x="161791" y="192580"/>
                      </a:lnTo>
                      <a:lnTo>
                        <a:pt x="164809" y="207068"/>
                      </a:lnTo>
                      <a:lnTo>
                        <a:pt x="164205" y="211898"/>
                      </a:lnTo>
                      <a:lnTo>
                        <a:pt x="166620" y="215520"/>
                      </a:lnTo>
                      <a:lnTo>
                        <a:pt x="166620" y="220953"/>
                      </a:lnTo>
                      <a:lnTo>
                        <a:pt x="166017" y="229405"/>
                      </a:lnTo>
                      <a:lnTo>
                        <a:pt x="169035" y="234234"/>
                      </a:lnTo>
                      <a:lnTo>
                        <a:pt x="161791" y="242082"/>
                      </a:lnTo>
                      <a:lnTo>
                        <a:pt x="161791" y="247516"/>
                      </a:lnTo>
                      <a:lnTo>
                        <a:pt x="153943" y="246308"/>
                      </a:lnTo>
                      <a:lnTo>
                        <a:pt x="147302" y="252345"/>
                      </a:lnTo>
                      <a:lnTo>
                        <a:pt x="143076" y="255364"/>
                      </a:lnTo>
                      <a:lnTo>
                        <a:pt x="141869" y="260193"/>
                      </a:lnTo>
                      <a:lnTo>
                        <a:pt x="134020" y="269853"/>
                      </a:lnTo>
                      <a:lnTo>
                        <a:pt x="130398" y="276493"/>
                      </a:lnTo>
                      <a:lnTo>
                        <a:pt x="126776" y="286153"/>
                      </a:lnTo>
                      <a:lnTo>
                        <a:pt x="127984" y="291586"/>
                      </a:lnTo>
                      <a:lnTo>
                        <a:pt x="131002" y="294001"/>
                      </a:lnTo>
                      <a:lnTo>
                        <a:pt x="130398" y="297623"/>
                      </a:lnTo>
                      <a:lnTo>
                        <a:pt x="132209" y="301245"/>
                      </a:lnTo>
                      <a:lnTo>
                        <a:pt x="135832" y="314526"/>
                      </a:lnTo>
                      <a:lnTo>
                        <a:pt x="135228" y="316337"/>
                      </a:lnTo>
                      <a:lnTo>
                        <a:pt x="139454" y="324789"/>
                      </a:lnTo>
                      <a:lnTo>
                        <a:pt x="137643" y="328411"/>
                      </a:lnTo>
                      <a:lnTo>
                        <a:pt x="127984" y="330826"/>
                      </a:lnTo>
                      <a:lnTo>
                        <a:pt x="129795" y="337467"/>
                      </a:lnTo>
                      <a:lnTo>
                        <a:pt x="126776" y="337467"/>
                      </a:lnTo>
                      <a:lnTo>
                        <a:pt x="123758" y="342296"/>
                      </a:lnTo>
                      <a:lnTo>
                        <a:pt x="117721" y="346522"/>
                      </a:lnTo>
                      <a:lnTo>
                        <a:pt x="111684" y="344711"/>
                      </a:lnTo>
                      <a:lnTo>
                        <a:pt x="109269" y="348333"/>
                      </a:lnTo>
                      <a:lnTo>
                        <a:pt x="103232" y="348333"/>
                      </a:lnTo>
                      <a:lnTo>
                        <a:pt x="98403" y="352559"/>
                      </a:lnTo>
                      <a:lnTo>
                        <a:pt x="96592" y="356181"/>
                      </a:lnTo>
                      <a:lnTo>
                        <a:pt x="92366" y="355578"/>
                      </a:lnTo>
                      <a:lnTo>
                        <a:pt x="83914" y="350748"/>
                      </a:lnTo>
                      <a:lnTo>
                        <a:pt x="83914" y="347729"/>
                      </a:lnTo>
                      <a:lnTo>
                        <a:pt x="80292" y="345918"/>
                      </a:lnTo>
                      <a:lnTo>
                        <a:pt x="82103" y="338070"/>
                      </a:lnTo>
                      <a:lnTo>
                        <a:pt x="78481" y="337467"/>
                      </a:lnTo>
                      <a:lnTo>
                        <a:pt x="79084" y="331430"/>
                      </a:lnTo>
                      <a:lnTo>
                        <a:pt x="73651" y="321771"/>
                      </a:lnTo>
                      <a:lnTo>
                        <a:pt x="74858" y="318752"/>
                      </a:lnTo>
                      <a:lnTo>
                        <a:pt x="70632" y="311508"/>
                      </a:lnTo>
                      <a:lnTo>
                        <a:pt x="71840" y="303660"/>
                      </a:lnTo>
                      <a:lnTo>
                        <a:pt x="68821" y="300038"/>
                      </a:lnTo>
                      <a:lnTo>
                        <a:pt x="62784" y="291586"/>
                      </a:lnTo>
                      <a:lnTo>
                        <a:pt x="62181" y="287964"/>
                      </a:lnTo>
                      <a:lnTo>
                        <a:pt x="54333" y="287964"/>
                      </a:lnTo>
                      <a:lnTo>
                        <a:pt x="49503" y="295208"/>
                      </a:lnTo>
                      <a:lnTo>
                        <a:pt x="47692" y="305471"/>
                      </a:lnTo>
                      <a:lnTo>
                        <a:pt x="48296" y="311508"/>
                      </a:lnTo>
                      <a:lnTo>
                        <a:pt x="51918" y="321771"/>
                      </a:lnTo>
                      <a:lnTo>
                        <a:pt x="51918" y="324185"/>
                      </a:lnTo>
                      <a:lnTo>
                        <a:pt x="54936" y="332033"/>
                      </a:lnTo>
                      <a:lnTo>
                        <a:pt x="50710" y="333844"/>
                      </a:lnTo>
                      <a:lnTo>
                        <a:pt x="45277" y="331430"/>
                      </a:lnTo>
                      <a:lnTo>
                        <a:pt x="40447" y="322978"/>
                      </a:lnTo>
                      <a:lnTo>
                        <a:pt x="37429" y="311508"/>
                      </a:lnTo>
                      <a:lnTo>
                        <a:pt x="35618" y="310301"/>
                      </a:lnTo>
                      <a:lnTo>
                        <a:pt x="35618" y="297019"/>
                      </a:lnTo>
                      <a:lnTo>
                        <a:pt x="34410" y="288567"/>
                      </a:lnTo>
                      <a:lnTo>
                        <a:pt x="30788" y="280116"/>
                      </a:lnTo>
                      <a:lnTo>
                        <a:pt x="33807" y="277701"/>
                      </a:lnTo>
                      <a:lnTo>
                        <a:pt x="32599" y="275286"/>
                      </a:lnTo>
                      <a:lnTo>
                        <a:pt x="28977" y="273475"/>
                      </a:lnTo>
                      <a:lnTo>
                        <a:pt x="31392" y="265627"/>
                      </a:lnTo>
                      <a:lnTo>
                        <a:pt x="27770" y="263212"/>
                      </a:lnTo>
                      <a:lnTo>
                        <a:pt x="25959" y="258986"/>
                      </a:lnTo>
                      <a:lnTo>
                        <a:pt x="25959" y="253553"/>
                      </a:lnTo>
                      <a:lnTo>
                        <a:pt x="21129" y="245101"/>
                      </a:lnTo>
                      <a:lnTo>
                        <a:pt x="19922" y="235442"/>
                      </a:lnTo>
                      <a:lnTo>
                        <a:pt x="14489" y="233631"/>
                      </a:lnTo>
                      <a:lnTo>
                        <a:pt x="14489" y="230008"/>
                      </a:lnTo>
                      <a:lnTo>
                        <a:pt x="9659" y="227594"/>
                      </a:lnTo>
                      <a:lnTo>
                        <a:pt x="10866" y="222764"/>
                      </a:lnTo>
                      <a:lnTo>
                        <a:pt x="8452" y="222160"/>
                      </a:lnTo>
                      <a:lnTo>
                        <a:pt x="7848" y="216727"/>
                      </a:lnTo>
                      <a:lnTo>
                        <a:pt x="2415" y="211898"/>
                      </a:lnTo>
                      <a:lnTo>
                        <a:pt x="1207" y="204654"/>
                      </a:lnTo>
                      <a:lnTo>
                        <a:pt x="4226" y="198013"/>
                      </a:lnTo>
                      <a:lnTo>
                        <a:pt x="10263" y="199220"/>
                      </a:lnTo>
                      <a:lnTo>
                        <a:pt x="10866" y="191976"/>
                      </a:lnTo>
                      <a:lnTo>
                        <a:pt x="9055" y="190165"/>
                      </a:lnTo>
                      <a:lnTo>
                        <a:pt x="0" y="190165"/>
                      </a:lnTo>
                      <a:lnTo>
                        <a:pt x="0" y="182920"/>
                      </a:lnTo>
                      <a:lnTo>
                        <a:pt x="3018" y="176883"/>
                      </a:lnTo>
                      <a:lnTo>
                        <a:pt x="10866" y="176883"/>
                      </a:lnTo>
                      <a:lnTo>
                        <a:pt x="13885" y="179298"/>
                      </a:lnTo>
                      <a:lnTo>
                        <a:pt x="15696" y="172657"/>
                      </a:lnTo>
                      <a:lnTo>
                        <a:pt x="15092" y="167828"/>
                      </a:lnTo>
                      <a:lnTo>
                        <a:pt x="16903" y="162998"/>
                      </a:lnTo>
                      <a:lnTo>
                        <a:pt x="20525" y="156961"/>
                      </a:lnTo>
                      <a:lnTo>
                        <a:pt x="16903" y="147906"/>
                      </a:lnTo>
                      <a:lnTo>
                        <a:pt x="15696" y="143680"/>
                      </a:lnTo>
                      <a:lnTo>
                        <a:pt x="18714" y="141265"/>
                      </a:lnTo>
                      <a:lnTo>
                        <a:pt x="18111" y="137643"/>
                      </a:lnTo>
                      <a:lnTo>
                        <a:pt x="24751" y="137643"/>
                      </a:lnTo>
                      <a:lnTo>
                        <a:pt x="22337" y="132210"/>
                      </a:lnTo>
                      <a:lnTo>
                        <a:pt x="25959" y="124965"/>
                      </a:lnTo>
                      <a:lnTo>
                        <a:pt x="29581" y="126776"/>
                      </a:lnTo>
                      <a:lnTo>
                        <a:pt x="30788" y="120739"/>
                      </a:lnTo>
                      <a:lnTo>
                        <a:pt x="42259" y="123758"/>
                      </a:lnTo>
                      <a:lnTo>
                        <a:pt x="45881" y="125569"/>
                      </a:lnTo>
                      <a:lnTo>
                        <a:pt x="44673" y="118928"/>
                      </a:lnTo>
                      <a:lnTo>
                        <a:pt x="48296" y="114099"/>
                      </a:lnTo>
                      <a:lnTo>
                        <a:pt x="49503" y="109269"/>
                      </a:lnTo>
                      <a:lnTo>
                        <a:pt x="45277" y="102629"/>
                      </a:lnTo>
                      <a:lnTo>
                        <a:pt x="45277" y="96592"/>
                      </a:lnTo>
                      <a:lnTo>
                        <a:pt x="52521" y="95384"/>
                      </a:lnTo>
                      <a:lnTo>
                        <a:pt x="63388" y="98403"/>
                      </a:lnTo>
                      <a:lnTo>
                        <a:pt x="68821" y="98403"/>
                      </a:lnTo>
                      <a:lnTo>
                        <a:pt x="70029" y="100818"/>
                      </a:lnTo>
                      <a:lnTo>
                        <a:pt x="74858" y="101421"/>
                      </a:lnTo>
                      <a:lnTo>
                        <a:pt x="80292" y="103836"/>
                      </a:lnTo>
                      <a:lnTo>
                        <a:pt x="90555" y="102629"/>
                      </a:lnTo>
                      <a:lnTo>
                        <a:pt x="93573" y="99610"/>
                      </a:lnTo>
                      <a:lnTo>
                        <a:pt x="98403" y="97799"/>
                      </a:lnTo>
                      <a:lnTo>
                        <a:pt x="100214" y="94177"/>
                      </a:lnTo>
                      <a:lnTo>
                        <a:pt x="99006" y="89347"/>
                      </a:lnTo>
                      <a:lnTo>
                        <a:pt x="100817" y="85725"/>
                      </a:lnTo>
                      <a:lnTo>
                        <a:pt x="100214" y="82707"/>
                      </a:lnTo>
                      <a:lnTo>
                        <a:pt x="103836" y="78481"/>
                      </a:lnTo>
                      <a:lnTo>
                        <a:pt x="101421" y="72444"/>
                      </a:lnTo>
                      <a:lnTo>
                        <a:pt x="105647" y="73047"/>
                      </a:lnTo>
                      <a:lnTo>
                        <a:pt x="107458" y="76066"/>
                      </a:lnTo>
                      <a:lnTo>
                        <a:pt x="108665" y="82707"/>
                      </a:lnTo>
                      <a:lnTo>
                        <a:pt x="114099" y="86329"/>
                      </a:lnTo>
                      <a:lnTo>
                        <a:pt x="120136" y="88744"/>
                      </a:lnTo>
                      <a:lnTo>
                        <a:pt x="124965" y="88140"/>
                      </a:lnTo>
                      <a:lnTo>
                        <a:pt x="120739" y="64596"/>
                      </a:lnTo>
                      <a:lnTo>
                        <a:pt x="135832" y="73651"/>
                      </a:lnTo>
                      <a:lnTo>
                        <a:pt x="141265" y="70633"/>
                      </a:lnTo>
                      <a:lnTo>
                        <a:pt x="141265" y="76066"/>
                      </a:lnTo>
                      <a:lnTo>
                        <a:pt x="147302" y="81499"/>
                      </a:lnTo>
                      <a:lnTo>
                        <a:pt x="148509" y="87536"/>
                      </a:lnTo>
                      <a:lnTo>
                        <a:pt x="150924" y="89951"/>
                      </a:lnTo>
                      <a:lnTo>
                        <a:pt x="155150" y="88744"/>
                      </a:lnTo>
                      <a:lnTo>
                        <a:pt x="155754" y="82103"/>
                      </a:lnTo>
                      <a:lnTo>
                        <a:pt x="161791" y="60370"/>
                      </a:lnTo>
                      <a:lnTo>
                        <a:pt x="157565" y="44674"/>
                      </a:lnTo>
                      <a:lnTo>
                        <a:pt x="164809" y="40448"/>
                      </a:lnTo>
                      <a:lnTo>
                        <a:pt x="167828" y="41655"/>
                      </a:lnTo>
                      <a:lnTo>
                        <a:pt x="168431" y="45881"/>
                      </a:lnTo>
                      <a:lnTo>
                        <a:pt x="172657" y="48296"/>
                      </a:lnTo>
                      <a:lnTo>
                        <a:pt x="173261" y="44070"/>
                      </a:lnTo>
                      <a:lnTo>
                        <a:pt x="169639" y="34411"/>
                      </a:lnTo>
                      <a:lnTo>
                        <a:pt x="173261" y="32600"/>
                      </a:lnTo>
                      <a:lnTo>
                        <a:pt x="175676" y="34411"/>
                      </a:lnTo>
                      <a:lnTo>
                        <a:pt x="188353" y="35618"/>
                      </a:lnTo>
                      <a:lnTo>
                        <a:pt x="193787" y="35618"/>
                      </a:lnTo>
                      <a:lnTo>
                        <a:pt x="198616" y="33807"/>
                      </a:lnTo>
                      <a:lnTo>
                        <a:pt x="202239" y="27770"/>
                      </a:lnTo>
                      <a:lnTo>
                        <a:pt x="202239" y="24752"/>
                      </a:lnTo>
                      <a:lnTo>
                        <a:pt x="209483" y="23544"/>
                      </a:lnTo>
                      <a:lnTo>
                        <a:pt x="206464" y="16903"/>
                      </a:lnTo>
                      <a:lnTo>
                        <a:pt x="205861" y="12074"/>
                      </a:lnTo>
                      <a:lnTo>
                        <a:pt x="207068" y="4830"/>
                      </a:lnTo>
                      <a:lnTo>
                        <a:pt x="205861" y="2415"/>
                      </a:lnTo>
                      <a:lnTo>
                        <a:pt x="209483" y="0"/>
                      </a:lnTo>
                      <a:lnTo>
                        <a:pt x="216727" y="6037"/>
                      </a:lnTo>
                      <a:lnTo>
                        <a:pt x="221557" y="6641"/>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12" name="Uttar Pradesh" descr="{&quot;Key&quot;:&quot;uttar pradesh&quot;,&quot;Name&quot;:&quot;Uttar Pradesh&quot;,&quot;Value&quot;:1.0,&quot;Formula&quot;:&quot;&quot;,&quot;Text&quot;:&quot;&quot;,&quot;OfficeApplication&quot;:1,&quot;HasValue&quot;:true}">
                  <a:extLst>
                    <a:ext uri="{FF2B5EF4-FFF2-40B4-BE49-F238E27FC236}">
                      <a16:creationId xmlns:a16="http://schemas.microsoft.com/office/drawing/2014/main" id="{E6315EE0-2C56-4134-BC7F-562384516DD7}"/>
                    </a:ext>
                  </a:extLst>
                </p:cNvPr>
                <p:cNvSpPr/>
                <p:nvPr/>
              </p:nvSpPr>
              <p:spPr>
                <a:xfrm>
                  <a:off x="4917583" y="1660771"/>
                  <a:ext cx="1551502" cy="1515280"/>
                </a:xfrm>
                <a:custGeom>
                  <a:avLst/>
                  <a:gdLst>
                    <a:gd name="connsiteX0" fmla="*/ 552383 w 1551501"/>
                    <a:gd name="connsiteY0" fmla="*/ 361011 h 1515279"/>
                    <a:gd name="connsiteX1" fmla="*/ 554798 w 1551501"/>
                    <a:gd name="connsiteY1" fmla="*/ 360407 h 1515279"/>
                    <a:gd name="connsiteX2" fmla="*/ 557816 w 1551501"/>
                    <a:gd name="connsiteY2" fmla="*/ 364029 h 1515279"/>
                    <a:gd name="connsiteX3" fmla="*/ 559024 w 1551501"/>
                    <a:gd name="connsiteY3" fmla="*/ 365841 h 1515279"/>
                    <a:gd name="connsiteX4" fmla="*/ 560835 w 1551501"/>
                    <a:gd name="connsiteY4" fmla="*/ 365841 h 1515279"/>
                    <a:gd name="connsiteX5" fmla="*/ 561438 w 1551501"/>
                    <a:gd name="connsiteY5" fmla="*/ 367652 h 1515279"/>
                    <a:gd name="connsiteX6" fmla="*/ 562042 w 1551501"/>
                    <a:gd name="connsiteY6" fmla="*/ 368255 h 1515279"/>
                    <a:gd name="connsiteX7" fmla="*/ 559627 w 1551501"/>
                    <a:gd name="connsiteY7" fmla="*/ 369463 h 1515279"/>
                    <a:gd name="connsiteX8" fmla="*/ 559024 w 1551501"/>
                    <a:gd name="connsiteY8" fmla="*/ 371878 h 1515279"/>
                    <a:gd name="connsiteX9" fmla="*/ 559627 w 1551501"/>
                    <a:gd name="connsiteY9" fmla="*/ 373689 h 1515279"/>
                    <a:gd name="connsiteX10" fmla="*/ 560231 w 1551501"/>
                    <a:gd name="connsiteY10" fmla="*/ 374896 h 1515279"/>
                    <a:gd name="connsiteX11" fmla="*/ 559627 w 1551501"/>
                    <a:gd name="connsiteY11" fmla="*/ 377311 h 1515279"/>
                    <a:gd name="connsiteX12" fmla="*/ 559024 w 1551501"/>
                    <a:gd name="connsiteY12" fmla="*/ 378518 h 1515279"/>
                    <a:gd name="connsiteX13" fmla="*/ 557816 w 1551501"/>
                    <a:gd name="connsiteY13" fmla="*/ 377311 h 1515279"/>
                    <a:gd name="connsiteX14" fmla="*/ 556609 w 1551501"/>
                    <a:gd name="connsiteY14" fmla="*/ 380933 h 1515279"/>
                    <a:gd name="connsiteX15" fmla="*/ 560835 w 1551501"/>
                    <a:gd name="connsiteY15" fmla="*/ 380933 h 1515279"/>
                    <a:gd name="connsiteX16" fmla="*/ 560835 w 1551501"/>
                    <a:gd name="connsiteY16" fmla="*/ 380329 h 1515279"/>
                    <a:gd name="connsiteX17" fmla="*/ 562042 w 1551501"/>
                    <a:gd name="connsiteY17" fmla="*/ 379726 h 1515279"/>
                    <a:gd name="connsiteX18" fmla="*/ 563250 w 1551501"/>
                    <a:gd name="connsiteY18" fmla="*/ 379122 h 1515279"/>
                    <a:gd name="connsiteX19" fmla="*/ 563250 w 1551501"/>
                    <a:gd name="connsiteY19" fmla="*/ 377914 h 1515279"/>
                    <a:gd name="connsiteX20" fmla="*/ 565061 w 1551501"/>
                    <a:gd name="connsiteY20" fmla="*/ 371878 h 1515279"/>
                    <a:gd name="connsiteX21" fmla="*/ 571098 w 1551501"/>
                    <a:gd name="connsiteY21" fmla="*/ 373085 h 1515279"/>
                    <a:gd name="connsiteX22" fmla="*/ 575324 w 1551501"/>
                    <a:gd name="connsiteY22" fmla="*/ 374896 h 1515279"/>
                    <a:gd name="connsiteX23" fmla="*/ 575324 w 1551501"/>
                    <a:gd name="connsiteY23" fmla="*/ 377311 h 1515279"/>
                    <a:gd name="connsiteX24" fmla="*/ 571098 w 1551501"/>
                    <a:gd name="connsiteY24" fmla="*/ 377311 h 1515279"/>
                    <a:gd name="connsiteX25" fmla="*/ 569287 w 1551501"/>
                    <a:gd name="connsiteY25" fmla="*/ 377311 h 1515279"/>
                    <a:gd name="connsiteX26" fmla="*/ 569287 w 1551501"/>
                    <a:gd name="connsiteY26" fmla="*/ 380933 h 1515279"/>
                    <a:gd name="connsiteX27" fmla="*/ 573512 w 1551501"/>
                    <a:gd name="connsiteY27" fmla="*/ 382744 h 1515279"/>
                    <a:gd name="connsiteX28" fmla="*/ 576531 w 1551501"/>
                    <a:gd name="connsiteY28" fmla="*/ 382744 h 1515279"/>
                    <a:gd name="connsiteX29" fmla="*/ 579549 w 1551501"/>
                    <a:gd name="connsiteY29" fmla="*/ 381537 h 1515279"/>
                    <a:gd name="connsiteX30" fmla="*/ 580757 w 1551501"/>
                    <a:gd name="connsiteY30" fmla="*/ 382140 h 1515279"/>
                    <a:gd name="connsiteX31" fmla="*/ 578342 w 1551501"/>
                    <a:gd name="connsiteY31" fmla="*/ 385762 h 1515279"/>
                    <a:gd name="connsiteX32" fmla="*/ 578946 w 1551501"/>
                    <a:gd name="connsiteY32" fmla="*/ 386366 h 1515279"/>
                    <a:gd name="connsiteX33" fmla="*/ 580153 w 1551501"/>
                    <a:gd name="connsiteY33" fmla="*/ 388177 h 1515279"/>
                    <a:gd name="connsiteX34" fmla="*/ 582568 w 1551501"/>
                    <a:gd name="connsiteY34" fmla="*/ 390592 h 1515279"/>
                    <a:gd name="connsiteX35" fmla="*/ 584379 w 1551501"/>
                    <a:gd name="connsiteY35" fmla="*/ 393610 h 1515279"/>
                    <a:gd name="connsiteX36" fmla="*/ 584983 w 1551501"/>
                    <a:gd name="connsiteY36" fmla="*/ 397836 h 1515279"/>
                    <a:gd name="connsiteX37" fmla="*/ 591623 w 1551501"/>
                    <a:gd name="connsiteY37" fmla="*/ 401459 h 1515279"/>
                    <a:gd name="connsiteX38" fmla="*/ 598868 w 1551501"/>
                    <a:gd name="connsiteY38" fmla="*/ 401459 h 1515279"/>
                    <a:gd name="connsiteX39" fmla="*/ 603697 w 1551501"/>
                    <a:gd name="connsiteY39" fmla="*/ 396629 h 1515279"/>
                    <a:gd name="connsiteX40" fmla="*/ 609734 w 1551501"/>
                    <a:gd name="connsiteY40" fmla="*/ 386366 h 1515279"/>
                    <a:gd name="connsiteX41" fmla="*/ 606716 w 1551501"/>
                    <a:gd name="connsiteY41" fmla="*/ 382140 h 1515279"/>
                    <a:gd name="connsiteX42" fmla="*/ 613356 w 1551501"/>
                    <a:gd name="connsiteY42" fmla="*/ 373689 h 1515279"/>
                    <a:gd name="connsiteX43" fmla="*/ 616375 w 1551501"/>
                    <a:gd name="connsiteY43" fmla="*/ 374896 h 1515279"/>
                    <a:gd name="connsiteX44" fmla="*/ 616979 w 1551501"/>
                    <a:gd name="connsiteY44" fmla="*/ 376707 h 1515279"/>
                    <a:gd name="connsiteX45" fmla="*/ 626034 w 1551501"/>
                    <a:gd name="connsiteY45" fmla="*/ 375500 h 1515279"/>
                    <a:gd name="connsiteX46" fmla="*/ 630260 w 1551501"/>
                    <a:gd name="connsiteY46" fmla="*/ 379122 h 1515279"/>
                    <a:gd name="connsiteX47" fmla="*/ 636901 w 1551501"/>
                    <a:gd name="connsiteY47" fmla="*/ 386366 h 1515279"/>
                    <a:gd name="connsiteX48" fmla="*/ 645956 w 1551501"/>
                    <a:gd name="connsiteY48" fmla="*/ 392403 h 1515279"/>
                    <a:gd name="connsiteX49" fmla="*/ 653200 w 1551501"/>
                    <a:gd name="connsiteY49" fmla="*/ 391799 h 1515279"/>
                    <a:gd name="connsiteX50" fmla="*/ 656219 w 1551501"/>
                    <a:gd name="connsiteY50" fmla="*/ 395422 h 1515279"/>
                    <a:gd name="connsiteX51" fmla="*/ 654408 w 1551501"/>
                    <a:gd name="connsiteY51" fmla="*/ 399044 h 1515279"/>
                    <a:gd name="connsiteX52" fmla="*/ 658634 w 1551501"/>
                    <a:gd name="connsiteY52" fmla="*/ 403270 h 1515279"/>
                    <a:gd name="connsiteX53" fmla="*/ 662256 w 1551501"/>
                    <a:gd name="connsiteY53" fmla="*/ 403270 h 1515279"/>
                    <a:gd name="connsiteX54" fmla="*/ 667085 w 1551501"/>
                    <a:gd name="connsiteY54" fmla="*/ 405684 h 1515279"/>
                    <a:gd name="connsiteX55" fmla="*/ 668897 w 1551501"/>
                    <a:gd name="connsiteY55" fmla="*/ 413533 h 1515279"/>
                    <a:gd name="connsiteX56" fmla="*/ 676141 w 1551501"/>
                    <a:gd name="connsiteY56" fmla="*/ 418362 h 1515279"/>
                    <a:gd name="connsiteX57" fmla="*/ 677952 w 1551501"/>
                    <a:gd name="connsiteY57" fmla="*/ 422588 h 1515279"/>
                    <a:gd name="connsiteX58" fmla="*/ 687008 w 1551501"/>
                    <a:gd name="connsiteY58" fmla="*/ 420173 h 1515279"/>
                    <a:gd name="connsiteX59" fmla="*/ 691837 w 1551501"/>
                    <a:gd name="connsiteY59" fmla="*/ 420777 h 1515279"/>
                    <a:gd name="connsiteX60" fmla="*/ 696667 w 1551501"/>
                    <a:gd name="connsiteY60" fmla="*/ 424399 h 1515279"/>
                    <a:gd name="connsiteX61" fmla="*/ 698478 w 1551501"/>
                    <a:gd name="connsiteY61" fmla="*/ 431644 h 1515279"/>
                    <a:gd name="connsiteX62" fmla="*/ 705722 w 1551501"/>
                    <a:gd name="connsiteY62" fmla="*/ 436473 h 1515279"/>
                    <a:gd name="connsiteX63" fmla="*/ 709344 w 1551501"/>
                    <a:gd name="connsiteY63" fmla="*/ 434662 h 1515279"/>
                    <a:gd name="connsiteX64" fmla="*/ 705118 w 1551501"/>
                    <a:gd name="connsiteY64" fmla="*/ 414136 h 1515279"/>
                    <a:gd name="connsiteX65" fmla="*/ 712966 w 1551501"/>
                    <a:gd name="connsiteY65" fmla="*/ 408099 h 1515279"/>
                    <a:gd name="connsiteX66" fmla="*/ 719003 w 1551501"/>
                    <a:gd name="connsiteY66" fmla="*/ 408703 h 1515279"/>
                    <a:gd name="connsiteX67" fmla="*/ 723229 w 1551501"/>
                    <a:gd name="connsiteY67" fmla="*/ 410514 h 1515279"/>
                    <a:gd name="connsiteX68" fmla="*/ 721418 w 1551501"/>
                    <a:gd name="connsiteY68" fmla="*/ 414740 h 1515279"/>
                    <a:gd name="connsiteX69" fmla="*/ 726248 w 1551501"/>
                    <a:gd name="connsiteY69" fmla="*/ 417155 h 1515279"/>
                    <a:gd name="connsiteX70" fmla="*/ 727455 w 1551501"/>
                    <a:gd name="connsiteY70" fmla="*/ 420173 h 1515279"/>
                    <a:gd name="connsiteX71" fmla="*/ 735907 w 1551501"/>
                    <a:gd name="connsiteY71" fmla="*/ 421381 h 1515279"/>
                    <a:gd name="connsiteX72" fmla="*/ 738926 w 1551501"/>
                    <a:gd name="connsiteY72" fmla="*/ 419570 h 1515279"/>
                    <a:gd name="connsiteX73" fmla="*/ 741340 w 1551501"/>
                    <a:gd name="connsiteY73" fmla="*/ 424399 h 1515279"/>
                    <a:gd name="connsiteX74" fmla="*/ 741340 w 1551501"/>
                    <a:gd name="connsiteY74" fmla="*/ 428021 h 1515279"/>
                    <a:gd name="connsiteX75" fmla="*/ 743755 w 1551501"/>
                    <a:gd name="connsiteY75" fmla="*/ 432247 h 1515279"/>
                    <a:gd name="connsiteX76" fmla="*/ 748585 w 1551501"/>
                    <a:gd name="connsiteY76" fmla="*/ 436473 h 1515279"/>
                    <a:gd name="connsiteX77" fmla="*/ 754018 w 1551501"/>
                    <a:gd name="connsiteY77" fmla="*/ 435266 h 1515279"/>
                    <a:gd name="connsiteX78" fmla="*/ 760055 w 1551501"/>
                    <a:gd name="connsiteY78" fmla="*/ 437077 h 1515279"/>
                    <a:gd name="connsiteX79" fmla="*/ 760055 w 1551501"/>
                    <a:gd name="connsiteY79" fmla="*/ 441303 h 1515279"/>
                    <a:gd name="connsiteX80" fmla="*/ 764281 w 1551501"/>
                    <a:gd name="connsiteY80" fmla="*/ 442510 h 1515279"/>
                    <a:gd name="connsiteX81" fmla="*/ 763073 w 1551501"/>
                    <a:gd name="connsiteY81" fmla="*/ 445528 h 1515279"/>
                    <a:gd name="connsiteX82" fmla="*/ 769714 w 1551501"/>
                    <a:gd name="connsiteY82" fmla="*/ 447943 h 1515279"/>
                    <a:gd name="connsiteX83" fmla="*/ 775147 w 1551501"/>
                    <a:gd name="connsiteY83" fmla="*/ 452773 h 1515279"/>
                    <a:gd name="connsiteX84" fmla="*/ 777562 w 1551501"/>
                    <a:gd name="connsiteY84" fmla="*/ 453377 h 1515279"/>
                    <a:gd name="connsiteX85" fmla="*/ 782392 w 1551501"/>
                    <a:gd name="connsiteY85" fmla="*/ 450358 h 1515279"/>
                    <a:gd name="connsiteX86" fmla="*/ 789032 w 1551501"/>
                    <a:gd name="connsiteY86" fmla="*/ 453377 h 1515279"/>
                    <a:gd name="connsiteX87" fmla="*/ 787221 w 1551501"/>
                    <a:gd name="connsiteY87" fmla="*/ 455791 h 1515279"/>
                    <a:gd name="connsiteX88" fmla="*/ 788429 w 1551501"/>
                    <a:gd name="connsiteY88" fmla="*/ 460621 h 1515279"/>
                    <a:gd name="connsiteX89" fmla="*/ 796277 w 1551501"/>
                    <a:gd name="connsiteY89" fmla="*/ 463036 h 1515279"/>
                    <a:gd name="connsiteX90" fmla="*/ 800503 w 1551501"/>
                    <a:gd name="connsiteY90" fmla="*/ 467262 h 1515279"/>
                    <a:gd name="connsiteX91" fmla="*/ 803521 w 1551501"/>
                    <a:gd name="connsiteY91" fmla="*/ 467865 h 1515279"/>
                    <a:gd name="connsiteX92" fmla="*/ 807747 w 1551501"/>
                    <a:gd name="connsiteY92" fmla="*/ 463639 h 1515279"/>
                    <a:gd name="connsiteX93" fmla="*/ 810162 w 1551501"/>
                    <a:gd name="connsiteY93" fmla="*/ 467262 h 1515279"/>
                    <a:gd name="connsiteX94" fmla="*/ 814388 w 1551501"/>
                    <a:gd name="connsiteY94" fmla="*/ 469676 h 1515279"/>
                    <a:gd name="connsiteX95" fmla="*/ 817406 w 1551501"/>
                    <a:gd name="connsiteY95" fmla="*/ 473902 h 1515279"/>
                    <a:gd name="connsiteX96" fmla="*/ 824047 w 1551501"/>
                    <a:gd name="connsiteY96" fmla="*/ 479939 h 1515279"/>
                    <a:gd name="connsiteX97" fmla="*/ 851213 w 1551501"/>
                    <a:gd name="connsiteY97" fmla="*/ 485373 h 1515279"/>
                    <a:gd name="connsiteX98" fmla="*/ 856043 w 1551501"/>
                    <a:gd name="connsiteY98" fmla="*/ 493824 h 1515279"/>
                    <a:gd name="connsiteX99" fmla="*/ 855439 w 1551501"/>
                    <a:gd name="connsiteY99" fmla="*/ 502276 h 1515279"/>
                    <a:gd name="connsiteX100" fmla="*/ 865702 w 1551501"/>
                    <a:gd name="connsiteY100" fmla="*/ 514954 h 1515279"/>
                    <a:gd name="connsiteX101" fmla="*/ 873550 w 1551501"/>
                    <a:gd name="connsiteY101" fmla="*/ 523405 h 1515279"/>
                    <a:gd name="connsiteX102" fmla="*/ 873550 w 1551501"/>
                    <a:gd name="connsiteY102" fmla="*/ 538498 h 1515279"/>
                    <a:gd name="connsiteX103" fmla="*/ 876568 w 1551501"/>
                    <a:gd name="connsiteY103" fmla="*/ 536687 h 1515279"/>
                    <a:gd name="connsiteX104" fmla="*/ 884416 w 1551501"/>
                    <a:gd name="connsiteY104" fmla="*/ 536687 h 1515279"/>
                    <a:gd name="connsiteX105" fmla="*/ 885020 w 1551501"/>
                    <a:gd name="connsiteY105" fmla="*/ 528235 h 1515279"/>
                    <a:gd name="connsiteX106" fmla="*/ 892265 w 1551501"/>
                    <a:gd name="connsiteY106" fmla="*/ 528839 h 1515279"/>
                    <a:gd name="connsiteX107" fmla="*/ 900113 w 1551501"/>
                    <a:gd name="connsiteY107" fmla="*/ 532461 h 1515279"/>
                    <a:gd name="connsiteX108" fmla="*/ 900716 w 1551501"/>
                    <a:gd name="connsiteY108" fmla="*/ 536687 h 1515279"/>
                    <a:gd name="connsiteX109" fmla="*/ 907357 w 1551501"/>
                    <a:gd name="connsiteY109" fmla="*/ 542120 h 1515279"/>
                    <a:gd name="connsiteX110" fmla="*/ 906150 w 1551501"/>
                    <a:gd name="connsiteY110" fmla="*/ 550572 h 1515279"/>
                    <a:gd name="connsiteX111" fmla="*/ 920638 w 1551501"/>
                    <a:gd name="connsiteY111" fmla="*/ 558420 h 1515279"/>
                    <a:gd name="connsiteX112" fmla="*/ 940560 w 1551501"/>
                    <a:gd name="connsiteY112" fmla="*/ 571098 h 1515279"/>
                    <a:gd name="connsiteX113" fmla="*/ 952634 w 1551501"/>
                    <a:gd name="connsiteY113" fmla="*/ 572909 h 1515279"/>
                    <a:gd name="connsiteX114" fmla="*/ 973764 w 1551501"/>
                    <a:gd name="connsiteY114" fmla="*/ 592227 h 1515279"/>
                    <a:gd name="connsiteX115" fmla="*/ 979801 w 1551501"/>
                    <a:gd name="connsiteY115" fmla="*/ 593434 h 1515279"/>
                    <a:gd name="connsiteX116" fmla="*/ 987649 w 1551501"/>
                    <a:gd name="connsiteY116" fmla="*/ 600075 h 1515279"/>
                    <a:gd name="connsiteX117" fmla="*/ 990063 w 1551501"/>
                    <a:gd name="connsiteY117" fmla="*/ 603093 h 1515279"/>
                    <a:gd name="connsiteX118" fmla="*/ 993686 w 1551501"/>
                    <a:gd name="connsiteY118" fmla="*/ 603697 h 1515279"/>
                    <a:gd name="connsiteX119" fmla="*/ 998515 w 1551501"/>
                    <a:gd name="connsiteY119" fmla="*/ 602490 h 1515279"/>
                    <a:gd name="connsiteX120" fmla="*/ 998515 w 1551501"/>
                    <a:gd name="connsiteY120" fmla="*/ 598868 h 1515279"/>
                    <a:gd name="connsiteX121" fmla="*/ 1007571 w 1551501"/>
                    <a:gd name="connsiteY121" fmla="*/ 586190 h 1515279"/>
                    <a:gd name="connsiteX122" fmla="*/ 1011797 w 1551501"/>
                    <a:gd name="connsiteY122" fmla="*/ 586190 h 1515279"/>
                    <a:gd name="connsiteX123" fmla="*/ 1028700 w 1551501"/>
                    <a:gd name="connsiteY123" fmla="*/ 588001 h 1515279"/>
                    <a:gd name="connsiteX124" fmla="*/ 1032926 w 1551501"/>
                    <a:gd name="connsiteY124" fmla="*/ 594038 h 1515279"/>
                    <a:gd name="connsiteX125" fmla="*/ 1039567 w 1551501"/>
                    <a:gd name="connsiteY125" fmla="*/ 601282 h 1515279"/>
                    <a:gd name="connsiteX126" fmla="*/ 1045000 w 1551501"/>
                    <a:gd name="connsiteY126" fmla="*/ 603093 h 1515279"/>
                    <a:gd name="connsiteX127" fmla="*/ 1045604 w 1551501"/>
                    <a:gd name="connsiteY127" fmla="*/ 600679 h 1515279"/>
                    <a:gd name="connsiteX128" fmla="*/ 1057074 w 1551501"/>
                    <a:gd name="connsiteY128" fmla="*/ 606112 h 1515279"/>
                    <a:gd name="connsiteX129" fmla="*/ 1061300 w 1551501"/>
                    <a:gd name="connsiteY129" fmla="*/ 611545 h 1515279"/>
                    <a:gd name="connsiteX130" fmla="*/ 1066129 w 1551501"/>
                    <a:gd name="connsiteY130" fmla="*/ 613960 h 1515279"/>
                    <a:gd name="connsiteX131" fmla="*/ 1076392 w 1551501"/>
                    <a:gd name="connsiteY131" fmla="*/ 622412 h 1515279"/>
                    <a:gd name="connsiteX132" fmla="*/ 1089674 w 1551501"/>
                    <a:gd name="connsiteY132" fmla="*/ 629656 h 1515279"/>
                    <a:gd name="connsiteX133" fmla="*/ 1092692 w 1551501"/>
                    <a:gd name="connsiteY133" fmla="*/ 635089 h 1515279"/>
                    <a:gd name="connsiteX134" fmla="*/ 1096918 w 1551501"/>
                    <a:gd name="connsiteY134" fmla="*/ 639315 h 1515279"/>
                    <a:gd name="connsiteX135" fmla="*/ 1106577 w 1551501"/>
                    <a:gd name="connsiteY135" fmla="*/ 644749 h 1515279"/>
                    <a:gd name="connsiteX136" fmla="*/ 1111407 w 1551501"/>
                    <a:gd name="connsiteY136" fmla="*/ 645352 h 1515279"/>
                    <a:gd name="connsiteX137" fmla="*/ 1120462 w 1551501"/>
                    <a:gd name="connsiteY137" fmla="*/ 641730 h 1515279"/>
                    <a:gd name="connsiteX138" fmla="*/ 1125292 w 1551501"/>
                    <a:gd name="connsiteY138" fmla="*/ 642938 h 1515279"/>
                    <a:gd name="connsiteX139" fmla="*/ 1138573 w 1551501"/>
                    <a:gd name="connsiteY139" fmla="*/ 638108 h 1515279"/>
                    <a:gd name="connsiteX140" fmla="*/ 1141592 w 1551501"/>
                    <a:gd name="connsiteY140" fmla="*/ 639315 h 1515279"/>
                    <a:gd name="connsiteX141" fmla="*/ 1151251 w 1551501"/>
                    <a:gd name="connsiteY141" fmla="*/ 636297 h 1515279"/>
                    <a:gd name="connsiteX142" fmla="*/ 1159099 w 1551501"/>
                    <a:gd name="connsiteY142" fmla="*/ 635693 h 1515279"/>
                    <a:gd name="connsiteX143" fmla="*/ 1162117 w 1551501"/>
                    <a:gd name="connsiteY143" fmla="*/ 642334 h 1515279"/>
                    <a:gd name="connsiteX144" fmla="*/ 1160910 w 1551501"/>
                    <a:gd name="connsiteY144" fmla="*/ 648371 h 1515279"/>
                    <a:gd name="connsiteX145" fmla="*/ 1165739 w 1551501"/>
                    <a:gd name="connsiteY145" fmla="*/ 653200 h 1515279"/>
                    <a:gd name="connsiteX146" fmla="*/ 1165136 w 1551501"/>
                    <a:gd name="connsiteY146" fmla="*/ 658634 h 1515279"/>
                    <a:gd name="connsiteX147" fmla="*/ 1169362 w 1551501"/>
                    <a:gd name="connsiteY147" fmla="*/ 665878 h 1515279"/>
                    <a:gd name="connsiteX148" fmla="*/ 1165739 w 1551501"/>
                    <a:gd name="connsiteY148" fmla="*/ 675537 h 1515279"/>
                    <a:gd name="connsiteX149" fmla="*/ 1168154 w 1551501"/>
                    <a:gd name="connsiteY149" fmla="*/ 680970 h 1515279"/>
                    <a:gd name="connsiteX150" fmla="*/ 1165739 w 1551501"/>
                    <a:gd name="connsiteY150" fmla="*/ 685196 h 1515279"/>
                    <a:gd name="connsiteX151" fmla="*/ 1179021 w 1551501"/>
                    <a:gd name="connsiteY151" fmla="*/ 687007 h 1515279"/>
                    <a:gd name="connsiteX152" fmla="*/ 1186265 w 1551501"/>
                    <a:gd name="connsiteY152" fmla="*/ 685800 h 1515279"/>
                    <a:gd name="connsiteX153" fmla="*/ 1193510 w 1551501"/>
                    <a:gd name="connsiteY153" fmla="*/ 686404 h 1515279"/>
                    <a:gd name="connsiteX154" fmla="*/ 1205583 w 1551501"/>
                    <a:gd name="connsiteY154" fmla="*/ 685800 h 1515279"/>
                    <a:gd name="connsiteX155" fmla="*/ 1210413 w 1551501"/>
                    <a:gd name="connsiteY155" fmla="*/ 693648 h 1515279"/>
                    <a:gd name="connsiteX156" fmla="*/ 1227317 w 1551501"/>
                    <a:gd name="connsiteY156" fmla="*/ 697874 h 1515279"/>
                    <a:gd name="connsiteX157" fmla="*/ 1253879 w 1551501"/>
                    <a:gd name="connsiteY157" fmla="*/ 696063 h 1515279"/>
                    <a:gd name="connsiteX158" fmla="*/ 1258709 w 1551501"/>
                    <a:gd name="connsiteY158" fmla="*/ 696667 h 1515279"/>
                    <a:gd name="connsiteX159" fmla="*/ 1263538 w 1551501"/>
                    <a:gd name="connsiteY159" fmla="*/ 703911 h 1515279"/>
                    <a:gd name="connsiteX160" fmla="*/ 1276216 w 1551501"/>
                    <a:gd name="connsiteY160" fmla="*/ 712966 h 1515279"/>
                    <a:gd name="connsiteX161" fmla="*/ 1275009 w 1551501"/>
                    <a:gd name="connsiteY161" fmla="*/ 717192 h 1515279"/>
                    <a:gd name="connsiteX162" fmla="*/ 1281046 w 1551501"/>
                    <a:gd name="connsiteY162" fmla="*/ 724437 h 1515279"/>
                    <a:gd name="connsiteX163" fmla="*/ 1288290 w 1551501"/>
                    <a:gd name="connsiteY163" fmla="*/ 725040 h 1515279"/>
                    <a:gd name="connsiteX164" fmla="*/ 1292516 w 1551501"/>
                    <a:gd name="connsiteY164" fmla="*/ 723229 h 1515279"/>
                    <a:gd name="connsiteX165" fmla="*/ 1300364 w 1551501"/>
                    <a:gd name="connsiteY165" fmla="*/ 714777 h 1515279"/>
                    <a:gd name="connsiteX166" fmla="*/ 1299157 w 1551501"/>
                    <a:gd name="connsiteY166" fmla="*/ 711759 h 1515279"/>
                    <a:gd name="connsiteX167" fmla="*/ 1303986 w 1551501"/>
                    <a:gd name="connsiteY167" fmla="*/ 708137 h 1515279"/>
                    <a:gd name="connsiteX168" fmla="*/ 1299157 w 1551501"/>
                    <a:gd name="connsiteY168" fmla="*/ 699685 h 1515279"/>
                    <a:gd name="connsiteX169" fmla="*/ 1302779 w 1551501"/>
                    <a:gd name="connsiteY169" fmla="*/ 696063 h 1515279"/>
                    <a:gd name="connsiteX170" fmla="*/ 1300364 w 1551501"/>
                    <a:gd name="connsiteY170" fmla="*/ 690630 h 1515279"/>
                    <a:gd name="connsiteX171" fmla="*/ 1346849 w 1551501"/>
                    <a:gd name="connsiteY171" fmla="*/ 693044 h 1515279"/>
                    <a:gd name="connsiteX172" fmla="*/ 1391522 w 1551501"/>
                    <a:gd name="connsiteY172" fmla="*/ 716588 h 1515279"/>
                    <a:gd name="connsiteX173" fmla="*/ 1396956 w 1551501"/>
                    <a:gd name="connsiteY173" fmla="*/ 720814 h 1515279"/>
                    <a:gd name="connsiteX174" fmla="*/ 1394541 w 1551501"/>
                    <a:gd name="connsiteY174" fmla="*/ 724437 h 1515279"/>
                    <a:gd name="connsiteX175" fmla="*/ 1390919 w 1551501"/>
                    <a:gd name="connsiteY175" fmla="*/ 726248 h 1515279"/>
                    <a:gd name="connsiteX176" fmla="*/ 1395748 w 1551501"/>
                    <a:gd name="connsiteY176" fmla="*/ 729870 h 1515279"/>
                    <a:gd name="connsiteX177" fmla="*/ 1402993 w 1551501"/>
                    <a:gd name="connsiteY177" fmla="*/ 726248 h 1515279"/>
                    <a:gd name="connsiteX178" fmla="*/ 1406615 w 1551501"/>
                    <a:gd name="connsiteY178" fmla="*/ 725644 h 1515279"/>
                    <a:gd name="connsiteX179" fmla="*/ 1410237 w 1551501"/>
                    <a:gd name="connsiteY179" fmla="*/ 728662 h 1515279"/>
                    <a:gd name="connsiteX180" fmla="*/ 1409029 w 1551501"/>
                    <a:gd name="connsiteY180" fmla="*/ 734096 h 1515279"/>
                    <a:gd name="connsiteX181" fmla="*/ 1404200 w 1551501"/>
                    <a:gd name="connsiteY181" fmla="*/ 737718 h 1515279"/>
                    <a:gd name="connsiteX182" fmla="*/ 1405407 w 1551501"/>
                    <a:gd name="connsiteY182" fmla="*/ 743755 h 1515279"/>
                    <a:gd name="connsiteX183" fmla="*/ 1406615 w 1551501"/>
                    <a:gd name="connsiteY183" fmla="*/ 744359 h 1515279"/>
                    <a:gd name="connsiteX184" fmla="*/ 1415066 w 1551501"/>
                    <a:gd name="connsiteY184" fmla="*/ 746773 h 1515279"/>
                    <a:gd name="connsiteX185" fmla="*/ 1418085 w 1551501"/>
                    <a:gd name="connsiteY185" fmla="*/ 749188 h 1515279"/>
                    <a:gd name="connsiteX186" fmla="*/ 1418085 w 1551501"/>
                    <a:gd name="connsiteY186" fmla="*/ 750999 h 1515279"/>
                    <a:gd name="connsiteX187" fmla="*/ 1421103 w 1551501"/>
                    <a:gd name="connsiteY187" fmla="*/ 755225 h 1515279"/>
                    <a:gd name="connsiteX188" fmla="*/ 1422914 w 1551501"/>
                    <a:gd name="connsiteY188" fmla="*/ 760055 h 1515279"/>
                    <a:gd name="connsiteX189" fmla="*/ 1422311 w 1551501"/>
                    <a:gd name="connsiteY189" fmla="*/ 760658 h 1515279"/>
                    <a:gd name="connsiteX190" fmla="*/ 1419292 w 1551501"/>
                    <a:gd name="connsiteY190" fmla="*/ 763677 h 1515279"/>
                    <a:gd name="connsiteX191" fmla="*/ 1415670 w 1551501"/>
                    <a:gd name="connsiteY191" fmla="*/ 769714 h 1515279"/>
                    <a:gd name="connsiteX192" fmla="*/ 1416274 w 1551501"/>
                    <a:gd name="connsiteY192" fmla="*/ 771525 h 1515279"/>
                    <a:gd name="connsiteX193" fmla="*/ 1415670 w 1551501"/>
                    <a:gd name="connsiteY193" fmla="*/ 772732 h 1515279"/>
                    <a:gd name="connsiteX194" fmla="*/ 1413859 w 1551501"/>
                    <a:gd name="connsiteY194" fmla="*/ 774543 h 1515279"/>
                    <a:gd name="connsiteX195" fmla="*/ 1413255 w 1551501"/>
                    <a:gd name="connsiteY195" fmla="*/ 778166 h 1515279"/>
                    <a:gd name="connsiteX196" fmla="*/ 1413859 w 1551501"/>
                    <a:gd name="connsiteY196" fmla="*/ 781184 h 1515279"/>
                    <a:gd name="connsiteX197" fmla="*/ 1415066 w 1551501"/>
                    <a:gd name="connsiteY197" fmla="*/ 782392 h 1515279"/>
                    <a:gd name="connsiteX198" fmla="*/ 1421103 w 1551501"/>
                    <a:gd name="connsiteY198" fmla="*/ 780580 h 1515279"/>
                    <a:gd name="connsiteX199" fmla="*/ 1427140 w 1551501"/>
                    <a:gd name="connsiteY199" fmla="*/ 778166 h 1515279"/>
                    <a:gd name="connsiteX200" fmla="*/ 1428951 w 1551501"/>
                    <a:gd name="connsiteY200" fmla="*/ 778769 h 1515279"/>
                    <a:gd name="connsiteX201" fmla="*/ 1429555 w 1551501"/>
                    <a:gd name="connsiteY201" fmla="*/ 780580 h 1515279"/>
                    <a:gd name="connsiteX202" fmla="*/ 1429555 w 1551501"/>
                    <a:gd name="connsiteY202" fmla="*/ 782995 h 1515279"/>
                    <a:gd name="connsiteX203" fmla="*/ 1424122 w 1551501"/>
                    <a:gd name="connsiteY203" fmla="*/ 786014 h 1515279"/>
                    <a:gd name="connsiteX204" fmla="*/ 1430762 w 1551501"/>
                    <a:gd name="connsiteY204" fmla="*/ 792051 h 1515279"/>
                    <a:gd name="connsiteX205" fmla="*/ 1433177 w 1551501"/>
                    <a:gd name="connsiteY205" fmla="*/ 791447 h 1515279"/>
                    <a:gd name="connsiteX206" fmla="*/ 1433177 w 1551501"/>
                    <a:gd name="connsiteY206" fmla="*/ 797484 h 1515279"/>
                    <a:gd name="connsiteX207" fmla="*/ 1434385 w 1551501"/>
                    <a:gd name="connsiteY207" fmla="*/ 801106 h 1515279"/>
                    <a:gd name="connsiteX208" fmla="*/ 1436196 w 1551501"/>
                    <a:gd name="connsiteY208" fmla="*/ 804125 h 1515279"/>
                    <a:gd name="connsiteX209" fmla="*/ 1433177 w 1551501"/>
                    <a:gd name="connsiteY209" fmla="*/ 805936 h 1515279"/>
                    <a:gd name="connsiteX210" fmla="*/ 1434988 w 1551501"/>
                    <a:gd name="connsiteY210" fmla="*/ 806540 h 1515279"/>
                    <a:gd name="connsiteX211" fmla="*/ 1434385 w 1551501"/>
                    <a:gd name="connsiteY211" fmla="*/ 809558 h 1515279"/>
                    <a:gd name="connsiteX212" fmla="*/ 1435592 w 1551501"/>
                    <a:gd name="connsiteY212" fmla="*/ 810765 h 1515279"/>
                    <a:gd name="connsiteX213" fmla="*/ 1433781 w 1551501"/>
                    <a:gd name="connsiteY213" fmla="*/ 811973 h 1515279"/>
                    <a:gd name="connsiteX214" fmla="*/ 1433177 w 1551501"/>
                    <a:gd name="connsiteY214" fmla="*/ 813784 h 1515279"/>
                    <a:gd name="connsiteX215" fmla="*/ 1432573 w 1551501"/>
                    <a:gd name="connsiteY215" fmla="*/ 813784 h 1515279"/>
                    <a:gd name="connsiteX216" fmla="*/ 1430762 w 1551501"/>
                    <a:gd name="connsiteY216" fmla="*/ 815595 h 1515279"/>
                    <a:gd name="connsiteX217" fmla="*/ 1431970 w 1551501"/>
                    <a:gd name="connsiteY217" fmla="*/ 816199 h 1515279"/>
                    <a:gd name="connsiteX218" fmla="*/ 1434988 w 1551501"/>
                    <a:gd name="connsiteY218" fmla="*/ 818010 h 1515279"/>
                    <a:gd name="connsiteX219" fmla="*/ 1436196 w 1551501"/>
                    <a:gd name="connsiteY219" fmla="*/ 821632 h 1515279"/>
                    <a:gd name="connsiteX220" fmla="*/ 1434385 w 1551501"/>
                    <a:gd name="connsiteY220" fmla="*/ 822839 h 1515279"/>
                    <a:gd name="connsiteX221" fmla="*/ 1434988 w 1551501"/>
                    <a:gd name="connsiteY221" fmla="*/ 824047 h 1515279"/>
                    <a:gd name="connsiteX222" fmla="*/ 1436196 w 1551501"/>
                    <a:gd name="connsiteY222" fmla="*/ 824650 h 1515279"/>
                    <a:gd name="connsiteX223" fmla="*/ 1436196 w 1551501"/>
                    <a:gd name="connsiteY223" fmla="*/ 825254 h 1515279"/>
                    <a:gd name="connsiteX224" fmla="*/ 1438007 w 1551501"/>
                    <a:gd name="connsiteY224" fmla="*/ 827669 h 1515279"/>
                    <a:gd name="connsiteX225" fmla="*/ 1441629 w 1551501"/>
                    <a:gd name="connsiteY225" fmla="*/ 830084 h 1515279"/>
                    <a:gd name="connsiteX226" fmla="*/ 1444044 w 1551501"/>
                    <a:gd name="connsiteY226" fmla="*/ 829480 h 1515279"/>
                    <a:gd name="connsiteX227" fmla="*/ 1444647 w 1551501"/>
                    <a:gd name="connsiteY227" fmla="*/ 830084 h 1515279"/>
                    <a:gd name="connsiteX228" fmla="*/ 1446459 w 1551501"/>
                    <a:gd name="connsiteY228" fmla="*/ 828272 h 1515279"/>
                    <a:gd name="connsiteX229" fmla="*/ 1451288 w 1551501"/>
                    <a:gd name="connsiteY229" fmla="*/ 827065 h 1515279"/>
                    <a:gd name="connsiteX230" fmla="*/ 1452496 w 1551501"/>
                    <a:gd name="connsiteY230" fmla="*/ 828876 h 1515279"/>
                    <a:gd name="connsiteX231" fmla="*/ 1454910 w 1551501"/>
                    <a:gd name="connsiteY231" fmla="*/ 828876 h 1515279"/>
                    <a:gd name="connsiteX232" fmla="*/ 1454307 w 1551501"/>
                    <a:gd name="connsiteY232" fmla="*/ 831291 h 1515279"/>
                    <a:gd name="connsiteX233" fmla="*/ 1453099 w 1551501"/>
                    <a:gd name="connsiteY233" fmla="*/ 835517 h 1515279"/>
                    <a:gd name="connsiteX234" fmla="*/ 1456721 w 1551501"/>
                    <a:gd name="connsiteY234" fmla="*/ 839139 h 1515279"/>
                    <a:gd name="connsiteX235" fmla="*/ 1460947 w 1551501"/>
                    <a:gd name="connsiteY235" fmla="*/ 840346 h 1515279"/>
                    <a:gd name="connsiteX236" fmla="*/ 1462155 w 1551501"/>
                    <a:gd name="connsiteY236" fmla="*/ 837932 h 1515279"/>
                    <a:gd name="connsiteX237" fmla="*/ 1462155 w 1551501"/>
                    <a:gd name="connsiteY237" fmla="*/ 836121 h 1515279"/>
                    <a:gd name="connsiteX238" fmla="*/ 1468795 w 1551501"/>
                    <a:gd name="connsiteY238" fmla="*/ 831895 h 1515279"/>
                    <a:gd name="connsiteX239" fmla="*/ 1471814 w 1551501"/>
                    <a:gd name="connsiteY239" fmla="*/ 831895 h 1515279"/>
                    <a:gd name="connsiteX240" fmla="*/ 1474229 w 1551501"/>
                    <a:gd name="connsiteY240" fmla="*/ 833706 h 1515279"/>
                    <a:gd name="connsiteX241" fmla="*/ 1476644 w 1551501"/>
                    <a:gd name="connsiteY241" fmla="*/ 834913 h 1515279"/>
                    <a:gd name="connsiteX242" fmla="*/ 1477247 w 1551501"/>
                    <a:gd name="connsiteY242" fmla="*/ 839743 h 1515279"/>
                    <a:gd name="connsiteX243" fmla="*/ 1476040 w 1551501"/>
                    <a:gd name="connsiteY243" fmla="*/ 843365 h 1515279"/>
                    <a:gd name="connsiteX244" fmla="*/ 1477247 w 1551501"/>
                    <a:gd name="connsiteY244" fmla="*/ 843365 h 1515279"/>
                    <a:gd name="connsiteX245" fmla="*/ 1477851 w 1551501"/>
                    <a:gd name="connsiteY245" fmla="*/ 846383 h 1515279"/>
                    <a:gd name="connsiteX246" fmla="*/ 1477247 w 1551501"/>
                    <a:gd name="connsiteY246" fmla="*/ 850006 h 1515279"/>
                    <a:gd name="connsiteX247" fmla="*/ 1475436 w 1551501"/>
                    <a:gd name="connsiteY247" fmla="*/ 854232 h 1515279"/>
                    <a:gd name="connsiteX248" fmla="*/ 1472418 w 1551501"/>
                    <a:gd name="connsiteY248" fmla="*/ 858457 h 1515279"/>
                    <a:gd name="connsiteX249" fmla="*/ 1476040 w 1551501"/>
                    <a:gd name="connsiteY249" fmla="*/ 864494 h 1515279"/>
                    <a:gd name="connsiteX250" fmla="*/ 1478455 w 1551501"/>
                    <a:gd name="connsiteY250" fmla="*/ 863287 h 1515279"/>
                    <a:gd name="connsiteX251" fmla="*/ 1480869 w 1551501"/>
                    <a:gd name="connsiteY251" fmla="*/ 861476 h 1515279"/>
                    <a:gd name="connsiteX252" fmla="*/ 1483284 w 1551501"/>
                    <a:gd name="connsiteY252" fmla="*/ 859665 h 1515279"/>
                    <a:gd name="connsiteX253" fmla="*/ 1487510 w 1551501"/>
                    <a:gd name="connsiteY253" fmla="*/ 859061 h 1515279"/>
                    <a:gd name="connsiteX254" fmla="*/ 1488718 w 1551501"/>
                    <a:gd name="connsiteY254" fmla="*/ 862683 h 1515279"/>
                    <a:gd name="connsiteX255" fmla="*/ 1491736 w 1551501"/>
                    <a:gd name="connsiteY255" fmla="*/ 867513 h 1515279"/>
                    <a:gd name="connsiteX256" fmla="*/ 1492340 w 1551501"/>
                    <a:gd name="connsiteY256" fmla="*/ 874153 h 1515279"/>
                    <a:gd name="connsiteX257" fmla="*/ 1495358 w 1551501"/>
                    <a:gd name="connsiteY257" fmla="*/ 875965 h 1515279"/>
                    <a:gd name="connsiteX258" fmla="*/ 1497773 w 1551501"/>
                    <a:gd name="connsiteY258" fmla="*/ 875965 h 1515279"/>
                    <a:gd name="connsiteX259" fmla="*/ 1501395 w 1551501"/>
                    <a:gd name="connsiteY259" fmla="*/ 876568 h 1515279"/>
                    <a:gd name="connsiteX260" fmla="*/ 1508640 w 1551501"/>
                    <a:gd name="connsiteY260" fmla="*/ 877776 h 1515279"/>
                    <a:gd name="connsiteX261" fmla="*/ 1509243 w 1551501"/>
                    <a:gd name="connsiteY261" fmla="*/ 884416 h 1515279"/>
                    <a:gd name="connsiteX262" fmla="*/ 1511054 w 1551501"/>
                    <a:gd name="connsiteY262" fmla="*/ 888039 h 1515279"/>
                    <a:gd name="connsiteX263" fmla="*/ 1492943 w 1551501"/>
                    <a:gd name="connsiteY263" fmla="*/ 891057 h 1515279"/>
                    <a:gd name="connsiteX264" fmla="*/ 1486906 w 1551501"/>
                    <a:gd name="connsiteY264" fmla="*/ 891057 h 1515279"/>
                    <a:gd name="connsiteX265" fmla="*/ 1482077 w 1551501"/>
                    <a:gd name="connsiteY265" fmla="*/ 894679 h 1515279"/>
                    <a:gd name="connsiteX266" fmla="*/ 1479058 w 1551501"/>
                    <a:gd name="connsiteY266" fmla="*/ 892868 h 1515279"/>
                    <a:gd name="connsiteX267" fmla="*/ 1473021 w 1551501"/>
                    <a:gd name="connsiteY267" fmla="*/ 891661 h 1515279"/>
                    <a:gd name="connsiteX268" fmla="*/ 1467588 w 1551501"/>
                    <a:gd name="connsiteY268" fmla="*/ 888642 h 1515279"/>
                    <a:gd name="connsiteX269" fmla="*/ 1460344 w 1551501"/>
                    <a:gd name="connsiteY269" fmla="*/ 888642 h 1515279"/>
                    <a:gd name="connsiteX270" fmla="*/ 1457325 w 1551501"/>
                    <a:gd name="connsiteY270" fmla="*/ 885624 h 1515279"/>
                    <a:gd name="connsiteX271" fmla="*/ 1447666 w 1551501"/>
                    <a:gd name="connsiteY271" fmla="*/ 885624 h 1515279"/>
                    <a:gd name="connsiteX272" fmla="*/ 1442233 w 1551501"/>
                    <a:gd name="connsiteY272" fmla="*/ 885020 h 1515279"/>
                    <a:gd name="connsiteX273" fmla="*/ 1443440 w 1551501"/>
                    <a:gd name="connsiteY273" fmla="*/ 892264 h 1515279"/>
                    <a:gd name="connsiteX274" fmla="*/ 1436196 w 1551501"/>
                    <a:gd name="connsiteY274" fmla="*/ 903131 h 1515279"/>
                    <a:gd name="connsiteX275" fmla="*/ 1435592 w 1551501"/>
                    <a:gd name="connsiteY275" fmla="*/ 907357 h 1515279"/>
                    <a:gd name="connsiteX276" fmla="*/ 1425933 w 1551501"/>
                    <a:gd name="connsiteY276" fmla="*/ 911583 h 1515279"/>
                    <a:gd name="connsiteX277" fmla="*/ 1420500 w 1551501"/>
                    <a:gd name="connsiteY277" fmla="*/ 910375 h 1515279"/>
                    <a:gd name="connsiteX278" fmla="*/ 1418688 w 1551501"/>
                    <a:gd name="connsiteY278" fmla="*/ 914601 h 1515279"/>
                    <a:gd name="connsiteX279" fmla="*/ 1411444 w 1551501"/>
                    <a:gd name="connsiteY279" fmla="*/ 911583 h 1515279"/>
                    <a:gd name="connsiteX280" fmla="*/ 1405407 w 1551501"/>
                    <a:gd name="connsiteY280" fmla="*/ 913394 h 1515279"/>
                    <a:gd name="connsiteX281" fmla="*/ 1406615 w 1551501"/>
                    <a:gd name="connsiteY281" fmla="*/ 915809 h 1515279"/>
                    <a:gd name="connsiteX282" fmla="*/ 1405407 w 1551501"/>
                    <a:gd name="connsiteY282" fmla="*/ 929090 h 1515279"/>
                    <a:gd name="connsiteX283" fmla="*/ 1414463 w 1551501"/>
                    <a:gd name="connsiteY283" fmla="*/ 931505 h 1515279"/>
                    <a:gd name="connsiteX284" fmla="*/ 1422311 w 1551501"/>
                    <a:gd name="connsiteY284" fmla="*/ 932712 h 1515279"/>
                    <a:gd name="connsiteX285" fmla="*/ 1424122 w 1551501"/>
                    <a:gd name="connsiteY285" fmla="*/ 929694 h 1515279"/>
                    <a:gd name="connsiteX286" fmla="*/ 1428951 w 1551501"/>
                    <a:gd name="connsiteY286" fmla="*/ 930901 h 1515279"/>
                    <a:gd name="connsiteX287" fmla="*/ 1428951 w 1551501"/>
                    <a:gd name="connsiteY287" fmla="*/ 933316 h 1515279"/>
                    <a:gd name="connsiteX288" fmla="*/ 1433177 w 1551501"/>
                    <a:gd name="connsiteY288" fmla="*/ 938749 h 1515279"/>
                    <a:gd name="connsiteX289" fmla="*/ 1437403 w 1551501"/>
                    <a:gd name="connsiteY289" fmla="*/ 939956 h 1515279"/>
                    <a:gd name="connsiteX290" fmla="*/ 1438610 w 1551501"/>
                    <a:gd name="connsiteY290" fmla="*/ 942975 h 1515279"/>
                    <a:gd name="connsiteX291" fmla="*/ 1450081 w 1551501"/>
                    <a:gd name="connsiteY291" fmla="*/ 944182 h 1515279"/>
                    <a:gd name="connsiteX292" fmla="*/ 1460947 w 1551501"/>
                    <a:gd name="connsiteY292" fmla="*/ 946597 h 1515279"/>
                    <a:gd name="connsiteX293" fmla="*/ 1460344 w 1551501"/>
                    <a:gd name="connsiteY293" fmla="*/ 955049 h 1515279"/>
                    <a:gd name="connsiteX294" fmla="*/ 1463362 w 1551501"/>
                    <a:gd name="connsiteY294" fmla="*/ 959879 h 1515279"/>
                    <a:gd name="connsiteX295" fmla="*/ 1460947 w 1551501"/>
                    <a:gd name="connsiteY295" fmla="*/ 962897 h 1515279"/>
                    <a:gd name="connsiteX296" fmla="*/ 1460344 w 1551501"/>
                    <a:gd name="connsiteY296" fmla="*/ 969538 h 1515279"/>
                    <a:gd name="connsiteX297" fmla="*/ 1458533 w 1551501"/>
                    <a:gd name="connsiteY297" fmla="*/ 972556 h 1515279"/>
                    <a:gd name="connsiteX298" fmla="*/ 1448873 w 1551501"/>
                    <a:gd name="connsiteY298" fmla="*/ 972556 h 1515279"/>
                    <a:gd name="connsiteX299" fmla="*/ 1448873 w 1551501"/>
                    <a:gd name="connsiteY299" fmla="*/ 976782 h 1515279"/>
                    <a:gd name="connsiteX300" fmla="*/ 1444647 w 1551501"/>
                    <a:gd name="connsiteY300" fmla="*/ 977386 h 1515279"/>
                    <a:gd name="connsiteX301" fmla="*/ 1441025 w 1551501"/>
                    <a:gd name="connsiteY301" fmla="*/ 981008 h 1515279"/>
                    <a:gd name="connsiteX302" fmla="*/ 1432573 w 1551501"/>
                    <a:gd name="connsiteY302" fmla="*/ 979197 h 1515279"/>
                    <a:gd name="connsiteX303" fmla="*/ 1426536 w 1551501"/>
                    <a:gd name="connsiteY303" fmla="*/ 988856 h 1515279"/>
                    <a:gd name="connsiteX304" fmla="*/ 1426536 w 1551501"/>
                    <a:gd name="connsiteY304" fmla="*/ 991874 h 1515279"/>
                    <a:gd name="connsiteX305" fmla="*/ 1431366 w 1551501"/>
                    <a:gd name="connsiteY305" fmla="*/ 994893 h 1515279"/>
                    <a:gd name="connsiteX306" fmla="*/ 1429555 w 1551501"/>
                    <a:gd name="connsiteY306" fmla="*/ 999119 h 1515279"/>
                    <a:gd name="connsiteX307" fmla="*/ 1434385 w 1551501"/>
                    <a:gd name="connsiteY307" fmla="*/ 1002137 h 1515279"/>
                    <a:gd name="connsiteX308" fmla="*/ 1436196 w 1551501"/>
                    <a:gd name="connsiteY308" fmla="*/ 1009382 h 1515279"/>
                    <a:gd name="connsiteX309" fmla="*/ 1444647 w 1551501"/>
                    <a:gd name="connsiteY309" fmla="*/ 1010589 h 1515279"/>
                    <a:gd name="connsiteX310" fmla="*/ 1449477 w 1551501"/>
                    <a:gd name="connsiteY310" fmla="*/ 1015419 h 1515279"/>
                    <a:gd name="connsiteX311" fmla="*/ 1454307 w 1551501"/>
                    <a:gd name="connsiteY311" fmla="*/ 1021456 h 1515279"/>
                    <a:gd name="connsiteX312" fmla="*/ 1460344 w 1551501"/>
                    <a:gd name="connsiteY312" fmla="*/ 1026889 h 1515279"/>
                    <a:gd name="connsiteX313" fmla="*/ 1461551 w 1551501"/>
                    <a:gd name="connsiteY313" fmla="*/ 1032926 h 1515279"/>
                    <a:gd name="connsiteX314" fmla="*/ 1465777 w 1551501"/>
                    <a:gd name="connsiteY314" fmla="*/ 1034737 h 1515279"/>
                    <a:gd name="connsiteX315" fmla="*/ 1467588 w 1551501"/>
                    <a:gd name="connsiteY315" fmla="*/ 1032322 h 1515279"/>
                    <a:gd name="connsiteX316" fmla="*/ 1475436 w 1551501"/>
                    <a:gd name="connsiteY316" fmla="*/ 1036548 h 1515279"/>
                    <a:gd name="connsiteX317" fmla="*/ 1485699 w 1551501"/>
                    <a:gd name="connsiteY317" fmla="*/ 1044396 h 1515279"/>
                    <a:gd name="connsiteX318" fmla="*/ 1490529 w 1551501"/>
                    <a:gd name="connsiteY318" fmla="*/ 1044396 h 1515279"/>
                    <a:gd name="connsiteX319" fmla="*/ 1498377 w 1551501"/>
                    <a:gd name="connsiteY319" fmla="*/ 1041981 h 1515279"/>
                    <a:gd name="connsiteX320" fmla="*/ 1505621 w 1551501"/>
                    <a:gd name="connsiteY320" fmla="*/ 1046811 h 1515279"/>
                    <a:gd name="connsiteX321" fmla="*/ 1509847 w 1551501"/>
                    <a:gd name="connsiteY321" fmla="*/ 1048018 h 1515279"/>
                    <a:gd name="connsiteX322" fmla="*/ 1514676 w 1551501"/>
                    <a:gd name="connsiteY322" fmla="*/ 1057074 h 1515279"/>
                    <a:gd name="connsiteX323" fmla="*/ 1526147 w 1551501"/>
                    <a:gd name="connsiteY323" fmla="*/ 1057677 h 1515279"/>
                    <a:gd name="connsiteX324" fmla="*/ 1530372 w 1551501"/>
                    <a:gd name="connsiteY324" fmla="*/ 1061903 h 1515279"/>
                    <a:gd name="connsiteX325" fmla="*/ 1534598 w 1551501"/>
                    <a:gd name="connsiteY325" fmla="*/ 1060696 h 1515279"/>
                    <a:gd name="connsiteX326" fmla="*/ 1534598 w 1551501"/>
                    <a:gd name="connsiteY326" fmla="*/ 1070355 h 1515279"/>
                    <a:gd name="connsiteX327" fmla="*/ 1538824 w 1551501"/>
                    <a:gd name="connsiteY327" fmla="*/ 1069148 h 1515279"/>
                    <a:gd name="connsiteX328" fmla="*/ 1546672 w 1551501"/>
                    <a:gd name="connsiteY328" fmla="*/ 1073977 h 1515279"/>
                    <a:gd name="connsiteX329" fmla="*/ 1553917 w 1551501"/>
                    <a:gd name="connsiteY329" fmla="*/ 1080014 h 1515279"/>
                    <a:gd name="connsiteX330" fmla="*/ 1549691 w 1551501"/>
                    <a:gd name="connsiteY330" fmla="*/ 1087259 h 1515279"/>
                    <a:gd name="connsiteX331" fmla="*/ 1555124 w 1551501"/>
                    <a:gd name="connsiteY331" fmla="*/ 1091484 h 1515279"/>
                    <a:gd name="connsiteX332" fmla="*/ 1552106 w 1551501"/>
                    <a:gd name="connsiteY332" fmla="*/ 1093899 h 1515279"/>
                    <a:gd name="connsiteX333" fmla="*/ 1548483 w 1551501"/>
                    <a:gd name="connsiteY333" fmla="*/ 1092088 h 1515279"/>
                    <a:gd name="connsiteX334" fmla="*/ 1540635 w 1551501"/>
                    <a:gd name="connsiteY334" fmla="*/ 1092692 h 1515279"/>
                    <a:gd name="connsiteX335" fmla="*/ 1541239 w 1551501"/>
                    <a:gd name="connsiteY335" fmla="*/ 1101144 h 1515279"/>
                    <a:gd name="connsiteX336" fmla="*/ 1539428 w 1551501"/>
                    <a:gd name="connsiteY336" fmla="*/ 1104766 h 1515279"/>
                    <a:gd name="connsiteX337" fmla="*/ 1535202 w 1551501"/>
                    <a:gd name="connsiteY337" fmla="*/ 1102955 h 1515279"/>
                    <a:gd name="connsiteX338" fmla="*/ 1532183 w 1551501"/>
                    <a:gd name="connsiteY338" fmla="*/ 1106577 h 1515279"/>
                    <a:gd name="connsiteX339" fmla="*/ 1526750 w 1551501"/>
                    <a:gd name="connsiteY339" fmla="*/ 1102955 h 1515279"/>
                    <a:gd name="connsiteX340" fmla="*/ 1521921 w 1551501"/>
                    <a:gd name="connsiteY340" fmla="*/ 1104766 h 1515279"/>
                    <a:gd name="connsiteX341" fmla="*/ 1518299 w 1551501"/>
                    <a:gd name="connsiteY341" fmla="*/ 1098125 h 1515279"/>
                    <a:gd name="connsiteX342" fmla="*/ 1513469 w 1551501"/>
                    <a:gd name="connsiteY342" fmla="*/ 1098729 h 1515279"/>
                    <a:gd name="connsiteX343" fmla="*/ 1513469 w 1551501"/>
                    <a:gd name="connsiteY343" fmla="*/ 1102351 h 1515279"/>
                    <a:gd name="connsiteX344" fmla="*/ 1508640 w 1551501"/>
                    <a:gd name="connsiteY344" fmla="*/ 1101144 h 1515279"/>
                    <a:gd name="connsiteX345" fmla="*/ 1506828 w 1551501"/>
                    <a:gd name="connsiteY345" fmla="*/ 1094503 h 1515279"/>
                    <a:gd name="connsiteX346" fmla="*/ 1498980 w 1551501"/>
                    <a:gd name="connsiteY346" fmla="*/ 1091484 h 1515279"/>
                    <a:gd name="connsiteX347" fmla="*/ 1492943 w 1551501"/>
                    <a:gd name="connsiteY347" fmla="*/ 1092692 h 1515279"/>
                    <a:gd name="connsiteX348" fmla="*/ 1491736 w 1551501"/>
                    <a:gd name="connsiteY348" fmla="*/ 1107784 h 1515279"/>
                    <a:gd name="connsiteX349" fmla="*/ 1485699 w 1551501"/>
                    <a:gd name="connsiteY349" fmla="*/ 1109595 h 1515279"/>
                    <a:gd name="connsiteX350" fmla="*/ 1470607 w 1551501"/>
                    <a:gd name="connsiteY350" fmla="*/ 1109595 h 1515279"/>
                    <a:gd name="connsiteX351" fmla="*/ 1466984 w 1551501"/>
                    <a:gd name="connsiteY351" fmla="*/ 1107784 h 1515279"/>
                    <a:gd name="connsiteX352" fmla="*/ 1465777 w 1551501"/>
                    <a:gd name="connsiteY352" fmla="*/ 1100540 h 1515279"/>
                    <a:gd name="connsiteX353" fmla="*/ 1460344 w 1551501"/>
                    <a:gd name="connsiteY353" fmla="*/ 1096314 h 1515279"/>
                    <a:gd name="connsiteX354" fmla="*/ 1456118 w 1551501"/>
                    <a:gd name="connsiteY354" fmla="*/ 1095107 h 1515279"/>
                    <a:gd name="connsiteX355" fmla="*/ 1448270 w 1551501"/>
                    <a:gd name="connsiteY355" fmla="*/ 1095710 h 1515279"/>
                    <a:gd name="connsiteX356" fmla="*/ 1442836 w 1551501"/>
                    <a:gd name="connsiteY356" fmla="*/ 1098125 h 1515279"/>
                    <a:gd name="connsiteX357" fmla="*/ 1440422 w 1551501"/>
                    <a:gd name="connsiteY357" fmla="*/ 1102351 h 1515279"/>
                    <a:gd name="connsiteX358" fmla="*/ 1442233 w 1551501"/>
                    <a:gd name="connsiteY358" fmla="*/ 1112010 h 1515279"/>
                    <a:gd name="connsiteX359" fmla="*/ 1441629 w 1551501"/>
                    <a:gd name="connsiteY359" fmla="*/ 1115632 h 1515279"/>
                    <a:gd name="connsiteX360" fmla="*/ 1428951 w 1551501"/>
                    <a:gd name="connsiteY360" fmla="*/ 1120462 h 1515279"/>
                    <a:gd name="connsiteX361" fmla="*/ 1414463 w 1551501"/>
                    <a:gd name="connsiteY361" fmla="*/ 1131329 h 1515279"/>
                    <a:gd name="connsiteX362" fmla="*/ 1409633 w 1551501"/>
                    <a:gd name="connsiteY362" fmla="*/ 1132536 h 1515279"/>
                    <a:gd name="connsiteX363" fmla="*/ 1403596 w 1551501"/>
                    <a:gd name="connsiteY363" fmla="*/ 1140988 h 1515279"/>
                    <a:gd name="connsiteX364" fmla="*/ 1399370 w 1551501"/>
                    <a:gd name="connsiteY364" fmla="*/ 1142195 h 1515279"/>
                    <a:gd name="connsiteX365" fmla="*/ 1399370 w 1551501"/>
                    <a:gd name="connsiteY365" fmla="*/ 1146421 h 1515279"/>
                    <a:gd name="connsiteX366" fmla="*/ 1395145 w 1551501"/>
                    <a:gd name="connsiteY366" fmla="*/ 1153062 h 1515279"/>
                    <a:gd name="connsiteX367" fmla="*/ 1391522 w 1551501"/>
                    <a:gd name="connsiteY367" fmla="*/ 1155476 h 1515279"/>
                    <a:gd name="connsiteX368" fmla="*/ 1392730 w 1551501"/>
                    <a:gd name="connsiteY368" fmla="*/ 1161513 h 1515279"/>
                    <a:gd name="connsiteX369" fmla="*/ 1385485 w 1551501"/>
                    <a:gd name="connsiteY369" fmla="*/ 1162117 h 1515279"/>
                    <a:gd name="connsiteX370" fmla="*/ 1383674 w 1551501"/>
                    <a:gd name="connsiteY370" fmla="*/ 1168154 h 1515279"/>
                    <a:gd name="connsiteX371" fmla="*/ 1380656 w 1551501"/>
                    <a:gd name="connsiteY371" fmla="*/ 1169965 h 1515279"/>
                    <a:gd name="connsiteX372" fmla="*/ 1374015 w 1551501"/>
                    <a:gd name="connsiteY372" fmla="*/ 1168758 h 1515279"/>
                    <a:gd name="connsiteX373" fmla="*/ 1366167 w 1551501"/>
                    <a:gd name="connsiteY373" fmla="*/ 1170569 h 1515279"/>
                    <a:gd name="connsiteX374" fmla="*/ 1361337 w 1551501"/>
                    <a:gd name="connsiteY374" fmla="*/ 1176606 h 1515279"/>
                    <a:gd name="connsiteX375" fmla="*/ 1354697 w 1551501"/>
                    <a:gd name="connsiteY375" fmla="*/ 1177813 h 1515279"/>
                    <a:gd name="connsiteX376" fmla="*/ 1347452 w 1551501"/>
                    <a:gd name="connsiteY376" fmla="*/ 1186265 h 1515279"/>
                    <a:gd name="connsiteX377" fmla="*/ 1345641 w 1551501"/>
                    <a:gd name="connsiteY377" fmla="*/ 1185058 h 1515279"/>
                    <a:gd name="connsiteX378" fmla="*/ 1337793 w 1551501"/>
                    <a:gd name="connsiteY378" fmla="*/ 1188680 h 1515279"/>
                    <a:gd name="connsiteX379" fmla="*/ 1331756 w 1551501"/>
                    <a:gd name="connsiteY379" fmla="*/ 1189887 h 1515279"/>
                    <a:gd name="connsiteX380" fmla="*/ 1324512 w 1551501"/>
                    <a:gd name="connsiteY380" fmla="*/ 1195924 h 1515279"/>
                    <a:gd name="connsiteX381" fmla="*/ 1318475 w 1551501"/>
                    <a:gd name="connsiteY381" fmla="*/ 1196528 h 1515279"/>
                    <a:gd name="connsiteX382" fmla="*/ 1314852 w 1551501"/>
                    <a:gd name="connsiteY382" fmla="*/ 1203772 h 1515279"/>
                    <a:gd name="connsiteX383" fmla="*/ 1311230 w 1551501"/>
                    <a:gd name="connsiteY383" fmla="*/ 1201961 h 1515279"/>
                    <a:gd name="connsiteX384" fmla="*/ 1303986 w 1551501"/>
                    <a:gd name="connsiteY384" fmla="*/ 1204376 h 1515279"/>
                    <a:gd name="connsiteX385" fmla="*/ 1299760 w 1551501"/>
                    <a:gd name="connsiteY385" fmla="*/ 1214035 h 1515279"/>
                    <a:gd name="connsiteX386" fmla="*/ 1293723 w 1551501"/>
                    <a:gd name="connsiteY386" fmla="*/ 1216450 h 1515279"/>
                    <a:gd name="connsiteX387" fmla="*/ 1291912 w 1551501"/>
                    <a:gd name="connsiteY387" fmla="*/ 1215846 h 1515279"/>
                    <a:gd name="connsiteX388" fmla="*/ 1290705 w 1551501"/>
                    <a:gd name="connsiteY388" fmla="*/ 1224902 h 1515279"/>
                    <a:gd name="connsiteX389" fmla="*/ 1292516 w 1551501"/>
                    <a:gd name="connsiteY389" fmla="*/ 1226713 h 1515279"/>
                    <a:gd name="connsiteX390" fmla="*/ 1292516 w 1551501"/>
                    <a:gd name="connsiteY390" fmla="*/ 1235768 h 1515279"/>
                    <a:gd name="connsiteX391" fmla="*/ 1289498 w 1551501"/>
                    <a:gd name="connsiteY391" fmla="*/ 1235165 h 1515279"/>
                    <a:gd name="connsiteX392" fmla="*/ 1286479 w 1551501"/>
                    <a:gd name="connsiteY392" fmla="*/ 1250257 h 1515279"/>
                    <a:gd name="connsiteX393" fmla="*/ 1284668 w 1551501"/>
                    <a:gd name="connsiteY393" fmla="*/ 1252068 h 1515279"/>
                    <a:gd name="connsiteX394" fmla="*/ 1285272 w 1551501"/>
                    <a:gd name="connsiteY394" fmla="*/ 1257501 h 1515279"/>
                    <a:gd name="connsiteX395" fmla="*/ 1290705 w 1551501"/>
                    <a:gd name="connsiteY395" fmla="*/ 1258709 h 1515279"/>
                    <a:gd name="connsiteX396" fmla="*/ 1290705 w 1551501"/>
                    <a:gd name="connsiteY396" fmla="*/ 1268971 h 1515279"/>
                    <a:gd name="connsiteX397" fmla="*/ 1293120 w 1551501"/>
                    <a:gd name="connsiteY397" fmla="*/ 1270783 h 1515279"/>
                    <a:gd name="connsiteX398" fmla="*/ 1293723 w 1551501"/>
                    <a:gd name="connsiteY398" fmla="*/ 1280442 h 1515279"/>
                    <a:gd name="connsiteX399" fmla="*/ 1291912 w 1551501"/>
                    <a:gd name="connsiteY399" fmla="*/ 1282857 h 1515279"/>
                    <a:gd name="connsiteX400" fmla="*/ 1295534 w 1551501"/>
                    <a:gd name="connsiteY400" fmla="*/ 1291912 h 1515279"/>
                    <a:gd name="connsiteX401" fmla="*/ 1300364 w 1551501"/>
                    <a:gd name="connsiteY401" fmla="*/ 1299156 h 1515279"/>
                    <a:gd name="connsiteX402" fmla="*/ 1300968 w 1551501"/>
                    <a:gd name="connsiteY402" fmla="*/ 1303986 h 1515279"/>
                    <a:gd name="connsiteX403" fmla="*/ 1299157 w 1551501"/>
                    <a:gd name="connsiteY403" fmla="*/ 1310023 h 1515279"/>
                    <a:gd name="connsiteX404" fmla="*/ 1304590 w 1551501"/>
                    <a:gd name="connsiteY404" fmla="*/ 1311834 h 1515279"/>
                    <a:gd name="connsiteX405" fmla="*/ 1309419 w 1551501"/>
                    <a:gd name="connsiteY405" fmla="*/ 1316060 h 1515279"/>
                    <a:gd name="connsiteX406" fmla="*/ 1313041 w 1551501"/>
                    <a:gd name="connsiteY406" fmla="*/ 1321493 h 1515279"/>
                    <a:gd name="connsiteX407" fmla="*/ 1318475 w 1551501"/>
                    <a:gd name="connsiteY407" fmla="*/ 1320286 h 1515279"/>
                    <a:gd name="connsiteX408" fmla="*/ 1318475 w 1551501"/>
                    <a:gd name="connsiteY408" fmla="*/ 1327530 h 1515279"/>
                    <a:gd name="connsiteX409" fmla="*/ 1320889 w 1551501"/>
                    <a:gd name="connsiteY409" fmla="*/ 1327530 h 1515279"/>
                    <a:gd name="connsiteX410" fmla="*/ 1325719 w 1551501"/>
                    <a:gd name="connsiteY410" fmla="*/ 1333567 h 1515279"/>
                    <a:gd name="connsiteX411" fmla="*/ 1322701 w 1551501"/>
                    <a:gd name="connsiteY411" fmla="*/ 1335982 h 1515279"/>
                    <a:gd name="connsiteX412" fmla="*/ 1322097 w 1551501"/>
                    <a:gd name="connsiteY412" fmla="*/ 1340208 h 1515279"/>
                    <a:gd name="connsiteX413" fmla="*/ 1326323 w 1551501"/>
                    <a:gd name="connsiteY413" fmla="*/ 1342019 h 1515279"/>
                    <a:gd name="connsiteX414" fmla="*/ 1329945 w 1551501"/>
                    <a:gd name="connsiteY414" fmla="*/ 1348056 h 1515279"/>
                    <a:gd name="connsiteX415" fmla="*/ 1326323 w 1551501"/>
                    <a:gd name="connsiteY415" fmla="*/ 1351074 h 1515279"/>
                    <a:gd name="connsiteX416" fmla="*/ 1328134 w 1551501"/>
                    <a:gd name="connsiteY416" fmla="*/ 1355300 h 1515279"/>
                    <a:gd name="connsiteX417" fmla="*/ 1326323 w 1551501"/>
                    <a:gd name="connsiteY417" fmla="*/ 1363148 h 1515279"/>
                    <a:gd name="connsiteX418" fmla="*/ 1321493 w 1551501"/>
                    <a:gd name="connsiteY418" fmla="*/ 1364959 h 1515279"/>
                    <a:gd name="connsiteX419" fmla="*/ 1322097 w 1551501"/>
                    <a:gd name="connsiteY419" fmla="*/ 1368581 h 1515279"/>
                    <a:gd name="connsiteX420" fmla="*/ 1307608 w 1551501"/>
                    <a:gd name="connsiteY420" fmla="*/ 1371600 h 1515279"/>
                    <a:gd name="connsiteX421" fmla="*/ 1300968 w 1551501"/>
                    <a:gd name="connsiteY421" fmla="*/ 1374015 h 1515279"/>
                    <a:gd name="connsiteX422" fmla="*/ 1300364 w 1551501"/>
                    <a:gd name="connsiteY422" fmla="*/ 1378844 h 1515279"/>
                    <a:gd name="connsiteX423" fmla="*/ 1298553 w 1551501"/>
                    <a:gd name="connsiteY423" fmla="*/ 1384278 h 1515279"/>
                    <a:gd name="connsiteX424" fmla="*/ 1302175 w 1551501"/>
                    <a:gd name="connsiteY424" fmla="*/ 1388504 h 1515279"/>
                    <a:gd name="connsiteX425" fmla="*/ 1302175 w 1551501"/>
                    <a:gd name="connsiteY425" fmla="*/ 1394541 h 1515279"/>
                    <a:gd name="connsiteX426" fmla="*/ 1308212 w 1551501"/>
                    <a:gd name="connsiteY426" fmla="*/ 1396352 h 1515279"/>
                    <a:gd name="connsiteX427" fmla="*/ 1311230 w 1551501"/>
                    <a:gd name="connsiteY427" fmla="*/ 1402992 h 1515279"/>
                    <a:gd name="connsiteX428" fmla="*/ 1309419 w 1551501"/>
                    <a:gd name="connsiteY428" fmla="*/ 1409029 h 1515279"/>
                    <a:gd name="connsiteX429" fmla="*/ 1302779 w 1551501"/>
                    <a:gd name="connsiteY429" fmla="*/ 1411444 h 1515279"/>
                    <a:gd name="connsiteX430" fmla="*/ 1297345 w 1551501"/>
                    <a:gd name="connsiteY430" fmla="*/ 1416877 h 1515279"/>
                    <a:gd name="connsiteX431" fmla="*/ 1301571 w 1551501"/>
                    <a:gd name="connsiteY431" fmla="*/ 1421103 h 1515279"/>
                    <a:gd name="connsiteX432" fmla="*/ 1302779 w 1551501"/>
                    <a:gd name="connsiteY432" fmla="*/ 1427140 h 1515279"/>
                    <a:gd name="connsiteX433" fmla="*/ 1297345 w 1551501"/>
                    <a:gd name="connsiteY433" fmla="*/ 1435592 h 1515279"/>
                    <a:gd name="connsiteX434" fmla="*/ 1297949 w 1551501"/>
                    <a:gd name="connsiteY434" fmla="*/ 1442233 h 1515279"/>
                    <a:gd name="connsiteX435" fmla="*/ 1293120 w 1551501"/>
                    <a:gd name="connsiteY435" fmla="*/ 1451892 h 1515279"/>
                    <a:gd name="connsiteX436" fmla="*/ 1291912 w 1551501"/>
                    <a:gd name="connsiteY436" fmla="*/ 1459136 h 1515279"/>
                    <a:gd name="connsiteX437" fmla="*/ 1286479 w 1551501"/>
                    <a:gd name="connsiteY437" fmla="*/ 1464569 h 1515279"/>
                    <a:gd name="connsiteX438" fmla="*/ 1279838 w 1551501"/>
                    <a:gd name="connsiteY438" fmla="*/ 1470003 h 1515279"/>
                    <a:gd name="connsiteX439" fmla="*/ 1276820 w 1551501"/>
                    <a:gd name="connsiteY439" fmla="*/ 1477247 h 1515279"/>
                    <a:gd name="connsiteX440" fmla="*/ 1276820 w 1551501"/>
                    <a:gd name="connsiteY440" fmla="*/ 1482076 h 1515279"/>
                    <a:gd name="connsiteX441" fmla="*/ 1264142 w 1551501"/>
                    <a:gd name="connsiteY441" fmla="*/ 1489925 h 1515279"/>
                    <a:gd name="connsiteX442" fmla="*/ 1262935 w 1551501"/>
                    <a:gd name="connsiteY442" fmla="*/ 1496565 h 1515279"/>
                    <a:gd name="connsiteX443" fmla="*/ 1258709 w 1551501"/>
                    <a:gd name="connsiteY443" fmla="*/ 1505017 h 1515279"/>
                    <a:gd name="connsiteX444" fmla="*/ 1249653 w 1551501"/>
                    <a:gd name="connsiteY444" fmla="*/ 1508036 h 1515279"/>
                    <a:gd name="connsiteX445" fmla="*/ 1246031 w 1551501"/>
                    <a:gd name="connsiteY445" fmla="*/ 1512261 h 1515279"/>
                    <a:gd name="connsiteX446" fmla="*/ 1237579 w 1551501"/>
                    <a:gd name="connsiteY446" fmla="*/ 1514676 h 1515279"/>
                    <a:gd name="connsiteX447" fmla="*/ 1232146 w 1551501"/>
                    <a:gd name="connsiteY447" fmla="*/ 1515884 h 1515279"/>
                    <a:gd name="connsiteX448" fmla="*/ 1227317 w 1551501"/>
                    <a:gd name="connsiteY448" fmla="*/ 1514073 h 1515279"/>
                    <a:gd name="connsiteX449" fmla="*/ 1216450 w 1551501"/>
                    <a:gd name="connsiteY449" fmla="*/ 1514676 h 1515279"/>
                    <a:gd name="connsiteX450" fmla="*/ 1209809 w 1551501"/>
                    <a:gd name="connsiteY450" fmla="*/ 1516487 h 1515279"/>
                    <a:gd name="connsiteX451" fmla="*/ 1206791 w 1551501"/>
                    <a:gd name="connsiteY451" fmla="*/ 1515280 h 1515279"/>
                    <a:gd name="connsiteX452" fmla="*/ 1204376 w 1551501"/>
                    <a:gd name="connsiteY452" fmla="*/ 1512261 h 1515279"/>
                    <a:gd name="connsiteX453" fmla="*/ 1195321 w 1551501"/>
                    <a:gd name="connsiteY453" fmla="*/ 1507432 h 1515279"/>
                    <a:gd name="connsiteX454" fmla="*/ 1191698 w 1551501"/>
                    <a:gd name="connsiteY454" fmla="*/ 1504413 h 1515279"/>
                    <a:gd name="connsiteX455" fmla="*/ 1188680 w 1551501"/>
                    <a:gd name="connsiteY455" fmla="*/ 1499584 h 1515279"/>
                    <a:gd name="connsiteX456" fmla="*/ 1182643 w 1551501"/>
                    <a:gd name="connsiteY456" fmla="*/ 1495358 h 1515279"/>
                    <a:gd name="connsiteX457" fmla="*/ 1180228 w 1551501"/>
                    <a:gd name="connsiteY457" fmla="*/ 1495962 h 1515279"/>
                    <a:gd name="connsiteX458" fmla="*/ 1178417 w 1551501"/>
                    <a:gd name="connsiteY458" fmla="*/ 1492943 h 1515279"/>
                    <a:gd name="connsiteX459" fmla="*/ 1179021 w 1551501"/>
                    <a:gd name="connsiteY459" fmla="*/ 1487510 h 1515279"/>
                    <a:gd name="connsiteX460" fmla="*/ 1167551 w 1551501"/>
                    <a:gd name="connsiteY460" fmla="*/ 1484491 h 1515279"/>
                    <a:gd name="connsiteX461" fmla="*/ 1166343 w 1551501"/>
                    <a:gd name="connsiteY461" fmla="*/ 1480265 h 1515279"/>
                    <a:gd name="connsiteX462" fmla="*/ 1169362 w 1551501"/>
                    <a:gd name="connsiteY462" fmla="*/ 1477851 h 1515279"/>
                    <a:gd name="connsiteX463" fmla="*/ 1169362 w 1551501"/>
                    <a:gd name="connsiteY463" fmla="*/ 1471210 h 1515279"/>
                    <a:gd name="connsiteX464" fmla="*/ 1163325 w 1551501"/>
                    <a:gd name="connsiteY464" fmla="*/ 1468795 h 1515279"/>
                    <a:gd name="connsiteX465" fmla="*/ 1159702 w 1551501"/>
                    <a:gd name="connsiteY465" fmla="*/ 1469399 h 1515279"/>
                    <a:gd name="connsiteX466" fmla="*/ 1157891 w 1551501"/>
                    <a:gd name="connsiteY466" fmla="*/ 1465777 h 1515279"/>
                    <a:gd name="connsiteX467" fmla="*/ 1150043 w 1551501"/>
                    <a:gd name="connsiteY467" fmla="*/ 1459740 h 1515279"/>
                    <a:gd name="connsiteX468" fmla="*/ 1148836 w 1551501"/>
                    <a:gd name="connsiteY468" fmla="*/ 1457325 h 1515279"/>
                    <a:gd name="connsiteX469" fmla="*/ 1151854 w 1551501"/>
                    <a:gd name="connsiteY469" fmla="*/ 1451892 h 1515279"/>
                    <a:gd name="connsiteX470" fmla="*/ 1155477 w 1551501"/>
                    <a:gd name="connsiteY470" fmla="*/ 1454910 h 1515279"/>
                    <a:gd name="connsiteX471" fmla="*/ 1162117 w 1551501"/>
                    <a:gd name="connsiteY471" fmla="*/ 1456118 h 1515279"/>
                    <a:gd name="connsiteX472" fmla="*/ 1162721 w 1551501"/>
                    <a:gd name="connsiteY472" fmla="*/ 1451892 h 1515279"/>
                    <a:gd name="connsiteX473" fmla="*/ 1165136 w 1551501"/>
                    <a:gd name="connsiteY473" fmla="*/ 1449477 h 1515279"/>
                    <a:gd name="connsiteX474" fmla="*/ 1163325 w 1551501"/>
                    <a:gd name="connsiteY474" fmla="*/ 1436799 h 1515279"/>
                    <a:gd name="connsiteX475" fmla="*/ 1168154 w 1551501"/>
                    <a:gd name="connsiteY475" fmla="*/ 1434385 h 1515279"/>
                    <a:gd name="connsiteX476" fmla="*/ 1168154 w 1551501"/>
                    <a:gd name="connsiteY476" fmla="*/ 1427140 h 1515279"/>
                    <a:gd name="connsiteX477" fmla="*/ 1171173 w 1551501"/>
                    <a:gd name="connsiteY477" fmla="*/ 1421707 h 1515279"/>
                    <a:gd name="connsiteX478" fmla="*/ 1169965 w 1551501"/>
                    <a:gd name="connsiteY478" fmla="*/ 1415670 h 1515279"/>
                    <a:gd name="connsiteX479" fmla="*/ 1171173 w 1551501"/>
                    <a:gd name="connsiteY479" fmla="*/ 1409029 h 1515279"/>
                    <a:gd name="connsiteX480" fmla="*/ 1170569 w 1551501"/>
                    <a:gd name="connsiteY480" fmla="*/ 1402992 h 1515279"/>
                    <a:gd name="connsiteX481" fmla="*/ 1161514 w 1551501"/>
                    <a:gd name="connsiteY481" fmla="*/ 1403596 h 1515279"/>
                    <a:gd name="connsiteX482" fmla="*/ 1159099 w 1551501"/>
                    <a:gd name="connsiteY482" fmla="*/ 1400578 h 1515279"/>
                    <a:gd name="connsiteX483" fmla="*/ 1160910 w 1551501"/>
                    <a:gd name="connsiteY483" fmla="*/ 1393333 h 1515279"/>
                    <a:gd name="connsiteX484" fmla="*/ 1163325 w 1551501"/>
                    <a:gd name="connsiteY484" fmla="*/ 1390918 h 1515279"/>
                    <a:gd name="connsiteX485" fmla="*/ 1162721 w 1551501"/>
                    <a:gd name="connsiteY485" fmla="*/ 1380052 h 1515279"/>
                    <a:gd name="connsiteX486" fmla="*/ 1165136 w 1551501"/>
                    <a:gd name="connsiteY486" fmla="*/ 1374618 h 1515279"/>
                    <a:gd name="connsiteX487" fmla="*/ 1160910 w 1551501"/>
                    <a:gd name="connsiteY487" fmla="*/ 1371600 h 1515279"/>
                    <a:gd name="connsiteX488" fmla="*/ 1160910 w 1551501"/>
                    <a:gd name="connsiteY488" fmla="*/ 1361337 h 1515279"/>
                    <a:gd name="connsiteX489" fmla="*/ 1167551 w 1551501"/>
                    <a:gd name="connsiteY489" fmla="*/ 1364959 h 1515279"/>
                    <a:gd name="connsiteX490" fmla="*/ 1178417 w 1551501"/>
                    <a:gd name="connsiteY490" fmla="*/ 1362544 h 1515279"/>
                    <a:gd name="connsiteX491" fmla="*/ 1177813 w 1551501"/>
                    <a:gd name="connsiteY491" fmla="*/ 1351678 h 1515279"/>
                    <a:gd name="connsiteX492" fmla="*/ 1171776 w 1551501"/>
                    <a:gd name="connsiteY492" fmla="*/ 1352282 h 1515279"/>
                    <a:gd name="connsiteX493" fmla="*/ 1171173 w 1551501"/>
                    <a:gd name="connsiteY493" fmla="*/ 1342019 h 1515279"/>
                    <a:gd name="connsiteX494" fmla="*/ 1163325 w 1551501"/>
                    <a:gd name="connsiteY494" fmla="*/ 1341415 h 1515279"/>
                    <a:gd name="connsiteX495" fmla="*/ 1158495 w 1551501"/>
                    <a:gd name="connsiteY495" fmla="*/ 1342019 h 1515279"/>
                    <a:gd name="connsiteX496" fmla="*/ 1156080 w 1551501"/>
                    <a:gd name="connsiteY496" fmla="*/ 1340812 h 1515279"/>
                    <a:gd name="connsiteX497" fmla="*/ 1156684 w 1551501"/>
                    <a:gd name="connsiteY497" fmla="*/ 1334775 h 1515279"/>
                    <a:gd name="connsiteX498" fmla="*/ 1150647 w 1551501"/>
                    <a:gd name="connsiteY498" fmla="*/ 1329341 h 1515279"/>
                    <a:gd name="connsiteX499" fmla="*/ 1144610 w 1551501"/>
                    <a:gd name="connsiteY499" fmla="*/ 1331756 h 1515279"/>
                    <a:gd name="connsiteX500" fmla="*/ 1134951 w 1551501"/>
                    <a:gd name="connsiteY500" fmla="*/ 1334775 h 1515279"/>
                    <a:gd name="connsiteX501" fmla="*/ 1131932 w 1551501"/>
                    <a:gd name="connsiteY501" fmla="*/ 1337189 h 1515279"/>
                    <a:gd name="connsiteX502" fmla="*/ 1122877 w 1551501"/>
                    <a:gd name="connsiteY502" fmla="*/ 1340208 h 1515279"/>
                    <a:gd name="connsiteX503" fmla="*/ 1120462 w 1551501"/>
                    <a:gd name="connsiteY503" fmla="*/ 1334171 h 1515279"/>
                    <a:gd name="connsiteX504" fmla="*/ 1113821 w 1551501"/>
                    <a:gd name="connsiteY504" fmla="*/ 1334775 h 1515279"/>
                    <a:gd name="connsiteX505" fmla="*/ 1112010 w 1551501"/>
                    <a:gd name="connsiteY505" fmla="*/ 1332963 h 1515279"/>
                    <a:gd name="connsiteX506" fmla="*/ 1105973 w 1551501"/>
                    <a:gd name="connsiteY506" fmla="*/ 1334171 h 1515279"/>
                    <a:gd name="connsiteX507" fmla="*/ 1105973 w 1551501"/>
                    <a:gd name="connsiteY507" fmla="*/ 1331152 h 1515279"/>
                    <a:gd name="connsiteX508" fmla="*/ 1102351 w 1551501"/>
                    <a:gd name="connsiteY508" fmla="*/ 1327530 h 1515279"/>
                    <a:gd name="connsiteX509" fmla="*/ 1099936 w 1551501"/>
                    <a:gd name="connsiteY509" fmla="*/ 1328134 h 1515279"/>
                    <a:gd name="connsiteX510" fmla="*/ 1096314 w 1551501"/>
                    <a:gd name="connsiteY510" fmla="*/ 1332963 h 1515279"/>
                    <a:gd name="connsiteX511" fmla="*/ 1098125 w 1551501"/>
                    <a:gd name="connsiteY511" fmla="*/ 1338397 h 1515279"/>
                    <a:gd name="connsiteX512" fmla="*/ 1096918 w 1551501"/>
                    <a:gd name="connsiteY512" fmla="*/ 1343830 h 1515279"/>
                    <a:gd name="connsiteX513" fmla="*/ 1098125 w 1551501"/>
                    <a:gd name="connsiteY513" fmla="*/ 1352282 h 1515279"/>
                    <a:gd name="connsiteX514" fmla="*/ 1087862 w 1551501"/>
                    <a:gd name="connsiteY514" fmla="*/ 1351074 h 1515279"/>
                    <a:gd name="connsiteX515" fmla="*/ 1084844 w 1551501"/>
                    <a:gd name="connsiteY515" fmla="*/ 1347452 h 1515279"/>
                    <a:gd name="connsiteX516" fmla="*/ 1081222 w 1551501"/>
                    <a:gd name="connsiteY516" fmla="*/ 1346245 h 1515279"/>
                    <a:gd name="connsiteX517" fmla="*/ 1076996 w 1551501"/>
                    <a:gd name="connsiteY517" fmla="*/ 1348660 h 1515279"/>
                    <a:gd name="connsiteX518" fmla="*/ 1075185 w 1551501"/>
                    <a:gd name="connsiteY518" fmla="*/ 1345641 h 1515279"/>
                    <a:gd name="connsiteX519" fmla="*/ 1073978 w 1551501"/>
                    <a:gd name="connsiteY519" fmla="*/ 1337189 h 1515279"/>
                    <a:gd name="connsiteX520" fmla="*/ 1069148 w 1551501"/>
                    <a:gd name="connsiteY520" fmla="*/ 1332963 h 1515279"/>
                    <a:gd name="connsiteX521" fmla="*/ 1060696 w 1551501"/>
                    <a:gd name="connsiteY521" fmla="*/ 1334775 h 1515279"/>
                    <a:gd name="connsiteX522" fmla="*/ 1060696 w 1551501"/>
                    <a:gd name="connsiteY522" fmla="*/ 1331152 h 1515279"/>
                    <a:gd name="connsiteX523" fmla="*/ 1063715 w 1551501"/>
                    <a:gd name="connsiteY523" fmla="*/ 1328738 h 1515279"/>
                    <a:gd name="connsiteX524" fmla="*/ 1062507 w 1551501"/>
                    <a:gd name="connsiteY524" fmla="*/ 1316664 h 1515279"/>
                    <a:gd name="connsiteX525" fmla="*/ 1060696 w 1551501"/>
                    <a:gd name="connsiteY525" fmla="*/ 1314249 h 1515279"/>
                    <a:gd name="connsiteX526" fmla="*/ 1054055 w 1551501"/>
                    <a:gd name="connsiteY526" fmla="*/ 1314852 h 1515279"/>
                    <a:gd name="connsiteX527" fmla="*/ 1056470 w 1551501"/>
                    <a:gd name="connsiteY527" fmla="*/ 1307004 h 1515279"/>
                    <a:gd name="connsiteX528" fmla="*/ 1049226 w 1551501"/>
                    <a:gd name="connsiteY528" fmla="*/ 1306401 h 1515279"/>
                    <a:gd name="connsiteX529" fmla="*/ 1046207 w 1551501"/>
                    <a:gd name="connsiteY529" fmla="*/ 1308212 h 1515279"/>
                    <a:gd name="connsiteX530" fmla="*/ 1040774 w 1551501"/>
                    <a:gd name="connsiteY530" fmla="*/ 1305193 h 1515279"/>
                    <a:gd name="connsiteX531" fmla="*/ 1036548 w 1551501"/>
                    <a:gd name="connsiteY531" fmla="*/ 1308212 h 1515279"/>
                    <a:gd name="connsiteX532" fmla="*/ 1034133 w 1551501"/>
                    <a:gd name="connsiteY532" fmla="*/ 1303986 h 1515279"/>
                    <a:gd name="connsiteX533" fmla="*/ 1030511 w 1551501"/>
                    <a:gd name="connsiteY533" fmla="*/ 1301571 h 1515279"/>
                    <a:gd name="connsiteX534" fmla="*/ 1026889 w 1551501"/>
                    <a:gd name="connsiteY534" fmla="*/ 1300967 h 1515279"/>
                    <a:gd name="connsiteX535" fmla="*/ 1018437 w 1551501"/>
                    <a:gd name="connsiteY535" fmla="*/ 1296138 h 1515279"/>
                    <a:gd name="connsiteX536" fmla="*/ 1014211 w 1551501"/>
                    <a:gd name="connsiteY536" fmla="*/ 1294931 h 1515279"/>
                    <a:gd name="connsiteX537" fmla="*/ 1006363 w 1551501"/>
                    <a:gd name="connsiteY537" fmla="*/ 1296742 h 1515279"/>
                    <a:gd name="connsiteX538" fmla="*/ 1005760 w 1551501"/>
                    <a:gd name="connsiteY538" fmla="*/ 1299156 h 1515279"/>
                    <a:gd name="connsiteX539" fmla="*/ 998515 w 1551501"/>
                    <a:gd name="connsiteY539" fmla="*/ 1292516 h 1515279"/>
                    <a:gd name="connsiteX540" fmla="*/ 998515 w 1551501"/>
                    <a:gd name="connsiteY540" fmla="*/ 1289497 h 1515279"/>
                    <a:gd name="connsiteX541" fmla="*/ 993686 w 1551501"/>
                    <a:gd name="connsiteY541" fmla="*/ 1287082 h 1515279"/>
                    <a:gd name="connsiteX542" fmla="*/ 992478 w 1551501"/>
                    <a:gd name="connsiteY542" fmla="*/ 1282253 h 1515279"/>
                    <a:gd name="connsiteX543" fmla="*/ 994893 w 1551501"/>
                    <a:gd name="connsiteY543" fmla="*/ 1279234 h 1515279"/>
                    <a:gd name="connsiteX544" fmla="*/ 993686 w 1551501"/>
                    <a:gd name="connsiteY544" fmla="*/ 1273801 h 1515279"/>
                    <a:gd name="connsiteX545" fmla="*/ 993082 w 1551501"/>
                    <a:gd name="connsiteY545" fmla="*/ 1264746 h 1515279"/>
                    <a:gd name="connsiteX546" fmla="*/ 987649 w 1551501"/>
                    <a:gd name="connsiteY546" fmla="*/ 1260520 h 1515279"/>
                    <a:gd name="connsiteX547" fmla="*/ 981612 w 1551501"/>
                    <a:gd name="connsiteY547" fmla="*/ 1259312 h 1515279"/>
                    <a:gd name="connsiteX548" fmla="*/ 978593 w 1551501"/>
                    <a:gd name="connsiteY548" fmla="*/ 1256294 h 1515279"/>
                    <a:gd name="connsiteX549" fmla="*/ 970745 w 1551501"/>
                    <a:gd name="connsiteY549" fmla="*/ 1258709 h 1515279"/>
                    <a:gd name="connsiteX550" fmla="*/ 955049 w 1551501"/>
                    <a:gd name="connsiteY550" fmla="*/ 1249049 h 1515279"/>
                    <a:gd name="connsiteX551" fmla="*/ 952634 w 1551501"/>
                    <a:gd name="connsiteY551" fmla="*/ 1252068 h 1515279"/>
                    <a:gd name="connsiteX552" fmla="*/ 947805 w 1551501"/>
                    <a:gd name="connsiteY552" fmla="*/ 1250861 h 1515279"/>
                    <a:gd name="connsiteX553" fmla="*/ 947201 w 1551501"/>
                    <a:gd name="connsiteY553" fmla="*/ 1246031 h 1515279"/>
                    <a:gd name="connsiteX554" fmla="*/ 940560 w 1551501"/>
                    <a:gd name="connsiteY554" fmla="*/ 1243616 h 1515279"/>
                    <a:gd name="connsiteX555" fmla="*/ 935731 w 1551501"/>
                    <a:gd name="connsiteY555" fmla="*/ 1247842 h 1515279"/>
                    <a:gd name="connsiteX556" fmla="*/ 929694 w 1551501"/>
                    <a:gd name="connsiteY556" fmla="*/ 1243616 h 1515279"/>
                    <a:gd name="connsiteX557" fmla="*/ 937542 w 1551501"/>
                    <a:gd name="connsiteY557" fmla="*/ 1237579 h 1515279"/>
                    <a:gd name="connsiteX558" fmla="*/ 934523 w 1551501"/>
                    <a:gd name="connsiteY558" fmla="*/ 1232750 h 1515279"/>
                    <a:gd name="connsiteX559" fmla="*/ 929090 w 1551501"/>
                    <a:gd name="connsiteY559" fmla="*/ 1232750 h 1515279"/>
                    <a:gd name="connsiteX560" fmla="*/ 929694 w 1551501"/>
                    <a:gd name="connsiteY560" fmla="*/ 1229731 h 1515279"/>
                    <a:gd name="connsiteX561" fmla="*/ 935127 w 1551501"/>
                    <a:gd name="connsiteY561" fmla="*/ 1225505 h 1515279"/>
                    <a:gd name="connsiteX562" fmla="*/ 932109 w 1551501"/>
                    <a:gd name="connsiteY562" fmla="*/ 1223091 h 1515279"/>
                    <a:gd name="connsiteX563" fmla="*/ 927279 w 1551501"/>
                    <a:gd name="connsiteY563" fmla="*/ 1222487 h 1515279"/>
                    <a:gd name="connsiteX564" fmla="*/ 928486 w 1551501"/>
                    <a:gd name="connsiteY564" fmla="*/ 1218865 h 1515279"/>
                    <a:gd name="connsiteX565" fmla="*/ 924260 w 1551501"/>
                    <a:gd name="connsiteY565" fmla="*/ 1216450 h 1515279"/>
                    <a:gd name="connsiteX566" fmla="*/ 917016 w 1551501"/>
                    <a:gd name="connsiteY566" fmla="*/ 1218865 h 1515279"/>
                    <a:gd name="connsiteX567" fmla="*/ 912790 w 1551501"/>
                    <a:gd name="connsiteY567" fmla="*/ 1218261 h 1515279"/>
                    <a:gd name="connsiteX568" fmla="*/ 912790 w 1551501"/>
                    <a:gd name="connsiteY568" fmla="*/ 1221279 h 1515279"/>
                    <a:gd name="connsiteX569" fmla="*/ 915809 w 1551501"/>
                    <a:gd name="connsiteY569" fmla="*/ 1223091 h 1515279"/>
                    <a:gd name="connsiteX570" fmla="*/ 913998 w 1551501"/>
                    <a:gd name="connsiteY570" fmla="*/ 1226109 h 1515279"/>
                    <a:gd name="connsiteX571" fmla="*/ 908564 w 1551501"/>
                    <a:gd name="connsiteY571" fmla="*/ 1227316 h 1515279"/>
                    <a:gd name="connsiteX572" fmla="*/ 905546 w 1551501"/>
                    <a:gd name="connsiteY572" fmla="*/ 1229128 h 1515279"/>
                    <a:gd name="connsiteX573" fmla="*/ 905546 w 1551501"/>
                    <a:gd name="connsiteY573" fmla="*/ 1233353 h 1515279"/>
                    <a:gd name="connsiteX574" fmla="*/ 909168 w 1551501"/>
                    <a:gd name="connsiteY574" fmla="*/ 1235768 h 1515279"/>
                    <a:gd name="connsiteX575" fmla="*/ 909168 w 1551501"/>
                    <a:gd name="connsiteY575" fmla="*/ 1242409 h 1515279"/>
                    <a:gd name="connsiteX576" fmla="*/ 907357 w 1551501"/>
                    <a:gd name="connsiteY576" fmla="*/ 1243616 h 1515279"/>
                    <a:gd name="connsiteX577" fmla="*/ 897094 w 1551501"/>
                    <a:gd name="connsiteY577" fmla="*/ 1238787 h 1515279"/>
                    <a:gd name="connsiteX578" fmla="*/ 897698 w 1551501"/>
                    <a:gd name="connsiteY578" fmla="*/ 1235165 h 1515279"/>
                    <a:gd name="connsiteX579" fmla="*/ 895283 w 1551501"/>
                    <a:gd name="connsiteY579" fmla="*/ 1230335 h 1515279"/>
                    <a:gd name="connsiteX580" fmla="*/ 887435 w 1551501"/>
                    <a:gd name="connsiteY580" fmla="*/ 1232750 h 1515279"/>
                    <a:gd name="connsiteX581" fmla="*/ 882605 w 1551501"/>
                    <a:gd name="connsiteY581" fmla="*/ 1227920 h 1515279"/>
                    <a:gd name="connsiteX582" fmla="*/ 879587 w 1551501"/>
                    <a:gd name="connsiteY582" fmla="*/ 1223091 h 1515279"/>
                    <a:gd name="connsiteX583" fmla="*/ 875361 w 1551501"/>
                    <a:gd name="connsiteY583" fmla="*/ 1221883 h 1515279"/>
                    <a:gd name="connsiteX584" fmla="*/ 862683 w 1551501"/>
                    <a:gd name="connsiteY584" fmla="*/ 1223091 h 1515279"/>
                    <a:gd name="connsiteX585" fmla="*/ 863891 w 1551501"/>
                    <a:gd name="connsiteY585" fmla="*/ 1226109 h 1515279"/>
                    <a:gd name="connsiteX586" fmla="*/ 860872 w 1551501"/>
                    <a:gd name="connsiteY586" fmla="*/ 1228524 h 1515279"/>
                    <a:gd name="connsiteX587" fmla="*/ 860269 w 1551501"/>
                    <a:gd name="connsiteY587" fmla="*/ 1234561 h 1515279"/>
                    <a:gd name="connsiteX588" fmla="*/ 857854 w 1551501"/>
                    <a:gd name="connsiteY588" fmla="*/ 1236976 h 1515279"/>
                    <a:gd name="connsiteX589" fmla="*/ 860872 w 1551501"/>
                    <a:gd name="connsiteY589" fmla="*/ 1241202 h 1515279"/>
                    <a:gd name="connsiteX590" fmla="*/ 861476 w 1551501"/>
                    <a:gd name="connsiteY590" fmla="*/ 1245427 h 1515279"/>
                    <a:gd name="connsiteX591" fmla="*/ 858458 w 1551501"/>
                    <a:gd name="connsiteY591" fmla="*/ 1251464 h 1515279"/>
                    <a:gd name="connsiteX592" fmla="*/ 853024 w 1551501"/>
                    <a:gd name="connsiteY592" fmla="*/ 1259312 h 1515279"/>
                    <a:gd name="connsiteX593" fmla="*/ 848798 w 1551501"/>
                    <a:gd name="connsiteY593" fmla="*/ 1261727 h 1515279"/>
                    <a:gd name="connsiteX594" fmla="*/ 851213 w 1551501"/>
                    <a:gd name="connsiteY594" fmla="*/ 1265953 h 1515279"/>
                    <a:gd name="connsiteX595" fmla="*/ 848798 w 1551501"/>
                    <a:gd name="connsiteY595" fmla="*/ 1267764 h 1515279"/>
                    <a:gd name="connsiteX596" fmla="*/ 850006 w 1551501"/>
                    <a:gd name="connsiteY596" fmla="*/ 1275008 h 1515279"/>
                    <a:gd name="connsiteX597" fmla="*/ 840347 w 1551501"/>
                    <a:gd name="connsiteY597" fmla="*/ 1270179 h 1515279"/>
                    <a:gd name="connsiteX598" fmla="*/ 839139 w 1551501"/>
                    <a:gd name="connsiteY598" fmla="*/ 1276216 h 1515279"/>
                    <a:gd name="connsiteX599" fmla="*/ 836121 w 1551501"/>
                    <a:gd name="connsiteY599" fmla="*/ 1279838 h 1515279"/>
                    <a:gd name="connsiteX600" fmla="*/ 833706 w 1551501"/>
                    <a:gd name="connsiteY600" fmla="*/ 1285271 h 1515279"/>
                    <a:gd name="connsiteX601" fmla="*/ 825858 w 1551501"/>
                    <a:gd name="connsiteY601" fmla="*/ 1278027 h 1515279"/>
                    <a:gd name="connsiteX602" fmla="*/ 822839 w 1551501"/>
                    <a:gd name="connsiteY602" fmla="*/ 1271990 h 1515279"/>
                    <a:gd name="connsiteX603" fmla="*/ 812576 w 1551501"/>
                    <a:gd name="connsiteY603" fmla="*/ 1271386 h 1515279"/>
                    <a:gd name="connsiteX604" fmla="*/ 807143 w 1551501"/>
                    <a:gd name="connsiteY604" fmla="*/ 1274405 h 1515279"/>
                    <a:gd name="connsiteX605" fmla="*/ 797484 w 1551501"/>
                    <a:gd name="connsiteY605" fmla="*/ 1274405 h 1515279"/>
                    <a:gd name="connsiteX606" fmla="*/ 794466 w 1551501"/>
                    <a:gd name="connsiteY606" fmla="*/ 1267160 h 1515279"/>
                    <a:gd name="connsiteX607" fmla="*/ 786014 w 1551501"/>
                    <a:gd name="connsiteY607" fmla="*/ 1270783 h 1515279"/>
                    <a:gd name="connsiteX608" fmla="*/ 784203 w 1551501"/>
                    <a:gd name="connsiteY608" fmla="*/ 1272594 h 1515279"/>
                    <a:gd name="connsiteX609" fmla="*/ 777562 w 1551501"/>
                    <a:gd name="connsiteY609" fmla="*/ 1275612 h 1515279"/>
                    <a:gd name="connsiteX610" fmla="*/ 770318 w 1551501"/>
                    <a:gd name="connsiteY610" fmla="*/ 1275612 h 1515279"/>
                    <a:gd name="connsiteX611" fmla="*/ 766695 w 1551501"/>
                    <a:gd name="connsiteY611" fmla="*/ 1273801 h 1515279"/>
                    <a:gd name="connsiteX612" fmla="*/ 766092 w 1551501"/>
                    <a:gd name="connsiteY612" fmla="*/ 1266557 h 1515279"/>
                    <a:gd name="connsiteX613" fmla="*/ 769714 w 1551501"/>
                    <a:gd name="connsiteY613" fmla="*/ 1267160 h 1515279"/>
                    <a:gd name="connsiteX614" fmla="*/ 776355 w 1551501"/>
                    <a:gd name="connsiteY614" fmla="*/ 1259916 h 1515279"/>
                    <a:gd name="connsiteX615" fmla="*/ 772129 w 1551501"/>
                    <a:gd name="connsiteY615" fmla="*/ 1253879 h 1515279"/>
                    <a:gd name="connsiteX616" fmla="*/ 774544 w 1551501"/>
                    <a:gd name="connsiteY616" fmla="*/ 1249049 h 1515279"/>
                    <a:gd name="connsiteX617" fmla="*/ 780581 w 1551501"/>
                    <a:gd name="connsiteY617" fmla="*/ 1244824 h 1515279"/>
                    <a:gd name="connsiteX618" fmla="*/ 779373 w 1551501"/>
                    <a:gd name="connsiteY618" fmla="*/ 1240598 h 1515279"/>
                    <a:gd name="connsiteX619" fmla="*/ 781184 w 1551501"/>
                    <a:gd name="connsiteY619" fmla="*/ 1237579 h 1515279"/>
                    <a:gd name="connsiteX620" fmla="*/ 779373 w 1551501"/>
                    <a:gd name="connsiteY620" fmla="*/ 1232750 h 1515279"/>
                    <a:gd name="connsiteX621" fmla="*/ 783599 w 1551501"/>
                    <a:gd name="connsiteY621" fmla="*/ 1229128 h 1515279"/>
                    <a:gd name="connsiteX622" fmla="*/ 787825 w 1551501"/>
                    <a:gd name="connsiteY622" fmla="*/ 1223694 h 1515279"/>
                    <a:gd name="connsiteX623" fmla="*/ 780581 w 1551501"/>
                    <a:gd name="connsiteY623" fmla="*/ 1218261 h 1515279"/>
                    <a:gd name="connsiteX624" fmla="*/ 773336 w 1551501"/>
                    <a:gd name="connsiteY624" fmla="*/ 1217054 h 1515279"/>
                    <a:gd name="connsiteX625" fmla="*/ 774544 w 1551501"/>
                    <a:gd name="connsiteY625" fmla="*/ 1222487 h 1515279"/>
                    <a:gd name="connsiteX626" fmla="*/ 772732 w 1551501"/>
                    <a:gd name="connsiteY626" fmla="*/ 1228524 h 1515279"/>
                    <a:gd name="connsiteX627" fmla="*/ 769714 w 1551501"/>
                    <a:gd name="connsiteY627" fmla="*/ 1230939 h 1515279"/>
                    <a:gd name="connsiteX628" fmla="*/ 766092 w 1551501"/>
                    <a:gd name="connsiteY628" fmla="*/ 1227316 h 1515279"/>
                    <a:gd name="connsiteX629" fmla="*/ 762470 w 1551501"/>
                    <a:gd name="connsiteY629" fmla="*/ 1229731 h 1515279"/>
                    <a:gd name="connsiteX630" fmla="*/ 755829 w 1551501"/>
                    <a:gd name="connsiteY630" fmla="*/ 1228524 h 1515279"/>
                    <a:gd name="connsiteX631" fmla="*/ 749188 w 1551501"/>
                    <a:gd name="connsiteY631" fmla="*/ 1231542 h 1515279"/>
                    <a:gd name="connsiteX632" fmla="*/ 749188 w 1551501"/>
                    <a:gd name="connsiteY632" fmla="*/ 1236976 h 1515279"/>
                    <a:gd name="connsiteX633" fmla="*/ 754622 w 1551501"/>
                    <a:gd name="connsiteY633" fmla="*/ 1238183 h 1515279"/>
                    <a:gd name="connsiteX634" fmla="*/ 761262 w 1551501"/>
                    <a:gd name="connsiteY634" fmla="*/ 1241805 h 1515279"/>
                    <a:gd name="connsiteX635" fmla="*/ 761262 w 1551501"/>
                    <a:gd name="connsiteY635" fmla="*/ 1246635 h 1515279"/>
                    <a:gd name="connsiteX636" fmla="*/ 752207 w 1551501"/>
                    <a:gd name="connsiteY636" fmla="*/ 1246635 h 1515279"/>
                    <a:gd name="connsiteX637" fmla="*/ 750999 w 1551501"/>
                    <a:gd name="connsiteY637" fmla="*/ 1244824 h 1515279"/>
                    <a:gd name="connsiteX638" fmla="*/ 740133 w 1551501"/>
                    <a:gd name="connsiteY638" fmla="*/ 1248446 h 1515279"/>
                    <a:gd name="connsiteX639" fmla="*/ 741340 w 1551501"/>
                    <a:gd name="connsiteY639" fmla="*/ 1242409 h 1515279"/>
                    <a:gd name="connsiteX640" fmla="*/ 735907 w 1551501"/>
                    <a:gd name="connsiteY640" fmla="*/ 1243616 h 1515279"/>
                    <a:gd name="connsiteX641" fmla="*/ 733492 w 1551501"/>
                    <a:gd name="connsiteY641" fmla="*/ 1239994 h 1515279"/>
                    <a:gd name="connsiteX642" fmla="*/ 726852 w 1551501"/>
                    <a:gd name="connsiteY642" fmla="*/ 1238183 h 1515279"/>
                    <a:gd name="connsiteX643" fmla="*/ 729266 w 1551501"/>
                    <a:gd name="connsiteY643" fmla="*/ 1233353 h 1515279"/>
                    <a:gd name="connsiteX644" fmla="*/ 723833 w 1551501"/>
                    <a:gd name="connsiteY644" fmla="*/ 1225505 h 1515279"/>
                    <a:gd name="connsiteX645" fmla="*/ 722626 w 1551501"/>
                    <a:gd name="connsiteY645" fmla="*/ 1236372 h 1515279"/>
                    <a:gd name="connsiteX646" fmla="*/ 726248 w 1551501"/>
                    <a:gd name="connsiteY646" fmla="*/ 1243616 h 1515279"/>
                    <a:gd name="connsiteX647" fmla="*/ 720211 w 1551501"/>
                    <a:gd name="connsiteY647" fmla="*/ 1240598 h 1515279"/>
                    <a:gd name="connsiteX648" fmla="*/ 712966 w 1551501"/>
                    <a:gd name="connsiteY648" fmla="*/ 1245427 h 1515279"/>
                    <a:gd name="connsiteX649" fmla="*/ 708137 w 1551501"/>
                    <a:gd name="connsiteY649" fmla="*/ 1242409 h 1515279"/>
                    <a:gd name="connsiteX650" fmla="*/ 706326 w 1551501"/>
                    <a:gd name="connsiteY650" fmla="*/ 1238183 h 1515279"/>
                    <a:gd name="connsiteX651" fmla="*/ 701496 w 1551501"/>
                    <a:gd name="connsiteY651" fmla="*/ 1239994 h 1515279"/>
                    <a:gd name="connsiteX652" fmla="*/ 704515 w 1551501"/>
                    <a:gd name="connsiteY652" fmla="*/ 1246635 h 1515279"/>
                    <a:gd name="connsiteX653" fmla="*/ 697874 w 1551501"/>
                    <a:gd name="connsiteY653" fmla="*/ 1250861 h 1515279"/>
                    <a:gd name="connsiteX654" fmla="*/ 696063 w 1551501"/>
                    <a:gd name="connsiteY654" fmla="*/ 1244824 h 1515279"/>
                    <a:gd name="connsiteX655" fmla="*/ 691837 w 1551501"/>
                    <a:gd name="connsiteY655" fmla="*/ 1242409 h 1515279"/>
                    <a:gd name="connsiteX656" fmla="*/ 688215 w 1551501"/>
                    <a:gd name="connsiteY656" fmla="*/ 1244824 h 1515279"/>
                    <a:gd name="connsiteX657" fmla="*/ 682178 w 1551501"/>
                    <a:gd name="connsiteY657" fmla="*/ 1244824 h 1515279"/>
                    <a:gd name="connsiteX658" fmla="*/ 679159 w 1551501"/>
                    <a:gd name="connsiteY658" fmla="*/ 1248446 h 1515279"/>
                    <a:gd name="connsiteX659" fmla="*/ 679763 w 1551501"/>
                    <a:gd name="connsiteY659" fmla="*/ 1258709 h 1515279"/>
                    <a:gd name="connsiteX660" fmla="*/ 676745 w 1551501"/>
                    <a:gd name="connsiteY660" fmla="*/ 1255086 h 1515279"/>
                    <a:gd name="connsiteX661" fmla="*/ 668293 w 1551501"/>
                    <a:gd name="connsiteY661" fmla="*/ 1259916 h 1515279"/>
                    <a:gd name="connsiteX662" fmla="*/ 665878 w 1551501"/>
                    <a:gd name="connsiteY662" fmla="*/ 1259916 h 1515279"/>
                    <a:gd name="connsiteX663" fmla="*/ 661048 w 1551501"/>
                    <a:gd name="connsiteY663" fmla="*/ 1256294 h 1515279"/>
                    <a:gd name="connsiteX664" fmla="*/ 656219 w 1551501"/>
                    <a:gd name="connsiteY664" fmla="*/ 1253879 h 1515279"/>
                    <a:gd name="connsiteX665" fmla="*/ 659237 w 1551501"/>
                    <a:gd name="connsiteY665" fmla="*/ 1246635 h 1515279"/>
                    <a:gd name="connsiteX666" fmla="*/ 664067 w 1551501"/>
                    <a:gd name="connsiteY666" fmla="*/ 1243616 h 1515279"/>
                    <a:gd name="connsiteX667" fmla="*/ 667689 w 1551501"/>
                    <a:gd name="connsiteY667" fmla="*/ 1236372 h 1515279"/>
                    <a:gd name="connsiteX668" fmla="*/ 672519 w 1551501"/>
                    <a:gd name="connsiteY668" fmla="*/ 1231542 h 1515279"/>
                    <a:gd name="connsiteX669" fmla="*/ 673122 w 1551501"/>
                    <a:gd name="connsiteY669" fmla="*/ 1229128 h 1515279"/>
                    <a:gd name="connsiteX670" fmla="*/ 680971 w 1551501"/>
                    <a:gd name="connsiteY670" fmla="*/ 1223694 h 1515279"/>
                    <a:gd name="connsiteX671" fmla="*/ 687008 w 1551501"/>
                    <a:gd name="connsiteY671" fmla="*/ 1223091 h 1515279"/>
                    <a:gd name="connsiteX672" fmla="*/ 688819 w 1551501"/>
                    <a:gd name="connsiteY672" fmla="*/ 1221279 h 1515279"/>
                    <a:gd name="connsiteX673" fmla="*/ 683989 w 1551501"/>
                    <a:gd name="connsiteY673" fmla="*/ 1210413 h 1515279"/>
                    <a:gd name="connsiteX674" fmla="*/ 683385 w 1551501"/>
                    <a:gd name="connsiteY674" fmla="*/ 1205583 h 1515279"/>
                    <a:gd name="connsiteX675" fmla="*/ 679159 w 1551501"/>
                    <a:gd name="connsiteY675" fmla="*/ 1206791 h 1515279"/>
                    <a:gd name="connsiteX676" fmla="*/ 674934 w 1551501"/>
                    <a:gd name="connsiteY676" fmla="*/ 1203772 h 1515279"/>
                    <a:gd name="connsiteX677" fmla="*/ 671311 w 1551501"/>
                    <a:gd name="connsiteY677" fmla="*/ 1197735 h 1515279"/>
                    <a:gd name="connsiteX678" fmla="*/ 665274 w 1551501"/>
                    <a:gd name="connsiteY678" fmla="*/ 1196528 h 1515279"/>
                    <a:gd name="connsiteX679" fmla="*/ 663463 w 1551501"/>
                    <a:gd name="connsiteY679" fmla="*/ 1193509 h 1515279"/>
                    <a:gd name="connsiteX680" fmla="*/ 665274 w 1551501"/>
                    <a:gd name="connsiteY680" fmla="*/ 1189887 h 1515279"/>
                    <a:gd name="connsiteX681" fmla="*/ 665274 w 1551501"/>
                    <a:gd name="connsiteY681" fmla="*/ 1185058 h 1515279"/>
                    <a:gd name="connsiteX682" fmla="*/ 663463 w 1551501"/>
                    <a:gd name="connsiteY682" fmla="*/ 1179021 h 1515279"/>
                    <a:gd name="connsiteX683" fmla="*/ 665878 w 1551501"/>
                    <a:gd name="connsiteY683" fmla="*/ 1176002 h 1515279"/>
                    <a:gd name="connsiteX684" fmla="*/ 664671 w 1551501"/>
                    <a:gd name="connsiteY684" fmla="*/ 1171776 h 1515279"/>
                    <a:gd name="connsiteX685" fmla="*/ 657426 w 1551501"/>
                    <a:gd name="connsiteY685" fmla="*/ 1163928 h 1515279"/>
                    <a:gd name="connsiteX686" fmla="*/ 653804 w 1551501"/>
                    <a:gd name="connsiteY686" fmla="*/ 1163324 h 1515279"/>
                    <a:gd name="connsiteX687" fmla="*/ 651993 w 1551501"/>
                    <a:gd name="connsiteY687" fmla="*/ 1168758 h 1515279"/>
                    <a:gd name="connsiteX688" fmla="*/ 648371 w 1551501"/>
                    <a:gd name="connsiteY688" fmla="*/ 1167550 h 1515279"/>
                    <a:gd name="connsiteX689" fmla="*/ 645352 w 1551501"/>
                    <a:gd name="connsiteY689" fmla="*/ 1168758 h 1515279"/>
                    <a:gd name="connsiteX690" fmla="*/ 639919 w 1551501"/>
                    <a:gd name="connsiteY690" fmla="*/ 1168154 h 1515279"/>
                    <a:gd name="connsiteX691" fmla="*/ 639919 w 1551501"/>
                    <a:gd name="connsiteY691" fmla="*/ 1173587 h 1515279"/>
                    <a:gd name="connsiteX692" fmla="*/ 633882 w 1551501"/>
                    <a:gd name="connsiteY692" fmla="*/ 1174795 h 1515279"/>
                    <a:gd name="connsiteX693" fmla="*/ 633882 w 1551501"/>
                    <a:gd name="connsiteY693" fmla="*/ 1177210 h 1515279"/>
                    <a:gd name="connsiteX694" fmla="*/ 629656 w 1551501"/>
                    <a:gd name="connsiteY694" fmla="*/ 1179624 h 1515279"/>
                    <a:gd name="connsiteX695" fmla="*/ 627242 w 1551501"/>
                    <a:gd name="connsiteY695" fmla="*/ 1183247 h 1515279"/>
                    <a:gd name="connsiteX696" fmla="*/ 618186 w 1551501"/>
                    <a:gd name="connsiteY696" fmla="*/ 1179624 h 1515279"/>
                    <a:gd name="connsiteX697" fmla="*/ 615771 w 1551501"/>
                    <a:gd name="connsiteY697" fmla="*/ 1182643 h 1515279"/>
                    <a:gd name="connsiteX698" fmla="*/ 605508 w 1551501"/>
                    <a:gd name="connsiteY698" fmla="*/ 1182643 h 1515279"/>
                    <a:gd name="connsiteX699" fmla="*/ 603094 w 1551501"/>
                    <a:gd name="connsiteY699" fmla="*/ 1186869 h 1515279"/>
                    <a:gd name="connsiteX700" fmla="*/ 603697 w 1551501"/>
                    <a:gd name="connsiteY700" fmla="*/ 1192302 h 1515279"/>
                    <a:gd name="connsiteX701" fmla="*/ 600075 w 1551501"/>
                    <a:gd name="connsiteY701" fmla="*/ 1195320 h 1515279"/>
                    <a:gd name="connsiteX702" fmla="*/ 600679 w 1551501"/>
                    <a:gd name="connsiteY702" fmla="*/ 1199546 h 1515279"/>
                    <a:gd name="connsiteX703" fmla="*/ 590416 w 1551501"/>
                    <a:gd name="connsiteY703" fmla="*/ 1200754 h 1515279"/>
                    <a:gd name="connsiteX704" fmla="*/ 584983 w 1551501"/>
                    <a:gd name="connsiteY704" fmla="*/ 1203772 h 1515279"/>
                    <a:gd name="connsiteX705" fmla="*/ 578946 w 1551501"/>
                    <a:gd name="connsiteY705" fmla="*/ 1204980 h 1515279"/>
                    <a:gd name="connsiteX706" fmla="*/ 574720 w 1551501"/>
                    <a:gd name="connsiteY706" fmla="*/ 1203168 h 1515279"/>
                    <a:gd name="connsiteX707" fmla="*/ 569287 w 1551501"/>
                    <a:gd name="connsiteY707" fmla="*/ 1206791 h 1515279"/>
                    <a:gd name="connsiteX708" fmla="*/ 572909 w 1551501"/>
                    <a:gd name="connsiteY708" fmla="*/ 1211017 h 1515279"/>
                    <a:gd name="connsiteX709" fmla="*/ 570494 w 1551501"/>
                    <a:gd name="connsiteY709" fmla="*/ 1214639 h 1515279"/>
                    <a:gd name="connsiteX710" fmla="*/ 572909 w 1551501"/>
                    <a:gd name="connsiteY710" fmla="*/ 1220676 h 1515279"/>
                    <a:gd name="connsiteX711" fmla="*/ 572305 w 1551501"/>
                    <a:gd name="connsiteY711" fmla="*/ 1225505 h 1515279"/>
                    <a:gd name="connsiteX712" fmla="*/ 568683 w 1551501"/>
                    <a:gd name="connsiteY712" fmla="*/ 1234561 h 1515279"/>
                    <a:gd name="connsiteX713" fmla="*/ 571701 w 1551501"/>
                    <a:gd name="connsiteY713" fmla="*/ 1238787 h 1515279"/>
                    <a:gd name="connsiteX714" fmla="*/ 565664 w 1551501"/>
                    <a:gd name="connsiteY714" fmla="*/ 1238183 h 1515279"/>
                    <a:gd name="connsiteX715" fmla="*/ 553590 w 1551501"/>
                    <a:gd name="connsiteY715" fmla="*/ 1232146 h 1515279"/>
                    <a:gd name="connsiteX716" fmla="*/ 547553 w 1551501"/>
                    <a:gd name="connsiteY716" fmla="*/ 1228524 h 1515279"/>
                    <a:gd name="connsiteX717" fmla="*/ 540913 w 1551501"/>
                    <a:gd name="connsiteY717" fmla="*/ 1230335 h 1515279"/>
                    <a:gd name="connsiteX718" fmla="*/ 534272 w 1551501"/>
                    <a:gd name="connsiteY718" fmla="*/ 1229731 h 1515279"/>
                    <a:gd name="connsiteX719" fmla="*/ 532461 w 1551501"/>
                    <a:gd name="connsiteY719" fmla="*/ 1232146 h 1515279"/>
                    <a:gd name="connsiteX720" fmla="*/ 525217 w 1551501"/>
                    <a:gd name="connsiteY720" fmla="*/ 1230939 h 1515279"/>
                    <a:gd name="connsiteX721" fmla="*/ 522802 w 1551501"/>
                    <a:gd name="connsiteY721" fmla="*/ 1228524 h 1515279"/>
                    <a:gd name="connsiteX722" fmla="*/ 518576 w 1551501"/>
                    <a:gd name="connsiteY722" fmla="*/ 1227920 h 1515279"/>
                    <a:gd name="connsiteX723" fmla="*/ 513143 w 1551501"/>
                    <a:gd name="connsiteY723" fmla="*/ 1224902 h 1515279"/>
                    <a:gd name="connsiteX724" fmla="*/ 512539 w 1551501"/>
                    <a:gd name="connsiteY724" fmla="*/ 1220676 h 1515279"/>
                    <a:gd name="connsiteX725" fmla="*/ 508313 w 1551501"/>
                    <a:gd name="connsiteY725" fmla="*/ 1222487 h 1515279"/>
                    <a:gd name="connsiteX726" fmla="*/ 504087 w 1551501"/>
                    <a:gd name="connsiteY726" fmla="*/ 1229731 h 1515279"/>
                    <a:gd name="connsiteX727" fmla="*/ 501069 w 1551501"/>
                    <a:gd name="connsiteY727" fmla="*/ 1232146 h 1515279"/>
                    <a:gd name="connsiteX728" fmla="*/ 501672 w 1551501"/>
                    <a:gd name="connsiteY728" fmla="*/ 1237579 h 1515279"/>
                    <a:gd name="connsiteX729" fmla="*/ 498050 w 1551501"/>
                    <a:gd name="connsiteY729" fmla="*/ 1238183 h 1515279"/>
                    <a:gd name="connsiteX730" fmla="*/ 496239 w 1551501"/>
                    <a:gd name="connsiteY730" fmla="*/ 1241805 h 1515279"/>
                    <a:gd name="connsiteX731" fmla="*/ 490202 w 1551501"/>
                    <a:gd name="connsiteY731" fmla="*/ 1238787 h 1515279"/>
                    <a:gd name="connsiteX732" fmla="*/ 492013 w 1551501"/>
                    <a:gd name="connsiteY732" fmla="*/ 1230939 h 1515279"/>
                    <a:gd name="connsiteX733" fmla="*/ 484769 w 1551501"/>
                    <a:gd name="connsiteY733" fmla="*/ 1236372 h 1515279"/>
                    <a:gd name="connsiteX734" fmla="*/ 484769 w 1551501"/>
                    <a:gd name="connsiteY734" fmla="*/ 1232146 h 1515279"/>
                    <a:gd name="connsiteX735" fmla="*/ 481147 w 1551501"/>
                    <a:gd name="connsiteY735" fmla="*/ 1230335 h 1515279"/>
                    <a:gd name="connsiteX736" fmla="*/ 479336 w 1551501"/>
                    <a:gd name="connsiteY736" fmla="*/ 1234561 h 1515279"/>
                    <a:gd name="connsiteX737" fmla="*/ 475110 w 1551501"/>
                    <a:gd name="connsiteY737" fmla="*/ 1233353 h 1515279"/>
                    <a:gd name="connsiteX738" fmla="*/ 473299 w 1551501"/>
                    <a:gd name="connsiteY738" fmla="*/ 1226713 h 1515279"/>
                    <a:gd name="connsiteX739" fmla="*/ 473902 w 1551501"/>
                    <a:gd name="connsiteY739" fmla="*/ 1221883 h 1515279"/>
                    <a:gd name="connsiteX740" fmla="*/ 478128 w 1551501"/>
                    <a:gd name="connsiteY740" fmla="*/ 1217657 h 1515279"/>
                    <a:gd name="connsiteX741" fmla="*/ 479336 w 1551501"/>
                    <a:gd name="connsiteY741" fmla="*/ 1213431 h 1515279"/>
                    <a:gd name="connsiteX742" fmla="*/ 484165 w 1551501"/>
                    <a:gd name="connsiteY742" fmla="*/ 1214639 h 1515279"/>
                    <a:gd name="connsiteX743" fmla="*/ 485976 w 1551501"/>
                    <a:gd name="connsiteY743" fmla="*/ 1210413 h 1515279"/>
                    <a:gd name="connsiteX744" fmla="*/ 482958 w 1551501"/>
                    <a:gd name="connsiteY744" fmla="*/ 1209809 h 1515279"/>
                    <a:gd name="connsiteX745" fmla="*/ 484769 w 1551501"/>
                    <a:gd name="connsiteY745" fmla="*/ 1205583 h 1515279"/>
                    <a:gd name="connsiteX746" fmla="*/ 488391 w 1551501"/>
                    <a:gd name="connsiteY746" fmla="*/ 1202565 h 1515279"/>
                    <a:gd name="connsiteX747" fmla="*/ 477525 w 1551501"/>
                    <a:gd name="connsiteY747" fmla="*/ 1201357 h 1515279"/>
                    <a:gd name="connsiteX748" fmla="*/ 478128 w 1551501"/>
                    <a:gd name="connsiteY748" fmla="*/ 1197132 h 1515279"/>
                    <a:gd name="connsiteX749" fmla="*/ 472091 w 1551501"/>
                    <a:gd name="connsiteY749" fmla="*/ 1194113 h 1515279"/>
                    <a:gd name="connsiteX750" fmla="*/ 470280 w 1551501"/>
                    <a:gd name="connsiteY750" fmla="*/ 1200150 h 1515279"/>
                    <a:gd name="connsiteX751" fmla="*/ 467865 w 1551501"/>
                    <a:gd name="connsiteY751" fmla="*/ 1200754 h 1515279"/>
                    <a:gd name="connsiteX752" fmla="*/ 467262 w 1551501"/>
                    <a:gd name="connsiteY752" fmla="*/ 1195320 h 1515279"/>
                    <a:gd name="connsiteX753" fmla="*/ 464243 w 1551501"/>
                    <a:gd name="connsiteY753" fmla="*/ 1188680 h 1515279"/>
                    <a:gd name="connsiteX754" fmla="*/ 466054 w 1551501"/>
                    <a:gd name="connsiteY754" fmla="*/ 1185058 h 1515279"/>
                    <a:gd name="connsiteX755" fmla="*/ 455791 w 1551501"/>
                    <a:gd name="connsiteY755" fmla="*/ 1183247 h 1515279"/>
                    <a:gd name="connsiteX756" fmla="*/ 448547 w 1551501"/>
                    <a:gd name="connsiteY756" fmla="*/ 1190491 h 1515279"/>
                    <a:gd name="connsiteX757" fmla="*/ 447943 w 1551501"/>
                    <a:gd name="connsiteY757" fmla="*/ 1197132 h 1515279"/>
                    <a:gd name="connsiteX758" fmla="*/ 450962 w 1551501"/>
                    <a:gd name="connsiteY758" fmla="*/ 1200150 h 1515279"/>
                    <a:gd name="connsiteX759" fmla="*/ 453980 w 1551501"/>
                    <a:gd name="connsiteY759" fmla="*/ 1197132 h 1515279"/>
                    <a:gd name="connsiteX760" fmla="*/ 460017 w 1551501"/>
                    <a:gd name="connsiteY760" fmla="*/ 1201357 h 1515279"/>
                    <a:gd name="connsiteX761" fmla="*/ 464847 w 1551501"/>
                    <a:gd name="connsiteY761" fmla="*/ 1198943 h 1515279"/>
                    <a:gd name="connsiteX762" fmla="*/ 465451 w 1551501"/>
                    <a:gd name="connsiteY762" fmla="*/ 1208602 h 1515279"/>
                    <a:gd name="connsiteX763" fmla="*/ 466658 w 1551501"/>
                    <a:gd name="connsiteY763" fmla="*/ 1212224 h 1515279"/>
                    <a:gd name="connsiteX764" fmla="*/ 463640 w 1551501"/>
                    <a:gd name="connsiteY764" fmla="*/ 1215242 h 1515279"/>
                    <a:gd name="connsiteX765" fmla="*/ 461828 w 1551501"/>
                    <a:gd name="connsiteY765" fmla="*/ 1210413 h 1515279"/>
                    <a:gd name="connsiteX766" fmla="*/ 458810 w 1551501"/>
                    <a:gd name="connsiteY766" fmla="*/ 1211017 h 1515279"/>
                    <a:gd name="connsiteX767" fmla="*/ 455188 w 1551501"/>
                    <a:gd name="connsiteY767" fmla="*/ 1206187 h 1515279"/>
                    <a:gd name="connsiteX768" fmla="*/ 452169 w 1551501"/>
                    <a:gd name="connsiteY768" fmla="*/ 1212828 h 1515279"/>
                    <a:gd name="connsiteX769" fmla="*/ 453377 w 1551501"/>
                    <a:gd name="connsiteY769" fmla="*/ 1217657 h 1515279"/>
                    <a:gd name="connsiteX770" fmla="*/ 456999 w 1551501"/>
                    <a:gd name="connsiteY770" fmla="*/ 1221279 h 1515279"/>
                    <a:gd name="connsiteX771" fmla="*/ 460017 w 1551501"/>
                    <a:gd name="connsiteY771" fmla="*/ 1226109 h 1515279"/>
                    <a:gd name="connsiteX772" fmla="*/ 456999 w 1551501"/>
                    <a:gd name="connsiteY772" fmla="*/ 1230939 h 1515279"/>
                    <a:gd name="connsiteX773" fmla="*/ 453377 w 1551501"/>
                    <a:gd name="connsiteY773" fmla="*/ 1230335 h 1515279"/>
                    <a:gd name="connsiteX774" fmla="*/ 452169 w 1551501"/>
                    <a:gd name="connsiteY774" fmla="*/ 1233353 h 1515279"/>
                    <a:gd name="connsiteX775" fmla="*/ 447340 w 1551501"/>
                    <a:gd name="connsiteY775" fmla="*/ 1230939 h 1515279"/>
                    <a:gd name="connsiteX776" fmla="*/ 449151 w 1551501"/>
                    <a:gd name="connsiteY776" fmla="*/ 1228524 h 1515279"/>
                    <a:gd name="connsiteX777" fmla="*/ 446736 w 1551501"/>
                    <a:gd name="connsiteY777" fmla="*/ 1224298 h 1515279"/>
                    <a:gd name="connsiteX778" fmla="*/ 441303 w 1551501"/>
                    <a:gd name="connsiteY778" fmla="*/ 1224902 h 1515279"/>
                    <a:gd name="connsiteX779" fmla="*/ 443717 w 1551501"/>
                    <a:gd name="connsiteY779" fmla="*/ 1228524 h 1515279"/>
                    <a:gd name="connsiteX780" fmla="*/ 444321 w 1551501"/>
                    <a:gd name="connsiteY780" fmla="*/ 1234561 h 1515279"/>
                    <a:gd name="connsiteX781" fmla="*/ 435869 w 1551501"/>
                    <a:gd name="connsiteY781" fmla="*/ 1231542 h 1515279"/>
                    <a:gd name="connsiteX782" fmla="*/ 432851 w 1551501"/>
                    <a:gd name="connsiteY782" fmla="*/ 1226713 h 1515279"/>
                    <a:gd name="connsiteX783" fmla="*/ 429832 w 1551501"/>
                    <a:gd name="connsiteY783" fmla="*/ 1227920 h 1515279"/>
                    <a:gd name="connsiteX784" fmla="*/ 432247 w 1551501"/>
                    <a:gd name="connsiteY784" fmla="*/ 1233957 h 1515279"/>
                    <a:gd name="connsiteX785" fmla="*/ 422588 w 1551501"/>
                    <a:gd name="connsiteY785" fmla="*/ 1235768 h 1515279"/>
                    <a:gd name="connsiteX786" fmla="*/ 420777 w 1551501"/>
                    <a:gd name="connsiteY786" fmla="*/ 1231542 h 1515279"/>
                    <a:gd name="connsiteX787" fmla="*/ 417155 w 1551501"/>
                    <a:gd name="connsiteY787" fmla="*/ 1227920 h 1515279"/>
                    <a:gd name="connsiteX788" fmla="*/ 419570 w 1551501"/>
                    <a:gd name="connsiteY788" fmla="*/ 1223694 h 1515279"/>
                    <a:gd name="connsiteX789" fmla="*/ 413533 w 1551501"/>
                    <a:gd name="connsiteY789" fmla="*/ 1220676 h 1515279"/>
                    <a:gd name="connsiteX790" fmla="*/ 412325 w 1551501"/>
                    <a:gd name="connsiteY790" fmla="*/ 1217054 h 1515279"/>
                    <a:gd name="connsiteX791" fmla="*/ 408099 w 1551501"/>
                    <a:gd name="connsiteY791" fmla="*/ 1221883 h 1515279"/>
                    <a:gd name="connsiteX792" fmla="*/ 406892 w 1551501"/>
                    <a:gd name="connsiteY792" fmla="*/ 1226713 h 1515279"/>
                    <a:gd name="connsiteX793" fmla="*/ 403270 w 1551501"/>
                    <a:gd name="connsiteY793" fmla="*/ 1229731 h 1515279"/>
                    <a:gd name="connsiteX794" fmla="*/ 399648 w 1551501"/>
                    <a:gd name="connsiteY794" fmla="*/ 1228524 h 1515279"/>
                    <a:gd name="connsiteX795" fmla="*/ 402666 w 1551501"/>
                    <a:gd name="connsiteY795" fmla="*/ 1221279 h 1515279"/>
                    <a:gd name="connsiteX796" fmla="*/ 400251 w 1551501"/>
                    <a:gd name="connsiteY796" fmla="*/ 1218261 h 1515279"/>
                    <a:gd name="connsiteX797" fmla="*/ 406892 w 1551501"/>
                    <a:gd name="connsiteY797" fmla="*/ 1209809 h 1515279"/>
                    <a:gd name="connsiteX798" fmla="*/ 400251 w 1551501"/>
                    <a:gd name="connsiteY798" fmla="*/ 1207394 h 1515279"/>
                    <a:gd name="connsiteX799" fmla="*/ 397837 w 1551501"/>
                    <a:gd name="connsiteY799" fmla="*/ 1204376 h 1515279"/>
                    <a:gd name="connsiteX800" fmla="*/ 397837 w 1551501"/>
                    <a:gd name="connsiteY800" fmla="*/ 1198339 h 1515279"/>
                    <a:gd name="connsiteX801" fmla="*/ 392403 w 1551501"/>
                    <a:gd name="connsiteY801" fmla="*/ 1198339 h 1515279"/>
                    <a:gd name="connsiteX802" fmla="*/ 389385 w 1551501"/>
                    <a:gd name="connsiteY802" fmla="*/ 1205583 h 1515279"/>
                    <a:gd name="connsiteX803" fmla="*/ 394214 w 1551501"/>
                    <a:gd name="connsiteY803" fmla="*/ 1207998 h 1515279"/>
                    <a:gd name="connsiteX804" fmla="*/ 394818 w 1551501"/>
                    <a:gd name="connsiteY804" fmla="*/ 1211620 h 1515279"/>
                    <a:gd name="connsiteX805" fmla="*/ 394214 w 1551501"/>
                    <a:gd name="connsiteY805" fmla="*/ 1216450 h 1515279"/>
                    <a:gd name="connsiteX806" fmla="*/ 391196 w 1551501"/>
                    <a:gd name="connsiteY806" fmla="*/ 1215846 h 1515279"/>
                    <a:gd name="connsiteX807" fmla="*/ 388781 w 1551501"/>
                    <a:gd name="connsiteY807" fmla="*/ 1211620 h 1515279"/>
                    <a:gd name="connsiteX808" fmla="*/ 385159 w 1551501"/>
                    <a:gd name="connsiteY808" fmla="*/ 1210413 h 1515279"/>
                    <a:gd name="connsiteX809" fmla="*/ 379122 w 1551501"/>
                    <a:gd name="connsiteY809" fmla="*/ 1212828 h 1515279"/>
                    <a:gd name="connsiteX810" fmla="*/ 374292 w 1551501"/>
                    <a:gd name="connsiteY810" fmla="*/ 1220072 h 1515279"/>
                    <a:gd name="connsiteX811" fmla="*/ 369463 w 1551501"/>
                    <a:gd name="connsiteY811" fmla="*/ 1224298 h 1515279"/>
                    <a:gd name="connsiteX812" fmla="*/ 367652 w 1551501"/>
                    <a:gd name="connsiteY812" fmla="*/ 1217657 h 1515279"/>
                    <a:gd name="connsiteX813" fmla="*/ 370670 w 1551501"/>
                    <a:gd name="connsiteY813" fmla="*/ 1211620 h 1515279"/>
                    <a:gd name="connsiteX814" fmla="*/ 367652 w 1551501"/>
                    <a:gd name="connsiteY814" fmla="*/ 1207998 h 1515279"/>
                    <a:gd name="connsiteX815" fmla="*/ 368859 w 1551501"/>
                    <a:gd name="connsiteY815" fmla="*/ 1203772 h 1515279"/>
                    <a:gd name="connsiteX816" fmla="*/ 373689 w 1551501"/>
                    <a:gd name="connsiteY816" fmla="*/ 1203772 h 1515279"/>
                    <a:gd name="connsiteX817" fmla="*/ 376103 w 1551501"/>
                    <a:gd name="connsiteY817" fmla="*/ 1198339 h 1515279"/>
                    <a:gd name="connsiteX818" fmla="*/ 382744 w 1551501"/>
                    <a:gd name="connsiteY818" fmla="*/ 1201357 h 1515279"/>
                    <a:gd name="connsiteX819" fmla="*/ 383348 w 1551501"/>
                    <a:gd name="connsiteY819" fmla="*/ 1197132 h 1515279"/>
                    <a:gd name="connsiteX820" fmla="*/ 388781 w 1551501"/>
                    <a:gd name="connsiteY820" fmla="*/ 1194717 h 1515279"/>
                    <a:gd name="connsiteX821" fmla="*/ 385159 w 1551501"/>
                    <a:gd name="connsiteY821" fmla="*/ 1189887 h 1515279"/>
                    <a:gd name="connsiteX822" fmla="*/ 385763 w 1551501"/>
                    <a:gd name="connsiteY822" fmla="*/ 1181435 h 1515279"/>
                    <a:gd name="connsiteX823" fmla="*/ 380933 w 1551501"/>
                    <a:gd name="connsiteY823" fmla="*/ 1185058 h 1515279"/>
                    <a:gd name="connsiteX824" fmla="*/ 371274 w 1551501"/>
                    <a:gd name="connsiteY824" fmla="*/ 1182039 h 1515279"/>
                    <a:gd name="connsiteX825" fmla="*/ 365237 w 1551501"/>
                    <a:gd name="connsiteY825" fmla="*/ 1188680 h 1515279"/>
                    <a:gd name="connsiteX826" fmla="*/ 368859 w 1551501"/>
                    <a:gd name="connsiteY826" fmla="*/ 1194717 h 1515279"/>
                    <a:gd name="connsiteX827" fmla="*/ 366444 w 1551501"/>
                    <a:gd name="connsiteY827" fmla="*/ 1196528 h 1515279"/>
                    <a:gd name="connsiteX828" fmla="*/ 363426 w 1551501"/>
                    <a:gd name="connsiteY828" fmla="*/ 1207394 h 1515279"/>
                    <a:gd name="connsiteX829" fmla="*/ 361011 w 1551501"/>
                    <a:gd name="connsiteY829" fmla="*/ 1207998 h 1515279"/>
                    <a:gd name="connsiteX830" fmla="*/ 354974 w 1551501"/>
                    <a:gd name="connsiteY830" fmla="*/ 1198943 h 1515279"/>
                    <a:gd name="connsiteX831" fmla="*/ 356181 w 1551501"/>
                    <a:gd name="connsiteY831" fmla="*/ 1194113 h 1515279"/>
                    <a:gd name="connsiteX832" fmla="*/ 352559 w 1551501"/>
                    <a:gd name="connsiteY832" fmla="*/ 1194113 h 1515279"/>
                    <a:gd name="connsiteX833" fmla="*/ 351956 w 1551501"/>
                    <a:gd name="connsiteY833" fmla="*/ 1189284 h 1515279"/>
                    <a:gd name="connsiteX834" fmla="*/ 356785 w 1551501"/>
                    <a:gd name="connsiteY834" fmla="*/ 1189887 h 1515279"/>
                    <a:gd name="connsiteX835" fmla="*/ 360407 w 1551501"/>
                    <a:gd name="connsiteY835" fmla="*/ 1185661 h 1515279"/>
                    <a:gd name="connsiteX836" fmla="*/ 361615 w 1551501"/>
                    <a:gd name="connsiteY836" fmla="*/ 1180832 h 1515279"/>
                    <a:gd name="connsiteX837" fmla="*/ 369463 w 1551501"/>
                    <a:gd name="connsiteY837" fmla="*/ 1172380 h 1515279"/>
                    <a:gd name="connsiteX838" fmla="*/ 374896 w 1551501"/>
                    <a:gd name="connsiteY838" fmla="*/ 1172380 h 1515279"/>
                    <a:gd name="connsiteX839" fmla="*/ 377311 w 1551501"/>
                    <a:gd name="connsiteY839" fmla="*/ 1169965 h 1515279"/>
                    <a:gd name="connsiteX840" fmla="*/ 383348 w 1551501"/>
                    <a:gd name="connsiteY840" fmla="*/ 1169361 h 1515279"/>
                    <a:gd name="connsiteX841" fmla="*/ 380933 w 1551501"/>
                    <a:gd name="connsiteY841" fmla="*/ 1174795 h 1515279"/>
                    <a:gd name="connsiteX842" fmla="*/ 373689 w 1551501"/>
                    <a:gd name="connsiteY842" fmla="*/ 1174191 h 1515279"/>
                    <a:gd name="connsiteX843" fmla="*/ 373689 w 1551501"/>
                    <a:gd name="connsiteY843" fmla="*/ 1177813 h 1515279"/>
                    <a:gd name="connsiteX844" fmla="*/ 382140 w 1551501"/>
                    <a:gd name="connsiteY844" fmla="*/ 1180832 h 1515279"/>
                    <a:gd name="connsiteX845" fmla="*/ 384555 w 1551501"/>
                    <a:gd name="connsiteY845" fmla="*/ 1176606 h 1515279"/>
                    <a:gd name="connsiteX846" fmla="*/ 389988 w 1551501"/>
                    <a:gd name="connsiteY846" fmla="*/ 1176002 h 1515279"/>
                    <a:gd name="connsiteX847" fmla="*/ 388177 w 1551501"/>
                    <a:gd name="connsiteY847" fmla="*/ 1170569 h 1515279"/>
                    <a:gd name="connsiteX848" fmla="*/ 388781 w 1551501"/>
                    <a:gd name="connsiteY848" fmla="*/ 1165136 h 1515279"/>
                    <a:gd name="connsiteX849" fmla="*/ 386970 w 1551501"/>
                    <a:gd name="connsiteY849" fmla="*/ 1160910 h 1515279"/>
                    <a:gd name="connsiteX850" fmla="*/ 383348 w 1551501"/>
                    <a:gd name="connsiteY850" fmla="*/ 1160306 h 1515279"/>
                    <a:gd name="connsiteX851" fmla="*/ 380329 w 1551501"/>
                    <a:gd name="connsiteY851" fmla="*/ 1163324 h 1515279"/>
                    <a:gd name="connsiteX852" fmla="*/ 374896 w 1551501"/>
                    <a:gd name="connsiteY852" fmla="*/ 1159099 h 1515279"/>
                    <a:gd name="connsiteX853" fmla="*/ 380329 w 1551501"/>
                    <a:gd name="connsiteY853" fmla="*/ 1154269 h 1515279"/>
                    <a:gd name="connsiteX854" fmla="*/ 381537 w 1551501"/>
                    <a:gd name="connsiteY854" fmla="*/ 1148232 h 1515279"/>
                    <a:gd name="connsiteX855" fmla="*/ 377914 w 1551501"/>
                    <a:gd name="connsiteY855" fmla="*/ 1143402 h 1515279"/>
                    <a:gd name="connsiteX856" fmla="*/ 382744 w 1551501"/>
                    <a:gd name="connsiteY856" fmla="*/ 1139780 h 1515279"/>
                    <a:gd name="connsiteX857" fmla="*/ 382744 w 1551501"/>
                    <a:gd name="connsiteY857" fmla="*/ 1134951 h 1515279"/>
                    <a:gd name="connsiteX858" fmla="*/ 379726 w 1551501"/>
                    <a:gd name="connsiteY858" fmla="*/ 1133140 h 1515279"/>
                    <a:gd name="connsiteX859" fmla="*/ 371274 w 1551501"/>
                    <a:gd name="connsiteY859" fmla="*/ 1133140 h 1515279"/>
                    <a:gd name="connsiteX860" fmla="*/ 367652 w 1551501"/>
                    <a:gd name="connsiteY860" fmla="*/ 1136762 h 1515279"/>
                    <a:gd name="connsiteX861" fmla="*/ 369463 w 1551501"/>
                    <a:gd name="connsiteY861" fmla="*/ 1141591 h 1515279"/>
                    <a:gd name="connsiteX862" fmla="*/ 361011 w 1551501"/>
                    <a:gd name="connsiteY862" fmla="*/ 1143402 h 1515279"/>
                    <a:gd name="connsiteX863" fmla="*/ 359200 w 1551501"/>
                    <a:gd name="connsiteY863" fmla="*/ 1145817 h 1515279"/>
                    <a:gd name="connsiteX864" fmla="*/ 363426 w 1551501"/>
                    <a:gd name="connsiteY864" fmla="*/ 1148836 h 1515279"/>
                    <a:gd name="connsiteX865" fmla="*/ 365841 w 1551501"/>
                    <a:gd name="connsiteY865" fmla="*/ 1154269 h 1515279"/>
                    <a:gd name="connsiteX866" fmla="*/ 364633 w 1551501"/>
                    <a:gd name="connsiteY866" fmla="*/ 1157891 h 1515279"/>
                    <a:gd name="connsiteX867" fmla="*/ 351352 w 1551501"/>
                    <a:gd name="connsiteY867" fmla="*/ 1150647 h 1515279"/>
                    <a:gd name="connsiteX868" fmla="*/ 344711 w 1551501"/>
                    <a:gd name="connsiteY868" fmla="*/ 1152458 h 1515279"/>
                    <a:gd name="connsiteX869" fmla="*/ 338674 w 1551501"/>
                    <a:gd name="connsiteY869" fmla="*/ 1149439 h 1515279"/>
                    <a:gd name="connsiteX870" fmla="*/ 338070 w 1551501"/>
                    <a:gd name="connsiteY870" fmla="*/ 1155476 h 1515279"/>
                    <a:gd name="connsiteX871" fmla="*/ 342900 w 1551501"/>
                    <a:gd name="connsiteY871" fmla="*/ 1158495 h 1515279"/>
                    <a:gd name="connsiteX872" fmla="*/ 346522 w 1551501"/>
                    <a:gd name="connsiteY872" fmla="*/ 1162721 h 1515279"/>
                    <a:gd name="connsiteX873" fmla="*/ 351352 w 1551501"/>
                    <a:gd name="connsiteY873" fmla="*/ 1160306 h 1515279"/>
                    <a:gd name="connsiteX874" fmla="*/ 352559 w 1551501"/>
                    <a:gd name="connsiteY874" fmla="*/ 1163928 h 1515279"/>
                    <a:gd name="connsiteX875" fmla="*/ 342296 w 1551501"/>
                    <a:gd name="connsiteY875" fmla="*/ 1166343 h 1515279"/>
                    <a:gd name="connsiteX876" fmla="*/ 345315 w 1551501"/>
                    <a:gd name="connsiteY876" fmla="*/ 1168758 h 1515279"/>
                    <a:gd name="connsiteX877" fmla="*/ 346522 w 1551501"/>
                    <a:gd name="connsiteY877" fmla="*/ 1179021 h 1515279"/>
                    <a:gd name="connsiteX878" fmla="*/ 340485 w 1551501"/>
                    <a:gd name="connsiteY878" fmla="*/ 1181435 h 1515279"/>
                    <a:gd name="connsiteX879" fmla="*/ 333845 w 1551501"/>
                    <a:gd name="connsiteY879" fmla="*/ 1179021 h 1515279"/>
                    <a:gd name="connsiteX880" fmla="*/ 335052 w 1551501"/>
                    <a:gd name="connsiteY880" fmla="*/ 1175398 h 1515279"/>
                    <a:gd name="connsiteX881" fmla="*/ 324185 w 1551501"/>
                    <a:gd name="connsiteY881" fmla="*/ 1172380 h 1515279"/>
                    <a:gd name="connsiteX882" fmla="*/ 326600 w 1551501"/>
                    <a:gd name="connsiteY882" fmla="*/ 1168758 h 1515279"/>
                    <a:gd name="connsiteX883" fmla="*/ 333241 w 1551501"/>
                    <a:gd name="connsiteY883" fmla="*/ 1163928 h 1515279"/>
                    <a:gd name="connsiteX884" fmla="*/ 330826 w 1551501"/>
                    <a:gd name="connsiteY884" fmla="*/ 1159702 h 1515279"/>
                    <a:gd name="connsiteX885" fmla="*/ 324185 w 1551501"/>
                    <a:gd name="connsiteY885" fmla="*/ 1159702 h 1515279"/>
                    <a:gd name="connsiteX886" fmla="*/ 319356 w 1551501"/>
                    <a:gd name="connsiteY886" fmla="*/ 1162117 h 1515279"/>
                    <a:gd name="connsiteX887" fmla="*/ 319356 w 1551501"/>
                    <a:gd name="connsiteY887" fmla="*/ 1167550 h 1515279"/>
                    <a:gd name="connsiteX888" fmla="*/ 316337 w 1551501"/>
                    <a:gd name="connsiteY888" fmla="*/ 1168154 h 1515279"/>
                    <a:gd name="connsiteX889" fmla="*/ 313319 w 1551501"/>
                    <a:gd name="connsiteY889" fmla="*/ 1165739 h 1515279"/>
                    <a:gd name="connsiteX890" fmla="*/ 307886 w 1551501"/>
                    <a:gd name="connsiteY890" fmla="*/ 1174795 h 1515279"/>
                    <a:gd name="connsiteX891" fmla="*/ 307886 w 1551501"/>
                    <a:gd name="connsiteY891" fmla="*/ 1180832 h 1515279"/>
                    <a:gd name="connsiteX892" fmla="*/ 303660 w 1551501"/>
                    <a:gd name="connsiteY892" fmla="*/ 1181435 h 1515279"/>
                    <a:gd name="connsiteX893" fmla="*/ 297623 w 1551501"/>
                    <a:gd name="connsiteY893" fmla="*/ 1177813 h 1515279"/>
                    <a:gd name="connsiteX894" fmla="*/ 298830 w 1551501"/>
                    <a:gd name="connsiteY894" fmla="*/ 1185661 h 1515279"/>
                    <a:gd name="connsiteX895" fmla="*/ 297019 w 1551501"/>
                    <a:gd name="connsiteY895" fmla="*/ 1191095 h 1515279"/>
                    <a:gd name="connsiteX896" fmla="*/ 292793 w 1551501"/>
                    <a:gd name="connsiteY896" fmla="*/ 1192302 h 1515279"/>
                    <a:gd name="connsiteX897" fmla="*/ 289171 w 1551501"/>
                    <a:gd name="connsiteY897" fmla="*/ 1188076 h 1515279"/>
                    <a:gd name="connsiteX898" fmla="*/ 285549 w 1551501"/>
                    <a:gd name="connsiteY898" fmla="*/ 1191698 h 1515279"/>
                    <a:gd name="connsiteX899" fmla="*/ 277701 w 1551501"/>
                    <a:gd name="connsiteY899" fmla="*/ 1193509 h 1515279"/>
                    <a:gd name="connsiteX900" fmla="*/ 277097 w 1551501"/>
                    <a:gd name="connsiteY900" fmla="*/ 1197132 h 1515279"/>
                    <a:gd name="connsiteX901" fmla="*/ 282530 w 1551501"/>
                    <a:gd name="connsiteY901" fmla="*/ 1199546 h 1515279"/>
                    <a:gd name="connsiteX902" fmla="*/ 289775 w 1551501"/>
                    <a:gd name="connsiteY902" fmla="*/ 1194113 h 1515279"/>
                    <a:gd name="connsiteX903" fmla="*/ 292793 w 1551501"/>
                    <a:gd name="connsiteY903" fmla="*/ 1196528 h 1515279"/>
                    <a:gd name="connsiteX904" fmla="*/ 296415 w 1551501"/>
                    <a:gd name="connsiteY904" fmla="*/ 1195320 h 1515279"/>
                    <a:gd name="connsiteX905" fmla="*/ 299434 w 1551501"/>
                    <a:gd name="connsiteY905" fmla="*/ 1198943 h 1515279"/>
                    <a:gd name="connsiteX906" fmla="*/ 302452 w 1551501"/>
                    <a:gd name="connsiteY906" fmla="*/ 1198943 h 1515279"/>
                    <a:gd name="connsiteX907" fmla="*/ 306075 w 1551501"/>
                    <a:gd name="connsiteY907" fmla="*/ 1201961 h 1515279"/>
                    <a:gd name="connsiteX908" fmla="*/ 304867 w 1551501"/>
                    <a:gd name="connsiteY908" fmla="*/ 1209205 h 1515279"/>
                    <a:gd name="connsiteX909" fmla="*/ 306075 w 1551501"/>
                    <a:gd name="connsiteY909" fmla="*/ 1214639 h 1515279"/>
                    <a:gd name="connsiteX910" fmla="*/ 311508 w 1551501"/>
                    <a:gd name="connsiteY910" fmla="*/ 1224902 h 1515279"/>
                    <a:gd name="connsiteX911" fmla="*/ 312112 w 1551501"/>
                    <a:gd name="connsiteY911" fmla="*/ 1232146 h 1515279"/>
                    <a:gd name="connsiteX912" fmla="*/ 312112 w 1551501"/>
                    <a:gd name="connsiteY912" fmla="*/ 1238787 h 1515279"/>
                    <a:gd name="connsiteX913" fmla="*/ 316941 w 1551501"/>
                    <a:gd name="connsiteY913" fmla="*/ 1239994 h 1515279"/>
                    <a:gd name="connsiteX914" fmla="*/ 321167 w 1551501"/>
                    <a:gd name="connsiteY914" fmla="*/ 1246635 h 1515279"/>
                    <a:gd name="connsiteX915" fmla="*/ 321771 w 1551501"/>
                    <a:gd name="connsiteY915" fmla="*/ 1252672 h 1515279"/>
                    <a:gd name="connsiteX916" fmla="*/ 319960 w 1551501"/>
                    <a:gd name="connsiteY916" fmla="*/ 1255086 h 1515279"/>
                    <a:gd name="connsiteX917" fmla="*/ 319356 w 1551501"/>
                    <a:gd name="connsiteY917" fmla="*/ 1264746 h 1515279"/>
                    <a:gd name="connsiteX918" fmla="*/ 317545 w 1551501"/>
                    <a:gd name="connsiteY918" fmla="*/ 1269575 h 1515279"/>
                    <a:gd name="connsiteX919" fmla="*/ 323582 w 1551501"/>
                    <a:gd name="connsiteY919" fmla="*/ 1273801 h 1515279"/>
                    <a:gd name="connsiteX920" fmla="*/ 326600 w 1551501"/>
                    <a:gd name="connsiteY920" fmla="*/ 1282857 h 1515279"/>
                    <a:gd name="connsiteX921" fmla="*/ 332637 w 1551501"/>
                    <a:gd name="connsiteY921" fmla="*/ 1284668 h 1515279"/>
                    <a:gd name="connsiteX922" fmla="*/ 333845 w 1551501"/>
                    <a:gd name="connsiteY922" fmla="*/ 1287082 h 1515279"/>
                    <a:gd name="connsiteX923" fmla="*/ 338070 w 1551501"/>
                    <a:gd name="connsiteY923" fmla="*/ 1288290 h 1515279"/>
                    <a:gd name="connsiteX924" fmla="*/ 346522 w 1551501"/>
                    <a:gd name="connsiteY924" fmla="*/ 1292516 h 1515279"/>
                    <a:gd name="connsiteX925" fmla="*/ 349541 w 1551501"/>
                    <a:gd name="connsiteY925" fmla="*/ 1302779 h 1515279"/>
                    <a:gd name="connsiteX926" fmla="*/ 346522 w 1551501"/>
                    <a:gd name="connsiteY926" fmla="*/ 1307608 h 1515279"/>
                    <a:gd name="connsiteX927" fmla="*/ 345919 w 1551501"/>
                    <a:gd name="connsiteY927" fmla="*/ 1313645 h 1515279"/>
                    <a:gd name="connsiteX928" fmla="*/ 348333 w 1551501"/>
                    <a:gd name="connsiteY928" fmla="*/ 1328134 h 1515279"/>
                    <a:gd name="connsiteX929" fmla="*/ 345315 w 1551501"/>
                    <a:gd name="connsiteY929" fmla="*/ 1330549 h 1515279"/>
                    <a:gd name="connsiteX930" fmla="*/ 345315 w 1551501"/>
                    <a:gd name="connsiteY930" fmla="*/ 1334171 h 1515279"/>
                    <a:gd name="connsiteX931" fmla="*/ 341693 w 1551501"/>
                    <a:gd name="connsiteY931" fmla="*/ 1338397 h 1515279"/>
                    <a:gd name="connsiteX932" fmla="*/ 342900 w 1551501"/>
                    <a:gd name="connsiteY932" fmla="*/ 1343226 h 1515279"/>
                    <a:gd name="connsiteX933" fmla="*/ 344107 w 1551501"/>
                    <a:gd name="connsiteY933" fmla="*/ 1351074 h 1515279"/>
                    <a:gd name="connsiteX934" fmla="*/ 348937 w 1551501"/>
                    <a:gd name="connsiteY934" fmla="*/ 1353489 h 1515279"/>
                    <a:gd name="connsiteX935" fmla="*/ 354370 w 1551501"/>
                    <a:gd name="connsiteY935" fmla="*/ 1349867 h 1515279"/>
                    <a:gd name="connsiteX936" fmla="*/ 360407 w 1551501"/>
                    <a:gd name="connsiteY936" fmla="*/ 1349867 h 1515279"/>
                    <a:gd name="connsiteX937" fmla="*/ 362822 w 1551501"/>
                    <a:gd name="connsiteY937" fmla="*/ 1345037 h 1515279"/>
                    <a:gd name="connsiteX938" fmla="*/ 366444 w 1551501"/>
                    <a:gd name="connsiteY938" fmla="*/ 1342623 h 1515279"/>
                    <a:gd name="connsiteX939" fmla="*/ 370670 w 1551501"/>
                    <a:gd name="connsiteY939" fmla="*/ 1342623 h 1515279"/>
                    <a:gd name="connsiteX940" fmla="*/ 373085 w 1551501"/>
                    <a:gd name="connsiteY940" fmla="*/ 1348660 h 1515279"/>
                    <a:gd name="connsiteX941" fmla="*/ 375500 w 1551501"/>
                    <a:gd name="connsiteY941" fmla="*/ 1351074 h 1515279"/>
                    <a:gd name="connsiteX942" fmla="*/ 377311 w 1551501"/>
                    <a:gd name="connsiteY942" fmla="*/ 1355904 h 1515279"/>
                    <a:gd name="connsiteX943" fmla="*/ 383951 w 1551501"/>
                    <a:gd name="connsiteY943" fmla="*/ 1362544 h 1515279"/>
                    <a:gd name="connsiteX944" fmla="*/ 382744 w 1551501"/>
                    <a:gd name="connsiteY944" fmla="*/ 1364356 h 1515279"/>
                    <a:gd name="connsiteX945" fmla="*/ 383348 w 1551501"/>
                    <a:gd name="connsiteY945" fmla="*/ 1372204 h 1515279"/>
                    <a:gd name="connsiteX946" fmla="*/ 388177 w 1551501"/>
                    <a:gd name="connsiteY946" fmla="*/ 1375222 h 1515279"/>
                    <a:gd name="connsiteX947" fmla="*/ 383348 w 1551501"/>
                    <a:gd name="connsiteY947" fmla="*/ 1377637 h 1515279"/>
                    <a:gd name="connsiteX948" fmla="*/ 379726 w 1551501"/>
                    <a:gd name="connsiteY948" fmla="*/ 1377637 h 1515279"/>
                    <a:gd name="connsiteX949" fmla="*/ 377311 w 1551501"/>
                    <a:gd name="connsiteY949" fmla="*/ 1374015 h 1515279"/>
                    <a:gd name="connsiteX950" fmla="*/ 374292 w 1551501"/>
                    <a:gd name="connsiteY950" fmla="*/ 1377033 h 1515279"/>
                    <a:gd name="connsiteX951" fmla="*/ 377311 w 1551501"/>
                    <a:gd name="connsiteY951" fmla="*/ 1382467 h 1515279"/>
                    <a:gd name="connsiteX952" fmla="*/ 380933 w 1551501"/>
                    <a:gd name="connsiteY952" fmla="*/ 1383674 h 1515279"/>
                    <a:gd name="connsiteX953" fmla="*/ 383348 w 1551501"/>
                    <a:gd name="connsiteY953" fmla="*/ 1387296 h 1515279"/>
                    <a:gd name="connsiteX954" fmla="*/ 391196 w 1551501"/>
                    <a:gd name="connsiteY954" fmla="*/ 1386089 h 1515279"/>
                    <a:gd name="connsiteX955" fmla="*/ 392403 w 1551501"/>
                    <a:gd name="connsiteY955" fmla="*/ 1390918 h 1515279"/>
                    <a:gd name="connsiteX956" fmla="*/ 391196 w 1551501"/>
                    <a:gd name="connsiteY956" fmla="*/ 1393333 h 1515279"/>
                    <a:gd name="connsiteX957" fmla="*/ 388177 w 1551501"/>
                    <a:gd name="connsiteY957" fmla="*/ 1402992 h 1515279"/>
                    <a:gd name="connsiteX958" fmla="*/ 388177 w 1551501"/>
                    <a:gd name="connsiteY958" fmla="*/ 1406614 h 1515279"/>
                    <a:gd name="connsiteX959" fmla="*/ 380933 w 1551501"/>
                    <a:gd name="connsiteY959" fmla="*/ 1415670 h 1515279"/>
                    <a:gd name="connsiteX960" fmla="*/ 376103 w 1551501"/>
                    <a:gd name="connsiteY960" fmla="*/ 1419292 h 1515279"/>
                    <a:gd name="connsiteX961" fmla="*/ 376707 w 1551501"/>
                    <a:gd name="connsiteY961" fmla="*/ 1425933 h 1515279"/>
                    <a:gd name="connsiteX962" fmla="*/ 370067 w 1551501"/>
                    <a:gd name="connsiteY962" fmla="*/ 1430159 h 1515279"/>
                    <a:gd name="connsiteX963" fmla="*/ 370670 w 1551501"/>
                    <a:gd name="connsiteY963" fmla="*/ 1435592 h 1515279"/>
                    <a:gd name="connsiteX964" fmla="*/ 365841 w 1551501"/>
                    <a:gd name="connsiteY964" fmla="*/ 1439214 h 1515279"/>
                    <a:gd name="connsiteX965" fmla="*/ 361615 w 1551501"/>
                    <a:gd name="connsiteY965" fmla="*/ 1439214 h 1515279"/>
                    <a:gd name="connsiteX966" fmla="*/ 359200 w 1551501"/>
                    <a:gd name="connsiteY966" fmla="*/ 1441629 h 1515279"/>
                    <a:gd name="connsiteX967" fmla="*/ 356181 w 1551501"/>
                    <a:gd name="connsiteY967" fmla="*/ 1440422 h 1515279"/>
                    <a:gd name="connsiteX968" fmla="*/ 354974 w 1551501"/>
                    <a:gd name="connsiteY968" fmla="*/ 1445855 h 1515279"/>
                    <a:gd name="connsiteX969" fmla="*/ 350748 w 1551501"/>
                    <a:gd name="connsiteY969" fmla="*/ 1445855 h 1515279"/>
                    <a:gd name="connsiteX970" fmla="*/ 348333 w 1551501"/>
                    <a:gd name="connsiteY970" fmla="*/ 1439818 h 1515279"/>
                    <a:gd name="connsiteX971" fmla="*/ 344107 w 1551501"/>
                    <a:gd name="connsiteY971" fmla="*/ 1431366 h 1515279"/>
                    <a:gd name="connsiteX972" fmla="*/ 342900 w 1551501"/>
                    <a:gd name="connsiteY972" fmla="*/ 1433177 h 1515279"/>
                    <a:gd name="connsiteX973" fmla="*/ 338674 w 1551501"/>
                    <a:gd name="connsiteY973" fmla="*/ 1430159 h 1515279"/>
                    <a:gd name="connsiteX974" fmla="*/ 336863 w 1551501"/>
                    <a:gd name="connsiteY974" fmla="*/ 1433177 h 1515279"/>
                    <a:gd name="connsiteX975" fmla="*/ 332637 w 1551501"/>
                    <a:gd name="connsiteY975" fmla="*/ 1434385 h 1515279"/>
                    <a:gd name="connsiteX976" fmla="*/ 326600 w 1551501"/>
                    <a:gd name="connsiteY976" fmla="*/ 1431970 h 1515279"/>
                    <a:gd name="connsiteX977" fmla="*/ 323582 w 1551501"/>
                    <a:gd name="connsiteY977" fmla="*/ 1425933 h 1515279"/>
                    <a:gd name="connsiteX978" fmla="*/ 316337 w 1551501"/>
                    <a:gd name="connsiteY978" fmla="*/ 1420499 h 1515279"/>
                    <a:gd name="connsiteX979" fmla="*/ 316941 w 1551501"/>
                    <a:gd name="connsiteY979" fmla="*/ 1417481 h 1515279"/>
                    <a:gd name="connsiteX980" fmla="*/ 313319 w 1551501"/>
                    <a:gd name="connsiteY980" fmla="*/ 1416274 h 1515279"/>
                    <a:gd name="connsiteX981" fmla="*/ 311508 w 1551501"/>
                    <a:gd name="connsiteY981" fmla="*/ 1410840 h 1515279"/>
                    <a:gd name="connsiteX982" fmla="*/ 307886 w 1551501"/>
                    <a:gd name="connsiteY982" fmla="*/ 1406614 h 1515279"/>
                    <a:gd name="connsiteX983" fmla="*/ 303056 w 1551501"/>
                    <a:gd name="connsiteY983" fmla="*/ 1406011 h 1515279"/>
                    <a:gd name="connsiteX984" fmla="*/ 297623 w 1551501"/>
                    <a:gd name="connsiteY984" fmla="*/ 1402992 h 1515279"/>
                    <a:gd name="connsiteX985" fmla="*/ 295208 w 1551501"/>
                    <a:gd name="connsiteY985" fmla="*/ 1399370 h 1515279"/>
                    <a:gd name="connsiteX986" fmla="*/ 292190 w 1551501"/>
                    <a:gd name="connsiteY986" fmla="*/ 1398163 h 1515279"/>
                    <a:gd name="connsiteX987" fmla="*/ 286756 w 1551501"/>
                    <a:gd name="connsiteY987" fmla="*/ 1404200 h 1515279"/>
                    <a:gd name="connsiteX988" fmla="*/ 285549 w 1551501"/>
                    <a:gd name="connsiteY988" fmla="*/ 1410840 h 1515279"/>
                    <a:gd name="connsiteX989" fmla="*/ 279512 w 1551501"/>
                    <a:gd name="connsiteY989" fmla="*/ 1413859 h 1515279"/>
                    <a:gd name="connsiteX990" fmla="*/ 278304 w 1551501"/>
                    <a:gd name="connsiteY990" fmla="*/ 1420499 h 1515279"/>
                    <a:gd name="connsiteX991" fmla="*/ 273475 w 1551501"/>
                    <a:gd name="connsiteY991" fmla="*/ 1422311 h 1515279"/>
                    <a:gd name="connsiteX992" fmla="*/ 272871 w 1551501"/>
                    <a:gd name="connsiteY992" fmla="*/ 1424725 h 1515279"/>
                    <a:gd name="connsiteX993" fmla="*/ 268645 w 1551501"/>
                    <a:gd name="connsiteY993" fmla="*/ 1425933 h 1515279"/>
                    <a:gd name="connsiteX994" fmla="*/ 263212 w 1551501"/>
                    <a:gd name="connsiteY994" fmla="*/ 1420499 h 1515279"/>
                    <a:gd name="connsiteX995" fmla="*/ 258986 w 1551501"/>
                    <a:gd name="connsiteY995" fmla="*/ 1418085 h 1515279"/>
                    <a:gd name="connsiteX996" fmla="*/ 255968 w 1551501"/>
                    <a:gd name="connsiteY996" fmla="*/ 1410840 h 1515279"/>
                    <a:gd name="connsiteX997" fmla="*/ 263816 w 1551501"/>
                    <a:gd name="connsiteY997" fmla="*/ 1401785 h 1515279"/>
                    <a:gd name="connsiteX998" fmla="*/ 258383 w 1551501"/>
                    <a:gd name="connsiteY998" fmla="*/ 1396352 h 1515279"/>
                    <a:gd name="connsiteX999" fmla="*/ 254760 w 1551501"/>
                    <a:gd name="connsiteY999" fmla="*/ 1394541 h 1515279"/>
                    <a:gd name="connsiteX1000" fmla="*/ 243894 w 1551501"/>
                    <a:gd name="connsiteY1000" fmla="*/ 1386089 h 1515279"/>
                    <a:gd name="connsiteX1001" fmla="*/ 242686 w 1551501"/>
                    <a:gd name="connsiteY1001" fmla="*/ 1383674 h 1515279"/>
                    <a:gd name="connsiteX1002" fmla="*/ 243290 w 1551501"/>
                    <a:gd name="connsiteY1002" fmla="*/ 1378241 h 1515279"/>
                    <a:gd name="connsiteX1003" fmla="*/ 238460 w 1551501"/>
                    <a:gd name="connsiteY1003" fmla="*/ 1377033 h 1515279"/>
                    <a:gd name="connsiteX1004" fmla="*/ 237857 w 1551501"/>
                    <a:gd name="connsiteY1004" fmla="*/ 1371600 h 1515279"/>
                    <a:gd name="connsiteX1005" fmla="*/ 234235 w 1551501"/>
                    <a:gd name="connsiteY1005" fmla="*/ 1369185 h 1515279"/>
                    <a:gd name="connsiteX1006" fmla="*/ 234838 w 1551501"/>
                    <a:gd name="connsiteY1006" fmla="*/ 1364959 h 1515279"/>
                    <a:gd name="connsiteX1007" fmla="*/ 241479 w 1551501"/>
                    <a:gd name="connsiteY1007" fmla="*/ 1362544 h 1515279"/>
                    <a:gd name="connsiteX1008" fmla="*/ 244497 w 1551501"/>
                    <a:gd name="connsiteY1008" fmla="*/ 1348056 h 1515279"/>
                    <a:gd name="connsiteX1009" fmla="*/ 241479 w 1551501"/>
                    <a:gd name="connsiteY1009" fmla="*/ 1340812 h 1515279"/>
                    <a:gd name="connsiteX1010" fmla="*/ 243894 w 1551501"/>
                    <a:gd name="connsiteY1010" fmla="*/ 1335982 h 1515279"/>
                    <a:gd name="connsiteX1011" fmla="*/ 240272 w 1551501"/>
                    <a:gd name="connsiteY1011" fmla="*/ 1327530 h 1515279"/>
                    <a:gd name="connsiteX1012" fmla="*/ 235442 w 1551501"/>
                    <a:gd name="connsiteY1012" fmla="*/ 1320889 h 1515279"/>
                    <a:gd name="connsiteX1013" fmla="*/ 234235 w 1551501"/>
                    <a:gd name="connsiteY1013" fmla="*/ 1316060 h 1515279"/>
                    <a:gd name="connsiteX1014" fmla="*/ 235442 w 1551501"/>
                    <a:gd name="connsiteY1014" fmla="*/ 1311834 h 1515279"/>
                    <a:gd name="connsiteX1015" fmla="*/ 231820 w 1551501"/>
                    <a:gd name="connsiteY1015" fmla="*/ 1303382 h 1515279"/>
                    <a:gd name="connsiteX1016" fmla="*/ 227594 w 1551501"/>
                    <a:gd name="connsiteY1016" fmla="*/ 1296742 h 1515279"/>
                    <a:gd name="connsiteX1017" fmla="*/ 222764 w 1551501"/>
                    <a:gd name="connsiteY1017" fmla="*/ 1295534 h 1515279"/>
                    <a:gd name="connsiteX1018" fmla="*/ 222764 w 1551501"/>
                    <a:gd name="connsiteY1018" fmla="*/ 1290101 h 1515279"/>
                    <a:gd name="connsiteX1019" fmla="*/ 223972 w 1551501"/>
                    <a:gd name="connsiteY1019" fmla="*/ 1287082 h 1515279"/>
                    <a:gd name="connsiteX1020" fmla="*/ 230009 w 1551501"/>
                    <a:gd name="connsiteY1020" fmla="*/ 1284668 h 1515279"/>
                    <a:gd name="connsiteX1021" fmla="*/ 233027 w 1551501"/>
                    <a:gd name="connsiteY1021" fmla="*/ 1279838 h 1515279"/>
                    <a:gd name="connsiteX1022" fmla="*/ 241479 w 1551501"/>
                    <a:gd name="connsiteY1022" fmla="*/ 1273801 h 1515279"/>
                    <a:gd name="connsiteX1023" fmla="*/ 243290 w 1551501"/>
                    <a:gd name="connsiteY1023" fmla="*/ 1271990 h 1515279"/>
                    <a:gd name="connsiteX1024" fmla="*/ 248723 w 1551501"/>
                    <a:gd name="connsiteY1024" fmla="*/ 1268368 h 1515279"/>
                    <a:gd name="connsiteX1025" fmla="*/ 252346 w 1551501"/>
                    <a:gd name="connsiteY1025" fmla="*/ 1263538 h 1515279"/>
                    <a:gd name="connsiteX1026" fmla="*/ 256571 w 1551501"/>
                    <a:gd name="connsiteY1026" fmla="*/ 1261123 h 1515279"/>
                    <a:gd name="connsiteX1027" fmla="*/ 258383 w 1551501"/>
                    <a:gd name="connsiteY1027" fmla="*/ 1254483 h 1515279"/>
                    <a:gd name="connsiteX1028" fmla="*/ 257175 w 1551501"/>
                    <a:gd name="connsiteY1028" fmla="*/ 1250861 h 1515279"/>
                    <a:gd name="connsiteX1029" fmla="*/ 255968 w 1551501"/>
                    <a:gd name="connsiteY1029" fmla="*/ 1241805 h 1515279"/>
                    <a:gd name="connsiteX1030" fmla="*/ 257175 w 1551501"/>
                    <a:gd name="connsiteY1030" fmla="*/ 1239994 h 1515279"/>
                    <a:gd name="connsiteX1031" fmla="*/ 264419 w 1551501"/>
                    <a:gd name="connsiteY1031" fmla="*/ 1236976 h 1515279"/>
                    <a:gd name="connsiteX1032" fmla="*/ 269249 w 1551501"/>
                    <a:gd name="connsiteY1032" fmla="*/ 1232146 h 1515279"/>
                    <a:gd name="connsiteX1033" fmla="*/ 276493 w 1551501"/>
                    <a:gd name="connsiteY1033" fmla="*/ 1232750 h 1515279"/>
                    <a:gd name="connsiteX1034" fmla="*/ 275890 w 1551501"/>
                    <a:gd name="connsiteY1034" fmla="*/ 1227920 h 1515279"/>
                    <a:gd name="connsiteX1035" fmla="*/ 280116 w 1551501"/>
                    <a:gd name="connsiteY1035" fmla="*/ 1224902 h 1515279"/>
                    <a:gd name="connsiteX1036" fmla="*/ 280116 w 1551501"/>
                    <a:gd name="connsiteY1036" fmla="*/ 1221883 h 1515279"/>
                    <a:gd name="connsiteX1037" fmla="*/ 274682 w 1551501"/>
                    <a:gd name="connsiteY1037" fmla="*/ 1221883 h 1515279"/>
                    <a:gd name="connsiteX1038" fmla="*/ 272267 w 1551501"/>
                    <a:gd name="connsiteY1038" fmla="*/ 1217657 h 1515279"/>
                    <a:gd name="connsiteX1039" fmla="*/ 268042 w 1551501"/>
                    <a:gd name="connsiteY1039" fmla="*/ 1216450 h 1515279"/>
                    <a:gd name="connsiteX1040" fmla="*/ 270456 w 1551501"/>
                    <a:gd name="connsiteY1040" fmla="*/ 1210413 h 1515279"/>
                    <a:gd name="connsiteX1041" fmla="*/ 266231 w 1551501"/>
                    <a:gd name="connsiteY1041" fmla="*/ 1209809 h 1515279"/>
                    <a:gd name="connsiteX1042" fmla="*/ 262005 w 1551501"/>
                    <a:gd name="connsiteY1042" fmla="*/ 1203772 h 1515279"/>
                    <a:gd name="connsiteX1043" fmla="*/ 263212 w 1551501"/>
                    <a:gd name="connsiteY1043" fmla="*/ 1200754 h 1515279"/>
                    <a:gd name="connsiteX1044" fmla="*/ 260194 w 1551501"/>
                    <a:gd name="connsiteY1044" fmla="*/ 1196528 h 1515279"/>
                    <a:gd name="connsiteX1045" fmla="*/ 260194 w 1551501"/>
                    <a:gd name="connsiteY1045" fmla="*/ 1192906 h 1515279"/>
                    <a:gd name="connsiteX1046" fmla="*/ 252346 w 1551501"/>
                    <a:gd name="connsiteY1046" fmla="*/ 1189887 h 1515279"/>
                    <a:gd name="connsiteX1047" fmla="*/ 257175 w 1551501"/>
                    <a:gd name="connsiteY1047" fmla="*/ 1184454 h 1515279"/>
                    <a:gd name="connsiteX1048" fmla="*/ 255364 w 1551501"/>
                    <a:gd name="connsiteY1048" fmla="*/ 1180228 h 1515279"/>
                    <a:gd name="connsiteX1049" fmla="*/ 249327 w 1551501"/>
                    <a:gd name="connsiteY1049" fmla="*/ 1177210 h 1515279"/>
                    <a:gd name="connsiteX1050" fmla="*/ 257175 w 1551501"/>
                    <a:gd name="connsiteY1050" fmla="*/ 1168758 h 1515279"/>
                    <a:gd name="connsiteX1051" fmla="*/ 257779 w 1551501"/>
                    <a:gd name="connsiteY1051" fmla="*/ 1162721 h 1515279"/>
                    <a:gd name="connsiteX1052" fmla="*/ 260797 w 1551501"/>
                    <a:gd name="connsiteY1052" fmla="*/ 1157287 h 1515279"/>
                    <a:gd name="connsiteX1053" fmla="*/ 263212 w 1551501"/>
                    <a:gd name="connsiteY1053" fmla="*/ 1159099 h 1515279"/>
                    <a:gd name="connsiteX1054" fmla="*/ 268645 w 1551501"/>
                    <a:gd name="connsiteY1054" fmla="*/ 1157287 h 1515279"/>
                    <a:gd name="connsiteX1055" fmla="*/ 269853 w 1551501"/>
                    <a:gd name="connsiteY1055" fmla="*/ 1153665 h 1515279"/>
                    <a:gd name="connsiteX1056" fmla="*/ 275890 w 1551501"/>
                    <a:gd name="connsiteY1056" fmla="*/ 1151854 h 1515279"/>
                    <a:gd name="connsiteX1057" fmla="*/ 272871 w 1551501"/>
                    <a:gd name="connsiteY1057" fmla="*/ 1145214 h 1515279"/>
                    <a:gd name="connsiteX1058" fmla="*/ 272871 w 1551501"/>
                    <a:gd name="connsiteY1058" fmla="*/ 1139177 h 1515279"/>
                    <a:gd name="connsiteX1059" fmla="*/ 276493 w 1551501"/>
                    <a:gd name="connsiteY1059" fmla="*/ 1133140 h 1515279"/>
                    <a:gd name="connsiteX1060" fmla="*/ 281323 w 1551501"/>
                    <a:gd name="connsiteY1060" fmla="*/ 1134951 h 1515279"/>
                    <a:gd name="connsiteX1061" fmla="*/ 287964 w 1551501"/>
                    <a:gd name="connsiteY1061" fmla="*/ 1128310 h 1515279"/>
                    <a:gd name="connsiteX1062" fmla="*/ 297623 w 1551501"/>
                    <a:gd name="connsiteY1062" fmla="*/ 1130121 h 1515279"/>
                    <a:gd name="connsiteX1063" fmla="*/ 301849 w 1551501"/>
                    <a:gd name="connsiteY1063" fmla="*/ 1131932 h 1515279"/>
                    <a:gd name="connsiteX1064" fmla="*/ 308489 w 1551501"/>
                    <a:gd name="connsiteY1064" fmla="*/ 1132536 h 1515279"/>
                    <a:gd name="connsiteX1065" fmla="*/ 313319 w 1551501"/>
                    <a:gd name="connsiteY1065" fmla="*/ 1127103 h 1515279"/>
                    <a:gd name="connsiteX1066" fmla="*/ 316941 w 1551501"/>
                    <a:gd name="connsiteY1066" fmla="*/ 1130121 h 1515279"/>
                    <a:gd name="connsiteX1067" fmla="*/ 322374 w 1551501"/>
                    <a:gd name="connsiteY1067" fmla="*/ 1131932 h 1515279"/>
                    <a:gd name="connsiteX1068" fmla="*/ 328411 w 1551501"/>
                    <a:gd name="connsiteY1068" fmla="*/ 1125292 h 1515279"/>
                    <a:gd name="connsiteX1069" fmla="*/ 335656 w 1551501"/>
                    <a:gd name="connsiteY1069" fmla="*/ 1122877 h 1515279"/>
                    <a:gd name="connsiteX1070" fmla="*/ 339882 w 1551501"/>
                    <a:gd name="connsiteY1070" fmla="*/ 1123481 h 1515279"/>
                    <a:gd name="connsiteX1071" fmla="*/ 352559 w 1551501"/>
                    <a:gd name="connsiteY1071" fmla="*/ 1119858 h 1515279"/>
                    <a:gd name="connsiteX1072" fmla="*/ 354974 w 1551501"/>
                    <a:gd name="connsiteY1072" fmla="*/ 1118651 h 1515279"/>
                    <a:gd name="connsiteX1073" fmla="*/ 356181 w 1551501"/>
                    <a:gd name="connsiteY1073" fmla="*/ 1113821 h 1515279"/>
                    <a:gd name="connsiteX1074" fmla="*/ 356181 w 1551501"/>
                    <a:gd name="connsiteY1074" fmla="*/ 1107181 h 1515279"/>
                    <a:gd name="connsiteX1075" fmla="*/ 351956 w 1551501"/>
                    <a:gd name="connsiteY1075" fmla="*/ 1098729 h 1515279"/>
                    <a:gd name="connsiteX1076" fmla="*/ 345919 w 1551501"/>
                    <a:gd name="connsiteY1076" fmla="*/ 1096314 h 1515279"/>
                    <a:gd name="connsiteX1077" fmla="*/ 342296 w 1551501"/>
                    <a:gd name="connsiteY1077" fmla="*/ 1092692 h 1515279"/>
                    <a:gd name="connsiteX1078" fmla="*/ 342900 w 1551501"/>
                    <a:gd name="connsiteY1078" fmla="*/ 1090277 h 1515279"/>
                    <a:gd name="connsiteX1079" fmla="*/ 348937 w 1551501"/>
                    <a:gd name="connsiteY1079" fmla="*/ 1087259 h 1515279"/>
                    <a:gd name="connsiteX1080" fmla="*/ 349541 w 1551501"/>
                    <a:gd name="connsiteY1080" fmla="*/ 1084240 h 1515279"/>
                    <a:gd name="connsiteX1081" fmla="*/ 353767 w 1551501"/>
                    <a:gd name="connsiteY1081" fmla="*/ 1078203 h 1515279"/>
                    <a:gd name="connsiteX1082" fmla="*/ 357993 w 1551501"/>
                    <a:gd name="connsiteY1082" fmla="*/ 1078203 h 1515279"/>
                    <a:gd name="connsiteX1083" fmla="*/ 356785 w 1551501"/>
                    <a:gd name="connsiteY1083" fmla="*/ 1070959 h 1515279"/>
                    <a:gd name="connsiteX1084" fmla="*/ 362218 w 1551501"/>
                    <a:gd name="connsiteY1084" fmla="*/ 1073374 h 1515279"/>
                    <a:gd name="connsiteX1085" fmla="*/ 362218 w 1551501"/>
                    <a:gd name="connsiteY1085" fmla="*/ 1076996 h 1515279"/>
                    <a:gd name="connsiteX1086" fmla="*/ 367048 w 1551501"/>
                    <a:gd name="connsiteY1086" fmla="*/ 1077600 h 1515279"/>
                    <a:gd name="connsiteX1087" fmla="*/ 367048 w 1551501"/>
                    <a:gd name="connsiteY1087" fmla="*/ 1070355 h 1515279"/>
                    <a:gd name="connsiteX1088" fmla="*/ 362822 w 1551501"/>
                    <a:gd name="connsiteY1088" fmla="*/ 1067940 h 1515279"/>
                    <a:gd name="connsiteX1089" fmla="*/ 365841 w 1551501"/>
                    <a:gd name="connsiteY1089" fmla="*/ 1061903 h 1515279"/>
                    <a:gd name="connsiteX1090" fmla="*/ 371274 w 1551501"/>
                    <a:gd name="connsiteY1090" fmla="*/ 1060696 h 1515279"/>
                    <a:gd name="connsiteX1091" fmla="*/ 371878 w 1551501"/>
                    <a:gd name="connsiteY1091" fmla="*/ 1055866 h 1515279"/>
                    <a:gd name="connsiteX1092" fmla="*/ 369463 w 1551501"/>
                    <a:gd name="connsiteY1092" fmla="*/ 1051640 h 1515279"/>
                    <a:gd name="connsiteX1093" fmla="*/ 373085 w 1551501"/>
                    <a:gd name="connsiteY1093" fmla="*/ 1049226 h 1515279"/>
                    <a:gd name="connsiteX1094" fmla="*/ 377311 w 1551501"/>
                    <a:gd name="connsiteY1094" fmla="*/ 1044396 h 1515279"/>
                    <a:gd name="connsiteX1095" fmla="*/ 383348 w 1551501"/>
                    <a:gd name="connsiteY1095" fmla="*/ 1034737 h 1515279"/>
                    <a:gd name="connsiteX1096" fmla="*/ 384555 w 1551501"/>
                    <a:gd name="connsiteY1096" fmla="*/ 1026285 h 1515279"/>
                    <a:gd name="connsiteX1097" fmla="*/ 383348 w 1551501"/>
                    <a:gd name="connsiteY1097" fmla="*/ 1023870 h 1515279"/>
                    <a:gd name="connsiteX1098" fmla="*/ 391196 w 1551501"/>
                    <a:gd name="connsiteY1098" fmla="*/ 1015419 h 1515279"/>
                    <a:gd name="connsiteX1099" fmla="*/ 395422 w 1551501"/>
                    <a:gd name="connsiteY1099" fmla="*/ 1013608 h 1515279"/>
                    <a:gd name="connsiteX1100" fmla="*/ 389385 w 1551501"/>
                    <a:gd name="connsiteY1100" fmla="*/ 1007571 h 1515279"/>
                    <a:gd name="connsiteX1101" fmla="*/ 388177 w 1551501"/>
                    <a:gd name="connsiteY1101" fmla="*/ 1003948 h 1515279"/>
                    <a:gd name="connsiteX1102" fmla="*/ 383348 w 1551501"/>
                    <a:gd name="connsiteY1102" fmla="*/ 1000930 h 1515279"/>
                    <a:gd name="connsiteX1103" fmla="*/ 386970 w 1551501"/>
                    <a:gd name="connsiteY1103" fmla="*/ 997308 h 1515279"/>
                    <a:gd name="connsiteX1104" fmla="*/ 392403 w 1551501"/>
                    <a:gd name="connsiteY1104" fmla="*/ 997911 h 1515279"/>
                    <a:gd name="connsiteX1105" fmla="*/ 395422 w 1551501"/>
                    <a:gd name="connsiteY1105" fmla="*/ 996704 h 1515279"/>
                    <a:gd name="connsiteX1106" fmla="*/ 395422 w 1551501"/>
                    <a:gd name="connsiteY1106" fmla="*/ 993082 h 1515279"/>
                    <a:gd name="connsiteX1107" fmla="*/ 389988 w 1551501"/>
                    <a:gd name="connsiteY1107" fmla="*/ 988252 h 1515279"/>
                    <a:gd name="connsiteX1108" fmla="*/ 393007 w 1551501"/>
                    <a:gd name="connsiteY1108" fmla="*/ 985837 h 1515279"/>
                    <a:gd name="connsiteX1109" fmla="*/ 395422 w 1551501"/>
                    <a:gd name="connsiteY1109" fmla="*/ 987045 h 1515279"/>
                    <a:gd name="connsiteX1110" fmla="*/ 399044 w 1551501"/>
                    <a:gd name="connsiteY1110" fmla="*/ 983423 h 1515279"/>
                    <a:gd name="connsiteX1111" fmla="*/ 398440 w 1551501"/>
                    <a:gd name="connsiteY1111" fmla="*/ 979197 h 1515279"/>
                    <a:gd name="connsiteX1112" fmla="*/ 403270 w 1551501"/>
                    <a:gd name="connsiteY1112" fmla="*/ 979800 h 1515279"/>
                    <a:gd name="connsiteX1113" fmla="*/ 408099 w 1551501"/>
                    <a:gd name="connsiteY1113" fmla="*/ 975575 h 1515279"/>
                    <a:gd name="connsiteX1114" fmla="*/ 404477 w 1551501"/>
                    <a:gd name="connsiteY1114" fmla="*/ 973764 h 1515279"/>
                    <a:gd name="connsiteX1115" fmla="*/ 406892 w 1551501"/>
                    <a:gd name="connsiteY1115" fmla="*/ 967123 h 1515279"/>
                    <a:gd name="connsiteX1116" fmla="*/ 411118 w 1551501"/>
                    <a:gd name="connsiteY1116" fmla="*/ 966519 h 1515279"/>
                    <a:gd name="connsiteX1117" fmla="*/ 415344 w 1551501"/>
                    <a:gd name="connsiteY1117" fmla="*/ 960482 h 1515279"/>
                    <a:gd name="connsiteX1118" fmla="*/ 421381 w 1551501"/>
                    <a:gd name="connsiteY1118" fmla="*/ 959879 h 1515279"/>
                    <a:gd name="connsiteX1119" fmla="*/ 418966 w 1551501"/>
                    <a:gd name="connsiteY1119" fmla="*/ 951427 h 1515279"/>
                    <a:gd name="connsiteX1120" fmla="*/ 411118 w 1551501"/>
                    <a:gd name="connsiteY1120" fmla="*/ 949012 h 1515279"/>
                    <a:gd name="connsiteX1121" fmla="*/ 413533 w 1551501"/>
                    <a:gd name="connsiteY1121" fmla="*/ 945993 h 1515279"/>
                    <a:gd name="connsiteX1122" fmla="*/ 411722 w 1551501"/>
                    <a:gd name="connsiteY1122" fmla="*/ 939353 h 1515279"/>
                    <a:gd name="connsiteX1123" fmla="*/ 418966 w 1551501"/>
                    <a:gd name="connsiteY1123" fmla="*/ 936938 h 1515279"/>
                    <a:gd name="connsiteX1124" fmla="*/ 421381 w 1551501"/>
                    <a:gd name="connsiteY1124" fmla="*/ 930297 h 1515279"/>
                    <a:gd name="connsiteX1125" fmla="*/ 414136 w 1551501"/>
                    <a:gd name="connsiteY1125" fmla="*/ 927279 h 1515279"/>
                    <a:gd name="connsiteX1126" fmla="*/ 409307 w 1551501"/>
                    <a:gd name="connsiteY1126" fmla="*/ 929694 h 1515279"/>
                    <a:gd name="connsiteX1127" fmla="*/ 404477 w 1551501"/>
                    <a:gd name="connsiteY1127" fmla="*/ 926675 h 1515279"/>
                    <a:gd name="connsiteX1128" fmla="*/ 408099 w 1551501"/>
                    <a:gd name="connsiteY1128" fmla="*/ 921242 h 1515279"/>
                    <a:gd name="connsiteX1129" fmla="*/ 407496 w 1551501"/>
                    <a:gd name="connsiteY1129" fmla="*/ 917016 h 1515279"/>
                    <a:gd name="connsiteX1130" fmla="*/ 401459 w 1551501"/>
                    <a:gd name="connsiteY1130" fmla="*/ 911583 h 1515279"/>
                    <a:gd name="connsiteX1131" fmla="*/ 402062 w 1551501"/>
                    <a:gd name="connsiteY1131" fmla="*/ 909168 h 1515279"/>
                    <a:gd name="connsiteX1132" fmla="*/ 394818 w 1551501"/>
                    <a:gd name="connsiteY1132" fmla="*/ 905546 h 1515279"/>
                    <a:gd name="connsiteX1133" fmla="*/ 394818 w 1551501"/>
                    <a:gd name="connsiteY1133" fmla="*/ 900716 h 1515279"/>
                    <a:gd name="connsiteX1134" fmla="*/ 391196 w 1551501"/>
                    <a:gd name="connsiteY1134" fmla="*/ 895887 h 1515279"/>
                    <a:gd name="connsiteX1135" fmla="*/ 396025 w 1551501"/>
                    <a:gd name="connsiteY1135" fmla="*/ 892264 h 1515279"/>
                    <a:gd name="connsiteX1136" fmla="*/ 395422 w 1551501"/>
                    <a:gd name="connsiteY1136" fmla="*/ 888642 h 1515279"/>
                    <a:gd name="connsiteX1137" fmla="*/ 392403 w 1551501"/>
                    <a:gd name="connsiteY1137" fmla="*/ 883813 h 1515279"/>
                    <a:gd name="connsiteX1138" fmla="*/ 395422 w 1551501"/>
                    <a:gd name="connsiteY1138" fmla="*/ 877172 h 1515279"/>
                    <a:gd name="connsiteX1139" fmla="*/ 391800 w 1551501"/>
                    <a:gd name="connsiteY1139" fmla="*/ 874757 h 1515279"/>
                    <a:gd name="connsiteX1140" fmla="*/ 384555 w 1551501"/>
                    <a:gd name="connsiteY1140" fmla="*/ 880190 h 1515279"/>
                    <a:gd name="connsiteX1141" fmla="*/ 382140 w 1551501"/>
                    <a:gd name="connsiteY1141" fmla="*/ 877776 h 1515279"/>
                    <a:gd name="connsiteX1142" fmla="*/ 384555 w 1551501"/>
                    <a:gd name="connsiteY1142" fmla="*/ 872342 h 1515279"/>
                    <a:gd name="connsiteX1143" fmla="*/ 375500 w 1551501"/>
                    <a:gd name="connsiteY1143" fmla="*/ 868117 h 1515279"/>
                    <a:gd name="connsiteX1144" fmla="*/ 370670 w 1551501"/>
                    <a:gd name="connsiteY1144" fmla="*/ 870531 h 1515279"/>
                    <a:gd name="connsiteX1145" fmla="*/ 367048 w 1551501"/>
                    <a:gd name="connsiteY1145" fmla="*/ 870531 h 1515279"/>
                    <a:gd name="connsiteX1146" fmla="*/ 362218 w 1551501"/>
                    <a:gd name="connsiteY1146" fmla="*/ 865702 h 1515279"/>
                    <a:gd name="connsiteX1147" fmla="*/ 356181 w 1551501"/>
                    <a:gd name="connsiteY1147" fmla="*/ 856043 h 1515279"/>
                    <a:gd name="connsiteX1148" fmla="*/ 353767 w 1551501"/>
                    <a:gd name="connsiteY1148" fmla="*/ 855439 h 1515279"/>
                    <a:gd name="connsiteX1149" fmla="*/ 345919 w 1551501"/>
                    <a:gd name="connsiteY1149" fmla="*/ 856043 h 1515279"/>
                    <a:gd name="connsiteX1150" fmla="*/ 341693 w 1551501"/>
                    <a:gd name="connsiteY1150" fmla="*/ 850006 h 1515279"/>
                    <a:gd name="connsiteX1151" fmla="*/ 336863 w 1551501"/>
                    <a:gd name="connsiteY1151" fmla="*/ 852420 h 1515279"/>
                    <a:gd name="connsiteX1152" fmla="*/ 336259 w 1551501"/>
                    <a:gd name="connsiteY1152" fmla="*/ 848195 h 1515279"/>
                    <a:gd name="connsiteX1153" fmla="*/ 328411 w 1551501"/>
                    <a:gd name="connsiteY1153" fmla="*/ 850006 h 1515279"/>
                    <a:gd name="connsiteX1154" fmla="*/ 324789 w 1551501"/>
                    <a:gd name="connsiteY1154" fmla="*/ 855439 h 1515279"/>
                    <a:gd name="connsiteX1155" fmla="*/ 316941 w 1551501"/>
                    <a:gd name="connsiteY1155" fmla="*/ 854232 h 1515279"/>
                    <a:gd name="connsiteX1156" fmla="*/ 312715 w 1551501"/>
                    <a:gd name="connsiteY1156" fmla="*/ 858457 h 1515279"/>
                    <a:gd name="connsiteX1157" fmla="*/ 305471 w 1551501"/>
                    <a:gd name="connsiteY1157" fmla="*/ 857854 h 1515279"/>
                    <a:gd name="connsiteX1158" fmla="*/ 295208 w 1551501"/>
                    <a:gd name="connsiteY1158" fmla="*/ 851817 h 1515279"/>
                    <a:gd name="connsiteX1159" fmla="*/ 283134 w 1551501"/>
                    <a:gd name="connsiteY1159" fmla="*/ 849402 h 1515279"/>
                    <a:gd name="connsiteX1160" fmla="*/ 280719 w 1551501"/>
                    <a:gd name="connsiteY1160" fmla="*/ 847591 h 1515279"/>
                    <a:gd name="connsiteX1161" fmla="*/ 276493 w 1551501"/>
                    <a:gd name="connsiteY1161" fmla="*/ 840950 h 1515279"/>
                    <a:gd name="connsiteX1162" fmla="*/ 268042 w 1551501"/>
                    <a:gd name="connsiteY1162" fmla="*/ 842158 h 1515279"/>
                    <a:gd name="connsiteX1163" fmla="*/ 263816 w 1551501"/>
                    <a:gd name="connsiteY1163" fmla="*/ 831895 h 1515279"/>
                    <a:gd name="connsiteX1164" fmla="*/ 258986 w 1551501"/>
                    <a:gd name="connsiteY1164" fmla="*/ 831291 h 1515279"/>
                    <a:gd name="connsiteX1165" fmla="*/ 246912 w 1551501"/>
                    <a:gd name="connsiteY1165" fmla="*/ 833706 h 1515279"/>
                    <a:gd name="connsiteX1166" fmla="*/ 243894 w 1551501"/>
                    <a:gd name="connsiteY1166" fmla="*/ 836724 h 1515279"/>
                    <a:gd name="connsiteX1167" fmla="*/ 243290 w 1551501"/>
                    <a:gd name="connsiteY1167" fmla="*/ 842761 h 1515279"/>
                    <a:gd name="connsiteX1168" fmla="*/ 241479 w 1551501"/>
                    <a:gd name="connsiteY1168" fmla="*/ 843365 h 1515279"/>
                    <a:gd name="connsiteX1169" fmla="*/ 234838 w 1551501"/>
                    <a:gd name="connsiteY1169" fmla="*/ 839743 h 1515279"/>
                    <a:gd name="connsiteX1170" fmla="*/ 231820 w 1551501"/>
                    <a:gd name="connsiteY1170" fmla="*/ 839743 h 1515279"/>
                    <a:gd name="connsiteX1171" fmla="*/ 231216 w 1551501"/>
                    <a:gd name="connsiteY1171" fmla="*/ 830687 h 1515279"/>
                    <a:gd name="connsiteX1172" fmla="*/ 235442 w 1551501"/>
                    <a:gd name="connsiteY1172" fmla="*/ 829480 h 1515279"/>
                    <a:gd name="connsiteX1173" fmla="*/ 240272 w 1551501"/>
                    <a:gd name="connsiteY1173" fmla="*/ 825254 h 1515279"/>
                    <a:gd name="connsiteX1174" fmla="*/ 242686 w 1551501"/>
                    <a:gd name="connsiteY1174" fmla="*/ 818010 h 1515279"/>
                    <a:gd name="connsiteX1175" fmla="*/ 236649 w 1551501"/>
                    <a:gd name="connsiteY1175" fmla="*/ 817406 h 1515279"/>
                    <a:gd name="connsiteX1176" fmla="*/ 228198 w 1551501"/>
                    <a:gd name="connsiteY1176" fmla="*/ 814387 h 1515279"/>
                    <a:gd name="connsiteX1177" fmla="*/ 217331 w 1551501"/>
                    <a:gd name="connsiteY1177" fmla="*/ 811973 h 1515279"/>
                    <a:gd name="connsiteX1178" fmla="*/ 212501 w 1551501"/>
                    <a:gd name="connsiteY1178" fmla="*/ 812576 h 1515279"/>
                    <a:gd name="connsiteX1179" fmla="*/ 211898 w 1551501"/>
                    <a:gd name="connsiteY1179" fmla="*/ 818613 h 1515279"/>
                    <a:gd name="connsiteX1180" fmla="*/ 210087 w 1551501"/>
                    <a:gd name="connsiteY1180" fmla="*/ 822839 h 1515279"/>
                    <a:gd name="connsiteX1181" fmla="*/ 206465 w 1551501"/>
                    <a:gd name="connsiteY1181" fmla="*/ 824650 h 1515279"/>
                    <a:gd name="connsiteX1182" fmla="*/ 201031 w 1551501"/>
                    <a:gd name="connsiteY1182" fmla="*/ 821632 h 1515279"/>
                    <a:gd name="connsiteX1183" fmla="*/ 197409 w 1551501"/>
                    <a:gd name="connsiteY1183" fmla="*/ 821632 h 1515279"/>
                    <a:gd name="connsiteX1184" fmla="*/ 198013 w 1551501"/>
                    <a:gd name="connsiteY1184" fmla="*/ 828876 h 1515279"/>
                    <a:gd name="connsiteX1185" fmla="*/ 196202 w 1551501"/>
                    <a:gd name="connsiteY1185" fmla="*/ 831291 h 1515279"/>
                    <a:gd name="connsiteX1186" fmla="*/ 191976 w 1551501"/>
                    <a:gd name="connsiteY1186" fmla="*/ 823443 h 1515279"/>
                    <a:gd name="connsiteX1187" fmla="*/ 187146 w 1551501"/>
                    <a:gd name="connsiteY1187" fmla="*/ 822839 h 1515279"/>
                    <a:gd name="connsiteX1188" fmla="*/ 183524 w 1551501"/>
                    <a:gd name="connsiteY1188" fmla="*/ 825858 h 1515279"/>
                    <a:gd name="connsiteX1189" fmla="*/ 181109 w 1551501"/>
                    <a:gd name="connsiteY1189" fmla="*/ 822235 h 1515279"/>
                    <a:gd name="connsiteX1190" fmla="*/ 176883 w 1551501"/>
                    <a:gd name="connsiteY1190" fmla="*/ 825254 h 1515279"/>
                    <a:gd name="connsiteX1191" fmla="*/ 173865 w 1551501"/>
                    <a:gd name="connsiteY1191" fmla="*/ 822235 h 1515279"/>
                    <a:gd name="connsiteX1192" fmla="*/ 170243 w 1551501"/>
                    <a:gd name="connsiteY1192" fmla="*/ 822235 h 1515279"/>
                    <a:gd name="connsiteX1193" fmla="*/ 166017 w 1551501"/>
                    <a:gd name="connsiteY1193" fmla="*/ 827669 h 1515279"/>
                    <a:gd name="connsiteX1194" fmla="*/ 162395 w 1551501"/>
                    <a:gd name="connsiteY1194" fmla="*/ 824047 h 1515279"/>
                    <a:gd name="connsiteX1195" fmla="*/ 148510 w 1551501"/>
                    <a:gd name="connsiteY1195" fmla="*/ 818613 h 1515279"/>
                    <a:gd name="connsiteX1196" fmla="*/ 145491 w 1551501"/>
                    <a:gd name="connsiteY1196" fmla="*/ 819821 h 1515279"/>
                    <a:gd name="connsiteX1197" fmla="*/ 140662 w 1551501"/>
                    <a:gd name="connsiteY1197" fmla="*/ 816199 h 1515279"/>
                    <a:gd name="connsiteX1198" fmla="*/ 137039 w 1551501"/>
                    <a:gd name="connsiteY1198" fmla="*/ 819217 h 1515279"/>
                    <a:gd name="connsiteX1199" fmla="*/ 132210 w 1551501"/>
                    <a:gd name="connsiteY1199" fmla="*/ 819821 h 1515279"/>
                    <a:gd name="connsiteX1200" fmla="*/ 129191 w 1551501"/>
                    <a:gd name="connsiteY1200" fmla="*/ 824650 h 1515279"/>
                    <a:gd name="connsiteX1201" fmla="*/ 130399 w 1551501"/>
                    <a:gd name="connsiteY1201" fmla="*/ 829480 h 1515279"/>
                    <a:gd name="connsiteX1202" fmla="*/ 121343 w 1551501"/>
                    <a:gd name="connsiteY1202" fmla="*/ 831291 h 1515279"/>
                    <a:gd name="connsiteX1203" fmla="*/ 118325 w 1551501"/>
                    <a:gd name="connsiteY1203" fmla="*/ 835517 h 1515279"/>
                    <a:gd name="connsiteX1204" fmla="*/ 111684 w 1551501"/>
                    <a:gd name="connsiteY1204" fmla="*/ 837328 h 1515279"/>
                    <a:gd name="connsiteX1205" fmla="*/ 108062 w 1551501"/>
                    <a:gd name="connsiteY1205" fmla="*/ 840346 h 1515279"/>
                    <a:gd name="connsiteX1206" fmla="*/ 100818 w 1551501"/>
                    <a:gd name="connsiteY1206" fmla="*/ 840950 h 1515279"/>
                    <a:gd name="connsiteX1207" fmla="*/ 99006 w 1551501"/>
                    <a:gd name="connsiteY1207" fmla="*/ 842761 h 1515279"/>
                    <a:gd name="connsiteX1208" fmla="*/ 89951 w 1551501"/>
                    <a:gd name="connsiteY1208" fmla="*/ 843365 h 1515279"/>
                    <a:gd name="connsiteX1209" fmla="*/ 88744 w 1551501"/>
                    <a:gd name="connsiteY1209" fmla="*/ 837932 h 1515279"/>
                    <a:gd name="connsiteX1210" fmla="*/ 85121 w 1551501"/>
                    <a:gd name="connsiteY1210" fmla="*/ 837328 h 1515279"/>
                    <a:gd name="connsiteX1211" fmla="*/ 82103 w 1551501"/>
                    <a:gd name="connsiteY1211" fmla="*/ 851213 h 1515279"/>
                    <a:gd name="connsiteX1212" fmla="*/ 84518 w 1551501"/>
                    <a:gd name="connsiteY1212" fmla="*/ 856043 h 1515279"/>
                    <a:gd name="connsiteX1213" fmla="*/ 81499 w 1551501"/>
                    <a:gd name="connsiteY1213" fmla="*/ 859061 h 1515279"/>
                    <a:gd name="connsiteX1214" fmla="*/ 74859 w 1551501"/>
                    <a:gd name="connsiteY1214" fmla="*/ 860872 h 1515279"/>
                    <a:gd name="connsiteX1215" fmla="*/ 78481 w 1551501"/>
                    <a:gd name="connsiteY1215" fmla="*/ 855439 h 1515279"/>
                    <a:gd name="connsiteX1216" fmla="*/ 75462 w 1551501"/>
                    <a:gd name="connsiteY1216" fmla="*/ 853024 h 1515279"/>
                    <a:gd name="connsiteX1217" fmla="*/ 71236 w 1551501"/>
                    <a:gd name="connsiteY1217" fmla="*/ 851817 h 1515279"/>
                    <a:gd name="connsiteX1218" fmla="*/ 73047 w 1551501"/>
                    <a:gd name="connsiteY1218" fmla="*/ 843969 h 1515279"/>
                    <a:gd name="connsiteX1219" fmla="*/ 68822 w 1551501"/>
                    <a:gd name="connsiteY1219" fmla="*/ 838535 h 1515279"/>
                    <a:gd name="connsiteX1220" fmla="*/ 70029 w 1551501"/>
                    <a:gd name="connsiteY1220" fmla="*/ 833102 h 1515279"/>
                    <a:gd name="connsiteX1221" fmla="*/ 75462 w 1551501"/>
                    <a:gd name="connsiteY1221" fmla="*/ 831291 h 1515279"/>
                    <a:gd name="connsiteX1222" fmla="*/ 76670 w 1551501"/>
                    <a:gd name="connsiteY1222" fmla="*/ 827669 h 1515279"/>
                    <a:gd name="connsiteX1223" fmla="*/ 82103 w 1551501"/>
                    <a:gd name="connsiteY1223" fmla="*/ 824650 h 1515279"/>
                    <a:gd name="connsiteX1224" fmla="*/ 89347 w 1551501"/>
                    <a:gd name="connsiteY1224" fmla="*/ 821632 h 1515279"/>
                    <a:gd name="connsiteX1225" fmla="*/ 102025 w 1551501"/>
                    <a:gd name="connsiteY1225" fmla="*/ 818010 h 1515279"/>
                    <a:gd name="connsiteX1226" fmla="*/ 115306 w 1551501"/>
                    <a:gd name="connsiteY1226" fmla="*/ 809558 h 1515279"/>
                    <a:gd name="connsiteX1227" fmla="*/ 120739 w 1551501"/>
                    <a:gd name="connsiteY1227" fmla="*/ 807143 h 1515279"/>
                    <a:gd name="connsiteX1228" fmla="*/ 125569 w 1551501"/>
                    <a:gd name="connsiteY1228" fmla="*/ 807143 h 1515279"/>
                    <a:gd name="connsiteX1229" fmla="*/ 129795 w 1551501"/>
                    <a:gd name="connsiteY1229" fmla="*/ 804125 h 1515279"/>
                    <a:gd name="connsiteX1230" fmla="*/ 134625 w 1551501"/>
                    <a:gd name="connsiteY1230" fmla="*/ 804728 h 1515279"/>
                    <a:gd name="connsiteX1231" fmla="*/ 136436 w 1551501"/>
                    <a:gd name="connsiteY1231" fmla="*/ 799295 h 1515279"/>
                    <a:gd name="connsiteX1232" fmla="*/ 134021 w 1551501"/>
                    <a:gd name="connsiteY1232" fmla="*/ 794466 h 1515279"/>
                    <a:gd name="connsiteX1233" fmla="*/ 131606 w 1551501"/>
                    <a:gd name="connsiteY1233" fmla="*/ 796277 h 1515279"/>
                    <a:gd name="connsiteX1234" fmla="*/ 131606 w 1551501"/>
                    <a:gd name="connsiteY1234" fmla="*/ 802314 h 1515279"/>
                    <a:gd name="connsiteX1235" fmla="*/ 127984 w 1551501"/>
                    <a:gd name="connsiteY1235" fmla="*/ 802314 h 1515279"/>
                    <a:gd name="connsiteX1236" fmla="*/ 120739 w 1551501"/>
                    <a:gd name="connsiteY1236" fmla="*/ 790843 h 1515279"/>
                    <a:gd name="connsiteX1237" fmla="*/ 118325 w 1551501"/>
                    <a:gd name="connsiteY1237" fmla="*/ 796880 h 1515279"/>
                    <a:gd name="connsiteX1238" fmla="*/ 106251 w 1551501"/>
                    <a:gd name="connsiteY1238" fmla="*/ 795673 h 1515279"/>
                    <a:gd name="connsiteX1239" fmla="*/ 97799 w 1551501"/>
                    <a:gd name="connsiteY1239" fmla="*/ 790843 h 1515279"/>
                    <a:gd name="connsiteX1240" fmla="*/ 99006 w 1551501"/>
                    <a:gd name="connsiteY1240" fmla="*/ 784203 h 1515279"/>
                    <a:gd name="connsiteX1241" fmla="*/ 95384 w 1551501"/>
                    <a:gd name="connsiteY1241" fmla="*/ 783599 h 1515279"/>
                    <a:gd name="connsiteX1242" fmla="*/ 91158 w 1551501"/>
                    <a:gd name="connsiteY1242" fmla="*/ 786617 h 1515279"/>
                    <a:gd name="connsiteX1243" fmla="*/ 89347 w 1551501"/>
                    <a:gd name="connsiteY1243" fmla="*/ 781788 h 1515279"/>
                    <a:gd name="connsiteX1244" fmla="*/ 94781 w 1551501"/>
                    <a:gd name="connsiteY1244" fmla="*/ 775147 h 1515279"/>
                    <a:gd name="connsiteX1245" fmla="*/ 105647 w 1551501"/>
                    <a:gd name="connsiteY1245" fmla="*/ 772129 h 1515279"/>
                    <a:gd name="connsiteX1246" fmla="*/ 105043 w 1551501"/>
                    <a:gd name="connsiteY1246" fmla="*/ 769714 h 1515279"/>
                    <a:gd name="connsiteX1247" fmla="*/ 107458 w 1551501"/>
                    <a:gd name="connsiteY1247" fmla="*/ 766695 h 1515279"/>
                    <a:gd name="connsiteX1248" fmla="*/ 109269 w 1551501"/>
                    <a:gd name="connsiteY1248" fmla="*/ 761866 h 1515279"/>
                    <a:gd name="connsiteX1249" fmla="*/ 112891 w 1551501"/>
                    <a:gd name="connsiteY1249" fmla="*/ 762469 h 1515279"/>
                    <a:gd name="connsiteX1250" fmla="*/ 117721 w 1551501"/>
                    <a:gd name="connsiteY1250" fmla="*/ 761262 h 1515279"/>
                    <a:gd name="connsiteX1251" fmla="*/ 121343 w 1551501"/>
                    <a:gd name="connsiteY1251" fmla="*/ 755829 h 1515279"/>
                    <a:gd name="connsiteX1252" fmla="*/ 115306 w 1551501"/>
                    <a:gd name="connsiteY1252" fmla="*/ 752207 h 1515279"/>
                    <a:gd name="connsiteX1253" fmla="*/ 115306 w 1551501"/>
                    <a:gd name="connsiteY1253" fmla="*/ 746773 h 1515279"/>
                    <a:gd name="connsiteX1254" fmla="*/ 111080 w 1551501"/>
                    <a:gd name="connsiteY1254" fmla="*/ 740736 h 1515279"/>
                    <a:gd name="connsiteX1255" fmla="*/ 107458 w 1551501"/>
                    <a:gd name="connsiteY1255" fmla="*/ 738925 h 1515279"/>
                    <a:gd name="connsiteX1256" fmla="*/ 108062 w 1551501"/>
                    <a:gd name="connsiteY1256" fmla="*/ 735303 h 1515279"/>
                    <a:gd name="connsiteX1257" fmla="*/ 104440 w 1551501"/>
                    <a:gd name="connsiteY1257" fmla="*/ 732285 h 1515279"/>
                    <a:gd name="connsiteX1258" fmla="*/ 109269 w 1551501"/>
                    <a:gd name="connsiteY1258" fmla="*/ 729266 h 1515279"/>
                    <a:gd name="connsiteX1259" fmla="*/ 109873 w 1551501"/>
                    <a:gd name="connsiteY1259" fmla="*/ 723833 h 1515279"/>
                    <a:gd name="connsiteX1260" fmla="*/ 105043 w 1551501"/>
                    <a:gd name="connsiteY1260" fmla="*/ 723833 h 1515279"/>
                    <a:gd name="connsiteX1261" fmla="*/ 101421 w 1551501"/>
                    <a:gd name="connsiteY1261" fmla="*/ 726248 h 1515279"/>
                    <a:gd name="connsiteX1262" fmla="*/ 94781 w 1551501"/>
                    <a:gd name="connsiteY1262" fmla="*/ 722625 h 1515279"/>
                    <a:gd name="connsiteX1263" fmla="*/ 85121 w 1551501"/>
                    <a:gd name="connsiteY1263" fmla="*/ 713570 h 1515279"/>
                    <a:gd name="connsiteX1264" fmla="*/ 79084 w 1551501"/>
                    <a:gd name="connsiteY1264" fmla="*/ 712966 h 1515279"/>
                    <a:gd name="connsiteX1265" fmla="*/ 71840 w 1551501"/>
                    <a:gd name="connsiteY1265" fmla="*/ 709344 h 1515279"/>
                    <a:gd name="connsiteX1266" fmla="*/ 68218 w 1551501"/>
                    <a:gd name="connsiteY1266" fmla="*/ 703307 h 1515279"/>
                    <a:gd name="connsiteX1267" fmla="*/ 71236 w 1551501"/>
                    <a:gd name="connsiteY1267" fmla="*/ 694856 h 1515279"/>
                    <a:gd name="connsiteX1268" fmla="*/ 63992 w 1551501"/>
                    <a:gd name="connsiteY1268" fmla="*/ 690630 h 1515279"/>
                    <a:gd name="connsiteX1269" fmla="*/ 63388 w 1551501"/>
                    <a:gd name="connsiteY1269" fmla="*/ 685800 h 1515279"/>
                    <a:gd name="connsiteX1270" fmla="*/ 60370 w 1551501"/>
                    <a:gd name="connsiteY1270" fmla="*/ 681574 h 1515279"/>
                    <a:gd name="connsiteX1271" fmla="*/ 52522 w 1551501"/>
                    <a:gd name="connsiteY1271" fmla="*/ 680367 h 1515279"/>
                    <a:gd name="connsiteX1272" fmla="*/ 51314 w 1551501"/>
                    <a:gd name="connsiteY1272" fmla="*/ 677348 h 1515279"/>
                    <a:gd name="connsiteX1273" fmla="*/ 50711 w 1551501"/>
                    <a:gd name="connsiteY1273" fmla="*/ 669500 h 1515279"/>
                    <a:gd name="connsiteX1274" fmla="*/ 54936 w 1551501"/>
                    <a:gd name="connsiteY1274" fmla="*/ 664671 h 1515279"/>
                    <a:gd name="connsiteX1275" fmla="*/ 50107 w 1551501"/>
                    <a:gd name="connsiteY1275" fmla="*/ 663463 h 1515279"/>
                    <a:gd name="connsiteX1276" fmla="*/ 47088 w 1551501"/>
                    <a:gd name="connsiteY1276" fmla="*/ 660445 h 1515279"/>
                    <a:gd name="connsiteX1277" fmla="*/ 53125 w 1551501"/>
                    <a:gd name="connsiteY1277" fmla="*/ 650786 h 1515279"/>
                    <a:gd name="connsiteX1278" fmla="*/ 51918 w 1551501"/>
                    <a:gd name="connsiteY1278" fmla="*/ 644145 h 1515279"/>
                    <a:gd name="connsiteX1279" fmla="*/ 51314 w 1551501"/>
                    <a:gd name="connsiteY1279" fmla="*/ 637504 h 1515279"/>
                    <a:gd name="connsiteX1280" fmla="*/ 45277 w 1551501"/>
                    <a:gd name="connsiteY1280" fmla="*/ 636297 h 1515279"/>
                    <a:gd name="connsiteX1281" fmla="*/ 43466 w 1551501"/>
                    <a:gd name="connsiteY1281" fmla="*/ 632675 h 1515279"/>
                    <a:gd name="connsiteX1282" fmla="*/ 46485 w 1551501"/>
                    <a:gd name="connsiteY1282" fmla="*/ 630864 h 1515279"/>
                    <a:gd name="connsiteX1283" fmla="*/ 44674 w 1551501"/>
                    <a:gd name="connsiteY1283" fmla="*/ 626638 h 1515279"/>
                    <a:gd name="connsiteX1284" fmla="*/ 45277 w 1551501"/>
                    <a:gd name="connsiteY1284" fmla="*/ 619393 h 1515279"/>
                    <a:gd name="connsiteX1285" fmla="*/ 43466 w 1551501"/>
                    <a:gd name="connsiteY1285" fmla="*/ 616375 h 1515279"/>
                    <a:gd name="connsiteX1286" fmla="*/ 39240 w 1551501"/>
                    <a:gd name="connsiteY1286" fmla="*/ 614564 h 1515279"/>
                    <a:gd name="connsiteX1287" fmla="*/ 47088 w 1551501"/>
                    <a:gd name="connsiteY1287" fmla="*/ 609130 h 1515279"/>
                    <a:gd name="connsiteX1288" fmla="*/ 52522 w 1551501"/>
                    <a:gd name="connsiteY1288" fmla="*/ 602490 h 1515279"/>
                    <a:gd name="connsiteX1289" fmla="*/ 59766 w 1551501"/>
                    <a:gd name="connsiteY1289" fmla="*/ 601282 h 1515279"/>
                    <a:gd name="connsiteX1290" fmla="*/ 67614 w 1551501"/>
                    <a:gd name="connsiteY1290" fmla="*/ 602490 h 1515279"/>
                    <a:gd name="connsiteX1291" fmla="*/ 65199 w 1551501"/>
                    <a:gd name="connsiteY1291" fmla="*/ 597057 h 1515279"/>
                    <a:gd name="connsiteX1292" fmla="*/ 69425 w 1551501"/>
                    <a:gd name="connsiteY1292" fmla="*/ 594038 h 1515279"/>
                    <a:gd name="connsiteX1293" fmla="*/ 73651 w 1551501"/>
                    <a:gd name="connsiteY1293" fmla="*/ 598264 h 1515279"/>
                    <a:gd name="connsiteX1294" fmla="*/ 79688 w 1551501"/>
                    <a:gd name="connsiteY1294" fmla="*/ 594038 h 1515279"/>
                    <a:gd name="connsiteX1295" fmla="*/ 80292 w 1551501"/>
                    <a:gd name="connsiteY1295" fmla="*/ 590416 h 1515279"/>
                    <a:gd name="connsiteX1296" fmla="*/ 79084 w 1551501"/>
                    <a:gd name="connsiteY1296" fmla="*/ 585586 h 1515279"/>
                    <a:gd name="connsiteX1297" fmla="*/ 89951 w 1551501"/>
                    <a:gd name="connsiteY1297" fmla="*/ 585586 h 1515279"/>
                    <a:gd name="connsiteX1298" fmla="*/ 92970 w 1551501"/>
                    <a:gd name="connsiteY1298" fmla="*/ 581360 h 1515279"/>
                    <a:gd name="connsiteX1299" fmla="*/ 92970 w 1551501"/>
                    <a:gd name="connsiteY1299" fmla="*/ 577738 h 1515279"/>
                    <a:gd name="connsiteX1300" fmla="*/ 87536 w 1551501"/>
                    <a:gd name="connsiteY1300" fmla="*/ 575927 h 1515279"/>
                    <a:gd name="connsiteX1301" fmla="*/ 92970 w 1551501"/>
                    <a:gd name="connsiteY1301" fmla="*/ 571098 h 1515279"/>
                    <a:gd name="connsiteX1302" fmla="*/ 88140 w 1551501"/>
                    <a:gd name="connsiteY1302" fmla="*/ 567475 h 1515279"/>
                    <a:gd name="connsiteX1303" fmla="*/ 86933 w 1551501"/>
                    <a:gd name="connsiteY1303" fmla="*/ 564457 h 1515279"/>
                    <a:gd name="connsiteX1304" fmla="*/ 80896 w 1551501"/>
                    <a:gd name="connsiteY1304" fmla="*/ 558420 h 1515279"/>
                    <a:gd name="connsiteX1305" fmla="*/ 82103 w 1551501"/>
                    <a:gd name="connsiteY1305" fmla="*/ 555401 h 1515279"/>
                    <a:gd name="connsiteX1306" fmla="*/ 79084 w 1551501"/>
                    <a:gd name="connsiteY1306" fmla="*/ 549364 h 1515279"/>
                    <a:gd name="connsiteX1307" fmla="*/ 80292 w 1551501"/>
                    <a:gd name="connsiteY1307" fmla="*/ 545742 h 1515279"/>
                    <a:gd name="connsiteX1308" fmla="*/ 85725 w 1551501"/>
                    <a:gd name="connsiteY1308" fmla="*/ 540913 h 1515279"/>
                    <a:gd name="connsiteX1309" fmla="*/ 85725 w 1551501"/>
                    <a:gd name="connsiteY1309" fmla="*/ 531857 h 1515279"/>
                    <a:gd name="connsiteX1310" fmla="*/ 92366 w 1551501"/>
                    <a:gd name="connsiteY1310" fmla="*/ 530046 h 1515279"/>
                    <a:gd name="connsiteX1311" fmla="*/ 93573 w 1551501"/>
                    <a:gd name="connsiteY1311" fmla="*/ 525217 h 1515279"/>
                    <a:gd name="connsiteX1312" fmla="*/ 90555 w 1551501"/>
                    <a:gd name="connsiteY1312" fmla="*/ 520991 h 1515279"/>
                    <a:gd name="connsiteX1313" fmla="*/ 88744 w 1551501"/>
                    <a:gd name="connsiteY1313" fmla="*/ 516161 h 1515279"/>
                    <a:gd name="connsiteX1314" fmla="*/ 92970 w 1551501"/>
                    <a:gd name="connsiteY1314" fmla="*/ 513746 h 1515279"/>
                    <a:gd name="connsiteX1315" fmla="*/ 93573 w 1551501"/>
                    <a:gd name="connsiteY1315" fmla="*/ 510124 h 1515279"/>
                    <a:gd name="connsiteX1316" fmla="*/ 88140 w 1551501"/>
                    <a:gd name="connsiteY1316" fmla="*/ 510124 h 1515279"/>
                    <a:gd name="connsiteX1317" fmla="*/ 79084 w 1551501"/>
                    <a:gd name="connsiteY1317" fmla="*/ 506502 h 1515279"/>
                    <a:gd name="connsiteX1318" fmla="*/ 80292 w 1551501"/>
                    <a:gd name="connsiteY1318" fmla="*/ 504087 h 1515279"/>
                    <a:gd name="connsiteX1319" fmla="*/ 84518 w 1551501"/>
                    <a:gd name="connsiteY1319" fmla="*/ 504087 h 1515279"/>
                    <a:gd name="connsiteX1320" fmla="*/ 85121 w 1551501"/>
                    <a:gd name="connsiteY1320" fmla="*/ 498050 h 1515279"/>
                    <a:gd name="connsiteX1321" fmla="*/ 79084 w 1551501"/>
                    <a:gd name="connsiteY1321" fmla="*/ 489598 h 1515279"/>
                    <a:gd name="connsiteX1322" fmla="*/ 84518 w 1551501"/>
                    <a:gd name="connsiteY1322" fmla="*/ 485976 h 1515279"/>
                    <a:gd name="connsiteX1323" fmla="*/ 82707 w 1551501"/>
                    <a:gd name="connsiteY1323" fmla="*/ 481147 h 1515279"/>
                    <a:gd name="connsiteX1324" fmla="*/ 79688 w 1551501"/>
                    <a:gd name="connsiteY1324" fmla="*/ 477525 h 1515279"/>
                    <a:gd name="connsiteX1325" fmla="*/ 80292 w 1551501"/>
                    <a:gd name="connsiteY1325" fmla="*/ 472695 h 1515279"/>
                    <a:gd name="connsiteX1326" fmla="*/ 72444 w 1551501"/>
                    <a:gd name="connsiteY1326" fmla="*/ 468469 h 1515279"/>
                    <a:gd name="connsiteX1327" fmla="*/ 70633 w 1551501"/>
                    <a:gd name="connsiteY1327" fmla="*/ 463036 h 1515279"/>
                    <a:gd name="connsiteX1328" fmla="*/ 64596 w 1551501"/>
                    <a:gd name="connsiteY1328" fmla="*/ 462432 h 1515279"/>
                    <a:gd name="connsiteX1329" fmla="*/ 64596 w 1551501"/>
                    <a:gd name="connsiteY1329" fmla="*/ 459414 h 1515279"/>
                    <a:gd name="connsiteX1330" fmla="*/ 60370 w 1551501"/>
                    <a:gd name="connsiteY1330" fmla="*/ 458206 h 1515279"/>
                    <a:gd name="connsiteX1331" fmla="*/ 56748 w 1551501"/>
                    <a:gd name="connsiteY1331" fmla="*/ 453377 h 1515279"/>
                    <a:gd name="connsiteX1332" fmla="*/ 52522 w 1551501"/>
                    <a:gd name="connsiteY1332" fmla="*/ 450358 h 1515279"/>
                    <a:gd name="connsiteX1333" fmla="*/ 51918 w 1551501"/>
                    <a:gd name="connsiteY1333" fmla="*/ 449151 h 1515279"/>
                    <a:gd name="connsiteX1334" fmla="*/ 50711 w 1551501"/>
                    <a:gd name="connsiteY1334" fmla="*/ 446736 h 1515279"/>
                    <a:gd name="connsiteX1335" fmla="*/ 47692 w 1551501"/>
                    <a:gd name="connsiteY1335" fmla="*/ 443114 h 1515279"/>
                    <a:gd name="connsiteX1336" fmla="*/ 45277 w 1551501"/>
                    <a:gd name="connsiteY1336" fmla="*/ 440699 h 1515279"/>
                    <a:gd name="connsiteX1337" fmla="*/ 43466 w 1551501"/>
                    <a:gd name="connsiteY1337" fmla="*/ 434058 h 1515279"/>
                    <a:gd name="connsiteX1338" fmla="*/ 43466 w 1551501"/>
                    <a:gd name="connsiteY1338" fmla="*/ 433455 h 1515279"/>
                    <a:gd name="connsiteX1339" fmla="*/ 46485 w 1551501"/>
                    <a:gd name="connsiteY1339" fmla="*/ 429229 h 1515279"/>
                    <a:gd name="connsiteX1340" fmla="*/ 50107 w 1551501"/>
                    <a:gd name="connsiteY1340" fmla="*/ 428021 h 1515279"/>
                    <a:gd name="connsiteX1341" fmla="*/ 51918 w 1551501"/>
                    <a:gd name="connsiteY1341" fmla="*/ 423795 h 1515279"/>
                    <a:gd name="connsiteX1342" fmla="*/ 47088 w 1551501"/>
                    <a:gd name="connsiteY1342" fmla="*/ 418966 h 1515279"/>
                    <a:gd name="connsiteX1343" fmla="*/ 48296 w 1551501"/>
                    <a:gd name="connsiteY1343" fmla="*/ 412325 h 1515279"/>
                    <a:gd name="connsiteX1344" fmla="*/ 50107 w 1551501"/>
                    <a:gd name="connsiteY1344" fmla="*/ 407496 h 1515279"/>
                    <a:gd name="connsiteX1345" fmla="*/ 48900 w 1551501"/>
                    <a:gd name="connsiteY1345" fmla="*/ 402666 h 1515279"/>
                    <a:gd name="connsiteX1346" fmla="*/ 48296 w 1551501"/>
                    <a:gd name="connsiteY1346" fmla="*/ 401459 h 1515279"/>
                    <a:gd name="connsiteX1347" fmla="*/ 43466 w 1551501"/>
                    <a:gd name="connsiteY1347" fmla="*/ 402666 h 1515279"/>
                    <a:gd name="connsiteX1348" fmla="*/ 42863 w 1551501"/>
                    <a:gd name="connsiteY1348" fmla="*/ 403270 h 1515279"/>
                    <a:gd name="connsiteX1349" fmla="*/ 41052 w 1551501"/>
                    <a:gd name="connsiteY1349" fmla="*/ 401459 h 1515279"/>
                    <a:gd name="connsiteX1350" fmla="*/ 38637 w 1551501"/>
                    <a:gd name="connsiteY1350" fmla="*/ 396629 h 1515279"/>
                    <a:gd name="connsiteX1351" fmla="*/ 37429 w 1551501"/>
                    <a:gd name="connsiteY1351" fmla="*/ 396629 h 1515279"/>
                    <a:gd name="connsiteX1352" fmla="*/ 35618 w 1551501"/>
                    <a:gd name="connsiteY1352" fmla="*/ 396025 h 1515279"/>
                    <a:gd name="connsiteX1353" fmla="*/ 35015 w 1551501"/>
                    <a:gd name="connsiteY1353" fmla="*/ 393007 h 1515279"/>
                    <a:gd name="connsiteX1354" fmla="*/ 33203 w 1551501"/>
                    <a:gd name="connsiteY1354" fmla="*/ 392403 h 1515279"/>
                    <a:gd name="connsiteX1355" fmla="*/ 30185 w 1551501"/>
                    <a:gd name="connsiteY1355" fmla="*/ 388781 h 1515279"/>
                    <a:gd name="connsiteX1356" fmla="*/ 28374 w 1551501"/>
                    <a:gd name="connsiteY1356" fmla="*/ 387573 h 1515279"/>
                    <a:gd name="connsiteX1357" fmla="*/ 28978 w 1551501"/>
                    <a:gd name="connsiteY1357" fmla="*/ 385159 h 1515279"/>
                    <a:gd name="connsiteX1358" fmla="*/ 26563 w 1551501"/>
                    <a:gd name="connsiteY1358" fmla="*/ 385159 h 1515279"/>
                    <a:gd name="connsiteX1359" fmla="*/ 25355 w 1551501"/>
                    <a:gd name="connsiteY1359" fmla="*/ 385159 h 1515279"/>
                    <a:gd name="connsiteX1360" fmla="*/ 23544 w 1551501"/>
                    <a:gd name="connsiteY1360" fmla="*/ 383348 h 1515279"/>
                    <a:gd name="connsiteX1361" fmla="*/ 22941 w 1551501"/>
                    <a:gd name="connsiteY1361" fmla="*/ 381537 h 1515279"/>
                    <a:gd name="connsiteX1362" fmla="*/ 26563 w 1551501"/>
                    <a:gd name="connsiteY1362" fmla="*/ 379122 h 1515279"/>
                    <a:gd name="connsiteX1363" fmla="*/ 27770 w 1551501"/>
                    <a:gd name="connsiteY1363" fmla="*/ 373689 h 1515279"/>
                    <a:gd name="connsiteX1364" fmla="*/ 24752 w 1551501"/>
                    <a:gd name="connsiteY1364" fmla="*/ 367652 h 1515279"/>
                    <a:gd name="connsiteX1365" fmla="*/ 22337 w 1551501"/>
                    <a:gd name="connsiteY1365" fmla="*/ 367048 h 1515279"/>
                    <a:gd name="connsiteX1366" fmla="*/ 21129 w 1551501"/>
                    <a:gd name="connsiteY1366" fmla="*/ 366444 h 1515279"/>
                    <a:gd name="connsiteX1367" fmla="*/ 19922 w 1551501"/>
                    <a:gd name="connsiteY1367" fmla="*/ 361011 h 1515279"/>
                    <a:gd name="connsiteX1368" fmla="*/ 27166 w 1551501"/>
                    <a:gd name="connsiteY1368" fmla="*/ 358596 h 1515279"/>
                    <a:gd name="connsiteX1369" fmla="*/ 28374 w 1551501"/>
                    <a:gd name="connsiteY1369" fmla="*/ 356785 h 1515279"/>
                    <a:gd name="connsiteX1370" fmla="*/ 22941 w 1551501"/>
                    <a:gd name="connsiteY1370" fmla="*/ 353767 h 1515279"/>
                    <a:gd name="connsiteX1371" fmla="*/ 24752 w 1551501"/>
                    <a:gd name="connsiteY1371" fmla="*/ 350144 h 1515279"/>
                    <a:gd name="connsiteX1372" fmla="*/ 21733 w 1551501"/>
                    <a:gd name="connsiteY1372" fmla="*/ 347730 h 1515279"/>
                    <a:gd name="connsiteX1373" fmla="*/ 22337 w 1551501"/>
                    <a:gd name="connsiteY1373" fmla="*/ 344107 h 1515279"/>
                    <a:gd name="connsiteX1374" fmla="*/ 26563 w 1551501"/>
                    <a:gd name="connsiteY1374" fmla="*/ 333844 h 1515279"/>
                    <a:gd name="connsiteX1375" fmla="*/ 22337 w 1551501"/>
                    <a:gd name="connsiteY1375" fmla="*/ 330222 h 1515279"/>
                    <a:gd name="connsiteX1376" fmla="*/ 16300 w 1551501"/>
                    <a:gd name="connsiteY1376" fmla="*/ 323582 h 1515279"/>
                    <a:gd name="connsiteX1377" fmla="*/ 15092 w 1551501"/>
                    <a:gd name="connsiteY1377" fmla="*/ 316941 h 1515279"/>
                    <a:gd name="connsiteX1378" fmla="*/ 8452 w 1551501"/>
                    <a:gd name="connsiteY1378" fmla="*/ 310904 h 1515279"/>
                    <a:gd name="connsiteX1379" fmla="*/ 8452 w 1551501"/>
                    <a:gd name="connsiteY1379" fmla="*/ 308489 h 1515279"/>
                    <a:gd name="connsiteX1380" fmla="*/ 11470 w 1551501"/>
                    <a:gd name="connsiteY1380" fmla="*/ 303056 h 1515279"/>
                    <a:gd name="connsiteX1381" fmla="*/ 9055 w 1551501"/>
                    <a:gd name="connsiteY1381" fmla="*/ 298830 h 1515279"/>
                    <a:gd name="connsiteX1382" fmla="*/ 11470 w 1551501"/>
                    <a:gd name="connsiteY1382" fmla="*/ 292189 h 1515279"/>
                    <a:gd name="connsiteX1383" fmla="*/ 9055 w 1551501"/>
                    <a:gd name="connsiteY1383" fmla="*/ 281323 h 1515279"/>
                    <a:gd name="connsiteX1384" fmla="*/ 12074 w 1551501"/>
                    <a:gd name="connsiteY1384" fmla="*/ 278908 h 1515279"/>
                    <a:gd name="connsiteX1385" fmla="*/ 12074 w 1551501"/>
                    <a:gd name="connsiteY1385" fmla="*/ 275890 h 1515279"/>
                    <a:gd name="connsiteX1386" fmla="*/ 9659 w 1551501"/>
                    <a:gd name="connsiteY1386" fmla="*/ 270456 h 1515279"/>
                    <a:gd name="connsiteX1387" fmla="*/ 14489 w 1551501"/>
                    <a:gd name="connsiteY1387" fmla="*/ 260194 h 1515279"/>
                    <a:gd name="connsiteX1388" fmla="*/ 12678 w 1551501"/>
                    <a:gd name="connsiteY1388" fmla="*/ 253553 h 1515279"/>
                    <a:gd name="connsiteX1389" fmla="*/ 7244 w 1551501"/>
                    <a:gd name="connsiteY1389" fmla="*/ 252345 h 1515279"/>
                    <a:gd name="connsiteX1390" fmla="*/ 6641 w 1551501"/>
                    <a:gd name="connsiteY1390" fmla="*/ 246308 h 1515279"/>
                    <a:gd name="connsiteX1391" fmla="*/ 11470 w 1551501"/>
                    <a:gd name="connsiteY1391" fmla="*/ 244497 h 1515279"/>
                    <a:gd name="connsiteX1392" fmla="*/ 8452 w 1551501"/>
                    <a:gd name="connsiteY1392" fmla="*/ 235442 h 1515279"/>
                    <a:gd name="connsiteX1393" fmla="*/ 11470 w 1551501"/>
                    <a:gd name="connsiteY1393" fmla="*/ 230612 h 1515279"/>
                    <a:gd name="connsiteX1394" fmla="*/ 7244 w 1551501"/>
                    <a:gd name="connsiteY1394" fmla="*/ 226990 h 1515279"/>
                    <a:gd name="connsiteX1395" fmla="*/ 6641 w 1551501"/>
                    <a:gd name="connsiteY1395" fmla="*/ 222764 h 1515279"/>
                    <a:gd name="connsiteX1396" fmla="*/ 7848 w 1551501"/>
                    <a:gd name="connsiteY1396" fmla="*/ 220349 h 1515279"/>
                    <a:gd name="connsiteX1397" fmla="*/ 6037 w 1551501"/>
                    <a:gd name="connsiteY1397" fmla="*/ 216124 h 1515279"/>
                    <a:gd name="connsiteX1398" fmla="*/ 3018 w 1551501"/>
                    <a:gd name="connsiteY1398" fmla="*/ 214313 h 1515279"/>
                    <a:gd name="connsiteX1399" fmla="*/ 0 w 1551501"/>
                    <a:gd name="connsiteY1399" fmla="*/ 208879 h 1515279"/>
                    <a:gd name="connsiteX1400" fmla="*/ 1207 w 1551501"/>
                    <a:gd name="connsiteY1400" fmla="*/ 206464 h 1515279"/>
                    <a:gd name="connsiteX1401" fmla="*/ 5433 w 1551501"/>
                    <a:gd name="connsiteY1401" fmla="*/ 204653 h 1515279"/>
                    <a:gd name="connsiteX1402" fmla="*/ 3622 w 1551501"/>
                    <a:gd name="connsiteY1402" fmla="*/ 198616 h 1515279"/>
                    <a:gd name="connsiteX1403" fmla="*/ 604 w 1551501"/>
                    <a:gd name="connsiteY1403" fmla="*/ 193183 h 1515279"/>
                    <a:gd name="connsiteX1404" fmla="*/ 5433 w 1551501"/>
                    <a:gd name="connsiteY1404" fmla="*/ 182316 h 1515279"/>
                    <a:gd name="connsiteX1405" fmla="*/ 9055 w 1551501"/>
                    <a:gd name="connsiteY1405" fmla="*/ 179298 h 1515279"/>
                    <a:gd name="connsiteX1406" fmla="*/ 7244 w 1551501"/>
                    <a:gd name="connsiteY1406" fmla="*/ 174468 h 1515279"/>
                    <a:gd name="connsiteX1407" fmla="*/ 8452 w 1551501"/>
                    <a:gd name="connsiteY1407" fmla="*/ 170243 h 1515279"/>
                    <a:gd name="connsiteX1408" fmla="*/ 12074 w 1551501"/>
                    <a:gd name="connsiteY1408" fmla="*/ 169035 h 1515279"/>
                    <a:gd name="connsiteX1409" fmla="*/ 11470 w 1551501"/>
                    <a:gd name="connsiteY1409" fmla="*/ 165413 h 1515279"/>
                    <a:gd name="connsiteX1410" fmla="*/ 6037 w 1551501"/>
                    <a:gd name="connsiteY1410" fmla="*/ 158169 h 1515279"/>
                    <a:gd name="connsiteX1411" fmla="*/ 7244 w 1551501"/>
                    <a:gd name="connsiteY1411" fmla="*/ 151528 h 1515279"/>
                    <a:gd name="connsiteX1412" fmla="*/ 13885 w 1551501"/>
                    <a:gd name="connsiteY1412" fmla="*/ 147302 h 1515279"/>
                    <a:gd name="connsiteX1413" fmla="*/ 14489 w 1551501"/>
                    <a:gd name="connsiteY1413" fmla="*/ 141869 h 1515279"/>
                    <a:gd name="connsiteX1414" fmla="*/ 17507 w 1551501"/>
                    <a:gd name="connsiteY1414" fmla="*/ 138850 h 1515279"/>
                    <a:gd name="connsiteX1415" fmla="*/ 17507 w 1551501"/>
                    <a:gd name="connsiteY1415" fmla="*/ 134624 h 1515279"/>
                    <a:gd name="connsiteX1416" fmla="*/ 20526 w 1551501"/>
                    <a:gd name="connsiteY1416" fmla="*/ 128587 h 1515279"/>
                    <a:gd name="connsiteX1417" fmla="*/ 19922 w 1551501"/>
                    <a:gd name="connsiteY1417" fmla="*/ 121343 h 1515279"/>
                    <a:gd name="connsiteX1418" fmla="*/ 21733 w 1551501"/>
                    <a:gd name="connsiteY1418" fmla="*/ 116513 h 1515279"/>
                    <a:gd name="connsiteX1419" fmla="*/ 24148 w 1551501"/>
                    <a:gd name="connsiteY1419" fmla="*/ 114702 h 1515279"/>
                    <a:gd name="connsiteX1420" fmla="*/ 30789 w 1551501"/>
                    <a:gd name="connsiteY1420" fmla="*/ 106251 h 1515279"/>
                    <a:gd name="connsiteX1421" fmla="*/ 31392 w 1551501"/>
                    <a:gd name="connsiteY1421" fmla="*/ 102629 h 1515279"/>
                    <a:gd name="connsiteX1422" fmla="*/ 34411 w 1551501"/>
                    <a:gd name="connsiteY1422" fmla="*/ 100817 h 1515279"/>
                    <a:gd name="connsiteX1423" fmla="*/ 39240 w 1551501"/>
                    <a:gd name="connsiteY1423" fmla="*/ 89951 h 1515279"/>
                    <a:gd name="connsiteX1424" fmla="*/ 38637 w 1551501"/>
                    <a:gd name="connsiteY1424" fmla="*/ 86932 h 1515279"/>
                    <a:gd name="connsiteX1425" fmla="*/ 44070 w 1551501"/>
                    <a:gd name="connsiteY1425" fmla="*/ 83914 h 1515279"/>
                    <a:gd name="connsiteX1426" fmla="*/ 51314 w 1551501"/>
                    <a:gd name="connsiteY1426" fmla="*/ 82706 h 1515279"/>
                    <a:gd name="connsiteX1427" fmla="*/ 59766 w 1551501"/>
                    <a:gd name="connsiteY1427" fmla="*/ 76066 h 1515279"/>
                    <a:gd name="connsiteX1428" fmla="*/ 63388 w 1551501"/>
                    <a:gd name="connsiteY1428" fmla="*/ 75462 h 1515279"/>
                    <a:gd name="connsiteX1429" fmla="*/ 68218 w 1551501"/>
                    <a:gd name="connsiteY1429" fmla="*/ 71840 h 1515279"/>
                    <a:gd name="connsiteX1430" fmla="*/ 67614 w 1551501"/>
                    <a:gd name="connsiteY1430" fmla="*/ 63388 h 1515279"/>
                    <a:gd name="connsiteX1431" fmla="*/ 70029 w 1551501"/>
                    <a:gd name="connsiteY1431" fmla="*/ 57955 h 1515279"/>
                    <a:gd name="connsiteX1432" fmla="*/ 74859 w 1551501"/>
                    <a:gd name="connsiteY1432" fmla="*/ 57955 h 1515279"/>
                    <a:gd name="connsiteX1433" fmla="*/ 80292 w 1551501"/>
                    <a:gd name="connsiteY1433" fmla="*/ 53125 h 1515279"/>
                    <a:gd name="connsiteX1434" fmla="*/ 85121 w 1551501"/>
                    <a:gd name="connsiteY1434" fmla="*/ 42259 h 1515279"/>
                    <a:gd name="connsiteX1435" fmla="*/ 89951 w 1551501"/>
                    <a:gd name="connsiteY1435" fmla="*/ 36222 h 1515279"/>
                    <a:gd name="connsiteX1436" fmla="*/ 92366 w 1551501"/>
                    <a:gd name="connsiteY1436" fmla="*/ 29581 h 1515279"/>
                    <a:gd name="connsiteX1437" fmla="*/ 100214 w 1551501"/>
                    <a:gd name="connsiteY1437" fmla="*/ 24148 h 1515279"/>
                    <a:gd name="connsiteX1438" fmla="*/ 100214 w 1551501"/>
                    <a:gd name="connsiteY1438" fmla="*/ 17507 h 1515279"/>
                    <a:gd name="connsiteX1439" fmla="*/ 104440 w 1551501"/>
                    <a:gd name="connsiteY1439" fmla="*/ 9659 h 1515279"/>
                    <a:gd name="connsiteX1440" fmla="*/ 101421 w 1551501"/>
                    <a:gd name="connsiteY1440" fmla="*/ 6641 h 1515279"/>
                    <a:gd name="connsiteX1441" fmla="*/ 99006 w 1551501"/>
                    <a:gd name="connsiteY1441" fmla="*/ 1811 h 1515279"/>
                    <a:gd name="connsiteX1442" fmla="*/ 108062 w 1551501"/>
                    <a:gd name="connsiteY1442" fmla="*/ 0 h 1515279"/>
                    <a:gd name="connsiteX1443" fmla="*/ 113495 w 1551501"/>
                    <a:gd name="connsiteY1443" fmla="*/ 604 h 1515279"/>
                    <a:gd name="connsiteX1444" fmla="*/ 119532 w 1551501"/>
                    <a:gd name="connsiteY1444" fmla="*/ 6641 h 1515279"/>
                    <a:gd name="connsiteX1445" fmla="*/ 121343 w 1551501"/>
                    <a:gd name="connsiteY1445" fmla="*/ 6641 h 1515279"/>
                    <a:gd name="connsiteX1446" fmla="*/ 126776 w 1551501"/>
                    <a:gd name="connsiteY1446" fmla="*/ 14489 h 1515279"/>
                    <a:gd name="connsiteX1447" fmla="*/ 129191 w 1551501"/>
                    <a:gd name="connsiteY1447" fmla="*/ 17507 h 1515279"/>
                    <a:gd name="connsiteX1448" fmla="*/ 137643 w 1551501"/>
                    <a:gd name="connsiteY1448" fmla="*/ 20526 h 1515279"/>
                    <a:gd name="connsiteX1449" fmla="*/ 150321 w 1551501"/>
                    <a:gd name="connsiteY1449" fmla="*/ 28977 h 1515279"/>
                    <a:gd name="connsiteX1450" fmla="*/ 161187 w 1551501"/>
                    <a:gd name="connsiteY1450" fmla="*/ 33807 h 1515279"/>
                    <a:gd name="connsiteX1451" fmla="*/ 162395 w 1551501"/>
                    <a:gd name="connsiteY1451" fmla="*/ 32600 h 1515279"/>
                    <a:gd name="connsiteX1452" fmla="*/ 171450 w 1551501"/>
                    <a:gd name="connsiteY1452" fmla="*/ 36826 h 1515279"/>
                    <a:gd name="connsiteX1453" fmla="*/ 174469 w 1551501"/>
                    <a:gd name="connsiteY1453" fmla="*/ 41051 h 1515279"/>
                    <a:gd name="connsiteX1454" fmla="*/ 169035 w 1551501"/>
                    <a:gd name="connsiteY1454" fmla="*/ 47088 h 1515279"/>
                    <a:gd name="connsiteX1455" fmla="*/ 167224 w 1551501"/>
                    <a:gd name="connsiteY1455" fmla="*/ 53729 h 1515279"/>
                    <a:gd name="connsiteX1456" fmla="*/ 162395 w 1551501"/>
                    <a:gd name="connsiteY1456" fmla="*/ 59162 h 1515279"/>
                    <a:gd name="connsiteX1457" fmla="*/ 158772 w 1551501"/>
                    <a:gd name="connsiteY1457" fmla="*/ 66407 h 1515279"/>
                    <a:gd name="connsiteX1458" fmla="*/ 151528 w 1551501"/>
                    <a:gd name="connsiteY1458" fmla="*/ 76066 h 1515279"/>
                    <a:gd name="connsiteX1459" fmla="*/ 149113 w 1551501"/>
                    <a:gd name="connsiteY1459" fmla="*/ 76669 h 1515279"/>
                    <a:gd name="connsiteX1460" fmla="*/ 144887 w 1551501"/>
                    <a:gd name="connsiteY1460" fmla="*/ 74255 h 1515279"/>
                    <a:gd name="connsiteX1461" fmla="*/ 138850 w 1551501"/>
                    <a:gd name="connsiteY1461" fmla="*/ 86932 h 1515279"/>
                    <a:gd name="connsiteX1462" fmla="*/ 142473 w 1551501"/>
                    <a:gd name="connsiteY1462" fmla="*/ 90555 h 1515279"/>
                    <a:gd name="connsiteX1463" fmla="*/ 138247 w 1551501"/>
                    <a:gd name="connsiteY1463" fmla="*/ 94177 h 1515279"/>
                    <a:gd name="connsiteX1464" fmla="*/ 135228 w 1551501"/>
                    <a:gd name="connsiteY1464" fmla="*/ 99610 h 1515279"/>
                    <a:gd name="connsiteX1465" fmla="*/ 135228 w 1551501"/>
                    <a:gd name="connsiteY1465" fmla="*/ 108062 h 1515279"/>
                    <a:gd name="connsiteX1466" fmla="*/ 130399 w 1551501"/>
                    <a:gd name="connsiteY1466" fmla="*/ 113495 h 1515279"/>
                    <a:gd name="connsiteX1467" fmla="*/ 134021 w 1551501"/>
                    <a:gd name="connsiteY1467" fmla="*/ 118928 h 1515279"/>
                    <a:gd name="connsiteX1468" fmla="*/ 131002 w 1551501"/>
                    <a:gd name="connsiteY1468" fmla="*/ 121343 h 1515279"/>
                    <a:gd name="connsiteX1469" fmla="*/ 127380 w 1551501"/>
                    <a:gd name="connsiteY1469" fmla="*/ 129795 h 1515279"/>
                    <a:gd name="connsiteX1470" fmla="*/ 133417 w 1551501"/>
                    <a:gd name="connsiteY1470" fmla="*/ 133417 h 1515279"/>
                    <a:gd name="connsiteX1471" fmla="*/ 135832 w 1551501"/>
                    <a:gd name="connsiteY1471" fmla="*/ 143680 h 1515279"/>
                    <a:gd name="connsiteX1472" fmla="*/ 140058 w 1551501"/>
                    <a:gd name="connsiteY1472" fmla="*/ 149113 h 1515279"/>
                    <a:gd name="connsiteX1473" fmla="*/ 139454 w 1551501"/>
                    <a:gd name="connsiteY1473" fmla="*/ 159376 h 1515279"/>
                    <a:gd name="connsiteX1474" fmla="*/ 141265 w 1551501"/>
                    <a:gd name="connsiteY1474" fmla="*/ 161187 h 1515279"/>
                    <a:gd name="connsiteX1475" fmla="*/ 138850 w 1551501"/>
                    <a:gd name="connsiteY1475" fmla="*/ 166017 h 1515279"/>
                    <a:gd name="connsiteX1476" fmla="*/ 147302 w 1551501"/>
                    <a:gd name="connsiteY1476" fmla="*/ 170243 h 1515279"/>
                    <a:gd name="connsiteX1477" fmla="*/ 146095 w 1551501"/>
                    <a:gd name="connsiteY1477" fmla="*/ 173865 h 1515279"/>
                    <a:gd name="connsiteX1478" fmla="*/ 152132 w 1551501"/>
                    <a:gd name="connsiteY1478" fmla="*/ 176883 h 1515279"/>
                    <a:gd name="connsiteX1479" fmla="*/ 154547 w 1551501"/>
                    <a:gd name="connsiteY1479" fmla="*/ 176279 h 1515279"/>
                    <a:gd name="connsiteX1480" fmla="*/ 162998 w 1551501"/>
                    <a:gd name="connsiteY1480" fmla="*/ 169035 h 1515279"/>
                    <a:gd name="connsiteX1481" fmla="*/ 168432 w 1551501"/>
                    <a:gd name="connsiteY1481" fmla="*/ 170243 h 1515279"/>
                    <a:gd name="connsiteX1482" fmla="*/ 171450 w 1551501"/>
                    <a:gd name="connsiteY1482" fmla="*/ 166620 h 1515279"/>
                    <a:gd name="connsiteX1483" fmla="*/ 176883 w 1551501"/>
                    <a:gd name="connsiteY1483" fmla="*/ 166017 h 1515279"/>
                    <a:gd name="connsiteX1484" fmla="*/ 177487 w 1551501"/>
                    <a:gd name="connsiteY1484" fmla="*/ 172657 h 1515279"/>
                    <a:gd name="connsiteX1485" fmla="*/ 181109 w 1551501"/>
                    <a:gd name="connsiteY1485" fmla="*/ 176279 h 1515279"/>
                    <a:gd name="connsiteX1486" fmla="*/ 184128 w 1551501"/>
                    <a:gd name="connsiteY1486" fmla="*/ 183524 h 1515279"/>
                    <a:gd name="connsiteX1487" fmla="*/ 184128 w 1551501"/>
                    <a:gd name="connsiteY1487" fmla="*/ 190165 h 1515279"/>
                    <a:gd name="connsiteX1488" fmla="*/ 179298 w 1551501"/>
                    <a:gd name="connsiteY1488" fmla="*/ 192579 h 1515279"/>
                    <a:gd name="connsiteX1489" fmla="*/ 178091 w 1551501"/>
                    <a:gd name="connsiteY1489" fmla="*/ 195598 h 1515279"/>
                    <a:gd name="connsiteX1490" fmla="*/ 185939 w 1551501"/>
                    <a:gd name="connsiteY1490" fmla="*/ 196805 h 1515279"/>
                    <a:gd name="connsiteX1491" fmla="*/ 184731 w 1551501"/>
                    <a:gd name="connsiteY1491" fmla="*/ 204050 h 1515279"/>
                    <a:gd name="connsiteX1492" fmla="*/ 189561 w 1551501"/>
                    <a:gd name="connsiteY1492" fmla="*/ 203446 h 1515279"/>
                    <a:gd name="connsiteX1493" fmla="*/ 195598 w 1551501"/>
                    <a:gd name="connsiteY1493" fmla="*/ 204653 h 1515279"/>
                    <a:gd name="connsiteX1494" fmla="*/ 197409 w 1551501"/>
                    <a:gd name="connsiteY1494" fmla="*/ 199824 h 1515279"/>
                    <a:gd name="connsiteX1495" fmla="*/ 198013 w 1551501"/>
                    <a:gd name="connsiteY1495" fmla="*/ 194994 h 1515279"/>
                    <a:gd name="connsiteX1496" fmla="*/ 201031 w 1551501"/>
                    <a:gd name="connsiteY1496" fmla="*/ 192579 h 1515279"/>
                    <a:gd name="connsiteX1497" fmla="*/ 205257 w 1551501"/>
                    <a:gd name="connsiteY1497" fmla="*/ 193183 h 1515279"/>
                    <a:gd name="connsiteX1498" fmla="*/ 207672 w 1551501"/>
                    <a:gd name="connsiteY1498" fmla="*/ 187146 h 1515279"/>
                    <a:gd name="connsiteX1499" fmla="*/ 210690 w 1551501"/>
                    <a:gd name="connsiteY1499" fmla="*/ 185335 h 1515279"/>
                    <a:gd name="connsiteX1500" fmla="*/ 216727 w 1551501"/>
                    <a:gd name="connsiteY1500" fmla="*/ 179298 h 1515279"/>
                    <a:gd name="connsiteX1501" fmla="*/ 217331 w 1551501"/>
                    <a:gd name="connsiteY1501" fmla="*/ 175072 h 1515279"/>
                    <a:gd name="connsiteX1502" fmla="*/ 222764 w 1551501"/>
                    <a:gd name="connsiteY1502" fmla="*/ 174468 h 1515279"/>
                    <a:gd name="connsiteX1503" fmla="*/ 226386 w 1551501"/>
                    <a:gd name="connsiteY1503" fmla="*/ 171450 h 1515279"/>
                    <a:gd name="connsiteX1504" fmla="*/ 228801 w 1551501"/>
                    <a:gd name="connsiteY1504" fmla="*/ 167224 h 1515279"/>
                    <a:gd name="connsiteX1505" fmla="*/ 234235 w 1551501"/>
                    <a:gd name="connsiteY1505" fmla="*/ 165413 h 1515279"/>
                    <a:gd name="connsiteX1506" fmla="*/ 236649 w 1551501"/>
                    <a:gd name="connsiteY1506" fmla="*/ 168431 h 1515279"/>
                    <a:gd name="connsiteX1507" fmla="*/ 243290 w 1551501"/>
                    <a:gd name="connsiteY1507" fmla="*/ 162998 h 1515279"/>
                    <a:gd name="connsiteX1508" fmla="*/ 251138 w 1551501"/>
                    <a:gd name="connsiteY1508" fmla="*/ 155754 h 1515279"/>
                    <a:gd name="connsiteX1509" fmla="*/ 257175 w 1551501"/>
                    <a:gd name="connsiteY1509" fmla="*/ 146698 h 1515279"/>
                    <a:gd name="connsiteX1510" fmla="*/ 268645 w 1551501"/>
                    <a:gd name="connsiteY1510" fmla="*/ 152132 h 1515279"/>
                    <a:gd name="connsiteX1511" fmla="*/ 274079 w 1551501"/>
                    <a:gd name="connsiteY1511" fmla="*/ 152132 h 1515279"/>
                    <a:gd name="connsiteX1512" fmla="*/ 276493 w 1551501"/>
                    <a:gd name="connsiteY1512" fmla="*/ 155150 h 1515279"/>
                    <a:gd name="connsiteX1513" fmla="*/ 289171 w 1551501"/>
                    <a:gd name="connsiteY1513" fmla="*/ 159376 h 1515279"/>
                    <a:gd name="connsiteX1514" fmla="*/ 293397 w 1551501"/>
                    <a:gd name="connsiteY1514" fmla="*/ 171450 h 1515279"/>
                    <a:gd name="connsiteX1515" fmla="*/ 294001 w 1551501"/>
                    <a:gd name="connsiteY1515" fmla="*/ 181109 h 1515279"/>
                    <a:gd name="connsiteX1516" fmla="*/ 298227 w 1551501"/>
                    <a:gd name="connsiteY1516" fmla="*/ 187750 h 1515279"/>
                    <a:gd name="connsiteX1517" fmla="*/ 307886 w 1551501"/>
                    <a:gd name="connsiteY1517" fmla="*/ 198013 h 1515279"/>
                    <a:gd name="connsiteX1518" fmla="*/ 316941 w 1551501"/>
                    <a:gd name="connsiteY1518" fmla="*/ 204653 h 1515279"/>
                    <a:gd name="connsiteX1519" fmla="*/ 320563 w 1551501"/>
                    <a:gd name="connsiteY1519" fmla="*/ 205861 h 1515279"/>
                    <a:gd name="connsiteX1520" fmla="*/ 332033 w 1551501"/>
                    <a:gd name="connsiteY1520" fmla="*/ 214916 h 1515279"/>
                    <a:gd name="connsiteX1521" fmla="*/ 338674 w 1551501"/>
                    <a:gd name="connsiteY1521" fmla="*/ 214916 h 1515279"/>
                    <a:gd name="connsiteX1522" fmla="*/ 346522 w 1551501"/>
                    <a:gd name="connsiteY1522" fmla="*/ 220953 h 1515279"/>
                    <a:gd name="connsiteX1523" fmla="*/ 367048 w 1551501"/>
                    <a:gd name="connsiteY1523" fmla="*/ 226386 h 1515279"/>
                    <a:gd name="connsiteX1524" fmla="*/ 374292 w 1551501"/>
                    <a:gd name="connsiteY1524" fmla="*/ 227594 h 1515279"/>
                    <a:gd name="connsiteX1525" fmla="*/ 373689 w 1551501"/>
                    <a:gd name="connsiteY1525" fmla="*/ 234838 h 1515279"/>
                    <a:gd name="connsiteX1526" fmla="*/ 371878 w 1551501"/>
                    <a:gd name="connsiteY1526" fmla="*/ 238460 h 1515279"/>
                    <a:gd name="connsiteX1527" fmla="*/ 365237 w 1551501"/>
                    <a:gd name="connsiteY1527" fmla="*/ 243894 h 1515279"/>
                    <a:gd name="connsiteX1528" fmla="*/ 356785 w 1551501"/>
                    <a:gd name="connsiteY1528" fmla="*/ 247516 h 1515279"/>
                    <a:gd name="connsiteX1529" fmla="*/ 350748 w 1551501"/>
                    <a:gd name="connsiteY1529" fmla="*/ 254157 h 1515279"/>
                    <a:gd name="connsiteX1530" fmla="*/ 344711 w 1551501"/>
                    <a:gd name="connsiteY1530" fmla="*/ 252345 h 1515279"/>
                    <a:gd name="connsiteX1531" fmla="*/ 338674 w 1551501"/>
                    <a:gd name="connsiteY1531" fmla="*/ 257175 h 1515279"/>
                    <a:gd name="connsiteX1532" fmla="*/ 338674 w 1551501"/>
                    <a:gd name="connsiteY1532" fmla="*/ 261401 h 1515279"/>
                    <a:gd name="connsiteX1533" fmla="*/ 345315 w 1551501"/>
                    <a:gd name="connsiteY1533" fmla="*/ 267438 h 1515279"/>
                    <a:gd name="connsiteX1534" fmla="*/ 353767 w 1551501"/>
                    <a:gd name="connsiteY1534" fmla="*/ 274078 h 1515279"/>
                    <a:gd name="connsiteX1535" fmla="*/ 356785 w 1551501"/>
                    <a:gd name="connsiteY1535" fmla="*/ 275286 h 1515279"/>
                    <a:gd name="connsiteX1536" fmla="*/ 360407 w 1551501"/>
                    <a:gd name="connsiteY1536" fmla="*/ 273475 h 1515279"/>
                    <a:gd name="connsiteX1537" fmla="*/ 367048 w 1551501"/>
                    <a:gd name="connsiteY1537" fmla="*/ 275890 h 1515279"/>
                    <a:gd name="connsiteX1538" fmla="*/ 374292 w 1551501"/>
                    <a:gd name="connsiteY1538" fmla="*/ 287360 h 1515279"/>
                    <a:gd name="connsiteX1539" fmla="*/ 375500 w 1551501"/>
                    <a:gd name="connsiteY1539" fmla="*/ 296415 h 1515279"/>
                    <a:gd name="connsiteX1540" fmla="*/ 383348 w 1551501"/>
                    <a:gd name="connsiteY1540" fmla="*/ 300037 h 1515279"/>
                    <a:gd name="connsiteX1541" fmla="*/ 388177 w 1551501"/>
                    <a:gd name="connsiteY1541" fmla="*/ 295812 h 1515279"/>
                    <a:gd name="connsiteX1542" fmla="*/ 390592 w 1551501"/>
                    <a:gd name="connsiteY1542" fmla="*/ 298830 h 1515279"/>
                    <a:gd name="connsiteX1543" fmla="*/ 391800 w 1551501"/>
                    <a:gd name="connsiteY1543" fmla="*/ 302452 h 1515279"/>
                    <a:gd name="connsiteX1544" fmla="*/ 395422 w 1551501"/>
                    <a:gd name="connsiteY1544" fmla="*/ 307282 h 1515279"/>
                    <a:gd name="connsiteX1545" fmla="*/ 398440 w 1551501"/>
                    <a:gd name="connsiteY1545" fmla="*/ 307282 h 1515279"/>
                    <a:gd name="connsiteX1546" fmla="*/ 397837 w 1551501"/>
                    <a:gd name="connsiteY1546" fmla="*/ 300037 h 1515279"/>
                    <a:gd name="connsiteX1547" fmla="*/ 404477 w 1551501"/>
                    <a:gd name="connsiteY1547" fmla="*/ 298830 h 1515279"/>
                    <a:gd name="connsiteX1548" fmla="*/ 409911 w 1551501"/>
                    <a:gd name="connsiteY1548" fmla="*/ 299434 h 1515279"/>
                    <a:gd name="connsiteX1549" fmla="*/ 415948 w 1551501"/>
                    <a:gd name="connsiteY1549" fmla="*/ 304263 h 1515279"/>
                    <a:gd name="connsiteX1550" fmla="*/ 419570 w 1551501"/>
                    <a:gd name="connsiteY1550" fmla="*/ 303660 h 1515279"/>
                    <a:gd name="connsiteX1551" fmla="*/ 424399 w 1551501"/>
                    <a:gd name="connsiteY1551" fmla="*/ 306678 h 1515279"/>
                    <a:gd name="connsiteX1552" fmla="*/ 424399 w 1551501"/>
                    <a:gd name="connsiteY1552" fmla="*/ 311508 h 1515279"/>
                    <a:gd name="connsiteX1553" fmla="*/ 422588 w 1551501"/>
                    <a:gd name="connsiteY1553" fmla="*/ 315734 h 1515279"/>
                    <a:gd name="connsiteX1554" fmla="*/ 424399 w 1551501"/>
                    <a:gd name="connsiteY1554" fmla="*/ 321167 h 1515279"/>
                    <a:gd name="connsiteX1555" fmla="*/ 429229 w 1551501"/>
                    <a:gd name="connsiteY1555" fmla="*/ 322978 h 1515279"/>
                    <a:gd name="connsiteX1556" fmla="*/ 426814 w 1551501"/>
                    <a:gd name="connsiteY1556" fmla="*/ 328411 h 1515279"/>
                    <a:gd name="connsiteX1557" fmla="*/ 429832 w 1551501"/>
                    <a:gd name="connsiteY1557" fmla="*/ 331430 h 1515279"/>
                    <a:gd name="connsiteX1558" fmla="*/ 437077 w 1551501"/>
                    <a:gd name="connsiteY1558" fmla="*/ 328411 h 1515279"/>
                    <a:gd name="connsiteX1559" fmla="*/ 443717 w 1551501"/>
                    <a:gd name="connsiteY1559" fmla="*/ 333241 h 1515279"/>
                    <a:gd name="connsiteX1560" fmla="*/ 452773 w 1551501"/>
                    <a:gd name="connsiteY1560" fmla="*/ 343504 h 1515279"/>
                    <a:gd name="connsiteX1561" fmla="*/ 455791 w 1551501"/>
                    <a:gd name="connsiteY1561" fmla="*/ 345918 h 1515279"/>
                    <a:gd name="connsiteX1562" fmla="*/ 458206 w 1551501"/>
                    <a:gd name="connsiteY1562" fmla="*/ 344711 h 1515279"/>
                    <a:gd name="connsiteX1563" fmla="*/ 467262 w 1551501"/>
                    <a:gd name="connsiteY1563" fmla="*/ 346522 h 1515279"/>
                    <a:gd name="connsiteX1564" fmla="*/ 469073 w 1551501"/>
                    <a:gd name="connsiteY1564" fmla="*/ 342296 h 1515279"/>
                    <a:gd name="connsiteX1565" fmla="*/ 473299 w 1551501"/>
                    <a:gd name="connsiteY1565" fmla="*/ 350144 h 1515279"/>
                    <a:gd name="connsiteX1566" fmla="*/ 477525 w 1551501"/>
                    <a:gd name="connsiteY1566" fmla="*/ 350748 h 1515279"/>
                    <a:gd name="connsiteX1567" fmla="*/ 477525 w 1551501"/>
                    <a:gd name="connsiteY1567" fmla="*/ 357992 h 1515279"/>
                    <a:gd name="connsiteX1568" fmla="*/ 476317 w 1551501"/>
                    <a:gd name="connsiteY1568" fmla="*/ 362218 h 1515279"/>
                    <a:gd name="connsiteX1569" fmla="*/ 479939 w 1551501"/>
                    <a:gd name="connsiteY1569" fmla="*/ 368859 h 1515279"/>
                    <a:gd name="connsiteX1570" fmla="*/ 484165 w 1551501"/>
                    <a:gd name="connsiteY1570" fmla="*/ 367652 h 1515279"/>
                    <a:gd name="connsiteX1571" fmla="*/ 489598 w 1551501"/>
                    <a:gd name="connsiteY1571" fmla="*/ 368255 h 1515279"/>
                    <a:gd name="connsiteX1572" fmla="*/ 493221 w 1551501"/>
                    <a:gd name="connsiteY1572" fmla="*/ 366444 h 1515279"/>
                    <a:gd name="connsiteX1573" fmla="*/ 499861 w 1551501"/>
                    <a:gd name="connsiteY1573" fmla="*/ 367048 h 1515279"/>
                    <a:gd name="connsiteX1574" fmla="*/ 504691 w 1551501"/>
                    <a:gd name="connsiteY1574" fmla="*/ 361011 h 1515279"/>
                    <a:gd name="connsiteX1575" fmla="*/ 508917 w 1551501"/>
                    <a:gd name="connsiteY1575" fmla="*/ 363426 h 1515279"/>
                    <a:gd name="connsiteX1576" fmla="*/ 508313 w 1551501"/>
                    <a:gd name="connsiteY1576" fmla="*/ 371274 h 1515279"/>
                    <a:gd name="connsiteX1577" fmla="*/ 513746 w 1551501"/>
                    <a:gd name="connsiteY1577" fmla="*/ 370066 h 1515279"/>
                    <a:gd name="connsiteX1578" fmla="*/ 517369 w 1551501"/>
                    <a:gd name="connsiteY1578" fmla="*/ 366444 h 1515279"/>
                    <a:gd name="connsiteX1579" fmla="*/ 522802 w 1551501"/>
                    <a:gd name="connsiteY1579" fmla="*/ 366444 h 1515279"/>
                    <a:gd name="connsiteX1580" fmla="*/ 530046 w 1551501"/>
                    <a:gd name="connsiteY1580" fmla="*/ 370670 h 1515279"/>
                    <a:gd name="connsiteX1581" fmla="*/ 532461 w 1551501"/>
                    <a:gd name="connsiteY1581" fmla="*/ 370670 h 1515279"/>
                    <a:gd name="connsiteX1582" fmla="*/ 536687 w 1551501"/>
                    <a:gd name="connsiteY1582" fmla="*/ 366444 h 1515279"/>
                    <a:gd name="connsiteX1583" fmla="*/ 541516 w 1551501"/>
                    <a:gd name="connsiteY1583" fmla="*/ 363426 h 1515279"/>
                    <a:gd name="connsiteX1584" fmla="*/ 552383 w 1551501"/>
                    <a:gd name="connsiteY1584" fmla="*/ 361011 h 151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Lst>
                  <a:rect l="l" t="t" r="r" b="b"/>
                  <a:pathLst>
                    <a:path w="1551501" h="1515279">
                      <a:moveTo>
                        <a:pt x="552383" y="361011"/>
                      </a:moveTo>
                      <a:lnTo>
                        <a:pt x="554798" y="360407"/>
                      </a:lnTo>
                      <a:lnTo>
                        <a:pt x="557816" y="364029"/>
                      </a:lnTo>
                      <a:lnTo>
                        <a:pt x="559024" y="365841"/>
                      </a:lnTo>
                      <a:lnTo>
                        <a:pt x="560835" y="365841"/>
                      </a:lnTo>
                      <a:lnTo>
                        <a:pt x="561438" y="367652"/>
                      </a:lnTo>
                      <a:lnTo>
                        <a:pt x="562042" y="368255"/>
                      </a:lnTo>
                      <a:lnTo>
                        <a:pt x="559627" y="369463"/>
                      </a:lnTo>
                      <a:lnTo>
                        <a:pt x="559024" y="371878"/>
                      </a:lnTo>
                      <a:lnTo>
                        <a:pt x="559627" y="373689"/>
                      </a:lnTo>
                      <a:lnTo>
                        <a:pt x="560231" y="374896"/>
                      </a:lnTo>
                      <a:lnTo>
                        <a:pt x="559627" y="377311"/>
                      </a:lnTo>
                      <a:lnTo>
                        <a:pt x="559024" y="378518"/>
                      </a:lnTo>
                      <a:lnTo>
                        <a:pt x="557816" y="377311"/>
                      </a:lnTo>
                      <a:lnTo>
                        <a:pt x="556609" y="380933"/>
                      </a:lnTo>
                      <a:lnTo>
                        <a:pt x="560835" y="380933"/>
                      </a:lnTo>
                      <a:lnTo>
                        <a:pt x="560835" y="380329"/>
                      </a:lnTo>
                      <a:lnTo>
                        <a:pt x="562042" y="379726"/>
                      </a:lnTo>
                      <a:lnTo>
                        <a:pt x="563250" y="379122"/>
                      </a:lnTo>
                      <a:lnTo>
                        <a:pt x="563250" y="377914"/>
                      </a:lnTo>
                      <a:lnTo>
                        <a:pt x="565061" y="371878"/>
                      </a:lnTo>
                      <a:lnTo>
                        <a:pt x="571098" y="373085"/>
                      </a:lnTo>
                      <a:lnTo>
                        <a:pt x="575324" y="374896"/>
                      </a:lnTo>
                      <a:lnTo>
                        <a:pt x="575324" y="377311"/>
                      </a:lnTo>
                      <a:lnTo>
                        <a:pt x="571098" y="377311"/>
                      </a:lnTo>
                      <a:lnTo>
                        <a:pt x="569287" y="377311"/>
                      </a:lnTo>
                      <a:lnTo>
                        <a:pt x="569287" y="380933"/>
                      </a:lnTo>
                      <a:lnTo>
                        <a:pt x="573512" y="382744"/>
                      </a:lnTo>
                      <a:lnTo>
                        <a:pt x="576531" y="382744"/>
                      </a:lnTo>
                      <a:lnTo>
                        <a:pt x="579549" y="381537"/>
                      </a:lnTo>
                      <a:lnTo>
                        <a:pt x="580757" y="382140"/>
                      </a:lnTo>
                      <a:lnTo>
                        <a:pt x="578342" y="385762"/>
                      </a:lnTo>
                      <a:lnTo>
                        <a:pt x="578946" y="386366"/>
                      </a:lnTo>
                      <a:lnTo>
                        <a:pt x="580153" y="388177"/>
                      </a:lnTo>
                      <a:lnTo>
                        <a:pt x="582568" y="390592"/>
                      </a:lnTo>
                      <a:lnTo>
                        <a:pt x="584379" y="393610"/>
                      </a:lnTo>
                      <a:lnTo>
                        <a:pt x="584983" y="397836"/>
                      </a:lnTo>
                      <a:lnTo>
                        <a:pt x="591623" y="401459"/>
                      </a:lnTo>
                      <a:lnTo>
                        <a:pt x="598868" y="401459"/>
                      </a:lnTo>
                      <a:lnTo>
                        <a:pt x="603697" y="396629"/>
                      </a:lnTo>
                      <a:lnTo>
                        <a:pt x="609734" y="386366"/>
                      </a:lnTo>
                      <a:lnTo>
                        <a:pt x="606716" y="382140"/>
                      </a:lnTo>
                      <a:lnTo>
                        <a:pt x="613356" y="373689"/>
                      </a:lnTo>
                      <a:lnTo>
                        <a:pt x="616375" y="374896"/>
                      </a:lnTo>
                      <a:lnTo>
                        <a:pt x="616979" y="376707"/>
                      </a:lnTo>
                      <a:lnTo>
                        <a:pt x="626034" y="375500"/>
                      </a:lnTo>
                      <a:lnTo>
                        <a:pt x="630260" y="379122"/>
                      </a:lnTo>
                      <a:lnTo>
                        <a:pt x="636901" y="386366"/>
                      </a:lnTo>
                      <a:lnTo>
                        <a:pt x="645956" y="392403"/>
                      </a:lnTo>
                      <a:lnTo>
                        <a:pt x="653200" y="391799"/>
                      </a:lnTo>
                      <a:lnTo>
                        <a:pt x="656219" y="395422"/>
                      </a:lnTo>
                      <a:lnTo>
                        <a:pt x="654408" y="399044"/>
                      </a:lnTo>
                      <a:lnTo>
                        <a:pt x="658634" y="403270"/>
                      </a:lnTo>
                      <a:lnTo>
                        <a:pt x="662256" y="403270"/>
                      </a:lnTo>
                      <a:lnTo>
                        <a:pt x="667085" y="405684"/>
                      </a:lnTo>
                      <a:lnTo>
                        <a:pt x="668897" y="413533"/>
                      </a:lnTo>
                      <a:lnTo>
                        <a:pt x="676141" y="418362"/>
                      </a:lnTo>
                      <a:lnTo>
                        <a:pt x="677952" y="422588"/>
                      </a:lnTo>
                      <a:lnTo>
                        <a:pt x="687008" y="420173"/>
                      </a:lnTo>
                      <a:lnTo>
                        <a:pt x="691837" y="420777"/>
                      </a:lnTo>
                      <a:lnTo>
                        <a:pt x="696667" y="424399"/>
                      </a:lnTo>
                      <a:lnTo>
                        <a:pt x="698478" y="431644"/>
                      </a:lnTo>
                      <a:lnTo>
                        <a:pt x="705722" y="436473"/>
                      </a:lnTo>
                      <a:lnTo>
                        <a:pt x="709344" y="434662"/>
                      </a:lnTo>
                      <a:lnTo>
                        <a:pt x="705118" y="414136"/>
                      </a:lnTo>
                      <a:lnTo>
                        <a:pt x="712966" y="408099"/>
                      </a:lnTo>
                      <a:lnTo>
                        <a:pt x="719003" y="408703"/>
                      </a:lnTo>
                      <a:lnTo>
                        <a:pt x="723229" y="410514"/>
                      </a:lnTo>
                      <a:lnTo>
                        <a:pt x="721418" y="414740"/>
                      </a:lnTo>
                      <a:lnTo>
                        <a:pt x="726248" y="417155"/>
                      </a:lnTo>
                      <a:lnTo>
                        <a:pt x="727455" y="420173"/>
                      </a:lnTo>
                      <a:lnTo>
                        <a:pt x="735907" y="421381"/>
                      </a:lnTo>
                      <a:lnTo>
                        <a:pt x="738926" y="419570"/>
                      </a:lnTo>
                      <a:lnTo>
                        <a:pt x="741340" y="424399"/>
                      </a:lnTo>
                      <a:lnTo>
                        <a:pt x="741340" y="428021"/>
                      </a:lnTo>
                      <a:lnTo>
                        <a:pt x="743755" y="432247"/>
                      </a:lnTo>
                      <a:lnTo>
                        <a:pt x="748585" y="436473"/>
                      </a:lnTo>
                      <a:lnTo>
                        <a:pt x="754018" y="435266"/>
                      </a:lnTo>
                      <a:lnTo>
                        <a:pt x="760055" y="437077"/>
                      </a:lnTo>
                      <a:lnTo>
                        <a:pt x="760055" y="441303"/>
                      </a:lnTo>
                      <a:lnTo>
                        <a:pt x="764281" y="442510"/>
                      </a:lnTo>
                      <a:lnTo>
                        <a:pt x="763073" y="445528"/>
                      </a:lnTo>
                      <a:lnTo>
                        <a:pt x="769714" y="447943"/>
                      </a:lnTo>
                      <a:lnTo>
                        <a:pt x="775147" y="452773"/>
                      </a:lnTo>
                      <a:lnTo>
                        <a:pt x="777562" y="453377"/>
                      </a:lnTo>
                      <a:lnTo>
                        <a:pt x="782392" y="450358"/>
                      </a:lnTo>
                      <a:lnTo>
                        <a:pt x="789032" y="453377"/>
                      </a:lnTo>
                      <a:lnTo>
                        <a:pt x="787221" y="455791"/>
                      </a:lnTo>
                      <a:lnTo>
                        <a:pt x="788429" y="460621"/>
                      </a:lnTo>
                      <a:lnTo>
                        <a:pt x="796277" y="463036"/>
                      </a:lnTo>
                      <a:lnTo>
                        <a:pt x="800503" y="467262"/>
                      </a:lnTo>
                      <a:lnTo>
                        <a:pt x="803521" y="467865"/>
                      </a:lnTo>
                      <a:lnTo>
                        <a:pt x="807747" y="463639"/>
                      </a:lnTo>
                      <a:lnTo>
                        <a:pt x="810162" y="467262"/>
                      </a:lnTo>
                      <a:lnTo>
                        <a:pt x="814388" y="469676"/>
                      </a:lnTo>
                      <a:lnTo>
                        <a:pt x="817406" y="473902"/>
                      </a:lnTo>
                      <a:lnTo>
                        <a:pt x="824047" y="479939"/>
                      </a:lnTo>
                      <a:lnTo>
                        <a:pt x="851213" y="485373"/>
                      </a:lnTo>
                      <a:lnTo>
                        <a:pt x="856043" y="493824"/>
                      </a:lnTo>
                      <a:lnTo>
                        <a:pt x="855439" y="502276"/>
                      </a:lnTo>
                      <a:lnTo>
                        <a:pt x="865702" y="514954"/>
                      </a:lnTo>
                      <a:lnTo>
                        <a:pt x="873550" y="523405"/>
                      </a:lnTo>
                      <a:lnTo>
                        <a:pt x="873550" y="538498"/>
                      </a:lnTo>
                      <a:lnTo>
                        <a:pt x="876568" y="536687"/>
                      </a:lnTo>
                      <a:lnTo>
                        <a:pt x="884416" y="536687"/>
                      </a:lnTo>
                      <a:lnTo>
                        <a:pt x="885020" y="528235"/>
                      </a:lnTo>
                      <a:lnTo>
                        <a:pt x="892265" y="528839"/>
                      </a:lnTo>
                      <a:lnTo>
                        <a:pt x="900113" y="532461"/>
                      </a:lnTo>
                      <a:lnTo>
                        <a:pt x="900716" y="536687"/>
                      </a:lnTo>
                      <a:lnTo>
                        <a:pt x="907357" y="542120"/>
                      </a:lnTo>
                      <a:lnTo>
                        <a:pt x="906150" y="550572"/>
                      </a:lnTo>
                      <a:lnTo>
                        <a:pt x="920638" y="558420"/>
                      </a:lnTo>
                      <a:lnTo>
                        <a:pt x="940560" y="571098"/>
                      </a:lnTo>
                      <a:lnTo>
                        <a:pt x="952634" y="572909"/>
                      </a:lnTo>
                      <a:lnTo>
                        <a:pt x="973764" y="592227"/>
                      </a:lnTo>
                      <a:lnTo>
                        <a:pt x="979801" y="593434"/>
                      </a:lnTo>
                      <a:lnTo>
                        <a:pt x="987649" y="600075"/>
                      </a:lnTo>
                      <a:lnTo>
                        <a:pt x="990063" y="603093"/>
                      </a:lnTo>
                      <a:lnTo>
                        <a:pt x="993686" y="603697"/>
                      </a:lnTo>
                      <a:lnTo>
                        <a:pt x="998515" y="602490"/>
                      </a:lnTo>
                      <a:lnTo>
                        <a:pt x="998515" y="598868"/>
                      </a:lnTo>
                      <a:lnTo>
                        <a:pt x="1007571" y="586190"/>
                      </a:lnTo>
                      <a:lnTo>
                        <a:pt x="1011797" y="586190"/>
                      </a:lnTo>
                      <a:lnTo>
                        <a:pt x="1028700" y="588001"/>
                      </a:lnTo>
                      <a:lnTo>
                        <a:pt x="1032926" y="594038"/>
                      </a:lnTo>
                      <a:lnTo>
                        <a:pt x="1039567" y="601282"/>
                      </a:lnTo>
                      <a:lnTo>
                        <a:pt x="1045000" y="603093"/>
                      </a:lnTo>
                      <a:lnTo>
                        <a:pt x="1045604" y="600679"/>
                      </a:lnTo>
                      <a:lnTo>
                        <a:pt x="1057074" y="606112"/>
                      </a:lnTo>
                      <a:lnTo>
                        <a:pt x="1061300" y="611545"/>
                      </a:lnTo>
                      <a:lnTo>
                        <a:pt x="1066129" y="613960"/>
                      </a:lnTo>
                      <a:lnTo>
                        <a:pt x="1076392" y="622412"/>
                      </a:lnTo>
                      <a:lnTo>
                        <a:pt x="1089674" y="629656"/>
                      </a:lnTo>
                      <a:lnTo>
                        <a:pt x="1092692" y="635089"/>
                      </a:lnTo>
                      <a:lnTo>
                        <a:pt x="1096918" y="639315"/>
                      </a:lnTo>
                      <a:lnTo>
                        <a:pt x="1106577" y="644749"/>
                      </a:lnTo>
                      <a:lnTo>
                        <a:pt x="1111407" y="645352"/>
                      </a:lnTo>
                      <a:lnTo>
                        <a:pt x="1120462" y="641730"/>
                      </a:lnTo>
                      <a:lnTo>
                        <a:pt x="1125292" y="642938"/>
                      </a:lnTo>
                      <a:lnTo>
                        <a:pt x="1138573" y="638108"/>
                      </a:lnTo>
                      <a:lnTo>
                        <a:pt x="1141592" y="639315"/>
                      </a:lnTo>
                      <a:lnTo>
                        <a:pt x="1151251" y="636297"/>
                      </a:lnTo>
                      <a:lnTo>
                        <a:pt x="1159099" y="635693"/>
                      </a:lnTo>
                      <a:lnTo>
                        <a:pt x="1162117" y="642334"/>
                      </a:lnTo>
                      <a:lnTo>
                        <a:pt x="1160910" y="648371"/>
                      </a:lnTo>
                      <a:lnTo>
                        <a:pt x="1165739" y="653200"/>
                      </a:lnTo>
                      <a:lnTo>
                        <a:pt x="1165136" y="658634"/>
                      </a:lnTo>
                      <a:lnTo>
                        <a:pt x="1169362" y="665878"/>
                      </a:lnTo>
                      <a:lnTo>
                        <a:pt x="1165739" y="675537"/>
                      </a:lnTo>
                      <a:lnTo>
                        <a:pt x="1168154" y="680970"/>
                      </a:lnTo>
                      <a:lnTo>
                        <a:pt x="1165739" y="685196"/>
                      </a:lnTo>
                      <a:lnTo>
                        <a:pt x="1179021" y="687007"/>
                      </a:lnTo>
                      <a:lnTo>
                        <a:pt x="1186265" y="685800"/>
                      </a:lnTo>
                      <a:lnTo>
                        <a:pt x="1193510" y="686404"/>
                      </a:lnTo>
                      <a:lnTo>
                        <a:pt x="1205583" y="685800"/>
                      </a:lnTo>
                      <a:lnTo>
                        <a:pt x="1210413" y="693648"/>
                      </a:lnTo>
                      <a:lnTo>
                        <a:pt x="1227317" y="697874"/>
                      </a:lnTo>
                      <a:lnTo>
                        <a:pt x="1253879" y="696063"/>
                      </a:lnTo>
                      <a:lnTo>
                        <a:pt x="1258709" y="696667"/>
                      </a:lnTo>
                      <a:lnTo>
                        <a:pt x="1263538" y="703911"/>
                      </a:lnTo>
                      <a:lnTo>
                        <a:pt x="1276216" y="712966"/>
                      </a:lnTo>
                      <a:lnTo>
                        <a:pt x="1275009" y="717192"/>
                      </a:lnTo>
                      <a:lnTo>
                        <a:pt x="1281046" y="724437"/>
                      </a:lnTo>
                      <a:lnTo>
                        <a:pt x="1288290" y="725040"/>
                      </a:lnTo>
                      <a:lnTo>
                        <a:pt x="1292516" y="723229"/>
                      </a:lnTo>
                      <a:lnTo>
                        <a:pt x="1300364" y="714777"/>
                      </a:lnTo>
                      <a:lnTo>
                        <a:pt x="1299157" y="711759"/>
                      </a:lnTo>
                      <a:lnTo>
                        <a:pt x="1303986" y="708137"/>
                      </a:lnTo>
                      <a:lnTo>
                        <a:pt x="1299157" y="699685"/>
                      </a:lnTo>
                      <a:lnTo>
                        <a:pt x="1302779" y="696063"/>
                      </a:lnTo>
                      <a:lnTo>
                        <a:pt x="1300364" y="690630"/>
                      </a:lnTo>
                      <a:lnTo>
                        <a:pt x="1346849" y="693044"/>
                      </a:lnTo>
                      <a:lnTo>
                        <a:pt x="1391522" y="716588"/>
                      </a:lnTo>
                      <a:lnTo>
                        <a:pt x="1396956" y="720814"/>
                      </a:lnTo>
                      <a:lnTo>
                        <a:pt x="1394541" y="724437"/>
                      </a:lnTo>
                      <a:lnTo>
                        <a:pt x="1390919" y="726248"/>
                      </a:lnTo>
                      <a:lnTo>
                        <a:pt x="1395748" y="729870"/>
                      </a:lnTo>
                      <a:lnTo>
                        <a:pt x="1402993" y="726248"/>
                      </a:lnTo>
                      <a:lnTo>
                        <a:pt x="1406615" y="725644"/>
                      </a:lnTo>
                      <a:lnTo>
                        <a:pt x="1410237" y="728662"/>
                      </a:lnTo>
                      <a:lnTo>
                        <a:pt x="1409029" y="734096"/>
                      </a:lnTo>
                      <a:lnTo>
                        <a:pt x="1404200" y="737718"/>
                      </a:lnTo>
                      <a:lnTo>
                        <a:pt x="1405407" y="743755"/>
                      </a:lnTo>
                      <a:lnTo>
                        <a:pt x="1406615" y="744359"/>
                      </a:lnTo>
                      <a:lnTo>
                        <a:pt x="1415066" y="746773"/>
                      </a:lnTo>
                      <a:lnTo>
                        <a:pt x="1418085" y="749188"/>
                      </a:lnTo>
                      <a:lnTo>
                        <a:pt x="1418085" y="750999"/>
                      </a:lnTo>
                      <a:lnTo>
                        <a:pt x="1421103" y="755225"/>
                      </a:lnTo>
                      <a:lnTo>
                        <a:pt x="1422914" y="760055"/>
                      </a:lnTo>
                      <a:lnTo>
                        <a:pt x="1422311" y="760658"/>
                      </a:lnTo>
                      <a:lnTo>
                        <a:pt x="1419292" y="763677"/>
                      </a:lnTo>
                      <a:lnTo>
                        <a:pt x="1415670" y="769714"/>
                      </a:lnTo>
                      <a:lnTo>
                        <a:pt x="1416274" y="771525"/>
                      </a:lnTo>
                      <a:lnTo>
                        <a:pt x="1415670" y="772732"/>
                      </a:lnTo>
                      <a:lnTo>
                        <a:pt x="1413859" y="774543"/>
                      </a:lnTo>
                      <a:lnTo>
                        <a:pt x="1413255" y="778166"/>
                      </a:lnTo>
                      <a:lnTo>
                        <a:pt x="1413859" y="781184"/>
                      </a:lnTo>
                      <a:lnTo>
                        <a:pt x="1415066" y="782392"/>
                      </a:lnTo>
                      <a:lnTo>
                        <a:pt x="1421103" y="780580"/>
                      </a:lnTo>
                      <a:lnTo>
                        <a:pt x="1427140" y="778166"/>
                      </a:lnTo>
                      <a:lnTo>
                        <a:pt x="1428951" y="778769"/>
                      </a:lnTo>
                      <a:lnTo>
                        <a:pt x="1429555" y="780580"/>
                      </a:lnTo>
                      <a:lnTo>
                        <a:pt x="1429555" y="782995"/>
                      </a:lnTo>
                      <a:lnTo>
                        <a:pt x="1424122" y="786014"/>
                      </a:lnTo>
                      <a:lnTo>
                        <a:pt x="1430762" y="792051"/>
                      </a:lnTo>
                      <a:lnTo>
                        <a:pt x="1433177" y="791447"/>
                      </a:lnTo>
                      <a:lnTo>
                        <a:pt x="1433177" y="797484"/>
                      </a:lnTo>
                      <a:lnTo>
                        <a:pt x="1434385" y="801106"/>
                      </a:lnTo>
                      <a:lnTo>
                        <a:pt x="1436196" y="804125"/>
                      </a:lnTo>
                      <a:lnTo>
                        <a:pt x="1433177" y="805936"/>
                      </a:lnTo>
                      <a:lnTo>
                        <a:pt x="1434988" y="806540"/>
                      </a:lnTo>
                      <a:lnTo>
                        <a:pt x="1434385" y="809558"/>
                      </a:lnTo>
                      <a:lnTo>
                        <a:pt x="1435592" y="810765"/>
                      </a:lnTo>
                      <a:lnTo>
                        <a:pt x="1433781" y="811973"/>
                      </a:lnTo>
                      <a:lnTo>
                        <a:pt x="1433177" y="813784"/>
                      </a:lnTo>
                      <a:lnTo>
                        <a:pt x="1432573" y="813784"/>
                      </a:lnTo>
                      <a:lnTo>
                        <a:pt x="1430762" y="815595"/>
                      </a:lnTo>
                      <a:lnTo>
                        <a:pt x="1431970" y="816199"/>
                      </a:lnTo>
                      <a:lnTo>
                        <a:pt x="1434988" y="818010"/>
                      </a:lnTo>
                      <a:lnTo>
                        <a:pt x="1436196" y="821632"/>
                      </a:lnTo>
                      <a:lnTo>
                        <a:pt x="1434385" y="822839"/>
                      </a:lnTo>
                      <a:lnTo>
                        <a:pt x="1434988" y="824047"/>
                      </a:lnTo>
                      <a:lnTo>
                        <a:pt x="1436196" y="824650"/>
                      </a:lnTo>
                      <a:lnTo>
                        <a:pt x="1436196" y="825254"/>
                      </a:lnTo>
                      <a:lnTo>
                        <a:pt x="1438007" y="827669"/>
                      </a:lnTo>
                      <a:lnTo>
                        <a:pt x="1441629" y="830084"/>
                      </a:lnTo>
                      <a:lnTo>
                        <a:pt x="1444044" y="829480"/>
                      </a:lnTo>
                      <a:lnTo>
                        <a:pt x="1444647" y="830084"/>
                      </a:lnTo>
                      <a:lnTo>
                        <a:pt x="1446459" y="828272"/>
                      </a:lnTo>
                      <a:lnTo>
                        <a:pt x="1451288" y="827065"/>
                      </a:lnTo>
                      <a:lnTo>
                        <a:pt x="1452496" y="828876"/>
                      </a:lnTo>
                      <a:lnTo>
                        <a:pt x="1454910" y="828876"/>
                      </a:lnTo>
                      <a:lnTo>
                        <a:pt x="1454307" y="831291"/>
                      </a:lnTo>
                      <a:lnTo>
                        <a:pt x="1453099" y="835517"/>
                      </a:lnTo>
                      <a:lnTo>
                        <a:pt x="1456721" y="839139"/>
                      </a:lnTo>
                      <a:lnTo>
                        <a:pt x="1460947" y="840346"/>
                      </a:lnTo>
                      <a:lnTo>
                        <a:pt x="1462155" y="837932"/>
                      </a:lnTo>
                      <a:lnTo>
                        <a:pt x="1462155" y="836121"/>
                      </a:lnTo>
                      <a:lnTo>
                        <a:pt x="1468795" y="831895"/>
                      </a:lnTo>
                      <a:lnTo>
                        <a:pt x="1471814" y="831895"/>
                      </a:lnTo>
                      <a:lnTo>
                        <a:pt x="1474229" y="833706"/>
                      </a:lnTo>
                      <a:lnTo>
                        <a:pt x="1476644" y="834913"/>
                      </a:lnTo>
                      <a:lnTo>
                        <a:pt x="1477247" y="839743"/>
                      </a:lnTo>
                      <a:lnTo>
                        <a:pt x="1476040" y="843365"/>
                      </a:lnTo>
                      <a:lnTo>
                        <a:pt x="1477247" y="843365"/>
                      </a:lnTo>
                      <a:lnTo>
                        <a:pt x="1477851" y="846383"/>
                      </a:lnTo>
                      <a:lnTo>
                        <a:pt x="1477247" y="850006"/>
                      </a:lnTo>
                      <a:lnTo>
                        <a:pt x="1475436" y="854232"/>
                      </a:lnTo>
                      <a:lnTo>
                        <a:pt x="1472418" y="858457"/>
                      </a:lnTo>
                      <a:lnTo>
                        <a:pt x="1476040" y="864494"/>
                      </a:lnTo>
                      <a:lnTo>
                        <a:pt x="1478455" y="863287"/>
                      </a:lnTo>
                      <a:lnTo>
                        <a:pt x="1480869" y="861476"/>
                      </a:lnTo>
                      <a:lnTo>
                        <a:pt x="1483284" y="859665"/>
                      </a:lnTo>
                      <a:lnTo>
                        <a:pt x="1487510" y="859061"/>
                      </a:lnTo>
                      <a:lnTo>
                        <a:pt x="1488718" y="862683"/>
                      </a:lnTo>
                      <a:lnTo>
                        <a:pt x="1491736" y="867513"/>
                      </a:lnTo>
                      <a:lnTo>
                        <a:pt x="1492340" y="874153"/>
                      </a:lnTo>
                      <a:lnTo>
                        <a:pt x="1495358" y="875965"/>
                      </a:lnTo>
                      <a:lnTo>
                        <a:pt x="1497773" y="875965"/>
                      </a:lnTo>
                      <a:lnTo>
                        <a:pt x="1501395" y="876568"/>
                      </a:lnTo>
                      <a:lnTo>
                        <a:pt x="1508640" y="877776"/>
                      </a:lnTo>
                      <a:lnTo>
                        <a:pt x="1509243" y="884416"/>
                      </a:lnTo>
                      <a:lnTo>
                        <a:pt x="1511054" y="888039"/>
                      </a:lnTo>
                      <a:lnTo>
                        <a:pt x="1492943" y="891057"/>
                      </a:lnTo>
                      <a:lnTo>
                        <a:pt x="1486906" y="891057"/>
                      </a:lnTo>
                      <a:lnTo>
                        <a:pt x="1482077" y="894679"/>
                      </a:lnTo>
                      <a:lnTo>
                        <a:pt x="1479058" y="892868"/>
                      </a:lnTo>
                      <a:lnTo>
                        <a:pt x="1473021" y="891661"/>
                      </a:lnTo>
                      <a:lnTo>
                        <a:pt x="1467588" y="888642"/>
                      </a:lnTo>
                      <a:lnTo>
                        <a:pt x="1460344" y="888642"/>
                      </a:lnTo>
                      <a:lnTo>
                        <a:pt x="1457325" y="885624"/>
                      </a:lnTo>
                      <a:lnTo>
                        <a:pt x="1447666" y="885624"/>
                      </a:lnTo>
                      <a:lnTo>
                        <a:pt x="1442233" y="885020"/>
                      </a:lnTo>
                      <a:lnTo>
                        <a:pt x="1443440" y="892264"/>
                      </a:lnTo>
                      <a:lnTo>
                        <a:pt x="1436196" y="903131"/>
                      </a:lnTo>
                      <a:lnTo>
                        <a:pt x="1435592" y="907357"/>
                      </a:lnTo>
                      <a:lnTo>
                        <a:pt x="1425933" y="911583"/>
                      </a:lnTo>
                      <a:lnTo>
                        <a:pt x="1420500" y="910375"/>
                      </a:lnTo>
                      <a:lnTo>
                        <a:pt x="1418688" y="914601"/>
                      </a:lnTo>
                      <a:lnTo>
                        <a:pt x="1411444" y="911583"/>
                      </a:lnTo>
                      <a:lnTo>
                        <a:pt x="1405407" y="913394"/>
                      </a:lnTo>
                      <a:lnTo>
                        <a:pt x="1406615" y="915809"/>
                      </a:lnTo>
                      <a:lnTo>
                        <a:pt x="1405407" y="929090"/>
                      </a:lnTo>
                      <a:lnTo>
                        <a:pt x="1414463" y="931505"/>
                      </a:lnTo>
                      <a:lnTo>
                        <a:pt x="1422311" y="932712"/>
                      </a:lnTo>
                      <a:lnTo>
                        <a:pt x="1424122" y="929694"/>
                      </a:lnTo>
                      <a:lnTo>
                        <a:pt x="1428951" y="930901"/>
                      </a:lnTo>
                      <a:lnTo>
                        <a:pt x="1428951" y="933316"/>
                      </a:lnTo>
                      <a:lnTo>
                        <a:pt x="1433177" y="938749"/>
                      </a:lnTo>
                      <a:lnTo>
                        <a:pt x="1437403" y="939956"/>
                      </a:lnTo>
                      <a:lnTo>
                        <a:pt x="1438610" y="942975"/>
                      </a:lnTo>
                      <a:lnTo>
                        <a:pt x="1450081" y="944182"/>
                      </a:lnTo>
                      <a:lnTo>
                        <a:pt x="1460947" y="946597"/>
                      </a:lnTo>
                      <a:lnTo>
                        <a:pt x="1460344" y="955049"/>
                      </a:lnTo>
                      <a:lnTo>
                        <a:pt x="1463362" y="959879"/>
                      </a:lnTo>
                      <a:lnTo>
                        <a:pt x="1460947" y="962897"/>
                      </a:lnTo>
                      <a:lnTo>
                        <a:pt x="1460344" y="969538"/>
                      </a:lnTo>
                      <a:lnTo>
                        <a:pt x="1458533" y="972556"/>
                      </a:lnTo>
                      <a:lnTo>
                        <a:pt x="1448873" y="972556"/>
                      </a:lnTo>
                      <a:lnTo>
                        <a:pt x="1448873" y="976782"/>
                      </a:lnTo>
                      <a:lnTo>
                        <a:pt x="1444647" y="977386"/>
                      </a:lnTo>
                      <a:lnTo>
                        <a:pt x="1441025" y="981008"/>
                      </a:lnTo>
                      <a:lnTo>
                        <a:pt x="1432573" y="979197"/>
                      </a:lnTo>
                      <a:lnTo>
                        <a:pt x="1426536" y="988856"/>
                      </a:lnTo>
                      <a:lnTo>
                        <a:pt x="1426536" y="991874"/>
                      </a:lnTo>
                      <a:lnTo>
                        <a:pt x="1431366" y="994893"/>
                      </a:lnTo>
                      <a:lnTo>
                        <a:pt x="1429555" y="999119"/>
                      </a:lnTo>
                      <a:lnTo>
                        <a:pt x="1434385" y="1002137"/>
                      </a:lnTo>
                      <a:lnTo>
                        <a:pt x="1436196" y="1009382"/>
                      </a:lnTo>
                      <a:lnTo>
                        <a:pt x="1444647" y="1010589"/>
                      </a:lnTo>
                      <a:lnTo>
                        <a:pt x="1449477" y="1015419"/>
                      </a:lnTo>
                      <a:lnTo>
                        <a:pt x="1454307" y="1021456"/>
                      </a:lnTo>
                      <a:lnTo>
                        <a:pt x="1460344" y="1026889"/>
                      </a:lnTo>
                      <a:lnTo>
                        <a:pt x="1461551" y="1032926"/>
                      </a:lnTo>
                      <a:lnTo>
                        <a:pt x="1465777" y="1034737"/>
                      </a:lnTo>
                      <a:lnTo>
                        <a:pt x="1467588" y="1032322"/>
                      </a:lnTo>
                      <a:lnTo>
                        <a:pt x="1475436" y="1036548"/>
                      </a:lnTo>
                      <a:lnTo>
                        <a:pt x="1485699" y="1044396"/>
                      </a:lnTo>
                      <a:lnTo>
                        <a:pt x="1490529" y="1044396"/>
                      </a:lnTo>
                      <a:lnTo>
                        <a:pt x="1498377" y="1041981"/>
                      </a:lnTo>
                      <a:lnTo>
                        <a:pt x="1505621" y="1046811"/>
                      </a:lnTo>
                      <a:lnTo>
                        <a:pt x="1509847" y="1048018"/>
                      </a:lnTo>
                      <a:lnTo>
                        <a:pt x="1514676" y="1057074"/>
                      </a:lnTo>
                      <a:lnTo>
                        <a:pt x="1526147" y="1057677"/>
                      </a:lnTo>
                      <a:lnTo>
                        <a:pt x="1530372" y="1061903"/>
                      </a:lnTo>
                      <a:lnTo>
                        <a:pt x="1534598" y="1060696"/>
                      </a:lnTo>
                      <a:lnTo>
                        <a:pt x="1534598" y="1070355"/>
                      </a:lnTo>
                      <a:lnTo>
                        <a:pt x="1538824" y="1069148"/>
                      </a:lnTo>
                      <a:lnTo>
                        <a:pt x="1546672" y="1073977"/>
                      </a:lnTo>
                      <a:lnTo>
                        <a:pt x="1553917" y="1080014"/>
                      </a:lnTo>
                      <a:lnTo>
                        <a:pt x="1549691" y="1087259"/>
                      </a:lnTo>
                      <a:lnTo>
                        <a:pt x="1555124" y="1091484"/>
                      </a:lnTo>
                      <a:lnTo>
                        <a:pt x="1552106" y="1093899"/>
                      </a:lnTo>
                      <a:lnTo>
                        <a:pt x="1548483" y="1092088"/>
                      </a:lnTo>
                      <a:lnTo>
                        <a:pt x="1540635" y="1092692"/>
                      </a:lnTo>
                      <a:lnTo>
                        <a:pt x="1541239" y="1101144"/>
                      </a:lnTo>
                      <a:lnTo>
                        <a:pt x="1539428" y="1104766"/>
                      </a:lnTo>
                      <a:lnTo>
                        <a:pt x="1535202" y="1102955"/>
                      </a:lnTo>
                      <a:lnTo>
                        <a:pt x="1532183" y="1106577"/>
                      </a:lnTo>
                      <a:lnTo>
                        <a:pt x="1526750" y="1102955"/>
                      </a:lnTo>
                      <a:lnTo>
                        <a:pt x="1521921" y="1104766"/>
                      </a:lnTo>
                      <a:lnTo>
                        <a:pt x="1518299" y="1098125"/>
                      </a:lnTo>
                      <a:lnTo>
                        <a:pt x="1513469" y="1098729"/>
                      </a:lnTo>
                      <a:lnTo>
                        <a:pt x="1513469" y="1102351"/>
                      </a:lnTo>
                      <a:lnTo>
                        <a:pt x="1508640" y="1101144"/>
                      </a:lnTo>
                      <a:lnTo>
                        <a:pt x="1506828" y="1094503"/>
                      </a:lnTo>
                      <a:lnTo>
                        <a:pt x="1498980" y="1091484"/>
                      </a:lnTo>
                      <a:lnTo>
                        <a:pt x="1492943" y="1092692"/>
                      </a:lnTo>
                      <a:lnTo>
                        <a:pt x="1491736" y="1107784"/>
                      </a:lnTo>
                      <a:lnTo>
                        <a:pt x="1485699" y="1109595"/>
                      </a:lnTo>
                      <a:lnTo>
                        <a:pt x="1470607" y="1109595"/>
                      </a:lnTo>
                      <a:lnTo>
                        <a:pt x="1466984" y="1107784"/>
                      </a:lnTo>
                      <a:lnTo>
                        <a:pt x="1465777" y="1100540"/>
                      </a:lnTo>
                      <a:lnTo>
                        <a:pt x="1460344" y="1096314"/>
                      </a:lnTo>
                      <a:lnTo>
                        <a:pt x="1456118" y="1095107"/>
                      </a:lnTo>
                      <a:lnTo>
                        <a:pt x="1448270" y="1095710"/>
                      </a:lnTo>
                      <a:lnTo>
                        <a:pt x="1442836" y="1098125"/>
                      </a:lnTo>
                      <a:lnTo>
                        <a:pt x="1440422" y="1102351"/>
                      </a:lnTo>
                      <a:lnTo>
                        <a:pt x="1442233" y="1112010"/>
                      </a:lnTo>
                      <a:lnTo>
                        <a:pt x="1441629" y="1115632"/>
                      </a:lnTo>
                      <a:lnTo>
                        <a:pt x="1428951" y="1120462"/>
                      </a:lnTo>
                      <a:lnTo>
                        <a:pt x="1414463" y="1131329"/>
                      </a:lnTo>
                      <a:lnTo>
                        <a:pt x="1409633" y="1132536"/>
                      </a:lnTo>
                      <a:lnTo>
                        <a:pt x="1403596" y="1140988"/>
                      </a:lnTo>
                      <a:lnTo>
                        <a:pt x="1399370" y="1142195"/>
                      </a:lnTo>
                      <a:lnTo>
                        <a:pt x="1399370" y="1146421"/>
                      </a:lnTo>
                      <a:lnTo>
                        <a:pt x="1395145" y="1153062"/>
                      </a:lnTo>
                      <a:lnTo>
                        <a:pt x="1391522" y="1155476"/>
                      </a:lnTo>
                      <a:lnTo>
                        <a:pt x="1392730" y="1161513"/>
                      </a:lnTo>
                      <a:lnTo>
                        <a:pt x="1385485" y="1162117"/>
                      </a:lnTo>
                      <a:lnTo>
                        <a:pt x="1383674" y="1168154"/>
                      </a:lnTo>
                      <a:lnTo>
                        <a:pt x="1380656" y="1169965"/>
                      </a:lnTo>
                      <a:lnTo>
                        <a:pt x="1374015" y="1168758"/>
                      </a:lnTo>
                      <a:lnTo>
                        <a:pt x="1366167" y="1170569"/>
                      </a:lnTo>
                      <a:lnTo>
                        <a:pt x="1361337" y="1176606"/>
                      </a:lnTo>
                      <a:lnTo>
                        <a:pt x="1354697" y="1177813"/>
                      </a:lnTo>
                      <a:lnTo>
                        <a:pt x="1347452" y="1186265"/>
                      </a:lnTo>
                      <a:lnTo>
                        <a:pt x="1345641" y="1185058"/>
                      </a:lnTo>
                      <a:lnTo>
                        <a:pt x="1337793" y="1188680"/>
                      </a:lnTo>
                      <a:lnTo>
                        <a:pt x="1331756" y="1189887"/>
                      </a:lnTo>
                      <a:lnTo>
                        <a:pt x="1324512" y="1195924"/>
                      </a:lnTo>
                      <a:lnTo>
                        <a:pt x="1318475" y="1196528"/>
                      </a:lnTo>
                      <a:lnTo>
                        <a:pt x="1314852" y="1203772"/>
                      </a:lnTo>
                      <a:lnTo>
                        <a:pt x="1311230" y="1201961"/>
                      </a:lnTo>
                      <a:lnTo>
                        <a:pt x="1303986" y="1204376"/>
                      </a:lnTo>
                      <a:lnTo>
                        <a:pt x="1299760" y="1214035"/>
                      </a:lnTo>
                      <a:lnTo>
                        <a:pt x="1293723" y="1216450"/>
                      </a:lnTo>
                      <a:lnTo>
                        <a:pt x="1291912" y="1215846"/>
                      </a:lnTo>
                      <a:lnTo>
                        <a:pt x="1290705" y="1224902"/>
                      </a:lnTo>
                      <a:lnTo>
                        <a:pt x="1292516" y="1226713"/>
                      </a:lnTo>
                      <a:lnTo>
                        <a:pt x="1292516" y="1235768"/>
                      </a:lnTo>
                      <a:lnTo>
                        <a:pt x="1289498" y="1235165"/>
                      </a:lnTo>
                      <a:lnTo>
                        <a:pt x="1286479" y="1250257"/>
                      </a:lnTo>
                      <a:lnTo>
                        <a:pt x="1284668" y="1252068"/>
                      </a:lnTo>
                      <a:lnTo>
                        <a:pt x="1285272" y="1257501"/>
                      </a:lnTo>
                      <a:lnTo>
                        <a:pt x="1290705" y="1258709"/>
                      </a:lnTo>
                      <a:lnTo>
                        <a:pt x="1290705" y="1268971"/>
                      </a:lnTo>
                      <a:lnTo>
                        <a:pt x="1293120" y="1270783"/>
                      </a:lnTo>
                      <a:lnTo>
                        <a:pt x="1293723" y="1280442"/>
                      </a:lnTo>
                      <a:lnTo>
                        <a:pt x="1291912" y="1282857"/>
                      </a:lnTo>
                      <a:lnTo>
                        <a:pt x="1295534" y="1291912"/>
                      </a:lnTo>
                      <a:lnTo>
                        <a:pt x="1300364" y="1299156"/>
                      </a:lnTo>
                      <a:lnTo>
                        <a:pt x="1300968" y="1303986"/>
                      </a:lnTo>
                      <a:lnTo>
                        <a:pt x="1299157" y="1310023"/>
                      </a:lnTo>
                      <a:lnTo>
                        <a:pt x="1304590" y="1311834"/>
                      </a:lnTo>
                      <a:lnTo>
                        <a:pt x="1309419" y="1316060"/>
                      </a:lnTo>
                      <a:lnTo>
                        <a:pt x="1313041" y="1321493"/>
                      </a:lnTo>
                      <a:lnTo>
                        <a:pt x="1318475" y="1320286"/>
                      </a:lnTo>
                      <a:lnTo>
                        <a:pt x="1318475" y="1327530"/>
                      </a:lnTo>
                      <a:lnTo>
                        <a:pt x="1320889" y="1327530"/>
                      </a:lnTo>
                      <a:lnTo>
                        <a:pt x="1325719" y="1333567"/>
                      </a:lnTo>
                      <a:lnTo>
                        <a:pt x="1322701" y="1335982"/>
                      </a:lnTo>
                      <a:lnTo>
                        <a:pt x="1322097" y="1340208"/>
                      </a:lnTo>
                      <a:lnTo>
                        <a:pt x="1326323" y="1342019"/>
                      </a:lnTo>
                      <a:lnTo>
                        <a:pt x="1329945" y="1348056"/>
                      </a:lnTo>
                      <a:lnTo>
                        <a:pt x="1326323" y="1351074"/>
                      </a:lnTo>
                      <a:lnTo>
                        <a:pt x="1328134" y="1355300"/>
                      </a:lnTo>
                      <a:lnTo>
                        <a:pt x="1326323" y="1363148"/>
                      </a:lnTo>
                      <a:lnTo>
                        <a:pt x="1321493" y="1364959"/>
                      </a:lnTo>
                      <a:lnTo>
                        <a:pt x="1322097" y="1368581"/>
                      </a:lnTo>
                      <a:lnTo>
                        <a:pt x="1307608" y="1371600"/>
                      </a:lnTo>
                      <a:lnTo>
                        <a:pt x="1300968" y="1374015"/>
                      </a:lnTo>
                      <a:lnTo>
                        <a:pt x="1300364" y="1378844"/>
                      </a:lnTo>
                      <a:lnTo>
                        <a:pt x="1298553" y="1384278"/>
                      </a:lnTo>
                      <a:lnTo>
                        <a:pt x="1302175" y="1388504"/>
                      </a:lnTo>
                      <a:lnTo>
                        <a:pt x="1302175" y="1394541"/>
                      </a:lnTo>
                      <a:lnTo>
                        <a:pt x="1308212" y="1396352"/>
                      </a:lnTo>
                      <a:lnTo>
                        <a:pt x="1311230" y="1402992"/>
                      </a:lnTo>
                      <a:lnTo>
                        <a:pt x="1309419" y="1409029"/>
                      </a:lnTo>
                      <a:lnTo>
                        <a:pt x="1302779" y="1411444"/>
                      </a:lnTo>
                      <a:lnTo>
                        <a:pt x="1297345" y="1416877"/>
                      </a:lnTo>
                      <a:lnTo>
                        <a:pt x="1301571" y="1421103"/>
                      </a:lnTo>
                      <a:lnTo>
                        <a:pt x="1302779" y="1427140"/>
                      </a:lnTo>
                      <a:lnTo>
                        <a:pt x="1297345" y="1435592"/>
                      </a:lnTo>
                      <a:lnTo>
                        <a:pt x="1297949" y="1442233"/>
                      </a:lnTo>
                      <a:lnTo>
                        <a:pt x="1293120" y="1451892"/>
                      </a:lnTo>
                      <a:lnTo>
                        <a:pt x="1291912" y="1459136"/>
                      </a:lnTo>
                      <a:lnTo>
                        <a:pt x="1286479" y="1464569"/>
                      </a:lnTo>
                      <a:lnTo>
                        <a:pt x="1279838" y="1470003"/>
                      </a:lnTo>
                      <a:lnTo>
                        <a:pt x="1276820" y="1477247"/>
                      </a:lnTo>
                      <a:lnTo>
                        <a:pt x="1276820" y="1482076"/>
                      </a:lnTo>
                      <a:lnTo>
                        <a:pt x="1264142" y="1489925"/>
                      </a:lnTo>
                      <a:lnTo>
                        <a:pt x="1262935" y="1496565"/>
                      </a:lnTo>
                      <a:lnTo>
                        <a:pt x="1258709" y="1505017"/>
                      </a:lnTo>
                      <a:lnTo>
                        <a:pt x="1249653" y="1508036"/>
                      </a:lnTo>
                      <a:lnTo>
                        <a:pt x="1246031" y="1512261"/>
                      </a:lnTo>
                      <a:lnTo>
                        <a:pt x="1237579" y="1514676"/>
                      </a:lnTo>
                      <a:lnTo>
                        <a:pt x="1232146" y="1515884"/>
                      </a:lnTo>
                      <a:lnTo>
                        <a:pt x="1227317" y="1514073"/>
                      </a:lnTo>
                      <a:lnTo>
                        <a:pt x="1216450" y="1514676"/>
                      </a:lnTo>
                      <a:lnTo>
                        <a:pt x="1209809" y="1516487"/>
                      </a:lnTo>
                      <a:lnTo>
                        <a:pt x="1206791" y="1515280"/>
                      </a:lnTo>
                      <a:lnTo>
                        <a:pt x="1204376" y="1512261"/>
                      </a:lnTo>
                      <a:lnTo>
                        <a:pt x="1195321" y="1507432"/>
                      </a:lnTo>
                      <a:lnTo>
                        <a:pt x="1191698" y="1504413"/>
                      </a:lnTo>
                      <a:lnTo>
                        <a:pt x="1188680" y="1499584"/>
                      </a:lnTo>
                      <a:lnTo>
                        <a:pt x="1182643" y="1495358"/>
                      </a:lnTo>
                      <a:lnTo>
                        <a:pt x="1180228" y="1495962"/>
                      </a:lnTo>
                      <a:lnTo>
                        <a:pt x="1178417" y="1492943"/>
                      </a:lnTo>
                      <a:lnTo>
                        <a:pt x="1179021" y="1487510"/>
                      </a:lnTo>
                      <a:lnTo>
                        <a:pt x="1167551" y="1484491"/>
                      </a:lnTo>
                      <a:lnTo>
                        <a:pt x="1166343" y="1480265"/>
                      </a:lnTo>
                      <a:lnTo>
                        <a:pt x="1169362" y="1477851"/>
                      </a:lnTo>
                      <a:lnTo>
                        <a:pt x="1169362" y="1471210"/>
                      </a:lnTo>
                      <a:lnTo>
                        <a:pt x="1163325" y="1468795"/>
                      </a:lnTo>
                      <a:lnTo>
                        <a:pt x="1159702" y="1469399"/>
                      </a:lnTo>
                      <a:lnTo>
                        <a:pt x="1157891" y="1465777"/>
                      </a:lnTo>
                      <a:lnTo>
                        <a:pt x="1150043" y="1459740"/>
                      </a:lnTo>
                      <a:lnTo>
                        <a:pt x="1148836" y="1457325"/>
                      </a:lnTo>
                      <a:lnTo>
                        <a:pt x="1151854" y="1451892"/>
                      </a:lnTo>
                      <a:lnTo>
                        <a:pt x="1155477" y="1454910"/>
                      </a:lnTo>
                      <a:lnTo>
                        <a:pt x="1162117" y="1456118"/>
                      </a:lnTo>
                      <a:lnTo>
                        <a:pt x="1162721" y="1451892"/>
                      </a:lnTo>
                      <a:lnTo>
                        <a:pt x="1165136" y="1449477"/>
                      </a:lnTo>
                      <a:lnTo>
                        <a:pt x="1163325" y="1436799"/>
                      </a:lnTo>
                      <a:lnTo>
                        <a:pt x="1168154" y="1434385"/>
                      </a:lnTo>
                      <a:lnTo>
                        <a:pt x="1168154" y="1427140"/>
                      </a:lnTo>
                      <a:lnTo>
                        <a:pt x="1171173" y="1421707"/>
                      </a:lnTo>
                      <a:lnTo>
                        <a:pt x="1169965" y="1415670"/>
                      </a:lnTo>
                      <a:lnTo>
                        <a:pt x="1171173" y="1409029"/>
                      </a:lnTo>
                      <a:lnTo>
                        <a:pt x="1170569" y="1402992"/>
                      </a:lnTo>
                      <a:lnTo>
                        <a:pt x="1161514" y="1403596"/>
                      </a:lnTo>
                      <a:lnTo>
                        <a:pt x="1159099" y="1400578"/>
                      </a:lnTo>
                      <a:lnTo>
                        <a:pt x="1160910" y="1393333"/>
                      </a:lnTo>
                      <a:lnTo>
                        <a:pt x="1163325" y="1390918"/>
                      </a:lnTo>
                      <a:lnTo>
                        <a:pt x="1162721" y="1380052"/>
                      </a:lnTo>
                      <a:lnTo>
                        <a:pt x="1165136" y="1374618"/>
                      </a:lnTo>
                      <a:lnTo>
                        <a:pt x="1160910" y="1371600"/>
                      </a:lnTo>
                      <a:lnTo>
                        <a:pt x="1160910" y="1361337"/>
                      </a:lnTo>
                      <a:lnTo>
                        <a:pt x="1167551" y="1364959"/>
                      </a:lnTo>
                      <a:lnTo>
                        <a:pt x="1178417" y="1362544"/>
                      </a:lnTo>
                      <a:lnTo>
                        <a:pt x="1177813" y="1351678"/>
                      </a:lnTo>
                      <a:lnTo>
                        <a:pt x="1171776" y="1352282"/>
                      </a:lnTo>
                      <a:lnTo>
                        <a:pt x="1171173" y="1342019"/>
                      </a:lnTo>
                      <a:lnTo>
                        <a:pt x="1163325" y="1341415"/>
                      </a:lnTo>
                      <a:lnTo>
                        <a:pt x="1158495" y="1342019"/>
                      </a:lnTo>
                      <a:lnTo>
                        <a:pt x="1156080" y="1340812"/>
                      </a:lnTo>
                      <a:lnTo>
                        <a:pt x="1156684" y="1334775"/>
                      </a:lnTo>
                      <a:lnTo>
                        <a:pt x="1150647" y="1329341"/>
                      </a:lnTo>
                      <a:lnTo>
                        <a:pt x="1144610" y="1331756"/>
                      </a:lnTo>
                      <a:lnTo>
                        <a:pt x="1134951" y="1334775"/>
                      </a:lnTo>
                      <a:lnTo>
                        <a:pt x="1131932" y="1337189"/>
                      </a:lnTo>
                      <a:lnTo>
                        <a:pt x="1122877" y="1340208"/>
                      </a:lnTo>
                      <a:lnTo>
                        <a:pt x="1120462" y="1334171"/>
                      </a:lnTo>
                      <a:lnTo>
                        <a:pt x="1113821" y="1334775"/>
                      </a:lnTo>
                      <a:lnTo>
                        <a:pt x="1112010" y="1332963"/>
                      </a:lnTo>
                      <a:lnTo>
                        <a:pt x="1105973" y="1334171"/>
                      </a:lnTo>
                      <a:lnTo>
                        <a:pt x="1105973" y="1331152"/>
                      </a:lnTo>
                      <a:lnTo>
                        <a:pt x="1102351" y="1327530"/>
                      </a:lnTo>
                      <a:lnTo>
                        <a:pt x="1099936" y="1328134"/>
                      </a:lnTo>
                      <a:lnTo>
                        <a:pt x="1096314" y="1332963"/>
                      </a:lnTo>
                      <a:lnTo>
                        <a:pt x="1098125" y="1338397"/>
                      </a:lnTo>
                      <a:lnTo>
                        <a:pt x="1096918" y="1343830"/>
                      </a:lnTo>
                      <a:lnTo>
                        <a:pt x="1098125" y="1352282"/>
                      </a:lnTo>
                      <a:lnTo>
                        <a:pt x="1087862" y="1351074"/>
                      </a:lnTo>
                      <a:lnTo>
                        <a:pt x="1084844" y="1347452"/>
                      </a:lnTo>
                      <a:lnTo>
                        <a:pt x="1081222" y="1346245"/>
                      </a:lnTo>
                      <a:lnTo>
                        <a:pt x="1076996" y="1348660"/>
                      </a:lnTo>
                      <a:lnTo>
                        <a:pt x="1075185" y="1345641"/>
                      </a:lnTo>
                      <a:lnTo>
                        <a:pt x="1073978" y="1337189"/>
                      </a:lnTo>
                      <a:lnTo>
                        <a:pt x="1069148" y="1332963"/>
                      </a:lnTo>
                      <a:lnTo>
                        <a:pt x="1060696" y="1334775"/>
                      </a:lnTo>
                      <a:lnTo>
                        <a:pt x="1060696" y="1331152"/>
                      </a:lnTo>
                      <a:lnTo>
                        <a:pt x="1063715" y="1328738"/>
                      </a:lnTo>
                      <a:lnTo>
                        <a:pt x="1062507" y="1316664"/>
                      </a:lnTo>
                      <a:lnTo>
                        <a:pt x="1060696" y="1314249"/>
                      </a:lnTo>
                      <a:lnTo>
                        <a:pt x="1054055" y="1314852"/>
                      </a:lnTo>
                      <a:lnTo>
                        <a:pt x="1056470" y="1307004"/>
                      </a:lnTo>
                      <a:lnTo>
                        <a:pt x="1049226" y="1306401"/>
                      </a:lnTo>
                      <a:lnTo>
                        <a:pt x="1046207" y="1308212"/>
                      </a:lnTo>
                      <a:lnTo>
                        <a:pt x="1040774" y="1305193"/>
                      </a:lnTo>
                      <a:lnTo>
                        <a:pt x="1036548" y="1308212"/>
                      </a:lnTo>
                      <a:lnTo>
                        <a:pt x="1034133" y="1303986"/>
                      </a:lnTo>
                      <a:lnTo>
                        <a:pt x="1030511" y="1301571"/>
                      </a:lnTo>
                      <a:lnTo>
                        <a:pt x="1026889" y="1300967"/>
                      </a:lnTo>
                      <a:lnTo>
                        <a:pt x="1018437" y="1296138"/>
                      </a:lnTo>
                      <a:lnTo>
                        <a:pt x="1014211" y="1294931"/>
                      </a:lnTo>
                      <a:lnTo>
                        <a:pt x="1006363" y="1296742"/>
                      </a:lnTo>
                      <a:lnTo>
                        <a:pt x="1005760" y="1299156"/>
                      </a:lnTo>
                      <a:lnTo>
                        <a:pt x="998515" y="1292516"/>
                      </a:lnTo>
                      <a:lnTo>
                        <a:pt x="998515" y="1289497"/>
                      </a:lnTo>
                      <a:lnTo>
                        <a:pt x="993686" y="1287082"/>
                      </a:lnTo>
                      <a:lnTo>
                        <a:pt x="992478" y="1282253"/>
                      </a:lnTo>
                      <a:lnTo>
                        <a:pt x="994893" y="1279234"/>
                      </a:lnTo>
                      <a:lnTo>
                        <a:pt x="993686" y="1273801"/>
                      </a:lnTo>
                      <a:lnTo>
                        <a:pt x="993082" y="1264746"/>
                      </a:lnTo>
                      <a:lnTo>
                        <a:pt x="987649" y="1260520"/>
                      </a:lnTo>
                      <a:lnTo>
                        <a:pt x="981612" y="1259312"/>
                      </a:lnTo>
                      <a:lnTo>
                        <a:pt x="978593" y="1256294"/>
                      </a:lnTo>
                      <a:lnTo>
                        <a:pt x="970745" y="1258709"/>
                      </a:lnTo>
                      <a:lnTo>
                        <a:pt x="955049" y="1249049"/>
                      </a:lnTo>
                      <a:lnTo>
                        <a:pt x="952634" y="1252068"/>
                      </a:lnTo>
                      <a:lnTo>
                        <a:pt x="947805" y="1250861"/>
                      </a:lnTo>
                      <a:lnTo>
                        <a:pt x="947201" y="1246031"/>
                      </a:lnTo>
                      <a:lnTo>
                        <a:pt x="940560" y="1243616"/>
                      </a:lnTo>
                      <a:lnTo>
                        <a:pt x="935731" y="1247842"/>
                      </a:lnTo>
                      <a:lnTo>
                        <a:pt x="929694" y="1243616"/>
                      </a:lnTo>
                      <a:lnTo>
                        <a:pt x="937542" y="1237579"/>
                      </a:lnTo>
                      <a:lnTo>
                        <a:pt x="934523" y="1232750"/>
                      </a:lnTo>
                      <a:lnTo>
                        <a:pt x="929090" y="1232750"/>
                      </a:lnTo>
                      <a:lnTo>
                        <a:pt x="929694" y="1229731"/>
                      </a:lnTo>
                      <a:lnTo>
                        <a:pt x="935127" y="1225505"/>
                      </a:lnTo>
                      <a:lnTo>
                        <a:pt x="932109" y="1223091"/>
                      </a:lnTo>
                      <a:lnTo>
                        <a:pt x="927279" y="1222487"/>
                      </a:lnTo>
                      <a:lnTo>
                        <a:pt x="928486" y="1218865"/>
                      </a:lnTo>
                      <a:lnTo>
                        <a:pt x="924260" y="1216450"/>
                      </a:lnTo>
                      <a:lnTo>
                        <a:pt x="917016" y="1218865"/>
                      </a:lnTo>
                      <a:lnTo>
                        <a:pt x="912790" y="1218261"/>
                      </a:lnTo>
                      <a:lnTo>
                        <a:pt x="912790" y="1221279"/>
                      </a:lnTo>
                      <a:lnTo>
                        <a:pt x="915809" y="1223091"/>
                      </a:lnTo>
                      <a:lnTo>
                        <a:pt x="913998" y="1226109"/>
                      </a:lnTo>
                      <a:lnTo>
                        <a:pt x="908564" y="1227316"/>
                      </a:lnTo>
                      <a:lnTo>
                        <a:pt x="905546" y="1229128"/>
                      </a:lnTo>
                      <a:lnTo>
                        <a:pt x="905546" y="1233353"/>
                      </a:lnTo>
                      <a:lnTo>
                        <a:pt x="909168" y="1235768"/>
                      </a:lnTo>
                      <a:lnTo>
                        <a:pt x="909168" y="1242409"/>
                      </a:lnTo>
                      <a:lnTo>
                        <a:pt x="907357" y="1243616"/>
                      </a:lnTo>
                      <a:lnTo>
                        <a:pt x="897094" y="1238787"/>
                      </a:lnTo>
                      <a:lnTo>
                        <a:pt x="897698" y="1235165"/>
                      </a:lnTo>
                      <a:lnTo>
                        <a:pt x="895283" y="1230335"/>
                      </a:lnTo>
                      <a:lnTo>
                        <a:pt x="887435" y="1232750"/>
                      </a:lnTo>
                      <a:lnTo>
                        <a:pt x="882605" y="1227920"/>
                      </a:lnTo>
                      <a:lnTo>
                        <a:pt x="879587" y="1223091"/>
                      </a:lnTo>
                      <a:lnTo>
                        <a:pt x="875361" y="1221883"/>
                      </a:lnTo>
                      <a:lnTo>
                        <a:pt x="862683" y="1223091"/>
                      </a:lnTo>
                      <a:lnTo>
                        <a:pt x="863891" y="1226109"/>
                      </a:lnTo>
                      <a:lnTo>
                        <a:pt x="860872" y="1228524"/>
                      </a:lnTo>
                      <a:lnTo>
                        <a:pt x="860269" y="1234561"/>
                      </a:lnTo>
                      <a:lnTo>
                        <a:pt x="857854" y="1236976"/>
                      </a:lnTo>
                      <a:lnTo>
                        <a:pt x="860872" y="1241202"/>
                      </a:lnTo>
                      <a:lnTo>
                        <a:pt x="861476" y="1245427"/>
                      </a:lnTo>
                      <a:lnTo>
                        <a:pt x="858458" y="1251464"/>
                      </a:lnTo>
                      <a:lnTo>
                        <a:pt x="853024" y="1259312"/>
                      </a:lnTo>
                      <a:lnTo>
                        <a:pt x="848798" y="1261727"/>
                      </a:lnTo>
                      <a:lnTo>
                        <a:pt x="851213" y="1265953"/>
                      </a:lnTo>
                      <a:lnTo>
                        <a:pt x="848798" y="1267764"/>
                      </a:lnTo>
                      <a:lnTo>
                        <a:pt x="850006" y="1275008"/>
                      </a:lnTo>
                      <a:lnTo>
                        <a:pt x="840347" y="1270179"/>
                      </a:lnTo>
                      <a:lnTo>
                        <a:pt x="839139" y="1276216"/>
                      </a:lnTo>
                      <a:lnTo>
                        <a:pt x="836121" y="1279838"/>
                      </a:lnTo>
                      <a:lnTo>
                        <a:pt x="833706" y="1285271"/>
                      </a:lnTo>
                      <a:lnTo>
                        <a:pt x="825858" y="1278027"/>
                      </a:lnTo>
                      <a:lnTo>
                        <a:pt x="822839" y="1271990"/>
                      </a:lnTo>
                      <a:lnTo>
                        <a:pt x="812576" y="1271386"/>
                      </a:lnTo>
                      <a:lnTo>
                        <a:pt x="807143" y="1274405"/>
                      </a:lnTo>
                      <a:lnTo>
                        <a:pt x="797484" y="1274405"/>
                      </a:lnTo>
                      <a:lnTo>
                        <a:pt x="794466" y="1267160"/>
                      </a:lnTo>
                      <a:lnTo>
                        <a:pt x="786014" y="1270783"/>
                      </a:lnTo>
                      <a:lnTo>
                        <a:pt x="784203" y="1272594"/>
                      </a:lnTo>
                      <a:lnTo>
                        <a:pt x="777562" y="1275612"/>
                      </a:lnTo>
                      <a:lnTo>
                        <a:pt x="770318" y="1275612"/>
                      </a:lnTo>
                      <a:lnTo>
                        <a:pt x="766695" y="1273801"/>
                      </a:lnTo>
                      <a:lnTo>
                        <a:pt x="766092" y="1266557"/>
                      </a:lnTo>
                      <a:lnTo>
                        <a:pt x="769714" y="1267160"/>
                      </a:lnTo>
                      <a:lnTo>
                        <a:pt x="776355" y="1259916"/>
                      </a:lnTo>
                      <a:lnTo>
                        <a:pt x="772129" y="1253879"/>
                      </a:lnTo>
                      <a:lnTo>
                        <a:pt x="774544" y="1249049"/>
                      </a:lnTo>
                      <a:lnTo>
                        <a:pt x="780581" y="1244824"/>
                      </a:lnTo>
                      <a:lnTo>
                        <a:pt x="779373" y="1240598"/>
                      </a:lnTo>
                      <a:lnTo>
                        <a:pt x="781184" y="1237579"/>
                      </a:lnTo>
                      <a:lnTo>
                        <a:pt x="779373" y="1232750"/>
                      </a:lnTo>
                      <a:lnTo>
                        <a:pt x="783599" y="1229128"/>
                      </a:lnTo>
                      <a:lnTo>
                        <a:pt x="787825" y="1223694"/>
                      </a:lnTo>
                      <a:lnTo>
                        <a:pt x="780581" y="1218261"/>
                      </a:lnTo>
                      <a:lnTo>
                        <a:pt x="773336" y="1217054"/>
                      </a:lnTo>
                      <a:lnTo>
                        <a:pt x="774544" y="1222487"/>
                      </a:lnTo>
                      <a:lnTo>
                        <a:pt x="772732" y="1228524"/>
                      </a:lnTo>
                      <a:lnTo>
                        <a:pt x="769714" y="1230939"/>
                      </a:lnTo>
                      <a:lnTo>
                        <a:pt x="766092" y="1227316"/>
                      </a:lnTo>
                      <a:lnTo>
                        <a:pt x="762470" y="1229731"/>
                      </a:lnTo>
                      <a:lnTo>
                        <a:pt x="755829" y="1228524"/>
                      </a:lnTo>
                      <a:lnTo>
                        <a:pt x="749188" y="1231542"/>
                      </a:lnTo>
                      <a:lnTo>
                        <a:pt x="749188" y="1236976"/>
                      </a:lnTo>
                      <a:lnTo>
                        <a:pt x="754622" y="1238183"/>
                      </a:lnTo>
                      <a:lnTo>
                        <a:pt x="761262" y="1241805"/>
                      </a:lnTo>
                      <a:lnTo>
                        <a:pt x="761262" y="1246635"/>
                      </a:lnTo>
                      <a:lnTo>
                        <a:pt x="752207" y="1246635"/>
                      </a:lnTo>
                      <a:lnTo>
                        <a:pt x="750999" y="1244824"/>
                      </a:lnTo>
                      <a:lnTo>
                        <a:pt x="740133" y="1248446"/>
                      </a:lnTo>
                      <a:lnTo>
                        <a:pt x="741340" y="1242409"/>
                      </a:lnTo>
                      <a:lnTo>
                        <a:pt x="735907" y="1243616"/>
                      </a:lnTo>
                      <a:lnTo>
                        <a:pt x="733492" y="1239994"/>
                      </a:lnTo>
                      <a:lnTo>
                        <a:pt x="726852" y="1238183"/>
                      </a:lnTo>
                      <a:lnTo>
                        <a:pt x="729266" y="1233353"/>
                      </a:lnTo>
                      <a:lnTo>
                        <a:pt x="723833" y="1225505"/>
                      </a:lnTo>
                      <a:lnTo>
                        <a:pt x="722626" y="1236372"/>
                      </a:lnTo>
                      <a:lnTo>
                        <a:pt x="726248" y="1243616"/>
                      </a:lnTo>
                      <a:lnTo>
                        <a:pt x="720211" y="1240598"/>
                      </a:lnTo>
                      <a:lnTo>
                        <a:pt x="712966" y="1245427"/>
                      </a:lnTo>
                      <a:lnTo>
                        <a:pt x="708137" y="1242409"/>
                      </a:lnTo>
                      <a:lnTo>
                        <a:pt x="706326" y="1238183"/>
                      </a:lnTo>
                      <a:lnTo>
                        <a:pt x="701496" y="1239994"/>
                      </a:lnTo>
                      <a:lnTo>
                        <a:pt x="704515" y="1246635"/>
                      </a:lnTo>
                      <a:lnTo>
                        <a:pt x="697874" y="1250861"/>
                      </a:lnTo>
                      <a:lnTo>
                        <a:pt x="696063" y="1244824"/>
                      </a:lnTo>
                      <a:lnTo>
                        <a:pt x="691837" y="1242409"/>
                      </a:lnTo>
                      <a:lnTo>
                        <a:pt x="688215" y="1244824"/>
                      </a:lnTo>
                      <a:lnTo>
                        <a:pt x="682178" y="1244824"/>
                      </a:lnTo>
                      <a:lnTo>
                        <a:pt x="679159" y="1248446"/>
                      </a:lnTo>
                      <a:lnTo>
                        <a:pt x="679763" y="1258709"/>
                      </a:lnTo>
                      <a:lnTo>
                        <a:pt x="676745" y="1255086"/>
                      </a:lnTo>
                      <a:lnTo>
                        <a:pt x="668293" y="1259916"/>
                      </a:lnTo>
                      <a:lnTo>
                        <a:pt x="665878" y="1259916"/>
                      </a:lnTo>
                      <a:lnTo>
                        <a:pt x="661048" y="1256294"/>
                      </a:lnTo>
                      <a:lnTo>
                        <a:pt x="656219" y="1253879"/>
                      </a:lnTo>
                      <a:lnTo>
                        <a:pt x="659237" y="1246635"/>
                      </a:lnTo>
                      <a:lnTo>
                        <a:pt x="664067" y="1243616"/>
                      </a:lnTo>
                      <a:lnTo>
                        <a:pt x="667689" y="1236372"/>
                      </a:lnTo>
                      <a:lnTo>
                        <a:pt x="672519" y="1231542"/>
                      </a:lnTo>
                      <a:lnTo>
                        <a:pt x="673122" y="1229128"/>
                      </a:lnTo>
                      <a:lnTo>
                        <a:pt x="680971" y="1223694"/>
                      </a:lnTo>
                      <a:lnTo>
                        <a:pt x="687008" y="1223091"/>
                      </a:lnTo>
                      <a:lnTo>
                        <a:pt x="688819" y="1221279"/>
                      </a:lnTo>
                      <a:lnTo>
                        <a:pt x="683989" y="1210413"/>
                      </a:lnTo>
                      <a:lnTo>
                        <a:pt x="683385" y="1205583"/>
                      </a:lnTo>
                      <a:lnTo>
                        <a:pt x="679159" y="1206791"/>
                      </a:lnTo>
                      <a:lnTo>
                        <a:pt x="674934" y="1203772"/>
                      </a:lnTo>
                      <a:lnTo>
                        <a:pt x="671311" y="1197735"/>
                      </a:lnTo>
                      <a:lnTo>
                        <a:pt x="665274" y="1196528"/>
                      </a:lnTo>
                      <a:lnTo>
                        <a:pt x="663463" y="1193509"/>
                      </a:lnTo>
                      <a:lnTo>
                        <a:pt x="665274" y="1189887"/>
                      </a:lnTo>
                      <a:lnTo>
                        <a:pt x="665274" y="1185058"/>
                      </a:lnTo>
                      <a:lnTo>
                        <a:pt x="663463" y="1179021"/>
                      </a:lnTo>
                      <a:lnTo>
                        <a:pt x="665878" y="1176002"/>
                      </a:lnTo>
                      <a:lnTo>
                        <a:pt x="664671" y="1171776"/>
                      </a:lnTo>
                      <a:lnTo>
                        <a:pt x="657426" y="1163928"/>
                      </a:lnTo>
                      <a:lnTo>
                        <a:pt x="653804" y="1163324"/>
                      </a:lnTo>
                      <a:lnTo>
                        <a:pt x="651993" y="1168758"/>
                      </a:lnTo>
                      <a:lnTo>
                        <a:pt x="648371" y="1167550"/>
                      </a:lnTo>
                      <a:lnTo>
                        <a:pt x="645352" y="1168758"/>
                      </a:lnTo>
                      <a:lnTo>
                        <a:pt x="639919" y="1168154"/>
                      </a:lnTo>
                      <a:lnTo>
                        <a:pt x="639919" y="1173587"/>
                      </a:lnTo>
                      <a:lnTo>
                        <a:pt x="633882" y="1174795"/>
                      </a:lnTo>
                      <a:lnTo>
                        <a:pt x="633882" y="1177210"/>
                      </a:lnTo>
                      <a:lnTo>
                        <a:pt x="629656" y="1179624"/>
                      </a:lnTo>
                      <a:lnTo>
                        <a:pt x="627242" y="1183247"/>
                      </a:lnTo>
                      <a:lnTo>
                        <a:pt x="618186" y="1179624"/>
                      </a:lnTo>
                      <a:lnTo>
                        <a:pt x="615771" y="1182643"/>
                      </a:lnTo>
                      <a:lnTo>
                        <a:pt x="605508" y="1182643"/>
                      </a:lnTo>
                      <a:lnTo>
                        <a:pt x="603094" y="1186869"/>
                      </a:lnTo>
                      <a:lnTo>
                        <a:pt x="603697" y="1192302"/>
                      </a:lnTo>
                      <a:lnTo>
                        <a:pt x="600075" y="1195320"/>
                      </a:lnTo>
                      <a:lnTo>
                        <a:pt x="600679" y="1199546"/>
                      </a:lnTo>
                      <a:lnTo>
                        <a:pt x="590416" y="1200754"/>
                      </a:lnTo>
                      <a:lnTo>
                        <a:pt x="584983" y="1203772"/>
                      </a:lnTo>
                      <a:lnTo>
                        <a:pt x="578946" y="1204980"/>
                      </a:lnTo>
                      <a:lnTo>
                        <a:pt x="574720" y="1203168"/>
                      </a:lnTo>
                      <a:lnTo>
                        <a:pt x="569287" y="1206791"/>
                      </a:lnTo>
                      <a:lnTo>
                        <a:pt x="572909" y="1211017"/>
                      </a:lnTo>
                      <a:lnTo>
                        <a:pt x="570494" y="1214639"/>
                      </a:lnTo>
                      <a:lnTo>
                        <a:pt x="572909" y="1220676"/>
                      </a:lnTo>
                      <a:lnTo>
                        <a:pt x="572305" y="1225505"/>
                      </a:lnTo>
                      <a:lnTo>
                        <a:pt x="568683" y="1234561"/>
                      </a:lnTo>
                      <a:lnTo>
                        <a:pt x="571701" y="1238787"/>
                      </a:lnTo>
                      <a:lnTo>
                        <a:pt x="565664" y="1238183"/>
                      </a:lnTo>
                      <a:lnTo>
                        <a:pt x="553590" y="1232146"/>
                      </a:lnTo>
                      <a:lnTo>
                        <a:pt x="547553" y="1228524"/>
                      </a:lnTo>
                      <a:lnTo>
                        <a:pt x="540913" y="1230335"/>
                      </a:lnTo>
                      <a:lnTo>
                        <a:pt x="534272" y="1229731"/>
                      </a:lnTo>
                      <a:lnTo>
                        <a:pt x="532461" y="1232146"/>
                      </a:lnTo>
                      <a:lnTo>
                        <a:pt x="525217" y="1230939"/>
                      </a:lnTo>
                      <a:lnTo>
                        <a:pt x="522802" y="1228524"/>
                      </a:lnTo>
                      <a:lnTo>
                        <a:pt x="518576" y="1227920"/>
                      </a:lnTo>
                      <a:lnTo>
                        <a:pt x="513143" y="1224902"/>
                      </a:lnTo>
                      <a:lnTo>
                        <a:pt x="512539" y="1220676"/>
                      </a:lnTo>
                      <a:lnTo>
                        <a:pt x="508313" y="1222487"/>
                      </a:lnTo>
                      <a:lnTo>
                        <a:pt x="504087" y="1229731"/>
                      </a:lnTo>
                      <a:lnTo>
                        <a:pt x="501069" y="1232146"/>
                      </a:lnTo>
                      <a:lnTo>
                        <a:pt x="501672" y="1237579"/>
                      </a:lnTo>
                      <a:lnTo>
                        <a:pt x="498050" y="1238183"/>
                      </a:lnTo>
                      <a:lnTo>
                        <a:pt x="496239" y="1241805"/>
                      </a:lnTo>
                      <a:lnTo>
                        <a:pt x="490202" y="1238787"/>
                      </a:lnTo>
                      <a:lnTo>
                        <a:pt x="492013" y="1230939"/>
                      </a:lnTo>
                      <a:lnTo>
                        <a:pt x="484769" y="1236372"/>
                      </a:lnTo>
                      <a:lnTo>
                        <a:pt x="484769" y="1232146"/>
                      </a:lnTo>
                      <a:lnTo>
                        <a:pt x="481147" y="1230335"/>
                      </a:lnTo>
                      <a:lnTo>
                        <a:pt x="479336" y="1234561"/>
                      </a:lnTo>
                      <a:lnTo>
                        <a:pt x="475110" y="1233353"/>
                      </a:lnTo>
                      <a:lnTo>
                        <a:pt x="473299" y="1226713"/>
                      </a:lnTo>
                      <a:lnTo>
                        <a:pt x="473902" y="1221883"/>
                      </a:lnTo>
                      <a:lnTo>
                        <a:pt x="478128" y="1217657"/>
                      </a:lnTo>
                      <a:lnTo>
                        <a:pt x="479336" y="1213431"/>
                      </a:lnTo>
                      <a:lnTo>
                        <a:pt x="484165" y="1214639"/>
                      </a:lnTo>
                      <a:lnTo>
                        <a:pt x="485976" y="1210413"/>
                      </a:lnTo>
                      <a:lnTo>
                        <a:pt x="482958" y="1209809"/>
                      </a:lnTo>
                      <a:lnTo>
                        <a:pt x="484769" y="1205583"/>
                      </a:lnTo>
                      <a:lnTo>
                        <a:pt x="488391" y="1202565"/>
                      </a:lnTo>
                      <a:lnTo>
                        <a:pt x="477525" y="1201357"/>
                      </a:lnTo>
                      <a:lnTo>
                        <a:pt x="478128" y="1197132"/>
                      </a:lnTo>
                      <a:lnTo>
                        <a:pt x="472091" y="1194113"/>
                      </a:lnTo>
                      <a:lnTo>
                        <a:pt x="470280" y="1200150"/>
                      </a:lnTo>
                      <a:lnTo>
                        <a:pt x="467865" y="1200754"/>
                      </a:lnTo>
                      <a:lnTo>
                        <a:pt x="467262" y="1195320"/>
                      </a:lnTo>
                      <a:lnTo>
                        <a:pt x="464243" y="1188680"/>
                      </a:lnTo>
                      <a:lnTo>
                        <a:pt x="466054" y="1185058"/>
                      </a:lnTo>
                      <a:lnTo>
                        <a:pt x="455791" y="1183247"/>
                      </a:lnTo>
                      <a:lnTo>
                        <a:pt x="448547" y="1190491"/>
                      </a:lnTo>
                      <a:lnTo>
                        <a:pt x="447943" y="1197132"/>
                      </a:lnTo>
                      <a:lnTo>
                        <a:pt x="450962" y="1200150"/>
                      </a:lnTo>
                      <a:lnTo>
                        <a:pt x="453980" y="1197132"/>
                      </a:lnTo>
                      <a:lnTo>
                        <a:pt x="460017" y="1201357"/>
                      </a:lnTo>
                      <a:lnTo>
                        <a:pt x="464847" y="1198943"/>
                      </a:lnTo>
                      <a:lnTo>
                        <a:pt x="465451" y="1208602"/>
                      </a:lnTo>
                      <a:lnTo>
                        <a:pt x="466658" y="1212224"/>
                      </a:lnTo>
                      <a:lnTo>
                        <a:pt x="463640" y="1215242"/>
                      </a:lnTo>
                      <a:lnTo>
                        <a:pt x="461828" y="1210413"/>
                      </a:lnTo>
                      <a:lnTo>
                        <a:pt x="458810" y="1211017"/>
                      </a:lnTo>
                      <a:lnTo>
                        <a:pt x="455188" y="1206187"/>
                      </a:lnTo>
                      <a:lnTo>
                        <a:pt x="452169" y="1212828"/>
                      </a:lnTo>
                      <a:lnTo>
                        <a:pt x="453377" y="1217657"/>
                      </a:lnTo>
                      <a:lnTo>
                        <a:pt x="456999" y="1221279"/>
                      </a:lnTo>
                      <a:lnTo>
                        <a:pt x="460017" y="1226109"/>
                      </a:lnTo>
                      <a:lnTo>
                        <a:pt x="456999" y="1230939"/>
                      </a:lnTo>
                      <a:lnTo>
                        <a:pt x="453377" y="1230335"/>
                      </a:lnTo>
                      <a:lnTo>
                        <a:pt x="452169" y="1233353"/>
                      </a:lnTo>
                      <a:lnTo>
                        <a:pt x="447340" y="1230939"/>
                      </a:lnTo>
                      <a:lnTo>
                        <a:pt x="449151" y="1228524"/>
                      </a:lnTo>
                      <a:lnTo>
                        <a:pt x="446736" y="1224298"/>
                      </a:lnTo>
                      <a:lnTo>
                        <a:pt x="441303" y="1224902"/>
                      </a:lnTo>
                      <a:lnTo>
                        <a:pt x="443717" y="1228524"/>
                      </a:lnTo>
                      <a:lnTo>
                        <a:pt x="444321" y="1234561"/>
                      </a:lnTo>
                      <a:lnTo>
                        <a:pt x="435869" y="1231542"/>
                      </a:lnTo>
                      <a:lnTo>
                        <a:pt x="432851" y="1226713"/>
                      </a:lnTo>
                      <a:lnTo>
                        <a:pt x="429832" y="1227920"/>
                      </a:lnTo>
                      <a:lnTo>
                        <a:pt x="432247" y="1233957"/>
                      </a:lnTo>
                      <a:lnTo>
                        <a:pt x="422588" y="1235768"/>
                      </a:lnTo>
                      <a:lnTo>
                        <a:pt x="420777" y="1231542"/>
                      </a:lnTo>
                      <a:lnTo>
                        <a:pt x="417155" y="1227920"/>
                      </a:lnTo>
                      <a:lnTo>
                        <a:pt x="419570" y="1223694"/>
                      </a:lnTo>
                      <a:lnTo>
                        <a:pt x="413533" y="1220676"/>
                      </a:lnTo>
                      <a:lnTo>
                        <a:pt x="412325" y="1217054"/>
                      </a:lnTo>
                      <a:lnTo>
                        <a:pt x="408099" y="1221883"/>
                      </a:lnTo>
                      <a:lnTo>
                        <a:pt x="406892" y="1226713"/>
                      </a:lnTo>
                      <a:lnTo>
                        <a:pt x="403270" y="1229731"/>
                      </a:lnTo>
                      <a:lnTo>
                        <a:pt x="399648" y="1228524"/>
                      </a:lnTo>
                      <a:lnTo>
                        <a:pt x="402666" y="1221279"/>
                      </a:lnTo>
                      <a:lnTo>
                        <a:pt x="400251" y="1218261"/>
                      </a:lnTo>
                      <a:lnTo>
                        <a:pt x="406892" y="1209809"/>
                      </a:lnTo>
                      <a:lnTo>
                        <a:pt x="400251" y="1207394"/>
                      </a:lnTo>
                      <a:lnTo>
                        <a:pt x="397837" y="1204376"/>
                      </a:lnTo>
                      <a:lnTo>
                        <a:pt x="397837" y="1198339"/>
                      </a:lnTo>
                      <a:lnTo>
                        <a:pt x="392403" y="1198339"/>
                      </a:lnTo>
                      <a:lnTo>
                        <a:pt x="389385" y="1205583"/>
                      </a:lnTo>
                      <a:lnTo>
                        <a:pt x="394214" y="1207998"/>
                      </a:lnTo>
                      <a:lnTo>
                        <a:pt x="394818" y="1211620"/>
                      </a:lnTo>
                      <a:lnTo>
                        <a:pt x="394214" y="1216450"/>
                      </a:lnTo>
                      <a:lnTo>
                        <a:pt x="391196" y="1215846"/>
                      </a:lnTo>
                      <a:lnTo>
                        <a:pt x="388781" y="1211620"/>
                      </a:lnTo>
                      <a:lnTo>
                        <a:pt x="385159" y="1210413"/>
                      </a:lnTo>
                      <a:lnTo>
                        <a:pt x="379122" y="1212828"/>
                      </a:lnTo>
                      <a:lnTo>
                        <a:pt x="374292" y="1220072"/>
                      </a:lnTo>
                      <a:lnTo>
                        <a:pt x="369463" y="1224298"/>
                      </a:lnTo>
                      <a:lnTo>
                        <a:pt x="367652" y="1217657"/>
                      </a:lnTo>
                      <a:lnTo>
                        <a:pt x="370670" y="1211620"/>
                      </a:lnTo>
                      <a:lnTo>
                        <a:pt x="367652" y="1207998"/>
                      </a:lnTo>
                      <a:lnTo>
                        <a:pt x="368859" y="1203772"/>
                      </a:lnTo>
                      <a:lnTo>
                        <a:pt x="373689" y="1203772"/>
                      </a:lnTo>
                      <a:lnTo>
                        <a:pt x="376103" y="1198339"/>
                      </a:lnTo>
                      <a:lnTo>
                        <a:pt x="382744" y="1201357"/>
                      </a:lnTo>
                      <a:lnTo>
                        <a:pt x="383348" y="1197132"/>
                      </a:lnTo>
                      <a:lnTo>
                        <a:pt x="388781" y="1194717"/>
                      </a:lnTo>
                      <a:lnTo>
                        <a:pt x="385159" y="1189887"/>
                      </a:lnTo>
                      <a:lnTo>
                        <a:pt x="385763" y="1181435"/>
                      </a:lnTo>
                      <a:lnTo>
                        <a:pt x="380933" y="1185058"/>
                      </a:lnTo>
                      <a:lnTo>
                        <a:pt x="371274" y="1182039"/>
                      </a:lnTo>
                      <a:lnTo>
                        <a:pt x="365237" y="1188680"/>
                      </a:lnTo>
                      <a:lnTo>
                        <a:pt x="368859" y="1194717"/>
                      </a:lnTo>
                      <a:lnTo>
                        <a:pt x="366444" y="1196528"/>
                      </a:lnTo>
                      <a:lnTo>
                        <a:pt x="363426" y="1207394"/>
                      </a:lnTo>
                      <a:lnTo>
                        <a:pt x="361011" y="1207998"/>
                      </a:lnTo>
                      <a:lnTo>
                        <a:pt x="354974" y="1198943"/>
                      </a:lnTo>
                      <a:lnTo>
                        <a:pt x="356181" y="1194113"/>
                      </a:lnTo>
                      <a:lnTo>
                        <a:pt x="352559" y="1194113"/>
                      </a:lnTo>
                      <a:lnTo>
                        <a:pt x="351956" y="1189284"/>
                      </a:lnTo>
                      <a:lnTo>
                        <a:pt x="356785" y="1189887"/>
                      </a:lnTo>
                      <a:lnTo>
                        <a:pt x="360407" y="1185661"/>
                      </a:lnTo>
                      <a:lnTo>
                        <a:pt x="361615" y="1180832"/>
                      </a:lnTo>
                      <a:lnTo>
                        <a:pt x="369463" y="1172380"/>
                      </a:lnTo>
                      <a:lnTo>
                        <a:pt x="374896" y="1172380"/>
                      </a:lnTo>
                      <a:lnTo>
                        <a:pt x="377311" y="1169965"/>
                      </a:lnTo>
                      <a:lnTo>
                        <a:pt x="383348" y="1169361"/>
                      </a:lnTo>
                      <a:lnTo>
                        <a:pt x="380933" y="1174795"/>
                      </a:lnTo>
                      <a:lnTo>
                        <a:pt x="373689" y="1174191"/>
                      </a:lnTo>
                      <a:lnTo>
                        <a:pt x="373689" y="1177813"/>
                      </a:lnTo>
                      <a:lnTo>
                        <a:pt x="382140" y="1180832"/>
                      </a:lnTo>
                      <a:lnTo>
                        <a:pt x="384555" y="1176606"/>
                      </a:lnTo>
                      <a:lnTo>
                        <a:pt x="389988" y="1176002"/>
                      </a:lnTo>
                      <a:lnTo>
                        <a:pt x="388177" y="1170569"/>
                      </a:lnTo>
                      <a:lnTo>
                        <a:pt x="388781" y="1165136"/>
                      </a:lnTo>
                      <a:lnTo>
                        <a:pt x="386970" y="1160910"/>
                      </a:lnTo>
                      <a:lnTo>
                        <a:pt x="383348" y="1160306"/>
                      </a:lnTo>
                      <a:lnTo>
                        <a:pt x="380329" y="1163324"/>
                      </a:lnTo>
                      <a:lnTo>
                        <a:pt x="374896" y="1159099"/>
                      </a:lnTo>
                      <a:lnTo>
                        <a:pt x="380329" y="1154269"/>
                      </a:lnTo>
                      <a:lnTo>
                        <a:pt x="381537" y="1148232"/>
                      </a:lnTo>
                      <a:lnTo>
                        <a:pt x="377914" y="1143402"/>
                      </a:lnTo>
                      <a:lnTo>
                        <a:pt x="382744" y="1139780"/>
                      </a:lnTo>
                      <a:lnTo>
                        <a:pt x="382744" y="1134951"/>
                      </a:lnTo>
                      <a:lnTo>
                        <a:pt x="379726" y="1133140"/>
                      </a:lnTo>
                      <a:lnTo>
                        <a:pt x="371274" y="1133140"/>
                      </a:lnTo>
                      <a:lnTo>
                        <a:pt x="367652" y="1136762"/>
                      </a:lnTo>
                      <a:lnTo>
                        <a:pt x="369463" y="1141591"/>
                      </a:lnTo>
                      <a:lnTo>
                        <a:pt x="361011" y="1143402"/>
                      </a:lnTo>
                      <a:lnTo>
                        <a:pt x="359200" y="1145817"/>
                      </a:lnTo>
                      <a:lnTo>
                        <a:pt x="363426" y="1148836"/>
                      </a:lnTo>
                      <a:lnTo>
                        <a:pt x="365841" y="1154269"/>
                      </a:lnTo>
                      <a:lnTo>
                        <a:pt x="364633" y="1157891"/>
                      </a:lnTo>
                      <a:lnTo>
                        <a:pt x="351352" y="1150647"/>
                      </a:lnTo>
                      <a:lnTo>
                        <a:pt x="344711" y="1152458"/>
                      </a:lnTo>
                      <a:lnTo>
                        <a:pt x="338674" y="1149439"/>
                      </a:lnTo>
                      <a:lnTo>
                        <a:pt x="338070" y="1155476"/>
                      </a:lnTo>
                      <a:lnTo>
                        <a:pt x="342900" y="1158495"/>
                      </a:lnTo>
                      <a:lnTo>
                        <a:pt x="346522" y="1162721"/>
                      </a:lnTo>
                      <a:lnTo>
                        <a:pt x="351352" y="1160306"/>
                      </a:lnTo>
                      <a:lnTo>
                        <a:pt x="352559" y="1163928"/>
                      </a:lnTo>
                      <a:lnTo>
                        <a:pt x="342296" y="1166343"/>
                      </a:lnTo>
                      <a:lnTo>
                        <a:pt x="345315" y="1168758"/>
                      </a:lnTo>
                      <a:lnTo>
                        <a:pt x="346522" y="1179021"/>
                      </a:lnTo>
                      <a:lnTo>
                        <a:pt x="340485" y="1181435"/>
                      </a:lnTo>
                      <a:lnTo>
                        <a:pt x="333845" y="1179021"/>
                      </a:lnTo>
                      <a:lnTo>
                        <a:pt x="335052" y="1175398"/>
                      </a:lnTo>
                      <a:lnTo>
                        <a:pt x="324185" y="1172380"/>
                      </a:lnTo>
                      <a:lnTo>
                        <a:pt x="326600" y="1168758"/>
                      </a:lnTo>
                      <a:lnTo>
                        <a:pt x="333241" y="1163928"/>
                      </a:lnTo>
                      <a:lnTo>
                        <a:pt x="330826" y="1159702"/>
                      </a:lnTo>
                      <a:lnTo>
                        <a:pt x="324185" y="1159702"/>
                      </a:lnTo>
                      <a:lnTo>
                        <a:pt x="319356" y="1162117"/>
                      </a:lnTo>
                      <a:lnTo>
                        <a:pt x="319356" y="1167550"/>
                      </a:lnTo>
                      <a:lnTo>
                        <a:pt x="316337" y="1168154"/>
                      </a:lnTo>
                      <a:lnTo>
                        <a:pt x="313319" y="1165739"/>
                      </a:lnTo>
                      <a:lnTo>
                        <a:pt x="307886" y="1174795"/>
                      </a:lnTo>
                      <a:lnTo>
                        <a:pt x="307886" y="1180832"/>
                      </a:lnTo>
                      <a:lnTo>
                        <a:pt x="303660" y="1181435"/>
                      </a:lnTo>
                      <a:lnTo>
                        <a:pt x="297623" y="1177813"/>
                      </a:lnTo>
                      <a:lnTo>
                        <a:pt x="298830" y="1185661"/>
                      </a:lnTo>
                      <a:lnTo>
                        <a:pt x="297019" y="1191095"/>
                      </a:lnTo>
                      <a:lnTo>
                        <a:pt x="292793" y="1192302"/>
                      </a:lnTo>
                      <a:lnTo>
                        <a:pt x="289171" y="1188076"/>
                      </a:lnTo>
                      <a:lnTo>
                        <a:pt x="285549" y="1191698"/>
                      </a:lnTo>
                      <a:lnTo>
                        <a:pt x="277701" y="1193509"/>
                      </a:lnTo>
                      <a:lnTo>
                        <a:pt x="277097" y="1197132"/>
                      </a:lnTo>
                      <a:lnTo>
                        <a:pt x="282530" y="1199546"/>
                      </a:lnTo>
                      <a:lnTo>
                        <a:pt x="289775" y="1194113"/>
                      </a:lnTo>
                      <a:lnTo>
                        <a:pt x="292793" y="1196528"/>
                      </a:lnTo>
                      <a:lnTo>
                        <a:pt x="296415" y="1195320"/>
                      </a:lnTo>
                      <a:lnTo>
                        <a:pt x="299434" y="1198943"/>
                      </a:lnTo>
                      <a:lnTo>
                        <a:pt x="302452" y="1198943"/>
                      </a:lnTo>
                      <a:lnTo>
                        <a:pt x="306075" y="1201961"/>
                      </a:lnTo>
                      <a:lnTo>
                        <a:pt x="304867" y="1209205"/>
                      </a:lnTo>
                      <a:lnTo>
                        <a:pt x="306075" y="1214639"/>
                      </a:lnTo>
                      <a:lnTo>
                        <a:pt x="311508" y="1224902"/>
                      </a:lnTo>
                      <a:lnTo>
                        <a:pt x="312112" y="1232146"/>
                      </a:lnTo>
                      <a:lnTo>
                        <a:pt x="312112" y="1238787"/>
                      </a:lnTo>
                      <a:lnTo>
                        <a:pt x="316941" y="1239994"/>
                      </a:lnTo>
                      <a:lnTo>
                        <a:pt x="321167" y="1246635"/>
                      </a:lnTo>
                      <a:lnTo>
                        <a:pt x="321771" y="1252672"/>
                      </a:lnTo>
                      <a:lnTo>
                        <a:pt x="319960" y="1255086"/>
                      </a:lnTo>
                      <a:lnTo>
                        <a:pt x="319356" y="1264746"/>
                      </a:lnTo>
                      <a:lnTo>
                        <a:pt x="317545" y="1269575"/>
                      </a:lnTo>
                      <a:lnTo>
                        <a:pt x="323582" y="1273801"/>
                      </a:lnTo>
                      <a:lnTo>
                        <a:pt x="326600" y="1282857"/>
                      </a:lnTo>
                      <a:lnTo>
                        <a:pt x="332637" y="1284668"/>
                      </a:lnTo>
                      <a:lnTo>
                        <a:pt x="333845" y="1287082"/>
                      </a:lnTo>
                      <a:lnTo>
                        <a:pt x="338070" y="1288290"/>
                      </a:lnTo>
                      <a:lnTo>
                        <a:pt x="346522" y="1292516"/>
                      </a:lnTo>
                      <a:lnTo>
                        <a:pt x="349541" y="1302779"/>
                      </a:lnTo>
                      <a:lnTo>
                        <a:pt x="346522" y="1307608"/>
                      </a:lnTo>
                      <a:lnTo>
                        <a:pt x="345919" y="1313645"/>
                      </a:lnTo>
                      <a:lnTo>
                        <a:pt x="348333" y="1328134"/>
                      </a:lnTo>
                      <a:lnTo>
                        <a:pt x="345315" y="1330549"/>
                      </a:lnTo>
                      <a:lnTo>
                        <a:pt x="345315" y="1334171"/>
                      </a:lnTo>
                      <a:lnTo>
                        <a:pt x="341693" y="1338397"/>
                      </a:lnTo>
                      <a:lnTo>
                        <a:pt x="342900" y="1343226"/>
                      </a:lnTo>
                      <a:lnTo>
                        <a:pt x="344107" y="1351074"/>
                      </a:lnTo>
                      <a:lnTo>
                        <a:pt x="348937" y="1353489"/>
                      </a:lnTo>
                      <a:lnTo>
                        <a:pt x="354370" y="1349867"/>
                      </a:lnTo>
                      <a:lnTo>
                        <a:pt x="360407" y="1349867"/>
                      </a:lnTo>
                      <a:lnTo>
                        <a:pt x="362822" y="1345037"/>
                      </a:lnTo>
                      <a:lnTo>
                        <a:pt x="366444" y="1342623"/>
                      </a:lnTo>
                      <a:lnTo>
                        <a:pt x="370670" y="1342623"/>
                      </a:lnTo>
                      <a:lnTo>
                        <a:pt x="373085" y="1348660"/>
                      </a:lnTo>
                      <a:lnTo>
                        <a:pt x="375500" y="1351074"/>
                      </a:lnTo>
                      <a:lnTo>
                        <a:pt x="377311" y="1355904"/>
                      </a:lnTo>
                      <a:lnTo>
                        <a:pt x="383951" y="1362544"/>
                      </a:lnTo>
                      <a:lnTo>
                        <a:pt x="382744" y="1364356"/>
                      </a:lnTo>
                      <a:lnTo>
                        <a:pt x="383348" y="1372204"/>
                      </a:lnTo>
                      <a:lnTo>
                        <a:pt x="388177" y="1375222"/>
                      </a:lnTo>
                      <a:lnTo>
                        <a:pt x="383348" y="1377637"/>
                      </a:lnTo>
                      <a:lnTo>
                        <a:pt x="379726" y="1377637"/>
                      </a:lnTo>
                      <a:lnTo>
                        <a:pt x="377311" y="1374015"/>
                      </a:lnTo>
                      <a:lnTo>
                        <a:pt x="374292" y="1377033"/>
                      </a:lnTo>
                      <a:lnTo>
                        <a:pt x="377311" y="1382467"/>
                      </a:lnTo>
                      <a:lnTo>
                        <a:pt x="380933" y="1383674"/>
                      </a:lnTo>
                      <a:lnTo>
                        <a:pt x="383348" y="1387296"/>
                      </a:lnTo>
                      <a:lnTo>
                        <a:pt x="391196" y="1386089"/>
                      </a:lnTo>
                      <a:lnTo>
                        <a:pt x="392403" y="1390918"/>
                      </a:lnTo>
                      <a:lnTo>
                        <a:pt x="391196" y="1393333"/>
                      </a:lnTo>
                      <a:lnTo>
                        <a:pt x="388177" y="1402992"/>
                      </a:lnTo>
                      <a:lnTo>
                        <a:pt x="388177" y="1406614"/>
                      </a:lnTo>
                      <a:lnTo>
                        <a:pt x="380933" y="1415670"/>
                      </a:lnTo>
                      <a:lnTo>
                        <a:pt x="376103" y="1419292"/>
                      </a:lnTo>
                      <a:lnTo>
                        <a:pt x="376707" y="1425933"/>
                      </a:lnTo>
                      <a:lnTo>
                        <a:pt x="370067" y="1430159"/>
                      </a:lnTo>
                      <a:lnTo>
                        <a:pt x="370670" y="1435592"/>
                      </a:lnTo>
                      <a:lnTo>
                        <a:pt x="365841" y="1439214"/>
                      </a:lnTo>
                      <a:lnTo>
                        <a:pt x="361615" y="1439214"/>
                      </a:lnTo>
                      <a:lnTo>
                        <a:pt x="359200" y="1441629"/>
                      </a:lnTo>
                      <a:lnTo>
                        <a:pt x="356181" y="1440422"/>
                      </a:lnTo>
                      <a:lnTo>
                        <a:pt x="354974" y="1445855"/>
                      </a:lnTo>
                      <a:lnTo>
                        <a:pt x="350748" y="1445855"/>
                      </a:lnTo>
                      <a:lnTo>
                        <a:pt x="348333" y="1439818"/>
                      </a:lnTo>
                      <a:lnTo>
                        <a:pt x="344107" y="1431366"/>
                      </a:lnTo>
                      <a:lnTo>
                        <a:pt x="342900" y="1433177"/>
                      </a:lnTo>
                      <a:lnTo>
                        <a:pt x="338674" y="1430159"/>
                      </a:lnTo>
                      <a:lnTo>
                        <a:pt x="336863" y="1433177"/>
                      </a:lnTo>
                      <a:lnTo>
                        <a:pt x="332637" y="1434385"/>
                      </a:lnTo>
                      <a:lnTo>
                        <a:pt x="326600" y="1431970"/>
                      </a:lnTo>
                      <a:lnTo>
                        <a:pt x="323582" y="1425933"/>
                      </a:lnTo>
                      <a:lnTo>
                        <a:pt x="316337" y="1420499"/>
                      </a:lnTo>
                      <a:lnTo>
                        <a:pt x="316941" y="1417481"/>
                      </a:lnTo>
                      <a:lnTo>
                        <a:pt x="313319" y="1416274"/>
                      </a:lnTo>
                      <a:lnTo>
                        <a:pt x="311508" y="1410840"/>
                      </a:lnTo>
                      <a:lnTo>
                        <a:pt x="307886" y="1406614"/>
                      </a:lnTo>
                      <a:lnTo>
                        <a:pt x="303056" y="1406011"/>
                      </a:lnTo>
                      <a:lnTo>
                        <a:pt x="297623" y="1402992"/>
                      </a:lnTo>
                      <a:lnTo>
                        <a:pt x="295208" y="1399370"/>
                      </a:lnTo>
                      <a:lnTo>
                        <a:pt x="292190" y="1398163"/>
                      </a:lnTo>
                      <a:lnTo>
                        <a:pt x="286756" y="1404200"/>
                      </a:lnTo>
                      <a:lnTo>
                        <a:pt x="285549" y="1410840"/>
                      </a:lnTo>
                      <a:lnTo>
                        <a:pt x="279512" y="1413859"/>
                      </a:lnTo>
                      <a:lnTo>
                        <a:pt x="278304" y="1420499"/>
                      </a:lnTo>
                      <a:lnTo>
                        <a:pt x="273475" y="1422311"/>
                      </a:lnTo>
                      <a:lnTo>
                        <a:pt x="272871" y="1424725"/>
                      </a:lnTo>
                      <a:lnTo>
                        <a:pt x="268645" y="1425933"/>
                      </a:lnTo>
                      <a:lnTo>
                        <a:pt x="263212" y="1420499"/>
                      </a:lnTo>
                      <a:lnTo>
                        <a:pt x="258986" y="1418085"/>
                      </a:lnTo>
                      <a:lnTo>
                        <a:pt x="255968" y="1410840"/>
                      </a:lnTo>
                      <a:lnTo>
                        <a:pt x="263816" y="1401785"/>
                      </a:lnTo>
                      <a:lnTo>
                        <a:pt x="258383" y="1396352"/>
                      </a:lnTo>
                      <a:lnTo>
                        <a:pt x="254760" y="1394541"/>
                      </a:lnTo>
                      <a:lnTo>
                        <a:pt x="243894" y="1386089"/>
                      </a:lnTo>
                      <a:lnTo>
                        <a:pt x="242686" y="1383674"/>
                      </a:lnTo>
                      <a:lnTo>
                        <a:pt x="243290" y="1378241"/>
                      </a:lnTo>
                      <a:lnTo>
                        <a:pt x="238460" y="1377033"/>
                      </a:lnTo>
                      <a:lnTo>
                        <a:pt x="237857" y="1371600"/>
                      </a:lnTo>
                      <a:lnTo>
                        <a:pt x="234235" y="1369185"/>
                      </a:lnTo>
                      <a:lnTo>
                        <a:pt x="234838" y="1364959"/>
                      </a:lnTo>
                      <a:lnTo>
                        <a:pt x="241479" y="1362544"/>
                      </a:lnTo>
                      <a:lnTo>
                        <a:pt x="244497" y="1348056"/>
                      </a:lnTo>
                      <a:lnTo>
                        <a:pt x="241479" y="1340812"/>
                      </a:lnTo>
                      <a:lnTo>
                        <a:pt x="243894" y="1335982"/>
                      </a:lnTo>
                      <a:lnTo>
                        <a:pt x="240272" y="1327530"/>
                      </a:lnTo>
                      <a:lnTo>
                        <a:pt x="235442" y="1320889"/>
                      </a:lnTo>
                      <a:lnTo>
                        <a:pt x="234235" y="1316060"/>
                      </a:lnTo>
                      <a:lnTo>
                        <a:pt x="235442" y="1311834"/>
                      </a:lnTo>
                      <a:lnTo>
                        <a:pt x="231820" y="1303382"/>
                      </a:lnTo>
                      <a:lnTo>
                        <a:pt x="227594" y="1296742"/>
                      </a:lnTo>
                      <a:lnTo>
                        <a:pt x="222764" y="1295534"/>
                      </a:lnTo>
                      <a:lnTo>
                        <a:pt x="222764" y="1290101"/>
                      </a:lnTo>
                      <a:lnTo>
                        <a:pt x="223972" y="1287082"/>
                      </a:lnTo>
                      <a:lnTo>
                        <a:pt x="230009" y="1284668"/>
                      </a:lnTo>
                      <a:lnTo>
                        <a:pt x="233027" y="1279838"/>
                      </a:lnTo>
                      <a:lnTo>
                        <a:pt x="241479" y="1273801"/>
                      </a:lnTo>
                      <a:lnTo>
                        <a:pt x="243290" y="1271990"/>
                      </a:lnTo>
                      <a:lnTo>
                        <a:pt x="248723" y="1268368"/>
                      </a:lnTo>
                      <a:lnTo>
                        <a:pt x="252346" y="1263538"/>
                      </a:lnTo>
                      <a:lnTo>
                        <a:pt x="256571" y="1261123"/>
                      </a:lnTo>
                      <a:lnTo>
                        <a:pt x="258383" y="1254483"/>
                      </a:lnTo>
                      <a:lnTo>
                        <a:pt x="257175" y="1250861"/>
                      </a:lnTo>
                      <a:lnTo>
                        <a:pt x="255968" y="1241805"/>
                      </a:lnTo>
                      <a:lnTo>
                        <a:pt x="257175" y="1239994"/>
                      </a:lnTo>
                      <a:lnTo>
                        <a:pt x="264419" y="1236976"/>
                      </a:lnTo>
                      <a:lnTo>
                        <a:pt x="269249" y="1232146"/>
                      </a:lnTo>
                      <a:lnTo>
                        <a:pt x="276493" y="1232750"/>
                      </a:lnTo>
                      <a:lnTo>
                        <a:pt x="275890" y="1227920"/>
                      </a:lnTo>
                      <a:lnTo>
                        <a:pt x="280116" y="1224902"/>
                      </a:lnTo>
                      <a:lnTo>
                        <a:pt x="280116" y="1221883"/>
                      </a:lnTo>
                      <a:lnTo>
                        <a:pt x="274682" y="1221883"/>
                      </a:lnTo>
                      <a:lnTo>
                        <a:pt x="272267" y="1217657"/>
                      </a:lnTo>
                      <a:lnTo>
                        <a:pt x="268042" y="1216450"/>
                      </a:lnTo>
                      <a:lnTo>
                        <a:pt x="270456" y="1210413"/>
                      </a:lnTo>
                      <a:lnTo>
                        <a:pt x="266231" y="1209809"/>
                      </a:lnTo>
                      <a:lnTo>
                        <a:pt x="262005" y="1203772"/>
                      </a:lnTo>
                      <a:lnTo>
                        <a:pt x="263212" y="1200754"/>
                      </a:lnTo>
                      <a:lnTo>
                        <a:pt x="260194" y="1196528"/>
                      </a:lnTo>
                      <a:lnTo>
                        <a:pt x="260194" y="1192906"/>
                      </a:lnTo>
                      <a:lnTo>
                        <a:pt x="252346" y="1189887"/>
                      </a:lnTo>
                      <a:lnTo>
                        <a:pt x="257175" y="1184454"/>
                      </a:lnTo>
                      <a:lnTo>
                        <a:pt x="255364" y="1180228"/>
                      </a:lnTo>
                      <a:lnTo>
                        <a:pt x="249327" y="1177210"/>
                      </a:lnTo>
                      <a:lnTo>
                        <a:pt x="257175" y="1168758"/>
                      </a:lnTo>
                      <a:lnTo>
                        <a:pt x="257779" y="1162721"/>
                      </a:lnTo>
                      <a:lnTo>
                        <a:pt x="260797" y="1157287"/>
                      </a:lnTo>
                      <a:lnTo>
                        <a:pt x="263212" y="1159099"/>
                      </a:lnTo>
                      <a:lnTo>
                        <a:pt x="268645" y="1157287"/>
                      </a:lnTo>
                      <a:lnTo>
                        <a:pt x="269853" y="1153665"/>
                      </a:lnTo>
                      <a:lnTo>
                        <a:pt x="275890" y="1151854"/>
                      </a:lnTo>
                      <a:lnTo>
                        <a:pt x="272871" y="1145214"/>
                      </a:lnTo>
                      <a:lnTo>
                        <a:pt x="272871" y="1139177"/>
                      </a:lnTo>
                      <a:lnTo>
                        <a:pt x="276493" y="1133140"/>
                      </a:lnTo>
                      <a:lnTo>
                        <a:pt x="281323" y="1134951"/>
                      </a:lnTo>
                      <a:lnTo>
                        <a:pt x="287964" y="1128310"/>
                      </a:lnTo>
                      <a:lnTo>
                        <a:pt x="297623" y="1130121"/>
                      </a:lnTo>
                      <a:lnTo>
                        <a:pt x="301849" y="1131932"/>
                      </a:lnTo>
                      <a:lnTo>
                        <a:pt x="308489" y="1132536"/>
                      </a:lnTo>
                      <a:lnTo>
                        <a:pt x="313319" y="1127103"/>
                      </a:lnTo>
                      <a:lnTo>
                        <a:pt x="316941" y="1130121"/>
                      </a:lnTo>
                      <a:lnTo>
                        <a:pt x="322374" y="1131932"/>
                      </a:lnTo>
                      <a:lnTo>
                        <a:pt x="328411" y="1125292"/>
                      </a:lnTo>
                      <a:lnTo>
                        <a:pt x="335656" y="1122877"/>
                      </a:lnTo>
                      <a:lnTo>
                        <a:pt x="339882" y="1123481"/>
                      </a:lnTo>
                      <a:lnTo>
                        <a:pt x="352559" y="1119858"/>
                      </a:lnTo>
                      <a:lnTo>
                        <a:pt x="354974" y="1118651"/>
                      </a:lnTo>
                      <a:lnTo>
                        <a:pt x="356181" y="1113821"/>
                      </a:lnTo>
                      <a:lnTo>
                        <a:pt x="356181" y="1107181"/>
                      </a:lnTo>
                      <a:lnTo>
                        <a:pt x="351956" y="1098729"/>
                      </a:lnTo>
                      <a:lnTo>
                        <a:pt x="345919" y="1096314"/>
                      </a:lnTo>
                      <a:lnTo>
                        <a:pt x="342296" y="1092692"/>
                      </a:lnTo>
                      <a:lnTo>
                        <a:pt x="342900" y="1090277"/>
                      </a:lnTo>
                      <a:lnTo>
                        <a:pt x="348937" y="1087259"/>
                      </a:lnTo>
                      <a:lnTo>
                        <a:pt x="349541" y="1084240"/>
                      </a:lnTo>
                      <a:lnTo>
                        <a:pt x="353767" y="1078203"/>
                      </a:lnTo>
                      <a:lnTo>
                        <a:pt x="357993" y="1078203"/>
                      </a:lnTo>
                      <a:lnTo>
                        <a:pt x="356785" y="1070959"/>
                      </a:lnTo>
                      <a:lnTo>
                        <a:pt x="362218" y="1073374"/>
                      </a:lnTo>
                      <a:lnTo>
                        <a:pt x="362218" y="1076996"/>
                      </a:lnTo>
                      <a:lnTo>
                        <a:pt x="367048" y="1077600"/>
                      </a:lnTo>
                      <a:lnTo>
                        <a:pt x="367048" y="1070355"/>
                      </a:lnTo>
                      <a:lnTo>
                        <a:pt x="362822" y="1067940"/>
                      </a:lnTo>
                      <a:lnTo>
                        <a:pt x="365841" y="1061903"/>
                      </a:lnTo>
                      <a:lnTo>
                        <a:pt x="371274" y="1060696"/>
                      </a:lnTo>
                      <a:lnTo>
                        <a:pt x="371878" y="1055866"/>
                      </a:lnTo>
                      <a:lnTo>
                        <a:pt x="369463" y="1051640"/>
                      </a:lnTo>
                      <a:lnTo>
                        <a:pt x="373085" y="1049226"/>
                      </a:lnTo>
                      <a:lnTo>
                        <a:pt x="377311" y="1044396"/>
                      </a:lnTo>
                      <a:lnTo>
                        <a:pt x="383348" y="1034737"/>
                      </a:lnTo>
                      <a:lnTo>
                        <a:pt x="384555" y="1026285"/>
                      </a:lnTo>
                      <a:lnTo>
                        <a:pt x="383348" y="1023870"/>
                      </a:lnTo>
                      <a:lnTo>
                        <a:pt x="391196" y="1015419"/>
                      </a:lnTo>
                      <a:lnTo>
                        <a:pt x="395422" y="1013608"/>
                      </a:lnTo>
                      <a:lnTo>
                        <a:pt x="389385" y="1007571"/>
                      </a:lnTo>
                      <a:lnTo>
                        <a:pt x="388177" y="1003948"/>
                      </a:lnTo>
                      <a:lnTo>
                        <a:pt x="383348" y="1000930"/>
                      </a:lnTo>
                      <a:lnTo>
                        <a:pt x="386970" y="997308"/>
                      </a:lnTo>
                      <a:lnTo>
                        <a:pt x="392403" y="997911"/>
                      </a:lnTo>
                      <a:lnTo>
                        <a:pt x="395422" y="996704"/>
                      </a:lnTo>
                      <a:lnTo>
                        <a:pt x="395422" y="993082"/>
                      </a:lnTo>
                      <a:lnTo>
                        <a:pt x="389988" y="988252"/>
                      </a:lnTo>
                      <a:lnTo>
                        <a:pt x="393007" y="985837"/>
                      </a:lnTo>
                      <a:lnTo>
                        <a:pt x="395422" y="987045"/>
                      </a:lnTo>
                      <a:lnTo>
                        <a:pt x="399044" y="983423"/>
                      </a:lnTo>
                      <a:lnTo>
                        <a:pt x="398440" y="979197"/>
                      </a:lnTo>
                      <a:lnTo>
                        <a:pt x="403270" y="979800"/>
                      </a:lnTo>
                      <a:lnTo>
                        <a:pt x="408099" y="975575"/>
                      </a:lnTo>
                      <a:lnTo>
                        <a:pt x="404477" y="973764"/>
                      </a:lnTo>
                      <a:lnTo>
                        <a:pt x="406892" y="967123"/>
                      </a:lnTo>
                      <a:lnTo>
                        <a:pt x="411118" y="966519"/>
                      </a:lnTo>
                      <a:lnTo>
                        <a:pt x="415344" y="960482"/>
                      </a:lnTo>
                      <a:lnTo>
                        <a:pt x="421381" y="959879"/>
                      </a:lnTo>
                      <a:lnTo>
                        <a:pt x="418966" y="951427"/>
                      </a:lnTo>
                      <a:lnTo>
                        <a:pt x="411118" y="949012"/>
                      </a:lnTo>
                      <a:lnTo>
                        <a:pt x="413533" y="945993"/>
                      </a:lnTo>
                      <a:lnTo>
                        <a:pt x="411722" y="939353"/>
                      </a:lnTo>
                      <a:lnTo>
                        <a:pt x="418966" y="936938"/>
                      </a:lnTo>
                      <a:lnTo>
                        <a:pt x="421381" y="930297"/>
                      </a:lnTo>
                      <a:lnTo>
                        <a:pt x="414136" y="927279"/>
                      </a:lnTo>
                      <a:lnTo>
                        <a:pt x="409307" y="929694"/>
                      </a:lnTo>
                      <a:lnTo>
                        <a:pt x="404477" y="926675"/>
                      </a:lnTo>
                      <a:lnTo>
                        <a:pt x="408099" y="921242"/>
                      </a:lnTo>
                      <a:lnTo>
                        <a:pt x="407496" y="917016"/>
                      </a:lnTo>
                      <a:lnTo>
                        <a:pt x="401459" y="911583"/>
                      </a:lnTo>
                      <a:lnTo>
                        <a:pt x="402062" y="909168"/>
                      </a:lnTo>
                      <a:lnTo>
                        <a:pt x="394818" y="905546"/>
                      </a:lnTo>
                      <a:lnTo>
                        <a:pt x="394818" y="900716"/>
                      </a:lnTo>
                      <a:lnTo>
                        <a:pt x="391196" y="895887"/>
                      </a:lnTo>
                      <a:lnTo>
                        <a:pt x="396025" y="892264"/>
                      </a:lnTo>
                      <a:lnTo>
                        <a:pt x="395422" y="888642"/>
                      </a:lnTo>
                      <a:lnTo>
                        <a:pt x="392403" y="883813"/>
                      </a:lnTo>
                      <a:lnTo>
                        <a:pt x="395422" y="877172"/>
                      </a:lnTo>
                      <a:lnTo>
                        <a:pt x="391800" y="874757"/>
                      </a:lnTo>
                      <a:lnTo>
                        <a:pt x="384555" y="880190"/>
                      </a:lnTo>
                      <a:lnTo>
                        <a:pt x="382140" y="877776"/>
                      </a:lnTo>
                      <a:lnTo>
                        <a:pt x="384555" y="872342"/>
                      </a:lnTo>
                      <a:lnTo>
                        <a:pt x="375500" y="868117"/>
                      </a:lnTo>
                      <a:lnTo>
                        <a:pt x="370670" y="870531"/>
                      </a:lnTo>
                      <a:lnTo>
                        <a:pt x="367048" y="870531"/>
                      </a:lnTo>
                      <a:lnTo>
                        <a:pt x="362218" y="865702"/>
                      </a:lnTo>
                      <a:lnTo>
                        <a:pt x="356181" y="856043"/>
                      </a:lnTo>
                      <a:lnTo>
                        <a:pt x="353767" y="855439"/>
                      </a:lnTo>
                      <a:lnTo>
                        <a:pt x="345919" y="856043"/>
                      </a:lnTo>
                      <a:lnTo>
                        <a:pt x="341693" y="850006"/>
                      </a:lnTo>
                      <a:lnTo>
                        <a:pt x="336863" y="852420"/>
                      </a:lnTo>
                      <a:lnTo>
                        <a:pt x="336259" y="848195"/>
                      </a:lnTo>
                      <a:lnTo>
                        <a:pt x="328411" y="850006"/>
                      </a:lnTo>
                      <a:lnTo>
                        <a:pt x="324789" y="855439"/>
                      </a:lnTo>
                      <a:lnTo>
                        <a:pt x="316941" y="854232"/>
                      </a:lnTo>
                      <a:lnTo>
                        <a:pt x="312715" y="858457"/>
                      </a:lnTo>
                      <a:lnTo>
                        <a:pt x="305471" y="857854"/>
                      </a:lnTo>
                      <a:lnTo>
                        <a:pt x="295208" y="851817"/>
                      </a:lnTo>
                      <a:lnTo>
                        <a:pt x="283134" y="849402"/>
                      </a:lnTo>
                      <a:lnTo>
                        <a:pt x="280719" y="847591"/>
                      </a:lnTo>
                      <a:lnTo>
                        <a:pt x="276493" y="840950"/>
                      </a:lnTo>
                      <a:lnTo>
                        <a:pt x="268042" y="842158"/>
                      </a:lnTo>
                      <a:lnTo>
                        <a:pt x="263816" y="831895"/>
                      </a:lnTo>
                      <a:lnTo>
                        <a:pt x="258986" y="831291"/>
                      </a:lnTo>
                      <a:lnTo>
                        <a:pt x="246912" y="833706"/>
                      </a:lnTo>
                      <a:lnTo>
                        <a:pt x="243894" y="836724"/>
                      </a:lnTo>
                      <a:lnTo>
                        <a:pt x="243290" y="842761"/>
                      </a:lnTo>
                      <a:lnTo>
                        <a:pt x="241479" y="843365"/>
                      </a:lnTo>
                      <a:lnTo>
                        <a:pt x="234838" y="839743"/>
                      </a:lnTo>
                      <a:lnTo>
                        <a:pt x="231820" y="839743"/>
                      </a:lnTo>
                      <a:lnTo>
                        <a:pt x="231216" y="830687"/>
                      </a:lnTo>
                      <a:lnTo>
                        <a:pt x="235442" y="829480"/>
                      </a:lnTo>
                      <a:lnTo>
                        <a:pt x="240272" y="825254"/>
                      </a:lnTo>
                      <a:lnTo>
                        <a:pt x="242686" y="818010"/>
                      </a:lnTo>
                      <a:lnTo>
                        <a:pt x="236649" y="817406"/>
                      </a:lnTo>
                      <a:lnTo>
                        <a:pt x="228198" y="814387"/>
                      </a:lnTo>
                      <a:lnTo>
                        <a:pt x="217331" y="811973"/>
                      </a:lnTo>
                      <a:lnTo>
                        <a:pt x="212501" y="812576"/>
                      </a:lnTo>
                      <a:lnTo>
                        <a:pt x="211898" y="818613"/>
                      </a:lnTo>
                      <a:lnTo>
                        <a:pt x="210087" y="822839"/>
                      </a:lnTo>
                      <a:lnTo>
                        <a:pt x="206465" y="824650"/>
                      </a:lnTo>
                      <a:lnTo>
                        <a:pt x="201031" y="821632"/>
                      </a:lnTo>
                      <a:lnTo>
                        <a:pt x="197409" y="821632"/>
                      </a:lnTo>
                      <a:lnTo>
                        <a:pt x="198013" y="828876"/>
                      </a:lnTo>
                      <a:lnTo>
                        <a:pt x="196202" y="831291"/>
                      </a:lnTo>
                      <a:lnTo>
                        <a:pt x="191976" y="823443"/>
                      </a:lnTo>
                      <a:lnTo>
                        <a:pt x="187146" y="822839"/>
                      </a:lnTo>
                      <a:lnTo>
                        <a:pt x="183524" y="825858"/>
                      </a:lnTo>
                      <a:lnTo>
                        <a:pt x="181109" y="822235"/>
                      </a:lnTo>
                      <a:lnTo>
                        <a:pt x="176883" y="825254"/>
                      </a:lnTo>
                      <a:lnTo>
                        <a:pt x="173865" y="822235"/>
                      </a:lnTo>
                      <a:lnTo>
                        <a:pt x="170243" y="822235"/>
                      </a:lnTo>
                      <a:lnTo>
                        <a:pt x="166017" y="827669"/>
                      </a:lnTo>
                      <a:lnTo>
                        <a:pt x="162395" y="824047"/>
                      </a:lnTo>
                      <a:lnTo>
                        <a:pt x="148510" y="818613"/>
                      </a:lnTo>
                      <a:lnTo>
                        <a:pt x="145491" y="819821"/>
                      </a:lnTo>
                      <a:lnTo>
                        <a:pt x="140662" y="816199"/>
                      </a:lnTo>
                      <a:lnTo>
                        <a:pt x="137039" y="819217"/>
                      </a:lnTo>
                      <a:lnTo>
                        <a:pt x="132210" y="819821"/>
                      </a:lnTo>
                      <a:lnTo>
                        <a:pt x="129191" y="824650"/>
                      </a:lnTo>
                      <a:lnTo>
                        <a:pt x="130399" y="829480"/>
                      </a:lnTo>
                      <a:lnTo>
                        <a:pt x="121343" y="831291"/>
                      </a:lnTo>
                      <a:lnTo>
                        <a:pt x="118325" y="835517"/>
                      </a:lnTo>
                      <a:lnTo>
                        <a:pt x="111684" y="837328"/>
                      </a:lnTo>
                      <a:lnTo>
                        <a:pt x="108062" y="840346"/>
                      </a:lnTo>
                      <a:lnTo>
                        <a:pt x="100818" y="840950"/>
                      </a:lnTo>
                      <a:lnTo>
                        <a:pt x="99006" y="842761"/>
                      </a:lnTo>
                      <a:lnTo>
                        <a:pt x="89951" y="843365"/>
                      </a:lnTo>
                      <a:lnTo>
                        <a:pt x="88744" y="837932"/>
                      </a:lnTo>
                      <a:lnTo>
                        <a:pt x="85121" y="837328"/>
                      </a:lnTo>
                      <a:lnTo>
                        <a:pt x="82103" y="851213"/>
                      </a:lnTo>
                      <a:lnTo>
                        <a:pt x="84518" y="856043"/>
                      </a:lnTo>
                      <a:lnTo>
                        <a:pt x="81499" y="859061"/>
                      </a:lnTo>
                      <a:lnTo>
                        <a:pt x="74859" y="860872"/>
                      </a:lnTo>
                      <a:lnTo>
                        <a:pt x="78481" y="855439"/>
                      </a:lnTo>
                      <a:lnTo>
                        <a:pt x="75462" y="853024"/>
                      </a:lnTo>
                      <a:lnTo>
                        <a:pt x="71236" y="851817"/>
                      </a:lnTo>
                      <a:lnTo>
                        <a:pt x="73047" y="843969"/>
                      </a:lnTo>
                      <a:lnTo>
                        <a:pt x="68822" y="838535"/>
                      </a:lnTo>
                      <a:lnTo>
                        <a:pt x="70029" y="833102"/>
                      </a:lnTo>
                      <a:lnTo>
                        <a:pt x="75462" y="831291"/>
                      </a:lnTo>
                      <a:lnTo>
                        <a:pt x="76670" y="827669"/>
                      </a:lnTo>
                      <a:lnTo>
                        <a:pt x="82103" y="824650"/>
                      </a:lnTo>
                      <a:lnTo>
                        <a:pt x="89347" y="821632"/>
                      </a:lnTo>
                      <a:lnTo>
                        <a:pt x="102025" y="818010"/>
                      </a:lnTo>
                      <a:lnTo>
                        <a:pt x="115306" y="809558"/>
                      </a:lnTo>
                      <a:lnTo>
                        <a:pt x="120739" y="807143"/>
                      </a:lnTo>
                      <a:lnTo>
                        <a:pt x="125569" y="807143"/>
                      </a:lnTo>
                      <a:lnTo>
                        <a:pt x="129795" y="804125"/>
                      </a:lnTo>
                      <a:lnTo>
                        <a:pt x="134625" y="804728"/>
                      </a:lnTo>
                      <a:lnTo>
                        <a:pt x="136436" y="799295"/>
                      </a:lnTo>
                      <a:lnTo>
                        <a:pt x="134021" y="794466"/>
                      </a:lnTo>
                      <a:lnTo>
                        <a:pt x="131606" y="796277"/>
                      </a:lnTo>
                      <a:lnTo>
                        <a:pt x="131606" y="802314"/>
                      </a:lnTo>
                      <a:lnTo>
                        <a:pt x="127984" y="802314"/>
                      </a:lnTo>
                      <a:lnTo>
                        <a:pt x="120739" y="790843"/>
                      </a:lnTo>
                      <a:lnTo>
                        <a:pt x="118325" y="796880"/>
                      </a:lnTo>
                      <a:lnTo>
                        <a:pt x="106251" y="795673"/>
                      </a:lnTo>
                      <a:lnTo>
                        <a:pt x="97799" y="790843"/>
                      </a:lnTo>
                      <a:lnTo>
                        <a:pt x="99006" y="784203"/>
                      </a:lnTo>
                      <a:lnTo>
                        <a:pt x="95384" y="783599"/>
                      </a:lnTo>
                      <a:lnTo>
                        <a:pt x="91158" y="786617"/>
                      </a:lnTo>
                      <a:lnTo>
                        <a:pt x="89347" y="781788"/>
                      </a:lnTo>
                      <a:lnTo>
                        <a:pt x="94781" y="775147"/>
                      </a:lnTo>
                      <a:lnTo>
                        <a:pt x="105647" y="772129"/>
                      </a:lnTo>
                      <a:lnTo>
                        <a:pt x="105043" y="769714"/>
                      </a:lnTo>
                      <a:lnTo>
                        <a:pt x="107458" y="766695"/>
                      </a:lnTo>
                      <a:lnTo>
                        <a:pt x="109269" y="761866"/>
                      </a:lnTo>
                      <a:lnTo>
                        <a:pt x="112891" y="762469"/>
                      </a:lnTo>
                      <a:lnTo>
                        <a:pt x="117721" y="761262"/>
                      </a:lnTo>
                      <a:lnTo>
                        <a:pt x="121343" y="755829"/>
                      </a:lnTo>
                      <a:lnTo>
                        <a:pt x="115306" y="752207"/>
                      </a:lnTo>
                      <a:lnTo>
                        <a:pt x="115306" y="746773"/>
                      </a:lnTo>
                      <a:lnTo>
                        <a:pt x="111080" y="740736"/>
                      </a:lnTo>
                      <a:lnTo>
                        <a:pt x="107458" y="738925"/>
                      </a:lnTo>
                      <a:lnTo>
                        <a:pt x="108062" y="735303"/>
                      </a:lnTo>
                      <a:lnTo>
                        <a:pt x="104440" y="732285"/>
                      </a:lnTo>
                      <a:lnTo>
                        <a:pt x="109269" y="729266"/>
                      </a:lnTo>
                      <a:lnTo>
                        <a:pt x="109873" y="723833"/>
                      </a:lnTo>
                      <a:lnTo>
                        <a:pt x="105043" y="723833"/>
                      </a:lnTo>
                      <a:lnTo>
                        <a:pt x="101421" y="726248"/>
                      </a:lnTo>
                      <a:lnTo>
                        <a:pt x="94781" y="722625"/>
                      </a:lnTo>
                      <a:lnTo>
                        <a:pt x="85121" y="713570"/>
                      </a:lnTo>
                      <a:lnTo>
                        <a:pt x="79084" y="712966"/>
                      </a:lnTo>
                      <a:lnTo>
                        <a:pt x="71840" y="709344"/>
                      </a:lnTo>
                      <a:lnTo>
                        <a:pt x="68218" y="703307"/>
                      </a:lnTo>
                      <a:lnTo>
                        <a:pt x="71236" y="694856"/>
                      </a:lnTo>
                      <a:lnTo>
                        <a:pt x="63992" y="690630"/>
                      </a:lnTo>
                      <a:lnTo>
                        <a:pt x="63388" y="685800"/>
                      </a:lnTo>
                      <a:lnTo>
                        <a:pt x="60370" y="681574"/>
                      </a:lnTo>
                      <a:lnTo>
                        <a:pt x="52522" y="680367"/>
                      </a:lnTo>
                      <a:lnTo>
                        <a:pt x="51314" y="677348"/>
                      </a:lnTo>
                      <a:lnTo>
                        <a:pt x="50711" y="669500"/>
                      </a:lnTo>
                      <a:lnTo>
                        <a:pt x="54936" y="664671"/>
                      </a:lnTo>
                      <a:lnTo>
                        <a:pt x="50107" y="663463"/>
                      </a:lnTo>
                      <a:lnTo>
                        <a:pt x="47088" y="660445"/>
                      </a:lnTo>
                      <a:lnTo>
                        <a:pt x="53125" y="650786"/>
                      </a:lnTo>
                      <a:lnTo>
                        <a:pt x="51918" y="644145"/>
                      </a:lnTo>
                      <a:lnTo>
                        <a:pt x="51314" y="637504"/>
                      </a:lnTo>
                      <a:lnTo>
                        <a:pt x="45277" y="636297"/>
                      </a:lnTo>
                      <a:lnTo>
                        <a:pt x="43466" y="632675"/>
                      </a:lnTo>
                      <a:lnTo>
                        <a:pt x="46485" y="630864"/>
                      </a:lnTo>
                      <a:lnTo>
                        <a:pt x="44674" y="626638"/>
                      </a:lnTo>
                      <a:lnTo>
                        <a:pt x="45277" y="619393"/>
                      </a:lnTo>
                      <a:lnTo>
                        <a:pt x="43466" y="616375"/>
                      </a:lnTo>
                      <a:lnTo>
                        <a:pt x="39240" y="614564"/>
                      </a:lnTo>
                      <a:lnTo>
                        <a:pt x="47088" y="609130"/>
                      </a:lnTo>
                      <a:lnTo>
                        <a:pt x="52522" y="602490"/>
                      </a:lnTo>
                      <a:lnTo>
                        <a:pt x="59766" y="601282"/>
                      </a:lnTo>
                      <a:lnTo>
                        <a:pt x="67614" y="602490"/>
                      </a:lnTo>
                      <a:lnTo>
                        <a:pt x="65199" y="597057"/>
                      </a:lnTo>
                      <a:lnTo>
                        <a:pt x="69425" y="594038"/>
                      </a:lnTo>
                      <a:lnTo>
                        <a:pt x="73651" y="598264"/>
                      </a:lnTo>
                      <a:lnTo>
                        <a:pt x="79688" y="594038"/>
                      </a:lnTo>
                      <a:lnTo>
                        <a:pt x="80292" y="590416"/>
                      </a:lnTo>
                      <a:lnTo>
                        <a:pt x="79084" y="585586"/>
                      </a:lnTo>
                      <a:lnTo>
                        <a:pt x="89951" y="585586"/>
                      </a:lnTo>
                      <a:lnTo>
                        <a:pt x="92970" y="581360"/>
                      </a:lnTo>
                      <a:lnTo>
                        <a:pt x="92970" y="577738"/>
                      </a:lnTo>
                      <a:lnTo>
                        <a:pt x="87536" y="575927"/>
                      </a:lnTo>
                      <a:lnTo>
                        <a:pt x="92970" y="571098"/>
                      </a:lnTo>
                      <a:lnTo>
                        <a:pt x="88140" y="567475"/>
                      </a:lnTo>
                      <a:lnTo>
                        <a:pt x="86933" y="564457"/>
                      </a:lnTo>
                      <a:lnTo>
                        <a:pt x="80896" y="558420"/>
                      </a:lnTo>
                      <a:lnTo>
                        <a:pt x="82103" y="555401"/>
                      </a:lnTo>
                      <a:lnTo>
                        <a:pt x="79084" y="549364"/>
                      </a:lnTo>
                      <a:lnTo>
                        <a:pt x="80292" y="545742"/>
                      </a:lnTo>
                      <a:lnTo>
                        <a:pt x="85725" y="540913"/>
                      </a:lnTo>
                      <a:lnTo>
                        <a:pt x="85725" y="531857"/>
                      </a:lnTo>
                      <a:lnTo>
                        <a:pt x="92366" y="530046"/>
                      </a:lnTo>
                      <a:lnTo>
                        <a:pt x="93573" y="525217"/>
                      </a:lnTo>
                      <a:lnTo>
                        <a:pt x="90555" y="520991"/>
                      </a:lnTo>
                      <a:lnTo>
                        <a:pt x="88744" y="516161"/>
                      </a:lnTo>
                      <a:lnTo>
                        <a:pt x="92970" y="513746"/>
                      </a:lnTo>
                      <a:lnTo>
                        <a:pt x="93573" y="510124"/>
                      </a:lnTo>
                      <a:lnTo>
                        <a:pt x="88140" y="510124"/>
                      </a:lnTo>
                      <a:lnTo>
                        <a:pt x="79084" y="506502"/>
                      </a:lnTo>
                      <a:lnTo>
                        <a:pt x="80292" y="504087"/>
                      </a:lnTo>
                      <a:lnTo>
                        <a:pt x="84518" y="504087"/>
                      </a:lnTo>
                      <a:lnTo>
                        <a:pt x="85121" y="498050"/>
                      </a:lnTo>
                      <a:lnTo>
                        <a:pt x="79084" y="489598"/>
                      </a:lnTo>
                      <a:lnTo>
                        <a:pt x="84518" y="485976"/>
                      </a:lnTo>
                      <a:lnTo>
                        <a:pt x="82707" y="481147"/>
                      </a:lnTo>
                      <a:lnTo>
                        <a:pt x="79688" y="477525"/>
                      </a:lnTo>
                      <a:lnTo>
                        <a:pt x="80292" y="472695"/>
                      </a:lnTo>
                      <a:lnTo>
                        <a:pt x="72444" y="468469"/>
                      </a:lnTo>
                      <a:lnTo>
                        <a:pt x="70633" y="463036"/>
                      </a:lnTo>
                      <a:lnTo>
                        <a:pt x="64596" y="462432"/>
                      </a:lnTo>
                      <a:lnTo>
                        <a:pt x="64596" y="459414"/>
                      </a:lnTo>
                      <a:lnTo>
                        <a:pt x="60370" y="458206"/>
                      </a:lnTo>
                      <a:lnTo>
                        <a:pt x="56748" y="453377"/>
                      </a:lnTo>
                      <a:lnTo>
                        <a:pt x="52522" y="450358"/>
                      </a:lnTo>
                      <a:lnTo>
                        <a:pt x="51918" y="449151"/>
                      </a:lnTo>
                      <a:lnTo>
                        <a:pt x="50711" y="446736"/>
                      </a:lnTo>
                      <a:lnTo>
                        <a:pt x="47692" y="443114"/>
                      </a:lnTo>
                      <a:lnTo>
                        <a:pt x="45277" y="440699"/>
                      </a:lnTo>
                      <a:lnTo>
                        <a:pt x="43466" y="434058"/>
                      </a:lnTo>
                      <a:lnTo>
                        <a:pt x="43466" y="433455"/>
                      </a:lnTo>
                      <a:lnTo>
                        <a:pt x="46485" y="429229"/>
                      </a:lnTo>
                      <a:lnTo>
                        <a:pt x="50107" y="428021"/>
                      </a:lnTo>
                      <a:lnTo>
                        <a:pt x="51918" y="423795"/>
                      </a:lnTo>
                      <a:lnTo>
                        <a:pt x="47088" y="418966"/>
                      </a:lnTo>
                      <a:lnTo>
                        <a:pt x="48296" y="412325"/>
                      </a:lnTo>
                      <a:lnTo>
                        <a:pt x="50107" y="407496"/>
                      </a:lnTo>
                      <a:lnTo>
                        <a:pt x="48900" y="402666"/>
                      </a:lnTo>
                      <a:lnTo>
                        <a:pt x="48296" y="401459"/>
                      </a:lnTo>
                      <a:lnTo>
                        <a:pt x="43466" y="402666"/>
                      </a:lnTo>
                      <a:lnTo>
                        <a:pt x="42863" y="403270"/>
                      </a:lnTo>
                      <a:lnTo>
                        <a:pt x="41052" y="401459"/>
                      </a:lnTo>
                      <a:lnTo>
                        <a:pt x="38637" y="396629"/>
                      </a:lnTo>
                      <a:lnTo>
                        <a:pt x="37429" y="396629"/>
                      </a:lnTo>
                      <a:lnTo>
                        <a:pt x="35618" y="396025"/>
                      </a:lnTo>
                      <a:lnTo>
                        <a:pt x="35015" y="393007"/>
                      </a:lnTo>
                      <a:lnTo>
                        <a:pt x="33203" y="392403"/>
                      </a:lnTo>
                      <a:lnTo>
                        <a:pt x="30185" y="388781"/>
                      </a:lnTo>
                      <a:lnTo>
                        <a:pt x="28374" y="387573"/>
                      </a:lnTo>
                      <a:lnTo>
                        <a:pt x="28978" y="385159"/>
                      </a:lnTo>
                      <a:lnTo>
                        <a:pt x="26563" y="385159"/>
                      </a:lnTo>
                      <a:lnTo>
                        <a:pt x="25355" y="385159"/>
                      </a:lnTo>
                      <a:lnTo>
                        <a:pt x="23544" y="383348"/>
                      </a:lnTo>
                      <a:lnTo>
                        <a:pt x="22941" y="381537"/>
                      </a:lnTo>
                      <a:lnTo>
                        <a:pt x="26563" y="379122"/>
                      </a:lnTo>
                      <a:lnTo>
                        <a:pt x="27770" y="373689"/>
                      </a:lnTo>
                      <a:lnTo>
                        <a:pt x="24752" y="367652"/>
                      </a:lnTo>
                      <a:lnTo>
                        <a:pt x="22337" y="367048"/>
                      </a:lnTo>
                      <a:lnTo>
                        <a:pt x="21129" y="366444"/>
                      </a:lnTo>
                      <a:lnTo>
                        <a:pt x="19922" y="361011"/>
                      </a:lnTo>
                      <a:lnTo>
                        <a:pt x="27166" y="358596"/>
                      </a:lnTo>
                      <a:lnTo>
                        <a:pt x="28374" y="356785"/>
                      </a:lnTo>
                      <a:lnTo>
                        <a:pt x="22941" y="353767"/>
                      </a:lnTo>
                      <a:lnTo>
                        <a:pt x="24752" y="350144"/>
                      </a:lnTo>
                      <a:lnTo>
                        <a:pt x="21733" y="347730"/>
                      </a:lnTo>
                      <a:lnTo>
                        <a:pt x="22337" y="344107"/>
                      </a:lnTo>
                      <a:lnTo>
                        <a:pt x="26563" y="333844"/>
                      </a:lnTo>
                      <a:lnTo>
                        <a:pt x="22337" y="330222"/>
                      </a:lnTo>
                      <a:lnTo>
                        <a:pt x="16300" y="323582"/>
                      </a:lnTo>
                      <a:lnTo>
                        <a:pt x="15092" y="316941"/>
                      </a:lnTo>
                      <a:lnTo>
                        <a:pt x="8452" y="310904"/>
                      </a:lnTo>
                      <a:lnTo>
                        <a:pt x="8452" y="308489"/>
                      </a:lnTo>
                      <a:lnTo>
                        <a:pt x="11470" y="303056"/>
                      </a:lnTo>
                      <a:lnTo>
                        <a:pt x="9055" y="298830"/>
                      </a:lnTo>
                      <a:lnTo>
                        <a:pt x="11470" y="292189"/>
                      </a:lnTo>
                      <a:lnTo>
                        <a:pt x="9055" y="281323"/>
                      </a:lnTo>
                      <a:lnTo>
                        <a:pt x="12074" y="278908"/>
                      </a:lnTo>
                      <a:lnTo>
                        <a:pt x="12074" y="275890"/>
                      </a:lnTo>
                      <a:lnTo>
                        <a:pt x="9659" y="270456"/>
                      </a:lnTo>
                      <a:lnTo>
                        <a:pt x="14489" y="260194"/>
                      </a:lnTo>
                      <a:lnTo>
                        <a:pt x="12678" y="253553"/>
                      </a:lnTo>
                      <a:lnTo>
                        <a:pt x="7244" y="252345"/>
                      </a:lnTo>
                      <a:lnTo>
                        <a:pt x="6641" y="246308"/>
                      </a:lnTo>
                      <a:lnTo>
                        <a:pt x="11470" y="244497"/>
                      </a:lnTo>
                      <a:lnTo>
                        <a:pt x="8452" y="235442"/>
                      </a:lnTo>
                      <a:lnTo>
                        <a:pt x="11470" y="230612"/>
                      </a:lnTo>
                      <a:lnTo>
                        <a:pt x="7244" y="226990"/>
                      </a:lnTo>
                      <a:lnTo>
                        <a:pt x="6641" y="222764"/>
                      </a:lnTo>
                      <a:lnTo>
                        <a:pt x="7848" y="220349"/>
                      </a:lnTo>
                      <a:lnTo>
                        <a:pt x="6037" y="216124"/>
                      </a:lnTo>
                      <a:lnTo>
                        <a:pt x="3018" y="214313"/>
                      </a:lnTo>
                      <a:lnTo>
                        <a:pt x="0" y="208879"/>
                      </a:lnTo>
                      <a:lnTo>
                        <a:pt x="1207" y="206464"/>
                      </a:lnTo>
                      <a:lnTo>
                        <a:pt x="5433" y="204653"/>
                      </a:lnTo>
                      <a:lnTo>
                        <a:pt x="3622" y="198616"/>
                      </a:lnTo>
                      <a:lnTo>
                        <a:pt x="604" y="193183"/>
                      </a:lnTo>
                      <a:lnTo>
                        <a:pt x="5433" y="182316"/>
                      </a:lnTo>
                      <a:lnTo>
                        <a:pt x="9055" y="179298"/>
                      </a:lnTo>
                      <a:lnTo>
                        <a:pt x="7244" y="174468"/>
                      </a:lnTo>
                      <a:lnTo>
                        <a:pt x="8452" y="170243"/>
                      </a:lnTo>
                      <a:lnTo>
                        <a:pt x="12074" y="169035"/>
                      </a:lnTo>
                      <a:lnTo>
                        <a:pt x="11470" y="165413"/>
                      </a:lnTo>
                      <a:lnTo>
                        <a:pt x="6037" y="158169"/>
                      </a:lnTo>
                      <a:lnTo>
                        <a:pt x="7244" y="151528"/>
                      </a:lnTo>
                      <a:lnTo>
                        <a:pt x="13885" y="147302"/>
                      </a:lnTo>
                      <a:lnTo>
                        <a:pt x="14489" y="141869"/>
                      </a:lnTo>
                      <a:lnTo>
                        <a:pt x="17507" y="138850"/>
                      </a:lnTo>
                      <a:lnTo>
                        <a:pt x="17507" y="134624"/>
                      </a:lnTo>
                      <a:lnTo>
                        <a:pt x="20526" y="128587"/>
                      </a:lnTo>
                      <a:lnTo>
                        <a:pt x="19922" y="121343"/>
                      </a:lnTo>
                      <a:lnTo>
                        <a:pt x="21733" y="116513"/>
                      </a:lnTo>
                      <a:lnTo>
                        <a:pt x="24148" y="114702"/>
                      </a:lnTo>
                      <a:lnTo>
                        <a:pt x="30789" y="106251"/>
                      </a:lnTo>
                      <a:lnTo>
                        <a:pt x="31392" y="102629"/>
                      </a:lnTo>
                      <a:lnTo>
                        <a:pt x="34411" y="100817"/>
                      </a:lnTo>
                      <a:lnTo>
                        <a:pt x="39240" y="89951"/>
                      </a:lnTo>
                      <a:lnTo>
                        <a:pt x="38637" y="86932"/>
                      </a:lnTo>
                      <a:lnTo>
                        <a:pt x="44070" y="83914"/>
                      </a:lnTo>
                      <a:lnTo>
                        <a:pt x="51314" y="82706"/>
                      </a:lnTo>
                      <a:lnTo>
                        <a:pt x="59766" y="76066"/>
                      </a:lnTo>
                      <a:lnTo>
                        <a:pt x="63388" y="75462"/>
                      </a:lnTo>
                      <a:lnTo>
                        <a:pt x="68218" y="71840"/>
                      </a:lnTo>
                      <a:lnTo>
                        <a:pt x="67614" y="63388"/>
                      </a:lnTo>
                      <a:lnTo>
                        <a:pt x="70029" y="57955"/>
                      </a:lnTo>
                      <a:lnTo>
                        <a:pt x="74859" y="57955"/>
                      </a:lnTo>
                      <a:lnTo>
                        <a:pt x="80292" y="53125"/>
                      </a:lnTo>
                      <a:lnTo>
                        <a:pt x="85121" y="42259"/>
                      </a:lnTo>
                      <a:lnTo>
                        <a:pt x="89951" y="36222"/>
                      </a:lnTo>
                      <a:lnTo>
                        <a:pt x="92366" y="29581"/>
                      </a:lnTo>
                      <a:lnTo>
                        <a:pt x="100214" y="24148"/>
                      </a:lnTo>
                      <a:lnTo>
                        <a:pt x="100214" y="17507"/>
                      </a:lnTo>
                      <a:lnTo>
                        <a:pt x="104440" y="9659"/>
                      </a:lnTo>
                      <a:lnTo>
                        <a:pt x="101421" y="6641"/>
                      </a:lnTo>
                      <a:lnTo>
                        <a:pt x="99006" y="1811"/>
                      </a:lnTo>
                      <a:lnTo>
                        <a:pt x="108062" y="0"/>
                      </a:lnTo>
                      <a:lnTo>
                        <a:pt x="113495" y="604"/>
                      </a:lnTo>
                      <a:lnTo>
                        <a:pt x="119532" y="6641"/>
                      </a:lnTo>
                      <a:lnTo>
                        <a:pt x="121343" y="6641"/>
                      </a:lnTo>
                      <a:lnTo>
                        <a:pt x="126776" y="14489"/>
                      </a:lnTo>
                      <a:lnTo>
                        <a:pt x="129191" y="17507"/>
                      </a:lnTo>
                      <a:lnTo>
                        <a:pt x="137643" y="20526"/>
                      </a:lnTo>
                      <a:lnTo>
                        <a:pt x="150321" y="28977"/>
                      </a:lnTo>
                      <a:lnTo>
                        <a:pt x="161187" y="33807"/>
                      </a:lnTo>
                      <a:lnTo>
                        <a:pt x="162395" y="32600"/>
                      </a:lnTo>
                      <a:lnTo>
                        <a:pt x="171450" y="36826"/>
                      </a:lnTo>
                      <a:lnTo>
                        <a:pt x="174469" y="41051"/>
                      </a:lnTo>
                      <a:lnTo>
                        <a:pt x="169035" y="47088"/>
                      </a:lnTo>
                      <a:lnTo>
                        <a:pt x="167224" y="53729"/>
                      </a:lnTo>
                      <a:lnTo>
                        <a:pt x="162395" y="59162"/>
                      </a:lnTo>
                      <a:lnTo>
                        <a:pt x="158772" y="66407"/>
                      </a:lnTo>
                      <a:lnTo>
                        <a:pt x="151528" y="76066"/>
                      </a:lnTo>
                      <a:lnTo>
                        <a:pt x="149113" y="76669"/>
                      </a:lnTo>
                      <a:lnTo>
                        <a:pt x="144887" y="74255"/>
                      </a:lnTo>
                      <a:lnTo>
                        <a:pt x="138850" y="86932"/>
                      </a:lnTo>
                      <a:lnTo>
                        <a:pt x="142473" y="90555"/>
                      </a:lnTo>
                      <a:lnTo>
                        <a:pt x="138247" y="94177"/>
                      </a:lnTo>
                      <a:lnTo>
                        <a:pt x="135228" y="99610"/>
                      </a:lnTo>
                      <a:lnTo>
                        <a:pt x="135228" y="108062"/>
                      </a:lnTo>
                      <a:lnTo>
                        <a:pt x="130399" y="113495"/>
                      </a:lnTo>
                      <a:lnTo>
                        <a:pt x="134021" y="118928"/>
                      </a:lnTo>
                      <a:lnTo>
                        <a:pt x="131002" y="121343"/>
                      </a:lnTo>
                      <a:lnTo>
                        <a:pt x="127380" y="129795"/>
                      </a:lnTo>
                      <a:lnTo>
                        <a:pt x="133417" y="133417"/>
                      </a:lnTo>
                      <a:lnTo>
                        <a:pt x="135832" y="143680"/>
                      </a:lnTo>
                      <a:lnTo>
                        <a:pt x="140058" y="149113"/>
                      </a:lnTo>
                      <a:lnTo>
                        <a:pt x="139454" y="159376"/>
                      </a:lnTo>
                      <a:lnTo>
                        <a:pt x="141265" y="161187"/>
                      </a:lnTo>
                      <a:lnTo>
                        <a:pt x="138850" y="166017"/>
                      </a:lnTo>
                      <a:lnTo>
                        <a:pt x="147302" y="170243"/>
                      </a:lnTo>
                      <a:lnTo>
                        <a:pt x="146095" y="173865"/>
                      </a:lnTo>
                      <a:lnTo>
                        <a:pt x="152132" y="176883"/>
                      </a:lnTo>
                      <a:lnTo>
                        <a:pt x="154547" y="176279"/>
                      </a:lnTo>
                      <a:lnTo>
                        <a:pt x="162998" y="169035"/>
                      </a:lnTo>
                      <a:lnTo>
                        <a:pt x="168432" y="170243"/>
                      </a:lnTo>
                      <a:lnTo>
                        <a:pt x="171450" y="166620"/>
                      </a:lnTo>
                      <a:lnTo>
                        <a:pt x="176883" y="166017"/>
                      </a:lnTo>
                      <a:lnTo>
                        <a:pt x="177487" y="172657"/>
                      </a:lnTo>
                      <a:lnTo>
                        <a:pt x="181109" y="176279"/>
                      </a:lnTo>
                      <a:lnTo>
                        <a:pt x="184128" y="183524"/>
                      </a:lnTo>
                      <a:lnTo>
                        <a:pt x="184128" y="190165"/>
                      </a:lnTo>
                      <a:lnTo>
                        <a:pt x="179298" y="192579"/>
                      </a:lnTo>
                      <a:lnTo>
                        <a:pt x="178091" y="195598"/>
                      </a:lnTo>
                      <a:lnTo>
                        <a:pt x="185939" y="196805"/>
                      </a:lnTo>
                      <a:lnTo>
                        <a:pt x="184731" y="204050"/>
                      </a:lnTo>
                      <a:lnTo>
                        <a:pt x="189561" y="203446"/>
                      </a:lnTo>
                      <a:lnTo>
                        <a:pt x="195598" y="204653"/>
                      </a:lnTo>
                      <a:lnTo>
                        <a:pt x="197409" y="199824"/>
                      </a:lnTo>
                      <a:lnTo>
                        <a:pt x="198013" y="194994"/>
                      </a:lnTo>
                      <a:lnTo>
                        <a:pt x="201031" y="192579"/>
                      </a:lnTo>
                      <a:lnTo>
                        <a:pt x="205257" y="193183"/>
                      </a:lnTo>
                      <a:lnTo>
                        <a:pt x="207672" y="187146"/>
                      </a:lnTo>
                      <a:lnTo>
                        <a:pt x="210690" y="185335"/>
                      </a:lnTo>
                      <a:lnTo>
                        <a:pt x="216727" y="179298"/>
                      </a:lnTo>
                      <a:lnTo>
                        <a:pt x="217331" y="175072"/>
                      </a:lnTo>
                      <a:lnTo>
                        <a:pt x="222764" y="174468"/>
                      </a:lnTo>
                      <a:lnTo>
                        <a:pt x="226386" y="171450"/>
                      </a:lnTo>
                      <a:lnTo>
                        <a:pt x="228801" y="167224"/>
                      </a:lnTo>
                      <a:lnTo>
                        <a:pt x="234235" y="165413"/>
                      </a:lnTo>
                      <a:lnTo>
                        <a:pt x="236649" y="168431"/>
                      </a:lnTo>
                      <a:lnTo>
                        <a:pt x="243290" y="162998"/>
                      </a:lnTo>
                      <a:lnTo>
                        <a:pt x="251138" y="155754"/>
                      </a:lnTo>
                      <a:lnTo>
                        <a:pt x="257175" y="146698"/>
                      </a:lnTo>
                      <a:lnTo>
                        <a:pt x="268645" y="152132"/>
                      </a:lnTo>
                      <a:lnTo>
                        <a:pt x="274079" y="152132"/>
                      </a:lnTo>
                      <a:lnTo>
                        <a:pt x="276493" y="155150"/>
                      </a:lnTo>
                      <a:lnTo>
                        <a:pt x="289171" y="159376"/>
                      </a:lnTo>
                      <a:lnTo>
                        <a:pt x="293397" y="171450"/>
                      </a:lnTo>
                      <a:lnTo>
                        <a:pt x="294001" y="181109"/>
                      </a:lnTo>
                      <a:lnTo>
                        <a:pt x="298227" y="187750"/>
                      </a:lnTo>
                      <a:lnTo>
                        <a:pt x="307886" y="198013"/>
                      </a:lnTo>
                      <a:lnTo>
                        <a:pt x="316941" y="204653"/>
                      </a:lnTo>
                      <a:lnTo>
                        <a:pt x="320563" y="205861"/>
                      </a:lnTo>
                      <a:lnTo>
                        <a:pt x="332033" y="214916"/>
                      </a:lnTo>
                      <a:lnTo>
                        <a:pt x="338674" y="214916"/>
                      </a:lnTo>
                      <a:lnTo>
                        <a:pt x="346522" y="220953"/>
                      </a:lnTo>
                      <a:lnTo>
                        <a:pt x="367048" y="226386"/>
                      </a:lnTo>
                      <a:lnTo>
                        <a:pt x="374292" y="227594"/>
                      </a:lnTo>
                      <a:lnTo>
                        <a:pt x="373689" y="234838"/>
                      </a:lnTo>
                      <a:lnTo>
                        <a:pt x="371878" y="238460"/>
                      </a:lnTo>
                      <a:lnTo>
                        <a:pt x="365237" y="243894"/>
                      </a:lnTo>
                      <a:lnTo>
                        <a:pt x="356785" y="247516"/>
                      </a:lnTo>
                      <a:lnTo>
                        <a:pt x="350748" y="254157"/>
                      </a:lnTo>
                      <a:lnTo>
                        <a:pt x="344711" y="252345"/>
                      </a:lnTo>
                      <a:lnTo>
                        <a:pt x="338674" y="257175"/>
                      </a:lnTo>
                      <a:lnTo>
                        <a:pt x="338674" y="261401"/>
                      </a:lnTo>
                      <a:lnTo>
                        <a:pt x="345315" y="267438"/>
                      </a:lnTo>
                      <a:lnTo>
                        <a:pt x="353767" y="274078"/>
                      </a:lnTo>
                      <a:lnTo>
                        <a:pt x="356785" y="275286"/>
                      </a:lnTo>
                      <a:lnTo>
                        <a:pt x="360407" y="273475"/>
                      </a:lnTo>
                      <a:lnTo>
                        <a:pt x="367048" y="275890"/>
                      </a:lnTo>
                      <a:lnTo>
                        <a:pt x="374292" y="287360"/>
                      </a:lnTo>
                      <a:lnTo>
                        <a:pt x="375500" y="296415"/>
                      </a:lnTo>
                      <a:lnTo>
                        <a:pt x="383348" y="300037"/>
                      </a:lnTo>
                      <a:lnTo>
                        <a:pt x="388177" y="295812"/>
                      </a:lnTo>
                      <a:lnTo>
                        <a:pt x="390592" y="298830"/>
                      </a:lnTo>
                      <a:lnTo>
                        <a:pt x="391800" y="302452"/>
                      </a:lnTo>
                      <a:lnTo>
                        <a:pt x="395422" y="307282"/>
                      </a:lnTo>
                      <a:lnTo>
                        <a:pt x="398440" y="307282"/>
                      </a:lnTo>
                      <a:lnTo>
                        <a:pt x="397837" y="300037"/>
                      </a:lnTo>
                      <a:lnTo>
                        <a:pt x="404477" y="298830"/>
                      </a:lnTo>
                      <a:lnTo>
                        <a:pt x="409911" y="299434"/>
                      </a:lnTo>
                      <a:lnTo>
                        <a:pt x="415948" y="304263"/>
                      </a:lnTo>
                      <a:lnTo>
                        <a:pt x="419570" y="303660"/>
                      </a:lnTo>
                      <a:lnTo>
                        <a:pt x="424399" y="306678"/>
                      </a:lnTo>
                      <a:lnTo>
                        <a:pt x="424399" y="311508"/>
                      </a:lnTo>
                      <a:lnTo>
                        <a:pt x="422588" y="315734"/>
                      </a:lnTo>
                      <a:lnTo>
                        <a:pt x="424399" y="321167"/>
                      </a:lnTo>
                      <a:lnTo>
                        <a:pt x="429229" y="322978"/>
                      </a:lnTo>
                      <a:lnTo>
                        <a:pt x="426814" y="328411"/>
                      </a:lnTo>
                      <a:lnTo>
                        <a:pt x="429832" y="331430"/>
                      </a:lnTo>
                      <a:lnTo>
                        <a:pt x="437077" y="328411"/>
                      </a:lnTo>
                      <a:lnTo>
                        <a:pt x="443717" y="333241"/>
                      </a:lnTo>
                      <a:lnTo>
                        <a:pt x="452773" y="343504"/>
                      </a:lnTo>
                      <a:lnTo>
                        <a:pt x="455791" y="345918"/>
                      </a:lnTo>
                      <a:lnTo>
                        <a:pt x="458206" y="344711"/>
                      </a:lnTo>
                      <a:lnTo>
                        <a:pt x="467262" y="346522"/>
                      </a:lnTo>
                      <a:lnTo>
                        <a:pt x="469073" y="342296"/>
                      </a:lnTo>
                      <a:lnTo>
                        <a:pt x="473299" y="350144"/>
                      </a:lnTo>
                      <a:lnTo>
                        <a:pt x="477525" y="350748"/>
                      </a:lnTo>
                      <a:lnTo>
                        <a:pt x="477525" y="357992"/>
                      </a:lnTo>
                      <a:lnTo>
                        <a:pt x="476317" y="362218"/>
                      </a:lnTo>
                      <a:lnTo>
                        <a:pt x="479939" y="368859"/>
                      </a:lnTo>
                      <a:lnTo>
                        <a:pt x="484165" y="367652"/>
                      </a:lnTo>
                      <a:lnTo>
                        <a:pt x="489598" y="368255"/>
                      </a:lnTo>
                      <a:lnTo>
                        <a:pt x="493221" y="366444"/>
                      </a:lnTo>
                      <a:lnTo>
                        <a:pt x="499861" y="367048"/>
                      </a:lnTo>
                      <a:lnTo>
                        <a:pt x="504691" y="361011"/>
                      </a:lnTo>
                      <a:lnTo>
                        <a:pt x="508917" y="363426"/>
                      </a:lnTo>
                      <a:lnTo>
                        <a:pt x="508313" y="371274"/>
                      </a:lnTo>
                      <a:lnTo>
                        <a:pt x="513746" y="370066"/>
                      </a:lnTo>
                      <a:lnTo>
                        <a:pt x="517369" y="366444"/>
                      </a:lnTo>
                      <a:lnTo>
                        <a:pt x="522802" y="366444"/>
                      </a:lnTo>
                      <a:lnTo>
                        <a:pt x="530046" y="370670"/>
                      </a:lnTo>
                      <a:lnTo>
                        <a:pt x="532461" y="370670"/>
                      </a:lnTo>
                      <a:lnTo>
                        <a:pt x="536687" y="366444"/>
                      </a:lnTo>
                      <a:lnTo>
                        <a:pt x="541516" y="363426"/>
                      </a:lnTo>
                      <a:lnTo>
                        <a:pt x="552383" y="361011"/>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13" name="Uttarakhand" descr="{&quot;Key&quot;:&quot;uttarakhand&quot;,&quot;Name&quot;:&quot;Uttarakhand&quot;,&quot;Value&quot;:1.0,&quot;Formula&quot;:&quot;&quot;,&quot;Text&quot;:&quot;&quot;,&quot;OfficeApplication&quot;:1,&quot;HasValue&quot;:true}">
                  <a:extLst>
                    <a:ext uri="{FF2B5EF4-FFF2-40B4-BE49-F238E27FC236}">
                      <a16:creationId xmlns:a16="http://schemas.microsoft.com/office/drawing/2014/main" id="{695C07E6-9367-428C-99C9-C6238FB1DA2B}"/>
                    </a:ext>
                  </a:extLst>
                </p:cNvPr>
                <p:cNvSpPr/>
                <p:nvPr/>
              </p:nvSpPr>
              <p:spPr>
                <a:xfrm>
                  <a:off x="5016589" y="1406011"/>
                  <a:ext cx="712363" cy="651993"/>
                </a:xfrm>
                <a:custGeom>
                  <a:avLst/>
                  <a:gdLst>
                    <a:gd name="connsiteX0" fmla="*/ 517368 w 712362"/>
                    <a:gd name="connsiteY0" fmla="*/ 629656 h 651992"/>
                    <a:gd name="connsiteX1" fmla="*/ 514350 w 712362"/>
                    <a:gd name="connsiteY1" fmla="*/ 628449 h 651992"/>
                    <a:gd name="connsiteX2" fmla="*/ 507709 w 712362"/>
                    <a:gd name="connsiteY2" fmla="*/ 636901 h 651992"/>
                    <a:gd name="connsiteX3" fmla="*/ 510728 w 712362"/>
                    <a:gd name="connsiteY3" fmla="*/ 641127 h 651992"/>
                    <a:gd name="connsiteX4" fmla="*/ 504691 w 712362"/>
                    <a:gd name="connsiteY4" fmla="*/ 651389 h 651992"/>
                    <a:gd name="connsiteX5" fmla="*/ 499861 w 712362"/>
                    <a:gd name="connsiteY5" fmla="*/ 656219 h 651992"/>
                    <a:gd name="connsiteX6" fmla="*/ 492617 w 712362"/>
                    <a:gd name="connsiteY6" fmla="*/ 656219 h 651992"/>
                    <a:gd name="connsiteX7" fmla="*/ 485976 w 712362"/>
                    <a:gd name="connsiteY7" fmla="*/ 652597 h 651992"/>
                    <a:gd name="connsiteX8" fmla="*/ 485373 w 712362"/>
                    <a:gd name="connsiteY8" fmla="*/ 648371 h 651992"/>
                    <a:gd name="connsiteX9" fmla="*/ 483561 w 712362"/>
                    <a:gd name="connsiteY9" fmla="*/ 645352 h 651992"/>
                    <a:gd name="connsiteX10" fmla="*/ 481147 w 712362"/>
                    <a:gd name="connsiteY10" fmla="*/ 642938 h 651992"/>
                    <a:gd name="connsiteX11" fmla="*/ 479939 w 712362"/>
                    <a:gd name="connsiteY11" fmla="*/ 641127 h 651992"/>
                    <a:gd name="connsiteX12" fmla="*/ 479336 w 712362"/>
                    <a:gd name="connsiteY12" fmla="*/ 640523 h 651992"/>
                    <a:gd name="connsiteX13" fmla="*/ 481750 w 712362"/>
                    <a:gd name="connsiteY13" fmla="*/ 636901 h 651992"/>
                    <a:gd name="connsiteX14" fmla="*/ 480543 w 712362"/>
                    <a:gd name="connsiteY14" fmla="*/ 636297 h 651992"/>
                    <a:gd name="connsiteX15" fmla="*/ 477524 w 712362"/>
                    <a:gd name="connsiteY15" fmla="*/ 637504 h 651992"/>
                    <a:gd name="connsiteX16" fmla="*/ 474506 w 712362"/>
                    <a:gd name="connsiteY16" fmla="*/ 637504 h 651992"/>
                    <a:gd name="connsiteX17" fmla="*/ 470280 w 712362"/>
                    <a:gd name="connsiteY17" fmla="*/ 635693 h 651992"/>
                    <a:gd name="connsiteX18" fmla="*/ 470280 w 712362"/>
                    <a:gd name="connsiteY18" fmla="*/ 632071 h 651992"/>
                    <a:gd name="connsiteX19" fmla="*/ 472091 w 712362"/>
                    <a:gd name="connsiteY19" fmla="*/ 632071 h 651992"/>
                    <a:gd name="connsiteX20" fmla="*/ 476317 w 712362"/>
                    <a:gd name="connsiteY20" fmla="*/ 632071 h 651992"/>
                    <a:gd name="connsiteX21" fmla="*/ 476317 w 712362"/>
                    <a:gd name="connsiteY21" fmla="*/ 629656 h 651992"/>
                    <a:gd name="connsiteX22" fmla="*/ 472091 w 712362"/>
                    <a:gd name="connsiteY22" fmla="*/ 627845 h 651992"/>
                    <a:gd name="connsiteX23" fmla="*/ 466054 w 712362"/>
                    <a:gd name="connsiteY23" fmla="*/ 626638 h 651992"/>
                    <a:gd name="connsiteX24" fmla="*/ 464243 w 712362"/>
                    <a:gd name="connsiteY24" fmla="*/ 632675 h 651992"/>
                    <a:gd name="connsiteX25" fmla="*/ 464243 w 712362"/>
                    <a:gd name="connsiteY25" fmla="*/ 633882 h 651992"/>
                    <a:gd name="connsiteX26" fmla="*/ 463036 w 712362"/>
                    <a:gd name="connsiteY26" fmla="*/ 634486 h 651992"/>
                    <a:gd name="connsiteX27" fmla="*/ 461828 w 712362"/>
                    <a:gd name="connsiteY27" fmla="*/ 635090 h 651992"/>
                    <a:gd name="connsiteX28" fmla="*/ 461828 w 712362"/>
                    <a:gd name="connsiteY28" fmla="*/ 635693 h 651992"/>
                    <a:gd name="connsiteX29" fmla="*/ 457602 w 712362"/>
                    <a:gd name="connsiteY29" fmla="*/ 635693 h 651992"/>
                    <a:gd name="connsiteX30" fmla="*/ 458810 w 712362"/>
                    <a:gd name="connsiteY30" fmla="*/ 632071 h 651992"/>
                    <a:gd name="connsiteX31" fmla="*/ 460017 w 712362"/>
                    <a:gd name="connsiteY31" fmla="*/ 633278 h 651992"/>
                    <a:gd name="connsiteX32" fmla="*/ 460621 w 712362"/>
                    <a:gd name="connsiteY32" fmla="*/ 632071 h 651992"/>
                    <a:gd name="connsiteX33" fmla="*/ 461225 w 712362"/>
                    <a:gd name="connsiteY33" fmla="*/ 629656 h 651992"/>
                    <a:gd name="connsiteX34" fmla="*/ 460621 w 712362"/>
                    <a:gd name="connsiteY34" fmla="*/ 628449 h 651992"/>
                    <a:gd name="connsiteX35" fmla="*/ 460017 w 712362"/>
                    <a:gd name="connsiteY35" fmla="*/ 626638 h 651992"/>
                    <a:gd name="connsiteX36" fmla="*/ 460621 w 712362"/>
                    <a:gd name="connsiteY36" fmla="*/ 624223 h 651992"/>
                    <a:gd name="connsiteX37" fmla="*/ 463036 w 712362"/>
                    <a:gd name="connsiteY37" fmla="*/ 623016 h 651992"/>
                    <a:gd name="connsiteX38" fmla="*/ 462432 w 712362"/>
                    <a:gd name="connsiteY38" fmla="*/ 622412 h 651992"/>
                    <a:gd name="connsiteX39" fmla="*/ 461828 w 712362"/>
                    <a:gd name="connsiteY39" fmla="*/ 620601 h 651992"/>
                    <a:gd name="connsiteX40" fmla="*/ 460017 w 712362"/>
                    <a:gd name="connsiteY40" fmla="*/ 620601 h 651992"/>
                    <a:gd name="connsiteX41" fmla="*/ 458810 w 712362"/>
                    <a:gd name="connsiteY41" fmla="*/ 618790 h 651992"/>
                    <a:gd name="connsiteX42" fmla="*/ 455791 w 712362"/>
                    <a:gd name="connsiteY42" fmla="*/ 615167 h 651992"/>
                    <a:gd name="connsiteX43" fmla="*/ 453376 w 712362"/>
                    <a:gd name="connsiteY43" fmla="*/ 615771 h 651992"/>
                    <a:gd name="connsiteX44" fmla="*/ 442510 w 712362"/>
                    <a:gd name="connsiteY44" fmla="*/ 618186 h 651992"/>
                    <a:gd name="connsiteX45" fmla="*/ 437680 w 712362"/>
                    <a:gd name="connsiteY45" fmla="*/ 621204 h 651992"/>
                    <a:gd name="connsiteX46" fmla="*/ 433455 w 712362"/>
                    <a:gd name="connsiteY46" fmla="*/ 625430 h 651992"/>
                    <a:gd name="connsiteX47" fmla="*/ 431040 w 712362"/>
                    <a:gd name="connsiteY47" fmla="*/ 625430 h 651992"/>
                    <a:gd name="connsiteX48" fmla="*/ 423795 w 712362"/>
                    <a:gd name="connsiteY48" fmla="*/ 621204 h 651992"/>
                    <a:gd name="connsiteX49" fmla="*/ 418362 w 712362"/>
                    <a:gd name="connsiteY49" fmla="*/ 621204 h 651992"/>
                    <a:gd name="connsiteX50" fmla="*/ 414740 w 712362"/>
                    <a:gd name="connsiteY50" fmla="*/ 624827 h 651992"/>
                    <a:gd name="connsiteX51" fmla="*/ 409307 w 712362"/>
                    <a:gd name="connsiteY51" fmla="*/ 626034 h 651992"/>
                    <a:gd name="connsiteX52" fmla="*/ 409910 w 712362"/>
                    <a:gd name="connsiteY52" fmla="*/ 618186 h 651992"/>
                    <a:gd name="connsiteX53" fmla="*/ 405684 w 712362"/>
                    <a:gd name="connsiteY53" fmla="*/ 615771 h 651992"/>
                    <a:gd name="connsiteX54" fmla="*/ 400855 w 712362"/>
                    <a:gd name="connsiteY54" fmla="*/ 621808 h 651992"/>
                    <a:gd name="connsiteX55" fmla="*/ 394214 w 712362"/>
                    <a:gd name="connsiteY55" fmla="*/ 621204 h 651992"/>
                    <a:gd name="connsiteX56" fmla="*/ 390592 w 712362"/>
                    <a:gd name="connsiteY56" fmla="*/ 623016 h 651992"/>
                    <a:gd name="connsiteX57" fmla="*/ 385159 w 712362"/>
                    <a:gd name="connsiteY57" fmla="*/ 622412 h 651992"/>
                    <a:gd name="connsiteX58" fmla="*/ 380933 w 712362"/>
                    <a:gd name="connsiteY58" fmla="*/ 623619 h 651992"/>
                    <a:gd name="connsiteX59" fmla="*/ 377311 w 712362"/>
                    <a:gd name="connsiteY59" fmla="*/ 616979 h 651992"/>
                    <a:gd name="connsiteX60" fmla="*/ 378518 w 712362"/>
                    <a:gd name="connsiteY60" fmla="*/ 612753 h 651992"/>
                    <a:gd name="connsiteX61" fmla="*/ 378518 w 712362"/>
                    <a:gd name="connsiteY61" fmla="*/ 605508 h 651992"/>
                    <a:gd name="connsiteX62" fmla="*/ 374292 w 712362"/>
                    <a:gd name="connsiteY62" fmla="*/ 604905 h 651992"/>
                    <a:gd name="connsiteX63" fmla="*/ 370066 w 712362"/>
                    <a:gd name="connsiteY63" fmla="*/ 597057 h 651992"/>
                    <a:gd name="connsiteX64" fmla="*/ 368255 w 712362"/>
                    <a:gd name="connsiteY64" fmla="*/ 601282 h 651992"/>
                    <a:gd name="connsiteX65" fmla="*/ 359200 w 712362"/>
                    <a:gd name="connsiteY65" fmla="*/ 599471 h 651992"/>
                    <a:gd name="connsiteX66" fmla="*/ 356785 w 712362"/>
                    <a:gd name="connsiteY66" fmla="*/ 600679 h 651992"/>
                    <a:gd name="connsiteX67" fmla="*/ 353766 w 712362"/>
                    <a:gd name="connsiteY67" fmla="*/ 598264 h 651992"/>
                    <a:gd name="connsiteX68" fmla="*/ 344711 w 712362"/>
                    <a:gd name="connsiteY68" fmla="*/ 588001 h 651992"/>
                    <a:gd name="connsiteX69" fmla="*/ 338070 w 712362"/>
                    <a:gd name="connsiteY69" fmla="*/ 583172 h 651992"/>
                    <a:gd name="connsiteX70" fmla="*/ 330826 w 712362"/>
                    <a:gd name="connsiteY70" fmla="*/ 586190 h 651992"/>
                    <a:gd name="connsiteX71" fmla="*/ 327808 w 712362"/>
                    <a:gd name="connsiteY71" fmla="*/ 583172 h 651992"/>
                    <a:gd name="connsiteX72" fmla="*/ 330222 w 712362"/>
                    <a:gd name="connsiteY72" fmla="*/ 577738 h 651992"/>
                    <a:gd name="connsiteX73" fmla="*/ 325393 w 712362"/>
                    <a:gd name="connsiteY73" fmla="*/ 575927 h 651992"/>
                    <a:gd name="connsiteX74" fmla="*/ 323582 w 712362"/>
                    <a:gd name="connsiteY74" fmla="*/ 570494 h 651992"/>
                    <a:gd name="connsiteX75" fmla="*/ 325393 w 712362"/>
                    <a:gd name="connsiteY75" fmla="*/ 566268 h 651992"/>
                    <a:gd name="connsiteX76" fmla="*/ 325393 w 712362"/>
                    <a:gd name="connsiteY76" fmla="*/ 561438 h 651992"/>
                    <a:gd name="connsiteX77" fmla="*/ 320563 w 712362"/>
                    <a:gd name="connsiteY77" fmla="*/ 558420 h 651992"/>
                    <a:gd name="connsiteX78" fmla="*/ 316941 w 712362"/>
                    <a:gd name="connsiteY78" fmla="*/ 559024 h 651992"/>
                    <a:gd name="connsiteX79" fmla="*/ 310904 w 712362"/>
                    <a:gd name="connsiteY79" fmla="*/ 554194 h 651992"/>
                    <a:gd name="connsiteX80" fmla="*/ 305471 w 712362"/>
                    <a:gd name="connsiteY80" fmla="*/ 553590 h 651992"/>
                    <a:gd name="connsiteX81" fmla="*/ 298830 w 712362"/>
                    <a:gd name="connsiteY81" fmla="*/ 554798 h 651992"/>
                    <a:gd name="connsiteX82" fmla="*/ 299434 w 712362"/>
                    <a:gd name="connsiteY82" fmla="*/ 562042 h 651992"/>
                    <a:gd name="connsiteX83" fmla="*/ 296415 w 712362"/>
                    <a:gd name="connsiteY83" fmla="*/ 562042 h 651992"/>
                    <a:gd name="connsiteX84" fmla="*/ 292793 w 712362"/>
                    <a:gd name="connsiteY84" fmla="*/ 557213 h 651992"/>
                    <a:gd name="connsiteX85" fmla="*/ 291586 w 712362"/>
                    <a:gd name="connsiteY85" fmla="*/ 553590 h 651992"/>
                    <a:gd name="connsiteX86" fmla="*/ 289171 w 712362"/>
                    <a:gd name="connsiteY86" fmla="*/ 550572 h 651992"/>
                    <a:gd name="connsiteX87" fmla="*/ 284341 w 712362"/>
                    <a:gd name="connsiteY87" fmla="*/ 554798 h 651992"/>
                    <a:gd name="connsiteX88" fmla="*/ 276493 w 712362"/>
                    <a:gd name="connsiteY88" fmla="*/ 551176 h 651992"/>
                    <a:gd name="connsiteX89" fmla="*/ 275286 w 712362"/>
                    <a:gd name="connsiteY89" fmla="*/ 542120 h 651992"/>
                    <a:gd name="connsiteX90" fmla="*/ 268042 w 712362"/>
                    <a:gd name="connsiteY90" fmla="*/ 530650 h 651992"/>
                    <a:gd name="connsiteX91" fmla="*/ 261401 w 712362"/>
                    <a:gd name="connsiteY91" fmla="*/ 528235 h 651992"/>
                    <a:gd name="connsiteX92" fmla="*/ 257779 w 712362"/>
                    <a:gd name="connsiteY92" fmla="*/ 530046 h 651992"/>
                    <a:gd name="connsiteX93" fmla="*/ 254760 w 712362"/>
                    <a:gd name="connsiteY93" fmla="*/ 528839 h 651992"/>
                    <a:gd name="connsiteX94" fmla="*/ 246308 w 712362"/>
                    <a:gd name="connsiteY94" fmla="*/ 522198 h 651992"/>
                    <a:gd name="connsiteX95" fmla="*/ 239668 w 712362"/>
                    <a:gd name="connsiteY95" fmla="*/ 516161 h 651992"/>
                    <a:gd name="connsiteX96" fmla="*/ 239668 w 712362"/>
                    <a:gd name="connsiteY96" fmla="*/ 511935 h 651992"/>
                    <a:gd name="connsiteX97" fmla="*/ 245705 w 712362"/>
                    <a:gd name="connsiteY97" fmla="*/ 507106 h 651992"/>
                    <a:gd name="connsiteX98" fmla="*/ 251742 w 712362"/>
                    <a:gd name="connsiteY98" fmla="*/ 508917 h 651992"/>
                    <a:gd name="connsiteX99" fmla="*/ 257779 w 712362"/>
                    <a:gd name="connsiteY99" fmla="*/ 502276 h 651992"/>
                    <a:gd name="connsiteX100" fmla="*/ 266230 w 712362"/>
                    <a:gd name="connsiteY100" fmla="*/ 498654 h 651992"/>
                    <a:gd name="connsiteX101" fmla="*/ 272871 w 712362"/>
                    <a:gd name="connsiteY101" fmla="*/ 493221 h 651992"/>
                    <a:gd name="connsiteX102" fmla="*/ 274682 w 712362"/>
                    <a:gd name="connsiteY102" fmla="*/ 489598 h 651992"/>
                    <a:gd name="connsiteX103" fmla="*/ 275286 w 712362"/>
                    <a:gd name="connsiteY103" fmla="*/ 482354 h 651992"/>
                    <a:gd name="connsiteX104" fmla="*/ 268042 w 712362"/>
                    <a:gd name="connsiteY104" fmla="*/ 481147 h 651992"/>
                    <a:gd name="connsiteX105" fmla="*/ 247516 w 712362"/>
                    <a:gd name="connsiteY105" fmla="*/ 475714 h 651992"/>
                    <a:gd name="connsiteX106" fmla="*/ 239668 w 712362"/>
                    <a:gd name="connsiteY106" fmla="*/ 469677 h 651992"/>
                    <a:gd name="connsiteX107" fmla="*/ 233027 w 712362"/>
                    <a:gd name="connsiteY107" fmla="*/ 469677 h 651992"/>
                    <a:gd name="connsiteX108" fmla="*/ 221557 w 712362"/>
                    <a:gd name="connsiteY108" fmla="*/ 460621 h 651992"/>
                    <a:gd name="connsiteX109" fmla="*/ 217935 w 712362"/>
                    <a:gd name="connsiteY109" fmla="*/ 459414 h 651992"/>
                    <a:gd name="connsiteX110" fmla="*/ 208879 w 712362"/>
                    <a:gd name="connsiteY110" fmla="*/ 452773 h 651992"/>
                    <a:gd name="connsiteX111" fmla="*/ 199220 w 712362"/>
                    <a:gd name="connsiteY111" fmla="*/ 442510 h 651992"/>
                    <a:gd name="connsiteX112" fmla="*/ 194994 w 712362"/>
                    <a:gd name="connsiteY112" fmla="*/ 435869 h 651992"/>
                    <a:gd name="connsiteX113" fmla="*/ 194390 w 712362"/>
                    <a:gd name="connsiteY113" fmla="*/ 426210 h 651992"/>
                    <a:gd name="connsiteX114" fmla="*/ 190165 w 712362"/>
                    <a:gd name="connsiteY114" fmla="*/ 414136 h 651992"/>
                    <a:gd name="connsiteX115" fmla="*/ 177487 w 712362"/>
                    <a:gd name="connsiteY115" fmla="*/ 409910 h 651992"/>
                    <a:gd name="connsiteX116" fmla="*/ 175072 w 712362"/>
                    <a:gd name="connsiteY116" fmla="*/ 406892 h 651992"/>
                    <a:gd name="connsiteX117" fmla="*/ 169639 w 712362"/>
                    <a:gd name="connsiteY117" fmla="*/ 406892 h 651992"/>
                    <a:gd name="connsiteX118" fmla="*/ 158169 w 712362"/>
                    <a:gd name="connsiteY118" fmla="*/ 401459 h 651992"/>
                    <a:gd name="connsiteX119" fmla="*/ 152132 w 712362"/>
                    <a:gd name="connsiteY119" fmla="*/ 410514 h 651992"/>
                    <a:gd name="connsiteX120" fmla="*/ 144284 w 712362"/>
                    <a:gd name="connsiteY120" fmla="*/ 417759 h 651992"/>
                    <a:gd name="connsiteX121" fmla="*/ 137643 w 712362"/>
                    <a:gd name="connsiteY121" fmla="*/ 423192 h 651992"/>
                    <a:gd name="connsiteX122" fmla="*/ 135228 w 712362"/>
                    <a:gd name="connsiteY122" fmla="*/ 420173 h 651992"/>
                    <a:gd name="connsiteX123" fmla="*/ 129795 w 712362"/>
                    <a:gd name="connsiteY123" fmla="*/ 421984 h 651992"/>
                    <a:gd name="connsiteX124" fmla="*/ 127380 w 712362"/>
                    <a:gd name="connsiteY124" fmla="*/ 426210 h 651992"/>
                    <a:gd name="connsiteX125" fmla="*/ 123758 w 712362"/>
                    <a:gd name="connsiteY125" fmla="*/ 429229 h 651992"/>
                    <a:gd name="connsiteX126" fmla="*/ 118325 w 712362"/>
                    <a:gd name="connsiteY126" fmla="*/ 429832 h 651992"/>
                    <a:gd name="connsiteX127" fmla="*/ 117721 w 712362"/>
                    <a:gd name="connsiteY127" fmla="*/ 434058 h 651992"/>
                    <a:gd name="connsiteX128" fmla="*/ 111684 w 712362"/>
                    <a:gd name="connsiteY128" fmla="*/ 440095 h 651992"/>
                    <a:gd name="connsiteX129" fmla="*/ 108665 w 712362"/>
                    <a:gd name="connsiteY129" fmla="*/ 441906 h 651992"/>
                    <a:gd name="connsiteX130" fmla="*/ 106251 w 712362"/>
                    <a:gd name="connsiteY130" fmla="*/ 447943 h 651992"/>
                    <a:gd name="connsiteX131" fmla="*/ 102025 w 712362"/>
                    <a:gd name="connsiteY131" fmla="*/ 447340 h 651992"/>
                    <a:gd name="connsiteX132" fmla="*/ 99006 w 712362"/>
                    <a:gd name="connsiteY132" fmla="*/ 449754 h 651992"/>
                    <a:gd name="connsiteX133" fmla="*/ 98403 w 712362"/>
                    <a:gd name="connsiteY133" fmla="*/ 454584 h 651992"/>
                    <a:gd name="connsiteX134" fmla="*/ 96592 w 712362"/>
                    <a:gd name="connsiteY134" fmla="*/ 459414 h 651992"/>
                    <a:gd name="connsiteX135" fmla="*/ 90555 w 712362"/>
                    <a:gd name="connsiteY135" fmla="*/ 458206 h 651992"/>
                    <a:gd name="connsiteX136" fmla="*/ 85725 w 712362"/>
                    <a:gd name="connsiteY136" fmla="*/ 458810 h 651992"/>
                    <a:gd name="connsiteX137" fmla="*/ 86932 w 712362"/>
                    <a:gd name="connsiteY137" fmla="*/ 451566 h 651992"/>
                    <a:gd name="connsiteX138" fmla="*/ 79084 w 712362"/>
                    <a:gd name="connsiteY138" fmla="*/ 450358 h 651992"/>
                    <a:gd name="connsiteX139" fmla="*/ 80292 w 712362"/>
                    <a:gd name="connsiteY139" fmla="*/ 447340 h 651992"/>
                    <a:gd name="connsiteX140" fmla="*/ 85121 w 712362"/>
                    <a:gd name="connsiteY140" fmla="*/ 444925 h 651992"/>
                    <a:gd name="connsiteX141" fmla="*/ 85121 w 712362"/>
                    <a:gd name="connsiteY141" fmla="*/ 438284 h 651992"/>
                    <a:gd name="connsiteX142" fmla="*/ 82103 w 712362"/>
                    <a:gd name="connsiteY142" fmla="*/ 431040 h 651992"/>
                    <a:gd name="connsiteX143" fmla="*/ 78481 w 712362"/>
                    <a:gd name="connsiteY143" fmla="*/ 427418 h 651992"/>
                    <a:gd name="connsiteX144" fmla="*/ 77877 w 712362"/>
                    <a:gd name="connsiteY144" fmla="*/ 420777 h 651992"/>
                    <a:gd name="connsiteX145" fmla="*/ 72444 w 712362"/>
                    <a:gd name="connsiteY145" fmla="*/ 421381 h 651992"/>
                    <a:gd name="connsiteX146" fmla="*/ 69425 w 712362"/>
                    <a:gd name="connsiteY146" fmla="*/ 425003 h 651992"/>
                    <a:gd name="connsiteX147" fmla="*/ 63992 w 712362"/>
                    <a:gd name="connsiteY147" fmla="*/ 423796 h 651992"/>
                    <a:gd name="connsiteX148" fmla="*/ 55540 w 712362"/>
                    <a:gd name="connsiteY148" fmla="*/ 431040 h 651992"/>
                    <a:gd name="connsiteX149" fmla="*/ 53125 w 712362"/>
                    <a:gd name="connsiteY149" fmla="*/ 431644 h 651992"/>
                    <a:gd name="connsiteX150" fmla="*/ 47088 w 712362"/>
                    <a:gd name="connsiteY150" fmla="*/ 428625 h 651992"/>
                    <a:gd name="connsiteX151" fmla="*/ 48296 w 712362"/>
                    <a:gd name="connsiteY151" fmla="*/ 425003 h 651992"/>
                    <a:gd name="connsiteX152" fmla="*/ 39844 w 712362"/>
                    <a:gd name="connsiteY152" fmla="*/ 420777 h 651992"/>
                    <a:gd name="connsiteX153" fmla="*/ 42259 w 712362"/>
                    <a:gd name="connsiteY153" fmla="*/ 415947 h 651992"/>
                    <a:gd name="connsiteX154" fmla="*/ 40448 w 712362"/>
                    <a:gd name="connsiteY154" fmla="*/ 414136 h 651992"/>
                    <a:gd name="connsiteX155" fmla="*/ 41051 w 712362"/>
                    <a:gd name="connsiteY155" fmla="*/ 403873 h 651992"/>
                    <a:gd name="connsiteX156" fmla="*/ 36825 w 712362"/>
                    <a:gd name="connsiteY156" fmla="*/ 398440 h 651992"/>
                    <a:gd name="connsiteX157" fmla="*/ 34411 w 712362"/>
                    <a:gd name="connsiteY157" fmla="*/ 388177 h 651992"/>
                    <a:gd name="connsiteX158" fmla="*/ 28374 w 712362"/>
                    <a:gd name="connsiteY158" fmla="*/ 384555 h 651992"/>
                    <a:gd name="connsiteX159" fmla="*/ 31996 w 712362"/>
                    <a:gd name="connsiteY159" fmla="*/ 376103 h 651992"/>
                    <a:gd name="connsiteX160" fmla="*/ 35014 w 712362"/>
                    <a:gd name="connsiteY160" fmla="*/ 373689 h 651992"/>
                    <a:gd name="connsiteX161" fmla="*/ 31392 w 712362"/>
                    <a:gd name="connsiteY161" fmla="*/ 368255 h 651992"/>
                    <a:gd name="connsiteX162" fmla="*/ 36222 w 712362"/>
                    <a:gd name="connsiteY162" fmla="*/ 362822 h 651992"/>
                    <a:gd name="connsiteX163" fmla="*/ 36222 w 712362"/>
                    <a:gd name="connsiteY163" fmla="*/ 354370 h 651992"/>
                    <a:gd name="connsiteX164" fmla="*/ 39240 w 712362"/>
                    <a:gd name="connsiteY164" fmla="*/ 348937 h 651992"/>
                    <a:gd name="connsiteX165" fmla="*/ 43466 w 712362"/>
                    <a:gd name="connsiteY165" fmla="*/ 345315 h 651992"/>
                    <a:gd name="connsiteX166" fmla="*/ 39844 w 712362"/>
                    <a:gd name="connsiteY166" fmla="*/ 341693 h 651992"/>
                    <a:gd name="connsiteX167" fmla="*/ 45881 w 712362"/>
                    <a:gd name="connsiteY167" fmla="*/ 329015 h 651992"/>
                    <a:gd name="connsiteX168" fmla="*/ 50107 w 712362"/>
                    <a:gd name="connsiteY168" fmla="*/ 331430 h 651992"/>
                    <a:gd name="connsiteX169" fmla="*/ 52522 w 712362"/>
                    <a:gd name="connsiteY169" fmla="*/ 330826 h 651992"/>
                    <a:gd name="connsiteX170" fmla="*/ 59766 w 712362"/>
                    <a:gd name="connsiteY170" fmla="*/ 321167 h 651992"/>
                    <a:gd name="connsiteX171" fmla="*/ 63388 w 712362"/>
                    <a:gd name="connsiteY171" fmla="*/ 313923 h 651992"/>
                    <a:gd name="connsiteX172" fmla="*/ 68218 w 712362"/>
                    <a:gd name="connsiteY172" fmla="*/ 308489 h 651992"/>
                    <a:gd name="connsiteX173" fmla="*/ 70029 w 712362"/>
                    <a:gd name="connsiteY173" fmla="*/ 301849 h 651992"/>
                    <a:gd name="connsiteX174" fmla="*/ 75462 w 712362"/>
                    <a:gd name="connsiteY174" fmla="*/ 295812 h 651992"/>
                    <a:gd name="connsiteX175" fmla="*/ 72444 w 712362"/>
                    <a:gd name="connsiteY175" fmla="*/ 291586 h 651992"/>
                    <a:gd name="connsiteX176" fmla="*/ 63388 w 712362"/>
                    <a:gd name="connsiteY176" fmla="*/ 287360 h 651992"/>
                    <a:gd name="connsiteX177" fmla="*/ 62181 w 712362"/>
                    <a:gd name="connsiteY177" fmla="*/ 288567 h 651992"/>
                    <a:gd name="connsiteX178" fmla="*/ 51314 w 712362"/>
                    <a:gd name="connsiteY178" fmla="*/ 283738 h 651992"/>
                    <a:gd name="connsiteX179" fmla="*/ 38637 w 712362"/>
                    <a:gd name="connsiteY179" fmla="*/ 275286 h 651992"/>
                    <a:gd name="connsiteX180" fmla="*/ 30185 w 712362"/>
                    <a:gd name="connsiteY180" fmla="*/ 272267 h 651992"/>
                    <a:gd name="connsiteX181" fmla="*/ 27770 w 712362"/>
                    <a:gd name="connsiteY181" fmla="*/ 269249 h 651992"/>
                    <a:gd name="connsiteX182" fmla="*/ 22337 w 712362"/>
                    <a:gd name="connsiteY182" fmla="*/ 261401 h 651992"/>
                    <a:gd name="connsiteX183" fmla="*/ 20526 w 712362"/>
                    <a:gd name="connsiteY183" fmla="*/ 261401 h 651992"/>
                    <a:gd name="connsiteX184" fmla="*/ 14489 w 712362"/>
                    <a:gd name="connsiteY184" fmla="*/ 255364 h 651992"/>
                    <a:gd name="connsiteX185" fmla="*/ 9055 w 712362"/>
                    <a:gd name="connsiteY185" fmla="*/ 254760 h 651992"/>
                    <a:gd name="connsiteX186" fmla="*/ 0 w 712362"/>
                    <a:gd name="connsiteY186" fmla="*/ 256571 h 651992"/>
                    <a:gd name="connsiteX187" fmla="*/ 0 w 712362"/>
                    <a:gd name="connsiteY187" fmla="*/ 253553 h 651992"/>
                    <a:gd name="connsiteX188" fmla="*/ 3622 w 712362"/>
                    <a:gd name="connsiteY188" fmla="*/ 250534 h 651992"/>
                    <a:gd name="connsiteX189" fmla="*/ 7848 w 712362"/>
                    <a:gd name="connsiteY189" fmla="*/ 248723 h 651992"/>
                    <a:gd name="connsiteX190" fmla="*/ 13885 w 712362"/>
                    <a:gd name="connsiteY190" fmla="*/ 248723 h 651992"/>
                    <a:gd name="connsiteX191" fmla="*/ 15696 w 712362"/>
                    <a:gd name="connsiteY191" fmla="*/ 245101 h 651992"/>
                    <a:gd name="connsiteX192" fmla="*/ 19922 w 712362"/>
                    <a:gd name="connsiteY192" fmla="*/ 245705 h 651992"/>
                    <a:gd name="connsiteX193" fmla="*/ 30185 w 712362"/>
                    <a:gd name="connsiteY193" fmla="*/ 239064 h 651992"/>
                    <a:gd name="connsiteX194" fmla="*/ 32600 w 712362"/>
                    <a:gd name="connsiteY194" fmla="*/ 239064 h 651992"/>
                    <a:gd name="connsiteX195" fmla="*/ 41655 w 712362"/>
                    <a:gd name="connsiteY195" fmla="*/ 232423 h 651992"/>
                    <a:gd name="connsiteX196" fmla="*/ 48296 w 712362"/>
                    <a:gd name="connsiteY196" fmla="*/ 230612 h 651992"/>
                    <a:gd name="connsiteX197" fmla="*/ 51314 w 712362"/>
                    <a:gd name="connsiteY197" fmla="*/ 224575 h 651992"/>
                    <a:gd name="connsiteX198" fmla="*/ 49503 w 712362"/>
                    <a:gd name="connsiteY198" fmla="*/ 219142 h 651992"/>
                    <a:gd name="connsiteX199" fmla="*/ 44070 w 712362"/>
                    <a:gd name="connsiteY199" fmla="*/ 219746 h 651992"/>
                    <a:gd name="connsiteX200" fmla="*/ 39240 w 712362"/>
                    <a:gd name="connsiteY200" fmla="*/ 216727 h 651992"/>
                    <a:gd name="connsiteX201" fmla="*/ 34411 w 712362"/>
                    <a:gd name="connsiteY201" fmla="*/ 207672 h 651992"/>
                    <a:gd name="connsiteX202" fmla="*/ 39844 w 712362"/>
                    <a:gd name="connsiteY202" fmla="*/ 208276 h 651992"/>
                    <a:gd name="connsiteX203" fmla="*/ 39844 w 712362"/>
                    <a:gd name="connsiteY203" fmla="*/ 204653 h 651992"/>
                    <a:gd name="connsiteX204" fmla="*/ 43466 w 712362"/>
                    <a:gd name="connsiteY204" fmla="*/ 199824 h 651992"/>
                    <a:gd name="connsiteX205" fmla="*/ 41655 w 712362"/>
                    <a:gd name="connsiteY205" fmla="*/ 193787 h 651992"/>
                    <a:gd name="connsiteX206" fmla="*/ 35014 w 712362"/>
                    <a:gd name="connsiteY206" fmla="*/ 188957 h 651992"/>
                    <a:gd name="connsiteX207" fmla="*/ 36222 w 712362"/>
                    <a:gd name="connsiteY207" fmla="*/ 182920 h 651992"/>
                    <a:gd name="connsiteX208" fmla="*/ 29581 w 712362"/>
                    <a:gd name="connsiteY208" fmla="*/ 175072 h 651992"/>
                    <a:gd name="connsiteX209" fmla="*/ 26563 w 712362"/>
                    <a:gd name="connsiteY209" fmla="*/ 174468 h 651992"/>
                    <a:gd name="connsiteX210" fmla="*/ 25355 w 712362"/>
                    <a:gd name="connsiteY210" fmla="*/ 169035 h 651992"/>
                    <a:gd name="connsiteX211" fmla="*/ 28977 w 712362"/>
                    <a:gd name="connsiteY211" fmla="*/ 166620 h 651992"/>
                    <a:gd name="connsiteX212" fmla="*/ 31996 w 712362"/>
                    <a:gd name="connsiteY212" fmla="*/ 159980 h 651992"/>
                    <a:gd name="connsiteX213" fmla="*/ 36825 w 712362"/>
                    <a:gd name="connsiteY213" fmla="*/ 152736 h 651992"/>
                    <a:gd name="connsiteX214" fmla="*/ 34411 w 712362"/>
                    <a:gd name="connsiteY214" fmla="*/ 149717 h 651992"/>
                    <a:gd name="connsiteX215" fmla="*/ 37429 w 712362"/>
                    <a:gd name="connsiteY215" fmla="*/ 142473 h 651992"/>
                    <a:gd name="connsiteX216" fmla="*/ 39844 w 712362"/>
                    <a:gd name="connsiteY216" fmla="*/ 142473 h 651992"/>
                    <a:gd name="connsiteX217" fmla="*/ 41655 w 712362"/>
                    <a:gd name="connsiteY217" fmla="*/ 146095 h 651992"/>
                    <a:gd name="connsiteX218" fmla="*/ 45277 w 712362"/>
                    <a:gd name="connsiteY218" fmla="*/ 144284 h 651992"/>
                    <a:gd name="connsiteX219" fmla="*/ 45881 w 712362"/>
                    <a:gd name="connsiteY219" fmla="*/ 138850 h 651992"/>
                    <a:gd name="connsiteX220" fmla="*/ 48899 w 712362"/>
                    <a:gd name="connsiteY220" fmla="*/ 134624 h 651992"/>
                    <a:gd name="connsiteX221" fmla="*/ 47088 w 712362"/>
                    <a:gd name="connsiteY221" fmla="*/ 131606 h 651992"/>
                    <a:gd name="connsiteX222" fmla="*/ 41655 w 712362"/>
                    <a:gd name="connsiteY222" fmla="*/ 132813 h 651992"/>
                    <a:gd name="connsiteX223" fmla="*/ 37429 w 712362"/>
                    <a:gd name="connsiteY223" fmla="*/ 132210 h 651992"/>
                    <a:gd name="connsiteX224" fmla="*/ 37429 w 712362"/>
                    <a:gd name="connsiteY224" fmla="*/ 129795 h 651992"/>
                    <a:gd name="connsiteX225" fmla="*/ 35014 w 712362"/>
                    <a:gd name="connsiteY225" fmla="*/ 125569 h 651992"/>
                    <a:gd name="connsiteX226" fmla="*/ 35618 w 712362"/>
                    <a:gd name="connsiteY226" fmla="*/ 122551 h 651992"/>
                    <a:gd name="connsiteX227" fmla="*/ 39240 w 712362"/>
                    <a:gd name="connsiteY227" fmla="*/ 118928 h 651992"/>
                    <a:gd name="connsiteX228" fmla="*/ 47692 w 712362"/>
                    <a:gd name="connsiteY228" fmla="*/ 120739 h 651992"/>
                    <a:gd name="connsiteX229" fmla="*/ 50107 w 712362"/>
                    <a:gd name="connsiteY229" fmla="*/ 115306 h 651992"/>
                    <a:gd name="connsiteX230" fmla="*/ 53729 w 712362"/>
                    <a:gd name="connsiteY230" fmla="*/ 112288 h 651992"/>
                    <a:gd name="connsiteX231" fmla="*/ 49503 w 712362"/>
                    <a:gd name="connsiteY231" fmla="*/ 100818 h 651992"/>
                    <a:gd name="connsiteX232" fmla="*/ 53729 w 712362"/>
                    <a:gd name="connsiteY232" fmla="*/ 95988 h 651992"/>
                    <a:gd name="connsiteX233" fmla="*/ 57351 w 712362"/>
                    <a:gd name="connsiteY233" fmla="*/ 94177 h 651992"/>
                    <a:gd name="connsiteX234" fmla="*/ 59162 w 712362"/>
                    <a:gd name="connsiteY234" fmla="*/ 86932 h 651992"/>
                    <a:gd name="connsiteX235" fmla="*/ 64595 w 712362"/>
                    <a:gd name="connsiteY235" fmla="*/ 83914 h 651992"/>
                    <a:gd name="connsiteX236" fmla="*/ 65199 w 712362"/>
                    <a:gd name="connsiteY236" fmla="*/ 80292 h 651992"/>
                    <a:gd name="connsiteX237" fmla="*/ 69425 w 712362"/>
                    <a:gd name="connsiteY237" fmla="*/ 75462 h 651992"/>
                    <a:gd name="connsiteX238" fmla="*/ 72444 w 712362"/>
                    <a:gd name="connsiteY238" fmla="*/ 76066 h 651992"/>
                    <a:gd name="connsiteX239" fmla="*/ 80292 w 712362"/>
                    <a:gd name="connsiteY239" fmla="*/ 70633 h 651992"/>
                    <a:gd name="connsiteX240" fmla="*/ 83310 w 712362"/>
                    <a:gd name="connsiteY240" fmla="*/ 73651 h 651992"/>
                    <a:gd name="connsiteX241" fmla="*/ 88140 w 712362"/>
                    <a:gd name="connsiteY241" fmla="*/ 73651 h 651992"/>
                    <a:gd name="connsiteX242" fmla="*/ 91158 w 712362"/>
                    <a:gd name="connsiteY242" fmla="*/ 76066 h 651992"/>
                    <a:gd name="connsiteX243" fmla="*/ 95988 w 712362"/>
                    <a:gd name="connsiteY243" fmla="*/ 68822 h 651992"/>
                    <a:gd name="connsiteX244" fmla="*/ 100817 w 712362"/>
                    <a:gd name="connsiteY244" fmla="*/ 67010 h 651992"/>
                    <a:gd name="connsiteX245" fmla="*/ 108665 w 712362"/>
                    <a:gd name="connsiteY245" fmla="*/ 67010 h 651992"/>
                    <a:gd name="connsiteX246" fmla="*/ 114099 w 712362"/>
                    <a:gd name="connsiteY246" fmla="*/ 62181 h 651992"/>
                    <a:gd name="connsiteX247" fmla="*/ 117721 w 712362"/>
                    <a:gd name="connsiteY247" fmla="*/ 61577 h 651992"/>
                    <a:gd name="connsiteX248" fmla="*/ 120136 w 712362"/>
                    <a:gd name="connsiteY248" fmla="*/ 57955 h 651992"/>
                    <a:gd name="connsiteX249" fmla="*/ 124965 w 712362"/>
                    <a:gd name="connsiteY249" fmla="*/ 57955 h 651992"/>
                    <a:gd name="connsiteX250" fmla="*/ 127984 w 712362"/>
                    <a:gd name="connsiteY250" fmla="*/ 59766 h 651992"/>
                    <a:gd name="connsiteX251" fmla="*/ 132210 w 712362"/>
                    <a:gd name="connsiteY251" fmla="*/ 56748 h 651992"/>
                    <a:gd name="connsiteX252" fmla="*/ 137643 w 712362"/>
                    <a:gd name="connsiteY252" fmla="*/ 57351 h 651992"/>
                    <a:gd name="connsiteX253" fmla="*/ 145491 w 712362"/>
                    <a:gd name="connsiteY253" fmla="*/ 48296 h 651992"/>
                    <a:gd name="connsiteX254" fmla="*/ 150321 w 712362"/>
                    <a:gd name="connsiteY254" fmla="*/ 49503 h 651992"/>
                    <a:gd name="connsiteX255" fmla="*/ 151528 w 712362"/>
                    <a:gd name="connsiteY255" fmla="*/ 44070 h 651992"/>
                    <a:gd name="connsiteX256" fmla="*/ 155150 w 712362"/>
                    <a:gd name="connsiteY256" fmla="*/ 45277 h 651992"/>
                    <a:gd name="connsiteX257" fmla="*/ 162998 w 712362"/>
                    <a:gd name="connsiteY257" fmla="*/ 43466 h 651992"/>
                    <a:gd name="connsiteX258" fmla="*/ 166017 w 712362"/>
                    <a:gd name="connsiteY258" fmla="*/ 44070 h 651992"/>
                    <a:gd name="connsiteX259" fmla="*/ 170846 w 712362"/>
                    <a:gd name="connsiteY259" fmla="*/ 50711 h 651992"/>
                    <a:gd name="connsiteX260" fmla="*/ 172054 w 712362"/>
                    <a:gd name="connsiteY260" fmla="*/ 53729 h 651992"/>
                    <a:gd name="connsiteX261" fmla="*/ 176279 w 712362"/>
                    <a:gd name="connsiteY261" fmla="*/ 51314 h 651992"/>
                    <a:gd name="connsiteX262" fmla="*/ 181109 w 712362"/>
                    <a:gd name="connsiteY262" fmla="*/ 54936 h 651992"/>
                    <a:gd name="connsiteX263" fmla="*/ 185939 w 712362"/>
                    <a:gd name="connsiteY263" fmla="*/ 60370 h 651992"/>
                    <a:gd name="connsiteX264" fmla="*/ 186542 w 712362"/>
                    <a:gd name="connsiteY264" fmla="*/ 64596 h 651992"/>
                    <a:gd name="connsiteX265" fmla="*/ 200427 w 712362"/>
                    <a:gd name="connsiteY265" fmla="*/ 63992 h 651992"/>
                    <a:gd name="connsiteX266" fmla="*/ 206464 w 712362"/>
                    <a:gd name="connsiteY266" fmla="*/ 57351 h 651992"/>
                    <a:gd name="connsiteX267" fmla="*/ 213709 w 712362"/>
                    <a:gd name="connsiteY267" fmla="*/ 56748 h 651992"/>
                    <a:gd name="connsiteX268" fmla="*/ 220953 w 712362"/>
                    <a:gd name="connsiteY268" fmla="*/ 60973 h 651992"/>
                    <a:gd name="connsiteX269" fmla="*/ 223972 w 712362"/>
                    <a:gd name="connsiteY269" fmla="*/ 65803 h 651992"/>
                    <a:gd name="connsiteX270" fmla="*/ 229405 w 712362"/>
                    <a:gd name="connsiteY270" fmla="*/ 64596 h 651992"/>
                    <a:gd name="connsiteX271" fmla="*/ 233027 w 712362"/>
                    <a:gd name="connsiteY271" fmla="*/ 66407 h 651992"/>
                    <a:gd name="connsiteX272" fmla="*/ 244497 w 712362"/>
                    <a:gd name="connsiteY272" fmla="*/ 67010 h 651992"/>
                    <a:gd name="connsiteX273" fmla="*/ 253553 w 712362"/>
                    <a:gd name="connsiteY273" fmla="*/ 63992 h 651992"/>
                    <a:gd name="connsiteX274" fmla="*/ 255364 w 712362"/>
                    <a:gd name="connsiteY274" fmla="*/ 65803 h 651992"/>
                    <a:gd name="connsiteX275" fmla="*/ 254760 w 712362"/>
                    <a:gd name="connsiteY275" fmla="*/ 70633 h 651992"/>
                    <a:gd name="connsiteX276" fmla="*/ 258382 w 712362"/>
                    <a:gd name="connsiteY276" fmla="*/ 78481 h 651992"/>
                    <a:gd name="connsiteX277" fmla="*/ 267438 w 712362"/>
                    <a:gd name="connsiteY277" fmla="*/ 86329 h 651992"/>
                    <a:gd name="connsiteX278" fmla="*/ 271060 w 712362"/>
                    <a:gd name="connsiteY278" fmla="*/ 88744 h 651992"/>
                    <a:gd name="connsiteX279" fmla="*/ 275890 w 712362"/>
                    <a:gd name="connsiteY279" fmla="*/ 85725 h 651992"/>
                    <a:gd name="connsiteX280" fmla="*/ 284341 w 712362"/>
                    <a:gd name="connsiteY280" fmla="*/ 88140 h 651992"/>
                    <a:gd name="connsiteX281" fmla="*/ 289171 w 712362"/>
                    <a:gd name="connsiteY281" fmla="*/ 85725 h 651992"/>
                    <a:gd name="connsiteX282" fmla="*/ 295208 w 712362"/>
                    <a:gd name="connsiteY282" fmla="*/ 85121 h 651992"/>
                    <a:gd name="connsiteX283" fmla="*/ 291586 w 712362"/>
                    <a:gd name="connsiteY283" fmla="*/ 78481 h 651992"/>
                    <a:gd name="connsiteX284" fmla="*/ 290378 w 712362"/>
                    <a:gd name="connsiteY284" fmla="*/ 70029 h 651992"/>
                    <a:gd name="connsiteX285" fmla="*/ 284945 w 712362"/>
                    <a:gd name="connsiteY285" fmla="*/ 67010 h 651992"/>
                    <a:gd name="connsiteX286" fmla="*/ 282530 w 712362"/>
                    <a:gd name="connsiteY286" fmla="*/ 63992 h 651992"/>
                    <a:gd name="connsiteX287" fmla="*/ 282530 w 712362"/>
                    <a:gd name="connsiteY287" fmla="*/ 60370 h 651992"/>
                    <a:gd name="connsiteX288" fmla="*/ 277701 w 712362"/>
                    <a:gd name="connsiteY288" fmla="*/ 57351 h 651992"/>
                    <a:gd name="connsiteX289" fmla="*/ 277097 w 712362"/>
                    <a:gd name="connsiteY289" fmla="*/ 51314 h 651992"/>
                    <a:gd name="connsiteX290" fmla="*/ 278908 w 712362"/>
                    <a:gd name="connsiteY290" fmla="*/ 49503 h 651992"/>
                    <a:gd name="connsiteX291" fmla="*/ 278908 w 712362"/>
                    <a:gd name="connsiteY291" fmla="*/ 44674 h 651992"/>
                    <a:gd name="connsiteX292" fmla="*/ 280115 w 712362"/>
                    <a:gd name="connsiteY292" fmla="*/ 41051 h 651992"/>
                    <a:gd name="connsiteX293" fmla="*/ 280115 w 712362"/>
                    <a:gd name="connsiteY293" fmla="*/ 35014 h 651992"/>
                    <a:gd name="connsiteX294" fmla="*/ 281323 w 712362"/>
                    <a:gd name="connsiteY294" fmla="*/ 31996 h 651992"/>
                    <a:gd name="connsiteX295" fmla="*/ 292189 w 712362"/>
                    <a:gd name="connsiteY295" fmla="*/ 27770 h 651992"/>
                    <a:gd name="connsiteX296" fmla="*/ 294604 w 712362"/>
                    <a:gd name="connsiteY296" fmla="*/ 25355 h 651992"/>
                    <a:gd name="connsiteX297" fmla="*/ 297623 w 712362"/>
                    <a:gd name="connsiteY297" fmla="*/ 16904 h 651992"/>
                    <a:gd name="connsiteX298" fmla="*/ 303056 w 712362"/>
                    <a:gd name="connsiteY298" fmla="*/ 10263 h 651992"/>
                    <a:gd name="connsiteX299" fmla="*/ 303660 w 712362"/>
                    <a:gd name="connsiteY299" fmla="*/ 3622 h 651992"/>
                    <a:gd name="connsiteX300" fmla="*/ 307886 w 712362"/>
                    <a:gd name="connsiteY300" fmla="*/ 0 h 651992"/>
                    <a:gd name="connsiteX301" fmla="*/ 311508 w 712362"/>
                    <a:gd name="connsiteY301" fmla="*/ 3018 h 651992"/>
                    <a:gd name="connsiteX302" fmla="*/ 322374 w 712362"/>
                    <a:gd name="connsiteY302" fmla="*/ 7848 h 651992"/>
                    <a:gd name="connsiteX303" fmla="*/ 326600 w 712362"/>
                    <a:gd name="connsiteY303" fmla="*/ 14489 h 651992"/>
                    <a:gd name="connsiteX304" fmla="*/ 329619 w 712362"/>
                    <a:gd name="connsiteY304" fmla="*/ 17507 h 651992"/>
                    <a:gd name="connsiteX305" fmla="*/ 332637 w 712362"/>
                    <a:gd name="connsiteY305" fmla="*/ 24148 h 651992"/>
                    <a:gd name="connsiteX306" fmla="*/ 336863 w 712362"/>
                    <a:gd name="connsiteY306" fmla="*/ 28977 h 651992"/>
                    <a:gd name="connsiteX307" fmla="*/ 341692 w 712362"/>
                    <a:gd name="connsiteY307" fmla="*/ 32600 h 651992"/>
                    <a:gd name="connsiteX308" fmla="*/ 341692 w 712362"/>
                    <a:gd name="connsiteY308" fmla="*/ 36222 h 651992"/>
                    <a:gd name="connsiteX309" fmla="*/ 347126 w 712362"/>
                    <a:gd name="connsiteY309" fmla="*/ 42259 h 651992"/>
                    <a:gd name="connsiteX310" fmla="*/ 344107 w 712362"/>
                    <a:gd name="connsiteY310" fmla="*/ 48900 h 651992"/>
                    <a:gd name="connsiteX311" fmla="*/ 344107 w 712362"/>
                    <a:gd name="connsiteY311" fmla="*/ 52522 h 651992"/>
                    <a:gd name="connsiteX312" fmla="*/ 350144 w 712362"/>
                    <a:gd name="connsiteY312" fmla="*/ 54333 h 651992"/>
                    <a:gd name="connsiteX313" fmla="*/ 355578 w 712362"/>
                    <a:gd name="connsiteY313" fmla="*/ 66407 h 651992"/>
                    <a:gd name="connsiteX314" fmla="*/ 354370 w 712362"/>
                    <a:gd name="connsiteY314" fmla="*/ 70029 h 651992"/>
                    <a:gd name="connsiteX315" fmla="*/ 357992 w 712362"/>
                    <a:gd name="connsiteY315" fmla="*/ 77877 h 651992"/>
                    <a:gd name="connsiteX316" fmla="*/ 362822 w 712362"/>
                    <a:gd name="connsiteY316" fmla="*/ 82707 h 651992"/>
                    <a:gd name="connsiteX317" fmla="*/ 374896 w 712362"/>
                    <a:gd name="connsiteY317" fmla="*/ 85121 h 651992"/>
                    <a:gd name="connsiteX318" fmla="*/ 376707 w 712362"/>
                    <a:gd name="connsiteY318" fmla="*/ 93573 h 651992"/>
                    <a:gd name="connsiteX319" fmla="*/ 379726 w 712362"/>
                    <a:gd name="connsiteY319" fmla="*/ 95384 h 651992"/>
                    <a:gd name="connsiteX320" fmla="*/ 380933 w 712362"/>
                    <a:gd name="connsiteY320" fmla="*/ 104440 h 651992"/>
                    <a:gd name="connsiteX321" fmla="*/ 398440 w 712362"/>
                    <a:gd name="connsiteY321" fmla="*/ 103836 h 651992"/>
                    <a:gd name="connsiteX322" fmla="*/ 400251 w 712362"/>
                    <a:gd name="connsiteY322" fmla="*/ 108062 h 651992"/>
                    <a:gd name="connsiteX323" fmla="*/ 403873 w 712362"/>
                    <a:gd name="connsiteY323" fmla="*/ 111684 h 651992"/>
                    <a:gd name="connsiteX324" fmla="*/ 403270 w 712362"/>
                    <a:gd name="connsiteY324" fmla="*/ 115306 h 651992"/>
                    <a:gd name="connsiteX325" fmla="*/ 406892 w 712362"/>
                    <a:gd name="connsiteY325" fmla="*/ 115910 h 651992"/>
                    <a:gd name="connsiteX326" fmla="*/ 405684 w 712362"/>
                    <a:gd name="connsiteY326" fmla="*/ 120136 h 651992"/>
                    <a:gd name="connsiteX327" fmla="*/ 416551 w 712362"/>
                    <a:gd name="connsiteY327" fmla="*/ 127380 h 651992"/>
                    <a:gd name="connsiteX328" fmla="*/ 424399 w 712362"/>
                    <a:gd name="connsiteY328" fmla="*/ 121947 h 651992"/>
                    <a:gd name="connsiteX329" fmla="*/ 429832 w 712362"/>
                    <a:gd name="connsiteY329" fmla="*/ 120739 h 651992"/>
                    <a:gd name="connsiteX330" fmla="*/ 431040 w 712362"/>
                    <a:gd name="connsiteY330" fmla="*/ 117117 h 651992"/>
                    <a:gd name="connsiteX331" fmla="*/ 439492 w 712362"/>
                    <a:gd name="connsiteY331" fmla="*/ 118325 h 651992"/>
                    <a:gd name="connsiteX332" fmla="*/ 445528 w 712362"/>
                    <a:gd name="connsiteY332" fmla="*/ 115910 h 651992"/>
                    <a:gd name="connsiteX333" fmla="*/ 449754 w 712362"/>
                    <a:gd name="connsiteY333" fmla="*/ 112288 h 651992"/>
                    <a:gd name="connsiteX334" fmla="*/ 452773 w 712362"/>
                    <a:gd name="connsiteY334" fmla="*/ 115306 h 651992"/>
                    <a:gd name="connsiteX335" fmla="*/ 463036 w 712362"/>
                    <a:gd name="connsiteY335" fmla="*/ 118928 h 651992"/>
                    <a:gd name="connsiteX336" fmla="*/ 467262 w 712362"/>
                    <a:gd name="connsiteY336" fmla="*/ 117721 h 651992"/>
                    <a:gd name="connsiteX337" fmla="*/ 472091 w 712362"/>
                    <a:gd name="connsiteY337" fmla="*/ 118928 h 651992"/>
                    <a:gd name="connsiteX338" fmla="*/ 477524 w 712362"/>
                    <a:gd name="connsiteY338" fmla="*/ 131606 h 651992"/>
                    <a:gd name="connsiteX339" fmla="*/ 481147 w 712362"/>
                    <a:gd name="connsiteY339" fmla="*/ 132210 h 651992"/>
                    <a:gd name="connsiteX340" fmla="*/ 484769 w 712362"/>
                    <a:gd name="connsiteY340" fmla="*/ 139454 h 651992"/>
                    <a:gd name="connsiteX341" fmla="*/ 490202 w 712362"/>
                    <a:gd name="connsiteY341" fmla="*/ 139454 h 651992"/>
                    <a:gd name="connsiteX342" fmla="*/ 501069 w 712362"/>
                    <a:gd name="connsiteY342" fmla="*/ 145491 h 651992"/>
                    <a:gd name="connsiteX343" fmla="*/ 507106 w 712362"/>
                    <a:gd name="connsiteY343" fmla="*/ 150924 h 651992"/>
                    <a:gd name="connsiteX344" fmla="*/ 511331 w 712362"/>
                    <a:gd name="connsiteY344" fmla="*/ 150924 h 651992"/>
                    <a:gd name="connsiteX345" fmla="*/ 516765 w 712362"/>
                    <a:gd name="connsiteY345" fmla="*/ 156961 h 651992"/>
                    <a:gd name="connsiteX346" fmla="*/ 517368 w 712362"/>
                    <a:gd name="connsiteY346" fmla="*/ 161791 h 651992"/>
                    <a:gd name="connsiteX347" fmla="*/ 523405 w 712362"/>
                    <a:gd name="connsiteY347" fmla="*/ 166620 h 651992"/>
                    <a:gd name="connsiteX348" fmla="*/ 530650 w 712362"/>
                    <a:gd name="connsiteY348" fmla="*/ 162395 h 651992"/>
                    <a:gd name="connsiteX349" fmla="*/ 530650 w 712362"/>
                    <a:gd name="connsiteY349" fmla="*/ 158772 h 651992"/>
                    <a:gd name="connsiteX350" fmla="*/ 534876 w 712362"/>
                    <a:gd name="connsiteY350" fmla="*/ 158772 h 651992"/>
                    <a:gd name="connsiteX351" fmla="*/ 540309 w 712362"/>
                    <a:gd name="connsiteY351" fmla="*/ 164809 h 651992"/>
                    <a:gd name="connsiteX352" fmla="*/ 541516 w 712362"/>
                    <a:gd name="connsiteY352" fmla="*/ 170243 h 651992"/>
                    <a:gd name="connsiteX353" fmla="*/ 545139 w 712362"/>
                    <a:gd name="connsiteY353" fmla="*/ 172054 h 651992"/>
                    <a:gd name="connsiteX354" fmla="*/ 548157 w 712362"/>
                    <a:gd name="connsiteY354" fmla="*/ 170243 h 651992"/>
                    <a:gd name="connsiteX355" fmla="*/ 551176 w 712362"/>
                    <a:gd name="connsiteY355" fmla="*/ 175676 h 651992"/>
                    <a:gd name="connsiteX356" fmla="*/ 547553 w 712362"/>
                    <a:gd name="connsiteY356" fmla="*/ 186542 h 651992"/>
                    <a:gd name="connsiteX357" fmla="*/ 539705 w 712362"/>
                    <a:gd name="connsiteY357" fmla="*/ 190768 h 651992"/>
                    <a:gd name="connsiteX358" fmla="*/ 539102 w 712362"/>
                    <a:gd name="connsiteY358" fmla="*/ 193183 h 651992"/>
                    <a:gd name="connsiteX359" fmla="*/ 545139 w 712362"/>
                    <a:gd name="connsiteY359" fmla="*/ 198616 h 651992"/>
                    <a:gd name="connsiteX360" fmla="*/ 543328 w 712362"/>
                    <a:gd name="connsiteY360" fmla="*/ 202842 h 651992"/>
                    <a:gd name="connsiteX361" fmla="*/ 545742 w 712362"/>
                    <a:gd name="connsiteY361" fmla="*/ 205861 h 651992"/>
                    <a:gd name="connsiteX362" fmla="*/ 544535 w 712362"/>
                    <a:gd name="connsiteY362" fmla="*/ 210087 h 651992"/>
                    <a:gd name="connsiteX363" fmla="*/ 545742 w 712362"/>
                    <a:gd name="connsiteY363" fmla="*/ 213709 h 651992"/>
                    <a:gd name="connsiteX364" fmla="*/ 551779 w 712362"/>
                    <a:gd name="connsiteY364" fmla="*/ 217935 h 651992"/>
                    <a:gd name="connsiteX365" fmla="*/ 559627 w 712362"/>
                    <a:gd name="connsiteY365" fmla="*/ 215520 h 651992"/>
                    <a:gd name="connsiteX366" fmla="*/ 565060 w 712362"/>
                    <a:gd name="connsiteY366" fmla="*/ 217331 h 651992"/>
                    <a:gd name="connsiteX367" fmla="*/ 567475 w 712362"/>
                    <a:gd name="connsiteY367" fmla="*/ 220953 h 651992"/>
                    <a:gd name="connsiteX368" fmla="*/ 578342 w 712362"/>
                    <a:gd name="connsiteY368" fmla="*/ 226990 h 651992"/>
                    <a:gd name="connsiteX369" fmla="*/ 584983 w 712362"/>
                    <a:gd name="connsiteY369" fmla="*/ 226386 h 651992"/>
                    <a:gd name="connsiteX370" fmla="*/ 589208 w 712362"/>
                    <a:gd name="connsiteY370" fmla="*/ 232423 h 651992"/>
                    <a:gd name="connsiteX371" fmla="*/ 596453 w 712362"/>
                    <a:gd name="connsiteY371" fmla="*/ 234838 h 651992"/>
                    <a:gd name="connsiteX372" fmla="*/ 602490 w 712362"/>
                    <a:gd name="connsiteY372" fmla="*/ 236046 h 651992"/>
                    <a:gd name="connsiteX373" fmla="*/ 606112 w 712362"/>
                    <a:gd name="connsiteY373" fmla="*/ 240875 h 651992"/>
                    <a:gd name="connsiteX374" fmla="*/ 611545 w 712362"/>
                    <a:gd name="connsiteY374" fmla="*/ 242686 h 651992"/>
                    <a:gd name="connsiteX375" fmla="*/ 616978 w 712362"/>
                    <a:gd name="connsiteY375" fmla="*/ 241479 h 651992"/>
                    <a:gd name="connsiteX376" fmla="*/ 618790 w 712362"/>
                    <a:gd name="connsiteY376" fmla="*/ 236046 h 651992"/>
                    <a:gd name="connsiteX377" fmla="*/ 624827 w 712362"/>
                    <a:gd name="connsiteY377" fmla="*/ 237857 h 651992"/>
                    <a:gd name="connsiteX378" fmla="*/ 635693 w 712362"/>
                    <a:gd name="connsiteY378" fmla="*/ 246912 h 651992"/>
                    <a:gd name="connsiteX379" fmla="*/ 638108 w 712362"/>
                    <a:gd name="connsiteY379" fmla="*/ 246309 h 651992"/>
                    <a:gd name="connsiteX380" fmla="*/ 646560 w 712362"/>
                    <a:gd name="connsiteY380" fmla="*/ 252949 h 651992"/>
                    <a:gd name="connsiteX381" fmla="*/ 653200 w 712362"/>
                    <a:gd name="connsiteY381" fmla="*/ 257175 h 651992"/>
                    <a:gd name="connsiteX382" fmla="*/ 658634 w 712362"/>
                    <a:gd name="connsiteY382" fmla="*/ 263212 h 651992"/>
                    <a:gd name="connsiteX383" fmla="*/ 661652 w 712362"/>
                    <a:gd name="connsiteY383" fmla="*/ 269853 h 651992"/>
                    <a:gd name="connsiteX384" fmla="*/ 669500 w 712362"/>
                    <a:gd name="connsiteY384" fmla="*/ 276493 h 651992"/>
                    <a:gd name="connsiteX385" fmla="*/ 676744 w 712362"/>
                    <a:gd name="connsiteY385" fmla="*/ 279512 h 651992"/>
                    <a:gd name="connsiteX386" fmla="*/ 684593 w 712362"/>
                    <a:gd name="connsiteY386" fmla="*/ 281323 h 651992"/>
                    <a:gd name="connsiteX387" fmla="*/ 691233 w 712362"/>
                    <a:gd name="connsiteY387" fmla="*/ 284341 h 651992"/>
                    <a:gd name="connsiteX388" fmla="*/ 706929 w 712362"/>
                    <a:gd name="connsiteY388" fmla="*/ 288567 h 651992"/>
                    <a:gd name="connsiteX389" fmla="*/ 710552 w 712362"/>
                    <a:gd name="connsiteY389" fmla="*/ 290378 h 651992"/>
                    <a:gd name="connsiteX390" fmla="*/ 712363 w 712362"/>
                    <a:gd name="connsiteY390" fmla="*/ 296415 h 651992"/>
                    <a:gd name="connsiteX391" fmla="*/ 706326 w 712362"/>
                    <a:gd name="connsiteY391" fmla="*/ 294001 h 651992"/>
                    <a:gd name="connsiteX392" fmla="*/ 703911 w 712362"/>
                    <a:gd name="connsiteY392" fmla="*/ 296415 h 651992"/>
                    <a:gd name="connsiteX393" fmla="*/ 693648 w 712362"/>
                    <a:gd name="connsiteY393" fmla="*/ 296415 h 651992"/>
                    <a:gd name="connsiteX394" fmla="*/ 690026 w 712362"/>
                    <a:gd name="connsiteY394" fmla="*/ 300038 h 651992"/>
                    <a:gd name="connsiteX395" fmla="*/ 684593 w 712362"/>
                    <a:gd name="connsiteY395" fmla="*/ 306678 h 651992"/>
                    <a:gd name="connsiteX396" fmla="*/ 683989 w 712362"/>
                    <a:gd name="connsiteY396" fmla="*/ 309697 h 651992"/>
                    <a:gd name="connsiteX397" fmla="*/ 680367 w 712362"/>
                    <a:gd name="connsiteY397" fmla="*/ 312715 h 651992"/>
                    <a:gd name="connsiteX398" fmla="*/ 683989 w 712362"/>
                    <a:gd name="connsiteY398" fmla="*/ 321167 h 651992"/>
                    <a:gd name="connsiteX399" fmla="*/ 676744 w 712362"/>
                    <a:gd name="connsiteY399" fmla="*/ 325393 h 651992"/>
                    <a:gd name="connsiteX400" fmla="*/ 676744 w 712362"/>
                    <a:gd name="connsiteY400" fmla="*/ 328411 h 651992"/>
                    <a:gd name="connsiteX401" fmla="*/ 671915 w 712362"/>
                    <a:gd name="connsiteY401" fmla="*/ 329015 h 651992"/>
                    <a:gd name="connsiteX402" fmla="*/ 668896 w 712362"/>
                    <a:gd name="connsiteY402" fmla="*/ 331430 h 651992"/>
                    <a:gd name="connsiteX403" fmla="*/ 663463 w 712362"/>
                    <a:gd name="connsiteY403" fmla="*/ 339278 h 651992"/>
                    <a:gd name="connsiteX404" fmla="*/ 659237 w 712362"/>
                    <a:gd name="connsiteY404" fmla="*/ 341089 h 651992"/>
                    <a:gd name="connsiteX405" fmla="*/ 658634 w 712362"/>
                    <a:gd name="connsiteY405" fmla="*/ 346522 h 651992"/>
                    <a:gd name="connsiteX406" fmla="*/ 654408 w 712362"/>
                    <a:gd name="connsiteY406" fmla="*/ 353163 h 651992"/>
                    <a:gd name="connsiteX407" fmla="*/ 650786 w 712362"/>
                    <a:gd name="connsiteY407" fmla="*/ 352559 h 651992"/>
                    <a:gd name="connsiteX408" fmla="*/ 641730 w 712362"/>
                    <a:gd name="connsiteY408" fmla="*/ 362822 h 651992"/>
                    <a:gd name="connsiteX409" fmla="*/ 636297 w 712362"/>
                    <a:gd name="connsiteY409" fmla="*/ 363426 h 651992"/>
                    <a:gd name="connsiteX410" fmla="*/ 633882 w 712362"/>
                    <a:gd name="connsiteY410" fmla="*/ 361615 h 651992"/>
                    <a:gd name="connsiteX411" fmla="*/ 627241 w 712362"/>
                    <a:gd name="connsiteY411" fmla="*/ 362822 h 651992"/>
                    <a:gd name="connsiteX412" fmla="*/ 624223 w 712362"/>
                    <a:gd name="connsiteY412" fmla="*/ 365237 h 651992"/>
                    <a:gd name="connsiteX413" fmla="*/ 621204 w 712362"/>
                    <a:gd name="connsiteY413" fmla="*/ 371274 h 651992"/>
                    <a:gd name="connsiteX414" fmla="*/ 620601 w 712362"/>
                    <a:gd name="connsiteY414" fmla="*/ 377914 h 651992"/>
                    <a:gd name="connsiteX415" fmla="*/ 617582 w 712362"/>
                    <a:gd name="connsiteY415" fmla="*/ 383951 h 651992"/>
                    <a:gd name="connsiteX416" fmla="*/ 616375 w 712362"/>
                    <a:gd name="connsiteY416" fmla="*/ 388177 h 651992"/>
                    <a:gd name="connsiteX417" fmla="*/ 610338 w 712362"/>
                    <a:gd name="connsiteY417" fmla="*/ 394214 h 651992"/>
                    <a:gd name="connsiteX418" fmla="*/ 607319 w 712362"/>
                    <a:gd name="connsiteY418" fmla="*/ 394818 h 651992"/>
                    <a:gd name="connsiteX419" fmla="*/ 604301 w 712362"/>
                    <a:gd name="connsiteY419" fmla="*/ 401459 h 651992"/>
                    <a:gd name="connsiteX420" fmla="*/ 598264 w 712362"/>
                    <a:gd name="connsiteY420" fmla="*/ 400251 h 651992"/>
                    <a:gd name="connsiteX421" fmla="*/ 586794 w 712362"/>
                    <a:gd name="connsiteY421" fmla="*/ 402666 h 651992"/>
                    <a:gd name="connsiteX422" fmla="*/ 581964 w 712362"/>
                    <a:gd name="connsiteY422" fmla="*/ 412325 h 651992"/>
                    <a:gd name="connsiteX423" fmla="*/ 577738 w 712362"/>
                    <a:gd name="connsiteY423" fmla="*/ 414740 h 651992"/>
                    <a:gd name="connsiteX424" fmla="*/ 581964 w 712362"/>
                    <a:gd name="connsiteY424" fmla="*/ 430436 h 651992"/>
                    <a:gd name="connsiteX425" fmla="*/ 583171 w 712362"/>
                    <a:gd name="connsiteY425" fmla="*/ 432851 h 651992"/>
                    <a:gd name="connsiteX426" fmla="*/ 588605 w 712362"/>
                    <a:gd name="connsiteY426" fmla="*/ 435869 h 651992"/>
                    <a:gd name="connsiteX427" fmla="*/ 589208 w 712362"/>
                    <a:gd name="connsiteY427" fmla="*/ 440699 h 651992"/>
                    <a:gd name="connsiteX428" fmla="*/ 586190 w 712362"/>
                    <a:gd name="connsiteY428" fmla="*/ 444925 h 651992"/>
                    <a:gd name="connsiteX429" fmla="*/ 586794 w 712362"/>
                    <a:gd name="connsiteY429" fmla="*/ 449151 h 651992"/>
                    <a:gd name="connsiteX430" fmla="*/ 583171 w 712362"/>
                    <a:gd name="connsiteY430" fmla="*/ 452169 h 651992"/>
                    <a:gd name="connsiteX431" fmla="*/ 580757 w 712362"/>
                    <a:gd name="connsiteY431" fmla="*/ 456999 h 651992"/>
                    <a:gd name="connsiteX432" fmla="*/ 574720 w 712362"/>
                    <a:gd name="connsiteY432" fmla="*/ 458810 h 651992"/>
                    <a:gd name="connsiteX433" fmla="*/ 572909 w 712362"/>
                    <a:gd name="connsiteY433" fmla="*/ 461828 h 651992"/>
                    <a:gd name="connsiteX434" fmla="*/ 575927 w 712362"/>
                    <a:gd name="connsiteY434" fmla="*/ 463640 h 651992"/>
                    <a:gd name="connsiteX435" fmla="*/ 572909 w 712362"/>
                    <a:gd name="connsiteY435" fmla="*/ 469073 h 651992"/>
                    <a:gd name="connsiteX436" fmla="*/ 563249 w 712362"/>
                    <a:gd name="connsiteY436" fmla="*/ 474506 h 651992"/>
                    <a:gd name="connsiteX437" fmla="*/ 562042 w 712362"/>
                    <a:gd name="connsiteY437" fmla="*/ 478128 h 651992"/>
                    <a:gd name="connsiteX438" fmla="*/ 565060 w 712362"/>
                    <a:gd name="connsiteY438" fmla="*/ 482958 h 651992"/>
                    <a:gd name="connsiteX439" fmla="*/ 552987 w 712362"/>
                    <a:gd name="connsiteY439" fmla="*/ 484165 h 651992"/>
                    <a:gd name="connsiteX440" fmla="*/ 552383 w 712362"/>
                    <a:gd name="connsiteY440" fmla="*/ 492617 h 651992"/>
                    <a:gd name="connsiteX441" fmla="*/ 559023 w 712362"/>
                    <a:gd name="connsiteY441" fmla="*/ 497446 h 651992"/>
                    <a:gd name="connsiteX442" fmla="*/ 558420 w 712362"/>
                    <a:gd name="connsiteY442" fmla="*/ 504087 h 651992"/>
                    <a:gd name="connsiteX443" fmla="*/ 563853 w 712362"/>
                    <a:gd name="connsiteY443" fmla="*/ 513143 h 651992"/>
                    <a:gd name="connsiteX444" fmla="*/ 567475 w 712362"/>
                    <a:gd name="connsiteY444" fmla="*/ 515557 h 651992"/>
                    <a:gd name="connsiteX445" fmla="*/ 568079 w 712362"/>
                    <a:gd name="connsiteY445" fmla="*/ 518576 h 651992"/>
                    <a:gd name="connsiteX446" fmla="*/ 565060 w 712362"/>
                    <a:gd name="connsiteY446" fmla="*/ 522198 h 651992"/>
                    <a:gd name="connsiteX447" fmla="*/ 563249 w 712362"/>
                    <a:gd name="connsiteY447" fmla="*/ 543327 h 651992"/>
                    <a:gd name="connsiteX448" fmla="*/ 559023 w 712362"/>
                    <a:gd name="connsiteY448" fmla="*/ 540913 h 651992"/>
                    <a:gd name="connsiteX449" fmla="*/ 552383 w 712362"/>
                    <a:gd name="connsiteY449" fmla="*/ 542120 h 651992"/>
                    <a:gd name="connsiteX450" fmla="*/ 555401 w 712362"/>
                    <a:gd name="connsiteY450" fmla="*/ 545742 h 651992"/>
                    <a:gd name="connsiteX451" fmla="*/ 556005 w 712362"/>
                    <a:gd name="connsiteY451" fmla="*/ 550572 h 651992"/>
                    <a:gd name="connsiteX452" fmla="*/ 559023 w 712362"/>
                    <a:gd name="connsiteY452" fmla="*/ 555401 h 651992"/>
                    <a:gd name="connsiteX453" fmla="*/ 554798 w 712362"/>
                    <a:gd name="connsiteY453" fmla="*/ 557213 h 651992"/>
                    <a:gd name="connsiteX454" fmla="*/ 550572 w 712362"/>
                    <a:gd name="connsiteY454" fmla="*/ 562042 h 651992"/>
                    <a:gd name="connsiteX455" fmla="*/ 545742 w 712362"/>
                    <a:gd name="connsiteY455" fmla="*/ 560835 h 651992"/>
                    <a:gd name="connsiteX456" fmla="*/ 540309 w 712362"/>
                    <a:gd name="connsiteY456" fmla="*/ 557213 h 651992"/>
                    <a:gd name="connsiteX457" fmla="*/ 532461 w 712362"/>
                    <a:gd name="connsiteY457" fmla="*/ 565664 h 651992"/>
                    <a:gd name="connsiteX458" fmla="*/ 528839 w 712362"/>
                    <a:gd name="connsiteY458" fmla="*/ 575324 h 651992"/>
                    <a:gd name="connsiteX459" fmla="*/ 528839 w 712362"/>
                    <a:gd name="connsiteY459" fmla="*/ 588605 h 651992"/>
                    <a:gd name="connsiteX460" fmla="*/ 527028 w 712362"/>
                    <a:gd name="connsiteY460" fmla="*/ 594038 h 651992"/>
                    <a:gd name="connsiteX461" fmla="*/ 522198 w 712362"/>
                    <a:gd name="connsiteY461" fmla="*/ 595849 h 651992"/>
                    <a:gd name="connsiteX462" fmla="*/ 514350 w 712362"/>
                    <a:gd name="connsiteY462" fmla="*/ 609734 h 651992"/>
                    <a:gd name="connsiteX463" fmla="*/ 515557 w 712362"/>
                    <a:gd name="connsiteY463" fmla="*/ 628449 h 651992"/>
                    <a:gd name="connsiteX464" fmla="*/ 517368 w 712362"/>
                    <a:gd name="connsiteY464" fmla="*/ 629656 h 65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Lst>
                  <a:rect l="l" t="t" r="r" b="b"/>
                  <a:pathLst>
                    <a:path w="712362" h="651992">
                      <a:moveTo>
                        <a:pt x="517368" y="629656"/>
                      </a:moveTo>
                      <a:lnTo>
                        <a:pt x="514350" y="628449"/>
                      </a:lnTo>
                      <a:lnTo>
                        <a:pt x="507709" y="636901"/>
                      </a:lnTo>
                      <a:lnTo>
                        <a:pt x="510728" y="641127"/>
                      </a:lnTo>
                      <a:lnTo>
                        <a:pt x="504691" y="651389"/>
                      </a:lnTo>
                      <a:lnTo>
                        <a:pt x="499861" y="656219"/>
                      </a:lnTo>
                      <a:lnTo>
                        <a:pt x="492617" y="656219"/>
                      </a:lnTo>
                      <a:lnTo>
                        <a:pt x="485976" y="652597"/>
                      </a:lnTo>
                      <a:lnTo>
                        <a:pt x="485373" y="648371"/>
                      </a:lnTo>
                      <a:lnTo>
                        <a:pt x="483561" y="645352"/>
                      </a:lnTo>
                      <a:lnTo>
                        <a:pt x="481147" y="642938"/>
                      </a:lnTo>
                      <a:lnTo>
                        <a:pt x="479939" y="641127"/>
                      </a:lnTo>
                      <a:lnTo>
                        <a:pt x="479336" y="640523"/>
                      </a:lnTo>
                      <a:lnTo>
                        <a:pt x="481750" y="636901"/>
                      </a:lnTo>
                      <a:lnTo>
                        <a:pt x="480543" y="636297"/>
                      </a:lnTo>
                      <a:lnTo>
                        <a:pt x="477524" y="637504"/>
                      </a:lnTo>
                      <a:lnTo>
                        <a:pt x="474506" y="637504"/>
                      </a:lnTo>
                      <a:lnTo>
                        <a:pt x="470280" y="635693"/>
                      </a:lnTo>
                      <a:lnTo>
                        <a:pt x="470280" y="632071"/>
                      </a:lnTo>
                      <a:lnTo>
                        <a:pt x="472091" y="632071"/>
                      </a:lnTo>
                      <a:lnTo>
                        <a:pt x="476317" y="632071"/>
                      </a:lnTo>
                      <a:lnTo>
                        <a:pt x="476317" y="629656"/>
                      </a:lnTo>
                      <a:lnTo>
                        <a:pt x="472091" y="627845"/>
                      </a:lnTo>
                      <a:lnTo>
                        <a:pt x="466054" y="626638"/>
                      </a:lnTo>
                      <a:lnTo>
                        <a:pt x="464243" y="632675"/>
                      </a:lnTo>
                      <a:lnTo>
                        <a:pt x="464243" y="633882"/>
                      </a:lnTo>
                      <a:lnTo>
                        <a:pt x="463036" y="634486"/>
                      </a:lnTo>
                      <a:lnTo>
                        <a:pt x="461828" y="635090"/>
                      </a:lnTo>
                      <a:lnTo>
                        <a:pt x="461828" y="635693"/>
                      </a:lnTo>
                      <a:lnTo>
                        <a:pt x="457602" y="635693"/>
                      </a:lnTo>
                      <a:lnTo>
                        <a:pt x="458810" y="632071"/>
                      </a:lnTo>
                      <a:lnTo>
                        <a:pt x="460017" y="633278"/>
                      </a:lnTo>
                      <a:lnTo>
                        <a:pt x="460621" y="632071"/>
                      </a:lnTo>
                      <a:lnTo>
                        <a:pt x="461225" y="629656"/>
                      </a:lnTo>
                      <a:lnTo>
                        <a:pt x="460621" y="628449"/>
                      </a:lnTo>
                      <a:lnTo>
                        <a:pt x="460017" y="626638"/>
                      </a:lnTo>
                      <a:lnTo>
                        <a:pt x="460621" y="624223"/>
                      </a:lnTo>
                      <a:lnTo>
                        <a:pt x="463036" y="623016"/>
                      </a:lnTo>
                      <a:lnTo>
                        <a:pt x="462432" y="622412"/>
                      </a:lnTo>
                      <a:lnTo>
                        <a:pt x="461828" y="620601"/>
                      </a:lnTo>
                      <a:lnTo>
                        <a:pt x="460017" y="620601"/>
                      </a:lnTo>
                      <a:lnTo>
                        <a:pt x="458810" y="618790"/>
                      </a:lnTo>
                      <a:lnTo>
                        <a:pt x="455791" y="615167"/>
                      </a:lnTo>
                      <a:lnTo>
                        <a:pt x="453376" y="615771"/>
                      </a:lnTo>
                      <a:lnTo>
                        <a:pt x="442510" y="618186"/>
                      </a:lnTo>
                      <a:lnTo>
                        <a:pt x="437680" y="621204"/>
                      </a:lnTo>
                      <a:lnTo>
                        <a:pt x="433455" y="625430"/>
                      </a:lnTo>
                      <a:lnTo>
                        <a:pt x="431040" y="625430"/>
                      </a:lnTo>
                      <a:lnTo>
                        <a:pt x="423795" y="621204"/>
                      </a:lnTo>
                      <a:lnTo>
                        <a:pt x="418362" y="621204"/>
                      </a:lnTo>
                      <a:lnTo>
                        <a:pt x="414740" y="624827"/>
                      </a:lnTo>
                      <a:lnTo>
                        <a:pt x="409307" y="626034"/>
                      </a:lnTo>
                      <a:lnTo>
                        <a:pt x="409910" y="618186"/>
                      </a:lnTo>
                      <a:lnTo>
                        <a:pt x="405684" y="615771"/>
                      </a:lnTo>
                      <a:lnTo>
                        <a:pt x="400855" y="621808"/>
                      </a:lnTo>
                      <a:lnTo>
                        <a:pt x="394214" y="621204"/>
                      </a:lnTo>
                      <a:lnTo>
                        <a:pt x="390592" y="623016"/>
                      </a:lnTo>
                      <a:lnTo>
                        <a:pt x="385159" y="622412"/>
                      </a:lnTo>
                      <a:lnTo>
                        <a:pt x="380933" y="623619"/>
                      </a:lnTo>
                      <a:lnTo>
                        <a:pt x="377311" y="616979"/>
                      </a:lnTo>
                      <a:lnTo>
                        <a:pt x="378518" y="612753"/>
                      </a:lnTo>
                      <a:lnTo>
                        <a:pt x="378518" y="605508"/>
                      </a:lnTo>
                      <a:lnTo>
                        <a:pt x="374292" y="604905"/>
                      </a:lnTo>
                      <a:lnTo>
                        <a:pt x="370066" y="597057"/>
                      </a:lnTo>
                      <a:lnTo>
                        <a:pt x="368255" y="601282"/>
                      </a:lnTo>
                      <a:lnTo>
                        <a:pt x="359200" y="599471"/>
                      </a:lnTo>
                      <a:lnTo>
                        <a:pt x="356785" y="600679"/>
                      </a:lnTo>
                      <a:lnTo>
                        <a:pt x="353766" y="598264"/>
                      </a:lnTo>
                      <a:lnTo>
                        <a:pt x="344711" y="588001"/>
                      </a:lnTo>
                      <a:lnTo>
                        <a:pt x="338070" y="583172"/>
                      </a:lnTo>
                      <a:lnTo>
                        <a:pt x="330826" y="586190"/>
                      </a:lnTo>
                      <a:lnTo>
                        <a:pt x="327808" y="583172"/>
                      </a:lnTo>
                      <a:lnTo>
                        <a:pt x="330222" y="577738"/>
                      </a:lnTo>
                      <a:lnTo>
                        <a:pt x="325393" y="575927"/>
                      </a:lnTo>
                      <a:lnTo>
                        <a:pt x="323582" y="570494"/>
                      </a:lnTo>
                      <a:lnTo>
                        <a:pt x="325393" y="566268"/>
                      </a:lnTo>
                      <a:lnTo>
                        <a:pt x="325393" y="561438"/>
                      </a:lnTo>
                      <a:lnTo>
                        <a:pt x="320563" y="558420"/>
                      </a:lnTo>
                      <a:lnTo>
                        <a:pt x="316941" y="559024"/>
                      </a:lnTo>
                      <a:lnTo>
                        <a:pt x="310904" y="554194"/>
                      </a:lnTo>
                      <a:lnTo>
                        <a:pt x="305471" y="553590"/>
                      </a:lnTo>
                      <a:lnTo>
                        <a:pt x="298830" y="554798"/>
                      </a:lnTo>
                      <a:lnTo>
                        <a:pt x="299434" y="562042"/>
                      </a:lnTo>
                      <a:lnTo>
                        <a:pt x="296415" y="562042"/>
                      </a:lnTo>
                      <a:lnTo>
                        <a:pt x="292793" y="557213"/>
                      </a:lnTo>
                      <a:lnTo>
                        <a:pt x="291586" y="553590"/>
                      </a:lnTo>
                      <a:lnTo>
                        <a:pt x="289171" y="550572"/>
                      </a:lnTo>
                      <a:lnTo>
                        <a:pt x="284341" y="554798"/>
                      </a:lnTo>
                      <a:lnTo>
                        <a:pt x="276493" y="551176"/>
                      </a:lnTo>
                      <a:lnTo>
                        <a:pt x="275286" y="542120"/>
                      </a:lnTo>
                      <a:lnTo>
                        <a:pt x="268042" y="530650"/>
                      </a:lnTo>
                      <a:lnTo>
                        <a:pt x="261401" y="528235"/>
                      </a:lnTo>
                      <a:lnTo>
                        <a:pt x="257779" y="530046"/>
                      </a:lnTo>
                      <a:lnTo>
                        <a:pt x="254760" y="528839"/>
                      </a:lnTo>
                      <a:lnTo>
                        <a:pt x="246308" y="522198"/>
                      </a:lnTo>
                      <a:lnTo>
                        <a:pt x="239668" y="516161"/>
                      </a:lnTo>
                      <a:lnTo>
                        <a:pt x="239668" y="511935"/>
                      </a:lnTo>
                      <a:lnTo>
                        <a:pt x="245705" y="507106"/>
                      </a:lnTo>
                      <a:lnTo>
                        <a:pt x="251742" y="508917"/>
                      </a:lnTo>
                      <a:lnTo>
                        <a:pt x="257779" y="502276"/>
                      </a:lnTo>
                      <a:lnTo>
                        <a:pt x="266230" y="498654"/>
                      </a:lnTo>
                      <a:lnTo>
                        <a:pt x="272871" y="493221"/>
                      </a:lnTo>
                      <a:lnTo>
                        <a:pt x="274682" y="489598"/>
                      </a:lnTo>
                      <a:lnTo>
                        <a:pt x="275286" y="482354"/>
                      </a:lnTo>
                      <a:lnTo>
                        <a:pt x="268042" y="481147"/>
                      </a:lnTo>
                      <a:lnTo>
                        <a:pt x="247516" y="475714"/>
                      </a:lnTo>
                      <a:lnTo>
                        <a:pt x="239668" y="469677"/>
                      </a:lnTo>
                      <a:lnTo>
                        <a:pt x="233027" y="469677"/>
                      </a:lnTo>
                      <a:lnTo>
                        <a:pt x="221557" y="460621"/>
                      </a:lnTo>
                      <a:lnTo>
                        <a:pt x="217935" y="459414"/>
                      </a:lnTo>
                      <a:lnTo>
                        <a:pt x="208879" y="452773"/>
                      </a:lnTo>
                      <a:lnTo>
                        <a:pt x="199220" y="442510"/>
                      </a:lnTo>
                      <a:lnTo>
                        <a:pt x="194994" y="435869"/>
                      </a:lnTo>
                      <a:lnTo>
                        <a:pt x="194390" y="426210"/>
                      </a:lnTo>
                      <a:lnTo>
                        <a:pt x="190165" y="414136"/>
                      </a:lnTo>
                      <a:lnTo>
                        <a:pt x="177487" y="409910"/>
                      </a:lnTo>
                      <a:lnTo>
                        <a:pt x="175072" y="406892"/>
                      </a:lnTo>
                      <a:lnTo>
                        <a:pt x="169639" y="406892"/>
                      </a:lnTo>
                      <a:lnTo>
                        <a:pt x="158169" y="401459"/>
                      </a:lnTo>
                      <a:lnTo>
                        <a:pt x="152132" y="410514"/>
                      </a:lnTo>
                      <a:lnTo>
                        <a:pt x="144284" y="417759"/>
                      </a:lnTo>
                      <a:lnTo>
                        <a:pt x="137643" y="423192"/>
                      </a:lnTo>
                      <a:lnTo>
                        <a:pt x="135228" y="420173"/>
                      </a:lnTo>
                      <a:lnTo>
                        <a:pt x="129795" y="421984"/>
                      </a:lnTo>
                      <a:lnTo>
                        <a:pt x="127380" y="426210"/>
                      </a:lnTo>
                      <a:lnTo>
                        <a:pt x="123758" y="429229"/>
                      </a:lnTo>
                      <a:lnTo>
                        <a:pt x="118325" y="429832"/>
                      </a:lnTo>
                      <a:lnTo>
                        <a:pt x="117721" y="434058"/>
                      </a:lnTo>
                      <a:lnTo>
                        <a:pt x="111684" y="440095"/>
                      </a:lnTo>
                      <a:lnTo>
                        <a:pt x="108665" y="441906"/>
                      </a:lnTo>
                      <a:lnTo>
                        <a:pt x="106251" y="447943"/>
                      </a:lnTo>
                      <a:lnTo>
                        <a:pt x="102025" y="447340"/>
                      </a:lnTo>
                      <a:lnTo>
                        <a:pt x="99006" y="449754"/>
                      </a:lnTo>
                      <a:lnTo>
                        <a:pt x="98403" y="454584"/>
                      </a:lnTo>
                      <a:lnTo>
                        <a:pt x="96592" y="459414"/>
                      </a:lnTo>
                      <a:lnTo>
                        <a:pt x="90555" y="458206"/>
                      </a:lnTo>
                      <a:lnTo>
                        <a:pt x="85725" y="458810"/>
                      </a:lnTo>
                      <a:lnTo>
                        <a:pt x="86932" y="451566"/>
                      </a:lnTo>
                      <a:lnTo>
                        <a:pt x="79084" y="450358"/>
                      </a:lnTo>
                      <a:lnTo>
                        <a:pt x="80292" y="447340"/>
                      </a:lnTo>
                      <a:lnTo>
                        <a:pt x="85121" y="444925"/>
                      </a:lnTo>
                      <a:lnTo>
                        <a:pt x="85121" y="438284"/>
                      </a:lnTo>
                      <a:lnTo>
                        <a:pt x="82103" y="431040"/>
                      </a:lnTo>
                      <a:lnTo>
                        <a:pt x="78481" y="427418"/>
                      </a:lnTo>
                      <a:lnTo>
                        <a:pt x="77877" y="420777"/>
                      </a:lnTo>
                      <a:lnTo>
                        <a:pt x="72444" y="421381"/>
                      </a:lnTo>
                      <a:lnTo>
                        <a:pt x="69425" y="425003"/>
                      </a:lnTo>
                      <a:lnTo>
                        <a:pt x="63992" y="423796"/>
                      </a:lnTo>
                      <a:lnTo>
                        <a:pt x="55540" y="431040"/>
                      </a:lnTo>
                      <a:lnTo>
                        <a:pt x="53125" y="431644"/>
                      </a:lnTo>
                      <a:lnTo>
                        <a:pt x="47088" y="428625"/>
                      </a:lnTo>
                      <a:lnTo>
                        <a:pt x="48296" y="425003"/>
                      </a:lnTo>
                      <a:lnTo>
                        <a:pt x="39844" y="420777"/>
                      </a:lnTo>
                      <a:lnTo>
                        <a:pt x="42259" y="415947"/>
                      </a:lnTo>
                      <a:lnTo>
                        <a:pt x="40448" y="414136"/>
                      </a:lnTo>
                      <a:lnTo>
                        <a:pt x="41051" y="403873"/>
                      </a:lnTo>
                      <a:lnTo>
                        <a:pt x="36825" y="398440"/>
                      </a:lnTo>
                      <a:lnTo>
                        <a:pt x="34411" y="388177"/>
                      </a:lnTo>
                      <a:lnTo>
                        <a:pt x="28374" y="384555"/>
                      </a:lnTo>
                      <a:lnTo>
                        <a:pt x="31996" y="376103"/>
                      </a:lnTo>
                      <a:lnTo>
                        <a:pt x="35014" y="373689"/>
                      </a:lnTo>
                      <a:lnTo>
                        <a:pt x="31392" y="368255"/>
                      </a:lnTo>
                      <a:lnTo>
                        <a:pt x="36222" y="362822"/>
                      </a:lnTo>
                      <a:lnTo>
                        <a:pt x="36222" y="354370"/>
                      </a:lnTo>
                      <a:lnTo>
                        <a:pt x="39240" y="348937"/>
                      </a:lnTo>
                      <a:lnTo>
                        <a:pt x="43466" y="345315"/>
                      </a:lnTo>
                      <a:lnTo>
                        <a:pt x="39844" y="341693"/>
                      </a:lnTo>
                      <a:lnTo>
                        <a:pt x="45881" y="329015"/>
                      </a:lnTo>
                      <a:lnTo>
                        <a:pt x="50107" y="331430"/>
                      </a:lnTo>
                      <a:lnTo>
                        <a:pt x="52522" y="330826"/>
                      </a:lnTo>
                      <a:lnTo>
                        <a:pt x="59766" y="321167"/>
                      </a:lnTo>
                      <a:lnTo>
                        <a:pt x="63388" y="313923"/>
                      </a:lnTo>
                      <a:lnTo>
                        <a:pt x="68218" y="308489"/>
                      </a:lnTo>
                      <a:lnTo>
                        <a:pt x="70029" y="301849"/>
                      </a:lnTo>
                      <a:lnTo>
                        <a:pt x="75462" y="295812"/>
                      </a:lnTo>
                      <a:lnTo>
                        <a:pt x="72444" y="291586"/>
                      </a:lnTo>
                      <a:lnTo>
                        <a:pt x="63388" y="287360"/>
                      </a:lnTo>
                      <a:lnTo>
                        <a:pt x="62181" y="288567"/>
                      </a:lnTo>
                      <a:lnTo>
                        <a:pt x="51314" y="283738"/>
                      </a:lnTo>
                      <a:lnTo>
                        <a:pt x="38637" y="275286"/>
                      </a:lnTo>
                      <a:lnTo>
                        <a:pt x="30185" y="272267"/>
                      </a:lnTo>
                      <a:lnTo>
                        <a:pt x="27770" y="269249"/>
                      </a:lnTo>
                      <a:lnTo>
                        <a:pt x="22337" y="261401"/>
                      </a:lnTo>
                      <a:lnTo>
                        <a:pt x="20526" y="261401"/>
                      </a:lnTo>
                      <a:lnTo>
                        <a:pt x="14489" y="255364"/>
                      </a:lnTo>
                      <a:lnTo>
                        <a:pt x="9055" y="254760"/>
                      </a:lnTo>
                      <a:lnTo>
                        <a:pt x="0" y="256571"/>
                      </a:lnTo>
                      <a:lnTo>
                        <a:pt x="0" y="253553"/>
                      </a:lnTo>
                      <a:lnTo>
                        <a:pt x="3622" y="250534"/>
                      </a:lnTo>
                      <a:lnTo>
                        <a:pt x="7848" y="248723"/>
                      </a:lnTo>
                      <a:lnTo>
                        <a:pt x="13885" y="248723"/>
                      </a:lnTo>
                      <a:lnTo>
                        <a:pt x="15696" y="245101"/>
                      </a:lnTo>
                      <a:lnTo>
                        <a:pt x="19922" y="245705"/>
                      </a:lnTo>
                      <a:lnTo>
                        <a:pt x="30185" y="239064"/>
                      </a:lnTo>
                      <a:lnTo>
                        <a:pt x="32600" y="239064"/>
                      </a:lnTo>
                      <a:lnTo>
                        <a:pt x="41655" y="232423"/>
                      </a:lnTo>
                      <a:lnTo>
                        <a:pt x="48296" y="230612"/>
                      </a:lnTo>
                      <a:lnTo>
                        <a:pt x="51314" y="224575"/>
                      </a:lnTo>
                      <a:lnTo>
                        <a:pt x="49503" y="219142"/>
                      </a:lnTo>
                      <a:lnTo>
                        <a:pt x="44070" y="219746"/>
                      </a:lnTo>
                      <a:lnTo>
                        <a:pt x="39240" y="216727"/>
                      </a:lnTo>
                      <a:lnTo>
                        <a:pt x="34411" y="207672"/>
                      </a:lnTo>
                      <a:lnTo>
                        <a:pt x="39844" y="208276"/>
                      </a:lnTo>
                      <a:lnTo>
                        <a:pt x="39844" y="204653"/>
                      </a:lnTo>
                      <a:lnTo>
                        <a:pt x="43466" y="199824"/>
                      </a:lnTo>
                      <a:lnTo>
                        <a:pt x="41655" y="193787"/>
                      </a:lnTo>
                      <a:lnTo>
                        <a:pt x="35014" y="188957"/>
                      </a:lnTo>
                      <a:lnTo>
                        <a:pt x="36222" y="182920"/>
                      </a:lnTo>
                      <a:lnTo>
                        <a:pt x="29581" y="175072"/>
                      </a:lnTo>
                      <a:lnTo>
                        <a:pt x="26563" y="174468"/>
                      </a:lnTo>
                      <a:lnTo>
                        <a:pt x="25355" y="169035"/>
                      </a:lnTo>
                      <a:lnTo>
                        <a:pt x="28977" y="166620"/>
                      </a:lnTo>
                      <a:lnTo>
                        <a:pt x="31996" y="159980"/>
                      </a:lnTo>
                      <a:lnTo>
                        <a:pt x="36825" y="152736"/>
                      </a:lnTo>
                      <a:lnTo>
                        <a:pt x="34411" y="149717"/>
                      </a:lnTo>
                      <a:lnTo>
                        <a:pt x="37429" y="142473"/>
                      </a:lnTo>
                      <a:lnTo>
                        <a:pt x="39844" y="142473"/>
                      </a:lnTo>
                      <a:lnTo>
                        <a:pt x="41655" y="146095"/>
                      </a:lnTo>
                      <a:lnTo>
                        <a:pt x="45277" y="144284"/>
                      </a:lnTo>
                      <a:lnTo>
                        <a:pt x="45881" y="138850"/>
                      </a:lnTo>
                      <a:lnTo>
                        <a:pt x="48899" y="134624"/>
                      </a:lnTo>
                      <a:lnTo>
                        <a:pt x="47088" y="131606"/>
                      </a:lnTo>
                      <a:lnTo>
                        <a:pt x="41655" y="132813"/>
                      </a:lnTo>
                      <a:lnTo>
                        <a:pt x="37429" y="132210"/>
                      </a:lnTo>
                      <a:lnTo>
                        <a:pt x="37429" y="129795"/>
                      </a:lnTo>
                      <a:lnTo>
                        <a:pt x="35014" y="125569"/>
                      </a:lnTo>
                      <a:lnTo>
                        <a:pt x="35618" y="122551"/>
                      </a:lnTo>
                      <a:lnTo>
                        <a:pt x="39240" y="118928"/>
                      </a:lnTo>
                      <a:lnTo>
                        <a:pt x="47692" y="120739"/>
                      </a:lnTo>
                      <a:lnTo>
                        <a:pt x="50107" y="115306"/>
                      </a:lnTo>
                      <a:lnTo>
                        <a:pt x="53729" y="112288"/>
                      </a:lnTo>
                      <a:lnTo>
                        <a:pt x="49503" y="100818"/>
                      </a:lnTo>
                      <a:lnTo>
                        <a:pt x="53729" y="95988"/>
                      </a:lnTo>
                      <a:lnTo>
                        <a:pt x="57351" y="94177"/>
                      </a:lnTo>
                      <a:lnTo>
                        <a:pt x="59162" y="86932"/>
                      </a:lnTo>
                      <a:lnTo>
                        <a:pt x="64595" y="83914"/>
                      </a:lnTo>
                      <a:lnTo>
                        <a:pt x="65199" y="80292"/>
                      </a:lnTo>
                      <a:lnTo>
                        <a:pt x="69425" y="75462"/>
                      </a:lnTo>
                      <a:lnTo>
                        <a:pt x="72444" y="76066"/>
                      </a:lnTo>
                      <a:lnTo>
                        <a:pt x="80292" y="70633"/>
                      </a:lnTo>
                      <a:lnTo>
                        <a:pt x="83310" y="73651"/>
                      </a:lnTo>
                      <a:lnTo>
                        <a:pt x="88140" y="73651"/>
                      </a:lnTo>
                      <a:lnTo>
                        <a:pt x="91158" y="76066"/>
                      </a:lnTo>
                      <a:lnTo>
                        <a:pt x="95988" y="68822"/>
                      </a:lnTo>
                      <a:lnTo>
                        <a:pt x="100817" y="67010"/>
                      </a:lnTo>
                      <a:lnTo>
                        <a:pt x="108665" y="67010"/>
                      </a:lnTo>
                      <a:lnTo>
                        <a:pt x="114099" y="62181"/>
                      </a:lnTo>
                      <a:lnTo>
                        <a:pt x="117721" y="61577"/>
                      </a:lnTo>
                      <a:lnTo>
                        <a:pt x="120136" y="57955"/>
                      </a:lnTo>
                      <a:lnTo>
                        <a:pt x="124965" y="57955"/>
                      </a:lnTo>
                      <a:lnTo>
                        <a:pt x="127984" y="59766"/>
                      </a:lnTo>
                      <a:lnTo>
                        <a:pt x="132210" y="56748"/>
                      </a:lnTo>
                      <a:lnTo>
                        <a:pt x="137643" y="57351"/>
                      </a:lnTo>
                      <a:lnTo>
                        <a:pt x="145491" y="48296"/>
                      </a:lnTo>
                      <a:lnTo>
                        <a:pt x="150321" y="49503"/>
                      </a:lnTo>
                      <a:lnTo>
                        <a:pt x="151528" y="44070"/>
                      </a:lnTo>
                      <a:lnTo>
                        <a:pt x="155150" y="45277"/>
                      </a:lnTo>
                      <a:lnTo>
                        <a:pt x="162998" y="43466"/>
                      </a:lnTo>
                      <a:lnTo>
                        <a:pt x="166017" y="44070"/>
                      </a:lnTo>
                      <a:lnTo>
                        <a:pt x="170846" y="50711"/>
                      </a:lnTo>
                      <a:lnTo>
                        <a:pt x="172054" y="53729"/>
                      </a:lnTo>
                      <a:lnTo>
                        <a:pt x="176279" y="51314"/>
                      </a:lnTo>
                      <a:lnTo>
                        <a:pt x="181109" y="54936"/>
                      </a:lnTo>
                      <a:lnTo>
                        <a:pt x="185939" y="60370"/>
                      </a:lnTo>
                      <a:lnTo>
                        <a:pt x="186542" y="64596"/>
                      </a:lnTo>
                      <a:lnTo>
                        <a:pt x="200427" y="63992"/>
                      </a:lnTo>
                      <a:lnTo>
                        <a:pt x="206464" y="57351"/>
                      </a:lnTo>
                      <a:lnTo>
                        <a:pt x="213709" y="56748"/>
                      </a:lnTo>
                      <a:lnTo>
                        <a:pt x="220953" y="60973"/>
                      </a:lnTo>
                      <a:lnTo>
                        <a:pt x="223972" y="65803"/>
                      </a:lnTo>
                      <a:lnTo>
                        <a:pt x="229405" y="64596"/>
                      </a:lnTo>
                      <a:lnTo>
                        <a:pt x="233027" y="66407"/>
                      </a:lnTo>
                      <a:lnTo>
                        <a:pt x="244497" y="67010"/>
                      </a:lnTo>
                      <a:lnTo>
                        <a:pt x="253553" y="63992"/>
                      </a:lnTo>
                      <a:lnTo>
                        <a:pt x="255364" y="65803"/>
                      </a:lnTo>
                      <a:lnTo>
                        <a:pt x="254760" y="70633"/>
                      </a:lnTo>
                      <a:lnTo>
                        <a:pt x="258382" y="78481"/>
                      </a:lnTo>
                      <a:lnTo>
                        <a:pt x="267438" y="86329"/>
                      </a:lnTo>
                      <a:lnTo>
                        <a:pt x="271060" y="88744"/>
                      </a:lnTo>
                      <a:lnTo>
                        <a:pt x="275890" y="85725"/>
                      </a:lnTo>
                      <a:lnTo>
                        <a:pt x="284341" y="88140"/>
                      </a:lnTo>
                      <a:lnTo>
                        <a:pt x="289171" y="85725"/>
                      </a:lnTo>
                      <a:lnTo>
                        <a:pt x="295208" y="85121"/>
                      </a:lnTo>
                      <a:lnTo>
                        <a:pt x="291586" y="78481"/>
                      </a:lnTo>
                      <a:lnTo>
                        <a:pt x="290378" y="70029"/>
                      </a:lnTo>
                      <a:lnTo>
                        <a:pt x="284945" y="67010"/>
                      </a:lnTo>
                      <a:lnTo>
                        <a:pt x="282530" y="63992"/>
                      </a:lnTo>
                      <a:lnTo>
                        <a:pt x="282530" y="60370"/>
                      </a:lnTo>
                      <a:lnTo>
                        <a:pt x="277701" y="57351"/>
                      </a:lnTo>
                      <a:lnTo>
                        <a:pt x="277097" y="51314"/>
                      </a:lnTo>
                      <a:lnTo>
                        <a:pt x="278908" y="49503"/>
                      </a:lnTo>
                      <a:lnTo>
                        <a:pt x="278908" y="44674"/>
                      </a:lnTo>
                      <a:lnTo>
                        <a:pt x="280115" y="41051"/>
                      </a:lnTo>
                      <a:lnTo>
                        <a:pt x="280115" y="35014"/>
                      </a:lnTo>
                      <a:lnTo>
                        <a:pt x="281323" y="31996"/>
                      </a:lnTo>
                      <a:lnTo>
                        <a:pt x="292189" y="27770"/>
                      </a:lnTo>
                      <a:lnTo>
                        <a:pt x="294604" y="25355"/>
                      </a:lnTo>
                      <a:lnTo>
                        <a:pt x="297623" y="16904"/>
                      </a:lnTo>
                      <a:lnTo>
                        <a:pt x="303056" y="10263"/>
                      </a:lnTo>
                      <a:lnTo>
                        <a:pt x="303660" y="3622"/>
                      </a:lnTo>
                      <a:lnTo>
                        <a:pt x="307886" y="0"/>
                      </a:lnTo>
                      <a:lnTo>
                        <a:pt x="311508" y="3018"/>
                      </a:lnTo>
                      <a:lnTo>
                        <a:pt x="322374" y="7848"/>
                      </a:lnTo>
                      <a:lnTo>
                        <a:pt x="326600" y="14489"/>
                      </a:lnTo>
                      <a:lnTo>
                        <a:pt x="329619" y="17507"/>
                      </a:lnTo>
                      <a:lnTo>
                        <a:pt x="332637" y="24148"/>
                      </a:lnTo>
                      <a:lnTo>
                        <a:pt x="336863" y="28977"/>
                      </a:lnTo>
                      <a:lnTo>
                        <a:pt x="341692" y="32600"/>
                      </a:lnTo>
                      <a:lnTo>
                        <a:pt x="341692" y="36222"/>
                      </a:lnTo>
                      <a:lnTo>
                        <a:pt x="347126" y="42259"/>
                      </a:lnTo>
                      <a:lnTo>
                        <a:pt x="344107" y="48900"/>
                      </a:lnTo>
                      <a:lnTo>
                        <a:pt x="344107" y="52522"/>
                      </a:lnTo>
                      <a:lnTo>
                        <a:pt x="350144" y="54333"/>
                      </a:lnTo>
                      <a:lnTo>
                        <a:pt x="355578" y="66407"/>
                      </a:lnTo>
                      <a:lnTo>
                        <a:pt x="354370" y="70029"/>
                      </a:lnTo>
                      <a:lnTo>
                        <a:pt x="357992" y="77877"/>
                      </a:lnTo>
                      <a:lnTo>
                        <a:pt x="362822" y="82707"/>
                      </a:lnTo>
                      <a:lnTo>
                        <a:pt x="374896" y="85121"/>
                      </a:lnTo>
                      <a:lnTo>
                        <a:pt x="376707" y="93573"/>
                      </a:lnTo>
                      <a:lnTo>
                        <a:pt x="379726" y="95384"/>
                      </a:lnTo>
                      <a:lnTo>
                        <a:pt x="380933" y="104440"/>
                      </a:lnTo>
                      <a:lnTo>
                        <a:pt x="398440" y="103836"/>
                      </a:lnTo>
                      <a:lnTo>
                        <a:pt x="400251" y="108062"/>
                      </a:lnTo>
                      <a:lnTo>
                        <a:pt x="403873" y="111684"/>
                      </a:lnTo>
                      <a:lnTo>
                        <a:pt x="403270" y="115306"/>
                      </a:lnTo>
                      <a:lnTo>
                        <a:pt x="406892" y="115910"/>
                      </a:lnTo>
                      <a:lnTo>
                        <a:pt x="405684" y="120136"/>
                      </a:lnTo>
                      <a:lnTo>
                        <a:pt x="416551" y="127380"/>
                      </a:lnTo>
                      <a:lnTo>
                        <a:pt x="424399" y="121947"/>
                      </a:lnTo>
                      <a:lnTo>
                        <a:pt x="429832" y="120739"/>
                      </a:lnTo>
                      <a:lnTo>
                        <a:pt x="431040" y="117117"/>
                      </a:lnTo>
                      <a:lnTo>
                        <a:pt x="439492" y="118325"/>
                      </a:lnTo>
                      <a:lnTo>
                        <a:pt x="445528" y="115910"/>
                      </a:lnTo>
                      <a:lnTo>
                        <a:pt x="449754" y="112288"/>
                      </a:lnTo>
                      <a:lnTo>
                        <a:pt x="452773" y="115306"/>
                      </a:lnTo>
                      <a:lnTo>
                        <a:pt x="463036" y="118928"/>
                      </a:lnTo>
                      <a:lnTo>
                        <a:pt x="467262" y="117721"/>
                      </a:lnTo>
                      <a:lnTo>
                        <a:pt x="472091" y="118928"/>
                      </a:lnTo>
                      <a:lnTo>
                        <a:pt x="477524" y="131606"/>
                      </a:lnTo>
                      <a:lnTo>
                        <a:pt x="481147" y="132210"/>
                      </a:lnTo>
                      <a:lnTo>
                        <a:pt x="484769" y="139454"/>
                      </a:lnTo>
                      <a:lnTo>
                        <a:pt x="490202" y="139454"/>
                      </a:lnTo>
                      <a:lnTo>
                        <a:pt x="501069" y="145491"/>
                      </a:lnTo>
                      <a:lnTo>
                        <a:pt x="507106" y="150924"/>
                      </a:lnTo>
                      <a:lnTo>
                        <a:pt x="511331" y="150924"/>
                      </a:lnTo>
                      <a:lnTo>
                        <a:pt x="516765" y="156961"/>
                      </a:lnTo>
                      <a:lnTo>
                        <a:pt x="517368" y="161791"/>
                      </a:lnTo>
                      <a:lnTo>
                        <a:pt x="523405" y="166620"/>
                      </a:lnTo>
                      <a:lnTo>
                        <a:pt x="530650" y="162395"/>
                      </a:lnTo>
                      <a:lnTo>
                        <a:pt x="530650" y="158772"/>
                      </a:lnTo>
                      <a:lnTo>
                        <a:pt x="534876" y="158772"/>
                      </a:lnTo>
                      <a:lnTo>
                        <a:pt x="540309" y="164809"/>
                      </a:lnTo>
                      <a:lnTo>
                        <a:pt x="541516" y="170243"/>
                      </a:lnTo>
                      <a:lnTo>
                        <a:pt x="545139" y="172054"/>
                      </a:lnTo>
                      <a:lnTo>
                        <a:pt x="548157" y="170243"/>
                      </a:lnTo>
                      <a:lnTo>
                        <a:pt x="551176" y="175676"/>
                      </a:lnTo>
                      <a:lnTo>
                        <a:pt x="547553" y="186542"/>
                      </a:lnTo>
                      <a:lnTo>
                        <a:pt x="539705" y="190768"/>
                      </a:lnTo>
                      <a:lnTo>
                        <a:pt x="539102" y="193183"/>
                      </a:lnTo>
                      <a:lnTo>
                        <a:pt x="545139" y="198616"/>
                      </a:lnTo>
                      <a:lnTo>
                        <a:pt x="543328" y="202842"/>
                      </a:lnTo>
                      <a:lnTo>
                        <a:pt x="545742" y="205861"/>
                      </a:lnTo>
                      <a:lnTo>
                        <a:pt x="544535" y="210087"/>
                      </a:lnTo>
                      <a:lnTo>
                        <a:pt x="545742" y="213709"/>
                      </a:lnTo>
                      <a:lnTo>
                        <a:pt x="551779" y="217935"/>
                      </a:lnTo>
                      <a:lnTo>
                        <a:pt x="559627" y="215520"/>
                      </a:lnTo>
                      <a:lnTo>
                        <a:pt x="565060" y="217331"/>
                      </a:lnTo>
                      <a:lnTo>
                        <a:pt x="567475" y="220953"/>
                      </a:lnTo>
                      <a:lnTo>
                        <a:pt x="578342" y="226990"/>
                      </a:lnTo>
                      <a:lnTo>
                        <a:pt x="584983" y="226386"/>
                      </a:lnTo>
                      <a:lnTo>
                        <a:pt x="589208" y="232423"/>
                      </a:lnTo>
                      <a:lnTo>
                        <a:pt x="596453" y="234838"/>
                      </a:lnTo>
                      <a:lnTo>
                        <a:pt x="602490" y="236046"/>
                      </a:lnTo>
                      <a:lnTo>
                        <a:pt x="606112" y="240875"/>
                      </a:lnTo>
                      <a:lnTo>
                        <a:pt x="611545" y="242686"/>
                      </a:lnTo>
                      <a:lnTo>
                        <a:pt x="616978" y="241479"/>
                      </a:lnTo>
                      <a:lnTo>
                        <a:pt x="618790" y="236046"/>
                      </a:lnTo>
                      <a:lnTo>
                        <a:pt x="624827" y="237857"/>
                      </a:lnTo>
                      <a:lnTo>
                        <a:pt x="635693" y="246912"/>
                      </a:lnTo>
                      <a:lnTo>
                        <a:pt x="638108" y="246309"/>
                      </a:lnTo>
                      <a:lnTo>
                        <a:pt x="646560" y="252949"/>
                      </a:lnTo>
                      <a:lnTo>
                        <a:pt x="653200" y="257175"/>
                      </a:lnTo>
                      <a:lnTo>
                        <a:pt x="658634" y="263212"/>
                      </a:lnTo>
                      <a:lnTo>
                        <a:pt x="661652" y="269853"/>
                      </a:lnTo>
                      <a:lnTo>
                        <a:pt x="669500" y="276493"/>
                      </a:lnTo>
                      <a:lnTo>
                        <a:pt x="676744" y="279512"/>
                      </a:lnTo>
                      <a:lnTo>
                        <a:pt x="684593" y="281323"/>
                      </a:lnTo>
                      <a:lnTo>
                        <a:pt x="691233" y="284341"/>
                      </a:lnTo>
                      <a:lnTo>
                        <a:pt x="706929" y="288567"/>
                      </a:lnTo>
                      <a:lnTo>
                        <a:pt x="710552" y="290378"/>
                      </a:lnTo>
                      <a:lnTo>
                        <a:pt x="712363" y="296415"/>
                      </a:lnTo>
                      <a:lnTo>
                        <a:pt x="706326" y="294001"/>
                      </a:lnTo>
                      <a:lnTo>
                        <a:pt x="703911" y="296415"/>
                      </a:lnTo>
                      <a:lnTo>
                        <a:pt x="693648" y="296415"/>
                      </a:lnTo>
                      <a:lnTo>
                        <a:pt x="690026" y="300038"/>
                      </a:lnTo>
                      <a:lnTo>
                        <a:pt x="684593" y="306678"/>
                      </a:lnTo>
                      <a:lnTo>
                        <a:pt x="683989" y="309697"/>
                      </a:lnTo>
                      <a:lnTo>
                        <a:pt x="680367" y="312715"/>
                      </a:lnTo>
                      <a:lnTo>
                        <a:pt x="683989" y="321167"/>
                      </a:lnTo>
                      <a:lnTo>
                        <a:pt x="676744" y="325393"/>
                      </a:lnTo>
                      <a:lnTo>
                        <a:pt x="676744" y="328411"/>
                      </a:lnTo>
                      <a:lnTo>
                        <a:pt x="671915" y="329015"/>
                      </a:lnTo>
                      <a:lnTo>
                        <a:pt x="668896" y="331430"/>
                      </a:lnTo>
                      <a:lnTo>
                        <a:pt x="663463" y="339278"/>
                      </a:lnTo>
                      <a:lnTo>
                        <a:pt x="659237" y="341089"/>
                      </a:lnTo>
                      <a:lnTo>
                        <a:pt x="658634" y="346522"/>
                      </a:lnTo>
                      <a:lnTo>
                        <a:pt x="654408" y="353163"/>
                      </a:lnTo>
                      <a:lnTo>
                        <a:pt x="650786" y="352559"/>
                      </a:lnTo>
                      <a:lnTo>
                        <a:pt x="641730" y="362822"/>
                      </a:lnTo>
                      <a:lnTo>
                        <a:pt x="636297" y="363426"/>
                      </a:lnTo>
                      <a:lnTo>
                        <a:pt x="633882" y="361615"/>
                      </a:lnTo>
                      <a:lnTo>
                        <a:pt x="627241" y="362822"/>
                      </a:lnTo>
                      <a:lnTo>
                        <a:pt x="624223" y="365237"/>
                      </a:lnTo>
                      <a:lnTo>
                        <a:pt x="621204" y="371274"/>
                      </a:lnTo>
                      <a:lnTo>
                        <a:pt x="620601" y="377914"/>
                      </a:lnTo>
                      <a:lnTo>
                        <a:pt x="617582" y="383951"/>
                      </a:lnTo>
                      <a:lnTo>
                        <a:pt x="616375" y="388177"/>
                      </a:lnTo>
                      <a:lnTo>
                        <a:pt x="610338" y="394214"/>
                      </a:lnTo>
                      <a:lnTo>
                        <a:pt x="607319" y="394818"/>
                      </a:lnTo>
                      <a:lnTo>
                        <a:pt x="604301" y="401459"/>
                      </a:lnTo>
                      <a:lnTo>
                        <a:pt x="598264" y="400251"/>
                      </a:lnTo>
                      <a:lnTo>
                        <a:pt x="586794" y="402666"/>
                      </a:lnTo>
                      <a:lnTo>
                        <a:pt x="581964" y="412325"/>
                      </a:lnTo>
                      <a:lnTo>
                        <a:pt x="577738" y="414740"/>
                      </a:lnTo>
                      <a:lnTo>
                        <a:pt x="581964" y="430436"/>
                      </a:lnTo>
                      <a:lnTo>
                        <a:pt x="583171" y="432851"/>
                      </a:lnTo>
                      <a:lnTo>
                        <a:pt x="588605" y="435869"/>
                      </a:lnTo>
                      <a:lnTo>
                        <a:pt x="589208" y="440699"/>
                      </a:lnTo>
                      <a:lnTo>
                        <a:pt x="586190" y="444925"/>
                      </a:lnTo>
                      <a:lnTo>
                        <a:pt x="586794" y="449151"/>
                      </a:lnTo>
                      <a:lnTo>
                        <a:pt x="583171" y="452169"/>
                      </a:lnTo>
                      <a:lnTo>
                        <a:pt x="580757" y="456999"/>
                      </a:lnTo>
                      <a:lnTo>
                        <a:pt x="574720" y="458810"/>
                      </a:lnTo>
                      <a:lnTo>
                        <a:pt x="572909" y="461828"/>
                      </a:lnTo>
                      <a:lnTo>
                        <a:pt x="575927" y="463640"/>
                      </a:lnTo>
                      <a:lnTo>
                        <a:pt x="572909" y="469073"/>
                      </a:lnTo>
                      <a:lnTo>
                        <a:pt x="563249" y="474506"/>
                      </a:lnTo>
                      <a:lnTo>
                        <a:pt x="562042" y="478128"/>
                      </a:lnTo>
                      <a:lnTo>
                        <a:pt x="565060" y="482958"/>
                      </a:lnTo>
                      <a:lnTo>
                        <a:pt x="552987" y="484165"/>
                      </a:lnTo>
                      <a:lnTo>
                        <a:pt x="552383" y="492617"/>
                      </a:lnTo>
                      <a:lnTo>
                        <a:pt x="559023" y="497446"/>
                      </a:lnTo>
                      <a:lnTo>
                        <a:pt x="558420" y="504087"/>
                      </a:lnTo>
                      <a:lnTo>
                        <a:pt x="563853" y="513143"/>
                      </a:lnTo>
                      <a:lnTo>
                        <a:pt x="567475" y="515557"/>
                      </a:lnTo>
                      <a:lnTo>
                        <a:pt x="568079" y="518576"/>
                      </a:lnTo>
                      <a:lnTo>
                        <a:pt x="565060" y="522198"/>
                      </a:lnTo>
                      <a:lnTo>
                        <a:pt x="563249" y="543327"/>
                      </a:lnTo>
                      <a:lnTo>
                        <a:pt x="559023" y="540913"/>
                      </a:lnTo>
                      <a:lnTo>
                        <a:pt x="552383" y="542120"/>
                      </a:lnTo>
                      <a:lnTo>
                        <a:pt x="555401" y="545742"/>
                      </a:lnTo>
                      <a:lnTo>
                        <a:pt x="556005" y="550572"/>
                      </a:lnTo>
                      <a:lnTo>
                        <a:pt x="559023" y="555401"/>
                      </a:lnTo>
                      <a:lnTo>
                        <a:pt x="554798" y="557213"/>
                      </a:lnTo>
                      <a:lnTo>
                        <a:pt x="550572" y="562042"/>
                      </a:lnTo>
                      <a:lnTo>
                        <a:pt x="545742" y="560835"/>
                      </a:lnTo>
                      <a:lnTo>
                        <a:pt x="540309" y="557213"/>
                      </a:lnTo>
                      <a:lnTo>
                        <a:pt x="532461" y="565664"/>
                      </a:lnTo>
                      <a:lnTo>
                        <a:pt x="528839" y="575324"/>
                      </a:lnTo>
                      <a:lnTo>
                        <a:pt x="528839" y="588605"/>
                      </a:lnTo>
                      <a:lnTo>
                        <a:pt x="527028" y="594038"/>
                      </a:lnTo>
                      <a:lnTo>
                        <a:pt x="522198" y="595849"/>
                      </a:lnTo>
                      <a:lnTo>
                        <a:pt x="514350" y="609734"/>
                      </a:lnTo>
                      <a:lnTo>
                        <a:pt x="515557" y="628449"/>
                      </a:lnTo>
                      <a:lnTo>
                        <a:pt x="517368" y="629656"/>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14" name="West Bengal" descr="{&quot;Key&quot;:&quot;west bengal&quot;,&quot;Name&quot;:&quot;West Bengal&quot;,&quot;Value&quot;:1.0,&quot;Formula&quot;:&quot;&quot;,&quot;Text&quot;:&quot;&quot;,&quot;OfficeApplication&quot;:1,&quot;HasValue&quot;:true}">
                  <a:extLst>
                    <a:ext uri="{FF2B5EF4-FFF2-40B4-BE49-F238E27FC236}">
                      <a16:creationId xmlns:a16="http://schemas.microsoft.com/office/drawing/2014/main" id="{1DBB6619-2266-416E-8050-E6703815FE6F}"/>
                    </a:ext>
                  </a:extLst>
                </p:cNvPr>
                <p:cNvSpPr/>
                <p:nvPr/>
              </p:nvSpPr>
              <p:spPr>
                <a:xfrm>
                  <a:off x="6720223" y="2411770"/>
                  <a:ext cx="833102" cy="1285875"/>
                </a:xfrm>
                <a:custGeom>
                  <a:avLst/>
                  <a:gdLst>
                    <a:gd name="connsiteX0" fmla="*/ 550572 w 833102"/>
                    <a:gd name="connsiteY0" fmla="*/ 1273198 h 1285875"/>
                    <a:gd name="connsiteX1" fmla="*/ 557212 w 833102"/>
                    <a:gd name="connsiteY1" fmla="*/ 1276820 h 1285875"/>
                    <a:gd name="connsiteX2" fmla="*/ 557212 w 833102"/>
                    <a:gd name="connsiteY2" fmla="*/ 1285875 h 1285875"/>
                    <a:gd name="connsiteX3" fmla="*/ 552383 w 833102"/>
                    <a:gd name="connsiteY3" fmla="*/ 1286479 h 1285875"/>
                    <a:gd name="connsiteX4" fmla="*/ 546950 w 833102"/>
                    <a:gd name="connsiteY4" fmla="*/ 1283460 h 1285875"/>
                    <a:gd name="connsiteX5" fmla="*/ 548157 w 833102"/>
                    <a:gd name="connsiteY5" fmla="*/ 1275612 h 1285875"/>
                    <a:gd name="connsiteX6" fmla="*/ 550572 w 833102"/>
                    <a:gd name="connsiteY6" fmla="*/ 1273198 h 1285875"/>
                    <a:gd name="connsiteX7" fmla="*/ 619997 w 833102"/>
                    <a:gd name="connsiteY7" fmla="*/ 1271990 h 1285875"/>
                    <a:gd name="connsiteX8" fmla="*/ 628449 w 833102"/>
                    <a:gd name="connsiteY8" fmla="*/ 1275009 h 1285875"/>
                    <a:gd name="connsiteX9" fmla="*/ 632071 w 833102"/>
                    <a:gd name="connsiteY9" fmla="*/ 1278027 h 1285875"/>
                    <a:gd name="connsiteX10" fmla="*/ 633278 w 833102"/>
                    <a:gd name="connsiteY10" fmla="*/ 1284064 h 1285875"/>
                    <a:gd name="connsiteX11" fmla="*/ 623619 w 833102"/>
                    <a:gd name="connsiteY11" fmla="*/ 1284668 h 1285875"/>
                    <a:gd name="connsiteX12" fmla="*/ 619997 w 833102"/>
                    <a:gd name="connsiteY12" fmla="*/ 1282253 h 1285875"/>
                    <a:gd name="connsiteX13" fmla="*/ 618790 w 833102"/>
                    <a:gd name="connsiteY13" fmla="*/ 1278631 h 1285875"/>
                    <a:gd name="connsiteX14" fmla="*/ 619997 w 833102"/>
                    <a:gd name="connsiteY14" fmla="*/ 1271990 h 1285875"/>
                    <a:gd name="connsiteX15" fmla="*/ 598264 w 833102"/>
                    <a:gd name="connsiteY15" fmla="*/ 1265349 h 1285875"/>
                    <a:gd name="connsiteX16" fmla="*/ 598264 w 833102"/>
                    <a:gd name="connsiteY16" fmla="*/ 1265953 h 1285875"/>
                    <a:gd name="connsiteX17" fmla="*/ 599471 w 833102"/>
                    <a:gd name="connsiteY17" fmla="*/ 1263538 h 1285875"/>
                    <a:gd name="connsiteX18" fmla="*/ 606716 w 833102"/>
                    <a:gd name="connsiteY18" fmla="*/ 1261727 h 1285875"/>
                    <a:gd name="connsiteX19" fmla="*/ 607319 w 833102"/>
                    <a:gd name="connsiteY19" fmla="*/ 1268972 h 1285875"/>
                    <a:gd name="connsiteX20" fmla="*/ 612149 w 833102"/>
                    <a:gd name="connsiteY20" fmla="*/ 1275009 h 1285875"/>
                    <a:gd name="connsiteX21" fmla="*/ 610338 w 833102"/>
                    <a:gd name="connsiteY21" fmla="*/ 1277423 h 1285875"/>
                    <a:gd name="connsiteX22" fmla="*/ 602490 w 833102"/>
                    <a:gd name="connsiteY22" fmla="*/ 1278027 h 1285875"/>
                    <a:gd name="connsiteX23" fmla="*/ 602490 w 833102"/>
                    <a:gd name="connsiteY23" fmla="*/ 1275009 h 1285875"/>
                    <a:gd name="connsiteX24" fmla="*/ 603697 w 833102"/>
                    <a:gd name="connsiteY24" fmla="*/ 1274405 h 1285875"/>
                    <a:gd name="connsiteX25" fmla="*/ 604301 w 833102"/>
                    <a:gd name="connsiteY25" fmla="*/ 1273198 h 1285875"/>
                    <a:gd name="connsiteX26" fmla="*/ 603093 w 833102"/>
                    <a:gd name="connsiteY26" fmla="*/ 1271990 h 1285875"/>
                    <a:gd name="connsiteX27" fmla="*/ 600075 w 833102"/>
                    <a:gd name="connsiteY27" fmla="*/ 1270783 h 1285875"/>
                    <a:gd name="connsiteX28" fmla="*/ 598867 w 833102"/>
                    <a:gd name="connsiteY28" fmla="*/ 1266557 h 1285875"/>
                    <a:gd name="connsiteX29" fmla="*/ 599471 w 833102"/>
                    <a:gd name="connsiteY29" fmla="*/ 1270783 h 1285875"/>
                    <a:gd name="connsiteX30" fmla="*/ 603697 w 833102"/>
                    <a:gd name="connsiteY30" fmla="*/ 1273198 h 1285875"/>
                    <a:gd name="connsiteX31" fmla="*/ 601886 w 833102"/>
                    <a:gd name="connsiteY31" fmla="*/ 1275612 h 1285875"/>
                    <a:gd name="connsiteX32" fmla="*/ 600679 w 833102"/>
                    <a:gd name="connsiteY32" fmla="*/ 1279235 h 1285875"/>
                    <a:gd name="connsiteX33" fmla="*/ 595245 w 833102"/>
                    <a:gd name="connsiteY33" fmla="*/ 1278027 h 1285875"/>
                    <a:gd name="connsiteX34" fmla="*/ 594038 w 833102"/>
                    <a:gd name="connsiteY34" fmla="*/ 1275612 h 1285875"/>
                    <a:gd name="connsiteX35" fmla="*/ 594642 w 833102"/>
                    <a:gd name="connsiteY35" fmla="*/ 1267764 h 1285875"/>
                    <a:gd name="connsiteX36" fmla="*/ 598264 w 833102"/>
                    <a:gd name="connsiteY36" fmla="*/ 1265349 h 1285875"/>
                    <a:gd name="connsiteX37" fmla="*/ 558420 w 833102"/>
                    <a:gd name="connsiteY37" fmla="*/ 1264746 h 1285875"/>
                    <a:gd name="connsiteX38" fmla="*/ 562646 w 833102"/>
                    <a:gd name="connsiteY38" fmla="*/ 1266557 h 1285875"/>
                    <a:gd name="connsiteX39" fmla="*/ 568079 w 833102"/>
                    <a:gd name="connsiteY39" fmla="*/ 1270783 h 1285875"/>
                    <a:gd name="connsiteX40" fmla="*/ 568682 w 833102"/>
                    <a:gd name="connsiteY40" fmla="*/ 1275612 h 1285875"/>
                    <a:gd name="connsiteX41" fmla="*/ 566268 w 833102"/>
                    <a:gd name="connsiteY41" fmla="*/ 1279235 h 1285875"/>
                    <a:gd name="connsiteX42" fmla="*/ 561438 w 833102"/>
                    <a:gd name="connsiteY42" fmla="*/ 1281649 h 1285875"/>
                    <a:gd name="connsiteX43" fmla="*/ 558420 w 833102"/>
                    <a:gd name="connsiteY43" fmla="*/ 1275612 h 1285875"/>
                    <a:gd name="connsiteX44" fmla="*/ 552987 w 833102"/>
                    <a:gd name="connsiteY44" fmla="*/ 1273198 h 1285875"/>
                    <a:gd name="connsiteX45" fmla="*/ 558420 w 833102"/>
                    <a:gd name="connsiteY45" fmla="*/ 1264746 h 1285875"/>
                    <a:gd name="connsiteX46" fmla="*/ 653200 w 833102"/>
                    <a:gd name="connsiteY46" fmla="*/ 1267161 h 1285875"/>
                    <a:gd name="connsiteX47" fmla="*/ 651389 w 833102"/>
                    <a:gd name="connsiteY47" fmla="*/ 1270179 h 1285875"/>
                    <a:gd name="connsiteX48" fmla="*/ 644749 w 833102"/>
                    <a:gd name="connsiteY48" fmla="*/ 1269575 h 1285875"/>
                    <a:gd name="connsiteX49" fmla="*/ 641730 w 833102"/>
                    <a:gd name="connsiteY49" fmla="*/ 1262935 h 1285875"/>
                    <a:gd name="connsiteX50" fmla="*/ 644749 w 833102"/>
                    <a:gd name="connsiteY50" fmla="*/ 1256294 h 1285875"/>
                    <a:gd name="connsiteX51" fmla="*/ 646560 w 833102"/>
                    <a:gd name="connsiteY51" fmla="*/ 1262331 h 1285875"/>
                    <a:gd name="connsiteX52" fmla="*/ 646560 w 833102"/>
                    <a:gd name="connsiteY52" fmla="*/ 1259312 h 1285875"/>
                    <a:gd name="connsiteX53" fmla="*/ 644145 w 833102"/>
                    <a:gd name="connsiteY53" fmla="*/ 1250861 h 1285875"/>
                    <a:gd name="connsiteX54" fmla="*/ 643541 w 833102"/>
                    <a:gd name="connsiteY54" fmla="*/ 1250861 h 1285875"/>
                    <a:gd name="connsiteX55" fmla="*/ 638108 w 833102"/>
                    <a:gd name="connsiteY55" fmla="*/ 1246635 h 1285875"/>
                    <a:gd name="connsiteX56" fmla="*/ 639919 w 833102"/>
                    <a:gd name="connsiteY56" fmla="*/ 1243013 h 1285875"/>
                    <a:gd name="connsiteX57" fmla="*/ 638712 w 833102"/>
                    <a:gd name="connsiteY57" fmla="*/ 1237579 h 1285875"/>
                    <a:gd name="connsiteX58" fmla="*/ 643541 w 833102"/>
                    <a:gd name="connsiteY58" fmla="*/ 1238183 h 1285875"/>
                    <a:gd name="connsiteX59" fmla="*/ 647163 w 833102"/>
                    <a:gd name="connsiteY59" fmla="*/ 1239994 h 1285875"/>
                    <a:gd name="connsiteX60" fmla="*/ 645956 w 833102"/>
                    <a:gd name="connsiteY60" fmla="*/ 1238787 h 1285875"/>
                    <a:gd name="connsiteX61" fmla="*/ 647163 w 833102"/>
                    <a:gd name="connsiteY61" fmla="*/ 1235164 h 1285875"/>
                    <a:gd name="connsiteX62" fmla="*/ 648975 w 833102"/>
                    <a:gd name="connsiteY62" fmla="*/ 1234561 h 1285875"/>
                    <a:gd name="connsiteX63" fmla="*/ 651993 w 833102"/>
                    <a:gd name="connsiteY63" fmla="*/ 1231542 h 1285875"/>
                    <a:gd name="connsiteX64" fmla="*/ 653804 w 833102"/>
                    <a:gd name="connsiteY64" fmla="*/ 1232146 h 1285875"/>
                    <a:gd name="connsiteX65" fmla="*/ 653804 w 833102"/>
                    <a:gd name="connsiteY65" fmla="*/ 1239994 h 1285875"/>
                    <a:gd name="connsiteX66" fmla="*/ 656219 w 833102"/>
                    <a:gd name="connsiteY66" fmla="*/ 1243616 h 1285875"/>
                    <a:gd name="connsiteX67" fmla="*/ 655011 w 833102"/>
                    <a:gd name="connsiteY67" fmla="*/ 1247238 h 1285875"/>
                    <a:gd name="connsiteX68" fmla="*/ 652597 w 833102"/>
                    <a:gd name="connsiteY68" fmla="*/ 1246031 h 1285875"/>
                    <a:gd name="connsiteX69" fmla="*/ 648975 w 833102"/>
                    <a:gd name="connsiteY69" fmla="*/ 1244824 h 1285875"/>
                    <a:gd name="connsiteX70" fmla="*/ 651993 w 833102"/>
                    <a:gd name="connsiteY70" fmla="*/ 1242409 h 1285875"/>
                    <a:gd name="connsiteX71" fmla="*/ 650786 w 833102"/>
                    <a:gd name="connsiteY71" fmla="*/ 1240598 h 1285875"/>
                    <a:gd name="connsiteX72" fmla="*/ 647767 w 833102"/>
                    <a:gd name="connsiteY72" fmla="*/ 1242409 h 1285875"/>
                    <a:gd name="connsiteX73" fmla="*/ 647767 w 833102"/>
                    <a:gd name="connsiteY73" fmla="*/ 1247238 h 1285875"/>
                    <a:gd name="connsiteX74" fmla="*/ 650786 w 833102"/>
                    <a:gd name="connsiteY74" fmla="*/ 1249653 h 1285875"/>
                    <a:gd name="connsiteX75" fmla="*/ 651993 w 833102"/>
                    <a:gd name="connsiteY75" fmla="*/ 1250861 h 1285875"/>
                    <a:gd name="connsiteX76" fmla="*/ 652597 w 833102"/>
                    <a:gd name="connsiteY76" fmla="*/ 1257501 h 1285875"/>
                    <a:gd name="connsiteX77" fmla="*/ 651389 w 833102"/>
                    <a:gd name="connsiteY77" fmla="*/ 1258709 h 1285875"/>
                    <a:gd name="connsiteX78" fmla="*/ 651389 w 833102"/>
                    <a:gd name="connsiteY78" fmla="*/ 1261727 h 1285875"/>
                    <a:gd name="connsiteX79" fmla="*/ 652597 w 833102"/>
                    <a:gd name="connsiteY79" fmla="*/ 1262331 h 1285875"/>
                    <a:gd name="connsiteX80" fmla="*/ 655615 w 833102"/>
                    <a:gd name="connsiteY80" fmla="*/ 1261727 h 1285875"/>
                    <a:gd name="connsiteX81" fmla="*/ 658634 w 833102"/>
                    <a:gd name="connsiteY81" fmla="*/ 1261124 h 1285875"/>
                    <a:gd name="connsiteX82" fmla="*/ 659237 w 833102"/>
                    <a:gd name="connsiteY82" fmla="*/ 1266557 h 1285875"/>
                    <a:gd name="connsiteX83" fmla="*/ 661652 w 833102"/>
                    <a:gd name="connsiteY83" fmla="*/ 1267764 h 1285875"/>
                    <a:gd name="connsiteX84" fmla="*/ 659841 w 833102"/>
                    <a:gd name="connsiteY84" fmla="*/ 1271990 h 1285875"/>
                    <a:gd name="connsiteX85" fmla="*/ 653804 w 833102"/>
                    <a:gd name="connsiteY85" fmla="*/ 1272594 h 1285875"/>
                    <a:gd name="connsiteX86" fmla="*/ 653200 w 833102"/>
                    <a:gd name="connsiteY86" fmla="*/ 1267161 h 1285875"/>
                    <a:gd name="connsiteX87" fmla="*/ 647163 w 833102"/>
                    <a:gd name="connsiteY87" fmla="*/ 1264142 h 1285875"/>
                    <a:gd name="connsiteX88" fmla="*/ 651389 w 833102"/>
                    <a:gd name="connsiteY88" fmla="*/ 1263538 h 1285875"/>
                    <a:gd name="connsiteX89" fmla="*/ 653200 w 833102"/>
                    <a:gd name="connsiteY89" fmla="*/ 1266557 h 1285875"/>
                    <a:gd name="connsiteX90" fmla="*/ 652597 w 833102"/>
                    <a:gd name="connsiteY90" fmla="*/ 1264142 h 1285875"/>
                    <a:gd name="connsiteX91" fmla="*/ 651389 w 833102"/>
                    <a:gd name="connsiteY91" fmla="*/ 1262935 h 1285875"/>
                    <a:gd name="connsiteX92" fmla="*/ 647163 w 833102"/>
                    <a:gd name="connsiteY92" fmla="*/ 1263538 h 1285875"/>
                    <a:gd name="connsiteX93" fmla="*/ 647163 w 833102"/>
                    <a:gd name="connsiteY93" fmla="*/ 1264142 h 1285875"/>
                    <a:gd name="connsiteX94" fmla="*/ 566871 w 833102"/>
                    <a:gd name="connsiteY94" fmla="*/ 1252672 h 1285875"/>
                    <a:gd name="connsiteX95" fmla="*/ 568682 w 833102"/>
                    <a:gd name="connsiteY95" fmla="*/ 1260520 h 1285875"/>
                    <a:gd name="connsiteX96" fmla="*/ 571097 w 833102"/>
                    <a:gd name="connsiteY96" fmla="*/ 1264142 h 1285875"/>
                    <a:gd name="connsiteX97" fmla="*/ 569890 w 833102"/>
                    <a:gd name="connsiteY97" fmla="*/ 1269575 h 1285875"/>
                    <a:gd name="connsiteX98" fmla="*/ 562646 w 833102"/>
                    <a:gd name="connsiteY98" fmla="*/ 1265349 h 1285875"/>
                    <a:gd name="connsiteX99" fmla="*/ 562042 w 833102"/>
                    <a:gd name="connsiteY99" fmla="*/ 1262935 h 1285875"/>
                    <a:gd name="connsiteX100" fmla="*/ 565664 w 833102"/>
                    <a:gd name="connsiteY100" fmla="*/ 1258709 h 1285875"/>
                    <a:gd name="connsiteX101" fmla="*/ 566871 w 833102"/>
                    <a:gd name="connsiteY101" fmla="*/ 1252672 h 1285875"/>
                    <a:gd name="connsiteX102" fmla="*/ 569890 w 833102"/>
                    <a:gd name="connsiteY102" fmla="*/ 1252672 h 1285875"/>
                    <a:gd name="connsiteX103" fmla="*/ 572908 w 833102"/>
                    <a:gd name="connsiteY103" fmla="*/ 1255690 h 1285875"/>
                    <a:gd name="connsiteX104" fmla="*/ 569286 w 833102"/>
                    <a:gd name="connsiteY104" fmla="*/ 1260520 h 1285875"/>
                    <a:gd name="connsiteX105" fmla="*/ 567475 w 833102"/>
                    <a:gd name="connsiteY105" fmla="*/ 1254483 h 1285875"/>
                    <a:gd name="connsiteX106" fmla="*/ 569890 w 833102"/>
                    <a:gd name="connsiteY106" fmla="*/ 1252672 h 1285875"/>
                    <a:gd name="connsiteX107" fmla="*/ 613960 w 833102"/>
                    <a:gd name="connsiteY107" fmla="*/ 1249653 h 1285875"/>
                    <a:gd name="connsiteX108" fmla="*/ 613960 w 833102"/>
                    <a:gd name="connsiteY108" fmla="*/ 1259312 h 1285875"/>
                    <a:gd name="connsiteX109" fmla="*/ 612149 w 833102"/>
                    <a:gd name="connsiteY109" fmla="*/ 1261124 h 1285875"/>
                    <a:gd name="connsiteX110" fmla="*/ 607923 w 833102"/>
                    <a:gd name="connsiteY110" fmla="*/ 1259312 h 1285875"/>
                    <a:gd name="connsiteX111" fmla="*/ 604301 w 833102"/>
                    <a:gd name="connsiteY111" fmla="*/ 1259312 h 1285875"/>
                    <a:gd name="connsiteX112" fmla="*/ 602490 w 833102"/>
                    <a:gd name="connsiteY112" fmla="*/ 1256898 h 1285875"/>
                    <a:gd name="connsiteX113" fmla="*/ 598867 w 833102"/>
                    <a:gd name="connsiteY113" fmla="*/ 1255087 h 1285875"/>
                    <a:gd name="connsiteX114" fmla="*/ 604904 w 833102"/>
                    <a:gd name="connsiteY114" fmla="*/ 1255087 h 1285875"/>
                    <a:gd name="connsiteX115" fmla="*/ 604904 w 833102"/>
                    <a:gd name="connsiteY115" fmla="*/ 1253275 h 1285875"/>
                    <a:gd name="connsiteX116" fmla="*/ 613960 w 833102"/>
                    <a:gd name="connsiteY116" fmla="*/ 1249653 h 1285875"/>
                    <a:gd name="connsiteX117" fmla="*/ 511935 w 833102"/>
                    <a:gd name="connsiteY117" fmla="*/ 1249653 h 1285875"/>
                    <a:gd name="connsiteX118" fmla="*/ 515557 w 833102"/>
                    <a:gd name="connsiteY118" fmla="*/ 1249653 h 1285875"/>
                    <a:gd name="connsiteX119" fmla="*/ 520387 w 833102"/>
                    <a:gd name="connsiteY119" fmla="*/ 1255690 h 1285875"/>
                    <a:gd name="connsiteX120" fmla="*/ 519180 w 833102"/>
                    <a:gd name="connsiteY120" fmla="*/ 1259916 h 1285875"/>
                    <a:gd name="connsiteX121" fmla="*/ 520991 w 833102"/>
                    <a:gd name="connsiteY121" fmla="*/ 1262331 h 1285875"/>
                    <a:gd name="connsiteX122" fmla="*/ 517368 w 833102"/>
                    <a:gd name="connsiteY122" fmla="*/ 1268368 h 1285875"/>
                    <a:gd name="connsiteX123" fmla="*/ 511331 w 833102"/>
                    <a:gd name="connsiteY123" fmla="*/ 1270783 h 1285875"/>
                    <a:gd name="connsiteX124" fmla="*/ 510728 w 833102"/>
                    <a:gd name="connsiteY124" fmla="*/ 1266557 h 1285875"/>
                    <a:gd name="connsiteX125" fmla="*/ 513143 w 833102"/>
                    <a:gd name="connsiteY125" fmla="*/ 1258709 h 1285875"/>
                    <a:gd name="connsiteX126" fmla="*/ 511935 w 833102"/>
                    <a:gd name="connsiteY126" fmla="*/ 1249653 h 1285875"/>
                    <a:gd name="connsiteX127" fmla="*/ 541516 w 833102"/>
                    <a:gd name="connsiteY127" fmla="*/ 1249050 h 1285875"/>
                    <a:gd name="connsiteX128" fmla="*/ 545139 w 833102"/>
                    <a:gd name="connsiteY128" fmla="*/ 1256898 h 1285875"/>
                    <a:gd name="connsiteX129" fmla="*/ 540913 w 833102"/>
                    <a:gd name="connsiteY129" fmla="*/ 1268972 h 1285875"/>
                    <a:gd name="connsiteX130" fmla="*/ 534876 w 833102"/>
                    <a:gd name="connsiteY130" fmla="*/ 1261727 h 1285875"/>
                    <a:gd name="connsiteX131" fmla="*/ 534272 w 833102"/>
                    <a:gd name="connsiteY131" fmla="*/ 1253275 h 1285875"/>
                    <a:gd name="connsiteX132" fmla="*/ 537291 w 833102"/>
                    <a:gd name="connsiteY132" fmla="*/ 1250257 h 1285875"/>
                    <a:gd name="connsiteX133" fmla="*/ 534876 w 833102"/>
                    <a:gd name="connsiteY133" fmla="*/ 1241805 h 1285875"/>
                    <a:gd name="connsiteX134" fmla="*/ 534876 w 833102"/>
                    <a:gd name="connsiteY134" fmla="*/ 1246635 h 1285875"/>
                    <a:gd name="connsiteX135" fmla="*/ 533065 w 833102"/>
                    <a:gd name="connsiteY135" fmla="*/ 1244220 h 1285875"/>
                    <a:gd name="connsiteX136" fmla="*/ 536083 w 833102"/>
                    <a:gd name="connsiteY136" fmla="*/ 1250257 h 1285875"/>
                    <a:gd name="connsiteX137" fmla="*/ 533065 w 833102"/>
                    <a:gd name="connsiteY137" fmla="*/ 1253275 h 1285875"/>
                    <a:gd name="connsiteX138" fmla="*/ 532461 w 833102"/>
                    <a:gd name="connsiteY138" fmla="*/ 1259916 h 1285875"/>
                    <a:gd name="connsiteX139" fmla="*/ 536687 w 833102"/>
                    <a:gd name="connsiteY139" fmla="*/ 1267161 h 1285875"/>
                    <a:gd name="connsiteX140" fmla="*/ 533065 w 833102"/>
                    <a:gd name="connsiteY140" fmla="*/ 1268972 h 1285875"/>
                    <a:gd name="connsiteX141" fmla="*/ 530650 w 833102"/>
                    <a:gd name="connsiteY141" fmla="*/ 1274405 h 1285875"/>
                    <a:gd name="connsiteX142" fmla="*/ 527631 w 833102"/>
                    <a:gd name="connsiteY142" fmla="*/ 1270179 h 1285875"/>
                    <a:gd name="connsiteX143" fmla="*/ 527631 w 833102"/>
                    <a:gd name="connsiteY143" fmla="*/ 1262935 h 1285875"/>
                    <a:gd name="connsiteX144" fmla="*/ 526424 w 833102"/>
                    <a:gd name="connsiteY144" fmla="*/ 1255087 h 1285875"/>
                    <a:gd name="connsiteX145" fmla="*/ 530046 w 833102"/>
                    <a:gd name="connsiteY145" fmla="*/ 1251464 h 1285875"/>
                    <a:gd name="connsiteX146" fmla="*/ 533065 w 833102"/>
                    <a:gd name="connsiteY146" fmla="*/ 1244220 h 1285875"/>
                    <a:gd name="connsiteX147" fmla="*/ 530650 w 833102"/>
                    <a:gd name="connsiteY147" fmla="*/ 1241201 h 1285875"/>
                    <a:gd name="connsiteX148" fmla="*/ 527028 w 833102"/>
                    <a:gd name="connsiteY148" fmla="*/ 1233353 h 1285875"/>
                    <a:gd name="connsiteX149" fmla="*/ 529442 w 833102"/>
                    <a:gd name="connsiteY149" fmla="*/ 1231542 h 1285875"/>
                    <a:gd name="connsiteX150" fmla="*/ 530650 w 833102"/>
                    <a:gd name="connsiteY150" fmla="*/ 1230335 h 1285875"/>
                    <a:gd name="connsiteX151" fmla="*/ 531254 w 833102"/>
                    <a:gd name="connsiteY151" fmla="*/ 1229731 h 1285875"/>
                    <a:gd name="connsiteX152" fmla="*/ 528839 w 833102"/>
                    <a:gd name="connsiteY152" fmla="*/ 1221883 h 1285875"/>
                    <a:gd name="connsiteX153" fmla="*/ 530650 w 833102"/>
                    <a:gd name="connsiteY153" fmla="*/ 1212828 h 1285875"/>
                    <a:gd name="connsiteX154" fmla="*/ 533668 w 833102"/>
                    <a:gd name="connsiteY154" fmla="*/ 1209809 h 1285875"/>
                    <a:gd name="connsiteX155" fmla="*/ 534272 w 833102"/>
                    <a:gd name="connsiteY155" fmla="*/ 1206187 h 1285875"/>
                    <a:gd name="connsiteX156" fmla="*/ 536687 w 833102"/>
                    <a:gd name="connsiteY156" fmla="*/ 1206187 h 1285875"/>
                    <a:gd name="connsiteX157" fmla="*/ 537894 w 833102"/>
                    <a:gd name="connsiteY157" fmla="*/ 1206187 h 1285875"/>
                    <a:gd name="connsiteX158" fmla="*/ 539705 w 833102"/>
                    <a:gd name="connsiteY158" fmla="*/ 1205583 h 1285875"/>
                    <a:gd name="connsiteX159" fmla="*/ 542724 w 833102"/>
                    <a:gd name="connsiteY159" fmla="*/ 1207998 h 1285875"/>
                    <a:gd name="connsiteX160" fmla="*/ 547553 w 833102"/>
                    <a:gd name="connsiteY160" fmla="*/ 1209809 h 1285875"/>
                    <a:gd name="connsiteX161" fmla="*/ 548761 w 833102"/>
                    <a:gd name="connsiteY161" fmla="*/ 1217657 h 1285875"/>
                    <a:gd name="connsiteX162" fmla="*/ 541516 w 833102"/>
                    <a:gd name="connsiteY162" fmla="*/ 1224298 h 1285875"/>
                    <a:gd name="connsiteX163" fmla="*/ 539102 w 833102"/>
                    <a:gd name="connsiteY163" fmla="*/ 1228524 h 1285875"/>
                    <a:gd name="connsiteX164" fmla="*/ 538498 w 833102"/>
                    <a:gd name="connsiteY164" fmla="*/ 1228524 h 1285875"/>
                    <a:gd name="connsiteX165" fmla="*/ 538498 w 833102"/>
                    <a:gd name="connsiteY165" fmla="*/ 1231542 h 1285875"/>
                    <a:gd name="connsiteX166" fmla="*/ 540309 w 833102"/>
                    <a:gd name="connsiteY166" fmla="*/ 1229127 h 1285875"/>
                    <a:gd name="connsiteX167" fmla="*/ 542120 w 833102"/>
                    <a:gd name="connsiteY167" fmla="*/ 1231542 h 1285875"/>
                    <a:gd name="connsiteX168" fmla="*/ 545742 w 833102"/>
                    <a:gd name="connsiteY168" fmla="*/ 1230939 h 1285875"/>
                    <a:gd name="connsiteX169" fmla="*/ 543931 w 833102"/>
                    <a:gd name="connsiteY169" fmla="*/ 1243013 h 1285875"/>
                    <a:gd name="connsiteX170" fmla="*/ 541516 w 833102"/>
                    <a:gd name="connsiteY170" fmla="*/ 1248446 h 1285875"/>
                    <a:gd name="connsiteX171" fmla="*/ 539102 w 833102"/>
                    <a:gd name="connsiteY171" fmla="*/ 1249050 h 1285875"/>
                    <a:gd name="connsiteX172" fmla="*/ 538498 w 833102"/>
                    <a:gd name="connsiteY172" fmla="*/ 1249653 h 1285875"/>
                    <a:gd name="connsiteX173" fmla="*/ 541516 w 833102"/>
                    <a:gd name="connsiteY173" fmla="*/ 1249050 h 1285875"/>
                    <a:gd name="connsiteX174" fmla="*/ 534876 w 833102"/>
                    <a:gd name="connsiteY174" fmla="*/ 1236372 h 1285875"/>
                    <a:gd name="connsiteX175" fmla="*/ 538498 w 833102"/>
                    <a:gd name="connsiteY175" fmla="*/ 1231542 h 1285875"/>
                    <a:gd name="connsiteX176" fmla="*/ 534876 w 833102"/>
                    <a:gd name="connsiteY176" fmla="*/ 1235164 h 1285875"/>
                    <a:gd name="connsiteX177" fmla="*/ 534876 w 833102"/>
                    <a:gd name="connsiteY177" fmla="*/ 1236372 h 1285875"/>
                    <a:gd name="connsiteX178" fmla="*/ 531254 w 833102"/>
                    <a:gd name="connsiteY178" fmla="*/ 1229731 h 1285875"/>
                    <a:gd name="connsiteX179" fmla="*/ 533065 w 833102"/>
                    <a:gd name="connsiteY179" fmla="*/ 1227920 h 1285875"/>
                    <a:gd name="connsiteX180" fmla="*/ 533668 w 833102"/>
                    <a:gd name="connsiteY180" fmla="*/ 1227316 h 1285875"/>
                    <a:gd name="connsiteX181" fmla="*/ 534876 w 833102"/>
                    <a:gd name="connsiteY181" fmla="*/ 1226713 h 1285875"/>
                    <a:gd name="connsiteX182" fmla="*/ 535479 w 833102"/>
                    <a:gd name="connsiteY182" fmla="*/ 1226713 h 1285875"/>
                    <a:gd name="connsiteX183" fmla="*/ 536083 w 833102"/>
                    <a:gd name="connsiteY183" fmla="*/ 1227920 h 1285875"/>
                    <a:gd name="connsiteX184" fmla="*/ 536687 w 833102"/>
                    <a:gd name="connsiteY184" fmla="*/ 1228524 h 1285875"/>
                    <a:gd name="connsiteX185" fmla="*/ 536083 w 833102"/>
                    <a:gd name="connsiteY185" fmla="*/ 1226713 h 1285875"/>
                    <a:gd name="connsiteX186" fmla="*/ 535479 w 833102"/>
                    <a:gd name="connsiteY186" fmla="*/ 1226109 h 1285875"/>
                    <a:gd name="connsiteX187" fmla="*/ 534272 w 833102"/>
                    <a:gd name="connsiteY187" fmla="*/ 1226109 h 1285875"/>
                    <a:gd name="connsiteX188" fmla="*/ 531254 w 833102"/>
                    <a:gd name="connsiteY188" fmla="*/ 1229731 h 1285875"/>
                    <a:gd name="connsiteX189" fmla="*/ 591623 w 833102"/>
                    <a:gd name="connsiteY189" fmla="*/ 1248446 h 1285875"/>
                    <a:gd name="connsiteX190" fmla="*/ 592830 w 833102"/>
                    <a:gd name="connsiteY190" fmla="*/ 1253879 h 1285875"/>
                    <a:gd name="connsiteX191" fmla="*/ 600679 w 833102"/>
                    <a:gd name="connsiteY191" fmla="*/ 1261124 h 1285875"/>
                    <a:gd name="connsiteX192" fmla="*/ 597056 w 833102"/>
                    <a:gd name="connsiteY192" fmla="*/ 1264746 h 1285875"/>
                    <a:gd name="connsiteX193" fmla="*/ 589812 w 833102"/>
                    <a:gd name="connsiteY193" fmla="*/ 1254483 h 1285875"/>
                    <a:gd name="connsiteX194" fmla="*/ 591623 w 833102"/>
                    <a:gd name="connsiteY194" fmla="*/ 1248446 h 1285875"/>
                    <a:gd name="connsiteX195" fmla="*/ 490202 w 833102"/>
                    <a:gd name="connsiteY195" fmla="*/ 1246635 h 1285875"/>
                    <a:gd name="connsiteX196" fmla="*/ 492617 w 833102"/>
                    <a:gd name="connsiteY196" fmla="*/ 1250861 h 1285875"/>
                    <a:gd name="connsiteX197" fmla="*/ 488995 w 833102"/>
                    <a:gd name="connsiteY197" fmla="*/ 1252068 h 1285875"/>
                    <a:gd name="connsiteX198" fmla="*/ 488995 w 833102"/>
                    <a:gd name="connsiteY198" fmla="*/ 1253275 h 1285875"/>
                    <a:gd name="connsiteX199" fmla="*/ 493220 w 833102"/>
                    <a:gd name="connsiteY199" fmla="*/ 1250861 h 1285875"/>
                    <a:gd name="connsiteX200" fmla="*/ 491409 w 833102"/>
                    <a:gd name="connsiteY200" fmla="*/ 1246635 h 1285875"/>
                    <a:gd name="connsiteX201" fmla="*/ 492013 w 833102"/>
                    <a:gd name="connsiteY201" fmla="*/ 1239994 h 1285875"/>
                    <a:gd name="connsiteX202" fmla="*/ 493220 w 833102"/>
                    <a:gd name="connsiteY202" fmla="*/ 1237579 h 1285875"/>
                    <a:gd name="connsiteX203" fmla="*/ 504087 w 833102"/>
                    <a:gd name="connsiteY203" fmla="*/ 1238787 h 1285875"/>
                    <a:gd name="connsiteX204" fmla="*/ 504087 w 833102"/>
                    <a:gd name="connsiteY204" fmla="*/ 1244824 h 1285875"/>
                    <a:gd name="connsiteX205" fmla="*/ 511935 w 833102"/>
                    <a:gd name="connsiteY205" fmla="*/ 1257501 h 1285875"/>
                    <a:gd name="connsiteX206" fmla="*/ 508313 w 833102"/>
                    <a:gd name="connsiteY206" fmla="*/ 1265349 h 1285875"/>
                    <a:gd name="connsiteX207" fmla="*/ 507106 w 833102"/>
                    <a:gd name="connsiteY207" fmla="*/ 1272594 h 1285875"/>
                    <a:gd name="connsiteX208" fmla="*/ 510728 w 833102"/>
                    <a:gd name="connsiteY208" fmla="*/ 1277423 h 1285875"/>
                    <a:gd name="connsiteX209" fmla="*/ 507709 w 833102"/>
                    <a:gd name="connsiteY209" fmla="*/ 1281649 h 1285875"/>
                    <a:gd name="connsiteX210" fmla="*/ 503483 w 833102"/>
                    <a:gd name="connsiteY210" fmla="*/ 1282857 h 1285875"/>
                    <a:gd name="connsiteX211" fmla="*/ 499257 w 833102"/>
                    <a:gd name="connsiteY211" fmla="*/ 1281046 h 1285875"/>
                    <a:gd name="connsiteX212" fmla="*/ 498654 w 833102"/>
                    <a:gd name="connsiteY212" fmla="*/ 1275009 h 1285875"/>
                    <a:gd name="connsiteX213" fmla="*/ 492617 w 833102"/>
                    <a:gd name="connsiteY213" fmla="*/ 1268972 h 1285875"/>
                    <a:gd name="connsiteX214" fmla="*/ 496239 w 833102"/>
                    <a:gd name="connsiteY214" fmla="*/ 1265349 h 1285875"/>
                    <a:gd name="connsiteX215" fmla="*/ 495635 w 833102"/>
                    <a:gd name="connsiteY215" fmla="*/ 1258105 h 1285875"/>
                    <a:gd name="connsiteX216" fmla="*/ 494428 w 833102"/>
                    <a:gd name="connsiteY216" fmla="*/ 1256898 h 1285875"/>
                    <a:gd name="connsiteX217" fmla="*/ 490806 w 833102"/>
                    <a:gd name="connsiteY217" fmla="*/ 1256898 h 1285875"/>
                    <a:gd name="connsiteX218" fmla="*/ 488995 w 833102"/>
                    <a:gd name="connsiteY218" fmla="*/ 1255087 h 1285875"/>
                    <a:gd name="connsiteX219" fmla="*/ 488995 w 833102"/>
                    <a:gd name="connsiteY219" fmla="*/ 1256294 h 1285875"/>
                    <a:gd name="connsiteX220" fmla="*/ 492013 w 833102"/>
                    <a:gd name="connsiteY220" fmla="*/ 1258105 h 1285875"/>
                    <a:gd name="connsiteX221" fmla="*/ 494428 w 833102"/>
                    <a:gd name="connsiteY221" fmla="*/ 1257501 h 1285875"/>
                    <a:gd name="connsiteX222" fmla="*/ 495635 w 833102"/>
                    <a:gd name="connsiteY222" fmla="*/ 1264142 h 1285875"/>
                    <a:gd name="connsiteX223" fmla="*/ 490202 w 833102"/>
                    <a:gd name="connsiteY223" fmla="*/ 1271386 h 1285875"/>
                    <a:gd name="connsiteX224" fmla="*/ 487787 w 833102"/>
                    <a:gd name="connsiteY224" fmla="*/ 1265953 h 1285875"/>
                    <a:gd name="connsiteX225" fmla="*/ 485372 w 833102"/>
                    <a:gd name="connsiteY225" fmla="*/ 1253275 h 1285875"/>
                    <a:gd name="connsiteX226" fmla="*/ 486580 w 833102"/>
                    <a:gd name="connsiteY226" fmla="*/ 1249050 h 1285875"/>
                    <a:gd name="connsiteX227" fmla="*/ 490202 w 833102"/>
                    <a:gd name="connsiteY227" fmla="*/ 1246635 h 1285875"/>
                    <a:gd name="connsiteX228" fmla="*/ 659237 w 833102"/>
                    <a:gd name="connsiteY228" fmla="*/ 1253879 h 1285875"/>
                    <a:gd name="connsiteX229" fmla="*/ 658030 w 833102"/>
                    <a:gd name="connsiteY229" fmla="*/ 1249050 h 1285875"/>
                    <a:gd name="connsiteX230" fmla="*/ 661652 w 833102"/>
                    <a:gd name="connsiteY230" fmla="*/ 1246635 h 1285875"/>
                    <a:gd name="connsiteX231" fmla="*/ 666482 w 833102"/>
                    <a:gd name="connsiteY231" fmla="*/ 1246031 h 1285875"/>
                    <a:gd name="connsiteX232" fmla="*/ 668896 w 833102"/>
                    <a:gd name="connsiteY232" fmla="*/ 1253275 h 1285875"/>
                    <a:gd name="connsiteX233" fmla="*/ 673122 w 833102"/>
                    <a:gd name="connsiteY233" fmla="*/ 1258709 h 1285875"/>
                    <a:gd name="connsiteX234" fmla="*/ 673122 w 833102"/>
                    <a:gd name="connsiteY234" fmla="*/ 1265349 h 1285875"/>
                    <a:gd name="connsiteX235" fmla="*/ 668293 w 833102"/>
                    <a:gd name="connsiteY235" fmla="*/ 1268972 h 1285875"/>
                    <a:gd name="connsiteX236" fmla="*/ 664067 w 833102"/>
                    <a:gd name="connsiteY236" fmla="*/ 1268972 h 1285875"/>
                    <a:gd name="connsiteX237" fmla="*/ 659237 w 833102"/>
                    <a:gd name="connsiteY237" fmla="*/ 1263538 h 1285875"/>
                    <a:gd name="connsiteX238" fmla="*/ 659237 w 833102"/>
                    <a:gd name="connsiteY238" fmla="*/ 1253879 h 1285875"/>
                    <a:gd name="connsiteX239" fmla="*/ 652597 w 833102"/>
                    <a:gd name="connsiteY239" fmla="*/ 1246031 h 1285875"/>
                    <a:gd name="connsiteX240" fmla="*/ 658030 w 833102"/>
                    <a:gd name="connsiteY240" fmla="*/ 1251464 h 1285875"/>
                    <a:gd name="connsiteX241" fmla="*/ 659237 w 833102"/>
                    <a:gd name="connsiteY241" fmla="*/ 1253879 h 1285875"/>
                    <a:gd name="connsiteX242" fmla="*/ 657426 w 833102"/>
                    <a:gd name="connsiteY242" fmla="*/ 1259916 h 1285875"/>
                    <a:gd name="connsiteX243" fmla="*/ 655615 w 833102"/>
                    <a:gd name="connsiteY243" fmla="*/ 1261727 h 1285875"/>
                    <a:gd name="connsiteX244" fmla="*/ 651993 w 833102"/>
                    <a:gd name="connsiteY244" fmla="*/ 1261727 h 1285875"/>
                    <a:gd name="connsiteX245" fmla="*/ 653200 w 833102"/>
                    <a:gd name="connsiteY245" fmla="*/ 1257501 h 1285875"/>
                    <a:gd name="connsiteX246" fmla="*/ 652597 w 833102"/>
                    <a:gd name="connsiteY246" fmla="*/ 1250861 h 1285875"/>
                    <a:gd name="connsiteX247" fmla="*/ 648371 w 833102"/>
                    <a:gd name="connsiteY247" fmla="*/ 1246635 h 1285875"/>
                    <a:gd name="connsiteX248" fmla="*/ 649578 w 833102"/>
                    <a:gd name="connsiteY248" fmla="*/ 1245427 h 1285875"/>
                    <a:gd name="connsiteX249" fmla="*/ 652597 w 833102"/>
                    <a:gd name="connsiteY249" fmla="*/ 1246031 h 1285875"/>
                    <a:gd name="connsiteX250" fmla="*/ 560231 w 833102"/>
                    <a:gd name="connsiteY250" fmla="*/ 1243013 h 1285875"/>
                    <a:gd name="connsiteX251" fmla="*/ 565664 w 833102"/>
                    <a:gd name="connsiteY251" fmla="*/ 1243616 h 1285875"/>
                    <a:gd name="connsiteX252" fmla="*/ 568682 w 833102"/>
                    <a:gd name="connsiteY252" fmla="*/ 1248446 h 1285875"/>
                    <a:gd name="connsiteX253" fmla="*/ 568682 w 833102"/>
                    <a:gd name="connsiteY253" fmla="*/ 1251464 h 1285875"/>
                    <a:gd name="connsiteX254" fmla="*/ 564457 w 833102"/>
                    <a:gd name="connsiteY254" fmla="*/ 1252672 h 1285875"/>
                    <a:gd name="connsiteX255" fmla="*/ 565060 w 833102"/>
                    <a:gd name="connsiteY255" fmla="*/ 1258709 h 1285875"/>
                    <a:gd name="connsiteX256" fmla="*/ 559627 w 833102"/>
                    <a:gd name="connsiteY256" fmla="*/ 1264746 h 1285875"/>
                    <a:gd name="connsiteX257" fmla="*/ 556609 w 833102"/>
                    <a:gd name="connsiteY257" fmla="*/ 1260520 h 1285875"/>
                    <a:gd name="connsiteX258" fmla="*/ 557212 w 833102"/>
                    <a:gd name="connsiteY258" fmla="*/ 1256294 h 1285875"/>
                    <a:gd name="connsiteX259" fmla="*/ 554798 w 833102"/>
                    <a:gd name="connsiteY259" fmla="*/ 1248446 h 1285875"/>
                    <a:gd name="connsiteX260" fmla="*/ 556005 w 833102"/>
                    <a:gd name="connsiteY260" fmla="*/ 1247238 h 1285875"/>
                    <a:gd name="connsiteX261" fmla="*/ 551779 w 833102"/>
                    <a:gd name="connsiteY261" fmla="*/ 1239994 h 1285875"/>
                    <a:gd name="connsiteX262" fmla="*/ 551779 w 833102"/>
                    <a:gd name="connsiteY262" fmla="*/ 1235164 h 1285875"/>
                    <a:gd name="connsiteX263" fmla="*/ 556609 w 833102"/>
                    <a:gd name="connsiteY263" fmla="*/ 1228524 h 1285875"/>
                    <a:gd name="connsiteX264" fmla="*/ 560231 w 833102"/>
                    <a:gd name="connsiteY264" fmla="*/ 1226713 h 1285875"/>
                    <a:gd name="connsiteX265" fmla="*/ 565060 w 833102"/>
                    <a:gd name="connsiteY265" fmla="*/ 1230335 h 1285875"/>
                    <a:gd name="connsiteX266" fmla="*/ 563853 w 833102"/>
                    <a:gd name="connsiteY266" fmla="*/ 1237579 h 1285875"/>
                    <a:gd name="connsiteX267" fmla="*/ 565664 w 833102"/>
                    <a:gd name="connsiteY267" fmla="*/ 1243013 h 1285875"/>
                    <a:gd name="connsiteX268" fmla="*/ 560231 w 833102"/>
                    <a:gd name="connsiteY268" fmla="*/ 1243013 h 1285875"/>
                    <a:gd name="connsiteX269" fmla="*/ 559627 w 833102"/>
                    <a:gd name="connsiteY269" fmla="*/ 1243013 h 1285875"/>
                    <a:gd name="connsiteX270" fmla="*/ 556005 w 833102"/>
                    <a:gd name="connsiteY270" fmla="*/ 1247238 h 1285875"/>
                    <a:gd name="connsiteX271" fmla="*/ 560231 w 833102"/>
                    <a:gd name="connsiteY271" fmla="*/ 1243013 h 1285875"/>
                    <a:gd name="connsiteX272" fmla="*/ 629656 w 833102"/>
                    <a:gd name="connsiteY272" fmla="*/ 1241201 h 1285875"/>
                    <a:gd name="connsiteX273" fmla="*/ 636297 w 833102"/>
                    <a:gd name="connsiteY273" fmla="*/ 1245427 h 1285875"/>
                    <a:gd name="connsiteX274" fmla="*/ 636901 w 833102"/>
                    <a:gd name="connsiteY274" fmla="*/ 1248446 h 1285875"/>
                    <a:gd name="connsiteX275" fmla="*/ 642334 w 833102"/>
                    <a:gd name="connsiteY275" fmla="*/ 1253275 h 1285875"/>
                    <a:gd name="connsiteX276" fmla="*/ 638108 w 833102"/>
                    <a:gd name="connsiteY276" fmla="*/ 1265953 h 1285875"/>
                    <a:gd name="connsiteX277" fmla="*/ 630260 w 833102"/>
                    <a:gd name="connsiteY277" fmla="*/ 1259916 h 1285875"/>
                    <a:gd name="connsiteX278" fmla="*/ 627845 w 833102"/>
                    <a:gd name="connsiteY278" fmla="*/ 1252068 h 1285875"/>
                    <a:gd name="connsiteX279" fmla="*/ 627845 w 833102"/>
                    <a:gd name="connsiteY279" fmla="*/ 1246635 h 1285875"/>
                    <a:gd name="connsiteX280" fmla="*/ 629656 w 833102"/>
                    <a:gd name="connsiteY280" fmla="*/ 1241201 h 1285875"/>
                    <a:gd name="connsiteX281" fmla="*/ 522198 w 833102"/>
                    <a:gd name="connsiteY281" fmla="*/ 1243616 h 1285875"/>
                    <a:gd name="connsiteX282" fmla="*/ 523405 w 833102"/>
                    <a:gd name="connsiteY282" fmla="*/ 1246031 h 1285875"/>
                    <a:gd name="connsiteX283" fmla="*/ 530046 w 833102"/>
                    <a:gd name="connsiteY283" fmla="*/ 1248446 h 1285875"/>
                    <a:gd name="connsiteX284" fmla="*/ 527028 w 833102"/>
                    <a:gd name="connsiteY284" fmla="*/ 1250861 h 1285875"/>
                    <a:gd name="connsiteX285" fmla="*/ 521594 w 833102"/>
                    <a:gd name="connsiteY285" fmla="*/ 1253879 h 1285875"/>
                    <a:gd name="connsiteX286" fmla="*/ 517368 w 833102"/>
                    <a:gd name="connsiteY286" fmla="*/ 1249050 h 1285875"/>
                    <a:gd name="connsiteX287" fmla="*/ 519783 w 833102"/>
                    <a:gd name="connsiteY287" fmla="*/ 1245427 h 1285875"/>
                    <a:gd name="connsiteX288" fmla="*/ 518576 w 833102"/>
                    <a:gd name="connsiteY288" fmla="*/ 1239390 h 1285875"/>
                    <a:gd name="connsiteX289" fmla="*/ 520387 w 833102"/>
                    <a:gd name="connsiteY289" fmla="*/ 1236976 h 1285875"/>
                    <a:gd name="connsiteX290" fmla="*/ 523405 w 833102"/>
                    <a:gd name="connsiteY290" fmla="*/ 1236976 h 1285875"/>
                    <a:gd name="connsiteX291" fmla="*/ 522802 w 833102"/>
                    <a:gd name="connsiteY291" fmla="*/ 1239994 h 1285875"/>
                    <a:gd name="connsiteX292" fmla="*/ 524613 w 833102"/>
                    <a:gd name="connsiteY292" fmla="*/ 1236976 h 1285875"/>
                    <a:gd name="connsiteX293" fmla="*/ 527028 w 833102"/>
                    <a:gd name="connsiteY293" fmla="*/ 1236976 h 1285875"/>
                    <a:gd name="connsiteX294" fmla="*/ 526424 w 833102"/>
                    <a:gd name="connsiteY294" fmla="*/ 1243013 h 1285875"/>
                    <a:gd name="connsiteX295" fmla="*/ 522198 w 833102"/>
                    <a:gd name="connsiteY295" fmla="*/ 1243616 h 1285875"/>
                    <a:gd name="connsiteX296" fmla="*/ 655011 w 833102"/>
                    <a:gd name="connsiteY296" fmla="*/ 1236976 h 1285875"/>
                    <a:gd name="connsiteX297" fmla="*/ 659237 w 833102"/>
                    <a:gd name="connsiteY297" fmla="*/ 1238183 h 1285875"/>
                    <a:gd name="connsiteX298" fmla="*/ 665274 w 833102"/>
                    <a:gd name="connsiteY298" fmla="*/ 1244220 h 1285875"/>
                    <a:gd name="connsiteX299" fmla="*/ 658634 w 833102"/>
                    <a:gd name="connsiteY299" fmla="*/ 1247238 h 1285875"/>
                    <a:gd name="connsiteX300" fmla="*/ 657426 w 833102"/>
                    <a:gd name="connsiteY300" fmla="*/ 1243616 h 1285875"/>
                    <a:gd name="connsiteX301" fmla="*/ 654408 w 833102"/>
                    <a:gd name="connsiteY301" fmla="*/ 1239994 h 1285875"/>
                    <a:gd name="connsiteX302" fmla="*/ 655011 w 833102"/>
                    <a:gd name="connsiteY302" fmla="*/ 1236976 h 1285875"/>
                    <a:gd name="connsiteX303" fmla="*/ 615167 w 833102"/>
                    <a:gd name="connsiteY303" fmla="*/ 1239994 h 1285875"/>
                    <a:gd name="connsiteX304" fmla="*/ 615771 w 833102"/>
                    <a:gd name="connsiteY304" fmla="*/ 1239994 h 1285875"/>
                    <a:gd name="connsiteX305" fmla="*/ 619393 w 833102"/>
                    <a:gd name="connsiteY305" fmla="*/ 1236372 h 1285875"/>
                    <a:gd name="connsiteX306" fmla="*/ 625430 w 833102"/>
                    <a:gd name="connsiteY306" fmla="*/ 1237579 h 1285875"/>
                    <a:gd name="connsiteX307" fmla="*/ 621204 w 833102"/>
                    <a:gd name="connsiteY307" fmla="*/ 1247842 h 1285875"/>
                    <a:gd name="connsiteX308" fmla="*/ 621204 w 833102"/>
                    <a:gd name="connsiteY308" fmla="*/ 1253879 h 1285875"/>
                    <a:gd name="connsiteX309" fmla="*/ 625430 w 833102"/>
                    <a:gd name="connsiteY309" fmla="*/ 1263538 h 1285875"/>
                    <a:gd name="connsiteX310" fmla="*/ 621204 w 833102"/>
                    <a:gd name="connsiteY310" fmla="*/ 1268972 h 1285875"/>
                    <a:gd name="connsiteX311" fmla="*/ 615771 w 833102"/>
                    <a:gd name="connsiteY311" fmla="*/ 1266557 h 1285875"/>
                    <a:gd name="connsiteX312" fmla="*/ 614564 w 833102"/>
                    <a:gd name="connsiteY312" fmla="*/ 1264142 h 1285875"/>
                    <a:gd name="connsiteX313" fmla="*/ 617582 w 833102"/>
                    <a:gd name="connsiteY313" fmla="*/ 1257501 h 1285875"/>
                    <a:gd name="connsiteX314" fmla="*/ 616978 w 833102"/>
                    <a:gd name="connsiteY314" fmla="*/ 1250257 h 1285875"/>
                    <a:gd name="connsiteX315" fmla="*/ 613356 w 833102"/>
                    <a:gd name="connsiteY315" fmla="*/ 1247238 h 1285875"/>
                    <a:gd name="connsiteX316" fmla="*/ 609734 w 833102"/>
                    <a:gd name="connsiteY316" fmla="*/ 1249050 h 1285875"/>
                    <a:gd name="connsiteX317" fmla="*/ 609130 w 833102"/>
                    <a:gd name="connsiteY317" fmla="*/ 1243616 h 1285875"/>
                    <a:gd name="connsiteX318" fmla="*/ 610338 w 833102"/>
                    <a:gd name="connsiteY318" fmla="*/ 1241201 h 1285875"/>
                    <a:gd name="connsiteX319" fmla="*/ 607923 w 833102"/>
                    <a:gd name="connsiteY319" fmla="*/ 1244220 h 1285875"/>
                    <a:gd name="connsiteX320" fmla="*/ 603697 w 833102"/>
                    <a:gd name="connsiteY320" fmla="*/ 1243616 h 1285875"/>
                    <a:gd name="connsiteX321" fmla="*/ 605508 w 833102"/>
                    <a:gd name="connsiteY321" fmla="*/ 1238183 h 1285875"/>
                    <a:gd name="connsiteX322" fmla="*/ 602490 w 833102"/>
                    <a:gd name="connsiteY322" fmla="*/ 1235768 h 1285875"/>
                    <a:gd name="connsiteX323" fmla="*/ 605508 w 833102"/>
                    <a:gd name="connsiteY323" fmla="*/ 1232146 h 1285875"/>
                    <a:gd name="connsiteX324" fmla="*/ 609734 w 833102"/>
                    <a:gd name="connsiteY324" fmla="*/ 1223694 h 1285875"/>
                    <a:gd name="connsiteX325" fmla="*/ 611545 w 833102"/>
                    <a:gd name="connsiteY325" fmla="*/ 1226713 h 1285875"/>
                    <a:gd name="connsiteX326" fmla="*/ 609734 w 833102"/>
                    <a:gd name="connsiteY326" fmla="*/ 1235164 h 1285875"/>
                    <a:gd name="connsiteX327" fmla="*/ 609734 w 833102"/>
                    <a:gd name="connsiteY327" fmla="*/ 1235768 h 1285875"/>
                    <a:gd name="connsiteX328" fmla="*/ 616978 w 833102"/>
                    <a:gd name="connsiteY328" fmla="*/ 1224298 h 1285875"/>
                    <a:gd name="connsiteX329" fmla="*/ 618790 w 833102"/>
                    <a:gd name="connsiteY329" fmla="*/ 1227920 h 1285875"/>
                    <a:gd name="connsiteX330" fmla="*/ 616978 w 833102"/>
                    <a:gd name="connsiteY330" fmla="*/ 1233353 h 1285875"/>
                    <a:gd name="connsiteX331" fmla="*/ 618790 w 833102"/>
                    <a:gd name="connsiteY331" fmla="*/ 1236372 h 1285875"/>
                    <a:gd name="connsiteX332" fmla="*/ 615167 w 833102"/>
                    <a:gd name="connsiteY332" fmla="*/ 1239994 h 1285875"/>
                    <a:gd name="connsiteX333" fmla="*/ 610338 w 833102"/>
                    <a:gd name="connsiteY333" fmla="*/ 1241201 h 1285875"/>
                    <a:gd name="connsiteX334" fmla="*/ 610941 w 833102"/>
                    <a:gd name="connsiteY334" fmla="*/ 1239994 h 1285875"/>
                    <a:gd name="connsiteX335" fmla="*/ 609734 w 833102"/>
                    <a:gd name="connsiteY335" fmla="*/ 1236372 h 1285875"/>
                    <a:gd name="connsiteX336" fmla="*/ 610338 w 833102"/>
                    <a:gd name="connsiteY336" fmla="*/ 1241201 h 1285875"/>
                    <a:gd name="connsiteX337" fmla="*/ 568079 w 833102"/>
                    <a:gd name="connsiteY337" fmla="*/ 1233957 h 1285875"/>
                    <a:gd name="connsiteX338" fmla="*/ 568079 w 833102"/>
                    <a:gd name="connsiteY338" fmla="*/ 1237579 h 1285875"/>
                    <a:gd name="connsiteX339" fmla="*/ 568682 w 833102"/>
                    <a:gd name="connsiteY339" fmla="*/ 1239390 h 1285875"/>
                    <a:gd name="connsiteX340" fmla="*/ 574719 w 833102"/>
                    <a:gd name="connsiteY340" fmla="*/ 1241805 h 1285875"/>
                    <a:gd name="connsiteX341" fmla="*/ 574719 w 833102"/>
                    <a:gd name="connsiteY341" fmla="*/ 1244824 h 1285875"/>
                    <a:gd name="connsiteX342" fmla="*/ 569890 w 833102"/>
                    <a:gd name="connsiteY342" fmla="*/ 1246635 h 1285875"/>
                    <a:gd name="connsiteX343" fmla="*/ 567475 w 833102"/>
                    <a:gd name="connsiteY343" fmla="*/ 1245427 h 1285875"/>
                    <a:gd name="connsiteX344" fmla="*/ 568079 w 833102"/>
                    <a:gd name="connsiteY344" fmla="*/ 1241201 h 1285875"/>
                    <a:gd name="connsiteX345" fmla="*/ 565060 w 833102"/>
                    <a:gd name="connsiteY345" fmla="*/ 1235768 h 1285875"/>
                    <a:gd name="connsiteX346" fmla="*/ 568079 w 833102"/>
                    <a:gd name="connsiteY346" fmla="*/ 1233957 h 1285875"/>
                    <a:gd name="connsiteX347" fmla="*/ 510124 w 833102"/>
                    <a:gd name="connsiteY347" fmla="*/ 1245427 h 1285875"/>
                    <a:gd name="connsiteX348" fmla="*/ 508917 w 833102"/>
                    <a:gd name="connsiteY348" fmla="*/ 1249653 h 1285875"/>
                    <a:gd name="connsiteX349" fmla="*/ 505294 w 833102"/>
                    <a:gd name="connsiteY349" fmla="*/ 1244824 h 1285875"/>
                    <a:gd name="connsiteX350" fmla="*/ 506502 w 833102"/>
                    <a:gd name="connsiteY350" fmla="*/ 1239390 h 1285875"/>
                    <a:gd name="connsiteX351" fmla="*/ 509520 w 833102"/>
                    <a:gd name="connsiteY351" fmla="*/ 1236372 h 1285875"/>
                    <a:gd name="connsiteX352" fmla="*/ 510124 w 833102"/>
                    <a:gd name="connsiteY352" fmla="*/ 1245427 h 1285875"/>
                    <a:gd name="connsiteX353" fmla="*/ 573512 w 833102"/>
                    <a:gd name="connsiteY353" fmla="*/ 1230939 h 1285875"/>
                    <a:gd name="connsiteX354" fmla="*/ 576531 w 833102"/>
                    <a:gd name="connsiteY354" fmla="*/ 1234561 h 1285875"/>
                    <a:gd name="connsiteX355" fmla="*/ 577738 w 833102"/>
                    <a:gd name="connsiteY355" fmla="*/ 1242409 h 1285875"/>
                    <a:gd name="connsiteX356" fmla="*/ 575927 w 833102"/>
                    <a:gd name="connsiteY356" fmla="*/ 1242409 h 1285875"/>
                    <a:gd name="connsiteX357" fmla="*/ 568682 w 833102"/>
                    <a:gd name="connsiteY357" fmla="*/ 1238787 h 1285875"/>
                    <a:gd name="connsiteX358" fmla="*/ 569286 w 833102"/>
                    <a:gd name="connsiteY358" fmla="*/ 1233353 h 1285875"/>
                    <a:gd name="connsiteX359" fmla="*/ 569890 w 833102"/>
                    <a:gd name="connsiteY359" fmla="*/ 1232146 h 1285875"/>
                    <a:gd name="connsiteX360" fmla="*/ 573512 w 833102"/>
                    <a:gd name="connsiteY360" fmla="*/ 1230939 h 1285875"/>
                    <a:gd name="connsiteX361" fmla="*/ 601886 w 833102"/>
                    <a:gd name="connsiteY361" fmla="*/ 1235164 h 1285875"/>
                    <a:gd name="connsiteX362" fmla="*/ 604301 w 833102"/>
                    <a:gd name="connsiteY362" fmla="*/ 1238183 h 1285875"/>
                    <a:gd name="connsiteX363" fmla="*/ 603093 w 833102"/>
                    <a:gd name="connsiteY363" fmla="*/ 1244220 h 1285875"/>
                    <a:gd name="connsiteX364" fmla="*/ 607923 w 833102"/>
                    <a:gd name="connsiteY364" fmla="*/ 1246031 h 1285875"/>
                    <a:gd name="connsiteX365" fmla="*/ 603697 w 833102"/>
                    <a:gd name="connsiteY365" fmla="*/ 1249653 h 1285875"/>
                    <a:gd name="connsiteX366" fmla="*/ 604301 w 833102"/>
                    <a:gd name="connsiteY366" fmla="*/ 1254483 h 1285875"/>
                    <a:gd name="connsiteX367" fmla="*/ 601282 w 833102"/>
                    <a:gd name="connsiteY367" fmla="*/ 1254483 h 1285875"/>
                    <a:gd name="connsiteX368" fmla="*/ 598867 w 833102"/>
                    <a:gd name="connsiteY368" fmla="*/ 1253275 h 1285875"/>
                    <a:gd name="connsiteX369" fmla="*/ 598264 w 833102"/>
                    <a:gd name="connsiteY369" fmla="*/ 1255087 h 1285875"/>
                    <a:gd name="connsiteX370" fmla="*/ 603697 w 833102"/>
                    <a:gd name="connsiteY370" fmla="*/ 1258709 h 1285875"/>
                    <a:gd name="connsiteX371" fmla="*/ 601886 w 833102"/>
                    <a:gd name="connsiteY371" fmla="*/ 1260520 h 1285875"/>
                    <a:gd name="connsiteX372" fmla="*/ 594642 w 833102"/>
                    <a:gd name="connsiteY372" fmla="*/ 1253275 h 1285875"/>
                    <a:gd name="connsiteX373" fmla="*/ 591019 w 833102"/>
                    <a:gd name="connsiteY373" fmla="*/ 1241201 h 1285875"/>
                    <a:gd name="connsiteX374" fmla="*/ 594642 w 833102"/>
                    <a:gd name="connsiteY374" fmla="*/ 1231542 h 1285875"/>
                    <a:gd name="connsiteX375" fmla="*/ 595245 w 833102"/>
                    <a:gd name="connsiteY375" fmla="*/ 1227316 h 1285875"/>
                    <a:gd name="connsiteX376" fmla="*/ 597660 w 833102"/>
                    <a:gd name="connsiteY376" fmla="*/ 1233353 h 1285875"/>
                    <a:gd name="connsiteX377" fmla="*/ 598264 w 833102"/>
                    <a:gd name="connsiteY377" fmla="*/ 1233957 h 1285875"/>
                    <a:gd name="connsiteX378" fmla="*/ 598867 w 833102"/>
                    <a:gd name="connsiteY378" fmla="*/ 1233353 h 1285875"/>
                    <a:gd name="connsiteX379" fmla="*/ 599471 w 833102"/>
                    <a:gd name="connsiteY379" fmla="*/ 1234561 h 1285875"/>
                    <a:gd name="connsiteX380" fmla="*/ 599471 w 833102"/>
                    <a:gd name="connsiteY380" fmla="*/ 1233353 h 1285875"/>
                    <a:gd name="connsiteX381" fmla="*/ 598867 w 833102"/>
                    <a:gd name="connsiteY381" fmla="*/ 1233353 h 1285875"/>
                    <a:gd name="connsiteX382" fmla="*/ 598264 w 833102"/>
                    <a:gd name="connsiteY382" fmla="*/ 1233353 h 1285875"/>
                    <a:gd name="connsiteX383" fmla="*/ 598264 w 833102"/>
                    <a:gd name="connsiteY383" fmla="*/ 1230939 h 1285875"/>
                    <a:gd name="connsiteX384" fmla="*/ 598264 w 833102"/>
                    <a:gd name="connsiteY384" fmla="*/ 1230335 h 1285875"/>
                    <a:gd name="connsiteX385" fmla="*/ 597660 w 833102"/>
                    <a:gd name="connsiteY385" fmla="*/ 1230335 h 1285875"/>
                    <a:gd name="connsiteX386" fmla="*/ 596453 w 833102"/>
                    <a:gd name="connsiteY386" fmla="*/ 1227316 h 1285875"/>
                    <a:gd name="connsiteX387" fmla="*/ 594038 w 833102"/>
                    <a:gd name="connsiteY387" fmla="*/ 1226713 h 1285875"/>
                    <a:gd name="connsiteX388" fmla="*/ 591623 w 833102"/>
                    <a:gd name="connsiteY388" fmla="*/ 1219468 h 1285875"/>
                    <a:gd name="connsiteX389" fmla="*/ 591623 w 833102"/>
                    <a:gd name="connsiteY389" fmla="*/ 1215846 h 1285875"/>
                    <a:gd name="connsiteX390" fmla="*/ 595849 w 833102"/>
                    <a:gd name="connsiteY390" fmla="*/ 1204979 h 1285875"/>
                    <a:gd name="connsiteX391" fmla="*/ 597660 w 833102"/>
                    <a:gd name="connsiteY391" fmla="*/ 1206791 h 1285875"/>
                    <a:gd name="connsiteX392" fmla="*/ 601886 w 833102"/>
                    <a:gd name="connsiteY392" fmla="*/ 1207394 h 1285875"/>
                    <a:gd name="connsiteX393" fmla="*/ 604301 w 833102"/>
                    <a:gd name="connsiteY393" fmla="*/ 1211620 h 1285875"/>
                    <a:gd name="connsiteX394" fmla="*/ 607923 w 833102"/>
                    <a:gd name="connsiteY394" fmla="*/ 1214639 h 1285875"/>
                    <a:gd name="connsiteX395" fmla="*/ 605508 w 833102"/>
                    <a:gd name="connsiteY395" fmla="*/ 1221279 h 1285875"/>
                    <a:gd name="connsiteX396" fmla="*/ 605508 w 833102"/>
                    <a:gd name="connsiteY396" fmla="*/ 1221883 h 1285875"/>
                    <a:gd name="connsiteX397" fmla="*/ 605508 w 833102"/>
                    <a:gd name="connsiteY397" fmla="*/ 1223090 h 1285875"/>
                    <a:gd name="connsiteX398" fmla="*/ 607923 w 833102"/>
                    <a:gd name="connsiteY398" fmla="*/ 1223694 h 1285875"/>
                    <a:gd name="connsiteX399" fmla="*/ 605508 w 833102"/>
                    <a:gd name="connsiteY399" fmla="*/ 1231542 h 1285875"/>
                    <a:gd name="connsiteX400" fmla="*/ 602490 w 833102"/>
                    <a:gd name="connsiteY400" fmla="*/ 1228524 h 1285875"/>
                    <a:gd name="connsiteX401" fmla="*/ 603093 w 833102"/>
                    <a:gd name="connsiteY401" fmla="*/ 1225505 h 1285875"/>
                    <a:gd name="connsiteX402" fmla="*/ 602490 w 833102"/>
                    <a:gd name="connsiteY402" fmla="*/ 1225505 h 1285875"/>
                    <a:gd name="connsiteX403" fmla="*/ 600679 w 833102"/>
                    <a:gd name="connsiteY403" fmla="*/ 1227316 h 1285875"/>
                    <a:gd name="connsiteX404" fmla="*/ 600075 w 833102"/>
                    <a:gd name="connsiteY404" fmla="*/ 1229127 h 1285875"/>
                    <a:gd name="connsiteX405" fmla="*/ 601886 w 833102"/>
                    <a:gd name="connsiteY405" fmla="*/ 1226109 h 1285875"/>
                    <a:gd name="connsiteX406" fmla="*/ 602490 w 833102"/>
                    <a:gd name="connsiteY406" fmla="*/ 1229731 h 1285875"/>
                    <a:gd name="connsiteX407" fmla="*/ 601886 w 833102"/>
                    <a:gd name="connsiteY407" fmla="*/ 1235164 h 1285875"/>
                    <a:gd name="connsiteX408" fmla="*/ 653804 w 833102"/>
                    <a:gd name="connsiteY408" fmla="*/ 1226109 h 1285875"/>
                    <a:gd name="connsiteX409" fmla="*/ 657426 w 833102"/>
                    <a:gd name="connsiteY409" fmla="*/ 1226109 h 1285875"/>
                    <a:gd name="connsiteX410" fmla="*/ 656219 w 833102"/>
                    <a:gd name="connsiteY410" fmla="*/ 1232750 h 1285875"/>
                    <a:gd name="connsiteX411" fmla="*/ 651993 w 833102"/>
                    <a:gd name="connsiteY411" fmla="*/ 1230939 h 1285875"/>
                    <a:gd name="connsiteX412" fmla="*/ 653804 w 833102"/>
                    <a:gd name="connsiteY412" fmla="*/ 1226109 h 1285875"/>
                    <a:gd name="connsiteX413" fmla="*/ 639315 w 833102"/>
                    <a:gd name="connsiteY413" fmla="*/ 1229127 h 1285875"/>
                    <a:gd name="connsiteX414" fmla="*/ 636901 w 833102"/>
                    <a:gd name="connsiteY414" fmla="*/ 1230939 h 1285875"/>
                    <a:gd name="connsiteX415" fmla="*/ 638108 w 833102"/>
                    <a:gd name="connsiteY415" fmla="*/ 1231542 h 1285875"/>
                    <a:gd name="connsiteX416" fmla="*/ 634486 w 833102"/>
                    <a:gd name="connsiteY416" fmla="*/ 1239390 h 1285875"/>
                    <a:gd name="connsiteX417" fmla="*/ 633882 w 833102"/>
                    <a:gd name="connsiteY417" fmla="*/ 1233957 h 1285875"/>
                    <a:gd name="connsiteX418" fmla="*/ 630260 w 833102"/>
                    <a:gd name="connsiteY418" fmla="*/ 1228524 h 1285875"/>
                    <a:gd name="connsiteX419" fmla="*/ 630260 w 833102"/>
                    <a:gd name="connsiteY419" fmla="*/ 1226713 h 1285875"/>
                    <a:gd name="connsiteX420" fmla="*/ 632071 w 833102"/>
                    <a:gd name="connsiteY420" fmla="*/ 1226109 h 1285875"/>
                    <a:gd name="connsiteX421" fmla="*/ 633882 w 833102"/>
                    <a:gd name="connsiteY421" fmla="*/ 1224298 h 1285875"/>
                    <a:gd name="connsiteX422" fmla="*/ 636901 w 833102"/>
                    <a:gd name="connsiteY422" fmla="*/ 1223090 h 1285875"/>
                    <a:gd name="connsiteX423" fmla="*/ 637504 w 833102"/>
                    <a:gd name="connsiteY423" fmla="*/ 1223694 h 1285875"/>
                    <a:gd name="connsiteX424" fmla="*/ 639315 w 833102"/>
                    <a:gd name="connsiteY424" fmla="*/ 1223694 h 1285875"/>
                    <a:gd name="connsiteX425" fmla="*/ 638712 w 833102"/>
                    <a:gd name="connsiteY425" fmla="*/ 1221279 h 1285875"/>
                    <a:gd name="connsiteX426" fmla="*/ 639919 w 833102"/>
                    <a:gd name="connsiteY426" fmla="*/ 1220676 h 1285875"/>
                    <a:gd name="connsiteX427" fmla="*/ 640523 w 833102"/>
                    <a:gd name="connsiteY427" fmla="*/ 1218865 h 1285875"/>
                    <a:gd name="connsiteX428" fmla="*/ 641730 w 833102"/>
                    <a:gd name="connsiteY428" fmla="*/ 1218261 h 1285875"/>
                    <a:gd name="connsiteX429" fmla="*/ 642938 w 833102"/>
                    <a:gd name="connsiteY429" fmla="*/ 1220072 h 1285875"/>
                    <a:gd name="connsiteX430" fmla="*/ 644749 w 833102"/>
                    <a:gd name="connsiteY430" fmla="*/ 1223090 h 1285875"/>
                    <a:gd name="connsiteX431" fmla="*/ 648975 w 833102"/>
                    <a:gd name="connsiteY431" fmla="*/ 1223694 h 1285875"/>
                    <a:gd name="connsiteX432" fmla="*/ 648371 w 833102"/>
                    <a:gd name="connsiteY432" fmla="*/ 1223090 h 1285875"/>
                    <a:gd name="connsiteX433" fmla="*/ 644749 w 833102"/>
                    <a:gd name="connsiteY433" fmla="*/ 1223090 h 1285875"/>
                    <a:gd name="connsiteX434" fmla="*/ 644145 w 833102"/>
                    <a:gd name="connsiteY434" fmla="*/ 1219468 h 1285875"/>
                    <a:gd name="connsiteX435" fmla="*/ 649578 w 833102"/>
                    <a:gd name="connsiteY435" fmla="*/ 1213431 h 1285875"/>
                    <a:gd name="connsiteX436" fmla="*/ 649578 w 833102"/>
                    <a:gd name="connsiteY436" fmla="*/ 1207998 h 1285875"/>
                    <a:gd name="connsiteX437" fmla="*/ 656823 w 833102"/>
                    <a:gd name="connsiteY437" fmla="*/ 1211620 h 1285875"/>
                    <a:gd name="connsiteX438" fmla="*/ 660445 w 833102"/>
                    <a:gd name="connsiteY438" fmla="*/ 1215242 h 1285875"/>
                    <a:gd name="connsiteX439" fmla="*/ 659841 w 833102"/>
                    <a:gd name="connsiteY439" fmla="*/ 1222487 h 1285875"/>
                    <a:gd name="connsiteX440" fmla="*/ 658030 w 833102"/>
                    <a:gd name="connsiteY440" fmla="*/ 1224902 h 1285875"/>
                    <a:gd name="connsiteX441" fmla="*/ 652597 w 833102"/>
                    <a:gd name="connsiteY441" fmla="*/ 1226109 h 1285875"/>
                    <a:gd name="connsiteX442" fmla="*/ 650786 w 833102"/>
                    <a:gd name="connsiteY442" fmla="*/ 1231542 h 1285875"/>
                    <a:gd name="connsiteX443" fmla="*/ 648371 w 833102"/>
                    <a:gd name="connsiteY443" fmla="*/ 1233957 h 1285875"/>
                    <a:gd name="connsiteX444" fmla="*/ 645956 w 833102"/>
                    <a:gd name="connsiteY444" fmla="*/ 1232750 h 1285875"/>
                    <a:gd name="connsiteX445" fmla="*/ 642334 w 833102"/>
                    <a:gd name="connsiteY445" fmla="*/ 1232146 h 1285875"/>
                    <a:gd name="connsiteX446" fmla="*/ 644145 w 833102"/>
                    <a:gd name="connsiteY446" fmla="*/ 1229127 h 1285875"/>
                    <a:gd name="connsiteX447" fmla="*/ 647163 w 833102"/>
                    <a:gd name="connsiteY447" fmla="*/ 1229127 h 1285875"/>
                    <a:gd name="connsiteX448" fmla="*/ 648975 w 833102"/>
                    <a:gd name="connsiteY448" fmla="*/ 1227920 h 1285875"/>
                    <a:gd name="connsiteX449" fmla="*/ 649578 w 833102"/>
                    <a:gd name="connsiteY449" fmla="*/ 1224902 h 1285875"/>
                    <a:gd name="connsiteX450" fmla="*/ 648975 w 833102"/>
                    <a:gd name="connsiteY450" fmla="*/ 1223694 h 1285875"/>
                    <a:gd name="connsiteX451" fmla="*/ 647767 w 833102"/>
                    <a:gd name="connsiteY451" fmla="*/ 1228524 h 1285875"/>
                    <a:gd name="connsiteX452" fmla="*/ 644749 w 833102"/>
                    <a:gd name="connsiteY452" fmla="*/ 1227316 h 1285875"/>
                    <a:gd name="connsiteX453" fmla="*/ 641730 w 833102"/>
                    <a:gd name="connsiteY453" fmla="*/ 1231542 h 1285875"/>
                    <a:gd name="connsiteX454" fmla="*/ 643541 w 833102"/>
                    <a:gd name="connsiteY454" fmla="*/ 1236976 h 1285875"/>
                    <a:gd name="connsiteX455" fmla="*/ 637504 w 833102"/>
                    <a:gd name="connsiteY455" fmla="*/ 1234561 h 1285875"/>
                    <a:gd name="connsiteX456" fmla="*/ 638712 w 833102"/>
                    <a:gd name="connsiteY456" fmla="*/ 1231542 h 1285875"/>
                    <a:gd name="connsiteX457" fmla="*/ 637504 w 833102"/>
                    <a:gd name="connsiteY457" fmla="*/ 1230939 h 1285875"/>
                    <a:gd name="connsiteX458" fmla="*/ 639315 w 833102"/>
                    <a:gd name="connsiteY458" fmla="*/ 1229127 h 1285875"/>
                    <a:gd name="connsiteX459" fmla="*/ 640523 w 833102"/>
                    <a:gd name="connsiteY459" fmla="*/ 1225505 h 1285875"/>
                    <a:gd name="connsiteX460" fmla="*/ 638712 w 833102"/>
                    <a:gd name="connsiteY460" fmla="*/ 1227920 h 1285875"/>
                    <a:gd name="connsiteX461" fmla="*/ 639315 w 833102"/>
                    <a:gd name="connsiteY461" fmla="*/ 1229127 h 1285875"/>
                    <a:gd name="connsiteX462" fmla="*/ 640523 w 833102"/>
                    <a:gd name="connsiteY462" fmla="*/ 1223694 h 1285875"/>
                    <a:gd name="connsiteX463" fmla="*/ 641126 w 833102"/>
                    <a:gd name="connsiteY463" fmla="*/ 1224902 h 1285875"/>
                    <a:gd name="connsiteX464" fmla="*/ 640523 w 833102"/>
                    <a:gd name="connsiteY464" fmla="*/ 1225505 h 1285875"/>
                    <a:gd name="connsiteX465" fmla="*/ 641730 w 833102"/>
                    <a:gd name="connsiteY465" fmla="*/ 1224902 h 1285875"/>
                    <a:gd name="connsiteX466" fmla="*/ 641126 w 833102"/>
                    <a:gd name="connsiteY466" fmla="*/ 1223694 h 1285875"/>
                    <a:gd name="connsiteX467" fmla="*/ 640523 w 833102"/>
                    <a:gd name="connsiteY467" fmla="*/ 1223694 h 1285875"/>
                    <a:gd name="connsiteX468" fmla="*/ 547553 w 833102"/>
                    <a:gd name="connsiteY468" fmla="*/ 1221279 h 1285875"/>
                    <a:gd name="connsiteX469" fmla="*/ 551176 w 833102"/>
                    <a:gd name="connsiteY469" fmla="*/ 1226109 h 1285875"/>
                    <a:gd name="connsiteX470" fmla="*/ 548157 w 833102"/>
                    <a:gd name="connsiteY470" fmla="*/ 1229127 h 1285875"/>
                    <a:gd name="connsiteX471" fmla="*/ 542724 w 833102"/>
                    <a:gd name="connsiteY471" fmla="*/ 1228524 h 1285875"/>
                    <a:gd name="connsiteX472" fmla="*/ 541516 w 833102"/>
                    <a:gd name="connsiteY472" fmla="*/ 1224902 h 1285875"/>
                    <a:gd name="connsiteX473" fmla="*/ 547553 w 833102"/>
                    <a:gd name="connsiteY473" fmla="*/ 1221279 h 1285875"/>
                    <a:gd name="connsiteX474" fmla="*/ 569890 w 833102"/>
                    <a:gd name="connsiteY474" fmla="*/ 1217657 h 1285875"/>
                    <a:gd name="connsiteX475" fmla="*/ 574719 w 833102"/>
                    <a:gd name="connsiteY475" fmla="*/ 1221883 h 1285875"/>
                    <a:gd name="connsiteX476" fmla="*/ 572908 w 833102"/>
                    <a:gd name="connsiteY476" fmla="*/ 1225505 h 1285875"/>
                    <a:gd name="connsiteX477" fmla="*/ 568682 w 833102"/>
                    <a:gd name="connsiteY477" fmla="*/ 1228524 h 1285875"/>
                    <a:gd name="connsiteX478" fmla="*/ 566871 w 833102"/>
                    <a:gd name="connsiteY478" fmla="*/ 1224902 h 1285875"/>
                    <a:gd name="connsiteX479" fmla="*/ 567475 w 833102"/>
                    <a:gd name="connsiteY479" fmla="*/ 1220072 h 1285875"/>
                    <a:gd name="connsiteX480" fmla="*/ 569890 w 833102"/>
                    <a:gd name="connsiteY480" fmla="*/ 1217657 h 1285875"/>
                    <a:gd name="connsiteX481" fmla="*/ 519180 w 833102"/>
                    <a:gd name="connsiteY481" fmla="*/ 1215846 h 1285875"/>
                    <a:gd name="connsiteX482" fmla="*/ 520387 w 833102"/>
                    <a:gd name="connsiteY482" fmla="*/ 1216450 h 1285875"/>
                    <a:gd name="connsiteX483" fmla="*/ 520387 w 833102"/>
                    <a:gd name="connsiteY483" fmla="*/ 1224298 h 1285875"/>
                    <a:gd name="connsiteX484" fmla="*/ 522198 w 833102"/>
                    <a:gd name="connsiteY484" fmla="*/ 1229731 h 1285875"/>
                    <a:gd name="connsiteX485" fmla="*/ 526424 w 833102"/>
                    <a:gd name="connsiteY485" fmla="*/ 1231542 h 1285875"/>
                    <a:gd name="connsiteX486" fmla="*/ 525820 w 833102"/>
                    <a:gd name="connsiteY486" fmla="*/ 1235768 h 1285875"/>
                    <a:gd name="connsiteX487" fmla="*/ 521594 w 833102"/>
                    <a:gd name="connsiteY487" fmla="*/ 1236372 h 1285875"/>
                    <a:gd name="connsiteX488" fmla="*/ 518576 w 833102"/>
                    <a:gd name="connsiteY488" fmla="*/ 1237579 h 1285875"/>
                    <a:gd name="connsiteX489" fmla="*/ 517972 w 833102"/>
                    <a:gd name="connsiteY489" fmla="*/ 1239994 h 1285875"/>
                    <a:gd name="connsiteX490" fmla="*/ 519180 w 833102"/>
                    <a:gd name="connsiteY490" fmla="*/ 1246031 h 1285875"/>
                    <a:gd name="connsiteX491" fmla="*/ 516161 w 833102"/>
                    <a:gd name="connsiteY491" fmla="*/ 1249050 h 1285875"/>
                    <a:gd name="connsiteX492" fmla="*/ 510728 w 833102"/>
                    <a:gd name="connsiteY492" fmla="*/ 1247238 h 1285875"/>
                    <a:gd name="connsiteX493" fmla="*/ 511935 w 833102"/>
                    <a:gd name="connsiteY493" fmla="*/ 1244220 h 1285875"/>
                    <a:gd name="connsiteX494" fmla="*/ 510728 w 833102"/>
                    <a:gd name="connsiteY494" fmla="*/ 1237579 h 1285875"/>
                    <a:gd name="connsiteX495" fmla="*/ 505898 w 833102"/>
                    <a:gd name="connsiteY495" fmla="*/ 1230939 h 1285875"/>
                    <a:gd name="connsiteX496" fmla="*/ 502276 w 833102"/>
                    <a:gd name="connsiteY496" fmla="*/ 1230335 h 1285875"/>
                    <a:gd name="connsiteX497" fmla="*/ 501672 w 833102"/>
                    <a:gd name="connsiteY497" fmla="*/ 1227316 h 1285875"/>
                    <a:gd name="connsiteX498" fmla="*/ 502880 w 833102"/>
                    <a:gd name="connsiteY498" fmla="*/ 1226109 h 1285875"/>
                    <a:gd name="connsiteX499" fmla="*/ 511331 w 833102"/>
                    <a:gd name="connsiteY499" fmla="*/ 1221883 h 1285875"/>
                    <a:gd name="connsiteX500" fmla="*/ 513143 w 833102"/>
                    <a:gd name="connsiteY500" fmla="*/ 1218865 h 1285875"/>
                    <a:gd name="connsiteX501" fmla="*/ 511935 w 833102"/>
                    <a:gd name="connsiteY501" fmla="*/ 1217053 h 1285875"/>
                    <a:gd name="connsiteX502" fmla="*/ 512539 w 833102"/>
                    <a:gd name="connsiteY502" fmla="*/ 1216450 h 1285875"/>
                    <a:gd name="connsiteX503" fmla="*/ 511935 w 833102"/>
                    <a:gd name="connsiteY503" fmla="*/ 1216450 h 1285875"/>
                    <a:gd name="connsiteX504" fmla="*/ 510728 w 833102"/>
                    <a:gd name="connsiteY504" fmla="*/ 1221883 h 1285875"/>
                    <a:gd name="connsiteX505" fmla="*/ 503483 w 833102"/>
                    <a:gd name="connsiteY505" fmla="*/ 1224902 h 1285875"/>
                    <a:gd name="connsiteX506" fmla="*/ 501672 w 833102"/>
                    <a:gd name="connsiteY506" fmla="*/ 1226713 h 1285875"/>
                    <a:gd name="connsiteX507" fmla="*/ 501069 w 833102"/>
                    <a:gd name="connsiteY507" fmla="*/ 1228524 h 1285875"/>
                    <a:gd name="connsiteX508" fmla="*/ 505294 w 833102"/>
                    <a:gd name="connsiteY508" fmla="*/ 1235768 h 1285875"/>
                    <a:gd name="connsiteX509" fmla="*/ 505898 w 833102"/>
                    <a:gd name="connsiteY509" fmla="*/ 1238787 h 1285875"/>
                    <a:gd name="connsiteX510" fmla="*/ 492617 w 833102"/>
                    <a:gd name="connsiteY510" fmla="*/ 1236976 h 1285875"/>
                    <a:gd name="connsiteX511" fmla="*/ 492617 w 833102"/>
                    <a:gd name="connsiteY511" fmla="*/ 1233957 h 1285875"/>
                    <a:gd name="connsiteX512" fmla="*/ 488995 w 833102"/>
                    <a:gd name="connsiteY512" fmla="*/ 1224298 h 1285875"/>
                    <a:gd name="connsiteX513" fmla="*/ 484769 w 833102"/>
                    <a:gd name="connsiteY513" fmla="*/ 1218261 h 1285875"/>
                    <a:gd name="connsiteX514" fmla="*/ 481750 w 833102"/>
                    <a:gd name="connsiteY514" fmla="*/ 1211620 h 1285875"/>
                    <a:gd name="connsiteX515" fmla="*/ 484165 w 833102"/>
                    <a:gd name="connsiteY515" fmla="*/ 1202565 h 1285875"/>
                    <a:gd name="connsiteX516" fmla="*/ 483561 w 833102"/>
                    <a:gd name="connsiteY516" fmla="*/ 1198943 h 1285875"/>
                    <a:gd name="connsiteX517" fmla="*/ 479335 w 833102"/>
                    <a:gd name="connsiteY517" fmla="*/ 1193509 h 1285875"/>
                    <a:gd name="connsiteX518" fmla="*/ 488391 w 833102"/>
                    <a:gd name="connsiteY518" fmla="*/ 1183850 h 1285875"/>
                    <a:gd name="connsiteX519" fmla="*/ 492013 w 833102"/>
                    <a:gd name="connsiteY519" fmla="*/ 1176606 h 1285875"/>
                    <a:gd name="connsiteX520" fmla="*/ 493824 w 833102"/>
                    <a:gd name="connsiteY520" fmla="*/ 1164532 h 1285875"/>
                    <a:gd name="connsiteX521" fmla="*/ 491409 w 833102"/>
                    <a:gd name="connsiteY521" fmla="*/ 1155477 h 1285875"/>
                    <a:gd name="connsiteX522" fmla="*/ 491409 w 833102"/>
                    <a:gd name="connsiteY522" fmla="*/ 1151251 h 1285875"/>
                    <a:gd name="connsiteX523" fmla="*/ 486580 w 833102"/>
                    <a:gd name="connsiteY523" fmla="*/ 1142799 h 1285875"/>
                    <a:gd name="connsiteX524" fmla="*/ 481750 w 833102"/>
                    <a:gd name="connsiteY524" fmla="*/ 1140384 h 1285875"/>
                    <a:gd name="connsiteX525" fmla="*/ 472091 w 833102"/>
                    <a:gd name="connsiteY525" fmla="*/ 1137969 h 1285875"/>
                    <a:gd name="connsiteX526" fmla="*/ 463035 w 833102"/>
                    <a:gd name="connsiteY526" fmla="*/ 1137969 h 1285875"/>
                    <a:gd name="connsiteX527" fmla="*/ 464847 w 833102"/>
                    <a:gd name="connsiteY527" fmla="*/ 1133140 h 1285875"/>
                    <a:gd name="connsiteX528" fmla="*/ 466054 w 833102"/>
                    <a:gd name="connsiteY528" fmla="*/ 1125895 h 1285875"/>
                    <a:gd name="connsiteX529" fmla="*/ 469676 w 833102"/>
                    <a:gd name="connsiteY529" fmla="*/ 1116840 h 1285875"/>
                    <a:gd name="connsiteX530" fmla="*/ 466054 w 833102"/>
                    <a:gd name="connsiteY530" fmla="*/ 1116840 h 1285875"/>
                    <a:gd name="connsiteX531" fmla="*/ 464243 w 833102"/>
                    <a:gd name="connsiteY531" fmla="*/ 1121066 h 1285875"/>
                    <a:gd name="connsiteX532" fmla="*/ 463639 w 833102"/>
                    <a:gd name="connsiteY532" fmla="*/ 1128310 h 1285875"/>
                    <a:gd name="connsiteX533" fmla="*/ 458206 w 833102"/>
                    <a:gd name="connsiteY533" fmla="*/ 1135554 h 1285875"/>
                    <a:gd name="connsiteX534" fmla="*/ 453376 w 833102"/>
                    <a:gd name="connsiteY534" fmla="*/ 1134951 h 1285875"/>
                    <a:gd name="connsiteX535" fmla="*/ 444321 w 833102"/>
                    <a:gd name="connsiteY535" fmla="*/ 1129517 h 1285875"/>
                    <a:gd name="connsiteX536" fmla="*/ 439492 w 833102"/>
                    <a:gd name="connsiteY536" fmla="*/ 1122273 h 1285875"/>
                    <a:gd name="connsiteX537" fmla="*/ 439492 w 833102"/>
                    <a:gd name="connsiteY537" fmla="*/ 1106577 h 1285875"/>
                    <a:gd name="connsiteX538" fmla="*/ 437680 w 833102"/>
                    <a:gd name="connsiteY538" fmla="*/ 1095710 h 1285875"/>
                    <a:gd name="connsiteX539" fmla="*/ 433455 w 833102"/>
                    <a:gd name="connsiteY539" fmla="*/ 1094503 h 1285875"/>
                    <a:gd name="connsiteX540" fmla="*/ 435869 w 833102"/>
                    <a:gd name="connsiteY540" fmla="*/ 1103558 h 1285875"/>
                    <a:gd name="connsiteX541" fmla="*/ 436473 w 833102"/>
                    <a:gd name="connsiteY541" fmla="*/ 1112010 h 1285875"/>
                    <a:gd name="connsiteX542" fmla="*/ 434058 w 833102"/>
                    <a:gd name="connsiteY542" fmla="*/ 1114425 h 1285875"/>
                    <a:gd name="connsiteX543" fmla="*/ 434662 w 833102"/>
                    <a:gd name="connsiteY543" fmla="*/ 1125292 h 1285875"/>
                    <a:gd name="connsiteX544" fmla="*/ 441906 w 833102"/>
                    <a:gd name="connsiteY544" fmla="*/ 1131932 h 1285875"/>
                    <a:gd name="connsiteX545" fmla="*/ 446132 w 833102"/>
                    <a:gd name="connsiteY545" fmla="*/ 1137969 h 1285875"/>
                    <a:gd name="connsiteX546" fmla="*/ 452773 w 833102"/>
                    <a:gd name="connsiteY546" fmla="*/ 1139780 h 1285875"/>
                    <a:gd name="connsiteX547" fmla="*/ 455187 w 833102"/>
                    <a:gd name="connsiteY547" fmla="*/ 1137969 h 1285875"/>
                    <a:gd name="connsiteX548" fmla="*/ 461224 w 833102"/>
                    <a:gd name="connsiteY548" fmla="*/ 1142195 h 1285875"/>
                    <a:gd name="connsiteX549" fmla="*/ 469676 w 833102"/>
                    <a:gd name="connsiteY549" fmla="*/ 1141591 h 1285875"/>
                    <a:gd name="connsiteX550" fmla="*/ 475713 w 833102"/>
                    <a:gd name="connsiteY550" fmla="*/ 1143403 h 1285875"/>
                    <a:gd name="connsiteX551" fmla="*/ 478128 w 833102"/>
                    <a:gd name="connsiteY551" fmla="*/ 1147025 h 1285875"/>
                    <a:gd name="connsiteX552" fmla="*/ 487787 w 833102"/>
                    <a:gd name="connsiteY552" fmla="*/ 1159702 h 1285875"/>
                    <a:gd name="connsiteX553" fmla="*/ 482354 w 833102"/>
                    <a:gd name="connsiteY553" fmla="*/ 1168154 h 1285875"/>
                    <a:gd name="connsiteX554" fmla="*/ 464847 w 833102"/>
                    <a:gd name="connsiteY554" fmla="*/ 1179625 h 1285875"/>
                    <a:gd name="connsiteX555" fmla="*/ 460621 w 833102"/>
                    <a:gd name="connsiteY555" fmla="*/ 1181436 h 1285875"/>
                    <a:gd name="connsiteX556" fmla="*/ 453376 w 833102"/>
                    <a:gd name="connsiteY556" fmla="*/ 1173588 h 1285875"/>
                    <a:gd name="connsiteX557" fmla="*/ 453376 w 833102"/>
                    <a:gd name="connsiteY557" fmla="*/ 1169362 h 1285875"/>
                    <a:gd name="connsiteX558" fmla="*/ 450358 w 833102"/>
                    <a:gd name="connsiteY558" fmla="*/ 1168758 h 1285875"/>
                    <a:gd name="connsiteX559" fmla="*/ 451565 w 833102"/>
                    <a:gd name="connsiteY559" fmla="*/ 1175399 h 1285875"/>
                    <a:gd name="connsiteX560" fmla="*/ 458810 w 833102"/>
                    <a:gd name="connsiteY560" fmla="*/ 1181436 h 1285875"/>
                    <a:gd name="connsiteX561" fmla="*/ 452169 w 833102"/>
                    <a:gd name="connsiteY561" fmla="*/ 1195924 h 1285875"/>
                    <a:gd name="connsiteX562" fmla="*/ 448547 w 833102"/>
                    <a:gd name="connsiteY562" fmla="*/ 1205583 h 1285875"/>
                    <a:gd name="connsiteX563" fmla="*/ 443717 w 833102"/>
                    <a:gd name="connsiteY563" fmla="*/ 1215846 h 1285875"/>
                    <a:gd name="connsiteX564" fmla="*/ 435266 w 833102"/>
                    <a:gd name="connsiteY564" fmla="*/ 1224298 h 1285875"/>
                    <a:gd name="connsiteX565" fmla="*/ 432851 w 833102"/>
                    <a:gd name="connsiteY565" fmla="*/ 1229127 h 1285875"/>
                    <a:gd name="connsiteX566" fmla="*/ 425003 w 833102"/>
                    <a:gd name="connsiteY566" fmla="*/ 1230939 h 1285875"/>
                    <a:gd name="connsiteX567" fmla="*/ 421984 w 833102"/>
                    <a:gd name="connsiteY567" fmla="*/ 1235768 h 1285875"/>
                    <a:gd name="connsiteX568" fmla="*/ 412929 w 833102"/>
                    <a:gd name="connsiteY568" fmla="*/ 1243616 h 1285875"/>
                    <a:gd name="connsiteX569" fmla="*/ 408703 w 833102"/>
                    <a:gd name="connsiteY569" fmla="*/ 1249653 h 1285875"/>
                    <a:gd name="connsiteX570" fmla="*/ 404477 w 833102"/>
                    <a:gd name="connsiteY570" fmla="*/ 1252068 h 1285875"/>
                    <a:gd name="connsiteX571" fmla="*/ 397233 w 833102"/>
                    <a:gd name="connsiteY571" fmla="*/ 1251464 h 1285875"/>
                    <a:gd name="connsiteX572" fmla="*/ 394214 w 833102"/>
                    <a:gd name="connsiteY572" fmla="*/ 1255690 h 1285875"/>
                    <a:gd name="connsiteX573" fmla="*/ 381536 w 833102"/>
                    <a:gd name="connsiteY573" fmla="*/ 1261124 h 1285875"/>
                    <a:gd name="connsiteX574" fmla="*/ 357388 w 833102"/>
                    <a:gd name="connsiteY574" fmla="*/ 1265953 h 1285875"/>
                    <a:gd name="connsiteX575" fmla="*/ 341089 w 833102"/>
                    <a:gd name="connsiteY575" fmla="*/ 1271386 h 1285875"/>
                    <a:gd name="connsiteX576" fmla="*/ 341089 w 833102"/>
                    <a:gd name="connsiteY576" fmla="*/ 1270179 h 1285875"/>
                    <a:gd name="connsiteX577" fmla="*/ 341089 w 833102"/>
                    <a:gd name="connsiteY577" fmla="*/ 1267764 h 1285875"/>
                    <a:gd name="connsiteX578" fmla="*/ 336863 w 833102"/>
                    <a:gd name="connsiteY578" fmla="*/ 1263538 h 1285875"/>
                    <a:gd name="connsiteX579" fmla="*/ 336863 w 833102"/>
                    <a:gd name="connsiteY579" fmla="*/ 1260520 h 1285875"/>
                    <a:gd name="connsiteX580" fmla="*/ 338070 w 833102"/>
                    <a:gd name="connsiteY580" fmla="*/ 1256294 h 1285875"/>
                    <a:gd name="connsiteX581" fmla="*/ 338070 w 833102"/>
                    <a:gd name="connsiteY581" fmla="*/ 1252068 h 1285875"/>
                    <a:gd name="connsiteX582" fmla="*/ 338674 w 833102"/>
                    <a:gd name="connsiteY582" fmla="*/ 1251464 h 1285875"/>
                    <a:gd name="connsiteX583" fmla="*/ 336863 w 833102"/>
                    <a:gd name="connsiteY583" fmla="*/ 1247238 h 1285875"/>
                    <a:gd name="connsiteX584" fmla="*/ 337467 w 833102"/>
                    <a:gd name="connsiteY584" fmla="*/ 1246031 h 1285875"/>
                    <a:gd name="connsiteX585" fmla="*/ 337467 w 833102"/>
                    <a:gd name="connsiteY585" fmla="*/ 1245427 h 1285875"/>
                    <a:gd name="connsiteX586" fmla="*/ 333241 w 833102"/>
                    <a:gd name="connsiteY586" fmla="*/ 1243616 h 1285875"/>
                    <a:gd name="connsiteX587" fmla="*/ 334448 w 833102"/>
                    <a:gd name="connsiteY587" fmla="*/ 1243013 h 1285875"/>
                    <a:gd name="connsiteX588" fmla="*/ 333241 w 833102"/>
                    <a:gd name="connsiteY588" fmla="*/ 1241805 h 1285875"/>
                    <a:gd name="connsiteX589" fmla="*/ 333241 w 833102"/>
                    <a:gd name="connsiteY589" fmla="*/ 1237579 h 1285875"/>
                    <a:gd name="connsiteX590" fmla="*/ 332033 w 833102"/>
                    <a:gd name="connsiteY590" fmla="*/ 1236976 h 1285875"/>
                    <a:gd name="connsiteX591" fmla="*/ 329015 w 833102"/>
                    <a:gd name="connsiteY591" fmla="*/ 1236372 h 1285875"/>
                    <a:gd name="connsiteX592" fmla="*/ 322374 w 833102"/>
                    <a:gd name="connsiteY592" fmla="*/ 1235768 h 1285875"/>
                    <a:gd name="connsiteX593" fmla="*/ 320563 w 833102"/>
                    <a:gd name="connsiteY593" fmla="*/ 1235164 h 1285875"/>
                    <a:gd name="connsiteX594" fmla="*/ 318148 w 833102"/>
                    <a:gd name="connsiteY594" fmla="*/ 1235768 h 1285875"/>
                    <a:gd name="connsiteX595" fmla="*/ 315130 w 833102"/>
                    <a:gd name="connsiteY595" fmla="*/ 1233353 h 1285875"/>
                    <a:gd name="connsiteX596" fmla="*/ 312111 w 833102"/>
                    <a:gd name="connsiteY596" fmla="*/ 1232750 h 1285875"/>
                    <a:gd name="connsiteX597" fmla="*/ 310904 w 833102"/>
                    <a:gd name="connsiteY597" fmla="*/ 1233353 h 1285875"/>
                    <a:gd name="connsiteX598" fmla="*/ 310300 w 833102"/>
                    <a:gd name="connsiteY598" fmla="*/ 1231542 h 1285875"/>
                    <a:gd name="connsiteX599" fmla="*/ 309093 w 833102"/>
                    <a:gd name="connsiteY599" fmla="*/ 1232146 h 1285875"/>
                    <a:gd name="connsiteX600" fmla="*/ 308489 w 833102"/>
                    <a:gd name="connsiteY600" fmla="*/ 1232146 h 1285875"/>
                    <a:gd name="connsiteX601" fmla="*/ 307282 w 833102"/>
                    <a:gd name="connsiteY601" fmla="*/ 1231542 h 1285875"/>
                    <a:gd name="connsiteX602" fmla="*/ 307282 w 833102"/>
                    <a:gd name="connsiteY602" fmla="*/ 1230939 h 1285875"/>
                    <a:gd name="connsiteX603" fmla="*/ 304867 w 833102"/>
                    <a:gd name="connsiteY603" fmla="*/ 1230335 h 1285875"/>
                    <a:gd name="connsiteX604" fmla="*/ 303056 w 833102"/>
                    <a:gd name="connsiteY604" fmla="*/ 1229731 h 1285875"/>
                    <a:gd name="connsiteX605" fmla="*/ 302452 w 833102"/>
                    <a:gd name="connsiteY605" fmla="*/ 1227920 h 1285875"/>
                    <a:gd name="connsiteX606" fmla="*/ 299434 w 833102"/>
                    <a:gd name="connsiteY606" fmla="*/ 1229127 h 1285875"/>
                    <a:gd name="connsiteX607" fmla="*/ 298226 w 833102"/>
                    <a:gd name="connsiteY607" fmla="*/ 1227920 h 1285875"/>
                    <a:gd name="connsiteX608" fmla="*/ 295812 w 833102"/>
                    <a:gd name="connsiteY608" fmla="*/ 1226109 h 1285875"/>
                    <a:gd name="connsiteX609" fmla="*/ 297019 w 833102"/>
                    <a:gd name="connsiteY609" fmla="*/ 1224298 h 1285875"/>
                    <a:gd name="connsiteX610" fmla="*/ 295812 w 833102"/>
                    <a:gd name="connsiteY610" fmla="*/ 1221279 h 1285875"/>
                    <a:gd name="connsiteX611" fmla="*/ 294604 w 833102"/>
                    <a:gd name="connsiteY611" fmla="*/ 1218865 h 1285875"/>
                    <a:gd name="connsiteX612" fmla="*/ 292189 w 833102"/>
                    <a:gd name="connsiteY612" fmla="*/ 1216450 h 1285875"/>
                    <a:gd name="connsiteX613" fmla="*/ 292793 w 833102"/>
                    <a:gd name="connsiteY613" fmla="*/ 1214035 h 1285875"/>
                    <a:gd name="connsiteX614" fmla="*/ 290378 w 833102"/>
                    <a:gd name="connsiteY614" fmla="*/ 1207394 h 1285875"/>
                    <a:gd name="connsiteX615" fmla="*/ 294000 w 833102"/>
                    <a:gd name="connsiteY615" fmla="*/ 1202565 h 1285875"/>
                    <a:gd name="connsiteX616" fmla="*/ 290378 w 833102"/>
                    <a:gd name="connsiteY616" fmla="*/ 1198943 h 1285875"/>
                    <a:gd name="connsiteX617" fmla="*/ 289775 w 833102"/>
                    <a:gd name="connsiteY617" fmla="*/ 1197735 h 1285875"/>
                    <a:gd name="connsiteX618" fmla="*/ 290378 w 833102"/>
                    <a:gd name="connsiteY618" fmla="*/ 1194717 h 1285875"/>
                    <a:gd name="connsiteX619" fmla="*/ 287963 w 833102"/>
                    <a:gd name="connsiteY619" fmla="*/ 1194717 h 1285875"/>
                    <a:gd name="connsiteX620" fmla="*/ 287360 w 833102"/>
                    <a:gd name="connsiteY620" fmla="*/ 1194717 h 1285875"/>
                    <a:gd name="connsiteX621" fmla="*/ 283738 w 833102"/>
                    <a:gd name="connsiteY621" fmla="*/ 1194113 h 1285875"/>
                    <a:gd name="connsiteX622" fmla="*/ 277701 w 833102"/>
                    <a:gd name="connsiteY622" fmla="*/ 1191698 h 1285875"/>
                    <a:gd name="connsiteX623" fmla="*/ 276493 w 833102"/>
                    <a:gd name="connsiteY623" fmla="*/ 1190491 h 1285875"/>
                    <a:gd name="connsiteX624" fmla="*/ 274682 w 833102"/>
                    <a:gd name="connsiteY624" fmla="*/ 1195924 h 1285875"/>
                    <a:gd name="connsiteX625" fmla="*/ 274078 w 833102"/>
                    <a:gd name="connsiteY625" fmla="*/ 1200150 h 1285875"/>
                    <a:gd name="connsiteX626" fmla="*/ 272871 w 833102"/>
                    <a:gd name="connsiteY626" fmla="*/ 1200754 h 1285875"/>
                    <a:gd name="connsiteX627" fmla="*/ 268645 w 833102"/>
                    <a:gd name="connsiteY627" fmla="*/ 1202565 h 1285875"/>
                    <a:gd name="connsiteX628" fmla="*/ 265023 w 833102"/>
                    <a:gd name="connsiteY628" fmla="*/ 1201961 h 1285875"/>
                    <a:gd name="connsiteX629" fmla="*/ 264419 w 833102"/>
                    <a:gd name="connsiteY629" fmla="*/ 1202565 h 1285875"/>
                    <a:gd name="connsiteX630" fmla="*/ 263212 w 833102"/>
                    <a:gd name="connsiteY630" fmla="*/ 1202565 h 1285875"/>
                    <a:gd name="connsiteX631" fmla="*/ 260193 w 833102"/>
                    <a:gd name="connsiteY631" fmla="*/ 1206791 h 1285875"/>
                    <a:gd name="connsiteX632" fmla="*/ 260193 w 833102"/>
                    <a:gd name="connsiteY632" fmla="*/ 1207998 h 1285875"/>
                    <a:gd name="connsiteX633" fmla="*/ 260193 w 833102"/>
                    <a:gd name="connsiteY633" fmla="*/ 1208602 h 1285875"/>
                    <a:gd name="connsiteX634" fmla="*/ 261401 w 833102"/>
                    <a:gd name="connsiteY634" fmla="*/ 1209809 h 1285875"/>
                    <a:gd name="connsiteX635" fmla="*/ 261401 w 833102"/>
                    <a:gd name="connsiteY635" fmla="*/ 1210413 h 1285875"/>
                    <a:gd name="connsiteX636" fmla="*/ 261401 w 833102"/>
                    <a:gd name="connsiteY636" fmla="*/ 1215242 h 1285875"/>
                    <a:gd name="connsiteX637" fmla="*/ 257778 w 833102"/>
                    <a:gd name="connsiteY637" fmla="*/ 1215846 h 1285875"/>
                    <a:gd name="connsiteX638" fmla="*/ 248119 w 833102"/>
                    <a:gd name="connsiteY638" fmla="*/ 1214639 h 1285875"/>
                    <a:gd name="connsiteX639" fmla="*/ 245704 w 833102"/>
                    <a:gd name="connsiteY639" fmla="*/ 1209809 h 1285875"/>
                    <a:gd name="connsiteX640" fmla="*/ 241479 w 833102"/>
                    <a:gd name="connsiteY640" fmla="*/ 1204979 h 1285875"/>
                    <a:gd name="connsiteX641" fmla="*/ 242686 w 833102"/>
                    <a:gd name="connsiteY641" fmla="*/ 1197735 h 1285875"/>
                    <a:gd name="connsiteX642" fmla="*/ 248723 w 833102"/>
                    <a:gd name="connsiteY642" fmla="*/ 1186869 h 1285875"/>
                    <a:gd name="connsiteX643" fmla="*/ 246308 w 833102"/>
                    <a:gd name="connsiteY643" fmla="*/ 1182039 h 1285875"/>
                    <a:gd name="connsiteX644" fmla="*/ 246912 w 833102"/>
                    <a:gd name="connsiteY644" fmla="*/ 1177813 h 1285875"/>
                    <a:gd name="connsiteX645" fmla="*/ 245101 w 833102"/>
                    <a:gd name="connsiteY645" fmla="*/ 1175399 h 1285875"/>
                    <a:gd name="connsiteX646" fmla="*/ 240875 w 833102"/>
                    <a:gd name="connsiteY646" fmla="*/ 1174191 h 1285875"/>
                    <a:gd name="connsiteX647" fmla="*/ 233027 w 833102"/>
                    <a:gd name="connsiteY647" fmla="*/ 1165739 h 1285875"/>
                    <a:gd name="connsiteX648" fmla="*/ 222764 w 833102"/>
                    <a:gd name="connsiteY648" fmla="*/ 1165136 h 1285875"/>
                    <a:gd name="connsiteX649" fmla="*/ 210087 w 833102"/>
                    <a:gd name="connsiteY649" fmla="*/ 1162721 h 1285875"/>
                    <a:gd name="connsiteX650" fmla="*/ 207068 w 833102"/>
                    <a:gd name="connsiteY650" fmla="*/ 1163325 h 1285875"/>
                    <a:gd name="connsiteX651" fmla="*/ 205257 w 833102"/>
                    <a:gd name="connsiteY651" fmla="*/ 1159099 h 1285875"/>
                    <a:gd name="connsiteX652" fmla="*/ 201635 w 833102"/>
                    <a:gd name="connsiteY652" fmla="*/ 1159099 h 1285875"/>
                    <a:gd name="connsiteX653" fmla="*/ 200427 w 833102"/>
                    <a:gd name="connsiteY653" fmla="*/ 1151854 h 1285875"/>
                    <a:gd name="connsiteX654" fmla="*/ 198616 w 833102"/>
                    <a:gd name="connsiteY654" fmla="*/ 1150043 h 1285875"/>
                    <a:gd name="connsiteX655" fmla="*/ 190768 w 833102"/>
                    <a:gd name="connsiteY655" fmla="*/ 1152458 h 1285875"/>
                    <a:gd name="connsiteX656" fmla="*/ 182920 w 833102"/>
                    <a:gd name="connsiteY656" fmla="*/ 1152458 h 1285875"/>
                    <a:gd name="connsiteX657" fmla="*/ 182316 w 833102"/>
                    <a:gd name="connsiteY657" fmla="*/ 1144610 h 1285875"/>
                    <a:gd name="connsiteX658" fmla="*/ 184731 w 833102"/>
                    <a:gd name="connsiteY658" fmla="*/ 1136762 h 1285875"/>
                    <a:gd name="connsiteX659" fmla="*/ 189561 w 833102"/>
                    <a:gd name="connsiteY659" fmla="*/ 1137969 h 1285875"/>
                    <a:gd name="connsiteX660" fmla="*/ 198616 w 833102"/>
                    <a:gd name="connsiteY660" fmla="*/ 1136158 h 1285875"/>
                    <a:gd name="connsiteX661" fmla="*/ 202239 w 833102"/>
                    <a:gd name="connsiteY661" fmla="*/ 1131329 h 1285875"/>
                    <a:gd name="connsiteX662" fmla="*/ 199824 w 833102"/>
                    <a:gd name="connsiteY662" fmla="*/ 1128914 h 1285875"/>
                    <a:gd name="connsiteX663" fmla="*/ 204653 w 833102"/>
                    <a:gd name="connsiteY663" fmla="*/ 1126499 h 1285875"/>
                    <a:gd name="connsiteX664" fmla="*/ 210690 w 833102"/>
                    <a:gd name="connsiteY664" fmla="*/ 1126499 h 1285875"/>
                    <a:gd name="connsiteX665" fmla="*/ 217935 w 833102"/>
                    <a:gd name="connsiteY665" fmla="*/ 1128310 h 1285875"/>
                    <a:gd name="connsiteX666" fmla="*/ 218538 w 833102"/>
                    <a:gd name="connsiteY666" fmla="*/ 1121669 h 1285875"/>
                    <a:gd name="connsiteX667" fmla="*/ 215520 w 833102"/>
                    <a:gd name="connsiteY667" fmla="*/ 1118047 h 1285875"/>
                    <a:gd name="connsiteX668" fmla="*/ 206464 w 833102"/>
                    <a:gd name="connsiteY668" fmla="*/ 1112010 h 1285875"/>
                    <a:gd name="connsiteX669" fmla="*/ 206464 w 833102"/>
                    <a:gd name="connsiteY669" fmla="*/ 1108388 h 1285875"/>
                    <a:gd name="connsiteX670" fmla="*/ 208879 w 833102"/>
                    <a:gd name="connsiteY670" fmla="*/ 1102351 h 1285875"/>
                    <a:gd name="connsiteX671" fmla="*/ 209483 w 833102"/>
                    <a:gd name="connsiteY671" fmla="*/ 1096314 h 1285875"/>
                    <a:gd name="connsiteX672" fmla="*/ 201635 w 833102"/>
                    <a:gd name="connsiteY672" fmla="*/ 1091484 h 1285875"/>
                    <a:gd name="connsiteX673" fmla="*/ 193183 w 833102"/>
                    <a:gd name="connsiteY673" fmla="*/ 1090277 h 1285875"/>
                    <a:gd name="connsiteX674" fmla="*/ 188957 w 833102"/>
                    <a:gd name="connsiteY674" fmla="*/ 1079411 h 1285875"/>
                    <a:gd name="connsiteX675" fmla="*/ 190768 w 833102"/>
                    <a:gd name="connsiteY675" fmla="*/ 1077600 h 1285875"/>
                    <a:gd name="connsiteX676" fmla="*/ 198013 w 833102"/>
                    <a:gd name="connsiteY676" fmla="*/ 1078807 h 1285875"/>
                    <a:gd name="connsiteX677" fmla="*/ 198616 w 833102"/>
                    <a:gd name="connsiteY677" fmla="*/ 1068544 h 1285875"/>
                    <a:gd name="connsiteX678" fmla="*/ 197409 w 833102"/>
                    <a:gd name="connsiteY678" fmla="*/ 1063111 h 1285875"/>
                    <a:gd name="connsiteX679" fmla="*/ 193183 w 833102"/>
                    <a:gd name="connsiteY679" fmla="*/ 1061904 h 1285875"/>
                    <a:gd name="connsiteX680" fmla="*/ 191372 w 833102"/>
                    <a:gd name="connsiteY680" fmla="*/ 1056470 h 1285875"/>
                    <a:gd name="connsiteX681" fmla="*/ 181109 w 833102"/>
                    <a:gd name="connsiteY681" fmla="*/ 1055263 h 1285875"/>
                    <a:gd name="connsiteX682" fmla="*/ 174468 w 833102"/>
                    <a:gd name="connsiteY682" fmla="*/ 1057074 h 1285875"/>
                    <a:gd name="connsiteX683" fmla="*/ 169639 w 833102"/>
                    <a:gd name="connsiteY683" fmla="*/ 1056470 h 1285875"/>
                    <a:gd name="connsiteX684" fmla="*/ 169035 w 833102"/>
                    <a:gd name="connsiteY684" fmla="*/ 1052848 h 1285875"/>
                    <a:gd name="connsiteX685" fmla="*/ 166017 w 833102"/>
                    <a:gd name="connsiteY685" fmla="*/ 1051641 h 1285875"/>
                    <a:gd name="connsiteX686" fmla="*/ 166620 w 833102"/>
                    <a:gd name="connsiteY686" fmla="*/ 1038359 h 1285875"/>
                    <a:gd name="connsiteX687" fmla="*/ 162998 w 833102"/>
                    <a:gd name="connsiteY687" fmla="*/ 1034133 h 1285875"/>
                    <a:gd name="connsiteX688" fmla="*/ 155150 w 833102"/>
                    <a:gd name="connsiteY688" fmla="*/ 1031115 h 1285875"/>
                    <a:gd name="connsiteX689" fmla="*/ 149113 w 833102"/>
                    <a:gd name="connsiteY689" fmla="*/ 1026285 h 1285875"/>
                    <a:gd name="connsiteX690" fmla="*/ 134020 w 833102"/>
                    <a:gd name="connsiteY690" fmla="*/ 1023267 h 1285875"/>
                    <a:gd name="connsiteX691" fmla="*/ 129191 w 833102"/>
                    <a:gd name="connsiteY691" fmla="*/ 1014815 h 1285875"/>
                    <a:gd name="connsiteX692" fmla="*/ 121343 w 833102"/>
                    <a:gd name="connsiteY692" fmla="*/ 1011193 h 1285875"/>
                    <a:gd name="connsiteX693" fmla="*/ 122550 w 833102"/>
                    <a:gd name="connsiteY693" fmla="*/ 1003948 h 1285875"/>
                    <a:gd name="connsiteX694" fmla="*/ 124965 w 833102"/>
                    <a:gd name="connsiteY694" fmla="*/ 999722 h 1285875"/>
                    <a:gd name="connsiteX695" fmla="*/ 124965 w 833102"/>
                    <a:gd name="connsiteY695" fmla="*/ 992478 h 1285875"/>
                    <a:gd name="connsiteX696" fmla="*/ 127380 w 833102"/>
                    <a:gd name="connsiteY696" fmla="*/ 993082 h 1285875"/>
                    <a:gd name="connsiteX697" fmla="*/ 128587 w 833102"/>
                    <a:gd name="connsiteY697" fmla="*/ 987648 h 1285875"/>
                    <a:gd name="connsiteX698" fmla="*/ 131002 w 833102"/>
                    <a:gd name="connsiteY698" fmla="*/ 984630 h 1285875"/>
                    <a:gd name="connsiteX699" fmla="*/ 124965 w 833102"/>
                    <a:gd name="connsiteY699" fmla="*/ 980404 h 1285875"/>
                    <a:gd name="connsiteX700" fmla="*/ 125569 w 833102"/>
                    <a:gd name="connsiteY700" fmla="*/ 977386 h 1285875"/>
                    <a:gd name="connsiteX701" fmla="*/ 129795 w 833102"/>
                    <a:gd name="connsiteY701" fmla="*/ 976178 h 1285875"/>
                    <a:gd name="connsiteX702" fmla="*/ 132209 w 833102"/>
                    <a:gd name="connsiteY702" fmla="*/ 973160 h 1285875"/>
                    <a:gd name="connsiteX703" fmla="*/ 135832 w 833102"/>
                    <a:gd name="connsiteY703" fmla="*/ 975575 h 1285875"/>
                    <a:gd name="connsiteX704" fmla="*/ 138246 w 833102"/>
                    <a:gd name="connsiteY704" fmla="*/ 973160 h 1285875"/>
                    <a:gd name="connsiteX705" fmla="*/ 142472 w 833102"/>
                    <a:gd name="connsiteY705" fmla="*/ 973764 h 1285875"/>
                    <a:gd name="connsiteX706" fmla="*/ 146698 w 833102"/>
                    <a:gd name="connsiteY706" fmla="*/ 970141 h 1285875"/>
                    <a:gd name="connsiteX707" fmla="*/ 145491 w 833102"/>
                    <a:gd name="connsiteY707" fmla="*/ 965312 h 1285875"/>
                    <a:gd name="connsiteX708" fmla="*/ 141265 w 833102"/>
                    <a:gd name="connsiteY708" fmla="*/ 968934 h 1285875"/>
                    <a:gd name="connsiteX709" fmla="*/ 138246 w 833102"/>
                    <a:gd name="connsiteY709" fmla="*/ 963501 h 1285875"/>
                    <a:gd name="connsiteX710" fmla="*/ 131002 w 833102"/>
                    <a:gd name="connsiteY710" fmla="*/ 964708 h 1285875"/>
                    <a:gd name="connsiteX711" fmla="*/ 121343 w 833102"/>
                    <a:gd name="connsiteY711" fmla="*/ 962293 h 1285875"/>
                    <a:gd name="connsiteX712" fmla="*/ 116513 w 833102"/>
                    <a:gd name="connsiteY712" fmla="*/ 967123 h 1285875"/>
                    <a:gd name="connsiteX713" fmla="*/ 114099 w 833102"/>
                    <a:gd name="connsiteY713" fmla="*/ 963501 h 1285875"/>
                    <a:gd name="connsiteX714" fmla="*/ 109873 w 833102"/>
                    <a:gd name="connsiteY714" fmla="*/ 962293 h 1285875"/>
                    <a:gd name="connsiteX715" fmla="*/ 103836 w 833102"/>
                    <a:gd name="connsiteY715" fmla="*/ 963501 h 1285875"/>
                    <a:gd name="connsiteX716" fmla="*/ 92969 w 833102"/>
                    <a:gd name="connsiteY716" fmla="*/ 958671 h 1285875"/>
                    <a:gd name="connsiteX717" fmla="*/ 89347 w 833102"/>
                    <a:gd name="connsiteY717" fmla="*/ 962293 h 1285875"/>
                    <a:gd name="connsiteX718" fmla="*/ 79084 w 833102"/>
                    <a:gd name="connsiteY718" fmla="*/ 962897 h 1285875"/>
                    <a:gd name="connsiteX719" fmla="*/ 76669 w 833102"/>
                    <a:gd name="connsiteY719" fmla="*/ 958068 h 1285875"/>
                    <a:gd name="connsiteX720" fmla="*/ 71840 w 833102"/>
                    <a:gd name="connsiteY720" fmla="*/ 958671 h 1285875"/>
                    <a:gd name="connsiteX721" fmla="*/ 68821 w 833102"/>
                    <a:gd name="connsiteY721" fmla="*/ 952634 h 1285875"/>
                    <a:gd name="connsiteX722" fmla="*/ 63388 w 833102"/>
                    <a:gd name="connsiteY722" fmla="*/ 947201 h 1285875"/>
                    <a:gd name="connsiteX723" fmla="*/ 63992 w 833102"/>
                    <a:gd name="connsiteY723" fmla="*/ 943579 h 1285875"/>
                    <a:gd name="connsiteX724" fmla="*/ 59162 w 833102"/>
                    <a:gd name="connsiteY724" fmla="*/ 940560 h 1285875"/>
                    <a:gd name="connsiteX725" fmla="*/ 54333 w 833102"/>
                    <a:gd name="connsiteY725" fmla="*/ 941164 h 1285875"/>
                    <a:gd name="connsiteX726" fmla="*/ 44673 w 833102"/>
                    <a:gd name="connsiteY726" fmla="*/ 936334 h 1285875"/>
                    <a:gd name="connsiteX727" fmla="*/ 45277 w 833102"/>
                    <a:gd name="connsiteY727" fmla="*/ 932109 h 1285875"/>
                    <a:gd name="connsiteX728" fmla="*/ 42862 w 833102"/>
                    <a:gd name="connsiteY728" fmla="*/ 929090 h 1285875"/>
                    <a:gd name="connsiteX729" fmla="*/ 31996 w 833102"/>
                    <a:gd name="connsiteY729" fmla="*/ 928486 h 1285875"/>
                    <a:gd name="connsiteX730" fmla="*/ 25355 w 833102"/>
                    <a:gd name="connsiteY730" fmla="*/ 930297 h 1285875"/>
                    <a:gd name="connsiteX731" fmla="*/ 24148 w 833102"/>
                    <a:gd name="connsiteY731" fmla="*/ 932109 h 1285875"/>
                    <a:gd name="connsiteX732" fmla="*/ 18111 w 833102"/>
                    <a:gd name="connsiteY732" fmla="*/ 932109 h 1285875"/>
                    <a:gd name="connsiteX733" fmla="*/ 15092 w 833102"/>
                    <a:gd name="connsiteY733" fmla="*/ 927883 h 1285875"/>
                    <a:gd name="connsiteX734" fmla="*/ 10263 w 833102"/>
                    <a:gd name="connsiteY734" fmla="*/ 925468 h 1285875"/>
                    <a:gd name="connsiteX735" fmla="*/ 10263 w 833102"/>
                    <a:gd name="connsiteY735" fmla="*/ 922449 h 1285875"/>
                    <a:gd name="connsiteX736" fmla="*/ 6037 w 833102"/>
                    <a:gd name="connsiteY736" fmla="*/ 917620 h 1285875"/>
                    <a:gd name="connsiteX737" fmla="*/ 1811 w 833102"/>
                    <a:gd name="connsiteY737" fmla="*/ 918223 h 1285875"/>
                    <a:gd name="connsiteX738" fmla="*/ 0 w 833102"/>
                    <a:gd name="connsiteY738" fmla="*/ 902527 h 1285875"/>
                    <a:gd name="connsiteX739" fmla="*/ 1207 w 833102"/>
                    <a:gd name="connsiteY739" fmla="*/ 898301 h 1285875"/>
                    <a:gd name="connsiteX740" fmla="*/ 7244 w 833102"/>
                    <a:gd name="connsiteY740" fmla="*/ 893472 h 1285875"/>
                    <a:gd name="connsiteX741" fmla="*/ 9055 w 833102"/>
                    <a:gd name="connsiteY741" fmla="*/ 887435 h 1285875"/>
                    <a:gd name="connsiteX742" fmla="*/ 7848 w 833102"/>
                    <a:gd name="connsiteY742" fmla="*/ 879587 h 1285875"/>
                    <a:gd name="connsiteX743" fmla="*/ 13885 w 833102"/>
                    <a:gd name="connsiteY743" fmla="*/ 876568 h 1285875"/>
                    <a:gd name="connsiteX744" fmla="*/ 10263 w 833102"/>
                    <a:gd name="connsiteY744" fmla="*/ 869928 h 1285875"/>
                    <a:gd name="connsiteX745" fmla="*/ 7244 w 833102"/>
                    <a:gd name="connsiteY745" fmla="*/ 869324 h 1285875"/>
                    <a:gd name="connsiteX746" fmla="*/ 6641 w 833102"/>
                    <a:gd name="connsiteY746" fmla="*/ 860269 h 1285875"/>
                    <a:gd name="connsiteX747" fmla="*/ 9659 w 833102"/>
                    <a:gd name="connsiteY747" fmla="*/ 854232 h 1285875"/>
                    <a:gd name="connsiteX748" fmla="*/ 16300 w 833102"/>
                    <a:gd name="connsiteY748" fmla="*/ 855439 h 1285875"/>
                    <a:gd name="connsiteX749" fmla="*/ 22940 w 833102"/>
                    <a:gd name="connsiteY749" fmla="*/ 859061 h 1285875"/>
                    <a:gd name="connsiteX750" fmla="*/ 39844 w 833102"/>
                    <a:gd name="connsiteY750" fmla="*/ 851817 h 1285875"/>
                    <a:gd name="connsiteX751" fmla="*/ 44070 w 833102"/>
                    <a:gd name="connsiteY751" fmla="*/ 851213 h 1285875"/>
                    <a:gd name="connsiteX752" fmla="*/ 42259 w 833102"/>
                    <a:gd name="connsiteY752" fmla="*/ 845176 h 1285875"/>
                    <a:gd name="connsiteX753" fmla="*/ 38033 w 833102"/>
                    <a:gd name="connsiteY753" fmla="*/ 837328 h 1285875"/>
                    <a:gd name="connsiteX754" fmla="*/ 38033 w 833102"/>
                    <a:gd name="connsiteY754" fmla="*/ 835517 h 1285875"/>
                    <a:gd name="connsiteX755" fmla="*/ 43466 w 833102"/>
                    <a:gd name="connsiteY755" fmla="*/ 830084 h 1285875"/>
                    <a:gd name="connsiteX756" fmla="*/ 50107 w 833102"/>
                    <a:gd name="connsiteY756" fmla="*/ 831291 h 1285875"/>
                    <a:gd name="connsiteX757" fmla="*/ 50710 w 833102"/>
                    <a:gd name="connsiteY757" fmla="*/ 833706 h 1285875"/>
                    <a:gd name="connsiteX758" fmla="*/ 56747 w 833102"/>
                    <a:gd name="connsiteY758" fmla="*/ 832499 h 1285875"/>
                    <a:gd name="connsiteX759" fmla="*/ 63992 w 833102"/>
                    <a:gd name="connsiteY759" fmla="*/ 833102 h 1285875"/>
                    <a:gd name="connsiteX760" fmla="*/ 67010 w 833102"/>
                    <a:gd name="connsiteY760" fmla="*/ 837328 h 1285875"/>
                    <a:gd name="connsiteX761" fmla="*/ 65199 w 833102"/>
                    <a:gd name="connsiteY761" fmla="*/ 842761 h 1285875"/>
                    <a:gd name="connsiteX762" fmla="*/ 67614 w 833102"/>
                    <a:gd name="connsiteY762" fmla="*/ 848195 h 1285875"/>
                    <a:gd name="connsiteX763" fmla="*/ 65199 w 833102"/>
                    <a:gd name="connsiteY763" fmla="*/ 854232 h 1285875"/>
                    <a:gd name="connsiteX764" fmla="*/ 72444 w 833102"/>
                    <a:gd name="connsiteY764" fmla="*/ 854835 h 1285875"/>
                    <a:gd name="connsiteX765" fmla="*/ 77273 w 833102"/>
                    <a:gd name="connsiteY765" fmla="*/ 858457 h 1285875"/>
                    <a:gd name="connsiteX766" fmla="*/ 80895 w 833102"/>
                    <a:gd name="connsiteY766" fmla="*/ 859061 h 1285875"/>
                    <a:gd name="connsiteX767" fmla="*/ 82103 w 833102"/>
                    <a:gd name="connsiteY767" fmla="*/ 863287 h 1285875"/>
                    <a:gd name="connsiteX768" fmla="*/ 86329 w 833102"/>
                    <a:gd name="connsiteY768" fmla="*/ 863891 h 1285875"/>
                    <a:gd name="connsiteX769" fmla="*/ 93573 w 833102"/>
                    <a:gd name="connsiteY769" fmla="*/ 862683 h 1285875"/>
                    <a:gd name="connsiteX770" fmla="*/ 93573 w 833102"/>
                    <a:gd name="connsiteY770" fmla="*/ 865702 h 1285875"/>
                    <a:gd name="connsiteX771" fmla="*/ 97195 w 833102"/>
                    <a:gd name="connsiteY771" fmla="*/ 866909 h 1285875"/>
                    <a:gd name="connsiteX772" fmla="*/ 100214 w 833102"/>
                    <a:gd name="connsiteY772" fmla="*/ 865702 h 1285875"/>
                    <a:gd name="connsiteX773" fmla="*/ 97195 w 833102"/>
                    <a:gd name="connsiteY773" fmla="*/ 861476 h 1285875"/>
                    <a:gd name="connsiteX774" fmla="*/ 102629 w 833102"/>
                    <a:gd name="connsiteY774" fmla="*/ 858457 h 1285875"/>
                    <a:gd name="connsiteX775" fmla="*/ 108062 w 833102"/>
                    <a:gd name="connsiteY775" fmla="*/ 857250 h 1285875"/>
                    <a:gd name="connsiteX776" fmla="*/ 109269 w 833102"/>
                    <a:gd name="connsiteY776" fmla="*/ 846384 h 1285875"/>
                    <a:gd name="connsiteX777" fmla="*/ 111080 w 833102"/>
                    <a:gd name="connsiteY777" fmla="*/ 843969 h 1285875"/>
                    <a:gd name="connsiteX778" fmla="*/ 109269 w 833102"/>
                    <a:gd name="connsiteY778" fmla="*/ 839139 h 1285875"/>
                    <a:gd name="connsiteX779" fmla="*/ 114702 w 833102"/>
                    <a:gd name="connsiteY779" fmla="*/ 833102 h 1285875"/>
                    <a:gd name="connsiteX780" fmla="*/ 114099 w 833102"/>
                    <a:gd name="connsiteY780" fmla="*/ 830084 h 1285875"/>
                    <a:gd name="connsiteX781" fmla="*/ 119532 w 833102"/>
                    <a:gd name="connsiteY781" fmla="*/ 829480 h 1285875"/>
                    <a:gd name="connsiteX782" fmla="*/ 127380 w 833102"/>
                    <a:gd name="connsiteY782" fmla="*/ 819821 h 1285875"/>
                    <a:gd name="connsiteX783" fmla="*/ 134624 w 833102"/>
                    <a:gd name="connsiteY783" fmla="*/ 818613 h 1285875"/>
                    <a:gd name="connsiteX784" fmla="*/ 144283 w 833102"/>
                    <a:gd name="connsiteY784" fmla="*/ 819821 h 1285875"/>
                    <a:gd name="connsiteX785" fmla="*/ 157565 w 833102"/>
                    <a:gd name="connsiteY785" fmla="*/ 812576 h 1285875"/>
                    <a:gd name="connsiteX786" fmla="*/ 169035 w 833102"/>
                    <a:gd name="connsiteY786" fmla="*/ 807747 h 1285875"/>
                    <a:gd name="connsiteX787" fmla="*/ 182316 w 833102"/>
                    <a:gd name="connsiteY787" fmla="*/ 804728 h 1285875"/>
                    <a:gd name="connsiteX788" fmla="*/ 186542 w 833102"/>
                    <a:gd name="connsiteY788" fmla="*/ 805332 h 1285875"/>
                    <a:gd name="connsiteX789" fmla="*/ 187750 w 833102"/>
                    <a:gd name="connsiteY789" fmla="*/ 808954 h 1285875"/>
                    <a:gd name="connsiteX790" fmla="*/ 198616 w 833102"/>
                    <a:gd name="connsiteY790" fmla="*/ 807143 h 1285875"/>
                    <a:gd name="connsiteX791" fmla="*/ 198616 w 833102"/>
                    <a:gd name="connsiteY791" fmla="*/ 804728 h 1285875"/>
                    <a:gd name="connsiteX792" fmla="*/ 201635 w 833102"/>
                    <a:gd name="connsiteY792" fmla="*/ 795069 h 1285875"/>
                    <a:gd name="connsiteX793" fmla="*/ 204050 w 833102"/>
                    <a:gd name="connsiteY793" fmla="*/ 793862 h 1285875"/>
                    <a:gd name="connsiteX794" fmla="*/ 204050 w 833102"/>
                    <a:gd name="connsiteY794" fmla="*/ 787221 h 1285875"/>
                    <a:gd name="connsiteX795" fmla="*/ 199824 w 833102"/>
                    <a:gd name="connsiteY795" fmla="*/ 782391 h 1285875"/>
                    <a:gd name="connsiteX796" fmla="*/ 200427 w 833102"/>
                    <a:gd name="connsiteY796" fmla="*/ 778769 h 1285875"/>
                    <a:gd name="connsiteX797" fmla="*/ 204653 w 833102"/>
                    <a:gd name="connsiteY797" fmla="*/ 778769 h 1285875"/>
                    <a:gd name="connsiteX798" fmla="*/ 209483 w 833102"/>
                    <a:gd name="connsiteY798" fmla="*/ 776958 h 1285875"/>
                    <a:gd name="connsiteX799" fmla="*/ 213105 w 833102"/>
                    <a:gd name="connsiteY799" fmla="*/ 772129 h 1285875"/>
                    <a:gd name="connsiteX800" fmla="*/ 216727 w 833102"/>
                    <a:gd name="connsiteY800" fmla="*/ 772129 h 1285875"/>
                    <a:gd name="connsiteX801" fmla="*/ 216124 w 833102"/>
                    <a:gd name="connsiteY801" fmla="*/ 767299 h 1285875"/>
                    <a:gd name="connsiteX802" fmla="*/ 220349 w 833102"/>
                    <a:gd name="connsiteY802" fmla="*/ 763677 h 1285875"/>
                    <a:gd name="connsiteX803" fmla="*/ 225783 w 833102"/>
                    <a:gd name="connsiteY803" fmla="*/ 766695 h 1285875"/>
                    <a:gd name="connsiteX804" fmla="*/ 226386 w 833102"/>
                    <a:gd name="connsiteY804" fmla="*/ 769714 h 1285875"/>
                    <a:gd name="connsiteX805" fmla="*/ 230008 w 833102"/>
                    <a:gd name="connsiteY805" fmla="*/ 772129 h 1285875"/>
                    <a:gd name="connsiteX806" fmla="*/ 234234 w 833102"/>
                    <a:gd name="connsiteY806" fmla="*/ 766695 h 1285875"/>
                    <a:gd name="connsiteX807" fmla="*/ 242082 w 833102"/>
                    <a:gd name="connsiteY807" fmla="*/ 769714 h 1285875"/>
                    <a:gd name="connsiteX808" fmla="*/ 248723 w 833102"/>
                    <a:gd name="connsiteY808" fmla="*/ 773336 h 1285875"/>
                    <a:gd name="connsiteX809" fmla="*/ 253553 w 833102"/>
                    <a:gd name="connsiteY809" fmla="*/ 778166 h 1285875"/>
                    <a:gd name="connsiteX810" fmla="*/ 263815 w 833102"/>
                    <a:gd name="connsiteY810" fmla="*/ 781788 h 1285875"/>
                    <a:gd name="connsiteX811" fmla="*/ 272267 w 833102"/>
                    <a:gd name="connsiteY811" fmla="*/ 782995 h 1285875"/>
                    <a:gd name="connsiteX812" fmla="*/ 275889 w 833102"/>
                    <a:gd name="connsiteY812" fmla="*/ 776958 h 1285875"/>
                    <a:gd name="connsiteX813" fmla="*/ 273475 w 833102"/>
                    <a:gd name="connsiteY813" fmla="*/ 775751 h 1285875"/>
                    <a:gd name="connsiteX814" fmla="*/ 268645 w 833102"/>
                    <a:gd name="connsiteY814" fmla="*/ 770317 h 1285875"/>
                    <a:gd name="connsiteX815" fmla="*/ 269852 w 833102"/>
                    <a:gd name="connsiteY815" fmla="*/ 766092 h 1285875"/>
                    <a:gd name="connsiteX816" fmla="*/ 280115 w 833102"/>
                    <a:gd name="connsiteY816" fmla="*/ 768506 h 1285875"/>
                    <a:gd name="connsiteX817" fmla="*/ 281926 w 833102"/>
                    <a:gd name="connsiteY817" fmla="*/ 772129 h 1285875"/>
                    <a:gd name="connsiteX818" fmla="*/ 287360 w 833102"/>
                    <a:gd name="connsiteY818" fmla="*/ 768506 h 1285875"/>
                    <a:gd name="connsiteX819" fmla="*/ 286756 w 833102"/>
                    <a:gd name="connsiteY819" fmla="*/ 775751 h 1285875"/>
                    <a:gd name="connsiteX820" fmla="*/ 292189 w 833102"/>
                    <a:gd name="connsiteY820" fmla="*/ 775147 h 1285875"/>
                    <a:gd name="connsiteX821" fmla="*/ 294604 w 833102"/>
                    <a:gd name="connsiteY821" fmla="*/ 772732 h 1285875"/>
                    <a:gd name="connsiteX822" fmla="*/ 292189 w 833102"/>
                    <a:gd name="connsiteY822" fmla="*/ 769110 h 1285875"/>
                    <a:gd name="connsiteX823" fmla="*/ 292189 w 833102"/>
                    <a:gd name="connsiteY823" fmla="*/ 758847 h 1285875"/>
                    <a:gd name="connsiteX824" fmla="*/ 295208 w 833102"/>
                    <a:gd name="connsiteY824" fmla="*/ 758847 h 1285875"/>
                    <a:gd name="connsiteX825" fmla="*/ 296415 w 833102"/>
                    <a:gd name="connsiteY825" fmla="*/ 764884 h 1285875"/>
                    <a:gd name="connsiteX826" fmla="*/ 301849 w 833102"/>
                    <a:gd name="connsiteY826" fmla="*/ 761262 h 1285875"/>
                    <a:gd name="connsiteX827" fmla="*/ 300641 w 833102"/>
                    <a:gd name="connsiteY827" fmla="*/ 751603 h 1285875"/>
                    <a:gd name="connsiteX828" fmla="*/ 301849 w 833102"/>
                    <a:gd name="connsiteY828" fmla="*/ 746774 h 1285875"/>
                    <a:gd name="connsiteX829" fmla="*/ 295208 w 833102"/>
                    <a:gd name="connsiteY829" fmla="*/ 743151 h 1285875"/>
                    <a:gd name="connsiteX830" fmla="*/ 297019 w 833102"/>
                    <a:gd name="connsiteY830" fmla="*/ 740133 h 1285875"/>
                    <a:gd name="connsiteX831" fmla="*/ 292793 w 833102"/>
                    <a:gd name="connsiteY831" fmla="*/ 737114 h 1285875"/>
                    <a:gd name="connsiteX832" fmla="*/ 289775 w 833102"/>
                    <a:gd name="connsiteY832" fmla="*/ 731077 h 1285875"/>
                    <a:gd name="connsiteX833" fmla="*/ 292189 w 833102"/>
                    <a:gd name="connsiteY833" fmla="*/ 726852 h 1285875"/>
                    <a:gd name="connsiteX834" fmla="*/ 298226 w 833102"/>
                    <a:gd name="connsiteY834" fmla="*/ 729266 h 1285875"/>
                    <a:gd name="connsiteX835" fmla="*/ 310300 w 833102"/>
                    <a:gd name="connsiteY835" fmla="*/ 729266 h 1285875"/>
                    <a:gd name="connsiteX836" fmla="*/ 306678 w 833102"/>
                    <a:gd name="connsiteY836" fmla="*/ 735303 h 1285875"/>
                    <a:gd name="connsiteX837" fmla="*/ 311508 w 833102"/>
                    <a:gd name="connsiteY837" fmla="*/ 737718 h 1285875"/>
                    <a:gd name="connsiteX838" fmla="*/ 315130 w 833102"/>
                    <a:gd name="connsiteY838" fmla="*/ 734700 h 1285875"/>
                    <a:gd name="connsiteX839" fmla="*/ 321771 w 833102"/>
                    <a:gd name="connsiteY839" fmla="*/ 735907 h 1285875"/>
                    <a:gd name="connsiteX840" fmla="*/ 332033 w 833102"/>
                    <a:gd name="connsiteY840" fmla="*/ 741340 h 1285875"/>
                    <a:gd name="connsiteX841" fmla="*/ 336259 w 833102"/>
                    <a:gd name="connsiteY841" fmla="*/ 737718 h 1285875"/>
                    <a:gd name="connsiteX842" fmla="*/ 332637 w 833102"/>
                    <a:gd name="connsiteY842" fmla="*/ 735907 h 1285875"/>
                    <a:gd name="connsiteX843" fmla="*/ 334448 w 833102"/>
                    <a:gd name="connsiteY843" fmla="*/ 732889 h 1285875"/>
                    <a:gd name="connsiteX844" fmla="*/ 338674 w 833102"/>
                    <a:gd name="connsiteY844" fmla="*/ 734096 h 1285875"/>
                    <a:gd name="connsiteX845" fmla="*/ 345315 w 833102"/>
                    <a:gd name="connsiteY845" fmla="*/ 731681 h 1285875"/>
                    <a:gd name="connsiteX846" fmla="*/ 346522 w 833102"/>
                    <a:gd name="connsiteY846" fmla="*/ 726248 h 1285875"/>
                    <a:gd name="connsiteX847" fmla="*/ 342900 w 833102"/>
                    <a:gd name="connsiteY847" fmla="*/ 725040 h 1285875"/>
                    <a:gd name="connsiteX848" fmla="*/ 345918 w 833102"/>
                    <a:gd name="connsiteY848" fmla="*/ 717796 h 1285875"/>
                    <a:gd name="connsiteX849" fmla="*/ 342900 w 833102"/>
                    <a:gd name="connsiteY849" fmla="*/ 717192 h 1285875"/>
                    <a:gd name="connsiteX850" fmla="*/ 344107 w 833102"/>
                    <a:gd name="connsiteY850" fmla="*/ 710552 h 1285875"/>
                    <a:gd name="connsiteX851" fmla="*/ 348937 w 833102"/>
                    <a:gd name="connsiteY851" fmla="*/ 712966 h 1285875"/>
                    <a:gd name="connsiteX852" fmla="*/ 352559 w 833102"/>
                    <a:gd name="connsiteY852" fmla="*/ 716589 h 1285875"/>
                    <a:gd name="connsiteX853" fmla="*/ 359200 w 833102"/>
                    <a:gd name="connsiteY853" fmla="*/ 716589 h 1285875"/>
                    <a:gd name="connsiteX854" fmla="*/ 359200 w 833102"/>
                    <a:gd name="connsiteY854" fmla="*/ 712363 h 1285875"/>
                    <a:gd name="connsiteX855" fmla="*/ 361614 w 833102"/>
                    <a:gd name="connsiteY855" fmla="*/ 708741 h 1285875"/>
                    <a:gd name="connsiteX856" fmla="*/ 366444 w 833102"/>
                    <a:gd name="connsiteY856" fmla="*/ 706929 h 1285875"/>
                    <a:gd name="connsiteX857" fmla="*/ 362218 w 833102"/>
                    <a:gd name="connsiteY857" fmla="*/ 703307 h 1285875"/>
                    <a:gd name="connsiteX858" fmla="*/ 361011 w 833102"/>
                    <a:gd name="connsiteY858" fmla="*/ 700289 h 1285875"/>
                    <a:gd name="connsiteX859" fmla="*/ 371274 w 833102"/>
                    <a:gd name="connsiteY859" fmla="*/ 699685 h 1285875"/>
                    <a:gd name="connsiteX860" fmla="*/ 373688 w 833102"/>
                    <a:gd name="connsiteY860" fmla="*/ 701496 h 1285875"/>
                    <a:gd name="connsiteX861" fmla="*/ 383951 w 833102"/>
                    <a:gd name="connsiteY861" fmla="*/ 702704 h 1285875"/>
                    <a:gd name="connsiteX862" fmla="*/ 385159 w 833102"/>
                    <a:gd name="connsiteY862" fmla="*/ 696667 h 1285875"/>
                    <a:gd name="connsiteX863" fmla="*/ 379725 w 833102"/>
                    <a:gd name="connsiteY863" fmla="*/ 690026 h 1285875"/>
                    <a:gd name="connsiteX864" fmla="*/ 373085 w 833102"/>
                    <a:gd name="connsiteY864" fmla="*/ 688818 h 1285875"/>
                    <a:gd name="connsiteX865" fmla="*/ 374896 w 833102"/>
                    <a:gd name="connsiteY865" fmla="*/ 680367 h 1285875"/>
                    <a:gd name="connsiteX866" fmla="*/ 382140 w 833102"/>
                    <a:gd name="connsiteY866" fmla="*/ 680970 h 1285875"/>
                    <a:gd name="connsiteX867" fmla="*/ 386970 w 833102"/>
                    <a:gd name="connsiteY867" fmla="*/ 676141 h 1285875"/>
                    <a:gd name="connsiteX868" fmla="*/ 388177 w 833102"/>
                    <a:gd name="connsiteY868" fmla="*/ 670708 h 1285875"/>
                    <a:gd name="connsiteX869" fmla="*/ 391799 w 833102"/>
                    <a:gd name="connsiteY869" fmla="*/ 671915 h 1285875"/>
                    <a:gd name="connsiteX870" fmla="*/ 397836 w 833102"/>
                    <a:gd name="connsiteY870" fmla="*/ 667689 h 1285875"/>
                    <a:gd name="connsiteX871" fmla="*/ 398440 w 833102"/>
                    <a:gd name="connsiteY871" fmla="*/ 661048 h 1285875"/>
                    <a:gd name="connsiteX872" fmla="*/ 406288 w 833102"/>
                    <a:gd name="connsiteY872" fmla="*/ 650182 h 1285875"/>
                    <a:gd name="connsiteX873" fmla="*/ 406288 w 833102"/>
                    <a:gd name="connsiteY873" fmla="*/ 645956 h 1285875"/>
                    <a:gd name="connsiteX874" fmla="*/ 403873 w 833102"/>
                    <a:gd name="connsiteY874" fmla="*/ 643541 h 1285875"/>
                    <a:gd name="connsiteX875" fmla="*/ 404477 w 833102"/>
                    <a:gd name="connsiteY875" fmla="*/ 638712 h 1285875"/>
                    <a:gd name="connsiteX876" fmla="*/ 410514 w 833102"/>
                    <a:gd name="connsiteY876" fmla="*/ 630864 h 1285875"/>
                    <a:gd name="connsiteX877" fmla="*/ 406288 w 833102"/>
                    <a:gd name="connsiteY877" fmla="*/ 625430 h 1285875"/>
                    <a:gd name="connsiteX878" fmla="*/ 406892 w 833102"/>
                    <a:gd name="connsiteY878" fmla="*/ 619393 h 1285875"/>
                    <a:gd name="connsiteX879" fmla="*/ 405684 w 833102"/>
                    <a:gd name="connsiteY879" fmla="*/ 609130 h 1285875"/>
                    <a:gd name="connsiteX880" fmla="*/ 408703 w 833102"/>
                    <a:gd name="connsiteY880" fmla="*/ 606112 h 1285875"/>
                    <a:gd name="connsiteX881" fmla="*/ 411721 w 833102"/>
                    <a:gd name="connsiteY881" fmla="*/ 609734 h 1285875"/>
                    <a:gd name="connsiteX882" fmla="*/ 416551 w 833102"/>
                    <a:gd name="connsiteY882" fmla="*/ 612149 h 1285875"/>
                    <a:gd name="connsiteX883" fmla="*/ 420173 w 833102"/>
                    <a:gd name="connsiteY883" fmla="*/ 609734 h 1285875"/>
                    <a:gd name="connsiteX884" fmla="*/ 424399 w 833102"/>
                    <a:gd name="connsiteY884" fmla="*/ 609130 h 1285875"/>
                    <a:gd name="connsiteX885" fmla="*/ 425607 w 833102"/>
                    <a:gd name="connsiteY885" fmla="*/ 605508 h 1285875"/>
                    <a:gd name="connsiteX886" fmla="*/ 429229 w 833102"/>
                    <a:gd name="connsiteY886" fmla="*/ 601886 h 1285875"/>
                    <a:gd name="connsiteX887" fmla="*/ 427418 w 833102"/>
                    <a:gd name="connsiteY887" fmla="*/ 597660 h 1285875"/>
                    <a:gd name="connsiteX888" fmla="*/ 429832 w 833102"/>
                    <a:gd name="connsiteY888" fmla="*/ 586794 h 1285875"/>
                    <a:gd name="connsiteX889" fmla="*/ 424399 w 833102"/>
                    <a:gd name="connsiteY889" fmla="*/ 583172 h 1285875"/>
                    <a:gd name="connsiteX890" fmla="*/ 426814 w 833102"/>
                    <a:gd name="connsiteY890" fmla="*/ 580153 h 1285875"/>
                    <a:gd name="connsiteX891" fmla="*/ 427418 w 833102"/>
                    <a:gd name="connsiteY891" fmla="*/ 572909 h 1285875"/>
                    <a:gd name="connsiteX892" fmla="*/ 414740 w 833102"/>
                    <a:gd name="connsiteY892" fmla="*/ 569286 h 1285875"/>
                    <a:gd name="connsiteX893" fmla="*/ 410514 w 833102"/>
                    <a:gd name="connsiteY893" fmla="*/ 563249 h 1285875"/>
                    <a:gd name="connsiteX894" fmla="*/ 417155 w 833102"/>
                    <a:gd name="connsiteY894" fmla="*/ 564457 h 1285875"/>
                    <a:gd name="connsiteX895" fmla="*/ 420173 w 833102"/>
                    <a:gd name="connsiteY895" fmla="*/ 561438 h 1285875"/>
                    <a:gd name="connsiteX896" fmla="*/ 426814 w 833102"/>
                    <a:gd name="connsiteY896" fmla="*/ 545742 h 1285875"/>
                    <a:gd name="connsiteX897" fmla="*/ 429832 w 833102"/>
                    <a:gd name="connsiteY897" fmla="*/ 542724 h 1285875"/>
                    <a:gd name="connsiteX898" fmla="*/ 440699 w 833102"/>
                    <a:gd name="connsiteY898" fmla="*/ 536687 h 1285875"/>
                    <a:gd name="connsiteX899" fmla="*/ 442510 w 833102"/>
                    <a:gd name="connsiteY899" fmla="*/ 533668 h 1285875"/>
                    <a:gd name="connsiteX900" fmla="*/ 441906 w 833102"/>
                    <a:gd name="connsiteY900" fmla="*/ 527028 h 1285875"/>
                    <a:gd name="connsiteX901" fmla="*/ 440095 w 833102"/>
                    <a:gd name="connsiteY901" fmla="*/ 524613 h 1285875"/>
                    <a:gd name="connsiteX902" fmla="*/ 428625 w 833102"/>
                    <a:gd name="connsiteY902" fmla="*/ 513143 h 1285875"/>
                    <a:gd name="connsiteX903" fmla="*/ 428021 w 833102"/>
                    <a:gd name="connsiteY903" fmla="*/ 510124 h 1285875"/>
                    <a:gd name="connsiteX904" fmla="*/ 420173 w 833102"/>
                    <a:gd name="connsiteY904" fmla="*/ 501069 h 1285875"/>
                    <a:gd name="connsiteX905" fmla="*/ 413533 w 833102"/>
                    <a:gd name="connsiteY905" fmla="*/ 496843 h 1285875"/>
                    <a:gd name="connsiteX906" fmla="*/ 405081 w 833102"/>
                    <a:gd name="connsiteY906" fmla="*/ 492617 h 1285875"/>
                    <a:gd name="connsiteX907" fmla="*/ 400855 w 833102"/>
                    <a:gd name="connsiteY907" fmla="*/ 487184 h 1285875"/>
                    <a:gd name="connsiteX908" fmla="*/ 400855 w 833102"/>
                    <a:gd name="connsiteY908" fmla="*/ 475110 h 1285875"/>
                    <a:gd name="connsiteX909" fmla="*/ 403873 w 833102"/>
                    <a:gd name="connsiteY909" fmla="*/ 459414 h 1285875"/>
                    <a:gd name="connsiteX910" fmla="*/ 412929 w 833102"/>
                    <a:gd name="connsiteY910" fmla="*/ 463639 h 1285875"/>
                    <a:gd name="connsiteX911" fmla="*/ 413533 w 833102"/>
                    <a:gd name="connsiteY911" fmla="*/ 461225 h 1285875"/>
                    <a:gd name="connsiteX912" fmla="*/ 411118 w 833102"/>
                    <a:gd name="connsiteY912" fmla="*/ 456395 h 1285875"/>
                    <a:gd name="connsiteX913" fmla="*/ 416551 w 833102"/>
                    <a:gd name="connsiteY913" fmla="*/ 452169 h 1285875"/>
                    <a:gd name="connsiteX914" fmla="*/ 418362 w 833102"/>
                    <a:gd name="connsiteY914" fmla="*/ 446736 h 1285875"/>
                    <a:gd name="connsiteX915" fmla="*/ 417155 w 833102"/>
                    <a:gd name="connsiteY915" fmla="*/ 441906 h 1285875"/>
                    <a:gd name="connsiteX916" fmla="*/ 412325 w 833102"/>
                    <a:gd name="connsiteY916" fmla="*/ 440699 h 1285875"/>
                    <a:gd name="connsiteX917" fmla="*/ 402666 w 833102"/>
                    <a:gd name="connsiteY917" fmla="*/ 432851 h 1285875"/>
                    <a:gd name="connsiteX918" fmla="*/ 404477 w 833102"/>
                    <a:gd name="connsiteY918" fmla="*/ 425003 h 1285875"/>
                    <a:gd name="connsiteX919" fmla="*/ 399647 w 833102"/>
                    <a:gd name="connsiteY919" fmla="*/ 423796 h 1285875"/>
                    <a:gd name="connsiteX920" fmla="*/ 399044 w 833102"/>
                    <a:gd name="connsiteY920" fmla="*/ 419570 h 1285875"/>
                    <a:gd name="connsiteX921" fmla="*/ 403873 w 833102"/>
                    <a:gd name="connsiteY921" fmla="*/ 407496 h 1285875"/>
                    <a:gd name="connsiteX922" fmla="*/ 408703 w 833102"/>
                    <a:gd name="connsiteY922" fmla="*/ 411118 h 1285875"/>
                    <a:gd name="connsiteX923" fmla="*/ 411721 w 833102"/>
                    <a:gd name="connsiteY923" fmla="*/ 408703 h 1285875"/>
                    <a:gd name="connsiteX924" fmla="*/ 413533 w 833102"/>
                    <a:gd name="connsiteY924" fmla="*/ 403873 h 1285875"/>
                    <a:gd name="connsiteX925" fmla="*/ 419570 w 833102"/>
                    <a:gd name="connsiteY925" fmla="*/ 403873 h 1285875"/>
                    <a:gd name="connsiteX926" fmla="*/ 418966 w 833102"/>
                    <a:gd name="connsiteY926" fmla="*/ 400855 h 1285875"/>
                    <a:gd name="connsiteX927" fmla="*/ 420777 w 833102"/>
                    <a:gd name="connsiteY927" fmla="*/ 395422 h 1285875"/>
                    <a:gd name="connsiteX928" fmla="*/ 427418 w 833102"/>
                    <a:gd name="connsiteY928" fmla="*/ 394214 h 1285875"/>
                    <a:gd name="connsiteX929" fmla="*/ 428021 w 833102"/>
                    <a:gd name="connsiteY929" fmla="*/ 391799 h 1285875"/>
                    <a:gd name="connsiteX930" fmla="*/ 432247 w 833102"/>
                    <a:gd name="connsiteY930" fmla="*/ 387574 h 1285875"/>
                    <a:gd name="connsiteX931" fmla="*/ 438888 w 833102"/>
                    <a:gd name="connsiteY931" fmla="*/ 386970 h 1285875"/>
                    <a:gd name="connsiteX932" fmla="*/ 443717 w 833102"/>
                    <a:gd name="connsiteY932" fmla="*/ 392403 h 1285875"/>
                    <a:gd name="connsiteX933" fmla="*/ 444925 w 833102"/>
                    <a:gd name="connsiteY933" fmla="*/ 395422 h 1285875"/>
                    <a:gd name="connsiteX934" fmla="*/ 448547 w 833102"/>
                    <a:gd name="connsiteY934" fmla="*/ 397233 h 1285875"/>
                    <a:gd name="connsiteX935" fmla="*/ 450962 w 833102"/>
                    <a:gd name="connsiteY935" fmla="*/ 396025 h 1285875"/>
                    <a:gd name="connsiteX936" fmla="*/ 454584 w 833102"/>
                    <a:gd name="connsiteY936" fmla="*/ 399044 h 1285875"/>
                    <a:gd name="connsiteX937" fmla="*/ 461224 w 833102"/>
                    <a:gd name="connsiteY937" fmla="*/ 400251 h 1285875"/>
                    <a:gd name="connsiteX938" fmla="*/ 461828 w 833102"/>
                    <a:gd name="connsiteY938" fmla="*/ 398440 h 1285875"/>
                    <a:gd name="connsiteX939" fmla="*/ 462432 w 833102"/>
                    <a:gd name="connsiteY939" fmla="*/ 395422 h 1285875"/>
                    <a:gd name="connsiteX940" fmla="*/ 461828 w 833102"/>
                    <a:gd name="connsiteY940" fmla="*/ 394818 h 1285875"/>
                    <a:gd name="connsiteX941" fmla="*/ 461224 w 833102"/>
                    <a:gd name="connsiteY941" fmla="*/ 394818 h 1285875"/>
                    <a:gd name="connsiteX942" fmla="*/ 459413 w 833102"/>
                    <a:gd name="connsiteY942" fmla="*/ 389385 h 1285875"/>
                    <a:gd name="connsiteX943" fmla="*/ 457602 w 833102"/>
                    <a:gd name="connsiteY943" fmla="*/ 388177 h 1285875"/>
                    <a:gd name="connsiteX944" fmla="*/ 455791 w 833102"/>
                    <a:gd name="connsiteY944" fmla="*/ 388177 h 1285875"/>
                    <a:gd name="connsiteX945" fmla="*/ 453376 w 833102"/>
                    <a:gd name="connsiteY945" fmla="*/ 383951 h 1285875"/>
                    <a:gd name="connsiteX946" fmla="*/ 453980 w 833102"/>
                    <a:gd name="connsiteY946" fmla="*/ 382140 h 1285875"/>
                    <a:gd name="connsiteX947" fmla="*/ 455187 w 833102"/>
                    <a:gd name="connsiteY947" fmla="*/ 382140 h 1285875"/>
                    <a:gd name="connsiteX948" fmla="*/ 452773 w 833102"/>
                    <a:gd name="connsiteY948" fmla="*/ 380329 h 1285875"/>
                    <a:gd name="connsiteX949" fmla="*/ 454584 w 833102"/>
                    <a:gd name="connsiteY949" fmla="*/ 376103 h 1285875"/>
                    <a:gd name="connsiteX950" fmla="*/ 455791 w 833102"/>
                    <a:gd name="connsiteY950" fmla="*/ 374292 h 1285875"/>
                    <a:gd name="connsiteX951" fmla="*/ 455187 w 833102"/>
                    <a:gd name="connsiteY951" fmla="*/ 373689 h 1285875"/>
                    <a:gd name="connsiteX952" fmla="*/ 453980 w 833102"/>
                    <a:gd name="connsiteY952" fmla="*/ 373085 h 1285875"/>
                    <a:gd name="connsiteX953" fmla="*/ 456395 w 833102"/>
                    <a:gd name="connsiteY953" fmla="*/ 371878 h 1285875"/>
                    <a:gd name="connsiteX954" fmla="*/ 455791 w 833102"/>
                    <a:gd name="connsiteY954" fmla="*/ 371274 h 1285875"/>
                    <a:gd name="connsiteX955" fmla="*/ 455791 w 833102"/>
                    <a:gd name="connsiteY955" fmla="*/ 369463 h 1285875"/>
                    <a:gd name="connsiteX956" fmla="*/ 456999 w 833102"/>
                    <a:gd name="connsiteY956" fmla="*/ 365841 h 1285875"/>
                    <a:gd name="connsiteX957" fmla="*/ 455187 w 833102"/>
                    <a:gd name="connsiteY957" fmla="*/ 364633 h 1285875"/>
                    <a:gd name="connsiteX958" fmla="*/ 456999 w 833102"/>
                    <a:gd name="connsiteY958" fmla="*/ 363426 h 1285875"/>
                    <a:gd name="connsiteX959" fmla="*/ 457602 w 833102"/>
                    <a:gd name="connsiteY959" fmla="*/ 363426 h 1285875"/>
                    <a:gd name="connsiteX960" fmla="*/ 457602 w 833102"/>
                    <a:gd name="connsiteY960" fmla="*/ 362822 h 1285875"/>
                    <a:gd name="connsiteX961" fmla="*/ 456999 w 833102"/>
                    <a:gd name="connsiteY961" fmla="*/ 361011 h 1285875"/>
                    <a:gd name="connsiteX962" fmla="*/ 458206 w 833102"/>
                    <a:gd name="connsiteY962" fmla="*/ 354370 h 1285875"/>
                    <a:gd name="connsiteX963" fmla="*/ 457602 w 833102"/>
                    <a:gd name="connsiteY963" fmla="*/ 352559 h 1285875"/>
                    <a:gd name="connsiteX964" fmla="*/ 443717 w 833102"/>
                    <a:gd name="connsiteY964" fmla="*/ 345918 h 1285875"/>
                    <a:gd name="connsiteX965" fmla="*/ 436473 w 833102"/>
                    <a:gd name="connsiteY965" fmla="*/ 340485 h 1285875"/>
                    <a:gd name="connsiteX966" fmla="*/ 435266 w 833102"/>
                    <a:gd name="connsiteY966" fmla="*/ 336863 h 1285875"/>
                    <a:gd name="connsiteX967" fmla="*/ 427418 w 833102"/>
                    <a:gd name="connsiteY967" fmla="*/ 332033 h 1285875"/>
                    <a:gd name="connsiteX968" fmla="*/ 426814 w 833102"/>
                    <a:gd name="connsiteY968" fmla="*/ 327204 h 1285875"/>
                    <a:gd name="connsiteX969" fmla="*/ 429229 w 833102"/>
                    <a:gd name="connsiteY969" fmla="*/ 324185 h 1285875"/>
                    <a:gd name="connsiteX970" fmla="*/ 424399 w 833102"/>
                    <a:gd name="connsiteY970" fmla="*/ 319960 h 1285875"/>
                    <a:gd name="connsiteX971" fmla="*/ 429229 w 833102"/>
                    <a:gd name="connsiteY971" fmla="*/ 315734 h 1285875"/>
                    <a:gd name="connsiteX972" fmla="*/ 424399 w 833102"/>
                    <a:gd name="connsiteY972" fmla="*/ 312715 h 1285875"/>
                    <a:gd name="connsiteX973" fmla="*/ 421381 w 833102"/>
                    <a:gd name="connsiteY973" fmla="*/ 313923 h 1285875"/>
                    <a:gd name="connsiteX974" fmla="*/ 411118 w 833102"/>
                    <a:gd name="connsiteY974" fmla="*/ 310904 h 1285875"/>
                    <a:gd name="connsiteX975" fmla="*/ 409910 w 833102"/>
                    <a:gd name="connsiteY975" fmla="*/ 307886 h 1285875"/>
                    <a:gd name="connsiteX976" fmla="*/ 409910 w 833102"/>
                    <a:gd name="connsiteY976" fmla="*/ 301245 h 1285875"/>
                    <a:gd name="connsiteX977" fmla="*/ 408099 w 833102"/>
                    <a:gd name="connsiteY977" fmla="*/ 297623 h 1285875"/>
                    <a:gd name="connsiteX978" fmla="*/ 412325 w 833102"/>
                    <a:gd name="connsiteY978" fmla="*/ 297019 h 1285875"/>
                    <a:gd name="connsiteX979" fmla="*/ 412325 w 833102"/>
                    <a:gd name="connsiteY979" fmla="*/ 295208 h 1285875"/>
                    <a:gd name="connsiteX980" fmla="*/ 411721 w 833102"/>
                    <a:gd name="connsiteY980" fmla="*/ 294001 h 1285875"/>
                    <a:gd name="connsiteX981" fmla="*/ 412325 w 833102"/>
                    <a:gd name="connsiteY981" fmla="*/ 292189 h 1285875"/>
                    <a:gd name="connsiteX982" fmla="*/ 412929 w 833102"/>
                    <a:gd name="connsiteY982" fmla="*/ 290378 h 1285875"/>
                    <a:gd name="connsiteX983" fmla="*/ 412325 w 833102"/>
                    <a:gd name="connsiteY983" fmla="*/ 284945 h 1285875"/>
                    <a:gd name="connsiteX984" fmla="*/ 412325 w 833102"/>
                    <a:gd name="connsiteY984" fmla="*/ 283134 h 1285875"/>
                    <a:gd name="connsiteX985" fmla="*/ 413533 w 833102"/>
                    <a:gd name="connsiteY985" fmla="*/ 281323 h 1285875"/>
                    <a:gd name="connsiteX986" fmla="*/ 415344 w 833102"/>
                    <a:gd name="connsiteY986" fmla="*/ 274078 h 1285875"/>
                    <a:gd name="connsiteX987" fmla="*/ 416551 w 833102"/>
                    <a:gd name="connsiteY987" fmla="*/ 271060 h 1285875"/>
                    <a:gd name="connsiteX988" fmla="*/ 422588 w 833102"/>
                    <a:gd name="connsiteY988" fmla="*/ 266231 h 1285875"/>
                    <a:gd name="connsiteX989" fmla="*/ 425003 w 833102"/>
                    <a:gd name="connsiteY989" fmla="*/ 265023 h 1285875"/>
                    <a:gd name="connsiteX990" fmla="*/ 425607 w 833102"/>
                    <a:gd name="connsiteY990" fmla="*/ 263212 h 1285875"/>
                    <a:gd name="connsiteX991" fmla="*/ 426210 w 833102"/>
                    <a:gd name="connsiteY991" fmla="*/ 263212 h 1285875"/>
                    <a:gd name="connsiteX992" fmla="*/ 431040 w 833102"/>
                    <a:gd name="connsiteY992" fmla="*/ 261401 h 1285875"/>
                    <a:gd name="connsiteX993" fmla="*/ 431644 w 833102"/>
                    <a:gd name="connsiteY993" fmla="*/ 263816 h 1285875"/>
                    <a:gd name="connsiteX994" fmla="*/ 433455 w 833102"/>
                    <a:gd name="connsiteY994" fmla="*/ 265627 h 1285875"/>
                    <a:gd name="connsiteX995" fmla="*/ 435266 w 833102"/>
                    <a:gd name="connsiteY995" fmla="*/ 262005 h 1285875"/>
                    <a:gd name="connsiteX996" fmla="*/ 439492 w 833102"/>
                    <a:gd name="connsiteY996" fmla="*/ 262005 h 1285875"/>
                    <a:gd name="connsiteX997" fmla="*/ 441303 w 833102"/>
                    <a:gd name="connsiteY997" fmla="*/ 262608 h 1285875"/>
                    <a:gd name="connsiteX998" fmla="*/ 441906 w 833102"/>
                    <a:gd name="connsiteY998" fmla="*/ 262005 h 1285875"/>
                    <a:gd name="connsiteX999" fmla="*/ 441303 w 833102"/>
                    <a:gd name="connsiteY999" fmla="*/ 260194 h 1285875"/>
                    <a:gd name="connsiteX1000" fmla="*/ 438284 w 833102"/>
                    <a:gd name="connsiteY1000" fmla="*/ 257779 h 1285875"/>
                    <a:gd name="connsiteX1001" fmla="*/ 441303 w 833102"/>
                    <a:gd name="connsiteY1001" fmla="*/ 256571 h 1285875"/>
                    <a:gd name="connsiteX1002" fmla="*/ 441303 w 833102"/>
                    <a:gd name="connsiteY1002" fmla="*/ 252949 h 1285875"/>
                    <a:gd name="connsiteX1003" fmla="*/ 441303 w 833102"/>
                    <a:gd name="connsiteY1003" fmla="*/ 251138 h 1285875"/>
                    <a:gd name="connsiteX1004" fmla="*/ 441303 w 833102"/>
                    <a:gd name="connsiteY1004" fmla="*/ 249327 h 1285875"/>
                    <a:gd name="connsiteX1005" fmla="*/ 440095 w 833102"/>
                    <a:gd name="connsiteY1005" fmla="*/ 247516 h 1285875"/>
                    <a:gd name="connsiteX1006" fmla="*/ 444321 w 833102"/>
                    <a:gd name="connsiteY1006" fmla="*/ 245101 h 1285875"/>
                    <a:gd name="connsiteX1007" fmla="*/ 447339 w 833102"/>
                    <a:gd name="connsiteY1007" fmla="*/ 248723 h 1285875"/>
                    <a:gd name="connsiteX1008" fmla="*/ 449151 w 833102"/>
                    <a:gd name="connsiteY1008" fmla="*/ 248723 h 1285875"/>
                    <a:gd name="connsiteX1009" fmla="*/ 450962 w 833102"/>
                    <a:gd name="connsiteY1009" fmla="*/ 248723 h 1285875"/>
                    <a:gd name="connsiteX1010" fmla="*/ 450358 w 833102"/>
                    <a:gd name="connsiteY1010" fmla="*/ 245705 h 1285875"/>
                    <a:gd name="connsiteX1011" fmla="*/ 454584 w 833102"/>
                    <a:gd name="connsiteY1011" fmla="*/ 242686 h 1285875"/>
                    <a:gd name="connsiteX1012" fmla="*/ 455791 w 833102"/>
                    <a:gd name="connsiteY1012" fmla="*/ 240875 h 1285875"/>
                    <a:gd name="connsiteX1013" fmla="*/ 460017 w 833102"/>
                    <a:gd name="connsiteY1013" fmla="*/ 241479 h 1285875"/>
                    <a:gd name="connsiteX1014" fmla="*/ 462432 w 833102"/>
                    <a:gd name="connsiteY1014" fmla="*/ 240875 h 1285875"/>
                    <a:gd name="connsiteX1015" fmla="*/ 463035 w 833102"/>
                    <a:gd name="connsiteY1015" fmla="*/ 239064 h 1285875"/>
                    <a:gd name="connsiteX1016" fmla="*/ 466054 w 833102"/>
                    <a:gd name="connsiteY1016" fmla="*/ 236649 h 1285875"/>
                    <a:gd name="connsiteX1017" fmla="*/ 466054 w 833102"/>
                    <a:gd name="connsiteY1017" fmla="*/ 234838 h 1285875"/>
                    <a:gd name="connsiteX1018" fmla="*/ 467261 w 833102"/>
                    <a:gd name="connsiteY1018" fmla="*/ 234234 h 1285875"/>
                    <a:gd name="connsiteX1019" fmla="*/ 469072 w 833102"/>
                    <a:gd name="connsiteY1019" fmla="*/ 233027 h 1285875"/>
                    <a:gd name="connsiteX1020" fmla="*/ 469676 w 833102"/>
                    <a:gd name="connsiteY1020" fmla="*/ 231820 h 1285875"/>
                    <a:gd name="connsiteX1021" fmla="*/ 471487 w 833102"/>
                    <a:gd name="connsiteY1021" fmla="*/ 230009 h 1285875"/>
                    <a:gd name="connsiteX1022" fmla="*/ 472695 w 833102"/>
                    <a:gd name="connsiteY1022" fmla="*/ 229405 h 1285875"/>
                    <a:gd name="connsiteX1023" fmla="*/ 473902 w 833102"/>
                    <a:gd name="connsiteY1023" fmla="*/ 229405 h 1285875"/>
                    <a:gd name="connsiteX1024" fmla="*/ 476317 w 833102"/>
                    <a:gd name="connsiteY1024" fmla="*/ 225783 h 1285875"/>
                    <a:gd name="connsiteX1025" fmla="*/ 480543 w 833102"/>
                    <a:gd name="connsiteY1025" fmla="*/ 222764 h 1285875"/>
                    <a:gd name="connsiteX1026" fmla="*/ 481750 w 833102"/>
                    <a:gd name="connsiteY1026" fmla="*/ 222160 h 1285875"/>
                    <a:gd name="connsiteX1027" fmla="*/ 484165 w 833102"/>
                    <a:gd name="connsiteY1027" fmla="*/ 221557 h 1285875"/>
                    <a:gd name="connsiteX1028" fmla="*/ 485372 w 833102"/>
                    <a:gd name="connsiteY1028" fmla="*/ 218538 h 1285875"/>
                    <a:gd name="connsiteX1029" fmla="*/ 490202 w 833102"/>
                    <a:gd name="connsiteY1029" fmla="*/ 217331 h 1285875"/>
                    <a:gd name="connsiteX1030" fmla="*/ 492013 w 833102"/>
                    <a:gd name="connsiteY1030" fmla="*/ 216727 h 1285875"/>
                    <a:gd name="connsiteX1031" fmla="*/ 493220 w 833102"/>
                    <a:gd name="connsiteY1031" fmla="*/ 215520 h 1285875"/>
                    <a:gd name="connsiteX1032" fmla="*/ 494428 w 833102"/>
                    <a:gd name="connsiteY1032" fmla="*/ 213105 h 1285875"/>
                    <a:gd name="connsiteX1033" fmla="*/ 495635 w 833102"/>
                    <a:gd name="connsiteY1033" fmla="*/ 210087 h 1285875"/>
                    <a:gd name="connsiteX1034" fmla="*/ 502276 w 833102"/>
                    <a:gd name="connsiteY1034" fmla="*/ 204050 h 1285875"/>
                    <a:gd name="connsiteX1035" fmla="*/ 503483 w 833102"/>
                    <a:gd name="connsiteY1035" fmla="*/ 205257 h 1285875"/>
                    <a:gd name="connsiteX1036" fmla="*/ 504087 w 833102"/>
                    <a:gd name="connsiteY1036" fmla="*/ 205861 h 1285875"/>
                    <a:gd name="connsiteX1037" fmla="*/ 505294 w 833102"/>
                    <a:gd name="connsiteY1037" fmla="*/ 201635 h 1285875"/>
                    <a:gd name="connsiteX1038" fmla="*/ 507709 w 833102"/>
                    <a:gd name="connsiteY1038" fmla="*/ 201031 h 1285875"/>
                    <a:gd name="connsiteX1039" fmla="*/ 507709 w 833102"/>
                    <a:gd name="connsiteY1039" fmla="*/ 199220 h 1285875"/>
                    <a:gd name="connsiteX1040" fmla="*/ 505898 w 833102"/>
                    <a:gd name="connsiteY1040" fmla="*/ 198616 h 1285875"/>
                    <a:gd name="connsiteX1041" fmla="*/ 503483 w 833102"/>
                    <a:gd name="connsiteY1041" fmla="*/ 194391 h 1285875"/>
                    <a:gd name="connsiteX1042" fmla="*/ 500465 w 833102"/>
                    <a:gd name="connsiteY1042" fmla="*/ 195598 h 1285875"/>
                    <a:gd name="connsiteX1043" fmla="*/ 498654 w 833102"/>
                    <a:gd name="connsiteY1043" fmla="*/ 194994 h 1285875"/>
                    <a:gd name="connsiteX1044" fmla="*/ 495635 w 833102"/>
                    <a:gd name="connsiteY1044" fmla="*/ 193183 h 1285875"/>
                    <a:gd name="connsiteX1045" fmla="*/ 495635 w 833102"/>
                    <a:gd name="connsiteY1045" fmla="*/ 190768 h 1285875"/>
                    <a:gd name="connsiteX1046" fmla="*/ 500465 w 833102"/>
                    <a:gd name="connsiteY1046" fmla="*/ 185939 h 1285875"/>
                    <a:gd name="connsiteX1047" fmla="*/ 499861 w 833102"/>
                    <a:gd name="connsiteY1047" fmla="*/ 181713 h 1285875"/>
                    <a:gd name="connsiteX1048" fmla="*/ 498050 w 833102"/>
                    <a:gd name="connsiteY1048" fmla="*/ 178091 h 1285875"/>
                    <a:gd name="connsiteX1049" fmla="*/ 495032 w 833102"/>
                    <a:gd name="connsiteY1049" fmla="*/ 178694 h 1285875"/>
                    <a:gd name="connsiteX1050" fmla="*/ 493220 w 833102"/>
                    <a:gd name="connsiteY1050" fmla="*/ 174468 h 1285875"/>
                    <a:gd name="connsiteX1051" fmla="*/ 487787 w 833102"/>
                    <a:gd name="connsiteY1051" fmla="*/ 173261 h 1285875"/>
                    <a:gd name="connsiteX1052" fmla="*/ 484769 w 833102"/>
                    <a:gd name="connsiteY1052" fmla="*/ 167828 h 1285875"/>
                    <a:gd name="connsiteX1053" fmla="*/ 487787 w 833102"/>
                    <a:gd name="connsiteY1053" fmla="*/ 164809 h 1285875"/>
                    <a:gd name="connsiteX1054" fmla="*/ 496239 w 833102"/>
                    <a:gd name="connsiteY1054" fmla="*/ 159376 h 1285875"/>
                    <a:gd name="connsiteX1055" fmla="*/ 495635 w 833102"/>
                    <a:gd name="connsiteY1055" fmla="*/ 154547 h 1285875"/>
                    <a:gd name="connsiteX1056" fmla="*/ 490806 w 833102"/>
                    <a:gd name="connsiteY1056" fmla="*/ 158169 h 1285875"/>
                    <a:gd name="connsiteX1057" fmla="*/ 485976 w 833102"/>
                    <a:gd name="connsiteY1057" fmla="*/ 156358 h 1285875"/>
                    <a:gd name="connsiteX1058" fmla="*/ 482354 w 833102"/>
                    <a:gd name="connsiteY1058" fmla="*/ 158169 h 1285875"/>
                    <a:gd name="connsiteX1059" fmla="*/ 481750 w 833102"/>
                    <a:gd name="connsiteY1059" fmla="*/ 161791 h 1285875"/>
                    <a:gd name="connsiteX1060" fmla="*/ 478128 w 833102"/>
                    <a:gd name="connsiteY1060" fmla="*/ 164206 h 1285875"/>
                    <a:gd name="connsiteX1061" fmla="*/ 475109 w 833102"/>
                    <a:gd name="connsiteY1061" fmla="*/ 163602 h 1285875"/>
                    <a:gd name="connsiteX1062" fmla="*/ 469676 w 833102"/>
                    <a:gd name="connsiteY1062" fmla="*/ 158169 h 1285875"/>
                    <a:gd name="connsiteX1063" fmla="*/ 469676 w 833102"/>
                    <a:gd name="connsiteY1063" fmla="*/ 157565 h 1285875"/>
                    <a:gd name="connsiteX1064" fmla="*/ 470280 w 833102"/>
                    <a:gd name="connsiteY1064" fmla="*/ 152735 h 1285875"/>
                    <a:gd name="connsiteX1065" fmla="*/ 472695 w 833102"/>
                    <a:gd name="connsiteY1065" fmla="*/ 150924 h 1285875"/>
                    <a:gd name="connsiteX1066" fmla="*/ 476921 w 833102"/>
                    <a:gd name="connsiteY1066" fmla="*/ 141869 h 1285875"/>
                    <a:gd name="connsiteX1067" fmla="*/ 477524 w 833102"/>
                    <a:gd name="connsiteY1067" fmla="*/ 137643 h 1285875"/>
                    <a:gd name="connsiteX1068" fmla="*/ 481750 w 833102"/>
                    <a:gd name="connsiteY1068" fmla="*/ 132813 h 1285875"/>
                    <a:gd name="connsiteX1069" fmla="*/ 482958 w 833102"/>
                    <a:gd name="connsiteY1069" fmla="*/ 120739 h 1285875"/>
                    <a:gd name="connsiteX1070" fmla="*/ 485976 w 833102"/>
                    <a:gd name="connsiteY1070" fmla="*/ 115910 h 1285875"/>
                    <a:gd name="connsiteX1071" fmla="*/ 487183 w 833102"/>
                    <a:gd name="connsiteY1071" fmla="*/ 103836 h 1285875"/>
                    <a:gd name="connsiteX1072" fmla="*/ 484769 w 833102"/>
                    <a:gd name="connsiteY1072" fmla="*/ 96592 h 1285875"/>
                    <a:gd name="connsiteX1073" fmla="*/ 485372 w 833102"/>
                    <a:gd name="connsiteY1073" fmla="*/ 93573 h 1285875"/>
                    <a:gd name="connsiteX1074" fmla="*/ 482958 w 833102"/>
                    <a:gd name="connsiteY1074" fmla="*/ 88744 h 1285875"/>
                    <a:gd name="connsiteX1075" fmla="*/ 483561 w 833102"/>
                    <a:gd name="connsiteY1075" fmla="*/ 81499 h 1285875"/>
                    <a:gd name="connsiteX1076" fmla="*/ 476317 w 833102"/>
                    <a:gd name="connsiteY1076" fmla="*/ 74858 h 1285875"/>
                    <a:gd name="connsiteX1077" fmla="*/ 478732 w 833102"/>
                    <a:gd name="connsiteY1077" fmla="*/ 69425 h 1285875"/>
                    <a:gd name="connsiteX1078" fmla="*/ 473298 w 833102"/>
                    <a:gd name="connsiteY1078" fmla="*/ 62784 h 1285875"/>
                    <a:gd name="connsiteX1079" fmla="*/ 472695 w 833102"/>
                    <a:gd name="connsiteY1079" fmla="*/ 54333 h 1285875"/>
                    <a:gd name="connsiteX1080" fmla="*/ 466658 w 833102"/>
                    <a:gd name="connsiteY1080" fmla="*/ 49503 h 1285875"/>
                    <a:gd name="connsiteX1081" fmla="*/ 465450 w 833102"/>
                    <a:gd name="connsiteY1081" fmla="*/ 44674 h 1285875"/>
                    <a:gd name="connsiteX1082" fmla="*/ 456395 w 833102"/>
                    <a:gd name="connsiteY1082" fmla="*/ 42863 h 1285875"/>
                    <a:gd name="connsiteX1083" fmla="*/ 451565 w 833102"/>
                    <a:gd name="connsiteY1083" fmla="*/ 33203 h 1285875"/>
                    <a:gd name="connsiteX1084" fmla="*/ 450962 w 833102"/>
                    <a:gd name="connsiteY1084" fmla="*/ 28374 h 1285875"/>
                    <a:gd name="connsiteX1085" fmla="*/ 446736 w 833102"/>
                    <a:gd name="connsiteY1085" fmla="*/ 26563 h 1285875"/>
                    <a:gd name="connsiteX1086" fmla="*/ 446736 w 833102"/>
                    <a:gd name="connsiteY1086" fmla="*/ 21129 h 1285875"/>
                    <a:gd name="connsiteX1087" fmla="*/ 449754 w 833102"/>
                    <a:gd name="connsiteY1087" fmla="*/ 18111 h 1285875"/>
                    <a:gd name="connsiteX1088" fmla="*/ 451565 w 833102"/>
                    <a:gd name="connsiteY1088" fmla="*/ 4830 h 1285875"/>
                    <a:gd name="connsiteX1089" fmla="*/ 451565 w 833102"/>
                    <a:gd name="connsiteY1089" fmla="*/ 604 h 1285875"/>
                    <a:gd name="connsiteX1090" fmla="*/ 454584 w 833102"/>
                    <a:gd name="connsiteY1090" fmla="*/ 0 h 1285875"/>
                    <a:gd name="connsiteX1091" fmla="*/ 460017 w 833102"/>
                    <a:gd name="connsiteY1091" fmla="*/ 1811 h 1285875"/>
                    <a:gd name="connsiteX1092" fmla="*/ 463639 w 833102"/>
                    <a:gd name="connsiteY1092" fmla="*/ 4830 h 1285875"/>
                    <a:gd name="connsiteX1093" fmla="*/ 461828 w 833102"/>
                    <a:gd name="connsiteY1093" fmla="*/ 7244 h 1285875"/>
                    <a:gd name="connsiteX1094" fmla="*/ 464847 w 833102"/>
                    <a:gd name="connsiteY1094" fmla="*/ 12678 h 1285875"/>
                    <a:gd name="connsiteX1095" fmla="*/ 465450 w 833102"/>
                    <a:gd name="connsiteY1095" fmla="*/ 18111 h 1285875"/>
                    <a:gd name="connsiteX1096" fmla="*/ 476317 w 833102"/>
                    <a:gd name="connsiteY1096" fmla="*/ 24148 h 1285875"/>
                    <a:gd name="connsiteX1097" fmla="*/ 480543 w 833102"/>
                    <a:gd name="connsiteY1097" fmla="*/ 24752 h 1285875"/>
                    <a:gd name="connsiteX1098" fmla="*/ 484769 w 833102"/>
                    <a:gd name="connsiteY1098" fmla="*/ 19922 h 1285875"/>
                    <a:gd name="connsiteX1099" fmla="*/ 492013 w 833102"/>
                    <a:gd name="connsiteY1099" fmla="*/ 19922 h 1285875"/>
                    <a:gd name="connsiteX1100" fmla="*/ 495635 w 833102"/>
                    <a:gd name="connsiteY1100" fmla="*/ 23544 h 1285875"/>
                    <a:gd name="connsiteX1101" fmla="*/ 505294 w 833102"/>
                    <a:gd name="connsiteY1101" fmla="*/ 20526 h 1285875"/>
                    <a:gd name="connsiteX1102" fmla="*/ 509520 w 833102"/>
                    <a:gd name="connsiteY1102" fmla="*/ 21733 h 1285875"/>
                    <a:gd name="connsiteX1103" fmla="*/ 510728 w 833102"/>
                    <a:gd name="connsiteY1103" fmla="*/ 21129 h 1285875"/>
                    <a:gd name="connsiteX1104" fmla="*/ 513746 w 833102"/>
                    <a:gd name="connsiteY1104" fmla="*/ 24148 h 1285875"/>
                    <a:gd name="connsiteX1105" fmla="*/ 514350 w 833102"/>
                    <a:gd name="connsiteY1105" fmla="*/ 26563 h 1285875"/>
                    <a:gd name="connsiteX1106" fmla="*/ 519180 w 833102"/>
                    <a:gd name="connsiteY1106" fmla="*/ 26563 h 1285875"/>
                    <a:gd name="connsiteX1107" fmla="*/ 520387 w 833102"/>
                    <a:gd name="connsiteY1107" fmla="*/ 27770 h 1285875"/>
                    <a:gd name="connsiteX1108" fmla="*/ 524009 w 833102"/>
                    <a:gd name="connsiteY1108" fmla="*/ 28374 h 1285875"/>
                    <a:gd name="connsiteX1109" fmla="*/ 532461 w 833102"/>
                    <a:gd name="connsiteY1109" fmla="*/ 30185 h 1285875"/>
                    <a:gd name="connsiteX1110" fmla="*/ 536687 w 833102"/>
                    <a:gd name="connsiteY1110" fmla="*/ 31996 h 1285875"/>
                    <a:gd name="connsiteX1111" fmla="*/ 541516 w 833102"/>
                    <a:gd name="connsiteY1111" fmla="*/ 30185 h 1285875"/>
                    <a:gd name="connsiteX1112" fmla="*/ 543931 w 833102"/>
                    <a:gd name="connsiteY1112" fmla="*/ 24752 h 1285875"/>
                    <a:gd name="connsiteX1113" fmla="*/ 549968 w 833102"/>
                    <a:gd name="connsiteY1113" fmla="*/ 22337 h 1285875"/>
                    <a:gd name="connsiteX1114" fmla="*/ 555401 w 833102"/>
                    <a:gd name="connsiteY1114" fmla="*/ 16300 h 1285875"/>
                    <a:gd name="connsiteX1115" fmla="*/ 555401 w 833102"/>
                    <a:gd name="connsiteY1115" fmla="*/ 10866 h 1285875"/>
                    <a:gd name="connsiteX1116" fmla="*/ 559627 w 833102"/>
                    <a:gd name="connsiteY1116" fmla="*/ 8452 h 1285875"/>
                    <a:gd name="connsiteX1117" fmla="*/ 569890 w 833102"/>
                    <a:gd name="connsiteY1117" fmla="*/ 6037 h 1285875"/>
                    <a:gd name="connsiteX1118" fmla="*/ 575323 w 833102"/>
                    <a:gd name="connsiteY1118" fmla="*/ 7848 h 1285875"/>
                    <a:gd name="connsiteX1119" fmla="*/ 579549 w 833102"/>
                    <a:gd name="connsiteY1119" fmla="*/ 12074 h 1285875"/>
                    <a:gd name="connsiteX1120" fmla="*/ 583775 w 833102"/>
                    <a:gd name="connsiteY1120" fmla="*/ 13281 h 1285875"/>
                    <a:gd name="connsiteX1121" fmla="*/ 589208 w 833102"/>
                    <a:gd name="connsiteY1121" fmla="*/ 9659 h 1285875"/>
                    <a:gd name="connsiteX1122" fmla="*/ 594642 w 833102"/>
                    <a:gd name="connsiteY1122" fmla="*/ 12678 h 1285875"/>
                    <a:gd name="connsiteX1123" fmla="*/ 595849 w 833102"/>
                    <a:gd name="connsiteY1123" fmla="*/ 17507 h 1285875"/>
                    <a:gd name="connsiteX1124" fmla="*/ 598867 w 833102"/>
                    <a:gd name="connsiteY1124" fmla="*/ 19318 h 1285875"/>
                    <a:gd name="connsiteX1125" fmla="*/ 603093 w 833102"/>
                    <a:gd name="connsiteY1125" fmla="*/ 16903 h 1285875"/>
                    <a:gd name="connsiteX1126" fmla="*/ 609734 w 833102"/>
                    <a:gd name="connsiteY1126" fmla="*/ 19922 h 1285875"/>
                    <a:gd name="connsiteX1127" fmla="*/ 612753 w 833102"/>
                    <a:gd name="connsiteY1127" fmla="*/ 19318 h 1285875"/>
                    <a:gd name="connsiteX1128" fmla="*/ 618186 w 833102"/>
                    <a:gd name="connsiteY1128" fmla="*/ 24148 h 1285875"/>
                    <a:gd name="connsiteX1129" fmla="*/ 627241 w 833102"/>
                    <a:gd name="connsiteY1129" fmla="*/ 25959 h 1285875"/>
                    <a:gd name="connsiteX1130" fmla="*/ 627241 w 833102"/>
                    <a:gd name="connsiteY1130" fmla="*/ 33203 h 1285875"/>
                    <a:gd name="connsiteX1131" fmla="*/ 629052 w 833102"/>
                    <a:gd name="connsiteY1131" fmla="*/ 42259 h 1285875"/>
                    <a:gd name="connsiteX1132" fmla="*/ 627241 w 833102"/>
                    <a:gd name="connsiteY1132" fmla="*/ 48900 h 1285875"/>
                    <a:gd name="connsiteX1133" fmla="*/ 627845 w 833102"/>
                    <a:gd name="connsiteY1133" fmla="*/ 60973 h 1285875"/>
                    <a:gd name="connsiteX1134" fmla="*/ 631467 w 833102"/>
                    <a:gd name="connsiteY1134" fmla="*/ 59766 h 1285875"/>
                    <a:gd name="connsiteX1135" fmla="*/ 632071 w 833102"/>
                    <a:gd name="connsiteY1135" fmla="*/ 56144 h 1285875"/>
                    <a:gd name="connsiteX1136" fmla="*/ 635693 w 833102"/>
                    <a:gd name="connsiteY1136" fmla="*/ 52522 h 1285875"/>
                    <a:gd name="connsiteX1137" fmla="*/ 642938 w 833102"/>
                    <a:gd name="connsiteY1137" fmla="*/ 56144 h 1285875"/>
                    <a:gd name="connsiteX1138" fmla="*/ 644749 w 833102"/>
                    <a:gd name="connsiteY1138" fmla="*/ 61577 h 1285875"/>
                    <a:gd name="connsiteX1139" fmla="*/ 641730 w 833102"/>
                    <a:gd name="connsiteY1139" fmla="*/ 65199 h 1285875"/>
                    <a:gd name="connsiteX1140" fmla="*/ 646560 w 833102"/>
                    <a:gd name="connsiteY1140" fmla="*/ 68821 h 1285875"/>
                    <a:gd name="connsiteX1141" fmla="*/ 650786 w 833102"/>
                    <a:gd name="connsiteY1141" fmla="*/ 69425 h 1285875"/>
                    <a:gd name="connsiteX1142" fmla="*/ 659841 w 833102"/>
                    <a:gd name="connsiteY1142" fmla="*/ 65199 h 1285875"/>
                    <a:gd name="connsiteX1143" fmla="*/ 663463 w 833102"/>
                    <a:gd name="connsiteY1143" fmla="*/ 69425 h 1285875"/>
                    <a:gd name="connsiteX1144" fmla="*/ 664067 w 833102"/>
                    <a:gd name="connsiteY1144" fmla="*/ 73651 h 1285875"/>
                    <a:gd name="connsiteX1145" fmla="*/ 671915 w 833102"/>
                    <a:gd name="connsiteY1145" fmla="*/ 74858 h 1285875"/>
                    <a:gd name="connsiteX1146" fmla="*/ 671915 w 833102"/>
                    <a:gd name="connsiteY1146" fmla="*/ 80292 h 1285875"/>
                    <a:gd name="connsiteX1147" fmla="*/ 675537 w 833102"/>
                    <a:gd name="connsiteY1147" fmla="*/ 83310 h 1285875"/>
                    <a:gd name="connsiteX1148" fmla="*/ 674933 w 833102"/>
                    <a:gd name="connsiteY1148" fmla="*/ 88744 h 1285875"/>
                    <a:gd name="connsiteX1149" fmla="*/ 680366 w 833102"/>
                    <a:gd name="connsiteY1149" fmla="*/ 95384 h 1285875"/>
                    <a:gd name="connsiteX1150" fmla="*/ 689422 w 833102"/>
                    <a:gd name="connsiteY1150" fmla="*/ 92366 h 1285875"/>
                    <a:gd name="connsiteX1151" fmla="*/ 693044 w 833102"/>
                    <a:gd name="connsiteY1151" fmla="*/ 95384 h 1285875"/>
                    <a:gd name="connsiteX1152" fmla="*/ 702703 w 833102"/>
                    <a:gd name="connsiteY1152" fmla="*/ 92366 h 1285875"/>
                    <a:gd name="connsiteX1153" fmla="*/ 705722 w 833102"/>
                    <a:gd name="connsiteY1153" fmla="*/ 93573 h 1285875"/>
                    <a:gd name="connsiteX1154" fmla="*/ 713570 w 833102"/>
                    <a:gd name="connsiteY1154" fmla="*/ 89347 h 1285875"/>
                    <a:gd name="connsiteX1155" fmla="*/ 720211 w 833102"/>
                    <a:gd name="connsiteY1155" fmla="*/ 85121 h 1285875"/>
                    <a:gd name="connsiteX1156" fmla="*/ 722022 w 833102"/>
                    <a:gd name="connsiteY1156" fmla="*/ 88140 h 1285875"/>
                    <a:gd name="connsiteX1157" fmla="*/ 728059 w 833102"/>
                    <a:gd name="connsiteY1157" fmla="*/ 82707 h 1285875"/>
                    <a:gd name="connsiteX1158" fmla="*/ 733492 w 833102"/>
                    <a:gd name="connsiteY1158" fmla="*/ 83310 h 1285875"/>
                    <a:gd name="connsiteX1159" fmla="*/ 734096 w 833102"/>
                    <a:gd name="connsiteY1159" fmla="*/ 87536 h 1285875"/>
                    <a:gd name="connsiteX1160" fmla="*/ 746170 w 833102"/>
                    <a:gd name="connsiteY1160" fmla="*/ 89347 h 1285875"/>
                    <a:gd name="connsiteX1161" fmla="*/ 748585 w 833102"/>
                    <a:gd name="connsiteY1161" fmla="*/ 95988 h 1285875"/>
                    <a:gd name="connsiteX1162" fmla="*/ 756433 w 833102"/>
                    <a:gd name="connsiteY1162" fmla="*/ 96592 h 1285875"/>
                    <a:gd name="connsiteX1163" fmla="*/ 759451 w 833102"/>
                    <a:gd name="connsiteY1163" fmla="*/ 93573 h 1285875"/>
                    <a:gd name="connsiteX1164" fmla="*/ 763073 w 833102"/>
                    <a:gd name="connsiteY1164" fmla="*/ 92969 h 1285875"/>
                    <a:gd name="connsiteX1165" fmla="*/ 770921 w 833102"/>
                    <a:gd name="connsiteY1165" fmla="*/ 97195 h 1285875"/>
                    <a:gd name="connsiteX1166" fmla="*/ 779977 w 833102"/>
                    <a:gd name="connsiteY1166" fmla="*/ 99610 h 1285875"/>
                    <a:gd name="connsiteX1167" fmla="*/ 782995 w 833102"/>
                    <a:gd name="connsiteY1167" fmla="*/ 102629 h 1285875"/>
                    <a:gd name="connsiteX1168" fmla="*/ 786013 w 833102"/>
                    <a:gd name="connsiteY1168" fmla="*/ 101421 h 1285875"/>
                    <a:gd name="connsiteX1169" fmla="*/ 789032 w 833102"/>
                    <a:gd name="connsiteY1169" fmla="*/ 103836 h 1285875"/>
                    <a:gd name="connsiteX1170" fmla="*/ 786617 w 833102"/>
                    <a:gd name="connsiteY1170" fmla="*/ 109873 h 1285875"/>
                    <a:gd name="connsiteX1171" fmla="*/ 783599 w 833102"/>
                    <a:gd name="connsiteY1171" fmla="*/ 110477 h 1285875"/>
                    <a:gd name="connsiteX1172" fmla="*/ 780580 w 833102"/>
                    <a:gd name="connsiteY1172" fmla="*/ 114702 h 1285875"/>
                    <a:gd name="connsiteX1173" fmla="*/ 789636 w 833102"/>
                    <a:gd name="connsiteY1173" fmla="*/ 115910 h 1285875"/>
                    <a:gd name="connsiteX1174" fmla="*/ 792050 w 833102"/>
                    <a:gd name="connsiteY1174" fmla="*/ 111080 h 1285875"/>
                    <a:gd name="connsiteX1175" fmla="*/ 799295 w 833102"/>
                    <a:gd name="connsiteY1175" fmla="*/ 111684 h 1285875"/>
                    <a:gd name="connsiteX1176" fmla="*/ 803521 w 833102"/>
                    <a:gd name="connsiteY1176" fmla="*/ 115306 h 1285875"/>
                    <a:gd name="connsiteX1177" fmla="*/ 809558 w 833102"/>
                    <a:gd name="connsiteY1177" fmla="*/ 115910 h 1285875"/>
                    <a:gd name="connsiteX1178" fmla="*/ 814387 w 833102"/>
                    <a:gd name="connsiteY1178" fmla="*/ 120739 h 1285875"/>
                    <a:gd name="connsiteX1179" fmla="*/ 820424 w 833102"/>
                    <a:gd name="connsiteY1179" fmla="*/ 117117 h 1285875"/>
                    <a:gd name="connsiteX1180" fmla="*/ 830687 w 833102"/>
                    <a:gd name="connsiteY1180" fmla="*/ 119532 h 1285875"/>
                    <a:gd name="connsiteX1181" fmla="*/ 833706 w 833102"/>
                    <a:gd name="connsiteY1181" fmla="*/ 124362 h 1285875"/>
                    <a:gd name="connsiteX1182" fmla="*/ 833102 w 833102"/>
                    <a:gd name="connsiteY1182" fmla="*/ 130399 h 1285875"/>
                    <a:gd name="connsiteX1183" fmla="*/ 834309 w 833102"/>
                    <a:gd name="connsiteY1183" fmla="*/ 133417 h 1285875"/>
                    <a:gd name="connsiteX1184" fmla="*/ 830687 w 833102"/>
                    <a:gd name="connsiteY1184" fmla="*/ 135832 h 1285875"/>
                    <a:gd name="connsiteX1185" fmla="*/ 831895 w 833102"/>
                    <a:gd name="connsiteY1185" fmla="*/ 140058 h 1285875"/>
                    <a:gd name="connsiteX1186" fmla="*/ 834913 w 833102"/>
                    <a:gd name="connsiteY1186" fmla="*/ 140661 h 1285875"/>
                    <a:gd name="connsiteX1187" fmla="*/ 834913 w 833102"/>
                    <a:gd name="connsiteY1187" fmla="*/ 147302 h 1285875"/>
                    <a:gd name="connsiteX1188" fmla="*/ 832498 w 833102"/>
                    <a:gd name="connsiteY1188" fmla="*/ 150321 h 1285875"/>
                    <a:gd name="connsiteX1189" fmla="*/ 831895 w 833102"/>
                    <a:gd name="connsiteY1189" fmla="*/ 159376 h 1285875"/>
                    <a:gd name="connsiteX1190" fmla="*/ 830084 w 833102"/>
                    <a:gd name="connsiteY1190" fmla="*/ 161791 h 1285875"/>
                    <a:gd name="connsiteX1191" fmla="*/ 830084 w 833102"/>
                    <a:gd name="connsiteY1191" fmla="*/ 169639 h 1285875"/>
                    <a:gd name="connsiteX1192" fmla="*/ 833706 w 833102"/>
                    <a:gd name="connsiteY1192" fmla="*/ 175072 h 1285875"/>
                    <a:gd name="connsiteX1193" fmla="*/ 833102 w 833102"/>
                    <a:gd name="connsiteY1193" fmla="*/ 178694 h 1285875"/>
                    <a:gd name="connsiteX1194" fmla="*/ 830084 w 833102"/>
                    <a:gd name="connsiteY1194" fmla="*/ 181713 h 1285875"/>
                    <a:gd name="connsiteX1195" fmla="*/ 828272 w 833102"/>
                    <a:gd name="connsiteY1195" fmla="*/ 187146 h 1285875"/>
                    <a:gd name="connsiteX1196" fmla="*/ 830687 w 833102"/>
                    <a:gd name="connsiteY1196" fmla="*/ 193183 h 1285875"/>
                    <a:gd name="connsiteX1197" fmla="*/ 824650 w 833102"/>
                    <a:gd name="connsiteY1197" fmla="*/ 197409 h 1285875"/>
                    <a:gd name="connsiteX1198" fmla="*/ 814991 w 833102"/>
                    <a:gd name="connsiteY1198" fmla="*/ 200428 h 1285875"/>
                    <a:gd name="connsiteX1199" fmla="*/ 814991 w 833102"/>
                    <a:gd name="connsiteY1199" fmla="*/ 205257 h 1285875"/>
                    <a:gd name="connsiteX1200" fmla="*/ 811369 w 833102"/>
                    <a:gd name="connsiteY1200" fmla="*/ 208879 h 1285875"/>
                    <a:gd name="connsiteX1201" fmla="*/ 808954 w 833102"/>
                    <a:gd name="connsiteY1201" fmla="*/ 207672 h 1285875"/>
                    <a:gd name="connsiteX1202" fmla="*/ 810765 w 833102"/>
                    <a:gd name="connsiteY1202" fmla="*/ 214313 h 1285875"/>
                    <a:gd name="connsiteX1203" fmla="*/ 810161 w 833102"/>
                    <a:gd name="connsiteY1203" fmla="*/ 215520 h 1285875"/>
                    <a:gd name="connsiteX1204" fmla="*/ 807747 w 833102"/>
                    <a:gd name="connsiteY1204" fmla="*/ 214916 h 1285875"/>
                    <a:gd name="connsiteX1205" fmla="*/ 802917 w 833102"/>
                    <a:gd name="connsiteY1205" fmla="*/ 213709 h 1285875"/>
                    <a:gd name="connsiteX1206" fmla="*/ 802917 w 833102"/>
                    <a:gd name="connsiteY1206" fmla="*/ 210690 h 1285875"/>
                    <a:gd name="connsiteX1207" fmla="*/ 801710 w 833102"/>
                    <a:gd name="connsiteY1207" fmla="*/ 211898 h 1285875"/>
                    <a:gd name="connsiteX1208" fmla="*/ 802917 w 833102"/>
                    <a:gd name="connsiteY1208" fmla="*/ 215520 h 1285875"/>
                    <a:gd name="connsiteX1209" fmla="*/ 805332 w 833102"/>
                    <a:gd name="connsiteY1209" fmla="*/ 220349 h 1285875"/>
                    <a:gd name="connsiteX1210" fmla="*/ 804728 w 833102"/>
                    <a:gd name="connsiteY1210" fmla="*/ 221557 h 1285875"/>
                    <a:gd name="connsiteX1211" fmla="*/ 801710 w 833102"/>
                    <a:gd name="connsiteY1211" fmla="*/ 222160 h 1285875"/>
                    <a:gd name="connsiteX1212" fmla="*/ 800502 w 833102"/>
                    <a:gd name="connsiteY1212" fmla="*/ 220953 h 1285875"/>
                    <a:gd name="connsiteX1213" fmla="*/ 798691 w 833102"/>
                    <a:gd name="connsiteY1213" fmla="*/ 221557 h 1285875"/>
                    <a:gd name="connsiteX1214" fmla="*/ 800502 w 833102"/>
                    <a:gd name="connsiteY1214" fmla="*/ 222160 h 1285875"/>
                    <a:gd name="connsiteX1215" fmla="*/ 801710 w 833102"/>
                    <a:gd name="connsiteY1215" fmla="*/ 222764 h 1285875"/>
                    <a:gd name="connsiteX1216" fmla="*/ 801710 w 833102"/>
                    <a:gd name="connsiteY1216" fmla="*/ 225179 h 1285875"/>
                    <a:gd name="connsiteX1217" fmla="*/ 804124 w 833102"/>
                    <a:gd name="connsiteY1217" fmla="*/ 226990 h 1285875"/>
                    <a:gd name="connsiteX1218" fmla="*/ 802313 w 833102"/>
                    <a:gd name="connsiteY1218" fmla="*/ 228197 h 1285875"/>
                    <a:gd name="connsiteX1219" fmla="*/ 800502 w 833102"/>
                    <a:gd name="connsiteY1219" fmla="*/ 229405 h 1285875"/>
                    <a:gd name="connsiteX1220" fmla="*/ 799295 w 833102"/>
                    <a:gd name="connsiteY1220" fmla="*/ 231820 h 1285875"/>
                    <a:gd name="connsiteX1221" fmla="*/ 798087 w 833102"/>
                    <a:gd name="connsiteY1221" fmla="*/ 231216 h 1285875"/>
                    <a:gd name="connsiteX1222" fmla="*/ 798087 w 833102"/>
                    <a:gd name="connsiteY1222" fmla="*/ 231820 h 1285875"/>
                    <a:gd name="connsiteX1223" fmla="*/ 801710 w 833102"/>
                    <a:gd name="connsiteY1223" fmla="*/ 232423 h 1285875"/>
                    <a:gd name="connsiteX1224" fmla="*/ 803521 w 833102"/>
                    <a:gd name="connsiteY1224" fmla="*/ 231820 h 1285875"/>
                    <a:gd name="connsiteX1225" fmla="*/ 803521 w 833102"/>
                    <a:gd name="connsiteY1225" fmla="*/ 234234 h 1285875"/>
                    <a:gd name="connsiteX1226" fmla="*/ 801106 w 833102"/>
                    <a:gd name="connsiteY1226" fmla="*/ 234234 h 1285875"/>
                    <a:gd name="connsiteX1227" fmla="*/ 801710 w 833102"/>
                    <a:gd name="connsiteY1227" fmla="*/ 237857 h 1285875"/>
                    <a:gd name="connsiteX1228" fmla="*/ 800502 w 833102"/>
                    <a:gd name="connsiteY1228" fmla="*/ 238460 h 1285875"/>
                    <a:gd name="connsiteX1229" fmla="*/ 797484 w 833102"/>
                    <a:gd name="connsiteY1229" fmla="*/ 237857 h 1285875"/>
                    <a:gd name="connsiteX1230" fmla="*/ 798691 w 833102"/>
                    <a:gd name="connsiteY1230" fmla="*/ 240875 h 1285875"/>
                    <a:gd name="connsiteX1231" fmla="*/ 799899 w 833102"/>
                    <a:gd name="connsiteY1231" fmla="*/ 241479 h 1285875"/>
                    <a:gd name="connsiteX1232" fmla="*/ 801710 w 833102"/>
                    <a:gd name="connsiteY1232" fmla="*/ 240875 h 1285875"/>
                    <a:gd name="connsiteX1233" fmla="*/ 805332 w 833102"/>
                    <a:gd name="connsiteY1233" fmla="*/ 241479 h 1285875"/>
                    <a:gd name="connsiteX1234" fmla="*/ 805332 w 833102"/>
                    <a:gd name="connsiteY1234" fmla="*/ 242083 h 1285875"/>
                    <a:gd name="connsiteX1235" fmla="*/ 802313 w 833102"/>
                    <a:gd name="connsiteY1235" fmla="*/ 243290 h 1285875"/>
                    <a:gd name="connsiteX1236" fmla="*/ 801106 w 833102"/>
                    <a:gd name="connsiteY1236" fmla="*/ 246308 h 1285875"/>
                    <a:gd name="connsiteX1237" fmla="*/ 796276 w 833102"/>
                    <a:gd name="connsiteY1237" fmla="*/ 245101 h 1285875"/>
                    <a:gd name="connsiteX1238" fmla="*/ 797484 w 833102"/>
                    <a:gd name="connsiteY1238" fmla="*/ 241479 h 1285875"/>
                    <a:gd name="connsiteX1239" fmla="*/ 790239 w 833102"/>
                    <a:gd name="connsiteY1239" fmla="*/ 231216 h 1285875"/>
                    <a:gd name="connsiteX1240" fmla="*/ 785410 w 833102"/>
                    <a:gd name="connsiteY1240" fmla="*/ 229405 h 1285875"/>
                    <a:gd name="connsiteX1241" fmla="*/ 786617 w 833102"/>
                    <a:gd name="connsiteY1241" fmla="*/ 236046 h 1285875"/>
                    <a:gd name="connsiteX1242" fmla="*/ 786013 w 833102"/>
                    <a:gd name="connsiteY1242" fmla="*/ 240271 h 1285875"/>
                    <a:gd name="connsiteX1243" fmla="*/ 782995 w 833102"/>
                    <a:gd name="connsiteY1243" fmla="*/ 240875 h 1285875"/>
                    <a:gd name="connsiteX1244" fmla="*/ 777562 w 833102"/>
                    <a:gd name="connsiteY1244" fmla="*/ 249327 h 1285875"/>
                    <a:gd name="connsiteX1245" fmla="*/ 778769 w 833102"/>
                    <a:gd name="connsiteY1245" fmla="*/ 252345 h 1285875"/>
                    <a:gd name="connsiteX1246" fmla="*/ 784202 w 833102"/>
                    <a:gd name="connsiteY1246" fmla="*/ 254760 h 1285875"/>
                    <a:gd name="connsiteX1247" fmla="*/ 787825 w 833102"/>
                    <a:gd name="connsiteY1247" fmla="*/ 265627 h 1285875"/>
                    <a:gd name="connsiteX1248" fmla="*/ 778769 w 833102"/>
                    <a:gd name="connsiteY1248" fmla="*/ 271060 h 1285875"/>
                    <a:gd name="connsiteX1249" fmla="*/ 774543 w 833102"/>
                    <a:gd name="connsiteY1249" fmla="*/ 274078 h 1285875"/>
                    <a:gd name="connsiteX1250" fmla="*/ 774543 w 833102"/>
                    <a:gd name="connsiteY1250" fmla="*/ 280719 h 1285875"/>
                    <a:gd name="connsiteX1251" fmla="*/ 775751 w 833102"/>
                    <a:gd name="connsiteY1251" fmla="*/ 283134 h 1285875"/>
                    <a:gd name="connsiteX1252" fmla="*/ 773940 w 833102"/>
                    <a:gd name="connsiteY1252" fmla="*/ 286152 h 1285875"/>
                    <a:gd name="connsiteX1253" fmla="*/ 769110 w 833102"/>
                    <a:gd name="connsiteY1253" fmla="*/ 289775 h 1285875"/>
                    <a:gd name="connsiteX1254" fmla="*/ 766092 w 833102"/>
                    <a:gd name="connsiteY1254" fmla="*/ 287964 h 1285875"/>
                    <a:gd name="connsiteX1255" fmla="*/ 766092 w 833102"/>
                    <a:gd name="connsiteY1255" fmla="*/ 283134 h 1285875"/>
                    <a:gd name="connsiteX1256" fmla="*/ 761262 w 833102"/>
                    <a:gd name="connsiteY1256" fmla="*/ 279512 h 1285875"/>
                    <a:gd name="connsiteX1257" fmla="*/ 758847 w 833102"/>
                    <a:gd name="connsiteY1257" fmla="*/ 281323 h 1285875"/>
                    <a:gd name="connsiteX1258" fmla="*/ 750396 w 833102"/>
                    <a:gd name="connsiteY1258" fmla="*/ 281927 h 1285875"/>
                    <a:gd name="connsiteX1259" fmla="*/ 743151 w 833102"/>
                    <a:gd name="connsiteY1259" fmla="*/ 277701 h 1285875"/>
                    <a:gd name="connsiteX1260" fmla="*/ 743755 w 833102"/>
                    <a:gd name="connsiteY1260" fmla="*/ 271664 h 1285875"/>
                    <a:gd name="connsiteX1261" fmla="*/ 739529 w 833102"/>
                    <a:gd name="connsiteY1261" fmla="*/ 272267 h 1285875"/>
                    <a:gd name="connsiteX1262" fmla="*/ 735907 w 833102"/>
                    <a:gd name="connsiteY1262" fmla="*/ 277097 h 1285875"/>
                    <a:gd name="connsiteX1263" fmla="*/ 728662 w 833102"/>
                    <a:gd name="connsiteY1263" fmla="*/ 279512 h 1285875"/>
                    <a:gd name="connsiteX1264" fmla="*/ 726248 w 833102"/>
                    <a:gd name="connsiteY1264" fmla="*/ 278908 h 1285875"/>
                    <a:gd name="connsiteX1265" fmla="*/ 722022 w 833102"/>
                    <a:gd name="connsiteY1265" fmla="*/ 272871 h 1285875"/>
                    <a:gd name="connsiteX1266" fmla="*/ 713570 w 833102"/>
                    <a:gd name="connsiteY1266" fmla="*/ 268042 h 1285875"/>
                    <a:gd name="connsiteX1267" fmla="*/ 708137 w 833102"/>
                    <a:gd name="connsiteY1267" fmla="*/ 266834 h 1285875"/>
                    <a:gd name="connsiteX1268" fmla="*/ 706326 w 833102"/>
                    <a:gd name="connsiteY1268" fmla="*/ 257779 h 1285875"/>
                    <a:gd name="connsiteX1269" fmla="*/ 701496 w 833102"/>
                    <a:gd name="connsiteY1269" fmla="*/ 253553 h 1285875"/>
                    <a:gd name="connsiteX1270" fmla="*/ 694855 w 833102"/>
                    <a:gd name="connsiteY1270" fmla="*/ 253553 h 1285875"/>
                    <a:gd name="connsiteX1271" fmla="*/ 690026 w 833102"/>
                    <a:gd name="connsiteY1271" fmla="*/ 251742 h 1285875"/>
                    <a:gd name="connsiteX1272" fmla="*/ 687007 w 833102"/>
                    <a:gd name="connsiteY1272" fmla="*/ 248723 h 1285875"/>
                    <a:gd name="connsiteX1273" fmla="*/ 682781 w 833102"/>
                    <a:gd name="connsiteY1273" fmla="*/ 240271 h 1285875"/>
                    <a:gd name="connsiteX1274" fmla="*/ 683989 w 833102"/>
                    <a:gd name="connsiteY1274" fmla="*/ 235442 h 1285875"/>
                    <a:gd name="connsiteX1275" fmla="*/ 684592 w 833102"/>
                    <a:gd name="connsiteY1275" fmla="*/ 227594 h 1285875"/>
                    <a:gd name="connsiteX1276" fmla="*/ 680366 w 833102"/>
                    <a:gd name="connsiteY1276" fmla="*/ 223368 h 1285875"/>
                    <a:gd name="connsiteX1277" fmla="*/ 676744 w 833102"/>
                    <a:gd name="connsiteY1277" fmla="*/ 214916 h 1285875"/>
                    <a:gd name="connsiteX1278" fmla="*/ 682781 w 833102"/>
                    <a:gd name="connsiteY1278" fmla="*/ 212501 h 1285875"/>
                    <a:gd name="connsiteX1279" fmla="*/ 675537 w 833102"/>
                    <a:gd name="connsiteY1279" fmla="*/ 205257 h 1285875"/>
                    <a:gd name="connsiteX1280" fmla="*/ 674330 w 833102"/>
                    <a:gd name="connsiteY1280" fmla="*/ 193183 h 1285875"/>
                    <a:gd name="connsiteX1281" fmla="*/ 668896 w 833102"/>
                    <a:gd name="connsiteY1281" fmla="*/ 189561 h 1285875"/>
                    <a:gd name="connsiteX1282" fmla="*/ 663463 w 833102"/>
                    <a:gd name="connsiteY1282" fmla="*/ 190165 h 1285875"/>
                    <a:gd name="connsiteX1283" fmla="*/ 659841 w 833102"/>
                    <a:gd name="connsiteY1283" fmla="*/ 185939 h 1285875"/>
                    <a:gd name="connsiteX1284" fmla="*/ 654408 w 833102"/>
                    <a:gd name="connsiteY1284" fmla="*/ 184731 h 1285875"/>
                    <a:gd name="connsiteX1285" fmla="*/ 651993 w 833102"/>
                    <a:gd name="connsiteY1285" fmla="*/ 182920 h 1285875"/>
                    <a:gd name="connsiteX1286" fmla="*/ 651993 w 833102"/>
                    <a:gd name="connsiteY1286" fmla="*/ 178091 h 1285875"/>
                    <a:gd name="connsiteX1287" fmla="*/ 646560 w 833102"/>
                    <a:gd name="connsiteY1287" fmla="*/ 175676 h 1285875"/>
                    <a:gd name="connsiteX1288" fmla="*/ 644145 w 833102"/>
                    <a:gd name="connsiteY1288" fmla="*/ 178091 h 1285875"/>
                    <a:gd name="connsiteX1289" fmla="*/ 644145 w 833102"/>
                    <a:gd name="connsiteY1289" fmla="*/ 182920 h 1285875"/>
                    <a:gd name="connsiteX1290" fmla="*/ 638712 w 833102"/>
                    <a:gd name="connsiteY1290" fmla="*/ 188354 h 1285875"/>
                    <a:gd name="connsiteX1291" fmla="*/ 636901 w 833102"/>
                    <a:gd name="connsiteY1291" fmla="*/ 195598 h 1285875"/>
                    <a:gd name="connsiteX1292" fmla="*/ 639315 w 833102"/>
                    <a:gd name="connsiteY1292" fmla="*/ 198013 h 1285875"/>
                    <a:gd name="connsiteX1293" fmla="*/ 644749 w 833102"/>
                    <a:gd name="connsiteY1293" fmla="*/ 198616 h 1285875"/>
                    <a:gd name="connsiteX1294" fmla="*/ 655615 w 833102"/>
                    <a:gd name="connsiteY1294" fmla="*/ 205257 h 1285875"/>
                    <a:gd name="connsiteX1295" fmla="*/ 652597 w 833102"/>
                    <a:gd name="connsiteY1295" fmla="*/ 207672 h 1285875"/>
                    <a:gd name="connsiteX1296" fmla="*/ 655011 w 833102"/>
                    <a:gd name="connsiteY1296" fmla="*/ 211898 h 1285875"/>
                    <a:gd name="connsiteX1297" fmla="*/ 661048 w 833102"/>
                    <a:gd name="connsiteY1297" fmla="*/ 211294 h 1285875"/>
                    <a:gd name="connsiteX1298" fmla="*/ 659841 w 833102"/>
                    <a:gd name="connsiteY1298" fmla="*/ 214916 h 1285875"/>
                    <a:gd name="connsiteX1299" fmla="*/ 664671 w 833102"/>
                    <a:gd name="connsiteY1299" fmla="*/ 215520 h 1285875"/>
                    <a:gd name="connsiteX1300" fmla="*/ 667689 w 833102"/>
                    <a:gd name="connsiteY1300" fmla="*/ 214313 h 1285875"/>
                    <a:gd name="connsiteX1301" fmla="*/ 668293 w 833102"/>
                    <a:gd name="connsiteY1301" fmla="*/ 222160 h 1285875"/>
                    <a:gd name="connsiteX1302" fmla="*/ 665878 w 833102"/>
                    <a:gd name="connsiteY1302" fmla="*/ 225179 h 1285875"/>
                    <a:gd name="connsiteX1303" fmla="*/ 653804 w 833102"/>
                    <a:gd name="connsiteY1303" fmla="*/ 224575 h 1285875"/>
                    <a:gd name="connsiteX1304" fmla="*/ 645956 w 833102"/>
                    <a:gd name="connsiteY1304" fmla="*/ 225179 h 1285875"/>
                    <a:gd name="connsiteX1305" fmla="*/ 640523 w 833102"/>
                    <a:gd name="connsiteY1305" fmla="*/ 215520 h 1285875"/>
                    <a:gd name="connsiteX1306" fmla="*/ 629656 w 833102"/>
                    <a:gd name="connsiteY1306" fmla="*/ 214916 h 1285875"/>
                    <a:gd name="connsiteX1307" fmla="*/ 626638 w 833102"/>
                    <a:gd name="connsiteY1307" fmla="*/ 217935 h 1285875"/>
                    <a:gd name="connsiteX1308" fmla="*/ 626638 w 833102"/>
                    <a:gd name="connsiteY1308" fmla="*/ 222160 h 1285875"/>
                    <a:gd name="connsiteX1309" fmla="*/ 630260 w 833102"/>
                    <a:gd name="connsiteY1309" fmla="*/ 226990 h 1285875"/>
                    <a:gd name="connsiteX1310" fmla="*/ 623619 w 833102"/>
                    <a:gd name="connsiteY1310" fmla="*/ 226990 h 1285875"/>
                    <a:gd name="connsiteX1311" fmla="*/ 619997 w 833102"/>
                    <a:gd name="connsiteY1311" fmla="*/ 225783 h 1285875"/>
                    <a:gd name="connsiteX1312" fmla="*/ 616978 w 833102"/>
                    <a:gd name="connsiteY1312" fmla="*/ 221557 h 1285875"/>
                    <a:gd name="connsiteX1313" fmla="*/ 615771 w 833102"/>
                    <a:gd name="connsiteY1313" fmla="*/ 217331 h 1285875"/>
                    <a:gd name="connsiteX1314" fmla="*/ 616978 w 833102"/>
                    <a:gd name="connsiteY1314" fmla="*/ 212501 h 1285875"/>
                    <a:gd name="connsiteX1315" fmla="*/ 613356 w 833102"/>
                    <a:gd name="connsiteY1315" fmla="*/ 210087 h 1285875"/>
                    <a:gd name="connsiteX1316" fmla="*/ 604904 w 833102"/>
                    <a:gd name="connsiteY1316" fmla="*/ 212501 h 1285875"/>
                    <a:gd name="connsiteX1317" fmla="*/ 604904 w 833102"/>
                    <a:gd name="connsiteY1317" fmla="*/ 204653 h 1285875"/>
                    <a:gd name="connsiteX1318" fmla="*/ 602490 w 833102"/>
                    <a:gd name="connsiteY1318" fmla="*/ 200428 h 1285875"/>
                    <a:gd name="connsiteX1319" fmla="*/ 598264 w 833102"/>
                    <a:gd name="connsiteY1319" fmla="*/ 202239 h 1285875"/>
                    <a:gd name="connsiteX1320" fmla="*/ 591623 w 833102"/>
                    <a:gd name="connsiteY1320" fmla="*/ 202239 h 1285875"/>
                    <a:gd name="connsiteX1321" fmla="*/ 591623 w 833102"/>
                    <a:gd name="connsiteY1321" fmla="*/ 199824 h 1285875"/>
                    <a:gd name="connsiteX1322" fmla="*/ 589208 w 833102"/>
                    <a:gd name="connsiteY1322" fmla="*/ 193183 h 1285875"/>
                    <a:gd name="connsiteX1323" fmla="*/ 589812 w 833102"/>
                    <a:gd name="connsiteY1323" fmla="*/ 187146 h 1285875"/>
                    <a:gd name="connsiteX1324" fmla="*/ 586190 w 833102"/>
                    <a:gd name="connsiteY1324" fmla="*/ 187750 h 1285875"/>
                    <a:gd name="connsiteX1325" fmla="*/ 581964 w 833102"/>
                    <a:gd name="connsiteY1325" fmla="*/ 183524 h 1285875"/>
                    <a:gd name="connsiteX1326" fmla="*/ 576531 w 833102"/>
                    <a:gd name="connsiteY1326" fmla="*/ 181109 h 1285875"/>
                    <a:gd name="connsiteX1327" fmla="*/ 575927 w 833102"/>
                    <a:gd name="connsiteY1327" fmla="*/ 173261 h 1285875"/>
                    <a:gd name="connsiteX1328" fmla="*/ 570494 w 833102"/>
                    <a:gd name="connsiteY1328" fmla="*/ 173261 h 1285875"/>
                    <a:gd name="connsiteX1329" fmla="*/ 571097 w 833102"/>
                    <a:gd name="connsiteY1329" fmla="*/ 178091 h 1285875"/>
                    <a:gd name="connsiteX1330" fmla="*/ 562646 w 833102"/>
                    <a:gd name="connsiteY1330" fmla="*/ 176280 h 1285875"/>
                    <a:gd name="connsiteX1331" fmla="*/ 563853 w 833102"/>
                    <a:gd name="connsiteY1331" fmla="*/ 172657 h 1285875"/>
                    <a:gd name="connsiteX1332" fmla="*/ 560835 w 833102"/>
                    <a:gd name="connsiteY1332" fmla="*/ 170243 h 1285875"/>
                    <a:gd name="connsiteX1333" fmla="*/ 556609 w 833102"/>
                    <a:gd name="connsiteY1333" fmla="*/ 170846 h 1285875"/>
                    <a:gd name="connsiteX1334" fmla="*/ 556005 w 833102"/>
                    <a:gd name="connsiteY1334" fmla="*/ 165413 h 1285875"/>
                    <a:gd name="connsiteX1335" fmla="*/ 549364 w 833102"/>
                    <a:gd name="connsiteY1335" fmla="*/ 162395 h 1285875"/>
                    <a:gd name="connsiteX1336" fmla="*/ 548157 w 833102"/>
                    <a:gd name="connsiteY1336" fmla="*/ 156961 h 1285875"/>
                    <a:gd name="connsiteX1337" fmla="*/ 543328 w 833102"/>
                    <a:gd name="connsiteY1337" fmla="*/ 155754 h 1285875"/>
                    <a:gd name="connsiteX1338" fmla="*/ 540913 w 833102"/>
                    <a:gd name="connsiteY1338" fmla="*/ 158169 h 1285875"/>
                    <a:gd name="connsiteX1339" fmla="*/ 536687 w 833102"/>
                    <a:gd name="connsiteY1339" fmla="*/ 154547 h 1285875"/>
                    <a:gd name="connsiteX1340" fmla="*/ 535479 w 833102"/>
                    <a:gd name="connsiteY1340" fmla="*/ 147302 h 1285875"/>
                    <a:gd name="connsiteX1341" fmla="*/ 533668 w 833102"/>
                    <a:gd name="connsiteY1341" fmla="*/ 136436 h 1285875"/>
                    <a:gd name="connsiteX1342" fmla="*/ 530650 w 833102"/>
                    <a:gd name="connsiteY1342" fmla="*/ 137039 h 1285875"/>
                    <a:gd name="connsiteX1343" fmla="*/ 525820 w 833102"/>
                    <a:gd name="connsiteY1343" fmla="*/ 144887 h 1285875"/>
                    <a:gd name="connsiteX1344" fmla="*/ 524613 w 833102"/>
                    <a:gd name="connsiteY1344" fmla="*/ 151528 h 1285875"/>
                    <a:gd name="connsiteX1345" fmla="*/ 522802 w 833102"/>
                    <a:gd name="connsiteY1345" fmla="*/ 155150 h 1285875"/>
                    <a:gd name="connsiteX1346" fmla="*/ 520387 w 833102"/>
                    <a:gd name="connsiteY1346" fmla="*/ 163602 h 1285875"/>
                    <a:gd name="connsiteX1347" fmla="*/ 516765 w 833102"/>
                    <a:gd name="connsiteY1347" fmla="*/ 167828 h 1285875"/>
                    <a:gd name="connsiteX1348" fmla="*/ 516765 w 833102"/>
                    <a:gd name="connsiteY1348" fmla="*/ 171450 h 1285875"/>
                    <a:gd name="connsiteX1349" fmla="*/ 522802 w 833102"/>
                    <a:gd name="connsiteY1349" fmla="*/ 176883 h 1285875"/>
                    <a:gd name="connsiteX1350" fmla="*/ 525217 w 833102"/>
                    <a:gd name="connsiteY1350" fmla="*/ 169639 h 1285875"/>
                    <a:gd name="connsiteX1351" fmla="*/ 533065 w 833102"/>
                    <a:gd name="connsiteY1351" fmla="*/ 173261 h 1285875"/>
                    <a:gd name="connsiteX1352" fmla="*/ 547553 w 833102"/>
                    <a:gd name="connsiteY1352" fmla="*/ 175676 h 1285875"/>
                    <a:gd name="connsiteX1353" fmla="*/ 546950 w 833102"/>
                    <a:gd name="connsiteY1353" fmla="*/ 177487 h 1285875"/>
                    <a:gd name="connsiteX1354" fmla="*/ 550572 w 833102"/>
                    <a:gd name="connsiteY1354" fmla="*/ 181713 h 1285875"/>
                    <a:gd name="connsiteX1355" fmla="*/ 549968 w 833102"/>
                    <a:gd name="connsiteY1355" fmla="*/ 185939 h 1285875"/>
                    <a:gd name="connsiteX1356" fmla="*/ 556005 w 833102"/>
                    <a:gd name="connsiteY1356" fmla="*/ 195598 h 1285875"/>
                    <a:gd name="connsiteX1357" fmla="*/ 552987 w 833102"/>
                    <a:gd name="connsiteY1357" fmla="*/ 199220 h 1285875"/>
                    <a:gd name="connsiteX1358" fmla="*/ 546346 w 833102"/>
                    <a:gd name="connsiteY1358" fmla="*/ 199824 h 1285875"/>
                    <a:gd name="connsiteX1359" fmla="*/ 542724 w 833102"/>
                    <a:gd name="connsiteY1359" fmla="*/ 198013 h 1285875"/>
                    <a:gd name="connsiteX1360" fmla="*/ 539102 w 833102"/>
                    <a:gd name="connsiteY1360" fmla="*/ 199824 h 1285875"/>
                    <a:gd name="connsiteX1361" fmla="*/ 537894 w 833102"/>
                    <a:gd name="connsiteY1361" fmla="*/ 204050 h 1285875"/>
                    <a:gd name="connsiteX1362" fmla="*/ 533668 w 833102"/>
                    <a:gd name="connsiteY1362" fmla="*/ 204050 h 1285875"/>
                    <a:gd name="connsiteX1363" fmla="*/ 530650 w 833102"/>
                    <a:gd name="connsiteY1363" fmla="*/ 208879 h 1285875"/>
                    <a:gd name="connsiteX1364" fmla="*/ 523405 w 833102"/>
                    <a:gd name="connsiteY1364" fmla="*/ 212501 h 1285875"/>
                    <a:gd name="connsiteX1365" fmla="*/ 520387 w 833102"/>
                    <a:gd name="connsiteY1365" fmla="*/ 216727 h 1285875"/>
                    <a:gd name="connsiteX1366" fmla="*/ 519783 w 833102"/>
                    <a:gd name="connsiteY1366" fmla="*/ 223368 h 1285875"/>
                    <a:gd name="connsiteX1367" fmla="*/ 521594 w 833102"/>
                    <a:gd name="connsiteY1367" fmla="*/ 225783 h 1285875"/>
                    <a:gd name="connsiteX1368" fmla="*/ 520387 w 833102"/>
                    <a:gd name="connsiteY1368" fmla="*/ 231216 h 1285875"/>
                    <a:gd name="connsiteX1369" fmla="*/ 516765 w 833102"/>
                    <a:gd name="connsiteY1369" fmla="*/ 232423 h 1285875"/>
                    <a:gd name="connsiteX1370" fmla="*/ 513746 w 833102"/>
                    <a:gd name="connsiteY1370" fmla="*/ 235442 h 1285875"/>
                    <a:gd name="connsiteX1371" fmla="*/ 506502 w 833102"/>
                    <a:gd name="connsiteY1371" fmla="*/ 236046 h 1285875"/>
                    <a:gd name="connsiteX1372" fmla="*/ 504691 w 833102"/>
                    <a:gd name="connsiteY1372" fmla="*/ 238460 h 1285875"/>
                    <a:gd name="connsiteX1373" fmla="*/ 499257 w 833102"/>
                    <a:gd name="connsiteY1373" fmla="*/ 237857 h 1285875"/>
                    <a:gd name="connsiteX1374" fmla="*/ 496239 w 833102"/>
                    <a:gd name="connsiteY1374" fmla="*/ 242083 h 1285875"/>
                    <a:gd name="connsiteX1375" fmla="*/ 484769 w 833102"/>
                    <a:gd name="connsiteY1375" fmla="*/ 248120 h 1285875"/>
                    <a:gd name="connsiteX1376" fmla="*/ 484165 w 833102"/>
                    <a:gd name="connsiteY1376" fmla="*/ 256571 h 1285875"/>
                    <a:gd name="connsiteX1377" fmla="*/ 481146 w 833102"/>
                    <a:gd name="connsiteY1377" fmla="*/ 260194 h 1285875"/>
                    <a:gd name="connsiteX1378" fmla="*/ 486580 w 833102"/>
                    <a:gd name="connsiteY1378" fmla="*/ 266834 h 1285875"/>
                    <a:gd name="connsiteX1379" fmla="*/ 483561 w 833102"/>
                    <a:gd name="connsiteY1379" fmla="*/ 271664 h 1285875"/>
                    <a:gd name="connsiteX1380" fmla="*/ 485976 w 833102"/>
                    <a:gd name="connsiteY1380" fmla="*/ 275890 h 1285875"/>
                    <a:gd name="connsiteX1381" fmla="*/ 480543 w 833102"/>
                    <a:gd name="connsiteY1381" fmla="*/ 277097 h 1285875"/>
                    <a:gd name="connsiteX1382" fmla="*/ 475109 w 833102"/>
                    <a:gd name="connsiteY1382" fmla="*/ 284341 h 1285875"/>
                    <a:gd name="connsiteX1383" fmla="*/ 470884 w 833102"/>
                    <a:gd name="connsiteY1383" fmla="*/ 297019 h 1285875"/>
                    <a:gd name="connsiteX1384" fmla="*/ 467261 w 833102"/>
                    <a:gd name="connsiteY1384" fmla="*/ 297623 h 1285875"/>
                    <a:gd name="connsiteX1385" fmla="*/ 465450 w 833102"/>
                    <a:gd name="connsiteY1385" fmla="*/ 301849 h 1285875"/>
                    <a:gd name="connsiteX1386" fmla="*/ 469676 w 833102"/>
                    <a:gd name="connsiteY1386" fmla="*/ 309093 h 1285875"/>
                    <a:gd name="connsiteX1387" fmla="*/ 471487 w 833102"/>
                    <a:gd name="connsiteY1387" fmla="*/ 316337 h 1285875"/>
                    <a:gd name="connsiteX1388" fmla="*/ 469676 w 833102"/>
                    <a:gd name="connsiteY1388" fmla="*/ 321771 h 1285875"/>
                    <a:gd name="connsiteX1389" fmla="*/ 480543 w 833102"/>
                    <a:gd name="connsiteY1389" fmla="*/ 332637 h 1285875"/>
                    <a:gd name="connsiteX1390" fmla="*/ 485976 w 833102"/>
                    <a:gd name="connsiteY1390" fmla="*/ 327808 h 1285875"/>
                    <a:gd name="connsiteX1391" fmla="*/ 489598 w 833102"/>
                    <a:gd name="connsiteY1391" fmla="*/ 330222 h 1285875"/>
                    <a:gd name="connsiteX1392" fmla="*/ 493220 w 833102"/>
                    <a:gd name="connsiteY1392" fmla="*/ 327808 h 1285875"/>
                    <a:gd name="connsiteX1393" fmla="*/ 496239 w 833102"/>
                    <a:gd name="connsiteY1393" fmla="*/ 328411 h 1285875"/>
                    <a:gd name="connsiteX1394" fmla="*/ 500465 w 833102"/>
                    <a:gd name="connsiteY1394" fmla="*/ 324789 h 1285875"/>
                    <a:gd name="connsiteX1395" fmla="*/ 503483 w 833102"/>
                    <a:gd name="connsiteY1395" fmla="*/ 325393 h 1285875"/>
                    <a:gd name="connsiteX1396" fmla="*/ 504087 w 833102"/>
                    <a:gd name="connsiteY1396" fmla="*/ 332033 h 1285875"/>
                    <a:gd name="connsiteX1397" fmla="*/ 507709 w 833102"/>
                    <a:gd name="connsiteY1397" fmla="*/ 333241 h 1285875"/>
                    <a:gd name="connsiteX1398" fmla="*/ 513746 w 833102"/>
                    <a:gd name="connsiteY1398" fmla="*/ 338674 h 1285875"/>
                    <a:gd name="connsiteX1399" fmla="*/ 514954 w 833102"/>
                    <a:gd name="connsiteY1399" fmla="*/ 342296 h 1285875"/>
                    <a:gd name="connsiteX1400" fmla="*/ 517972 w 833102"/>
                    <a:gd name="connsiteY1400" fmla="*/ 342296 h 1285875"/>
                    <a:gd name="connsiteX1401" fmla="*/ 525820 w 833102"/>
                    <a:gd name="connsiteY1401" fmla="*/ 347730 h 1285875"/>
                    <a:gd name="connsiteX1402" fmla="*/ 525217 w 833102"/>
                    <a:gd name="connsiteY1402" fmla="*/ 351352 h 1285875"/>
                    <a:gd name="connsiteX1403" fmla="*/ 531254 w 833102"/>
                    <a:gd name="connsiteY1403" fmla="*/ 354370 h 1285875"/>
                    <a:gd name="connsiteX1404" fmla="*/ 531857 w 833102"/>
                    <a:gd name="connsiteY1404" fmla="*/ 357389 h 1285875"/>
                    <a:gd name="connsiteX1405" fmla="*/ 542120 w 833102"/>
                    <a:gd name="connsiteY1405" fmla="*/ 359200 h 1285875"/>
                    <a:gd name="connsiteX1406" fmla="*/ 542120 w 833102"/>
                    <a:gd name="connsiteY1406" fmla="*/ 367048 h 1285875"/>
                    <a:gd name="connsiteX1407" fmla="*/ 540309 w 833102"/>
                    <a:gd name="connsiteY1407" fmla="*/ 370066 h 1285875"/>
                    <a:gd name="connsiteX1408" fmla="*/ 545139 w 833102"/>
                    <a:gd name="connsiteY1408" fmla="*/ 377311 h 1285875"/>
                    <a:gd name="connsiteX1409" fmla="*/ 550572 w 833102"/>
                    <a:gd name="connsiteY1409" fmla="*/ 377311 h 1285875"/>
                    <a:gd name="connsiteX1410" fmla="*/ 549968 w 833102"/>
                    <a:gd name="connsiteY1410" fmla="*/ 382140 h 1285875"/>
                    <a:gd name="connsiteX1411" fmla="*/ 555401 w 833102"/>
                    <a:gd name="connsiteY1411" fmla="*/ 388177 h 1285875"/>
                    <a:gd name="connsiteX1412" fmla="*/ 559627 w 833102"/>
                    <a:gd name="connsiteY1412" fmla="*/ 388781 h 1285875"/>
                    <a:gd name="connsiteX1413" fmla="*/ 561438 w 833102"/>
                    <a:gd name="connsiteY1413" fmla="*/ 392403 h 1285875"/>
                    <a:gd name="connsiteX1414" fmla="*/ 566871 w 833102"/>
                    <a:gd name="connsiteY1414" fmla="*/ 394818 h 1285875"/>
                    <a:gd name="connsiteX1415" fmla="*/ 571097 w 833102"/>
                    <a:gd name="connsiteY1415" fmla="*/ 394818 h 1285875"/>
                    <a:gd name="connsiteX1416" fmla="*/ 573512 w 833102"/>
                    <a:gd name="connsiteY1416" fmla="*/ 393007 h 1285875"/>
                    <a:gd name="connsiteX1417" fmla="*/ 576531 w 833102"/>
                    <a:gd name="connsiteY1417" fmla="*/ 397233 h 1285875"/>
                    <a:gd name="connsiteX1418" fmla="*/ 580756 w 833102"/>
                    <a:gd name="connsiteY1418" fmla="*/ 396629 h 1285875"/>
                    <a:gd name="connsiteX1419" fmla="*/ 581360 w 833102"/>
                    <a:gd name="connsiteY1419" fmla="*/ 400251 h 1285875"/>
                    <a:gd name="connsiteX1420" fmla="*/ 584982 w 833102"/>
                    <a:gd name="connsiteY1420" fmla="*/ 402666 h 1285875"/>
                    <a:gd name="connsiteX1421" fmla="*/ 592227 w 833102"/>
                    <a:gd name="connsiteY1421" fmla="*/ 402666 h 1285875"/>
                    <a:gd name="connsiteX1422" fmla="*/ 594038 w 833102"/>
                    <a:gd name="connsiteY1422" fmla="*/ 396629 h 1285875"/>
                    <a:gd name="connsiteX1423" fmla="*/ 600679 w 833102"/>
                    <a:gd name="connsiteY1423" fmla="*/ 395422 h 1285875"/>
                    <a:gd name="connsiteX1424" fmla="*/ 606112 w 833102"/>
                    <a:gd name="connsiteY1424" fmla="*/ 397836 h 1285875"/>
                    <a:gd name="connsiteX1425" fmla="*/ 612149 w 833102"/>
                    <a:gd name="connsiteY1425" fmla="*/ 391196 h 1285875"/>
                    <a:gd name="connsiteX1426" fmla="*/ 615167 w 833102"/>
                    <a:gd name="connsiteY1426" fmla="*/ 391799 h 1285875"/>
                    <a:gd name="connsiteX1427" fmla="*/ 615771 w 833102"/>
                    <a:gd name="connsiteY1427" fmla="*/ 399044 h 1285875"/>
                    <a:gd name="connsiteX1428" fmla="*/ 619393 w 833102"/>
                    <a:gd name="connsiteY1428" fmla="*/ 399044 h 1285875"/>
                    <a:gd name="connsiteX1429" fmla="*/ 621204 w 833102"/>
                    <a:gd name="connsiteY1429" fmla="*/ 406288 h 1285875"/>
                    <a:gd name="connsiteX1430" fmla="*/ 618790 w 833102"/>
                    <a:gd name="connsiteY1430" fmla="*/ 409307 h 1285875"/>
                    <a:gd name="connsiteX1431" fmla="*/ 620601 w 833102"/>
                    <a:gd name="connsiteY1431" fmla="*/ 412929 h 1285875"/>
                    <a:gd name="connsiteX1432" fmla="*/ 618186 w 833102"/>
                    <a:gd name="connsiteY1432" fmla="*/ 418966 h 1285875"/>
                    <a:gd name="connsiteX1433" fmla="*/ 621808 w 833102"/>
                    <a:gd name="connsiteY1433" fmla="*/ 420777 h 1285875"/>
                    <a:gd name="connsiteX1434" fmla="*/ 621808 w 833102"/>
                    <a:gd name="connsiteY1434" fmla="*/ 427418 h 1285875"/>
                    <a:gd name="connsiteX1435" fmla="*/ 627845 w 833102"/>
                    <a:gd name="connsiteY1435" fmla="*/ 430436 h 1285875"/>
                    <a:gd name="connsiteX1436" fmla="*/ 630260 w 833102"/>
                    <a:gd name="connsiteY1436" fmla="*/ 435869 h 1285875"/>
                    <a:gd name="connsiteX1437" fmla="*/ 634486 w 833102"/>
                    <a:gd name="connsiteY1437" fmla="*/ 433455 h 1285875"/>
                    <a:gd name="connsiteX1438" fmla="*/ 637504 w 833102"/>
                    <a:gd name="connsiteY1438" fmla="*/ 439491 h 1285875"/>
                    <a:gd name="connsiteX1439" fmla="*/ 644749 w 833102"/>
                    <a:gd name="connsiteY1439" fmla="*/ 440095 h 1285875"/>
                    <a:gd name="connsiteX1440" fmla="*/ 651993 w 833102"/>
                    <a:gd name="connsiteY1440" fmla="*/ 442510 h 1285875"/>
                    <a:gd name="connsiteX1441" fmla="*/ 655615 w 833102"/>
                    <a:gd name="connsiteY1441" fmla="*/ 442510 h 1285875"/>
                    <a:gd name="connsiteX1442" fmla="*/ 655615 w 833102"/>
                    <a:gd name="connsiteY1442" fmla="*/ 446132 h 1285875"/>
                    <a:gd name="connsiteX1443" fmla="*/ 650786 w 833102"/>
                    <a:gd name="connsiteY1443" fmla="*/ 446736 h 1285875"/>
                    <a:gd name="connsiteX1444" fmla="*/ 645352 w 833102"/>
                    <a:gd name="connsiteY1444" fmla="*/ 450358 h 1285875"/>
                    <a:gd name="connsiteX1445" fmla="*/ 644145 w 833102"/>
                    <a:gd name="connsiteY1445" fmla="*/ 455188 h 1285875"/>
                    <a:gd name="connsiteX1446" fmla="*/ 645352 w 833102"/>
                    <a:gd name="connsiteY1446" fmla="*/ 460017 h 1285875"/>
                    <a:gd name="connsiteX1447" fmla="*/ 640523 w 833102"/>
                    <a:gd name="connsiteY1447" fmla="*/ 460017 h 1285875"/>
                    <a:gd name="connsiteX1448" fmla="*/ 641126 w 833102"/>
                    <a:gd name="connsiteY1448" fmla="*/ 464243 h 1285875"/>
                    <a:gd name="connsiteX1449" fmla="*/ 638108 w 833102"/>
                    <a:gd name="connsiteY1449" fmla="*/ 472091 h 1285875"/>
                    <a:gd name="connsiteX1450" fmla="*/ 632675 w 833102"/>
                    <a:gd name="connsiteY1450" fmla="*/ 467865 h 1285875"/>
                    <a:gd name="connsiteX1451" fmla="*/ 628449 w 833102"/>
                    <a:gd name="connsiteY1451" fmla="*/ 468469 h 1285875"/>
                    <a:gd name="connsiteX1452" fmla="*/ 622412 w 833102"/>
                    <a:gd name="connsiteY1452" fmla="*/ 461828 h 1285875"/>
                    <a:gd name="connsiteX1453" fmla="*/ 613356 w 833102"/>
                    <a:gd name="connsiteY1453" fmla="*/ 470884 h 1285875"/>
                    <a:gd name="connsiteX1454" fmla="*/ 607923 w 833102"/>
                    <a:gd name="connsiteY1454" fmla="*/ 469073 h 1285875"/>
                    <a:gd name="connsiteX1455" fmla="*/ 607319 w 833102"/>
                    <a:gd name="connsiteY1455" fmla="*/ 466658 h 1285875"/>
                    <a:gd name="connsiteX1456" fmla="*/ 601886 w 833102"/>
                    <a:gd name="connsiteY1456" fmla="*/ 467865 h 1285875"/>
                    <a:gd name="connsiteX1457" fmla="*/ 594038 w 833102"/>
                    <a:gd name="connsiteY1457" fmla="*/ 462432 h 1285875"/>
                    <a:gd name="connsiteX1458" fmla="*/ 589208 w 833102"/>
                    <a:gd name="connsiteY1458" fmla="*/ 461828 h 1285875"/>
                    <a:gd name="connsiteX1459" fmla="*/ 586190 w 833102"/>
                    <a:gd name="connsiteY1459" fmla="*/ 464243 h 1285875"/>
                    <a:gd name="connsiteX1460" fmla="*/ 580153 w 833102"/>
                    <a:gd name="connsiteY1460" fmla="*/ 462432 h 1285875"/>
                    <a:gd name="connsiteX1461" fmla="*/ 574719 w 833102"/>
                    <a:gd name="connsiteY1461" fmla="*/ 463036 h 1285875"/>
                    <a:gd name="connsiteX1462" fmla="*/ 566871 w 833102"/>
                    <a:gd name="connsiteY1462" fmla="*/ 469073 h 1285875"/>
                    <a:gd name="connsiteX1463" fmla="*/ 563249 w 833102"/>
                    <a:gd name="connsiteY1463" fmla="*/ 469073 h 1285875"/>
                    <a:gd name="connsiteX1464" fmla="*/ 562042 w 833102"/>
                    <a:gd name="connsiteY1464" fmla="*/ 465451 h 1285875"/>
                    <a:gd name="connsiteX1465" fmla="*/ 546346 w 833102"/>
                    <a:gd name="connsiteY1465" fmla="*/ 461225 h 1285875"/>
                    <a:gd name="connsiteX1466" fmla="*/ 543931 w 833102"/>
                    <a:gd name="connsiteY1466" fmla="*/ 465451 h 1285875"/>
                    <a:gd name="connsiteX1467" fmla="*/ 539102 w 833102"/>
                    <a:gd name="connsiteY1467" fmla="*/ 465451 h 1285875"/>
                    <a:gd name="connsiteX1468" fmla="*/ 539705 w 833102"/>
                    <a:gd name="connsiteY1468" fmla="*/ 469073 h 1285875"/>
                    <a:gd name="connsiteX1469" fmla="*/ 543328 w 833102"/>
                    <a:gd name="connsiteY1469" fmla="*/ 475713 h 1285875"/>
                    <a:gd name="connsiteX1470" fmla="*/ 542724 w 833102"/>
                    <a:gd name="connsiteY1470" fmla="*/ 479336 h 1285875"/>
                    <a:gd name="connsiteX1471" fmla="*/ 539102 w 833102"/>
                    <a:gd name="connsiteY1471" fmla="*/ 481147 h 1285875"/>
                    <a:gd name="connsiteX1472" fmla="*/ 541516 w 833102"/>
                    <a:gd name="connsiteY1472" fmla="*/ 492013 h 1285875"/>
                    <a:gd name="connsiteX1473" fmla="*/ 537894 w 833102"/>
                    <a:gd name="connsiteY1473" fmla="*/ 499258 h 1285875"/>
                    <a:gd name="connsiteX1474" fmla="*/ 541516 w 833102"/>
                    <a:gd name="connsiteY1474" fmla="*/ 500465 h 1285875"/>
                    <a:gd name="connsiteX1475" fmla="*/ 537894 w 833102"/>
                    <a:gd name="connsiteY1475" fmla="*/ 507709 h 1285875"/>
                    <a:gd name="connsiteX1476" fmla="*/ 535479 w 833102"/>
                    <a:gd name="connsiteY1476" fmla="*/ 508313 h 1285875"/>
                    <a:gd name="connsiteX1477" fmla="*/ 530046 w 833102"/>
                    <a:gd name="connsiteY1477" fmla="*/ 516765 h 1285875"/>
                    <a:gd name="connsiteX1478" fmla="*/ 530650 w 833102"/>
                    <a:gd name="connsiteY1478" fmla="*/ 522198 h 1285875"/>
                    <a:gd name="connsiteX1479" fmla="*/ 526424 w 833102"/>
                    <a:gd name="connsiteY1479" fmla="*/ 524009 h 1285875"/>
                    <a:gd name="connsiteX1480" fmla="*/ 522198 w 833102"/>
                    <a:gd name="connsiteY1480" fmla="*/ 521594 h 1285875"/>
                    <a:gd name="connsiteX1481" fmla="*/ 518576 w 833102"/>
                    <a:gd name="connsiteY1481" fmla="*/ 524009 h 1285875"/>
                    <a:gd name="connsiteX1482" fmla="*/ 517368 w 833102"/>
                    <a:gd name="connsiteY1482" fmla="*/ 528235 h 1285875"/>
                    <a:gd name="connsiteX1483" fmla="*/ 514954 w 833102"/>
                    <a:gd name="connsiteY1483" fmla="*/ 529443 h 1285875"/>
                    <a:gd name="connsiteX1484" fmla="*/ 518576 w 833102"/>
                    <a:gd name="connsiteY1484" fmla="*/ 536687 h 1285875"/>
                    <a:gd name="connsiteX1485" fmla="*/ 515557 w 833102"/>
                    <a:gd name="connsiteY1485" fmla="*/ 539705 h 1285875"/>
                    <a:gd name="connsiteX1486" fmla="*/ 513143 w 833102"/>
                    <a:gd name="connsiteY1486" fmla="*/ 537291 h 1285875"/>
                    <a:gd name="connsiteX1487" fmla="*/ 502880 w 833102"/>
                    <a:gd name="connsiteY1487" fmla="*/ 534272 h 1285875"/>
                    <a:gd name="connsiteX1488" fmla="*/ 502276 w 833102"/>
                    <a:gd name="connsiteY1488" fmla="*/ 528235 h 1285875"/>
                    <a:gd name="connsiteX1489" fmla="*/ 495635 w 833102"/>
                    <a:gd name="connsiteY1489" fmla="*/ 519180 h 1285875"/>
                    <a:gd name="connsiteX1490" fmla="*/ 484769 w 833102"/>
                    <a:gd name="connsiteY1490" fmla="*/ 520387 h 1285875"/>
                    <a:gd name="connsiteX1491" fmla="*/ 480543 w 833102"/>
                    <a:gd name="connsiteY1491" fmla="*/ 524613 h 1285875"/>
                    <a:gd name="connsiteX1492" fmla="*/ 476317 w 833102"/>
                    <a:gd name="connsiteY1492" fmla="*/ 525217 h 1285875"/>
                    <a:gd name="connsiteX1493" fmla="*/ 476921 w 833102"/>
                    <a:gd name="connsiteY1493" fmla="*/ 528839 h 1285875"/>
                    <a:gd name="connsiteX1494" fmla="*/ 480543 w 833102"/>
                    <a:gd name="connsiteY1494" fmla="*/ 533065 h 1285875"/>
                    <a:gd name="connsiteX1495" fmla="*/ 479939 w 833102"/>
                    <a:gd name="connsiteY1495" fmla="*/ 536083 h 1285875"/>
                    <a:gd name="connsiteX1496" fmla="*/ 482354 w 833102"/>
                    <a:gd name="connsiteY1496" fmla="*/ 540913 h 1285875"/>
                    <a:gd name="connsiteX1497" fmla="*/ 470884 w 833102"/>
                    <a:gd name="connsiteY1497" fmla="*/ 552383 h 1285875"/>
                    <a:gd name="connsiteX1498" fmla="*/ 469676 w 833102"/>
                    <a:gd name="connsiteY1498" fmla="*/ 560231 h 1285875"/>
                    <a:gd name="connsiteX1499" fmla="*/ 466658 w 833102"/>
                    <a:gd name="connsiteY1499" fmla="*/ 559627 h 1285875"/>
                    <a:gd name="connsiteX1500" fmla="*/ 461828 w 833102"/>
                    <a:gd name="connsiteY1500" fmla="*/ 566872 h 1285875"/>
                    <a:gd name="connsiteX1501" fmla="*/ 463035 w 833102"/>
                    <a:gd name="connsiteY1501" fmla="*/ 568683 h 1285875"/>
                    <a:gd name="connsiteX1502" fmla="*/ 460017 w 833102"/>
                    <a:gd name="connsiteY1502" fmla="*/ 574720 h 1285875"/>
                    <a:gd name="connsiteX1503" fmla="*/ 450358 w 833102"/>
                    <a:gd name="connsiteY1503" fmla="*/ 584379 h 1285875"/>
                    <a:gd name="connsiteX1504" fmla="*/ 450358 w 833102"/>
                    <a:gd name="connsiteY1504" fmla="*/ 586794 h 1285875"/>
                    <a:gd name="connsiteX1505" fmla="*/ 457602 w 833102"/>
                    <a:gd name="connsiteY1505" fmla="*/ 592227 h 1285875"/>
                    <a:gd name="connsiteX1506" fmla="*/ 462432 w 833102"/>
                    <a:gd name="connsiteY1506" fmla="*/ 599471 h 1285875"/>
                    <a:gd name="connsiteX1507" fmla="*/ 469676 w 833102"/>
                    <a:gd name="connsiteY1507" fmla="*/ 613356 h 1285875"/>
                    <a:gd name="connsiteX1508" fmla="*/ 478128 w 833102"/>
                    <a:gd name="connsiteY1508" fmla="*/ 622412 h 1285875"/>
                    <a:gd name="connsiteX1509" fmla="*/ 484165 w 833102"/>
                    <a:gd name="connsiteY1509" fmla="*/ 625430 h 1285875"/>
                    <a:gd name="connsiteX1510" fmla="*/ 490202 w 833102"/>
                    <a:gd name="connsiteY1510" fmla="*/ 632675 h 1285875"/>
                    <a:gd name="connsiteX1511" fmla="*/ 502276 w 833102"/>
                    <a:gd name="connsiteY1511" fmla="*/ 635693 h 1285875"/>
                    <a:gd name="connsiteX1512" fmla="*/ 515557 w 833102"/>
                    <a:gd name="connsiteY1512" fmla="*/ 648975 h 1285875"/>
                    <a:gd name="connsiteX1513" fmla="*/ 519783 w 833102"/>
                    <a:gd name="connsiteY1513" fmla="*/ 651389 h 1285875"/>
                    <a:gd name="connsiteX1514" fmla="*/ 528839 w 833102"/>
                    <a:gd name="connsiteY1514" fmla="*/ 652597 h 1285875"/>
                    <a:gd name="connsiteX1515" fmla="*/ 537894 w 833102"/>
                    <a:gd name="connsiteY1515" fmla="*/ 650182 h 1285875"/>
                    <a:gd name="connsiteX1516" fmla="*/ 552383 w 833102"/>
                    <a:gd name="connsiteY1516" fmla="*/ 658634 h 1285875"/>
                    <a:gd name="connsiteX1517" fmla="*/ 557212 w 833102"/>
                    <a:gd name="connsiteY1517" fmla="*/ 659237 h 1285875"/>
                    <a:gd name="connsiteX1518" fmla="*/ 562646 w 833102"/>
                    <a:gd name="connsiteY1518" fmla="*/ 669500 h 1285875"/>
                    <a:gd name="connsiteX1519" fmla="*/ 565060 w 833102"/>
                    <a:gd name="connsiteY1519" fmla="*/ 662859 h 1285875"/>
                    <a:gd name="connsiteX1520" fmla="*/ 569286 w 833102"/>
                    <a:gd name="connsiteY1520" fmla="*/ 665274 h 1285875"/>
                    <a:gd name="connsiteX1521" fmla="*/ 576531 w 833102"/>
                    <a:gd name="connsiteY1521" fmla="*/ 665274 h 1285875"/>
                    <a:gd name="connsiteX1522" fmla="*/ 577738 w 833102"/>
                    <a:gd name="connsiteY1522" fmla="*/ 667085 h 1285875"/>
                    <a:gd name="connsiteX1523" fmla="*/ 586793 w 833102"/>
                    <a:gd name="connsiteY1523" fmla="*/ 665274 h 1285875"/>
                    <a:gd name="connsiteX1524" fmla="*/ 592830 w 833102"/>
                    <a:gd name="connsiteY1524" fmla="*/ 666482 h 1285875"/>
                    <a:gd name="connsiteX1525" fmla="*/ 597056 w 833102"/>
                    <a:gd name="connsiteY1525" fmla="*/ 669500 h 1285875"/>
                    <a:gd name="connsiteX1526" fmla="*/ 600075 w 833102"/>
                    <a:gd name="connsiteY1526" fmla="*/ 676141 h 1285875"/>
                    <a:gd name="connsiteX1527" fmla="*/ 598867 w 833102"/>
                    <a:gd name="connsiteY1527" fmla="*/ 691837 h 1285875"/>
                    <a:gd name="connsiteX1528" fmla="*/ 596453 w 833102"/>
                    <a:gd name="connsiteY1528" fmla="*/ 691837 h 1285875"/>
                    <a:gd name="connsiteX1529" fmla="*/ 592227 w 833102"/>
                    <a:gd name="connsiteY1529" fmla="*/ 699081 h 1285875"/>
                    <a:gd name="connsiteX1530" fmla="*/ 594038 w 833102"/>
                    <a:gd name="connsiteY1530" fmla="*/ 709344 h 1285875"/>
                    <a:gd name="connsiteX1531" fmla="*/ 591623 w 833102"/>
                    <a:gd name="connsiteY1531" fmla="*/ 709948 h 1285875"/>
                    <a:gd name="connsiteX1532" fmla="*/ 591623 w 833102"/>
                    <a:gd name="connsiteY1532" fmla="*/ 714778 h 1285875"/>
                    <a:gd name="connsiteX1533" fmla="*/ 597660 w 833102"/>
                    <a:gd name="connsiteY1533" fmla="*/ 714778 h 1285875"/>
                    <a:gd name="connsiteX1534" fmla="*/ 597056 w 833102"/>
                    <a:gd name="connsiteY1534" fmla="*/ 721418 h 1285875"/>
                    <a:gd name="connsiteX1535" fmla="*/ 599471 w 833102"/>
                    <a:gd name="connsiteY1535" fmla="*/ 723833 h 1285875"/>
                    <a:gd name="connsiteX1536" fmla="*/ 600075 w 833102"/>
                    <a:gd name="connsiteY1536" fmla="*/ 733492 h 1285875"/>
                    <a:gd name="connsiteX1537" fmla="*/ 604301 w 833102"/>
                    <a:gd name="connsiteY1537" fmla="*/ 734700 h 1285875"/>
                    <a:gd name="connsiteX1538" fmla="*/ 606716 w 833102"/>
                    <a:gd name="connsiteY1538" fmla="*/ 739529 h 1285875"/>
                    <a:gd name="connsiteX1539" fmla="*/ 600679 w 833102"/>
                    <a:gd name="connsiteY1539" fmla="*/ 740133 h 1285875"/>
                    <a:gd name="connsiteX1540" fmla="*/ 599471 w 833102"/>
                    <a:gd name="connsiteY1540" fmla="*/ 745566 h 1285875"/>
                    <a:gd name="connsiteX1541" fmla="*/ 600679 w 833102"/>
                    <a:gd name="connsiteY1541" fmla="*/ 751603 h 1285875"/>
                    <a:gd name="connsiteX1542" fmla="*/ 598867 w 833102"/>
                    <a:gd name="connsiteY1542" fmla="*/ 755829 h 1285875"/>
                    <a:gd name="connsiteX1543" fmla="*/ 592830 w 833102"/>
                    <a:gd name="connsiteY1543" fmla="*/ 755829 h 1285875"/>
                    <a:gd name="connsiteX1544" fmla="*/ 592830 w 833102"/>
                    <a:gd name="connsiteY1544" fmla="*/ 759451 h 1285875"/>
                    <a:gd name="connsiteX1545" fmla="*/ 585586 w 833102"/>
                    <a:gd name="connsiteY1545" fmla="*/ 762469 h 1285875"/>
                    <a:gd name="connsiteX1546" fmla="*/ 584982 w 833102"/>
                    <a:gd name="connsiteY1546" fmla="*/ 765488 h 1285875"/>
                    <a:gd name="connsiteX1547" fmla="*/ 578342 w 833102"/>
                    <a:gd name="connsiteY1547" fmla="*/ 767903 h 1285875"/>
                    <a:gd name="connsiteX1548" fmla="*/ 575927 w 833102"/>
                    <a:gd name="connsiteY1548" fmla="*/ 764884 h 1285875"/>
                    <a:gd name="connsiteX1549" fmla="*/ 566871 w 833102"/>
                    <a:gd name="connsiteY1549" fmla="*/ 767903 h 1285875"/>
                    <a:gd name="connsiteX1550" fmla="*/ 571701 w 833102"/>
                    <a:gd name="connsiteY1550" fmla="*/ 777562 h 1285875"/>
                    <a:gd name="connsiteX1551" fmla="*/ 567475 w 833102"/>
                    <a:gd name="connsiteY1551" fmla="*/ 784203 h 1285875"/>
                    <a:gd name="connsiteX1552" fmla="*/ 563249 w 833102"/>
                    <a:gd name="connsiteY1552" fmla="*/ 786014 h 1285875"/>
                    <a:gd name="connsiteX1553" fmla="*/ 567475 w 833102"/>
                    <a:gd name="connsiteY1553" fmla="*/ 789636 h 1285875"/>
                    <a:gd name="connsiteX1554" fmla="*/ 566268 w 833102"/>
                    <a:gd name="connsiteY1554" fmla="*/ 795673 h 1285875"/>
                    <a:gd name="connsiteX1555" fmla="*/ 564457 w 833102"/>
                    <a:gd name="connsiteY1555" fmla="*/ 800502 h 1285875"/>
                    <a:gd name="connsiteX1556" fmla="*/ 566268 w 833102"/>
                    <a:gd name="connsiteY1556" fmla="*/ 810765 h 1285875"/>
                    <a:gd name="connsiteX1557" fmla="*/ 563853 w 833102"/>
                    <a:gd name="connsiteY1557" fmla="*/ 816199 h 1285875"/>
                    <a:gd name="connsiteX1558" fmla="*/ 569890 w 833102"/>
                    <a:gd name="connsiteY1558" fmla="*/ 820425 h 1285875"/>
                    <a:gd name="connsiteX1559" fmla="*/ 568682 w 833102"/>
                    <a:gd name="connsiteY1559" fmla="*/ 826462 h 1285875"/>
                    <a:gd name="connsiteX1560" fmla="*/ 580756 w 833102"/>
                    <a:gd name="connsiteY1560" fmla="*/ 824650 h 1285875"/>
                    <a:gd name="connsiteX1561" fmla="*/ 584379 w 833102"/>
                    <a:gd name="connsiteY1561" fmla="*/ 837932 h 1285875"/>
                    <a:gd name="connsiteX1562" fmla="*/ 589208 w 833102"/>
                    <a:gd name="connsiteY1562" fmla="*/ 840347 h 1285875"/>
                    <a:gd name="connsiteX1563" fmla="*/ 591019 w 833102"/>
                    <a:gd name="connsiteY1563" fmla="*/ 845176 h 1285875"/>
                    <a:gd name="connsiteX1564" fmla="*/ 595849 w 833102"/>
                    <a:gd name="connsiteY1564" fmla="*/ 847591 h 1285875"/>
                    <a:gd name="connsiteX1565" fmla="*/ 601282 w 833102"/>
                    <a:gd name="connsiteY1565" fmla="*/ 853628 h 1285875"/>
                    <a:gd name="connsiteX1566" fmla="*/ 608527 w 833102"/>
                    <a:gd name="connsiteY1566" fmla="*/ 849402 h 1285875"/>
                    <a:gd name="connsiteX1567" fmla="*/ 612149 w 833102"/>
                    <a:gd name="connsiteY1567" fmla="*/ 850006 h 1285875"/>
                    <a:gd name="connsiteX1568" fmla="*/ 612753 w 833102"/>
                    <a:gd name="connsiteY1568" fmla="*/ 853628 h 1285875"/>
                    <a:gd name="connsiteX1569" fmla="*/ 610338 w 833102"/>
                    <a:gd name="connsiteY1569" fmla="*/ 857250 h 1285875"/>
                    <a:gd name="connsiteX1570" fmla="*/ 610941 w 833102"/>
                    <a:gd name="connsiteY1570" fmla="*/ 862683 h 1285875"/>
                    <a:gd name="connsiteX1571" fmla="*/ 605508 w 833102"/>
                    <a:gd name="connsiteY1571" fmla="*/ 862080 h 1285875"/>
                    <a:gd name="connsiteX1572" fmla="*/ 603093 w 833102"/>
                    <a:gd name="connsiteY1572" fmla="*/ 874153 h 1285875"/>
                    <a:gd name="connsiteX1573" fmla="*/ 604904 w 833102"/>
                    <a:gd name="connsiteY1573" fmla="*/ 878983 h 1285875"/>
                    <a:gd name="connsiteX1574" fmla="*/ 599471 w 833102"/>
                    <a:gd name="connsiteY1574" fmla="*/ 883209 h 1285875"/>
                    <a:gd name="connsiteX1575" fmla="*/ 599471 w 833102"/>
                    <a:gd name="connsiteY1575" fmla="*/ 887435 h 1285875"/>
                    <a:gd name="connsiteX1576" fmla="*/ 601886 w 833102"/>
                    <a:gd name="connsiteY1576" fmla="*/ 889850 h 1285875"/>
                    <a:gd name="connsiteX1577" fmla="*/ 591623 w 833102"/>
                    <a:gd name="connsiteY1577" fmla="*/ 895887 h 1285875"/>
                    <a:gd name="connsiteX1578" fmla="*/ 597056 w 833102"/>
                    <a:gd name="connsiteY1578" fmla="*/ 900716 h 1285875"/>
                    <a:gd name="connsiteX1579" fmla="*/ 596453 w 833102"/>
                    <a:gd name="connsiteY1579" fmla="*/ 904942 h 1285875"/>
                    <a:gd name="connsiteX1580" fmla="*/ 601886 w 833102"/>
                    <a:gd name="connsiteY1580" fmla="*/ 907961 h 1285875"/>
                    <a:gd name="connsiteX1581" fmla="*/ 606716 w 833102"/>
                    <a:gd name="connsiteY1581" fmla="*/ 907961 h 1285875"/>
                    <a:gd name="connsiteX1582" fmla="*/ 609734 w 833102"/>
                    <a:gd name="connsiteY1582" fmla="*/ 912790 h 1285875"/>
                    <a:gd name="connsiteX1583" fmla="*/ 615771 w 833102"/>
                    <a:gd name="connsiteY1583" fmla="*/ 912790 h 1285875"/>
                    <a:gd name="connsiteX1584" fmla="*/ 614564 w 833102"/>
                    <a:gd name="connsiteY1584" fmla="*/ 905546 h 1285875"/>
                    <a:gd name="connsiteX1585" fmla="*/ 619393 w 833102"/>
                    <a:gd name="connsiteY1585" fmla="*/ 906753 h 1285875"/>
                    <a:gd name="connsiteX1586" fmla="*/ 623619 w 833102"/>
                    <a:gd name="connsiteY1586" fmla="*/ 910979 h 1285875"/>
                    <a:gd name="connsiteX1587" fmla="*/ 636297 w 833102"/>
                    <a:gd name="connsiteY1587" fmla="*/ 909772 h 1285875"/>
                    <a:gd name="connsiteX1588" fmla="*/ 639919 w 833102"/>
                    <a:gd name="connsiteY1588" fmla="*/ 913998 h 1285875"/>
                    <a:gd name="connsiteX1589" fmla="*/ 644145 w 833102"/>
                    <a:gd name="connsiteY1589" fmla="*/ 915809 h 1285875"/>
                    <a:gd name="connsiteX1590" fmla="*/ 649578 w 833102"/>
                    <a:gd name="connsiteY1590" fmla="*/ 911583 h 1285875"/>
                    <a:gd name="connsiteX1591" fmla="*/ 651993 w 833102"/>
                    <a:gd name="connsiteY1591" fmla="*/ 912790 h 1285875"/>
                    <a:gd name="connsiteX1592" fmla="*/ 650182 w 833102"/>
                    <a:gd name="connsiteY1592" fmla="*/ 918827 h 1285875"/>
                    <a:gd name="connsiteX1593" fmla="*/ 645956 w 833102"/>
                    <a:gd name="connsiteY1593" fmla="*/ 918827 h 1285875"/>
                    <a:gd name="connsiteX1594" fmla="*/ 641126 w 833102"/>
                    <a:gd name="connsiteY1594" fmla="*/ 923657 h 1285875"/>
                    <a:gd name="connsiteX1595" fmla="*/ 639919 w 833102"/>
                    <a:gd name="connsiteY1595" fmla="*/ 930297 h 1285875"/>
                    <a:gd name="connsiteX1596" fmla="*/ 635089 w 833102"/>
                    <a:gd name="connsiteY1596" fmla="*/ 933920 h 1285875"/>
                    <a:gd name="connsiteX1597" fmla="*/ 632675 w 833102"/>
                    <a:gd name="connsiteY1597" fmla="*/ 937542 h 1285875"/>
                    <a:gd name="connsiteX1598" fmla="*/ 627241 w 833102"/>
                    <a:gd name="connsiteY1598" fmla="*/ 939957 h 1285875"/>
                    <a:gd name="connsiteX1599" fmla="*/ 626638 w 833102"/>
                    <a:gd name="connsiteY1599" fmla="*/ 945994 h 1285875"/>
                    <a:gd name="connsiteX1600" fmla="*/ 629052 w 833102"/>
                    <a:gd name="connsiteY1600" fmla="*/ 955049 h 1285875"/>
                    <a:gd name="connsiteX1601" fmla="*/ 627845 w 833102"/>
                    <a:gd name="connsiteY1601" fmla="*/ 957464 h 1285875"/>
                    <a:gd name="connsiteX1602" fmla="*/ 627241 w 833102"/>
                    <a:gd name="connsiteY1602" fmla="*/ 968330 h 1285875"/>
                    <a:gd name="connsiteX1603" fmla="*/ 625430 w 833102"/>
                    <a:gd name="connsiteY1603" fmla="*/ 971349 h 1285875"/>
                    <a:gd name="connsiteX1604" fmla="*/ 632675 w 833102"/>
                    <a:gd name="connsiteY1604" fmla="*/ 972556 h 1285875"/>
                    <a:gd name="connsiteX1605" fmla="*/ 632675 w 833102"/>
                    <a:gd name="connsiteY1605" fmla="*/ 977989 h 1285875"/>
                    <a:gd name="connsiteX1606" fmla="*/ 636297 w 833102"/>
                    <a:gd name="connsiteY1606" fmla="*/ 979800 h 1285875"/>
                    <a:gd name="connsiteX1607" fmla="*/ 633882 w 833102"/>
                    <a:gd name="connsiteY1607" fmla="*/ 982819 h 1285875"/>
                    <a:gd name="connsiteX1608" fmla="*/ 635089 w 833102"/>
                    <a:gd name="connsiteY1608" fmla="*/ 988856 h 1285875"/>
                    <a:gd name="connsiteX1609" fmla="*/ 639919 w 833102"/>
                    <a:gd name="connsiteY1609" fmla="*/ 990667 h 1285875"/>
                    <a:gd name="connsiteX1610" fmla="*/ 642938 w 833102"/>
                    <a:gd name="connsiteY1610" fmla="*/ 988856 h 1285875"/>
                    <a:gd name="connsiteX1611" fmla="*/ 647163 w 833102"/>
                    <a:gd name="connsiteY1611" fmla="*/ 996704 h 1285875"/>
                    <a:gd name="connsiteX1612" fmla="*/ 645352 w 833102"/>
                    <a:gd name="connsiteY1612" fmla="*/ 1007571 h 1285875"/>
                    <a:gd name="connsiteX1613" fmla="*/ 641730 w 833102"/>
                    <a:gd name="connsiteY1613" fmla="*/ 1008778 h 1285875"/>
                    <a:gd name="connsiteX1614" fmla="*/ 637504 w 833102"/>
                    <a:gd name="connsiteY1614" fmla="*/ 1013608 h 1285875"/>
                    <a:gd name="connsiteX1615" fmla="*/ 637504 w 833102"/>
                    <a:gd name="connsiteY1615" fmla="*/ 1020852 h 1285875"/>
                    <a:gd name="connsiteX1616" fmla="*/ 641730 w 833102"/>
                    <a:gd name="connsiteY1616" fmla="*/ 1026285 h 1285875"/>
                    <a:gd name="connsiteX1617" fmla="*/ 645352 w 833102"/>
                    <a:gd name="connsiteY1617" fmla="*/ 1030511 h 1285875"/>
                    <a:gd name="connsiteX1618" fmla="*/ 642938 w 833102"/>
                    <a:gd name="connsiteY1618" fmla="*/ 1037152 h 1285875"/>
                    <a:gd name="connsiteX1619" fmla="*/ 639919 w 833102"/>
                    <a:gd name="connsiteY1619" fmla="*/ 1041378 h 1285875"/>
                    <a:gd name="connsiteX1620" fmla="*/ 639919 w 833102"/>
                    <a:gd name="connsiteY1620" fmla="*/ 1046207 h 1285875"/>
                    <a:gd name="connsiteX1621" fmla="*/ 645352 w 833102"/>
                    <a:gd name="connsiteY1621" fmla="*/ 1048622 h 1285875"/>
                    <a:gd name="connsiteX1622" fmla="*/ 641126 w 833102"/>
                    <a:gd name="connsiteY1622" fmla="*/ 1052244 h 1285875"/>
                    <a:gd name="connsiteX1623" fmla="*/ 641126 w 833102"/>
                    <a:gd name="connsiteY1623" fmla="*/ 1057074 h 1285875"/>
                    <a:gd name="connsiteX1624" fmla="*/ 632675 w 833102"/>
                    <a:gd name="connsiteY1624" fmla="*/ 1058885 h 1285875"/>
                    <a:gd name="connsiteX1625" fmla="*/ 629052 w 833102"/>
                    <a:gd name="connsiteY1625" fmla="*/ 1063111 h 1285875"/>
                    <a:gd name="connsiteX1626" fmla="*/ 627241 w 833102"/>
                    <a:gd name="connsiteY1626" fmla="*/ 1063111 h 1285875"/>
                    <a:gd name="connsiteX1627" fmla="*/ 624223 w 833102"/>
                    <a:gd name="connsiteY1627" fmla="*/ 1070355 h 1285875"/>
                    <a:gd name="connsiteX1628" fmla="*/ 624827 w 833102"/>
                    <a:gd name="connsiteY1628" fmla="*/ 1073374 h 1285875"/>
                    <a:gd name="connsiteX1629" fmla="*/ 623619 w 833102"/>
                    <a:gd name="connsiteY1629" fmla="*/ 1087862 h 1285875"/>
                    <a:gd name="connsiteX1630" fmla="*/ 619997 w 833102"/>
                    <a:gd name="connsiteY1630" fmla="*/ 1087259 h 1285875"/>
                    <a:gd name="connsiteX1631" fmla="*/ 615771 w 833102"/>
                    <a:gd name="connsiteY1631" fmla="*/ 1083033 h 1285875"/>
                    <a:gd name="connsiteX1632" fmla="*/ 615167 w 833102"/>
                    <a:gd name="connsiteY1632" fmla="*/ 1076996 h 1285875"/>
                    <a:gd name="connsiteX1633" fmla="*/ 612149 w 833102"/>
                    <a:gd name="connsiteY1633" fmla="*/ 1073977 h 1285875"/>
                    <a:gd name="connsiteX1634" fmla="*/ 609734 w 833102"/>
                    <a:gd name="connsiteY1634" fmla="*/ 1072166 h 1285875"/>
                    <a:gd name="connsiteX1635" fmla="*/ 606716 w 833102"/>
                    <a:gd name="connsiteY1635" fmla="*/ 1070355 h 1285875"/>
                    <a:gd name="connsiteX1636" fmla="*/ 603093 w 833102"/>
                    <a:gd name="connsiteY1636" fmla="*/ 1069148 h 1285875"/>
                    <a:gd name="connsiteX1637" fmla="*/ 600679 w 833102"/>
                    <a:gd name="connsiteY1637" fmla="*/ 1069752 h 1285875"/>
                    <a:gd name="connsiteX1638" fmla="*/ 598867 w 833102"/>
                    <a:gd name="connsiteY1638" fmla="*/ 1070355 h 1285875"/>
                    <a:gd name="connsiteX1639" fmla="*/ 597660 w 833102"/>
                    <a:gd name="connsiteY1639" fmla="*/ 1069148 h 1285875"/>
                    <a:gd name="connsiteX1640" fmla="*/ 595849 w 833102"/>
                    <a:gd name="connsiteY1640" fmla="*/ 1068544 h 1285875"/>
                    <a:gd name="connsiteX1641" fmla="*/ 598867 w 833102"/>
                    <a:gd name="connsiteY1641" fmla="*/ 1070959 h 1285875"/>
                    <a:gd name="connsiteX1642" fmla="*/ 601282 w 833102"/>
                    <a:gd name="connsiteY1642" fmla="*/ 1069752 h 1285875"/>
                    <a:gd name="connsiteX1643" fmla="*/ 603697 w 833102"/>
                    <a:gd name="connsiteY1643" fmla="*/ 1069752 h 1285875"/>
                    <a:gd name="connsiteX1644" fmla="*/ 606716 w 833102"/>
                    <a:gd name="connsiteY1644" fmla="*/ 1070959 h 1285875"/>
                    <a:gd name="connsiteX1645" fmla="*/ 608527 w 833102"/>
                    <a:gd name="connsiteY1645" fmla="*/ 1072166 h 1285875"/>
                    <a:gd name="connsiteX1646" fmla="*/ 608527 w 833102"/>
                    <a:gd name="connsiteY1646" fmla="*/ 1074581 h 1285875"/>
                    <a:gd name="connsiteX1647" fmla="*/ 610941 w 833102"/>
                    <a:gd name="connsiteY1647" fmla="*/ 1076996 h 1285875"/>
                    <a:gd name="connsiteX1648" fmla="*/ 609130 w 833102"/>
                    <a:gd name="connsiteY1648" fmla="*/ 1072770 h 1285875"/>
                    <a:gd name="connsiteX1649" fmla="*/ 610941 w 833102"/>
                    <a:gd name="connsiteY1649" fmla="*/ 1073374 h 1285875"/>
                    <a:gd name="connsiteX1650" fmla="*/ 612753 w 833102"/>
                    <a:gd name="connsiteY1650" fmla="*/ 1076392 h 1285875"/>
                    <a:gd name="connsiteX1651" fmla="*/ 614564 w 833102"/>
                    <a:gd name="connsiteY1651" fmla="*/ 1076996 h 1285875"/>
                    <a:gd name="connsiteX1652" fmla="*/ 612753 w 833102"/>
                    <a:gd name="connsiteY1652" fmla="*/ 1081825 h 1285875"/>
                    <a:gd name="connsiteX1653" fmla="*/ 611545 w 833102"/>
                    <a:gd name="connsiteY1653" fmla="*/ 1078203 h 1285875"/>
                    <a:gd name="connsiteX1654" fmla="*/ 613356 w 833102"/>
                    <a:gd name="connsiteY1654" fmla="*/ 1085448 h 1285875"/>
                    <a:gd name="connsiteX1655" fmla="*/ 616978 w 833102"/>
                    <a:gd name="connsiteY1655" fmla="*/ 1088466 h 1285875"/>
                    <a:gd name="connsiteX1656" fmla="*/ 623015 w 833102"/>
                    <a:gd name="connsiteY1656" fmla="*/ 1088466 h 1285875"/>
                    <a:gd name="connsiteX1657" fmla="*/ 624223 w 833102"/>
                    <a:gd name="connsiteY1657" fmla="*/ 1093899 h 1285875"/>
                    <a:gd name="connsiteX1658" fmla="*/ 623015 w 833102"/>
                    <a:gd name="connsiteY1658" fmla="*/ 1103558 h 1285875"/>
                    <a:gd name="connsiteX1659" fmla="*/ 627241 w 833102"/>
                    <a:gd name="connsiteY1659" fmla="*/ 1104766 h 1285875"/>
                    <a:gd name="connsiteX1660" fmla="*/ 631467 w 833102"/>
                    <a:gd name="connsiteY1660" fmla="*/ 1108388 h 1285875"/>
                    <a:gd name="connsiteX1661" fmla="*/ 635693 w 833102"/>
                    <a:gd name="connsiteY1661" fmla="*/ 1115029 h 1285875"/>
                    <a:gd name="connsiteX1662" fmla="*/ 641126 w 833102"/>
                    <a:gd name="connsiteY1662" fmla="*/ 1118047 h 1285875"/>
                    <a:gd name="connsiteX1663" fmla="*/ 639315 w 833102"/>
                    <a:gd name="connsiteY1663" fmla="*/ 1125895 h 1285875"/>
                    <a:gd name="connsiteX1664" fmla="*/ 644145 w 833102"/>
                    <a:gd name="connsiteY1664" fmla="*/ 1130725 h 1285875"/>
                    <a:gd name="connsiteX1665" fmla="*/ 644749 w 833102"/>
                    <a:gd name="connsiteY1665" fmla="*/ 1134347 h 1285875"/>
                    <a:gd name="connsiteX1666" fmla="*/ 638712 w 833102"/>
                    <a:gd name="connsiteY1666" fmla="*/ 1133743 h 1285875"/>
                    <a:gd name="connsiteX1667" fmla="*/ 637504 w 833102"/>
                    <a:gd name="connsiteY1667" fmla="*/ 1132536 h 1285875"/>
                    <a:gd name="connsiteX1668" fmla="*/ 636901 w 833102"/>
                    <a:gd name="connsiteY1668" fmla="*/ 1134347 h 1285875"/>
                    <a:gd name="connsiteX1669" fmla="*/ 633882 w 833102"/>
                    <a:gd name="connsiteY1669" fmla="*/ 1145214 h 1285875"/>
                    <a:gd name="connsiteX1670" fmla="*/ 627845 w 833102"/>
                    <a:gd name="connsiteY1670" fmla="*/ 1146421 h 1285875"/>
                    <a:gd name="connsiteX1671" fmla="*/ 626638 w 833102"/>
                    <a:gd name="connsiteY1671" fmla="*/ 1140988 h 1285875"/>
                    <a:gd name="connsiteX1672" fmla="*/ 624827 w 833102"/>
                    <a:gd name="connsiteY1672" fmla="*/ 1138573 h 1285875"/>
                    <a:gd name="connsiteX1673" fmla="*/ 624223 w 833102"/>
                    <a:gd name="connsiteY1673" fmla="*/ 1138573 h 1285875"/>
                    <a:gd name="connsiteX1674" fmla="*/ 623015 w 833102"/>
                    <a:gd name="connsiteY1674" fmla="*/ 1139780 h 1285875"/>
                    <a:gd name="connsiteX1675" fmla="*/ 620601 w 833102"/>
                    <a:gd name="connsiteY1675" fmla="*/ 1138573 h 1285875"/>
                    <a:gd name="connsiteX1676" fmla="*/ 613960 w 833102"/>
                    <a:gd name="connsiteY1676" fmla="*/ 1137969 h 1285875"/>
                    <a:gd name="connsiteX1677" fmla="*/ 613960 w 833102"/>
                    <a:gd name="connsiteY1677" fmla="*/ 1134951 h 1285875"/>
                    <a:gd name="connsiteX1678" fmla="*/ 618186 w 833102"/>
                    <a:gd name="connsiteY1678" fmla="*/ 1131329 h 1285875"/>
                    <a:gd name="connsiteX1679" fmla="*/ 618186 w 833102"/>
                    <a:gd name="connsiteY1679" fmla="*/ 1130725 h 1285875"/>
                    <a:gd name="connsiteX1680" fmla="*/ 612753 w 833102"/>
                    <a:gd name="connsiteY1680" fmla="*/ 1133743 h 1285875"/>
                    <a:gd name="connsiteX1681" fmla="*/ 613960 w 833102"/>
                    <a:gd name="connsiteY1681" fmla="*/ 1137969 h 1285875"/>
                    <a:gd name="connsiteX1682" fmla="*/ 618186 w 833102"/>
                    <a:gd name="connsiteY1682" fmla="*/ 1140988 h 1285875"/>
                    <a:gd name="connsiteX1683" fmla="*/ 615771 w 833102"/>
                    <a:gd name="connsiteY1683" fmla="*/ 1144006 h 1285875"/>
                    <a:gd name="connsiteX1684" fmla="*/ 610338 w 833102"/>
                    <a:gd name="connsiteY1684" fmla="*/ 1144610 h 1285875"/>
                    <a:gd name="connsiteX1685" fmla="*/ 605508 w 833102"/>
                    <a:gd name="connsiteY1685" fmla="*/ 1140988 h 1285875"/>
                    <a:gd name="connsiteX1686" fmla="*/ 601886 w 833102"/>
                    <a:gd name="connsiteY1686" fmla="*/ 1140384 h 1285875"/>
                    <a:gd name="connsiteX1687" fmla="*/ 603093 w 833102"/>
                    <a:gd name="connsiteY1687" fmla="*/ 1133140 h 1285875"/>
                    <a:gd name="connsiteX1688" fmla="*/ 607319 w 833102"/>
                    <a:gd name="connsiteY1688" fmla="*/ 1128914 h 1285875"/>
                    <a:gd name="connsiteX1689" fmla="*/ 609734 w 833102"/>
                    <a:gd name="connsiteY1689" fmla="*/ 1127103 h 1285875"/>
                    <a:gd name="connsiteX1690" fmla="*/ 610941 w 833102"/>
                    <a:gd name="connsiteY1690" fmla="*/ 1127103 h 1285875"/>
                    <a:gd name="connsiteX1691" fmla="*/ 611545 w 833102"/>
                    <a:gd name="connsiteY1691" fmla="*/ 1126499 h 1285875"/>
                    <a:gd name="connsiteX1692" fmla="*/ 611545 w 833102"/>
                    <a:gd name="connsiteY1692" fmla="*/ 1124688 h 1285875"/>
                    <a:gd name="connsiteX1693" fmla="*/ 610941 w 833102"/>
                    <a:gd name="connsiteY1693" fmla="*/ 1126499 h 1285875"/>
                    <a:gd name="connsiteX1694" fmla="*/ 609734 w 833102"/>
                    <a:gd name="connsiteY1694" fmla="*/ 1127103 h 1285875"/>
                    <a:gd name="connsiteX1695" fmla="*/ 606716 w 833102"/>
                    <a:gd name="connsiteY1695" fmla="*/ 1128310 h 1285875"/>
                    <a:gd name="connsiteX1696" fmla="*/ 601282 w 833102"/>
                    <a:gd name="connsiteY1696" fmla="*/ 1133743 h 1285875"/>
                    <a:gd name="connsiteX1697" fmla="*/ 602490 w 833102"/>
                    <a:gd name="connsiteY1697" fmla="*/ 1135554 h 1285875"/>
                    <a:gd name="connsiteX1698" fmla="*/ 598867 w 833102"/>
                    <a:gd name="connsiteY1698" fmla="*/ 1140988 h 1285875"/>
                    <a:gd name="connsiteX1699" fmla="*/ 592227 w 833102"/>
                    <a:gd name="connsiteY1699" fmla="*/ 1137969 h 1285875"/>
                    <a:gd name="connsiteX1700" fmla="*/ 591019 w 833102"/>
                    <a:gd name="connsiteY1700" fmla="*/ 1137969 h 1285875"/>
                    <a:gd name="connsiteX1701" fmla="*/ 598867 w 833102"/>
                    <a:gd name="connsiteY1701" fmla="*/ 1141591 h 1285875"/>
                    <a:gd name="connsiteX1702" fmla="*/ 605508 w 833102"/>
                    <a:gd name="connsiteY1702" fmla="*/ 1141591 h 1285875"/>
                    <a:gd name="connsiteX1703" fmla="*/ 606112 w 833102"/>
                    <a:gd name="connsiteY1703" fmla="*/ 1144610 h 1285875"/>
                    <a:gd name="connsiteX1704" fmla="*/ 610338 w 833102"/>
                    <a:gd name="connsiteY1704" fmla="*/ 1147025 h 1285875"/>
                    <a:gd name="connsiteX1705" fmla="*/ 606112 w 833102"/>
                    <a:gd name="connsiteY1705" fmla="*/ 1151854 h 1285875"/>
                    <a:gd name="connsiteX1706" fmla="*/ 599471 w 833102"/>
                    <a:gd name="connsiteY1706" fmla="*/ 1154873 h 1285875"/>
                    <a:gd name="connsiteX1707" fmla="*/ 597056 w 833102"/>
                    <a:gd name="connsiteY1707" fmla="*/ 1159099 h 1285875"/>
                    <a:gd name="connsiteX1708" fmla="*/ 589812 w 833102"/>
                    <a:gd name="connsiteY1708" fmla="*/ 1164532 h 1285875"/>
                    <a:gd name="connsiteX1709" fmla="*/ 589812 w 833102"/>
                    <a:gd name="connsiteY1709" fmla="*/ 1171173 h 1285875"/>
                    <a:gd name="connsiteX1710" fmla="*/ 598264 w 833102"/>
                    <a:gd name="connsiteY1710" fmla="*/ 1176002 h 1285875"/>
                    <a:gd name="connsiteX1711" fmla="*/ 600679 w 833102"/>
                    <a:gd name="connsiteY1711" fmla="*/ 1180228 h 1285875"/>
                    <a:gd name="connsiteX1712" fmla="*/ 596453 w 833102"/>
                    <a:gd name="connsiteY1712" fmla="*/ 1183247 h 1285875"/>
                    <a:gd name="connsiteX1713" fmla="*/ 592830 w 833102"/>
                    <a:gd name="connsiteY1713" fmla="*/ 1182643 h 1285875"/>
                    <a:gd name="connsiteX1714" fmla="*/ 584379 w 833102"/>
                    <a:gd name="connsiteY1714" fmla="*/ 1179021 h 1285875"/>
                    <a:gd name="connsiteX1715" fmla="*/ 584379 w 833102"/>
                    <a:gd name="connsiteY1715" fmla="*/ 1172984 h 1285875"/>
                    <a:gd name="connsiteX1716" fmla="*/ 582568 w 833102"/>
                    <a:gd name="connsiteY1716" fmla="*/ 1166343 h 1285875"/>
                    <a:gd name="connsiteX1717" fmla="*/ 578342 w 833102"/>
                    <a:gd name="connsiteY1717" fmla="*/ 1160910 h 1285875"/>
                    <a:gd name="connsiteX1718" fmla="*/ 582568 w 833102"/>
                    <a:gd name="connsiteY1718" fmla="*/ 1148232 h 1285875"/>
                    <a:gd name="connsiteX1719" fmla="*/ 587397 w 833102"/>
                    <a:gd name="connsiteY1719" fmla="*/ 1143403 h 1285875"/>
                    <a:gd name="connsiteX1720" fmla="*/ 591019 w 833102"/>
                    <a:gd name="connsiteY1720" fmla="*/ 1137969 h 1285875"/>
                    <a:gd name="connsiteX1721" fmla="*/ 586793 w 833102"/>
                    <a:gd name="connsiteY1721" fmla="*/ 1138573 h 1285875"/>
                    <a:gd name="connsiteX1722" fmla="*/ 584982 w 833102"/>
                    <a:gd name="connsiteY1722" fmla="*/ 1143403 h 1285875"/>
                    <a:gd name="connsiteX1723" fmla="*/ 579549 w 833102"/>
                    <a:gd name="connsiteY1723" fmla="*/ 1150043 h 1285875"/>
                    <a:gd name="connsiteX1724" fmla="*/ 580153 w 833102"/>
                    <a:gd name="connsiteY1724" fmla="*/ 1152458 h 1285875"/>
                    <a:gd name="connsiteX1725" fmla="*/ 577134 w 833102"/>
                    <a:gd name="connsiteY1725" fmla="*/ 1155477 h 1285875"/>
                    <a:gd name="connsiteX1726" fmla="*/ 575323 w 833102"/>
                    <a:gd name="connsiteY1726" fmla="*/ 1160910 h 1285875"/>
                    <a:gd name="connsiteX1727" fmla="*/ 577134 w 833102"/>
                    <a:gd name="connsiteY1727" fmla="*/ 1171776 h 1285875"/>
                    <a:gd name="connsiteX1728" fmla="*/ 578945 w 833102"/>
                    <a:gd name="connsiteY1728" fmla="*/ 1174795 h 1285875"/>
                    <a:gd name="connsiteX1729" fmla="*/ 574719 w 833102"/>
                    <a:gd name="connsiteY1729" fmla="*/ 1180228 h 1285875"/>
                    <a:gd name="connsiteX1730" fmla="*/ 571097 w 833102"/>
                    <a:gd name="connsiteY1730" fmla="*/ 1191698 h 1285875"/>
                    <a:gd name="connsiteX1731" fmla="*/ 574719 w 833102"/>
                    <a:gd name="connsiteY1731" fmla="*/ 1198339 h 1285875"/>
                    <a:gd name="connsiteX1732" fmla="*/ 572305 w 833102"/>
                    <a:gd name="connsiteY1732" fmla="*/ 1204979 h 1285875"/>
                    <a:gd name="connsiteX1733" fmla="*/ 566871 w 833102"/>
                    <a:gd name="connsiteY1733" fmla="*/ 1209205 h 1285875"/>
                    <a:gd name="connsiteX1734" fmla="*/ 565664 w 833102"/>
                    <a:gd name="connsiteY1734" fmla="*/ 1205583 h 1285875"/>
                    <a:gd name="connsiteX1735" fmla="*/ 563853 w 833102"/>
                    <a:gd name="connsiteY1735" fmla="*/ 1206791 h 1285875"/>
                    <a:gd name="connsiteX1736" fmla="*/ 561438 w 833102"/>
                    <a:gd name="connsiteY1736" fmla="*/ 1206187 h 1285875"/>
                    <a:gd name="connsiteX1737" fmla="*/ 563853 w 833102"/>
                    <a:gd name="connsiteY1737" fmla="*/ 1207394 h 1285875"/>
                    <a:gd name="connsiteX1738" fmla="*/ 566871 w 833102"/>
                    <a:gd name="connsiteY1738" fmla="*/ 1210413 h 1285875"/>
                    <a:gd name="connsiteX1739" fmla="*/ 563853 w 833102"/>
                    <a:gd name="connsiteY1739" fmla="*/ 1221883 h 1285875"/>
                    <a:gd name="connsiteX1740" fmla="*/ 560231 w 833102"/>
                    <a:gd name="connsiteY1740" fmla="*/ 1223090 h 1285875"/>
                    <a:gd name="connsiteX1741" fmla="*/ 557212 w 833102"/>
                    <a:gd name="connsiteY1741" fmla="*/ 1218261 h 1285875"/>
                    <a:gd name="connsiteX1742" fmla="*/ 559023 w 833102"/>
                    <a:gd name="connsiteY1742" fmla="*/ 1213431 h 1285875"/>
                    <a:gd name="connsiteX1743" fmla="*/ 561438 w 833102"/>
                    <a:gd name="connsiteY1743" fmla="*/ 1211016 h 1285875"/>
                    <a:gd name="connsiteX1744" fmla="*/ 560835 w 833102"/>
                    <a:gd name="connsiteY1744" fmla="*/ 1205583 h 1285875"/>
                    <a:gd name="connsiteX1745" fmla="*/ 560231 w 833102"/>
                    <a:gd name="connsiteY1745" fmla="*/ 1205583 h 1285875"/>
                    <a:gd name="connsiteX1746" fmla="*/ 560835 w 833102"/>
                    <a:gd name="connsiteY1746" fmla="*/ 1210413 h 1285875"/>
                    <a:gd name="connsiteX1747" fmla="*/ 556609 w 833102"/>
                    <a:gd name="connsiteY1747" fmla="*/ 1217053 h 1285875"/>
                    <a:gd name="connsiteX1748" fmla="*/ 550572 w 833102"/>
                    <a:gd name="connsiteY1748" fmla="*/ 1212828 h 1285875"/>
                    <a:gd name="connsiteX1749" fmla="*/ 549968 w 833102"/>
                    <a:gd name="connsiteY1749" fmla="*/ 1209809 h 1285875"/>
                    <a:gd name="connsiteX1750" fmla="*/ 552987 w 833102"/>
                    <a:gd name="connsiteY1750" fmla="*/ 1205583 h 1285875"/>
                    <a:gd name="connsiteX1751" fmla="*/ 555401 w 833102"/>
                    <a:gd name="connsiteY1751" fmla="*/ 1203772 h 1285875"/>
                    <a:gd name="connsiteX1752" fmla="*/ 551176 w 833102"/>
                    <a:gd name="connsiteY1752" fmla="*/ 1203168 h 1285875"/>
                    <a:gd name="connsiteX1753" fmla="*/ 547553 w 833102"/>
                    <a:gd name="connsiteY1753" fmla="*/ 1204376 h 1285875"/>
                    <a:gd name="connsiteX1754" fmla="*/ 546346 w 833102"/>
                    <a:gd name="connsiteY1754" fmla="*/ 1206791 h 1285875"/>
                    <a:gd name="connsiteX1755" fmla="*/ 545742 w 833102"/>
                    <a:gd name="connsiteY1755" fmla="*/ 1207998 h 1285875"/>
                    <a:gd name="connsiteX1756" fmla="*/ 542120 w 833102"/>
                    <a:gd name="connsiteY1756" fmla="*/ 1207394 h 1285875"/>
                    <a:gd name="connsiteX1757" fmla="*/ 543328 w 833102"/>
                    <a:gd name="connsiteY1757" fmla="*/ 1202565 h 1285875"/>
                    <a:gd name="connsiteX1758" fmla="*/ 539102 w 833102"/>
                    <a:gd name="connsiteY1758" fmla="*/ 1204376 h 1285875"/>
                    <a:gd name="connsiteX1759" fmla="*/ 536687 w 833102"/>
                    <a:gd name="connsiteY1759" fmla="*/ 1206187 h 1285875"/>
                    <a:gd name="connsiteX1760" fmla="*/ 535479 w 833102"/>
                    <a:gd name="connsiteY1760" fmla="*/ 1204979 h 1285875"/>
                    <a:gd name="connsiteX1761" fmla="*/ 533668 w 833102"/>
                    <a:gd name="connsiteY1761" fmla="*/ 1206187 h 1285875"/>
                    <a:gd name="connsiteX1762" fmla="*/ 530046 w 833102"/>
                    <a:gd name="connsiteY1762" fmla="*/ 1209809 h 1285875"/>
                    <a:gd name="connsiteX1763" fmla="*/ 528839 w 833102"/>
                    <a:gd name="connsiteY1763" fmla="*/ 1217053 h 1285875"/>
                    <a:gd name="connsiteX1764" fmla="*/ 527631 w 833102"/>
                    <a:gd name="connsiteY1764" fmla="*/ 1220072 h 1285875"/>
                    <a:gd name="connsiteX1765" fmla="*/ 528839 w 833102"/>
                    <a:gd name="connsiteY1765" fmla="*/ 1227920 h 1285875"/>
                    <a:gd name="connsiteX1766" fmla="*/ 526424 w 833102"/>
                    <a:gd name="connsiteY1766" fmla="*/ 1230939 h 1285875"/>
                    <a:gd name="connsiteX1767" fmla="*/ 522802 w 833102"/>
                    <a:gd name="connsiteY1767" fmla="*/ 1229127 h 1285875"/>
                    <a:gd name="connsiteX1768" fmla="*/ 520991 w 833102"/>
                    <a:gd name="connsiteY1768" fmla="*/ 1224298 h 1285875"/>
                    <a:gd name="connsiteX1769" fmla="*/ 520991 w 833102"/>
                    <a:gd name="connsiteY1769" fmla="*/ 1216450 h 1285875"/>
                    <a:gd name="connsiteX1770" fmla="*/ 519180 w 833102"/>
                    <a:gd name="connsiteY1770" fmla="*/ 1215846 h 1285875"/>
                    <a:gd name="connsiteX1771" fmla="*/ 513746 w 833102"/>
                    <a:gd name="connsiteY1771" fmla="*/ 1215846 h 1285875"/>
                    <a:gd name="connsiteX1772" fmla="*/ 515557 w 833102"/>
                    <a:gd name="connsiteY1772" fmla="*/ 1215242 h 1285875"/>
                    <a:gd name="connsiteX1773" fmla="*/ 514954 w 833102"/>
                    <a:gd name="connsiteY1773" fmla="*/ 1215242 h 1285875"/>
                    <a:gd name="connsiteX1774" fmla="*/ 513746 w 833102"/>
                    <a:gd name="connsiteY1774" fmla="*/ 1215846 h 1285875"/>
                    <a:gd name="connsiteX1775" fmla="*/ 611545 w 833102"/>
                    <a:gd name="connsiteY1775" fmla="*/ 1122877 h 1285875"/>
                    <a:gd name="connsiteX1776" fmla="*/ 615167 w 833102"/>
                    <a:gd name="connsiteY1776" fmla="*/ 1121669 h 1285875"/>
                    <a:gd name="connsiteX1777" fmla="*/ 618186 w 833102"/>
                    <a:gd name="connsiteY1777" fmla="*/ 1125292 h 1285875"/>
                    <a:gd name="connsiteX1778" fmla="*/ 613960 w 833102"/>
                    <a:gd name="connsiteY1778" fmla="*/ 1118651 h 1285875"/>
                    <a:gd name="connsiteX1779" fmla="*/ 615167 w 833102"/>
                    <a:gd name="connsiteY1779" fmla="*/ 1114425 h 1285875"/>
                    <a:gd name="connsiteX1780" fmla="*/ 614564 w 833102"/>
                    <a:gd name="connsiteY1780" fmla="*/ 1110199 h 1285875"/>
                    <a:gd name="connsiteX1781" fmla="*/ 616375 w 833102"/>
                    <a:gd name="connsiteY1781" fmla="*/ 1104766 h 1285875"/>
                    <a:gd name="connsiteX1782" fmla="*/ 619393 w 833102"/>
                    <a:gd name="connsiteY1782" fmla="*/ 1104766 h 1285875"/>
                    <a:gd name="connsiteX1783" fmla="*/ 617582 w 833102"/>
                    <a:gd name="connsiteY1783" fmla="*/ 1104162 h 1285875"/>
                    <a:gd name="connsiteX1784" fmla="*/ 616375 w 833102"/>
                    <a:gd name="connsiteY1784" fmla="*/ 1104766 h 1285875"/>
                    <a:gd name="connsiteX1785" fmla="*/ 613356 w 833102"/>
                    <a:gd name="connsiteY1785" fmla="*/ 1111406 h 1285875"/>
                    <a:gd name="connsiteX1786" fmla="*/ 614564 w 833102"/>
                    <a:gd name="connsiteY1786" fmla="*/ 1113218 h 1285875"/>
                    <a:gd name="connsiteX1787" fmla="*/ 613356 w 833102"/>
                    <a:gd name="connsiteY1787" fmla="*/ 1118651 h 1285875"/>
                    <a:gd name="connsiteX1788" fmla="*/ 613960 w 833102"/>
                    <a:gd name="connsiteY1788" fmla="*/ 1121066 h 1285875"/>
                    <a:gd name="connsiteX1789" fmla="*/ 611545 w 833102"/>
                    <a:gd name="connsiteY1789" fmla="*/ 1122877 h 1285875"/>
                    <a:gd name="connsiteX1790" fmla="*/ 594642 w 833102"/>
                    <a:gd name="connsiteY1790" fmla="*/ 1067337 h 1285875"/>
                    <a:gd name="connsiteX1791" fmla="*/ 594038 w 833102"/>
                    <a:gd name="connsiteY1791" fmla="*/ 1066733 h 1285875"/>
                    <a:gd name="connsiteX1792" fmla="*/ 592227 w 833102"/>
                    <a:gd name="connsiteY1792" fmla="*/ 1066129 h 1285875"/>
                    <a:gd name="connsiteX1793" fmla="*/ 590416 w 833102"/>
                    <a:gd name="connsiteY1793" fmla="*/ 1067941 h 1285875"/>
                    <a:gd name="connsiteX1794" fmla="*/ 594642 w 833102"/>
                    <a:gd name="connsiteY1794" fmla="*/ 1067337 h 1285875"/>
                    <a:gd name="connsiteX1795" fmla="*/ 624223 w 833102"/>
                    <a:gd name="connsiteY1795" fmla="*/ 1214639 h 1285875"/>
                    <a:gd name="connsiteX1796" fmla="*/ 624223 w 833102"/>
                    <a:gd name="connsiteY1796" fmla="*/ 1216450 h 1285875"/>
                    <a:gd name="connsiteX1797" fmla="*/ 625430 w 833102"/>
                    <a:gd name="connsiteY1797" fmla="*/ 1217053 h 1285875"/>
                    <a:gd name="connsiteX1798" fmla="*/ 628449 w 833102"/>
                    <a:gd name="connsiteY1798" fmla="*/ 1217657 h 1285875"/>
                    <a:gd name="connsiteX1799" fmla="*/ 628449 w 833102"/>
                    <a:gd name="connsiteY1799" fmla="*/ 1218865 h 1285875"/>
                    <a:gd name="connsiteX1800" fmla="*/ 629052 w 833102"/>
                    <a:gd name="connsiteY1800" fmla="*/ 1222487 h 1285875"/>
                    <a:gd name="connsiteX1801" fmla="*/ 629052 w 833102"/>
                    <a:gd name="connsiteY1801" fmla="*/ 1227316 h 1285875"/>
                    <a:gd name="connsiteX1802" fmla="*/ 632675 w 833102"/>
                    <a:gd name="connsiteY1802" fmla="*/ 1232750 h 1285875"/>
                    <a:gd name="connsiteX1803" fmla="*/ 631467 w 833102"/>
                    <a:gd name="connsiteY1803" fmla="*/ 1236976 h 1285875"/>
                    <a:gd name="connsiteX1804" fmla="*/ 633278 w 833102"/>
                    <a:gd name="connsiteY1804" fmla="*/ 1240598 h 1285875"/>
                    <a:gd name="connsiteX1805" fmla="*/ 638108 w 833102"/>
                    <a:gd name="connsiteY1805" fmla="*/ 1241805 h 1285875"/>
                    <a:gd name="connsiteX1806" fmla="*/ 636297 w 833102"/>
                    <a:gd name="connsiteY1806" fmla="*/ 1244824 h 1285875"/>
                    <a:gd name="connsiteX1807" fmla="*/ 629052 w 833102"/>
                    <a:gd name="connsiteY1807" fmla="*/ 1239994 h 1285875"/>
                    <a:gd name="connsiteX1808" fmla="*/ 628449 w 833102"/>
                    <a:gd name="connsiteY1808" fmla="*/ 1235768 h 1285875"/>
                    <a:gd name="connsiteX1809" fmla="*/ 625430 w 833102"/>
                    <a:gd name="connsiteY1809" fmla="*/ 1233957 h 1285875"/>
                    <a:gd name="connsiteX1810" fmla="*/ 619997 w 833102"/>
                    <a:gd name="connsiteY1810" fmla="*/ 1232750 h 1285875"/>
                    <a:gd name="connsiteX1811" fmla="*/ 621204 w 833102"/>
                    <a:gd name="connsiteY1811" fmla="*/ 1225505 h 1285875"/>
                    <a:gd name="connsiteX1812" fmla="*/ 620601 w 833102"/>
                    <a:gd name="connsiteY1812" fmla="*/ 1218261 h 1285875"/>
                    <a:gd name="connsiteX1813" fmla="*/ 624223 w 833102"/>
                    <a:gd name="connsiteY1813" fmla="*/ 1214639 h 1285875"/>
                    <a:gd name="connsiteX1814" fmla="*/ 476317 w 833102"/>
                    <a:gd name="connsiteY1814" fmla="*/ 1212224 h 1285875"/>
                    <a:gd name="connsiteX1815" fmla="*/ 480543 w 833102"/>
                    <a:gd name="connsiteY1815" fmla="*/ 1221883 h 1285875"/>
                    <a:gd name="connsiteX1816" fmla="*/ 482958 w 833102"/>
                    <a:gd name="connsiteY1816" fmla="*/ 1224902 h 1285875"/>
                    <a:gd name="connsiteX1817" fmla="*/ 481750 w 833102"/>
                    <a:gd name="connsiteY1817" fmla="*/ 1229127 h 1285875"/>
                    <a:gd name="connsiteX1818" fmla="*/ 482958 w 833102"/>
                    <a:gd name="connsiteY1818" fmla="*/ 1236372 h 1285875"/>
                    <a:gd name="connsiteX1819" fmla="*/ 482958 w 833102"/>
                    <a:gd name="connsiteY1819" fmla="*/ 1241201 h 1285875"/>
                    <a:gd name="connsiteX1820" fmla="*/ 479335 w 833102"/>
                    <a:gd name="connsiteY1820" fmla="*/ 1252672 h 1285875"/>
                    <a:gd name="connsiteX1821" fmla="*/ 479939 w 833102"/>
                    <a:gd name="connsiteY1821" fmla="*/ 1261727 h 1285875"/>
                    <a:gd name="connsiteX1822" fmla="*/ 475713 w 833102"/>
                    <a:gd name="connsiteY1822" fmla="*/ 1266557 h 1285875"/>
                    <a:gd name="connsiteX1823" fmla="*/ 466658 w 833102"/>
                    <a:gd name="connsiteY1823" fmla="*/ 1266557 h 1285875"/>
                    <a:gd name="connsiteX1824" fmla="*/ 456395 w 833102"/>
                    <a:gd name="connsiteY1824" fmla="*/ 1262331 h 1285875"/>
                    <a:gd name="connsiteX1825" fmla="*/ 455187 w 833102"/>
                    <a:gd name="connsiteY1825" fmla="*/ 1256898 h 1285875"/>
                    <a:gd name="connsiteX1826" fmla="*/ 456999 w 833102"/>
                    <a:gd name="connsiteY1826" fmla="*/ 1247238 h 1285875"/>
                    <a:gd name="connsiteX1827" fmla="*/ 460621 w 833102"/>
                    <a:gd name="connsiteY1827" fmla="*/ 1243616 h 1285875"/>
                    <a:gd name="connsiteX1828" fmla="*/ 463035 w 833102"/>
                    <a:gd name="connsiteY1828" fmla="*/ 1233957 h 1285875"/>
                    <a:gd name="connsiteX1829" fmla="*/ 473298 w 833102"/>
                    <a:gd name="connsiteY1829" fmla="*/ 1214035 h 1285875"/>
                    <a:gd name="connsiteX1830" fmla="*/ 476317 w 833102"/>
                    <a:gd name="connsiteY1830" fmla="*/ 1212224 h 1285875"/>
                    <a:gd name="connsiteX1831" fmla="*/ 607923 w 833102"/>
                    <a:gd name="connsiteY1831" fmla="*/ 1214639 h 1285875"/>
                    <a:gd name="connsiteX1832" fmla="*/ 609734 w 833102"/>
                    <a:gd name="connsiteY1832" fmla="*/ 1212224 h 1285875"/>
                    <a:gd name="connsiteX1833" fmla="*/ 610338 w 833102"/>
                    <a:gd name="connsiteY1833" fmla="*/ 1211620 h 1285875"/>
                    <a:gd name="connsiteX1834" fmla="*/ 610941 w 833102"/>
                    <a:gd name="connsiteY1834" fmla="*/ 1212828 h 1285875"/>
                    <a:gd name="connsiteX1835" fmla="*/ 609734 w 833102"/>
                    <a:gd name="connsiteY1835" fmla="*/ 1214035 h 1285875"/>
                    <a:gd name="connsiteX1836" fmla="*/ 610338 w 833102"/>
                    <a:gd name="connsiteY1836" fmla="*/ 1214639 h 1285875"/>
                    <a:gd name="connsiteX1837" fmla="*/ 611545 w 833102"/>
                    <a:gd name="connsiteY1837" fmla="*/ 1214035 h 1285875"/>
                    <a:gd name="connsiteX1838" fmla="*/ 612753 w 833102"/>
                    <a:gd name="connsiteY1838" fmla="*/ 1213431 h 1285875"/>
                    <a:gd name="connsiteX1839" fmla="*/ 613356 w 833102"/>
                    <a:gd name="connsiteY1839" fmla="*/ 1214035 h 1285875"/>
                    <a:gd name="connsiteX1840" fmla="*/ 618790 w 833102"/>
                    <a:gd name="connsiteY1840" fmla="*/ 1214639 h 1285875"/>
                    <a:gd name="connsiteX1841" fmla="*/ 616978 w 833102"/>
                    <a:gd name="connsiteY1841" fmla="*/ 1223090 h 1285875"/>
                    <a:gd name="connsiteX1842" fmla="*/ 611545 w 833102"/>
                    <a:gd name="connsiteY1842" fmla="*/ 1226109 h 1285875"/>
                    <a:gd name="connsiteX1843" fmla="*/ 609734 w 833102"/>
                    <a:gd name="connsiteY1843" fmla="*/ 1223090 h 1285875"/>
                    <a:gd name="connsiteX1844" fmla="*/ 605508 w 833102"/>
                    <a:gd name="connsiteY1844" fmla="*/ 1221883 h 1285875"/>
                    <a:gd name="connsiteX1845" fmla="*/ 607923 w 833102"/>
                    <a:gd name="connsiteY1845" fmla="*/ 1214639 h 1285875"/>
                    <a:gd name="connsiteX1846" fmla="*/ 575927 w 833102"/>
                    <a:gd name="connsiteY1846" fmla="*/ 1207394 h 1285875"/>
                    <a:gd name="connsiteX1847" fmla="*/ 577134 w 833102"/>
                    <a:gd name="connsiteY1847" fmla="*/ 1207998 h 1285875"/>
                    <a:gd name="connsiteX1848" fmla="*/ 577134 w 833102"/>
                    <a:gd name="connsiteY1848" fmla="*/ 1209809 h 1285875"/>
                    <a:gd name="connsiteX1849" fmla="*/ 578945 w 833102"/>
                    <a:gd name="connsiteY1849" fmla="*/ 1211620 h 1285875"/>
                    <a:gd name="connsiteX1850" fmla="*/ 578342 w 833102"/>
                    <a:gd name="connsiteY1850" fmla="*/ 1212828 h 1285875"/>
                    <a:gd name="connsiteX1851" fmla="*/ 580153 w 833102"/>
                    <a:gd name="connsiteY1851" fmla="*/ 1212828 h 1285875"/>
                    <a:gd name="connsiteX1852" fmla="*/ 580756 w 833102"/>
                    <a:gd name="connsiteY1852" fmla="*/ 1212828 h 1285875"/>
                    <a:gd name="connsiteX1853" fmla="*/ 582568 w 833102"/>
                    <a:gd name="connsiteY1853" fmla="*/ 1213431 h 1285875"/>
                    <a:gd name="connsiteX1854" fmla="*/ 581964 w 833102"/>
                    <a:gd name="connsiteY1854" fmla="*/ 1221279 h 1285875"/>
                    <a:gd name="connsiteX1855" fmla="*/ 579549 w 833102"/>
                    <a:gd name="connsiteY1855" fmla="*/ 1232146 h 1285875"/>
                    <a:gd name="connsiteX1856" fmla="*/ 575927 w 833102"/>
                    <a:gd name="connsiteY1856" fmla="*/ 1230335 h 1285875"/>
                    <a:gd name="connsiteX1857" fmla="*/ 574116 w 833102"/>
                    <a:gd name="connsiteY1857" fmla="*/ 1224902 h 1285875"/>
                    <a:gd name="connsiteX1858" fmla="*/ 575927 w 833102"/>
                    <a:gd name="connsiteY1858" fmla="*/ 1223694 h 1285875"/>
                    <a:gd name="connsiteX1859" fmla="*/ 572908 w 833102"/>
                    <a:gd name="connsiteY1859" fmla="*/ 1218865 h 1285875"/>
                    <a:gd name="connsiteX1860" fmla="*/ 570494 w 833102"/>
                    <a:gd name="connsiteY1860" fmla="*/ 1216450 h 1285875"/>
                    <a:gd name="connsiteX1861" fmla="*/ 572305 w 833102"/>
                    <a:gd name="connsiteY1861" fmla="*/ 1212224 h 1285875"/>
                    <a:gd name="connsiteX1862" fmla="*/ 575927 w 833102"/>
                    <a:gd name="connsiteY1862" fmla="*/ 1207394 h 1285875"/>
                    <a:gd name="connsiteX1863" fmla="*/ 616375 w 833102"/>
                    <a:gd name="connsiteY1863" fmla="*/ 1206187 h 1285875"/>
                    <a:gd name="connsiteX1864" fmla="*/ 621204 w 833102"/>
                    <a:gd name="connsiteY1864" fmla="*/ 1209809 h 1285875"/>
                    <a:gd name="connsiteX1865" fmla="*/ 619393 w 833102"/>
                    <a:gd name="connsiteY1865" fmla="*/ 1214639 h 1285875"/>
                    <a:gd name="connsiteX1866" fmla="*/ 614564 w 833102"/>
                    <a:gd name="connsiteY1866" fmla="*/ 1214035 h 1285875"/>
                    <a:gd name="connsiteX1867" fmla="*/ 616375 w 833102"/>
                    <a:gd name="connsiteY1867" fmla="*/ 1206187 h 1285875"/>
                    <a:gd name="connsiteX1868" fmla="*/ 551779 w 833102"/>
                    <a:gd name="connsiteY1868" fmla="*/ 1203772 h 1285875"/>
                    <a:gd name="connsiteX1869" fmla="*/ 552987 w 833102"/>
                    <a:gd name="connsiteY1869" fmla="*/ 1204376 h 1285875"/>
                    <a:gd name="connsiteX1870" fmla="*/ 548761 w 833102"/>
                    <a:gd name="connsiteY1870" fmla="*/ 1209205 h 1285875"/>
                    <a:gd name="connsiteX1871" fmla="*/ 546346 w 833102"/>
                    <a:gd name="connsiteY1871" fmla="*/ 1206791 h 1285875"/>
                    <a:gd name="connsiteX1872" fmla="*/ 548761 w 833102"/>
                    <a:gd name="connsiteY1872" fmla="*/ 1204376 h 1285875"/>
                    <a:gd name="connsiteX1873" fmla="*/ 551779 w 833102"/>
                    <a:gd name="connsiteY1873" fmla="*/ 1203772 h 1285875"/>
                    <a:gd name="connsiteX1874" fmla="*/ 579549 w 833102"/>
                    <a:gd name="connsiteY1874" fmla="*/ 1201961 h 1285875"/>
                    <a:gd name="connsiteX1875" fmla="*/ 585586 w 833102"/>
                    <a:gd name="connsiteY1875" fmla="*/ 1203772 h 1285875"/>
                    <a:gd name="connsiteX1876" fmla="*/ 582568 w 833102"/>
                    <a:gd name="connsiteY1876" fmla="*/ 1211016 h 1285875"/>
                    <a:gd name="connsiteX1877" fmla="*/ 580153 w 833102"/>
                    <a:gd name="connsiteY1877" fmla="*/ 1212828 h 1285875"/>
                    <a:gd name="connsiteX1878" fmla="*/ 577738 w 833102"/>
                    <a:gd name="connsiteY1878" fmla="*/ 1210413 h 1285875"/>
                    <a:gd name="connsiteX1879" fmla="*/ 577738 w 833102"/>
                    <a:gd name="connsiteY1879" fmla="*/ 1207998 h 1285875"/>
                    <a:gd name="connsiteX1880" fmla="*/ 576531 w 833102"/>
                    <a:gd name="connsiteY1880" fmla="*/ 1206187 h 1285875"/>
                    <a:gd name="connsiteX1881" fmla="*/ 579549 w 833102"/>
                    <a:gd name="connsiteY1881" fmla="*/ 1201961 h 1285875"/>
                    <a:gd name="connsiteX1882" fmla="*/ 475713 w 833102"/>
                    <a:gd name="connsiteY1882" fmla="*/ 1200754 h 1285875"/>
                    <a:gd name="connsiteX1883" fmla="*/ 477524 w 833102"/>
                    <a:gd name="connsiteY1883" fmla="*/ 1203168 h 1285875"/>
                    <a:gd name="connsiteX1884" fmla="*/ 474506 w 833102"/>
                    <a:gd name="connsiteY1884" fmla="*/ 1206791 h 1285875"/>
                    <a:gd name="connsiteX1885" fmla="*/ 472091 w 833102"/>
                    <a:gd name="connsiteY1885" fmla="*/ 1203772 h 1285875"/>
                    <a:gd name="connsiteX1886" fmla="*/ 475713 w 833102"/>
                    <a:gd name="connsiteY1886" fmla="*/ 1200754 h 1285875"/>
                    <a:gd name="connsiteX1887" fmla="*/ 640523 w 833102"/>
                    <a:gd name="connsiteY1887" fmla="*/ 1218865 h 1285875"/>
                    <a:gd name="connsiteX1888" fmla="*/ 639919 w 833102"/>
                    <a:gd name="connsiteY1888" fmla="*/ 1220072 h 1285875"/>
                    <a:gd name="connsiteX1889" fmla="*/ 638108 w 833102"/>
                    <a:gd name="connsiteY1889" fmla="*/ 1221279 h 1285875"/>
                    <a:gd name="connsiteX1890" fmla="*/ 636297 w 833102"/>
                    <a:gd name="connsiteY1890" fmla="*/ 1223090 h 1285875"/>
                    <a:gd name="connsiteX1891" fmla="*/ 633882 w 833102"/>
                    <a:gd name="connsiteY1891" fmla="*/ 1223694 h 1285875"/>
                    <a:gd name="connsiteX1892" fmla="*/ 631467 w 833102"/>
                    <a:gd name="connsiteY1892" fmla="*/ 1226109 h 1285875"/>
                    <a:gd name="connsiteX1893" fmla="*/ 629656 w 833102"/>
                    <a:gd name="connsiteY1893" fmla="*/ 1224298 h 1285875"/>
                    <a:gd name="connsiteX1894" fmla="*/ 629656 w 833102"/>
                    <a:gd name="connsiteY1894" fmla="*/ 1222487 h 1285875"/>
                    <a:gd name="connsiteX1895" fmla="*/ 629052 w 833102"/>
                    <a:gd name="connsiteY1895" fmla="*/ 1218865 h 1285875"/>
                    <a:gd name="connsiteX1896" fmla="*/ 629052 w 833102"/>
                    <a:gd name="connsiteY1896" fmla="*/ 1217657 h 1285875"/>
                    <a:gd name="connsiteX1897" fmla="*/ 627845 w 833102"/>
                    <a:gd name="connsiteY1897" fmla="*/ 1216450 h 1285875"/>
                    <a:gd name="connsiteX1898" fmla="*/ 625430 w 833102"/>
                    <a:gd name="connsiteY1898" fmla="*/ 1216450 h 1285875"/>
                    <a:gd name="connsiteX1899" fmla="*/ 623015 w 833102"/>
                    <a:gd name="connsiteY1899" fmla="*/ 1207394 h 1285875"/>
                    <a:gd name="connsiteX1900" fmla="*/ 620601 w 833102"/>
                    <a:gd name="connsiteY1900" fmla="*/ 1202565 h 1285875"/>
                    <a:gd name="connsiteX1901" fmla="*/ 624223 w 833102"/>
                    <a:gd name="connsiteY1901" fmla="*/ 1204376 h 1285875"/>
                    <a:gd name="connsiteX1902" fmla="*/ 630864 w 833102"/>
                    <a:gd name="connsiteY1902" fmla="*/ 1203772 h 1285875"/>
                    <a:gd name="connsiteX1903" fmla="*/ 636297 w 833102"/>
                    <a:gd name="connsiteY1903" fmla="*/ 1200150 h 1285875"/>
                    <a:gd name="connsiteX1904" fmla="*/ 648371 w 833102"/>
                    <a:gd name="connsiteY1904" fmla="*/ 1206791 h 1285875"/>
                    <a:gd name="connsiteX1905" fmla="*/ 646560 w 833102"/>
                    <a:gd name="connsiteY1905" fmla="*/ 1214639 h 1285875"/>
                    <a:gd name="connsiteX1906" fmla="*/ 643541 w 833102"/>
                    <a:gd name="connsiteY1906" fmla="*/ 1219468 h 1285875"/>
                    <a:gd name="connsiteX1907" fmla="*/ 642938 w 833102"/>
                    <a:gd name="connsiteY1907" fmla="*/ 1219468 h 1285875"/>
                    <a:gd name="connsiteX1908" fmla="*/ 641126 w 833102"/>
                    <a:gd name="connsiteY1908" fmla="*/ 1217053 h 1285875"/>
                    <a:gd name="connsiteX1909" fmla="*/ 641126 w 833102"/>
                    <a:gd name="connsiteY1909" fmla="*/ 1218261 h 1285875"/>
                    <a:gd name="connsiteX1910" fmla="*/ 640523 w 833102"/>
                    <a:gd name="connsiteY1910" fmla="*/ 1218865 h 1285875"/>
                    <a:gd name="connsiteX1911" fmla="*/ 597056 w 833102"/>
                    <a:gd name="connsiteY1911" fmla="*/ 1199546 h 1285875"/>
                    <a:gd name="connsiteX1912" fmla="*/ 598867 w 833102"/>
                    <a:gd name="connsiteY1912" fmla="*/ 1202565 h 1285875"/>
                    <a:gd name="connsiteX1913" fmla="*/ 603697 w 833102"/>
                    <a:gd name="connsiteY1913" fmla="*/ 1200754 h 1285875"/>
                    <a:gd name="connsiteX1914" fmla="*/ 607923 w 833102"/>
                    <a:gd name="connsiteY1914" fmla="*/ 1201357 h 1285875"/>
                    <a:gd name="connsiteX1915" fmla="*/ 611545 w 833102"/>
                    <a:gd name="connsiteY1915" fmla="*/ 1203168 h 1285875"/>
                    <a:gd name="connsiteX1916" fmla="*/ 612753 w 833102"/>
                    <a:gd name="connsiteY1916" fmla="*/ 1202565 h 1285875"/>
                    <a:gd name="connsiteX1917" fmla="*/ 615771 w 833102"/>
                    <a:gd name="connsiteY1917" fmla="*/ 1206187 h 1285875"/>
                    <a:gd name="connsiteX1918" fmla="*/ 612149 w 833102"/>
                    <a:gd name="connsiteY1918" fmla="*/ 1211620 h 1285875"/>
                    <a:gd name="connsiteX1919" fmla="*/ 611545 w 833102"/>
                    <a:gd name="connsiteY1919" fmla="*/ 1214035 h 1285875"/>
                    <a:gd name="connsiteX1920" fmla="*/ 610338 w 833102"/>
                    <a:gd name="connsiteY1920" fmla="*/ 1214035 h 1285875"/>
                    <a:gd name="connsiteX1921" fmla="*/ 611545 w 833102"/>
                    <a:gd name="connsiteY1921" fmla="*/ 1212828 h 1285875"/>
                    <a:gd name="connsiteX1922" fmla="*/ 611545 w 833102"/>
                    <a:gd name="connsiteY1922" fmla="*/ 1211620 h 1285875"/>
                    <a:gd name="connsiteX1923" fmla="*/ 610338 w 833102"/>
                    <a:gd name="connsiteY1923" fmla="*/ 1211016 h 1285875"/>
                    <a:gd name="connsiteX1924" fmla="*/ 609734 w 833102"/>
                    <a:gd name="connsiteY1924" fmla="*/ 1211620 h 1285875"/>
                    <a:gd name="connsiteX1925" fmla="*/ 607923 w 833102"/>
                    <a:gd name="connsiteY1925" fmla="*/ 1213431 h 1285875"/>
                    <a:gd name="connsiteX1926" fmla="*/ 606716 w 833102"/>
                    <a:gd name="connsiteY1926" fmla="*/ 1211620 h 1285875"/>
                    <a:gd name="connsiteX1927" fmla="*/ 604301 w 833102"/>
                    <a:gd name="connsiteY1927" fmla="*/ 1211016 h 1285875"/>
                    <a:gd name="connsiteX1928" fmla="*/ 602490 w 833102"/>
                    <a:gd name="connsiteY1928" fmla="*/ 1207394 h 1285875"/>
                    <a:gd name="connsiteX1929" fmla="*/ 600679 w 833102"/>
                    <a:gd name="connsiteY1929" fmla="*/ 1206791 h 1285875"/>
                    <a:gd name="connsiteX1930" fmla="*/ 598264 w 833102"/>
                    <a:gd name="connsiteY1930" fmla="*/ 1206791 h 1285875"/>
                    <a:gd name="connsiteX1931" fmla="*/ 595849 w 833102"/>
                    <a:gd name="connsiteY1931" fmla="*/ 1202565 h 1285875"/>
                    <a:gd name="connsiteX1932" fmla="*/ 597056 w 833102"/>
                    <a:gd name="connsiteY1932" fmla="*/ 1199546 h 1285875"/>
                    <a:gd name="connsiteX1933" fmla="*/ 601282 w 833102"/>
                    <a:gd name="connsiteY1933" fmla="*/ 1188680 h 1285875"/>
                    <a:gd name="connsiteX1934" fmla="*/ 602490 w 833102"/>
                    <a:gd name="connsiteY1934" fmla="*/ 1193509 h 1285875"/>
                    <a:gd name="connsiteX1935" fmla="*/ 612753 w 833102"/>
                    <a:gd name="connsiteY1935" fmla="*/ 1200754 h 1285875"/>
                    <a:gd name="connsiteX1936" fmla="*/ 610338 w 833102"/>
                    <a:gd name="connsiteY1936" fmla="*/ 1201961 h 1285875"/>
                    <a:gd name="connsiteX1937" fmla="*/ 604904 w 833102"/>
                    <a:gd name="connsiteY1937" fmla="*/ 1200150 h 1285875"/>
                    <a:gd name="connsiteX1938" fmla="*/ 598867 w 833102"/>
                    <a:gd name="connsiteY1938" fmla="*/ 1201357 h 1285875"/>
                    <a:gd name="connsiteX1939" fmla="*/ 597056 w 833102"/>
                    <a:gd name="connsiteY1939" fmla="*/ 1197132 h 1285875"/>
                    <a:gd name="connsiteX1940" fmla="*/ 597056 w 833102"/>
                    <a:gd name="connsiteY1940" fmla="*/ 1189284 h 1285875"/>
                    <a:gd name="connsiteX1941" fmla="*/ 601282 w 833102"/>
                    <a:gd name="connsiteY1941" fmla="*/ 1188680 h 1285875"/>
                    <a:gd name="connsiteX1942" fmla="*/ 583775 w 833102"/>
                    <a:gd name="connsiteY1942" fmla="*/ 1180228 h 1285875"/>
                    <a:gd name="connsiteX1943" fmla="*/ 586793 w 833102"/>
                    <a:gd name="connsiteY1943" fmla="*/ 1180228 h 1285875"/>
                    <a:gd name="connsiteX1944" fmla="*/ 595245 w 833102"/>
                    <a:gd name="connsiteY1944" fmla="*/ 1184454 h 1285875"/>
                    <a:gd name="connsiteX1945" fmla="*/ 590416 w 833102"/>
                    <a:gd name="connsiteY1945" fmla="*/ 1191095 h 1285875"/>
                    <a:gd name="connsiteX1946" fmla="*/ 587397 w 833102"/>
                    <a:gd name="connsiteY1946" fmla="*/ 1197132 h 1285875"/>
                    <a:gd name="connsiteX1947" fmla="*/ 583171 w 833102"/>
                    <a:gd name="connsiteY1947" fmla="*/ 1194717 h 1285875"/>
                    <a:gd name="connsiteX1948" fmla="*/ 578342 w 833102"/>
                    <a:gd name="connsiteY1948" fmla="*/ 1194717 h 1285875"/>
                    <a:gd name="connsiteX1949" fmla="*/ 577134 w 833102"/>
                    <a:gd name="connsiteY1949" fmla="*/ 1191698 h 1285875"/>
                    <a:gd name="connsiteX1950" fmla="*/ 578945 w 833102"/>
                    <a:gd name="connsiteY1950" fmla="*/ 1185661 h 1285875"/>
                    <a:gd name="connsiteX1951" fmla="*/ 583775 w 833102"/>
                    <a:gd name="connsiteY1951" fmla="*/ 1180228 h 1285875"/>
                    <a:gd name="connsiteX1952" fmla="*/ 476921 w 833102"/>
                    <a:gd name="connsiteY1952" fmla="*/ 1178417 h 1285875"/>
                    <a:gd name="connsiteX1953" fmla="*/ 473298 w 833102"/>
                    <a:gd name="connsiteY1953" fmla="*/ 1186869 h 1285875"/>
                    <a:gd name="connsiteX1954" fmla="*/ 467261 w 833102"/>
                    <a:gd name="connsiteY1954" fmla="*/ 1195924 h 1285875"/>
                    <a:gd name="connsiteX1955" fmla="*/ 466054 w 833102"/>
                    <a:gd name="connsiteY1955" fmla="*/ 1199546 h 1285875"/>
                    <a:gd name="connsiteX1956" fmla="*/ 459413 w 833102"/>
                    <a:gd name="connsiteY1956" fmla="*/ 1203772 h 1285875"/>
                    <a:gd name="connsiteX1957" fmla="*/ 457602 w 833102"/>
                    <a:gd name="connsiteY1957" fmla="*/ 1203168 h 1285875"/>
                    <a:gd name="connsiteX1958" fmla="*/ 459413 w 833102"/>
                    <a:gd name="connsiteY1958" fmla="*/ 1193509 h 1285875"/>
                    <a:gd name="connsiteX1959" fmla="*/ 462432 w 833102"/>
                    <a:gd name="connsiteY1959" fmla="*/ 1186265 h 1285875"/>
                    <a:gd name="connsiteX1960" fmla="*/ 467261 w 833102"/>
                    <a:gd name="connsiteY1960" fmla="*/ 1182039 h 1285875"/>
                    <a:gd name="connsiteX1961" fmla="*/ 476921 w 833102"/>
                    <a:gd name="connsiteY1961" fmla="*/ 1178417 h 1285875"/>
                    <a:gd name="connsiteX1962" fmla="*/ 615167 w 833102"/>
                    <a:gd name="connsiteY1962" fmla="*/ 1180228 h 1285875"/>
                    <a:gd name="connsiteX1963" fmla="*/ 623015 w 833102"/>
                    <a:gd name="connsiteY1963" fmla="*/ 1180832 h 1285875"/>
                    <a:gd name="connsiteX1964" fmla="*/ 626638 w 833102"/>
                    <a:gd name="connsiteY1964" fmla="*/ 1179021 h 1285875"/>
                    <a:gd name="connsiteX1965" fmla="*/ 628449 w 833102"/>
                    <a:gd name="connsiteY1965" fmla="*/ 1182039 h 1285875"/>
                    <a:gd name="connsiteX1966" fmla="*/ 633278 w 833102"/>
                    <a:gd name="connsiteY1966" fmla="*/ 1181436 h 1285875"/>
                    <a:gd name="connsiteX1967" fmla="*/ 635089 w 833102"/>
                    <a:gd name="connsiteY1967" fmla="*/ 1191095 h 1285875"/>
                    <a:gd name="connsiteX1968" fmla="*/ 635089 w 833102"/>
                    <a:gd name="connsiteY1968" fmla="*/ 1200150 h 1285875"/>
                    <a:gd name="connsiteX1969" fmla="*/ 632675 w 833102"/>
                    <a:gd name="connsiteY1969" fmla="*/ 1201357 h 1285875"/>
                    <a:gd name="connsiteX1970" fmla="*/ 624223 w 833102"/>
                    <a:gd name="connsiteY1970" fmla="*/ 1202565 h 1285875"/>
                    <a:gd name="connsiteX1971" fmla="*/ 618186 w 833102"/>
                    <a:gd name="connsiteY1971" fmla="*/ 1197735 h 1285875"/>
                    <a:gd name="connsiteX1972" fmla="*/ 607923 w 833102"/>
                    <a:gd name="connsiteY1972" fmla="*/ 1197132 h 1285875"/>
                    <a:gd name="connsiteX1973" fmla="*/ 603093 w 833102"/>
                    <a:gd name="connsiteY1973" fmla="*/ 1193509 h 1285875"/>
                    <a:gd name="connsiteX1974" fmla="*/ 602490 w 833102"/>
                    <a:gd name="connsiteY1974" fmla="*/ 1188680 h 1285875"/>
                    <a:gd name="connsiteX1975" fmla="*/ 604904 w 833102"/>
                    <a:gd name="connsiteY1975" fmla="*/ 1181436 h 1285875"/>
                    <a:gd name="connsiteX1976" fmla="*/ 607923 w 833102"/>
                    <a:gd name="connsiteY1976" fmla="*/ 1181436 h 1285875"/>
                    <a:gd name="connsiteX1977" fmla="*/ 613356 w 833102"/>
                    <a:gd name="connsiteY1977" fmla="*/ 1177813 h 1285875"/>
                    <a:gd name="connsiteX1978" fmla="*/ 615167 w 833102"/>
                    <a:gd name="connsiteY1978" fmla="*/ 1180228 h 1285875"/>
                    <a:gd name="connsiteX1979" fmla="*/ 605508 w 833102"/>
                    <a:gd name="connsiteY1979" fmla="*/ 1172984 h 1285875"/>
                    <a:gd name="connsiteX1980" fmla="*/ 607923 w 833102"/>
                    <a:gd name="connsiteY1980" fmla="*/ 1173588 h 1285875"/>
                    <a:gd name="connsiteX1981" fmla="*/ 608527 w 833102"/>
                    <a:gd name="connsiteY1981" fmla="*/ 1180228 h 1285875"/>
                    <a:gd name="connsiteX1982" fmla="*/ 604904 w 833102"/>
                    <a:gd name="connsiteY1982" fmla="*/ 1179625 h 1285875"/>
                    <a:gd name="connsiteX1983" fmla="*/ 603093 w 833102"/>
                    <a:gd name="connsiteY1983" fmla="*/ 1173588 h 1285875"/>
                    <a:gd name="connsiteX1984" fmla="*/ 605508 w 833102"/>
                    <a:gd name="connsiteY1984" fmla="*/ 1172984 h 1285875"/>
                    <a:gd name="connsiteX1985" fmla="*/ 633882 w 833102"/>
                    <a:gd name="connsiteY1985" fmla="*/ 1174191 h 1285875"/>
                    <a:gd name="connsiteX1986" fmla="*/ 633882 w 833102"/>
                    <a:gd name="connsiteY1986" fmla="*/ 1180228 h 1285875"/>
                    <a:gd name="connsiteX1987" fmla="*/ 628449 w 833102"/>
                    <a:gd name="connsiteY1987" fmla="*/ 1181436 h 1285875"/>
                    <a:gd name="connsiteX1988" fmla="*/ 623619 w 833102"/>
                    <a:gd name="connsiteY1988" fmla="*/ 1174795 h 1285875"/>
                    <a:gd name="connsiteX1989" fmla="*/ 633882 w 833102"/>
                    <a:gd name="connsiteY1989" fmla="*/ 1174191 h 1285875"/>
                    <a:gd name="connsiteX1990" fmla="*/ 654408 w 833102"/>
                    <a:gd name="connsiteY1990" fmla="*/ 1171173 h 1285875"/>
                    <a:gd name="connsiteX1991" fmla="*/ 657426 w 833102"/>
                    <a:gd name="connsiteY1991" fmla="*/ 1172984 h 1285875"/>
                    <a:gd name="connsiteX1992" fmla="*/ 662256 w 833102"/>
                    <a:gd name="connsiteY1992" fmla="*/ 1173588 h 1285875"/>
                    <a:gd name="connsiteX1993" fmla="*/ 668293 w 833102"/>
                    <a:gd name="connsiteY1993" fmla="*/ 1181436 h 1285875"/>
                    <a:gd name="connsiteX1994" fmla="*/ 670104 w 833102"/>
                    <a:gd name="connsiteY1994" fmla="*/ 1187472 h 1285875"/>
                    <a:gd name="connsiteX1995" fmla="*/ 667085 w 833102"/>
                    <a:gd name="connsiteY1995" fmla="*/ 1198943 h 1285875"/>
                    <a:gd name="connsiteX1996" fmla="*/ 660445 w 833102"/>
                    <a:gd name="connsiteY1996" fmla="*/ 1200754 h 1285875"/>
                    <a:gd name="connsiteX1997" fmla="*/ 653804 w 833102"/>
                    <a:gd name="connsiteY1997" fmla="*/ 1195924 h 1285875"/>
                    <a:gd name="connsiteX1998" fmla="*/ 658030 w 833102"/>
                    <a:gd name="connsiteY1998" fmla="*/ 1189887 h 1285875"/>
                    <a:gd name="connsiteX1999" fmla="*/ 648975 w 833102"/>
                    <a:gd name="connsiteY1999" fmla="*/ 1185661 h 1285875"/>
                    <a:gd name="connsiteX2000" fmla="*/ 648975 w 833102"/>
                    <a:gd name="connsiteY2000" fmla="*/ 1183247 h 1285875"/>
                    <a:gd name="connsiteX2001" fmla="*/ 648975 w 833102"/>
                    <a:gd name="connsiteY2001" fmla="*/ 1182643 h 1285875"/>
                    <a:gd name="connsiteX2002" fmla="*/ 647163 w 833102"/>
                    <a:gd name="connsiteY2002" fmla="*/ 1180832 h 1285875"/>
                    <a:gd name="connsiteX2003" fmla="*/ 651389 w 833102"/>
                    <a:gd name="connsiteY2003" fmla="*/ 1173588 h 1285875"/>
                    <a:gd name="connsiteX2004" fmla="*/ 654408 w 833102"/>
                    <a:gd name="connsiteY2004" fmla="*/ 1171173 h 1285875"/>
                    <a:gd name="connsiteX2005" fmla="*/ 615167 w 833102"/>
                    <a:gd name="connsiteY2005" fmla="*/ 1171173 h 1285875"/>
                    <a:gd name="connsiteX2006" fmla="*/ 619393 w 833102"/>
                    <a:gd name="connsiteY2006" fmla="*/ 1172984 h 1285875"/>
                    <a:gd name="connsiteX2007" fmla="*/ 619393 w 833102"/>
                    <a:gd name="connsiteY2007" fmla="*/ 1178417 h 1285875"/>
                    <a:gd name="connsiteX2008" fmla="*/ 615167 w 833102"/>
                    <a:gd name="connsiteY2008" fmla="*/ 1179021 h 1285875"/>
                    <a:gd name="connsiteX2009" fmla="*/ 613960 w 833102"/>
                    <a:gd name="connsiteY2009" fmla="*/ 1177210 h 1285875"/>
                    <a:gd name="connsiteX2010" fmla="*/ 612149 w 833102"/>
                    <a:gd name="connsiteY2010" fmla="*/ 1177813 h 1285875"/>
                    <a:gd name="connsiteX2011" fmla="*/ 608527 w 833102"/>
                    <a:gd name="connsiteY2011" fmla="*/ 1176002 h 1285875"/>
                    <a:gd name="connsiteX2012" fmla="*/ 610941 w 833102"/>
                    <a:gd name="connsiteY2012" fmla="*/ 1172380 h 1285875"/>
                    <a:gd name="connsiteX2013" fmla="*/ 615167 w 833102"/>
                    <a:gd name="connsiteY2013" fmla="*/ 1171173 h 1285875"/>
                    <a:gd name="connsiteX2014" fmla="*/ 627241 w 833102"/>
                    <a:gd name="connsiteY2014" fmla="*/ 1166947 h 1285875"/>
                    <a:gd name="connsiteX2015" fmla="*/ 627241 w 833102"/>
                    <a:gd name="connsiteY2015" fmla="*/ 1170569 h 1285875"/>
                    <a:gd name="connsiteX2016" fmla="*/ 629656 w 833102"/>
                    <a:gd name="connsiteY2016" fmla="*/ 1174191 h 1285875"/>
                    <a:gd name="connsiteX2017" fmla="*/ 625430 w 833102"/>
                    <a:gd name="connsiteY2017" fmla="*/ 1174191 h 1285875"/>
                    <a:gd name="connsiteX2018" fmla="*/ 623015 w 833102"/>
                    <a:gd name="connsiteY2018" fmla="*/ 1174795 h 1285875"/>
                    <a:gd name="connsiteX2019" fmla="*/ 616978 w 833102"/>
                    <a:gd name="connsiteY2019" fmla="*/ 1170569 h 1285875"/>
                    <a:gd name="connsiteX2020" fmla="*/ 618790 w 833102"/>
                    <a:gd name="connsiteY2020" fmla="*/ 1168758 h 1285875"/>
                    <a:gd name="connsiteX2021" fmla="*/ 620601 w 833102"/>
                    <a:gd name="connsiteY2021" fmla="*/ 1168758 h 1285875"/>
                    <a:gd name="connsiteX2022" fmla="*/ 624223 w 833102"/>
                    <a:gd name="connsiteY2022" fmla="*/ 1166947 h 1285875"/>
                    <a:gd name="connsiteX2023" fmla="*/ 627241 w 833102"/>
                    <a:gd name="connsiteY2023" fmla="*/ 1166947 h 1285875"/>
                    <a:gd name="connsiteX2024" fmla="*/ 634486 w 833102"/>
                    <a:gd name="connsiteY2024" fmla="*/ 1165739 h 1285875"/>
                    <a:gd name="connsiteX2025" fmla="*/ 631467 w 833102"/>
                    <a:gd name="connsiteY2025" fmla="*/ 1171173 h 1285875"/>
                    <a:gd name="connsiteX2026" fmla="*/ 627845 w 833102"/>
                    <a:gd name="connsiteY2026" fmla="*/ 1170569 h 1285875"/>
                    <a:gd name="connsiteX2027" fmla="*/ 627241 w 833102"/>
                    <a:gd name="connsiteY2027" fmla="*/ 1165136 h 1285875"/>
                    <a:gd name="connsiteX2028" fmla="*/ 634486 w 833102"/>
                    <a:gd name="connsiteY2028" fmla="*/ 1165739 h 1285875"/>
                    <a:gd name="connsiteX2029" fmla="*/ 613356 w 833102"/>
                    <a:gd name="connsiteY2029" fmla="*/ 1165739 h 1285875"/>
                    <a:gd name="connsiteX2030" fmla="*/ 613960 w 833102"/>
                    <a:gd name="connsiteY2030" fmla="*/ 1169965 h 1285875"/>
                    <a:gd name="connsiteX2031" fmla="*/ 609130 w 833102"/>
                    <a:gd name="connsiteY2031" fmla="*/ 1173588 h 1285875"/>
                    <a:gd name="connsiteX2032" fmla="*/ 601886 w 833102"/>
                    <a:gd name="connsiteY2032" fmla="*/ 1171173 h 1285875"/>
                    <a:gd name="connsiteX2033" fmla="*/ 604301 w 833102"/>
                    <a:gd name="connsiteY2033" fmla="*/ 1166947 h 1285875"/>
                    <a:gd name="connsiteX2034" fmla="*/ 606716 w 833102"/>
                    <a:gd name="connsiteY2034" fmla="*/ 1163928 h 1285875"/>
                    <a:gd name="connsiteX2035" fmla="*/ 602490 w 833102"/>
                    <a:gd name="connsiteY2035" fmla="*/ 1166343 h 1285875"/>
                    <a:gd name="connsiteX2036" fmla="*/ 600075 w 833102"/>
                    <a:gd name="connsiteY2036" fmla="*/ 1171776 h 1285875"/>
                    <a:gd name="connsiteX2037" fmla="*/ 593434 w 833102"/>
                    <a:gd name="connsiteY2037" fmla="*/ 1169965 h 1285875"/>
                    <a:gd name="connsiteX2038" fmla="*/ 592830 w 833102"/>
                    <a:gd name="connsiteY2038" fmla="*/ 1166947 h 1285875"/>
                    <a:gd name="connsiteX2039" fmla="*/ 599471 w 833102"/>
                    <a:gd name="connsiteY2039" fmla="*/ 1160910 h 1285875"/>
                    <a:gd name="connsiteX2040" fmla="*/ 602490 w 833102"/>
                    <a:gd name="connsiteY2040" fmla="*/ 1154269 h 1285875"/>
                    <a:gd name="connsiteX2041" fmla="*/ 606716 w 833102"/>
                    <a:gd name="connsiteY2041" fmla="*/ 1152458 h 1285875"/>
                    <a:gd name="connsiteX2042" fmla="*/ 613960 w 833102"/>
                    <a:gd name="connsiteY2042" fmla="*/ 1144610 h 1285875"/>
                    <a:gd name="connsiteX2043" fmla="*/ 619393 w 833102"/>
                    <a:gd name="connsiteY2043" fmla="*/ 1147628 h 1285875"/>
                    <a:gd name="connsiteX2044" fmla="*/ 621808 w 833102"/>
                    <a:gd name="connsiteY2044" fmla="*/ 1142195 h 1285875"/>
                    <a:gd name="connsiteX2045" fmla="*/ 623619 w 833102"/>
                    <a:gd name="connsiteY2045" fmla="*/ 1140988 h 1285875"/>
                    <a:gd name="connsiteX2046" fmla="*/ 623619 w 833102"/>
                    <a:gd name="connsiteY2046" fmla="*/ 1139177 h 1285875"/>
                    <a:gd name="connsiteX2047" fmla="*/ 624827 w 833102"/>
                    <a:gd name="connsiteY2047" fmla="*/ 1138573 h 1285875"/>
                    <a:gd name="connsiteX2048" fmla="*/ 626034 w 833102"/>
                    <a:gd name="connsiteY2048" fmla="*/ 1140988 h 1285875"/>
                    <a:gd name="connsiteX2049" fmla="*/ 626638 w 833102"/>
                    <a:gd name="connsiteY2049" fmla="*/ 1145817 h 1285875"/>
                    <a:gd name="connsiteX2050" fmla="*/ 623619 w 833102"/>
                    <a:gd name="connsiteY2050" fmla="*/ 1145817 h 1285875"/>
                    <a:gd name="connsiteX2051" fmla="*/ 623015 w 833102"/>
                    <a:gd name="connsiteY2051" fmla="*/ 1152458 h 1285875"/>
                    <a:gd name="connsiteX2052" fmla="*/ 612753 w 833102"/>
                    <a:gd name="connsiteY2052" fmla="*/ 1156684 h 1285875"/>
                    <a:gd name="connsiteX2053" fmla="*/ 611545 w 833102"/>
                    <a:gd name="connsiteY2053" fmla="*/ 1159099 h 1285875"/>
                    <a:gd name="connsiteX2054" fmla="*/ 606716 w 833102"/>
                    <a:gd name="connsiteY2054" fmla="*/ 1160910 h 1285875"/>
                    <a:gd name="connsiteX2055" fmla="*/ 606716 w 833102"/>
                    <a:gd name="connsiteY2055" fmla="*/ 1163928 h 1285875"/>
                    <a:gd name="connsiteX2056" fmla="*/ 608527 w 833102"/>
                    <a:gd name="connsiteY2056" fmla="*/ 1161514 h 1285875"/>
                    <a:gd name="connsiteX2057" fmla="*/ 612149 w 833102"/>
                    <a:gd name="connsiteY2057" fmla="*/ 1160306 h 1285875"/>
                    <a:gd name="connsiteX2058" fmla="*/ 613356 w 833102"/>
                    <a:gd name="connsiteY2058" fmla="*/ 1165739 h 1285875"/>
                    <a:gd name="connsiteX2059" fmla="*/ 616375 w 833102"/>
                    <a:gd name="connsiteY2059" fmla="*/ 1157288 h 1285875"/>
                    <a:gd name="connsiteX2060" fmla="*/ 622412 w 833102"/>
                    <a:gd name="connsiteY2060" fmla="*/ 1158495 h 1285875"/>
                    <a:gd name="connsiteX2061" fmla="*/ 623015 w 833102"/>
                    <a:gd name="connsiteY2061" fmla="*/ 1161514 h 1285875"/>
                    <a:gd name="connsiteX2062" fmla="*/ 626638 w 833102"/>
                    <a:gd name="connsiteY2062" fmla="*/ 1166343 h 1285875"/>
                    <a:gd name="connsiteX2063" fmla="*/ 623619 w 833102"/>
                    <a:gd name="connsiteY2063" fmla="*/ 1166947 h 1285875"/>
                    <a:gd name="connsiteX2064" fmla="*/ 620601 w 833102"/>
                    <a:gd name="connsiteY2064" fmla="*/ 1168154 h 1285875"/>
                    <a:gd name="connsiteX2065" fmla="*/ 618790 w 833102"/>
                    <a:gd name="connsiteY2065" fmla="*/ 1165136 h 1285875"/>
                    <a:gd name="connsiteX2066" fmla="*/ 613960 w 833102"/>
                    <a:gd name="connsiteY2066" fmla="*/ 1165739 h 1285875"/>
                    <a:gd name="connsiteX2067" fmla="*/ 612753 w 833102"/>
                    <a:gd name="connsiteY2067" fmla="*/ 1159702 h 1285875"/>
                    <a:gd name="connsiteX2068" fmla="*/ 616375 w 833102"/>
                    <a:gd name="connsiteY2068" fmla="*/ 1157288 h 1285875"/>
                    <a:gd name="connsiteX2069" fmla="*/ 626034 w 833102"/>
                    <a:gd name="connsiteY2069" fmla="*/ 1147025 h 1285875"/>
                    <a:gd name="connsiteX2070" fmla="*/ 630260 w 833102"/>
                    <a:gd name="connsiteY2070" fmla="*/ 1147628 h 1285875"/>
                    <a:gd name="connsiteX2071" fmla="*/ 634486 w 833102"/>
                    <a:gd name="connsiteY2071" fmla="*/ 1155477 h 1285875"/>
                    <a:gd name="connsiteX2072" fmla="*/ 638108 w 833102"/>
                    <a:gd name="connsiteY2072" fmla="*/ 1160306 h 1285875"/>
                    <a:gd name="connsiteX2073" fmla="*/ 636901 w 833102"/>
                    <a:gd name="connsiteY2073" fmla="*/ 1163928 h 1285875"/>
                    <a:gd name="connsiteX2074" fmla="*/ 627845 w 833102"/>
                    <a:gd name="connsiteY2074" fmla="*/ 1165136 h 1285875"/>
                    <a:gd name="connsiteX2075" fmla="*/ 623619 w 833102"/>
                    <a:gd name="connsiteY2075" fmla="*/ 1162117 h 1285875"/>
                    <a:gd name="connsiteX2076" fmla="*/ 622412 w 833102"/>
                    <a:gd name="connsiteY2076" fmla="*/ 1157288 h 1285875"/>
                    <a:gd name="connsiteX2077" fmla="*/ 626034 w 833102"/>
                    <a:gd name="connsiteY2077" fmla="*/ 1147025 h 1285875"/>
                    <a:gd name="connsiteX2078" fmla="*/ 643541 w 833102"/>
                    <a:gd name="connsiteY2078" fmla="*/ 1142195 h 1285875"/>
                    <a:gd name="connsiteX2079" fmla="*/ 650786 w 833102"/>
                    <a:gd name="connsiteY2079" fmla="*/ 1151251 h 1285875"/>
                    <a:gd name="connsiteX2080" fmla="*/ 650786 w 833102"/>
                    <a:gd name="connsiteY2080" fmla="*/ 1157891 h 1285875"/>
                    <a:gd name="connsiteX2081" fmla="*/ 647767 w 833102"/>
                    <a:gd name="connsiteY2081" fmla="*/ 1165739 h 1285875"/>
                    <a:gd name="connsiteX2082" fmla="*/ 644749 w 833102"/>
                    <a:gd name="connsiteY2082" fmla="*/ 1168154 h 1285875"/>
                    <a:gd name="connsiteX2083" fmla="*/ 641126 w 833102"/>
                    <a:gd name="connsiteY2083" fmla="*/ 1168154 h 1285875"/>
                    <a:gd name="connsiteX2084" fmla="*/ 638108 w 833102"/>
                    <a:gd name="connsiteY2084" fmla="*/ 1172380 h 1285875"/>
                    <a:gd name="connsiteX2085" fmla="*/ 638108 w 833102"/>
                    <a:gd name="connsiteY2085" fmla="*/ 1179021 h 1285875"/>
                    <a:gd name="connsiteX2086" fmla="*/ 639919 w 833102"/>
                    <a:gd name="connsiteY2086" fmla="*/ 1184454 h 1285875"/>
                    <a:gd name="connsiteX2087" fmla="*/ 642938 w 833102"/>
                    <a:gd name="connsiteY2087" fmla="*/ 1184454 h 1285875"/>
                    <a:gd name="connsiteX2088" fmla="*/ 640523 w 833102"/>
                    <a:gd name="connsiteY2088" fmla="*/ 1179021 h 1285875"/>
                    <a:gd name="connsiteX2089" fmla="*/ 641730 w 833102"/>
                    <a:gd name="connsiteY2089" fmla="*/ 1170569 h 1285875"/>
                    <a:gd name="connsiteX2090" fmla="*/ 645352 w 833102"/>
                    <a:gd name="connsiteY2090" fmla="*/ 1171173 h 1285875"/>
                    <a:gd name="connsiteX2091" fmla="*/ 649578 w 833102"/>
                    <a:gd name="connsiteY2091" fmla="*/ 1176002 h 1285875"/>
                    <a:gd name="connsiteX2092" fmla="*/ 646560 w 833102"/>
                    <a:gd name="connsiteY2092" fmla="*/ 1180832 h 1285875"/>
                    <a:gd name="connsiteX2093" fmla="*/ 648975 w 833102"/>
                    <a:gd name="connsiteY2093" fmla="*/ 1183247 h 1285875"/>
                    <a:gd name="connsiteX2094" fmla="*/ 648371 w 833102"/>
                    <a:gd name="connsiteY2094" fmla="*/ 1187472 h 1285875"/>
                    <a:gd name="connsiteX2095" fmla="*/ 652597 w 833102"/>
                    <a:gd name="connsiteY2095" fmla="*/ 1191095 h 1285875"/>
                    <a:gd name="connsiteX2096" fmla="*/ 653200 w 833102"/>
                    <a:gd name="connsiteY2096" fmla="*/ 1197132 h 1285875"/>
                    <a:gd name="connsiteX2097" fmla="*/ 658634 w 833102"/>
                    <a:gd name="connsiteY2097" fmla="*/ 1201961 h 1285875"/>
                    <a:gd name="connsiteX2098" fmla="*/ 657426 w 833102"/>
                    <a:gd name="connsiteY2098" fmla="*/ 1206187 h 1285875"/>
                    <a:gd name="connsiteX2099" fmla="*/ 652597 w 833102"/>
                    <a:gd name="connsiteY2099" fmla="*/ 1204979 h 1285875"/>
                    <a:gd name="connsiteX2100" fmla="*/ 642334 w 833102"/>
                    <a:gd name="connsiteY2100" fmla="*/ 1200150 h 1285875"/>
                    <a:gd name="connsiteX2101" fmla="*/ 639919 w 833102"/>
                    <a:gd name="connsiteY2101" fmla="*/ 1197132 h 1285875"/>
                    <a:gd name="connsiteX2102" fmla="*/ 636297 w 833102"/>
                    <a:gd name="connsiteY2102" fmla="*/ 1185661 h 1285875"/>
                    <a:gd name="connsiteX2103" fmla="*/ 636901 w 833102"/>
                    <a:gd name="connsiteY2103" fmla="*/ 1182039 h 1285875"/>
                    <a:gd name="connsiteX2104" fmla="*/ 633882 w 833102"/>
                    <a:gd name="connsiteY2104" fmla="*/ 1169965 h 1285875"/>
                    <a:gd name="connsiteX2105" fmla="*/ 635089 w 833102"/>
                    <a:gd name="connsiteY2105" fmla="*/ 1166947 h 1285875"/>
                    <a:gd name="connsiteX2106" fmla="*/ 639919 w 833102"/>
                    <a:gd name="connsiteY2106" fmla="*/ 1162721 h 1285875"/>
                    <a:gd name="connsiteX2107" fmla="*/ 639315 w 833102"/>
                    <a:gd name="connsiteY2107" fmla="*/ 1159702 h 1285875"/>
                    <a:gd name="connsiteX2108" fmla="*/ 635089 w 833102"/>
                    <a:gd name="connsiteY2108" fmla="*/ 1154873 h 1285875"/>
                    <a:gd name="connsiteX2109" fmla="*/ 632675 w 833102"/>
                    <a:gd name="connsiteY2109" fmla="*/ 1146421 h 1285875"/>
                    <a:gd name="connsiteX2110" fmla="*/ 637504 w 833102"/>
                    <a:gd name="connsiteY2110" fmla="*/ 1148836 h 1285875"/>
                    <a:gd name="connsiteX2111" fmla="*/ 643541 w 833102"/>
                    <a:gd name="connsiteY2111" fmla="*/ 1142195 h 1285875"/>
                    <a:gd name="connsiteX2112" fmla="*/ 654408 w 833102"/>
                    <a:gd name="connsiteY2112" fmla="*/ 1171173 h 1285875"/>
                    <a:gd name="connsiteX2113" fmla="*/ 646560 w 833102"/>
                    <a:gd name="connsiteY2113" fmla="*/ 1171173 h 1285875"/>
                    <a:gd name="connsiteX2114" fmla="*/ 650182 w 833102"/>
                    <a:gd name="connsiteY2114" fmla="*/ 1166947 h 1285875"/>
                    <a:gd name="connsiteX2115" fmla="*/ 653200 w 833102"/>
                    <a:gd name="connsiteY2115" fmla="*/ 1154873 h 1285875"/>
                    <a:gd name="connsiteX2116" fmla="*/ 652597 w 833102"/>
                    <a:gd name="connsiteY2116" fmla="*/ 1151251 h 1285875"/>
                    <a:gd name="connsiteX2117" fmla="*/ 648975 w 833102"/>
                    <a:gd name="connsiteY2117" fmla="*/ 1147025 h 1285875"/>
                    <a:gd name="connsiteX2118" fmla="*/ 648371 w 833102"/>
                    <a:gd name="connsiteY2118" fmla="*/ 1141591 h 1285875"/>
                    <a:gd name="connsiteX2119" fmla="*/ 654408 w 833102"/>
                    <a:gd name="connsiteY2119" fmla="*/ 1140384 h 1285875"/>
                    <a:gd name="connsiteX2120" fmla="*/ 656823 w 833102"/>
                    <a:gd name="connsiteY2120" fmla="*/ 1140988 h 1285875"/>
                    <a:gd name="connsiteX2121" fmla="*/ 656823 w 833102"/>
                    <a:gd name="connsiteY2121" fmla="*/ 1147628 h 1285875"/>
                    <a:gd name="connsiteX2122" fmla="*/ 658634 w 833102"/>
                    <a:gd name="connsiteY2122" fmla="*/ 1151251 h 1285875"/>
                    <a:gd name="connsiteX2123" fmla="*/ 664067 w 833102"/>
                    <a:gd name="connsiteY2123" fmla="*/ 1154873 h 1285875"/>
                    <a:gd name="connsiteX2124" fmla="*/ 660445 w 833102"/>
                    <a:gd name="connsiteY2124" fmla="*/ 1163325 h 1285875"/>
                    <a:gd name="connsiteX2125" fmla="*/ 662256 w 833102"/>
                    <a:gd name="connsiteY2125" fmla="*/ 1172380 h 1285875"/>
                    <a:gd name="connsiteX2126" fmla="*/ 658030 w 833102"/>
                    <a:gd name="connsiteY2126" fmla="*/ 1172984 h 1285875"/>
                    <a:gd name="connsiteX2127" fmla="*/ 654408 w 833102"/>
                    <a:gd name="connsiteY2127" fmla="*/ 1171173 h 1285875"/>
                    <a:gd name="connsiteX2128" fmla="*/ 639919 w 833102"/>
                    <a:gd name="connsiteY2128" fmla="*/ 1134347 h 1285875"/>
                    <a:gd name="connsiteX2129" fmla="*/ 644749 w 833102"/>
                    <a:gd name="connsiteY2129" fmla="*/ 1134951 h 1285875"/>
                    <a:gd name="connsiteX2130" fmla="*/ 645956 w 833102"/>
                    <a:gd name="connsiteY2130" fmla="*/ 1141591 h 1285875"/>
                    <a:gd name="connsiteX2131" fmla="*/ 642334 w 833102"/>
                    <a:gd name="connsiteY2131" fmla="*/ 1141591 h 1285875"/>
                    <a:gd name="connsiteX2132" fmla="*/ 639919 w 833102"/>
                    <a:gd name="connsiteY2132" fmla="*/ 1145214 h 1285875"/>
                    <a:gd name="connsiteX2133" fmla="*/ 635089 w 833102"/>
                    <a:gd name="connsiteY2133" fmla="*/ 1140988 h 1285875"/>
                    <a:gd name="connsiteX2134" fmla="*/ 636901 w 833102"/>
                    <a:gd name="connsiteY2134" fmla="*/ 1138573 h 1285875"/>
                    <a:gd name="connsiteX2135" fmla="*/ 637504 w 833102"/>
                    <a:gd name="connsiteY2135" fmla="*/ 1133140 h 1285875"/>
                    <a:gd name="connsiteX2136" fmla="*/ 639919 w 833102"/>
                    <a:gd name="connsiteY2136" fmla="*/ 1134347 h 1285875"/>
                    <a:gd name="connsiteX2137" fmla="*/ 650786 w 833102"/>
                    <a:gd name="connsiteY2137" fmla="*/ 1099332 h 1285875"/>
                    <a:gd name="connsiteX2138" fmla="*/ 651389 w 833102"/>
                    <a:gd name="connsiteY2138" fmla="*/ 1102955 h 1285875"/>
                    <a:gd name="connsiteX2139" fmla="*/ 650786 w 833102"/>
                    <a:gd name="connsiteY2139" fmla="*/ 1112010 h 1285875"/>
                    <a:gd name="connsiteX2140" fmla="*/ 653804 w 833102"/>
                    <a:gd name="connsiteY2140" fmla="*/ 1112614 h 1285875"/>
                    <a:gd name="connsiteX2141" fmla="*/ 658634 w 833102"/>
                    <a:gd name="connsiteY2141" fmla="*/ 1118047 h 1285875"/>
                    <a:gd name="connsiteX2142" fmla="*/ 653804 w 833102"/>
                    <a:gd name="connsiteY2142" fmla="*/ 1118047 h 1285875"/>
                    <a:gd name="connsiteX2143" fmla="*/ 653200 w 833102"/>
                    <a:gd name="connsiteY2143" fmla="*/ 1121669 h 1285875"/>
                    <a:gd name="connsiteX2144" fmla="*/ 661048 w 833102"/>
                    <a:gd name="connsiteY2144" fmla="*/ 1127706 h 1285875"/>
                    <a:gd name="connsiteX2145" fmla="*/ 662256 w 833102"/>
                    <a:gd name="connsiteY2145" fmla="*/ 1134951 h 1285875"/>
                    <a:gd name="connsiteX2146" fmla="*/ 667085 w 833102"/>
                    <a:gd name="connsiteY2146" fmla="*/ 1139780 h 1285875"/>
                    <a:gd name="connsiteX2147" fmla="*/ 668293 w 833102"/>
                    <a:gd name="connsiteY2147" fmla="*/ 1142195 h 1285875"/>
                    <a:gd name="connsiteX2148" fmla="*/ 666482 w 833102"/>
                    <a:gd name="connsiteY2148" fmla="*/ 1147628 h 1285875"/>
                    <a:gd name="connsiteX2149" fmla="*/ 669500 w 833102"/>
                    <a:gd name="connsiteY2149" fmla="*/ 1152458 h 1285875"/>
                    <a:gd name="connsiteX2150" fmla="*/ 667085 w 833102"/>
                    <a:gd name="connsiteY2150" fmla="*/ 1156080 h 1285875"/>
                    <a:gd name="connsiteX2151" fmla="*/ 664671 w 833102"/>
                    <a:gd name="connsiteY2151" fmla="*/ 1151854 h 1285875"/>
                    <a:gd name="connsiteX2152" fmla="*/ 658634 w 833102"/>
                    <a:gd name="connsiteY2152" fmla="*/ 1147628 h 1285875"/>
                    <a:gd name="connsiteX2153" fmla="*/ 659841 w 833102"/>
                    <a:gd name="connsiteY2153" fmla="*/ 1142799 h 1285875"/>
                    <a:gd name="connsiteX2154" fmla="*/ 658030 w 833102"/>
                    <a:gd name="connsiteY2154" fmla="*/ 1138573 h 1285875"/>
                    <a:gd name="connsiteX2155" fmla="*/ 651389 w 833102"/>
                    <a:gd name="connsiteY2155" fmla="*/ 1138573 h 1285875"/>
                    <a:gd name="connsiteX2156" fmla="*/ 647163 w 833102"/>
                    <a:gd name="connsiteY2156" fmla="*/ 1136762 h 1285875"/>
                    <a:gd name="connsiteX2157" fmla="*/ 645956 w 833102"/>
                    <a:gd name="connsiteY2157" fmla="*/ 1130725 h 1285875"/>
                    <a:gd name="connsiteX2158" fmla="*/ 642938 w 833102"/>
                    <a:gd name="connsiteY2158" fmla="*/ 1127706 h 1285875"/>
                    <a:gd name="connsiteX2159" fmla="*/ 644145 w 833102"/>
                    <a:gd name="connsiteY2159" fmla="*/ 1122877 h 1285875"/>
                    <a:gd name="connsiteX2160" fmla="*/ 644145 w 833102"/>
                    <a:gd name="connsiteY2160" fmla="*/ 1118047 h 1285875"/>
                    <a:gd name="connsiteX2161" fmla="*/ 644749 w 833102"/>
                    <a:gd name="connsiteY2161" fmla="*/ 1104162 h 1285875"/>
                    <a:gd name="connsiteX2162" fmla="*/ 646560 w 833102"/>
                    <a:gd name="connsiteY2162" fmla="*/ 1102955 h 1285875"/>
                    <a:gd name="connsiteX2163" fmla="*/ 647163 w 833102"/>
                    <a:gd name="connsiteY2163" fmla="*/ 1098125 h 1285875"/>
                    <a:gd name="connsiteX2164" fmla="*/ 650786 w 833102"/>
                    <a:gd name="connsiteY2164" fmla="*/ 1099332 h 1285875"/>
                    <a:gd name="connsiteX2165" fmla="*/ 625430 w 833102"/>
                    <a:gd name="connsiteY2165" fmla="*/ 1095710 h 1285875"/>
                    <a:gd name="connsiteX2166" fmla="*/ 630260 w 833102"/>
                    <a:gd name="connsiteY2166" fmla="*/ 1101747 h 1285875"/>
                    <a:gd name="connsiteX2167" fmla="*/ 632675 w 833102"/>
                    <a:gd name="connsiteY2167" fmla="*/ 1103558 h 1285875"/>
                    <a:gd name="connsiteX2168" fmla="*/ 632071 w 833102"/>
                    <a:gd name="connsiteY2168" fmla="*/ 1107784 h 1285875"/>
                    <a:gd name="connsiteX2169" fmla="*/ 625430 w 833102"/>
                    <a:gd name="connsiteY2169" fmla="*/ 1101747 h 1285875"/>
                    <a:gd name="connsiteX2170" fmla="*/ 625430 w 833102"/>
                    <a:gd name="connsiteY2170" fmla="*/ 1095710 h 1285875"/>
                    <a:gd name="connsiteX2171" fmla="*/ 632071 w 833102"/>
                    <a:gd name="connsiteY2171" fmla="*/ 1080618 h 1285875"/>
                    <a:gd name="connsiteX2172" fmla="*/ 632675 w 833102"/>
                    <a:gd name="connsiteY2172" fmla="*/ 1082429 h 1285875"/>
                    <a:gd name="connsiteX2173" fmla="*/ 633278 w 833102"/>
                    <a:gd name="connsiteY2173" fmla="*/ 1085448 h 1285875"/>
                    <a:gd name="connsiteX2174" fmla="*/ 635089 w 833102"/>
                    <a:gd name="connsiteY2174" fmla="*/ 1087862 h 1285875"/>
                    <a:gd name="connsiteX2175" fmla="*/ 634486 w 833102"/>
                    <a:gd name="connsiteY2175" fmla="*/ 1092692 h 1285875"/>
                    <a:gd name="connsiteX2176" fmla="*/ 637504 w 833102"/>
                    <a:gd name="connsiteY2176" fmla="*/ 1095710 h 1285875"/>
                    <a:gd name="connsiteX2177" fmla="*/ 630260 w 833102"/>
                    <a:gd name="connsiteY2177" fmla="*/ 1100540 h 1285875"/>
                    <a:gd name="connsiteX2178" fmla="*/ 629656 w 833102"/>
                    <a:gd name="connsiteY2178" fmla="*/ 1094503 h 1285875"/>
                    <a:gd name="connsiteX2179" fmla="*/ 625430 w 833102"/>
                    <a:gd name="connsiteY2179" fmla="*/ 1092692 h 1285875"/>
                    <a:gd name="connsiteX2180" fmla="*/ 624223 w 833102"/>
                    <a:gd name="connsiteY2180" fmla="*/ 1087259 h 1285875"/>
                    <a:gd name="connsiteX2181" fmla="*/ 625430 w 833102"/>
                    <a:gd name="connsiteY2181" fmla="*/ 1084844 h 1285875"/>
                    <a:gd name="connsiteX2182" fmla="*/ 625430 w 833102"/>
                    <a:gd name="connsiteY2182" fmla="*/ 1073374 h 1285875"/>
                    <a:gd name="connsiteX2183" fmla="*/ 626638 w 833102"/>
                    <a:gd name="connsiteY2183" fmla="*/ 1066129 h 1285875"/>
                    <a:gd name="connsiteX2184" fmla="*/ 630260 w 833102"/>
                    <a:gd name="connsiteY2184" fmla="*/ 1061904 h 1285875"/>
                    <a:gd name="connsiteX2185" fmla="*/ 632675 w 833102"/>
                    <a:gd name="connsiteY2185" fmla="*/ 1061904 h 1285875"/>
                    <a:gd name="connsiteX2186" fmla="*/ 634486 w 833102"/>
                    <a:gd name="connsiteY2186" fmla="*/ 1068544 h 1285875"/>
                    <a:gd name="connsiteX2187" fmla="*/ 634486 w 833102"/>
                    <a:gd name="connsiteY2187" fmla="*/ 1073977 h 1285875"/>
                    <a:gd name="connsiteX2188" fmla="*/ 632071 w 833102"/>
                    <a:gd name="connsiteY2188" fmla="*/ 1075789 h 1285875"/>
                    <a:gd name="connsiteX2189" fmla="*/ 632675 w 833102"/>
                    <a:gd name="connsiteY2189" fmla="*/ 1079411 h 1285875"/>
                    <a:gd name="connsiteX2190" fmla="*/ 633278 w 833102"/>
                    <a:gd name="connsiteY2190" fmla="*/ 1078203 h 1285875"/>
                    <a:gd name="connsiteX2191" fmla="*/ 632675 w 833102"/>
                    <a:gd name="connsiteY2191" fmla="*/ 1076996 h 1285875"/>
                    <a:gd name="connsiteX2192" fmla="*/ 634486 w 833102"/>
                    <a:gd name="connsiteY2192" fmla="*/ 1074581 h 1285875"/>
                    <a:gd name="connsiteX2193" fmla="*/ 636297 w 833102"/>
                    <a:gd name="connsiteY2193" fmla="*/ 1069752 h 1285875"/>
                    <a:gd name="connsiteX2194" fmla="*/ 634486 w 833102"/>
                    <a:gd name="connsiteY2194" fmla="*/ 1067337 h 1285875"/>
                    <a:gd name="connsiteX2195" fmla="*/ 632675 w 833102"/>
                    <a:gd name="connsiteY2195" fmla="*/ 1059489 h 1285875"/>
                    <a:gd name="connsiteX2196" fmla="*/ 637504 w 833102"/>
                    <a:gd name="connsiteY2196" fmla="*/ 1058281 h 1285875"/>
                    <a:gd name="connsiteX2197" fmla="*/ 644749 w 833102"/>
                    <a:gd name="connsiteY2197" fmla="*/ 1061904 h 1285875"/>
                    <a:gd name="connsiteX2198" fmla="*/ 646560 w 833102"/>
                    <a:gd name="connsiteY2198" fmla="*/ 1065526 h 1285875"/>
                    <a:gd name="connsiteX2199" fmla="*/ 649578 w 833102"/>
                    <a:gd name="connsiteY2199" fmla="*/ 1076996 h 1285875"/>
                    <a:gd name="connsiteX2200" fmla="*/ 653200 w 833102"/>
                    <a:gd name="connsiteY2200" fmla="*/ 1080014 h 1285875"/>
                    <a:gd name="connsiteX2201" fmla="*/ 651993 w 833102"/>
                    <a:gd name="connsiteY2201" fmla="*/ 1086655 h 1285875"/>
                    <a:gd name="connsiteX2202" fmla="*/ 653804 w 833102"/>
                    <a:gd name="connsiteY2202" fmla="*/ 1089070 h 1285875"/>
                    <a:gd name="connsiteX2203" fmla="*/ 647767 w 833102"/>
                    <a:gd name="connsiteY2203" fmla="*/ 1092692 h 1285875"/>
                    <a:gd name="connsiteX2204" fmla="*/ 646560 w 833102"/>
                    <a:gd name="connsiteY2204" fmla="*/ 1101144 h 1285875"/>
                    <a:gd name="connsiteX2205" fmla="*/ 643541 w 833102"/>
                    <a:gd name="connsiteY2205" fmla="*/ 1105369 h 1285875"/>
                    <a:gd name="connsiteX2206" fmla="*/ 642334 w 833102"/>
                    <a:gd name="connsiteY2206" fmla="*/ 1115029 h 1285875"/>
                    <a:gd name="connsiteX2207" fmla="*/ 639919 w 833102"/>
                    <a:gd name="connsiteY2207" fmla="*/ 1115029 h 1285875"/>
                    <a:gd name="connsiteX2208" fmla="*/ 635089 w 833102"/>
                    <a:gd name="connsiteY2208" fmla="*/ 1109595 h 1285875"/>
                    <a:gd name="connsiteX2209" fmla="*/ 632675 w 833102"/>
                    <a:gd name="connsiteY2209" fmla="*/ 1099936 h 1285875"/>
                    <a:gd name="connsiteX2210" fmla="*/ 636901 w 833102"/>
                    <a:gd name="connsiteY2210" fmla="*/ 1096918 h 1285875"/>
                    <a:gd name="connsiteX2211" fmla="*/ 638712 w 833102"/>
                    <a:gd name="connsiteY2211" fmla="*/ 1098125 h 1285875"/>
                    <a:gd name="connsiteX2212" fmla="*/ 638712 w 833102"/>
                    <a:gd name="connsiteY2212" fmla="*/ 1093899 h 1285875"/>
                    <a:gd name="connsiteX2213" fmla="*/ 635089 w 833102"/>
                    <a:gd name="connsiteY2213" fmla="*/ 1092088 h 1285875"/>
                    <a:gd name="connsiteX2214" fmla="*/ 637504 w 833102"/>
                    <a:gd name="connsiteY2214" fmla="*/ 1089070 h 1285875"/>
                    <a:gd name="connsiteX2215" fmla="*/ 634486 w 833102"/>
                    <a:gd name="connsiteY2215" fmla="*/ 1084844 h 1285875"/>
                    <a:gd name="connsiteX2216" fmla="*/ 633882 w 833102"/>
                    <a:gd name="connsiteY2216" fmla="*/ 1083033 h 1285875"/>
                    <a:gd name="connsiteX2217" fmla="*/ 632071 w 833102"/>
                    <a:gd name="connsiteY2217" fmla="*/ 1080618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Lst>
                  <a:rect l="l" t="t" r="r" b="b"/>
                  <a:pathLst>
                    <a:path w="833102" h="1285875">
                      <a:moveTo>
                        <a:pt x="550572" y="1273198"/>
                      </a:moveTo>
                      <a:lnTo>
                        <a:pt x="557212" y="1276820"/>
                      </a:lnTo>
                      <a:lnTo>
                        <a:pt x="557212" y="1285875"/>
                      </a:lnTo>
                      <a:lnTo>
                        <a:pt x="552383" y="1286479"/>
                      </a:lnTo>
                      <a:lnTo>
                        <a:pt x="546950" y="1283460"/>
                      </a:lnTo>
                      <a:lnTo>
                        <a:pt x="548157" y="1275612"/>
                      </a:lnTo>
                      <a:lnTo>
                        <a:pt x="550572" y="1273198"/>
                      </a:lnTo>
                      <a:close/>
                      <a:moveTo>
                        <a:pt x="619997" y="1271990"/>
                      </a:moveTo>
                      <a:lnTo>
                        <a:pt x="628449" y="1275009"/>
                      </a:lnTo>
                      <a:lnTo>
                        <a:pt x="632071" y="1278027"/>
                      </a:lnTo>
                      <a:lnTo>
                        <a:pt x="633278" y="1284064"/>
                      </a:lnTo>
                      <a:lnTo>
                        <a:pt x="623619" y="1284668"/>
                      </a:lnTo>
                      <a:lnTo>
                        <a:pt x="619997" y="1282253"/>
                      </a:lnTo>
                      <a:lnTo>
                        <a:pt x="618790" y="1278631"/>
                      </a:lnTo>
                      <a:lnTo>
                        <a:pt x="619997" y="1271990"/>
                      </a:lnTo>
                      <a:close/>
                      <a:moveTo>
                        <a:pt x="598264" y="1265349"/>
                      </a:moveTo>
                      <a:lnTo>
                        <a:pt x="598264" y="1265953"/>
                      </a:lnTo>
                      <a:lnTo>
                        <a:pt x="599471" y="1263538"/>
                      </a:lnTo>
                      <a:lnTo>
                        <a:pt x="606716" y="1261727"/>
                      </a:lnTo>
                      <a:lnTo>
                        <a:pt x="607319" y="1268972"/>
                      </a:lnTo>
                      <a:lnTo>
                        <a:pt x="612149" y="1275009"/>
                      </a:lnTo>
                      <a:lnTo>
                        <a:pt x="610338" y="1277423"/>
                      </a:lnTo>
                      <a:lnTo>
                        <a:pt x="602490" y="1278027"/>
                      </a:lnTo>
                      <a:lnTo>
                        <a:pt x="602490" y="1275009"/>
                      </a:lnTo>
                      <a:lnTo>
                        <a:pt x="603697" y="1274405"/>
                      </a:lnTo>
                      <a:lnTo>
                        <a:pt x="604301" y="1273198"/>
                      </a:lnTo>
                      <a:lnTo>
                        <a:pt x="603093" y="1271990"/>
                      </a:lnTo>
                      <a:lnTo>
                        <a:pt x="600075" y="1270783"/>
                      </a:lnTo>
                      <a:lnTo>
                        <a:pt x="598867" y="1266557"/>
                      </a:lnTo>
                      <a:lnTo>
                        <a:pt x="599471" y="1270783"/>
                      </a:lnTo>
                      <a:lnTo>
                        <a:pt x="603697" y="1273198"/>
                      </a:lnTo>
                      <a:lnTo>
                        <a:pt x="601886" y="1275612"/>
                      </a:lnTo>
                      <a:lnTo>
                        <a:pt x="600679" y="1279235"/>
                      </a:lnTo>
                      <a:lnTo>
                        <a:pt x="595245" y="1278027"/>
                      </a:lnTo>
                      <a:lnTo>
                        <a:pt x="594038" y="1275612"/>
                      </a:lnTo>
                      <a:lnTo>
                        <a:pt x="594642" y="1267764"/>
                      </a:lnTo>
                      <a:lnTo>
                        <a:pt x="598264" y="1265349"/>
                      </a:lnTo>
                      <a:close/>
                      <a:moveTo>
                        <a:pt x="558420" y="1264746"/>
                      </a:moveTo>
                      <a:lnTo>
                        <a:pt x="562646" y="1266557"/>
                      </a:lnTo>
                      <a:lnTo>
                        <a:pt x="568079" y="1270783"/>
                      </a:lnTo>
                      <a:lnTo>
                        <a:pt x="568682" y="1275612"/>
                      </a:lnTo>
                      <a:lnTo>
                        <a:pt x="566268" y="1279235"/>
                      </a:lnTo>
                      <a:lnTo>
                        <a:pt x="561438" y="1281649"/>
                      </a:lnTo>
                      <a:lnTo>
                        <a:pt x="558420" y="1275612"/>
                      </a:lnTo>
                      <a:lnTo>
                        <a:pt x="552987" y="1273198"/>
                      </a:lnTo>
                      <a:lnTo>
                        <a:pt x="558420" y="1264746"/>
                      </a:lnTo>
                      <a:close/>
                      <a:moveTo>
                        <a:pt x="653200" y="1267161"/>
                      </a:moveTo>
                      <a:lnTo>
                        <a:pt x="651389" y="1270179"/>
                      </a:lnTo>
                      <a:lnTo>
                        <a:pt x="644749" y="1269575"/>
                      </a:lnTo>
                      <a:lnTo>
                        <a:pt x="641730" y="1262935"/>
                      </a:lnTo>
                      <a:lnTo>
                        <a:pt x="644749" y="1256294"/>
                      </a:lnTo>
                      <a:lnTo>
                        <a:pt x="646560" y="1262331"/>
                      </a:lnTo>
                      <a:lnTo>
                        <a:pt x="646560" y="1259312"/>
                      </a:lnTo>
                      <a:lnTo>
                        <a:pt x="644145" y="1250861"/>
                      </a:lnTo>
                      <a:lnTo>
                        <a:pt x="643541" y="1250861"/>
                      </a:lnTo>
                      <a:lnTo>
                        <a:pt x="638108" y="1246635"/>
                      </a:lnTo>
                      <a:lnTo>
                        <a:pt x="639919" y="1243013"/>
                      </a:lnTo>
                      <a:lnTo>
                        <a:pt x="638712" y="1237579"/>
                      </a:lnTo>
                      <a:lnTo>
                        <a:pt x="643541" y="1238183"/>
                      </a:lnTo>
                      <a:lnTo>
                        <a:pt x="647163" y="1239994"/>
                      </a:lnTo>
                      <a:lnTo>
                        <a:pt x="645956" y="1238787"/>
                      </a:lnTo>
                      <a:lnTo>
                        <a:pt x="647163" y="1235164"/>
                      </a:lnTo>
                      <a:lnTo>
                        <a:pt x="648975" y="1234561"/>
                      </a:lnTo>
                      <a:lnTo>
                        <a:pt x="651993" y="1231542"/>
                      </a:lnTo>
                      <a:lnTo>
                        <a:pt x="653804" y="1232146"/>
                      </a:lnTo>
                      <a:lnTo>
                        <a:pt x="653804" y="1239994"/>
                      </a:lnTo>
                      <a:lnTo>
                        <a:pt x="656219" y="1243616"/>
                      </a:lnTo>
                      <a:lnTo>
                        <a:pt x="655011" y="1247238"/>
                      </a:lnTo>
                      <a:lnTo>
                        <a:pt x="652597" y="1246031"/>
                      </a:lnTo>
                      <a:lnTo>
                        <a:pt x="648975" y="1244824"/>
                      </a:lnTo>
                      <a:lnTo>
                        <a:pt x="651993" y="1242409"/>
                      </a:lnTo>
                      <a:lnTo>
                        <a:pt x="650786" y="1240598"/>
                      </a:lnTo>
                      <a:lnTo>
                        <a:pt x="647767" y="1242409"/>
                      </a:lnTo>
                      <a:lnTo>
                        <a:pt x="647767" y="1247238"/>
                      </a:lnTo>
                      <a:lnTo>
                        <a:pt x="650786" y="1249653"/>
                      </a:lnTo>
                      <a:lnTo>
                        <a:pt x="651993" y="1250861"/>
                      </a:lnTo>
                      <a:lnTo>
                        <a:pt x="652597" y="1257501"/>
                      </a:lnTo>
                      <a:lnTo>
                        <a:pt x="651389" y="1258709"/>
                      </a:lnTo>
                      <a:lnTo>
                        <a:pt x="651389" y="1261727"/>
                      </a:lnTo>
                      <a:lnTo>
                        <a:pt x="652597" y="1262331"/>
                      </a:lnTo>
                      <a:lnTo>
                        <a:pt x="655615" y="1261727"/>
                      </a:lnTo>
                      <a:lnTo>
                        <a:pt x="658634" y="1261124"/>
                      </a:lnTo>
                      <a:lnTo>
                        <a:pt x="659237" y="1266557"/>
                      </a:lnTo>
                      <a:lnTo>
                        <a:pt x="661652" y="1267764"/>
                      </a:lnTo>
                      <a:lnTo>
                        <a:pt x="659841" y="1271990"/>
                      </a:lnTo>
                      <a:lnTo>
                        <a:pt x="653804" y="1272594"/>
                      </a:lnTo>
                      <a:lnTo>
                        <a:pt x="653200" y="1267161"/>
                      </a:lnTo>
                      <a:close/>
                      <a:moveTo>
                        <a:pt x="647163" y="1264142"/>
                      </a:moveTo>
                      <a:lnTo>
                        <a:pt x="651389" y="1263538"/>
                      </a:lnTo>
                      <a:lnTo>
                        <a:pt x="653200" y="1266557"/>
                      </a:lnTo>
                      <a:lnTo>
                        <a:pt x="652597" y="1264142"/>
                      </a:lnTo>
                      <a:lnTo>
                        <a:pt x="651389" y="1262935"/>
                      </a:lnTo>
                      <a:lnTo>
                        <a:pt x="647163" y="1263538"/>
                      </a:lnTo>
                      <a:lnTo>
                        <a:pt x="647163" y="1264142"/>
                      </a:lnTo>
                      <a:close/>
                      <a:moveTo>
                        <a:pt x="566871" y="1252672"/>
                      </a:moveTo>
                      <a:lnTo>
                        <a:pt x="568682" y="1260520"/>
                      </a:lnTo>
                      <a:lnTo>
                        <a:pt x="571097" y="1264142"/>
                      </a:lnTo>
                      <a:lnTo>
                        <a:pt x="569890" y="1269575"/>
                      </a:lnTo>
                      <a:lnTo>
                        <a:pt x="562646" y="1265349"/>
                      </a:lnTo>
                      <a:lnTo>
                        <a:pt x="562042" y="1262935"/>
                      </a:lnTo>
                      <a:lnTo>
                        <a:pt x="565664" y="1258709"/>
                      </a:lnTo>
                      <a:lnTo>
                        <a:pt x="566871" y="1252672"/>
                      </a:lnTo>
                      <a:close/>
                      <a:moveTo>
                        <a:pt x="569890" y="1252672"/>
                      </a:moveTo>
                      <a:lnTo>
                        <a:pt x="572908" y="1255690"/>
                      </a:lnTo>
                      <a:lnTo>
                        <a:pt x="569286" y="1260520"/>
                      </a:lnTo>
                      <a:lnTo>
                        <a:pt x="567475" y="1254483"/>
                      </a:lnTo>
                      <a:lnTo>
                        <a:pt x="569890" y="1252672"/>
                      </a:lnTo>
                      <a:close/>
                      <a:moveTo>
                        <a:pt x="613960" y="1249653"/>
                      </a:moveTo>
                      <a:lnTo>
                        <a:pt x="613960" y="1259312"/>
                      </a:lnTo>
                      <a:lnTo>
                        <a:pt x="612149" y="1261124"/>
                      </a:lnTo>
                      <a:lnTo>
                        <a:pt x="607923" y="1259312"/>
                      </a:lnTo>
                      <a:lnTo>
                        <a:pt x="604301" y="1259312"/>
                      </a:lnTo>
                      <a:lnTo>
                        <a:pt x="602490" y="1256898"/>
                      </a:lnTo>
                      <a:lnTo>
                        <a:pt x="598867" y="1255087"/>
                      </a:lnTo>
                      <a:lnTo>
                        <a:pt x="604904" y="1255087"/>
                      </a:lnTo>
                      <a:lnTo>
                        <a:pt x="604904" y="1253275"/>
                      </a:lnTo>
                      <a:lnTo>
                        <a:pt x="613960" y="1249653"/>
                      </a:lnTo>
                      <a:close/>
                      <a:moveTo>
                        <a:pt x="511935" y="1249653"/>
                      </a:moveTo>
                      <a:lnTo>
                        <a:pt x="515557" y="1249653"/>
                      </a:lnTo>
                      <a:lnTo>
                        <a:pt x="520387" y="1255690"/>
                      </a:lnTo>
                      <a:lnTo>
                        <a:pt x="519180" y="1259916"/>
                      </a:lnTo>
                      <a:lnTo>
                        <a:pt x="520991" y="1262331"/>
                      </a:lnTo>
                      <a:lnTo>
                        <a:pt x="517368" y="1268368"/>
                      </a:lnTo>
                      <a:lnTo>
                        <a:pt x="511331" y="1270783"/>
                      </a:lnTo>
                      <a:lnTo>
                        <a:pt x="510728" y="1266557"/>
                      </a:lnTo>
                      <a:lnTo>
                        <a:pt x="513143" y="1258709"/>
                      </a:lnTo>
                      <a:lnTo>
                        <a:pt x="511935" y="1249653"/>
                      </a:lnTo>
                      <a:close/>
                      <a:moveTo>
                        <a:pt x="541516" y="1249050"/>
                      </a:moveTo>
                      <a:lnTo>
                        <a:pt x="545139" y="1256898"/>
                      </a:lnTo>
                      <a:lnTo>
                        <a:pt x="540913" y="1268972"/>
                      </a:lnTo>
                      <a:lnTo>
                        <a:pt x="534876" y="1261727"/>
                      </a:lnTo>
                      <a:lnTo>
                        <a:pt x="534272" y="1253275"/>
                      </a:lnTo>
                      <a:lnTo>
                        <a:pt x="537291" y="1250257"/>
                      </a:lnTo>
                      <a:lnTo>
                        <a:pt x="534876" y="1241805"/>
                      </a:lnTo>
                      <a:lnTo>
                        <a:pt x="534876" y="1246635"/>
                      </a:lnTo>
                      <a:lnTo>
                        <a:pt x="533065" y="1244220"/>
                      </a:lnTo>
                      <a:lnTo>
                        <a:pt x="536083" y="1250257"/>
                      </a:lnTo>
                      <a:lnTo>
                        <a:pt x="533065" y="1253275"/>
                      </a:lnTo>
                      <a:lnTo>
                        <a:pt x="532461" y="1259916"/>
                      </a:lnTo>
                      <a:lnTo>
                        <a:pt x="536687" y="1267161"/>
                      </a:lnTo>
                      <a:lnTo>
                        <a:pt x="533065" y="1268972"/>
                      </a:lnTo>
                      <a:lnTo>
                        <a:pt x="530650" y="1274405"/>
                      </a:lnTo>
                      <a:lnTo>
                        <a:pt x="527631" y="1270179"/>
                      </a:lnTo>
                      <a:lnTo>
                        <a:pt x="527631" y="1262935"/>
                      </a:lnTo>
                      <a:lnTo>
                        <a:pt x="526424" y="1255087"/>
                      </a:lnTo>
                      <a:lnTo>
                        <a:pt x="530046" y="1251464"/>
                      </a:lnTo>
                      <a:lnTo>
                        <a:pt x="533065" y="1244220"/>
                      </a:lnTo>
                      <a:lnTo>
                        <a:pt x="530650" y="1241201"/>
                      </a:lnTo>
                      <a:lnTo>
                        <a:pt x="527028" y="1233353"/>
                      </a:lnTo>
                      <a:lnTo>
                        <a:pt x="529442" y="1231542"/>
                      </a:lnTo>
                      <a:lnTo>
                        <a:pt x="530650" y="1230335"/>
                      </a:lnTo>
                      <a:lnTo>
                        <a:pt x="531254" y="1229731"/>
                      </a:lnTo>
                      <a:lnTo>
                        <a:pt x="528839" y="1221883"/>
                      </a:lnTo>
                      <a:lnTo>
                        <a:pt x="530650" y="1212828"/>
                      </a:lnTo>
                      <a:lnTo>
                        <a:pt x="533668" y="1209809"/>
                      </a:lnTo>
                      <a:lnTo>
                        <a:pt x="534272" y="1206187"/>
                      </a:lnTo>
                      <a:lnTo>
                        <a:pt x="536687" y="1206187"/>
                      </a:lnTo>
                      <a:lnTo>
                        <a:pt x="537894" y="1206187"/>
                      </a:lnTo>
                      <a:lnTo>
                        <a:pt x="539705" y="1205583"/>
                      </a:lnTo>
                      <a:lnTo>
                        <a:pt x="542724" y="1207998"/>
                      </a:lnTo>
                      <a:lnTo>
                        <a:pt x="547553" y="1209809"/>
                      </a:lnTo>
                      <a:lnTo>
                        <a:pt x="548761" y="1217657"/>
                      </a:lnTo>
                      <a:lnTo>
                        <a:pt x="541516" y="1224298"/>
                      </a:lnTo>
                      <a:lnTo>
                        <a:pt x="539102" y="1228524"/>
                      </a:lnTo>
                      <a:lnTo>
                        <a:pt x="538498" y="1228524"/>
                      </a:lnTo>
                      <a:lnTo>
                        <a:pt x="538498" y="1231542"/>
                      </a:lnTo>
                      <a:lnTo>
                        <a:pt x="540309" y="1229127"/>
                      </a:lnTo>
                      <a:lnTo>
                        <a:pt x="542120" y="1231542"/>
                      </a:lnTo>
                      <a:lnTo>
                        <a:pt x="545742" y="1230939"/>
                      </a:lnTo>
                      <a:lnTo>
                        <a:pt x="543931" y="1243013"/>
                      </a:lnTo>
                      <a:lnTo>
                        <a:pt x="541516" y="1248446"/>
                      </a:lnTo>
                      <a:lnTo>
                        <a:pt x="539102" y="1249050"/>
                      </a:lnTo>
                      <a:lnTo>
                        <a:pt x="538498" y="1249653"/>
                      </a:lnTo>
                      <a:lnTo>
                        <a:pt x="541516" y="1249050"/>
                      </a:lnTo>
                      <a:close/>
                      <a:moveTo>
                        <a:pt x="534876" y="1236372"/>
                      </a:moveTo>
                      <a:lnTo>
                        <a:pt x="538498" y="1231542"/>
                      </a:lnTo>
                      <a:lnTo>
                        <a:pt x="534876" y="1235164"/>
                      </a:lnTo>
                      <a:lnTo>
                        <a:pt x="534876" y="1236372"/>
                      </a:lnTo>
                      <a:close/>
                      <a:moveTo>
                        <a:pt x="531254" y="1229731"/>
                      </a:moveTo>
                      <a:lnTo>
                        <a:pt x="533065" y="1227920"/>
                      </a:lnTo>
                      <a:lnTo>
                        <a:pt x="533668" y="1227316"/>
                      </a:lnTo>
                      <a:lnTo>
                        <a:pt x="534876" y="1226713"/>
                      </a:lnTo>
                      <a:lnTo>
                        <a:pt x="535479" y="1226713"/>
                      </a:lnTo>
                      <a:lnTo>
                        <a:pt x="536083" y="1227920"/>
                      </a:lnTo>
                      <a:lnTo>
                        <a:pt x="536687" y="1228524"/>
                      </a:lnTo>
                      <a:lnTo>
                        <a:pt x="536083" y="1226713"/>
                      </a:lnTo>
                      <a:lnTo>
                        <a:pt x="535479" y="1226109"/>
                      </a:lnTo>
                      <a:lnTo>
                        <a:pt x="534272" y="1226109"/>
                      </a:lnTo>
                      <a:lnTo>
                        <a:pt x="531254" y="1229731"/>
                      </a:lnTo>
                      <a:close/>
                      <a:moveTo>
                        <a:pt x="591623" y="1248446"/>
                      </a:moveTo>
                      <a:lnTo>
                        <a:pt x="592830" y="1253879"/>
                      </a:lnTo>
                      <a:lnTo>
                        <a:pt x="600679" y="1261124"/>
                      </a:lnTo>
                      <a:lnTo>
                        <a:pt x="597056" y="1264746"/>
                      </a:lnTo>
                      <a:lnTo>
                        <a:pt x="589812" y="1254483"/>
                      </a:lnTo>
                      <a:lnTo>
                        <a:pt x="591623" y="1248446"/>
                      </a:lnTo>
                      <a:close/>
                      <a:moveTo>
                        <a:pt x="490202" y="1246635"/>
                      </a:moveTo>
                      <a:lnTo>
                        <a:pt x="492617" y="1250861"/>
                      </a:lnTo>
                      <a:lnTo>
                        <a:pt x="488995" y="1252068"/>
                      </a:lnTo>
                      <a:lnTo>
                        <a:pt x="488995" y="1253275"/>
                      </a:lnTo>
                      <a:lnTo>
                        <a:pt x="493220" y="1250861"/>
                      </a:lnTo>
                      <a:lnTo>
                        <a:pt x="491409" y="1246635"/>
                      </a:lnTo>
                      <a:lnTo>
                        <a:pt x="492013" y="1239994"/>
                      </a:lnTo>
                      <a:lnTo>
                        <a:pt x="493220" y="1237579"/>
                      </a:lnTo>
                      <a:lnTo>
                        <a:pt x="504087" y="1238787"/>
                      </a:lnTo>
                      <a:lnTo>
                        <a:pt x="504087" y="1244824"/>
                      </a:lnTo>
                      <a:lnTo>
                        <a:pt x="511935" y="1257501"/>
                      </a:lnTo>
                      <a:lnTo>
                        <a:pt x="508313" y="1265349"/>
                      </a:lnTo>
                      <a:lnTo>
                        <a:pt x="507106" y="1272594"/>
                      </a:lnTo>
                      <a:lnTo>
                        <a:pt x="510728" y="1277423"/>
                      </a:lnTo>
                      <a:lnTo>
                        <a:pt x="507709" y="1281649"/>
                      </a:lnTo>
                      <a:lnTo>
                        <a:pt x="503483" y="1282857"/>
                      </a:lnTo>
                      <a:lnTo>
                        <a:pt x="499257" y="1281046"/>
                      </a:lnTo>
                      <a:lnTo>
                        <a:pt x="498654" y="1275009"/>
                      </a:lnTo>
                      <a:lnTo>
                        <a:pt x="492617" y="1268972"/>
                      </a:lnTo>
                      <a:lnTo>
                        <a:pt x="496239" y="1265349"/>
                      </a:lnTo>
                      <a:lnTo>
                        <a:pt x="495635" y="1258105"/>
                      </a:lnTo>
                      <a:lnTo>
                        <a:pt x="494428" y="1256898"/>
                      </a:lnTo>
                      <a:lnTo>
                        <a:pt x="490806" y="1256898"/>
                      </a:lnTo>
                      <a:lnTo>
                        <a:pt x="488995" y="1255087"/>
                      </a:lnTo>
                      <a:lnTo>
                        <a:pt x="488995" y="1256294"/>
                      </a:lnTo>
                      <a:lnTo>
                        <a:pt x="492013" y="1258105"/>
                      </a:lnTo>
                      <a:lnTo>
                        <a:pt x="494428" y="1257501"/>
                      </a:lnTo>
                      <a:lnTo>
                        <a:pt x="495635" y="1264142"/>
                      </a:lnTo>
                      <a:lnTo>
                        <a:pt x="490202" y="1271386"/>
                      </a:lnTo>
                      <a:lnTo>
                        <a:pt x="487787" y="1265953"/>
                      </a:lnTo>
                      <a:lnTo>
                        <a:pt x="485372" y="1253275"/>
                      </a:lnTo>
                      <a:lnTo>
                        <a:pt x="486580" y="1249050"/>
                      </a:lnTo>
                      <a:lnTo>
                        <a:pt x="490202" y="1246635"/>
                      </a:lnTo>
                      <a:close/>
                      <a:moveTo>
                        <a:pt x="659237" y="1253879"/>
                      </a:moveTo>
                      <a:lnTo>
                        <a:pt x="658030" y="1249050"/>
                      </a:lnTo>
                      <a:lnTo>
                        <a:pt x="661652" y="1246635"/>
                      </a:lnTo>
                      <a:lnTo>
                        <a:pt x="666482" y="1246031"/>
                      </a:lnTo>
                      <a:lnTo>
                        <a:pt x="668896" y="1253275"/>
                      </a:lnTo>
                      <a:lnTo>
                        <a:pt x="673122" y="1258709"/>
                      </a:lnTo>
                      <a:lnTo>
                        <a:pt x="673122" y="1265349"/>
                      </a:lnTo>
                      <a:lnTo>
                        <a:pt x="668293" y="1268972"/>
                      </a:lnTo>
                      <a:lnTo>
                        <a:pt x="664067" y="1268972"/>
                      </a:lnTo>
                      <a:lnTo>
                        <a:pt x="659237" y="1263538"/>
                      </a:lnTo>
                      <a:lnTo>
                        <a:pt x="659237" y="1253879"/>
                      </a:lnTo>
                      <a:close/>
                      <a:moveTo>
                        <a:pt x="652597" y="1246031"/>
                      </a:moveTo>
                      <a:lnTo>
                        <a:pt x="658030" y="1251464"/>
                      </a:lnTo>
                      <a:lnTo>
                        <a:pt x="659237" y="1253879"/>
                      </a:lnTo>
                      <a:lnTo>
                        <a:pt x="657426" y="1259916"/>
                      </a:lnTo>
                      <a:lnTo>
                        <a:pt x="655615" y="1261727"/>
                      </a:lnTo>
                      <a:lnTo>
                        <a:pt x="651993" y="1261727"/>
                      </a:lnTo>
                      <a:lnTo>
                        <a:pt x="653200" y="1257501"/>
                      </a:lnTo>
                      <a:lnTo>
                        <a:pt x="652597" y="1250861"/>
                      </a:lnTo>
                      <a:lnTo>
                        <a:pt x="648371" y="1246635"/>
                      </a:lnTo>
                      <a:lnTo>
                        <a:pt x="649578" y="1245427"/>
                      </a:lnTo>
                      <a:lnTo>
                        <a:pt x="652597" y="1246031"/>
                      </a:lnTo>
                      <a:close/>
                      <a:moveTo>
                        <a:pt x="560231" y="1243013"/>
                      </a:moveTo>
                      <a:lnTo>
                        <a:pt x="565664" y="1243616"/>
                      </a:lnTo>
                      <a:lnTo>
                        <a:pt x="568682" y="1248446"/>
                      </a:lnTo>
                      <a:lnTo>
                        <a:pt x="568682" y="1251464"/>
                      </a:lnTo>
                      <a:lnTo>
                        <a:pt x="564457" y="1252672"/>
                      </a:lnTo>
                      <a:lnTo>
                        <a:pt x="565060" y="1258709"/>
                      </a:lnTo>
                      <a:lnTo>
                        <a:pt x="559627" y="1264746"/>
                      </a:lnTo>
                      <a:lnTo>
                        <a:pt x="556609" y="1260520"/>
                      </a:lnTo>
                      <a:lnTo>
                        <a:pt x="557212" y="1256294"/>
                      </a:lnTo>
                      <a:lnTo>
                        <a:pt x="554798" y="1248446"/>
                      </a:lnTo>
                      <a:lnTo>
                        <a:pt x="556005" y="1247238"/>
                      </a:lnTo>
                      <a:lnTo>
                        <a:pt x="551779" y="1239994"/>
                      </a:lnTo>
                      <a:lnTo>
                        <a:pt x="551779" y="1235164"/>
                      </a:lnTo>
                      <a:lnTo>
                        <a:pt x="556609" y="1228524"/>
                      </a:lnTo>
                      <a:lnTo>
                        <a:pt x="560231" y="1226713"/>
                      </a:lnTo>
                      <a:lnTo>
                        <a:pt x="565060" y="1230335"/>
                      </a:lnTo>
                      <a:lnTo>
                        <a:pt x="563853" y="1237579"/>
                      </a:lnTo>
                      <a:lnTo>
                        <a:pt x="565664" y="1243013"/>
                      </a:lnTo>
                      <a:lnTo>
                        <a:pt x="560231" y="1243013"/>
                      </a:lnTo>
                      <a:lnTo>
                        <a:pt x="559627" y="1243013"/>
                      </a:lnTo>
                      <a:lnTo>
                        <a:pt x="556005" y="1247238"/>
                      </a:lnTo>
                      <a:lnTo>
                        <a:pt x="560231" y="1243013"/>
                      </a:lnTo>
                      <a:close/>
                      <a:moveTo>
                        <a:pt x="629656" y="1241201"/>
                      </a:moveTo>
                      <a:lnTo>
                        <a:pt x="636297" y="1245427"/>
                      </a:lnTo>
                      <a:lnTo>
                        <a:pt x="636901" y="1248446"/>
                      </a:lnTo>
                      <a:lnTo>
                        <a:pt x="642334" y="1253275"/>
                      </a:lnTo>
                      <a:lnTo>
                        <a:pt x="638108" y="1265953"/>
                      </a:lnTo>
                      <a:lnTo>
                        <a:pt x="630260" y="1259916"/>
                      </a:lnTo>
                      <a:lnTo>
                        <a:pt x="627845" y="1252068"/>
                      </a:lnTo>
                      <a:lnTo>
                        <a:pt x="627845" y="1246635"/>
                      </a:lnTo>
                      <a:lnTo>
                        <a:pt x="629656" y="1241201"/>
                      </a:lnTo>
                      <a:close/>
                      <a:moveTo>
                        <a:pt x="522198" y="1243616"/>
                      </a:moveTo>
                      <a:lnTo>
                        <a:pt x="523405" y="1246031"/>
                      </a:lnTo>
                      <a:lnTo>
                        <a:pt x="530046" y="1248446"/>
                      </a:lnTo>
                      <a:lnTo>
                        <a:pt x="527028" y="1250861"/>
                      </a:lnTo>
                      <a:lnTo>
                        <a:pt x="521594" y="1253879"/>
                      </a:lnTo>
                      <a:lnTo>
                        <a:pt x="517368" y="1249050"/>
                      </a:lnTo>
                      <a:lnTo>
                        <a:pt x="519783" y="1245427"/>
                      </a:lnTo>
                      <a:lnTo>
                        <a:pt x="518576" y="1239390"/>
                      </a:lnTo>
                      <a:lnTo>
                        <a:pt x="520387" y="1236976"/>
                      </a:lnTo>
                      <a:lnTo>
                        <a:pt x="523405" y="1236976"/>
                      </a:lnTo>
                      <a:lnTo>
                        <a:pt x="522802" y="1239994"/>
                      </a:lnTo>
                      <a:lnTo>
                        <a:pt x="524613" y="1236976"/>
                      </a:lnTo>
                      <a:lnTo>
                        <a:pt x="527028" y="1236976"/>
                      </a:lnTo>
                      <a:lnTo>
                        <a:pt x="526424" y="1243013"/>
                      </a:lnTo>
                      <a:lnTo>
                        <a:pt x="522198" y="1243616"/>
                      </a:lnTo>
                      <a:close/>
                      <a:moveTo>
                        <a:pt x="655011" y="1236976"/>
                      </a:moveTo>
                      <a:lnTo>
                        <a:pt x="659237" y="1238183"/>
                      </a:lnTo>
                      <a:lnTo>
                        <a:pt x="665274" y="1244220"/>
                      </a:lnTo>
                      <a:lnTo>
                        <a:pt x="658634" y="1247238"/>
                      </a:lnTo>
                      <a:lnTo>
                        <a:pt x="657426" y="1243616"/>
                      </a:lnTo>
                      <a:lnTo>
                        <a:pt x="654408" y="1239994"/>
                      </a:lnTo>
                      <a:lnTo>
                        <a:pt x="655011" y="1236976"/>
                      </a:lnTo>
                      <a:close/>
                      <a:moveTo>
                        <a:pt x="615167" y="1239994"/>
                      </a:moveTo>
                      <a:lnTo>
                        <a:pt x="615771" y="1239994"/>
                      </a:lnTo>
                      <a:lnTo>
                        <a:pt x="619393" y="1236372"/>
                      </a:lnTo>
                      <a:lnTo>
                        <a:pt x="625430" y="1237579"/>
                      </a:lnTo>
                      <a:lnTo>
                        <a:pt x="621204" y="1247842"/>
                      </a:lnTo>
                      <a:lnTo>
                        <a:pt x="621204" y="1253879"/>
                      </a:lnTo>
                      <a:lnTo>
                        <a:pt x="625430" y="1263538"/>
                      </a:lnTo>
                      <a:lnTo>
                        <a:pt x="621204" y="1268972"/>
                      </a:lnTo>
                      <a:lnTo>
                        <a:pt x="615771" y="1266557"/>
                      </a:lnTo>
                      <a:lnTo>
                        <a:pt x="614564" y="1264142"/>
                      </a:lnTo>
                      <a:lnTo>
                        <a:pt x="617582" y="1257501"/>
                      </a:lnTo>
                      <a:lnTo>
                        <a:pt x="616978" y="1250257"/>
                      </a:lnTo>
                      <a:lnTo>
                        <a:pt x="613356" y="1247238"/>
                      </a:lnTo>
                      <a:lnTo>
                        <a:pt x="609734" y="1249050"/>
                      </a:lnTo>
                      <a:lnTo>
                        <a:pt x="609130" y="1243616"/>
                      </a:lnTo>
                      <a:lnTo>
                        <a:pt x="610338" y="1241201"/>
                      </a:lnTo>
                      <a:lnTo>
                        <a:pt x="607923" y="1244220"/>
                      </a:lnTo>
                      <a:lnTo>
                        <a:pt x="603697" y="1243616"/>
                      </a:lnTo>
                      <a:lnTo>
                        <a:pt x="605508" y="1238183"/>
                      </a:lnTo>
                      <a:lnTo>
                        <a:pt x="602490" y="1235768"/>
                      </a:lnTo>
                      <a:lnTo>
                        <a:pt x="605508" y="1232146"/>
                      </a:lnTo>
                      <a:lnTo>
                        <a:pt x="609734" y="1223694"/>
                      </a:lnTo>
                      <a:lnTo>
                        <a:pt x="611545" y="1226713"/>
                      </a:lnTo>
                      <a:lnTo>
                        <a:pt x="609734" y="1235164"/>
                      </a:lnTo>
                      <a:lnTo>
                        <a:pt x="609734" y="1235768"/>
                      </a:lnTo>
                      <a:lnTo>
                        <a:pt x="616978" y="1224298"/>
                      </a:lnTo>
                      <a:lnTo>
                        <a:pt x="618790" y="1227920"/>
                      </a:lnTo>
                      <a:lnTo>
                        <a:pt x="616978" y="1233353"/>
                      </a:lnTo>
                      <a:lnTo>
                        <a:pt x="618790" y="1236372"/>
                      </a:lnTo>
                      <a:lnTo>
                        <a:pt x="615167" y="1239994"/>
                      </a:lnTo>
                      <a:close/>
                      <a:moveTo>
                        <a:pt x="610338" y="1241201"/>
                      </a:moveTo>
                      <a:lnTo>
                        <a:pt x="610941" y="1239994"/>
                      </a:lnTo>
                      <a:lnTo>
                        <a:pt x="609734" y="1236372"/>
                      </a:lnTo>
                      <a:lnTo>
                        <a:pt x="610338" y="1241201"/>
                      </a:lnTo>
                      <a:close/>
                      <a:moveTo>
                        <a:pt x="568079" y="1233957"/>
                      </a:moveTo>
                      <a:lnTo>
                        <a:pt x="568079" y="1237579"/>
                      </a:lnTo>
                      <a:lnTo>
                        <a:pt x="568682" y="1239390"/>
                      </a:lnTo>
                      <a:lnTo>
                        <a:pt x="574719" y="1241805"/>
                      </a:lnTo>
                      <a:lnTo>
                        <a:pt x="574719" y="1244824"/>
                      </a:lnTo>
                      <a:lnTo>
                        <a:pt x="569890" y="1246635"/>
                      </a:lnTo>
                      <a:lnTo>
                        <a:pt x="567475" y="1245427"/>
                      </a:lnTo>
                      <a:lnTo>
                        <a:pt x="568079" y="1241201"/>
                      </a:lnTo>
                      <a:lnTo>
                        <a:pt x="565060" y="1235768"/>
                      </a:lnTo>
                      <a:lnTo>
                        <a:pt x="568079" y="1233957"/>
                      </a:lnTo>
                      <a:close/>
                      <a:moveTo>
                        <a:pt x="510124" y="1245427"/>
                      </a:moveTo>
                      <a:lnTo>
                        <a:pt x="508917" y="1249653"/>
                      </a:lnTo>
                      <a:lnTo>
                        <a:pt x="505294" y="1244824"/>
                      </a:lnTo>
                      <a:lnTo>
                        <a:pt x="506502" y="1239390"/>
                      </a:lnTo>
                      <a:lnTo>
                        <a:pt x="509520" y="1236372"/>
                      </a:lnTo>
                      <a:lnTo>
                        <a:pt x="510124" y="1245427"/>
                      </a:lnTo>
                      <a:close/>
                      <a:moveTo>
                        <a:pt x="573512" y="1230939"/>
                      </a:moveTo>
                      <a:lnTo>
                        <a:pt x="576531" y="1234561"/>
                      </a:lnTo>
                      <a:lnTo>
                        <a:pt x="577738" y="1242409"/>
                      </a:lnTo>
                      <a:lnTo>
                        <a:pt x="575927" y="1242409"/>
                      </a:lnTo>
                      <a:lnTo>
                        <a:pt x="568682" y="1238787"/>
                      </a:lnTo>
                      <a:lnTo>
                        <a:pt x="569286" y="1233353"/>
                      </a:lnTo>
                      <a:lnTo>
                        <a:pt x="569890" y="1232146"/>
                      </a:lnTo>
                      <a:lnTo>
                        <a:pt x="573512" y="1230939"/>
                      </a:lnTo>
                      <a:close/>
                      <a:moveTo>
                        <a:pt x="601886" y="1235164"/>
                      </a:moveTo>
                      <a:lnTo>
                        <a:pt x="604301" y="1238183"/>
                      </a:lnTo>
                      <a:lnTo>
                        <a:pt x="603093" y="1244220"/>
                      </a:lnTo>
                      <a:lnTo>
                        <a:pt x="607923" y="1246031"/>
                      </a:lnTo>
                      <a:lnTo>
                        <a:pt x="603697" y="1249653"/>
                      </a:lnTo>
                      <a:lnTo>
                        <a:pt x="604301" y="1254483"/>
                      </a:lnTo>
                      <a:lnTo>
                        <a:pt x="601282" y="1254483"/>
                      </a:lnTo>
                      <a:lnTo>
                        <a:pt x="598867" y="1253275"/>
                      </a:lnTo>
                      <a:lnTo>
                        <a:pt x="598264" y="1255087"/>
                      </a:lnTo>
                      <a:lnTo>
                        <a:pt x="603697" y="1258709"/>
                      </a:lnTo>
                      <a:lnTo>
                        <a:pt x="601886" y="1260520"/>
                      </a:lnTo>
                      <a:lnTo>
                        <a:pt x="594642" y="1253275"/>
                      </a:lnTo>
                      <a:lnTo>
                        <a:pt x="591019" y="1241201"/>
                      </a:lnTo>
                      <a:lnTo>
                        <a:pt x="594642" y="1231542"/>
                      </a:lnTo>
                      <a:lnTo>
                        <a:pt x="595245" y="1227316"/>
                      </a:lnTo>
                      <a:lnTo>
                        <a:pt x="597660" y="1233353"/>
                      </a:lnTo>
                      <a:lnTo>
                        <a:pt x="598264" y="1233957"/>
                      </a:lnTo>
                      <a:lnTo>
                        <a:pt x="598867" y="1233353"/>
                      </a:lnTo>
                      <a:lnTo>
                        <a:pt x="599471" y="1234561"/>
                      </a:lnTo>
                      <a:lnTo>
                        <a:pt x="599471" y="1233353"/>
                      </a:lnTo>
                      <a:lnTo>
                        <a:pt x="598867" y="1233353"/>
                      </a:lnTo>
                      <a:lnTo>
                        <a:pt x="598264" y="1233353"/>
                      </a:lnTo>
                      <a:lnTo>
                        <a:pt x="598264" y="1230939"/>
                      </a:lnTo>
                      <a:lnTo>
                        <a:pt x="598264" y="1230335"/>
                      </a:lnTo>
                      <a:lnTo>
                        <a:pt x="597660" y="1230335"/>
                      </a:lnTo>
                      <a:lnTo>
                        <a:pt x="596453" y="1227316"/>
                      </a:lnTo>
                      <a:lnTo>
                        <a:pt x="594038" y="1226713"/>
                      </a:lnTo>
                      <a:lnTo>
                        <a:pt x="591623" y="1219468"/>
                      </a:lnTo>
                      <a:lnTo>
                        <a:pt x="591623" y="1215846"/>
                      </a:lnTo>
                      <a:lnTo>
                        <a:pt x="595849" y="1204979"/>
                      </a:lnTo>
                      <a:lnTo>
                        <a:pt x="597660" y="1206791"/>
                      </a:lnTo>
                      <a:lnTo>
                        <a:pt x="601886" y="1207394"/>
                      </a:lnTo>
                      <a:lnTo>
                        <a:pt x="604301" y="1211620"/>
                      </a:lnTo>
                      <a:lnTo>
                        <a:pt x="607923" y="1214639"/>
                      </a:lnTo>
                      <a:lnTo>
                        <a:pt x="605508" y="1221279"/>
                      </a:lnTo>
                      <a:lnTo>
                        <a:pt x="605508" y="1221883"/>
                      </a:lnTo>
                      <a:lnTo>
                        <a:pt x="605508" y="1223090"/>
                      </a:lnTo>
                      <a:lnTo>
                        <a:pt x="607923" y="1223694"/>
                      </a:lnTo>
                      <a:lnTo>
                        <a:pt x="605508" y="1231542"/>
                      </a:lnTo>
                      <a:lnTo>
                        <a:pt x="602490" y="1228524"/>
                      </a:lnTo>
                      <a:lnTo>
                        <a:pt x="603093" y="1225505"/>
                      </a:lnTo>
                      <a:lnTo>
                        <a:pt x="602490" y="1225505"/>
                      </a:lnTo>
                      <a:lnTo>
                        <a:pt x="600679" y="1227316"/>
                      </a:lnTo>
                      <a:lnTo>
                        <a:pt x="600075" y="1229127"/>
                      </a:lnTo>
                      <a:lnTo>
                        <a:pt x="601886" y="1226109"/>
                      </a:lnTo>
                      <a:lnTo>
                        <a:pt x="602490" y="1229731"/>
                      </a:lnTo>
                      <a:lnTo>
                        <a:pt x="601886" y="1235164"/>
                      </a:lnTo>
                      <a:close/>
                      <a:moveTo>
                        <a:pt x="653804" y="1226109"/>
                      </a:moveTo>
                      <a:lnTo>
                        <a:pt x="657426" y="1226109"/>
                      </a:lnTo>
                      <a:lnTo>
                        <a:pt x="656219" y="1232750"/>
                      </a:lnTo>
                      <a:lnTo>
                        <a:pt x="651993" y="1230939"/>
                      </a:lnTo>
                      <a:lnTo>
                        <a:pt x="653804" y="1226109"/>
                      </a:lnTo>
                      <a:close/>
                      <a:moveTo>
                        <a:pt x="639315" y="1229127"/>
                      </a:moveTo>
                      <a:lnTo>
                        <a:pt x="636901" y="1230939"/>
                      </a:lnTo>
                      <a:lnTo>
                        <a:pt x="638108" y="1231542"/>
                      </a:lnTo>
                      <a:lnTo>
                        <a:pt x="634486" y="1239390"/>
                      </a:lnTo>
                      <a:lnTo>
                        <a:pt x="633882" y="1233957"/>
                      </a:lnTo>
                      <a:lnTo>
                        <a:pt x="630260" y="1228524"/>
                      </a:lnTo>
                      <a:lnTo>
                        <a:pt x="630260" y="1226713"/>
                      </a:lnTo>
                      <a:lnTo>
                        <a:pt x="632071" y="1226109"/>
                      </a:lnTo>
                      <a:lnTo>
                        <a:pt x="633882" y="1224298"/>
                      </a:lnTo>
                      <a:lnTo>
                        <a:pt x="636901" y="1223090"/>
                      </a:lnTo>
                      <a:lnTo>
                        <a:pt x="637504" y="1223694"/>
                      </a:lnTo>
                      <a:lnTo>
                        <a:pt x="639315" y="1223694"/>
                      </a:lnTo>
                      <a:lnTo>
                        <a:pt x="638712" y="1221279"/>
                      </a:lnTo>
                      <a:lnTo>
                        <a:pt x="639919" y="1220676"/>
                      </a:lnTo>
                      <a:lnTo>
                        <a:pt x="640523" y="1218865"/>
                      </a:lnTo>
                      <a:lnTo>
                        <a:pt x="641730" y="1218261"/>
                      </a:lnTo>
                      <a:lnTo>
                        <a:pt x="642938" y="1220072"/>
                      </a:lnTo>
                      <a:lnTo>
                        <a:pt x="644749" y="1223090"/>
                      </a:lnTo>
                      <a:lnTo>
                        <a:pt x="648975" y="1223694"/>
                      </a:lnTo>
                      <a:lnTo>
                        <a:pt x="648371" y="1223090"/>
                      </a:lnTo>
                      <a:lnTo>
                        <a:pt x="644749" y="1223090"/>
                      </a:lnTo>
                      <a:lnTo>
                        <a:pt x="644145" y="1219468"/>
                      </a:lnTo>
                      <a:lnTo>
                        <a:pt x="649578" y="1213431"/>
                      </a:lnTo>
                      <a:lnTo>
                        <a:pt x="649578" y="1207998"/>
                      </a:lnTo>
                      <a:lnTo>
                        <a:pt x="656823" y="1211620"/>
                      </a:lnTo>
                      <a:lnTo>
                        <a:pt x="660445" y="1215242"/>
                      </a:lnTo>
                      <a:lnTo>
                        <a:pt x="659841" y="1222487"/>
                      </a:lnTo>
                      <a:lnTo>
                        <a:pt x="658030" y="1224902"/>
                      </a:lnTo>
                      <a:lnTo>
                        <a:pt x="652597" y="1226109"/>
                      </a:lnTo>
                      <a:lnTo>
                        <a:pt x="650786" y="1231542"/>
                      </a:lnTo>
                      <a:lnTo>
                        <a:pt x="648371" y="1233957"/>
                      </a:lnTo>
                      <a:lnTo>
                        <a:pt x="645956" y="1232750"/>
                      </a:lnTo>
                      <a:lnTo>
                        <a:pt x="642334" y="1232146"/>
                      </a:lnTo>
                      <a:lnTo>
                        <a:pt x="644145" y="1229127"/>
                      </a:lnTo>
                      <a:lnTo>
                        <a:pt x="647163" y="1229127"/>
                      </a:lnTo>
                      <a:lnTo>
                        <a:pt x="648975" y="1227920"/>
                      </a:lnTo>
                      <a:lnTo>
                        <a:pt x="649578" y="1224902"/>
                      </a:lnTo>
                      <a:lnTo>
                        <a:pt x="648975" y="1223694"/>
                      </a:lnTo>
                      <a:lnTo>
                        <a:pt x="647767" y="1228524"/>
                      </a:lnTo>
                      <a:lnTo>
                        <a:pt x="644749" y="1227316"/>
                      </a:lnTo>
                      <a:lnTo>
                        <a:pt x="641730" y="1231542"/>
                      </a:lnTo>
                      <a:lnTo>
                        <a:pt x="643541" y="1236976"/>
                      </a:lnTo>
                      <a:lnTo>
                        <a:pt x="637504" y="1234561"/>
                      </a:lnTo>
                      <a:lnTo>
                        <a:pt x="638712" y="1231542"/>
                      </a:lnTo>
                      <a:lnTo>
                        <a:pt x="637504" y="1230939"/>
                      </a:lnTo>
                      <a:lnTo>
                        <a:pt x="639315" y="1229127"/>
                      </a:lnTo>
                      <a:lnTo>
                        <a:pt x="640523" y="1225505"/>
                      </a:lnTo>
                      <a:lnTo>
                        <a:pt x="638712" y="1227920"/>
                      </a:lnTo>
                      <a:lnTo>
                        <a:pt x="639315" y="1229127"/>
                      </a:lnTo>
                      <a:close/>
                      <a:moveTo>
                        <a:pt x="640523" y="1223694"/>
                      </a:moveTo>
                      <a:lnTo>
                        <a:pt x="641126" y="1224902"/>
                      </a:lnTo>
                      <a:lnTo>
                        <a:pt x="640523" y="1225505"/>
                      </a:lnTo>
                      <a:lnTo>
                        <a:pt x="641730" y="1224902"/>
                      </a:lnTo>
                      <a:lnTo>
                        <a:pt x="641126" y="1223694"/>
                      </a:lnTo>
                      <a:lnTo>
                        <a:pt x="640523" y="1223694"/>
                      </a:lnTo>
                      <a:close/>
                      <a:moveTo>
                        <a:pt x="547553" y="1221279"/>
                      </a:moveTo>
                      <a:lnTo>
                        <a:pt x="551176" y="1226109"/>
                      </a:lnTo>
                      <a:lnTo>
                        <a:pt x="548157" y="1229127"/>
                      </a:lnTo>
                      <a:lnTo>
                        <a:pt x="542724" y="1228524"/>
                      </a:lnTo>
                      <a:lnTo>
                        <a:pt x="541516" y="1224902"/>
                      </a:lnTo>
                      <a:lnTo>
                        <a:pt x="547553" y="1221279"/>
                      </a:lnTo>
                      <a:close/>
                      <a:moveTo>
                        <a:pt x="569890" y="1217657"/>
                      </a:moveTo>
                      <a:lnTo>
                        <a:pt x="574719" y="1221883"/>
                      </a:lnTo>
                      <a:lnTo>
                        <a:pt x="572908" y="1225505"/>
                      </a:lnTo>
                      <a:lnTo>
                        <a:pt x="568682" y="1228524"/>
                      </a:lnTo>
                      <a:lnTo>
                        <a:pt x="566871" y="1224902"/>
                      </a:lnTo>
                      <a:lnTo>
                        <a:pt x="567475" y="1220072"/>
                      </a:lnTo>
                      <a:lnTo>
                        <a:pt x="569890" y="1217657"/>
                      </a:lnTo>
                      <a:close/>
                      <a:moveTo>
                        <a:pt x="519180" y="1215846"/>
                      </a:moveTo>
                      <a:lnTo>
                        <a:pt x="520387" y="1216450"/>
                      </a:lnTo>
                      <a:lnTo>
                        <a:pt x="520387" y="1224298"/>
                      </a:lnTo>
                      <a:lnTo>
                        <a:pt x="522198" y="1229731"/>
                      </a:lnTo>
                      <a:lnTo>
                        <a:pt x="526424" y="1231542"/>
                      </a:lnTo>
                      <a:lnTo>
                        <a:pt x="525820" y="1235768"/>
                      </a:lnTo>
                      <a:lnTo>
                        <a:pt x="521594" y="1236372"/>
                      </a:lnTo>
                      <a:lnTo>
                        <a:pt x="518576" y="1237579"/>
                      </a:lnTo>
                      <a:lnTo>
                        <a:pt x="517972" y="1239994"/>
                      </a:lnTo>
                      <a:lnTo>
                        <a:pt x="519180" y="1246031"/>
                      </a:lnTo>
                      <a:lnTo>
                        <a:pt x="516161" y="1249050"/>
                      </a:lnTo>
                      <a:lnTo>
                        <a:pt x="510728" y="1247238"/>
                      </a:lnTo>
                      <a:lnTo>
                        <a:pt x="511935" y="1244220"/>
                      </a:lnTo>
                      <a:lnTo>
                        <a:pt x="510728" y="1237579"/>
                      </a:lnTo>
                      <a:lnTo>
                        <a:pt x="505898" y="1230939"/>
                      </a:lnTo>
                      <a:lnTo>
                        <a:pt x="502276" y="1230335"/>
                      </a:lnTo>
                      <a:lnTo>
                        <a:pt x="501672" y="1227316"/>
                      </a:lnTo>
                      <a:lnTo>
                        <a:pt x="502880" y="1226109"/>
                      </a:lnTo>
                      <a:lnTo>
                        <a:pt x="511331" y="1221883"/>
                      </a:lnTo>
                      <a:lnTo>
                        <a:pt x="513143" y="1218865"/>
                      </a:lnTo>
                      <a:lnTo>
                        <a:pt x="511935" y="1217053"/>
                      </a:lnTo>
                      <a:lnTo>
                        <a:pt x="512539" y="1216450"/>
                      </a:lnTo>
                      <a:lnTo>
                        <a:pt x="511935" y="1216450"/>
                      </a:lnTo>
                      <a:lnTo>
                        <a:pt x="510728" y="1221883"/>
                      </a:lnTo>
                      <a:lnTo>
                        <a:pt x="503483" y="1224902"/>
                      </a:lnTo>
                      <a:lnTo>
                        <a:pt x="501672" y="1226713"/>
                      </a:lnTo>
                      <a:lnTo>
                        <a:pt x="501069" y="1228524"/>
                      </a:lnTo>
                      <a:lnTo>
                        <a:pt x="505294" y="1235768"/>
                      </a:lnTo>
                      <a:lnTo>
                        <a:pt x="505898" y="1238787"/>
                      </a:lnTo>
                      <a:lnTo>
                        <a:pt x="492617" y="1236976"/>
                      </a:lnTo>
                      <a:lnTo>
                        <a:pt x="492617" y="1233957"/>
                      </a:lnTo>
                      <a:lnTo>
                        <a:pt x="488995" y="1224298"/>
                      </a:lnTo>
                      <a:lnTo>
                        <a:pt x="484769" y="1218261"/>
                      </a:lnTo>
                      <a:lnTo>
                        <a:pt x="481750" y="1211620"/>
                      </a:lnTo>
                      <a:lnTo>
                        <a:pt x="484165" y="1202565"/>
                      </a:lnTo>
                      <a:lnTo>
                        <a:pt x="483561" y="1198943"/>
                      </a:lnTo>
                      <a:lnTo>
                        <a:pt x="479335" y="1193509"/>
                      </a:lnTo>
                      <a:lnTo>
                        <a:pt x="488391" y="1183850"/>
                      </a:lnTo>
                      <a:lnTo>
                        <a:pt x="492013" y="1176606"/>
                      </a:lnTo>
                      <a:lnTo>
                        <a:pt x="493824" y="1164532"/>
                      </a:lnTo>
                      <a:lnTo>
                        <a:pt x="491409" y="1155477"/>
                      </a:lnTo>
                      <a:lnTo>
                        <a:pt x="491409" y="1151251"/>
                      </a:lnTo>
                      <a:lnTo>
                        <a:pt x="486580" y="1142799"/>
                      </a:lnTo>
                      <a:lnTo>
                        <a:pt x="481750" y="1140384"/>
                      </a:lnTo>
                      <a:lnTo>
                        <a:pt x="472091" y="1137969"/>
                      </a:lnTo>
                      <a:lnTo>
                        <a:pt x="463035" y="1137969"/>
                      </a:lnTo>
                      <a:lnTo>
                        <a:pt x="464847" y="1133140"/>
                      </a:lnTo>
                      <a:lnTo>
                        <a:pt x="466054" y="1125895"/>
                      </a:lnTo>
                      <a:lnTo>
                        <a:pt x="469676" y="1116840"/>
                      </a:lnTo>
                      <a:lnTo>
                        <a:pt x="466054" y="1116840"/>
                      </a:lnTo>
                      <a:lnTo>
                        <a:pt x="464243" y="1121066"/>
                      </a:lnTo>
                      <a:lnTo>
                        <a:pt x="463639" y="1128310"/>
                      </a:lnTo>
                      <a:lnTo>
                        <a:pt x="458206" y="1135554"/>
                      </a:lnTo>
                      <a:lnTo>
                        <a:pt x="453376" y="1134951"/>
                      </a:lnTo>
                      <a:lnTo>
                        <a:pt x="444321" y="1129517"/>
                      </a:lnTo>
                      <a:lnTo>
                        <a:pt x="439492" y="1122273"/>
                      </a:lnTo>
                      <a:lnTo>
                        <a:pt x="439492" y="1106577"/>
                      </a:lnTo>
                      <a:lnTo>
                        <a:pt x="437680" y="1095710"/>
                      </a:lnTo>
                      <a:lnTo>
                        <a:pt x="433455" y="1094503"/>
                      </a:lnTo>
                      <a:lnTo>
                        <a:pt x="435869" y="1103558"/>
                      </a:lnTo>
                      <a:lnTo>
                        <a:pt x="436473" y="1112010"/>
                      </a:lnTo>
                      <a:lnTo>
                        <a:pt x="434058" y="1114425"/>
                      </a:lnTo>
                      <a:lnTo>
                        <a:pt x="434662" y="1125292"/>
                      </a:lnTo>
                      <a:lnTo>
                        <a:pt x="441906" y="1131932"/>
                      </a:lnTo>
                      <a:lnTo>
                        <a:pt x="446132" y="1137969"/>
                      </a:lnTo>
                      <a:lnTo>
                        <a:pt x="452773" y="1139780"/>
                      </a:lnTo>
                      <a:lnTo>
                        <a:pt x="455187" y="1137969"/>
                      </a:lnTo>
                      <a:lnTo>
                        <a:pt x="461224" y="1142195"/>
                      </a:lnTo>
                      <a:lnTo>
                        <a:pt x="469676" y="1141591"/>
                      </a:lnTo>
                      <a:lnTo>
                        <a:pt x="475713" y="1143403"/>
                      </a:lnTo>
                      <a:lnTo>
                        <a:pt x="478128" y="1147025"/>
                      </a:lnTo>
                      <a:lnTo>
                        <a:pt x="487787" y="1159702"/>
                      </a:lnTo>
                      <a:lnTo>
                        <a:pt x="482354" y="1168154"/>
                      </a:lnTo>
                      <a:lnTo>
                        <a:pt x="464847" y="1179625"/>
                      </a:lnTo>
                      <a:lnTo>
                        <a:pt x="460621" y="1181436"/>
                      </a:lnTo>
                      <a:lnTo>
                        <a:pt x="453376" y="1173588"/>
                      </a:lnTo>
                      <a:lnTo>
                        <a:pt x="453376" y="1169362"/>
                      </a:lnTo>
                      <a:lnTo>
                        <a:pt x="450358" y="1168758"/>
                      </a:lnTo>
                      <a:lnTo>
                        <a:pt x="451565" y="1175399"/>
                      </a:lnTo>
                      <a:lnTo>
                        <a:pt x="458810" y="1181436"/>
                      </a:lnTo>
                      <a:lnTo>
                        <a:pt x="452169" y="1195924"/>
                      </a:lnTo>
                      <a:lnTo>
                        <a:pt x="448547" y="1205583"/>
                      </a:lnTo>
                      <a:lnTo>
                        <a:pt x="443717" y="1215846"/>
                      </a:lnTo>
                      <a:lnTo>
                        <a:pt x="435266" y="1224298"/>
                      </a:lnTo>
                      <a:lnTo>
                        <a:pt x="432851" y="1229127"/>
                      </a:lnTo>
                      <a:lnTo>
                        <a:pt x="425003" y="1230939"/>
                      </a:lnTo>
                      <a:lnTo>
                        <a:pt x="421984" y="1235768"/>
                      </a:lnTo>
                      <a:lnTo>
                        <a:pt x="412929" y="1243616"/>
                      </a:lnTo>
                      <a:lnTo>
                        <a:pt x="408703" y="1249653"/>
                      </a:lnTo>
                      <a:lnTo>
                        <a:pt x="404477" y="1252068"/>
                      </a:lnTo>
                      <a:lnTo>
                        <a:pt x="397233" y="1251464"/>
                      </a:lnTo>
                      <a:lnTo>
                        <a:pt x="394214" y="1255690"/>
                      </a:lnTo>
                      <a:lnTo>
                        <a:pt x="381536" y="1261124"/>
                      </a:lnTo>
                      <a:lnTo>
                        <a:pt x="357388" y="1265953"/>
                      </a:lnTo>
                      <a:lnTo>
                        <a:pt x="341089" y="1271386"/>
                      </a:lnTo>
                      <a:lnTo>
                        <a:pt x="341089" y="1270179"/>
                      </a:lnTo>
                      <a:lnTo>
                        <a:pt x="341089" y="1267764"/>
                      </a:lnTo>
                      <a:lnTo>
                        <a:pt x="336863" y="1263538"/>
                      </a:lnTo>
                      <a:lnTo>
                        <a:pt x="336863" y="1260520"/>
                      </a:lnTo>
                      <a:lnTo>
                        <a:pt x="338070" y="1256294"/>
                      </a:lnTo>
                      <a:lnTo>
                        <a:pt x="338070" y="1252068"/>
                      </a:lnTo>
                      <a:lnTo>
                        <a:pt x="338674" y="1251464"/>
                      </a:lnTo>
                      <a:lnTo>
                        <a:pt x="336863" y="1247238"/>
                      </a:lnTo>
                      <a:lnTo>
                        <a:pt x="337467" y="1246031"/>
                      </a:lnTo>
                      <a:lnTo>
                        <a:pt x="337467" y="1245427"/>
                      </a:lnTo>
                      <a:lnTo>
                        <a:pt x="333241" y="1243616"/>
                      </a:lnTo>
                      <a:lnTo>
                        <a:pt x="334448" y="1243013"/>
                      </a:lnTo>
                      <a:lnTo>
                        <a:pt x="333241" y="1241805"/>
                      </a:lnTo>
                      <a:lnTo>
                        <a:pt x="333241" y="1237579"/>
                      </a:lnTo>
                      <a:lnTo>
                        <a:pt x="332033" y="1236976"/>
                      </a:lnTo>
                      <a:lnTo>
                        <a:pt x="329015" y="1236372"/>
                      </a:lnTo>
                      <a:lnTo>
                        <a:pt x="322374" y="1235768"/>
                      </a:lnTo>
                      <a:lnTo>
                        <a:pt x="320563" y="1235164"/>
                      </a:lnTo>
                      <a:lnTo>
                        <a:pt x="318148" y="1235768"/>
                      </a:lnTo>
                      <a:lnTo>
                        <a:pt x="315130" y="1233353"/>
                      </a:lnTo>
                      <a:lnTo>
                        <a:pt x="312111" y="1232750"/>
                      </a:lnTo>
                      <a:lnTo>
                        <a:pt x="310904" y="1233353"/>
                      </a:lnTo>
                      <a:lnTo>
                        <a:pt x="310300" y="1231542"/>
                      </a:lnTo>
                      <a:lnTo>
                        <a:pt x="309093" y="1232146"/>
                      </a:lnTo>
                      <a:lnTo>
                        <a:pt x="308489" y="1232146"/>
                      </a:lnTo>
                      <a:lnTo>
                        <a:pt x="307282" y="1231542"/>
                      </a:lnTo>
                      <a:lnTo>
                        <a:pt x="307282" y="1230939"/>
                      </a:lnTo>
                      <a:lnTo>
                        <a:pt x="304867" y="1230335"/>
                      </a:lnTo>
                      <a:lnTo>
                        <a:pt x="303056" y="1229731"/>
                      </a:lnTo>
                      <a:lnTo>
                        <a:pt x="302452" y="1227920"/>
                      </a:lnTo>
                      <a:lnTo>
                        <a:pt x="299434" y="1229127"/>
                      </a:lnTo>
                      <a:lnTo>
                        <a:pt x="298226" y="1227920"/>
                      </a:lnTo>
                      <a:lnTo>
                        <a:pt x="295812" y="1226109"/>
                      </a:lnTo>
                      <a:lnTo>
                        <a:pt x="297019" y="1224298"/>
                      </a:lnTo>
                      <a:lnTo>
                        <a:pt x="295812" y="1221279"/>
                      </a:lnTo>
                      <a:lnTo>
                        <a:pt x="294604" y="1218865"/>
                      </a:lnTo>
                      <a:lnTo>
                        <a:pt x="292189" y="1216450"/>
                      </a:lnTo>
                      <a:lnTo>
                        <a:pt x="292793" y="1214035"/>
                      </a:lnTo>
                      <a:lnTo>
                        <a:pt x="290378" y="1207394"/>
                      </a:lnTo>
                      <a:lnTo>
                        <a:pt x="294000" y="1202565"/>
                      </a:lnTo>
                      <a:lnTo>
                        <a:pt x="290378" y="1198943"/>
                      </a:lnTo>
                      <a:lnTo>
                        <a:pt x="289775" y="1197735"/>
                      </a:lnTo>
                      <a:lnTo>
                        <a:pt x="290378" y="1194717"/>
                      </a:lnTo>
                      <a:lnTo>
                        <a:pt x="287963" y="1194717"/>
                      </a:lnTo>
                      <a:lnTo>
                        <a:pt x="287360" y="1194717"/>
                      </a:lnTo>
                      <a:lnTo>
                        <a:pt x="283738" y="1194113"/>
                      </a:lnTo>
                      <a:lnTo>
                        <a:pt x="277701" y="1191698"/>
                      </a:lnTo>
                      <a:lnTo>
                        <a:pt x="276493" y="1190491"/>
                      </a:lnTo>
                      <a:lnTo>
                        <a:pt x="274682" y="1195924"/>
                      </a:lnTo>
                      <a:lnTo>
                        <a:pt x="274078" y="1200150"/>
                      </a:lnTo>
                      <a:lnTo>
                        <a:pt x="272871" y="1200754"/>
                      </a:lnTo>
                      <a:lnTo>
                        <a:pt x="268645" y="1202565"/>
                      </a:lnTo>
                      <a:lnTo>
                        <a:pt x="265023" y="1201961"/>
                      </a:lnTo>
                      <a:lnTo>
                        <a:pt x="264419" y="1202565"/>
                      </a:lnTo>
                      <a:lnTo>
                        <a:pt x="263212" y="1202565"/>
                      </a:lnTo>
                      <a:lnTo>
                        <a:pt x="260193" y="1206791"/>
                      </a:lnTo>
                      <a:lnTo>
                        <a:pt x="260193" y="1207998"/>
                      </a:lnTo>
                      <a:lnTo>
                        <a:pt x="260193" y="1208602"/>
                      </a:lnTo>
                      <a:lnTo>
                        <a:pt x="261401" y="1209809"/>
                      </a:lnTo>
                      <a:lnTo>
                        <a:pt x="261401" y="1210413"/>
                      </a:lnTo>
                      <a:lnTo>
                        <a:pt x="261401" y="1215242"/>
                      </a:lnTo>
                      <a:lnTo>
                        <a:pt x="257778" y="1215846"/>
                      </a:lnTo>
                      <a:lnTo>
                        <a:pt x="248119" y="1214639"/>
                      </a:lnTo>
                      <a:lnTo>
                        <a:pt x="245704" y="1209809"/>
                      </a:lnTo>
                      <a:lnTo>
                        <a:pt x="241479" y="1204979"/>
                      </a:lnTo>
                      <a:lnTo>
                        <a:pt x="242686" y="1197735"/>
                      </a:lnTo>
                      <a:lnTo>
                        <a:pt x="248723" y="1186869"/>
                      </a:lnTo>
                      <a:lnTo>
                        <a:pt x="246308" y="1182039"/>
                      </a:lnTo>
                      <a:lnTo>
                        <a:pt x="246912" y="1177813"/>
                      </a:lnTo>
                      <a:lnTo>
                        <a:pt x="245101" y="1175399"/>
                      </a:lnTo>
                      <a:lnTo>
                        <a:pt x="240875" y="1174191"/>
                      </a:lnTo>
                      <a:lnTo>
                        <a:pt x="233027" y="1165739"/>
                      </a:lnTo>
                      <a:lnTo>
                        <a:pt x="222764" y="1165136"/>
                      </a:lnTo>
                      <a:lnTo>
                        <a:pt x="210087" y="1162721"/>
                      </a:lnTo>
                      <a:lnTo>
                        <a:pt x="207068" y="1163325"/>
                      </a:lnTo>
                      <a:lnTo>
                        <a:pt x="205257" y="1159099"/>
                      </a:lnTo>
                      <a:lnTo>
                        <a:pt x="201635" y="1159099"/>
                      </a:lnTo>
                      <a:lnTo>
                        <a:pt x="200427" y="1151854"/>
                      </a:lnTo>
                      <a:lnTo>
                        <a:pt x="198616" y="1150043"/>
                      </a:lnTo>
                      <a:lnTo>
                        <a:pt x="190768" y="1152458"/>
                      </a:lnTo>
                      <a:lnTo>
                        <a:pt x="182920" y="1152458"/>
                      </a:lnTo>
                      <a:lnTo>
                        <a:pt x="182316" y="1144610"/>
                      </a:lnTo>
                      <a:lnTo>
                        <a:pt x="184731" y="1136762"/>
                      </a:lnTo>
                      <a:lnTo>
                        <a:pt x="189561" y="1137969"/>
                      </a:lnTo>
                      <a:lnTo>
                        <a:pt x="198616" y="1136158"/>
                      </a:lnTo>
                      <a:lnTo>
                        <a:pt x="202239" y="1131329"/>
                      </a:lnTo>
                      <a:lnTo>
                        <a:pt x="199824" y="1128914"/>
                      </a:lnTo>
                      <a:lnTo>
                        <a:pt x="204653" y="1126499"/>
                      </a:lnTo>
                      <a:lnTo>
                        <a:pt x="210690" y="1126499"/>
                      </a:lnTo>
                      <a:lnTo>
                        <a:pt x="217935" y="1128310"/>
                      </a:lnTo>
                      <a:lnTo>
                        <a:pt x="218538" y="1121669"/>
                      </a:lnTo>
                      <a:lnTo>
                        <a:pt x="215520" y="1118047"/>
                      </a:lnTo>
                      <a:lnTo>
                        <a:pt x="206464" y="1112010"/>
                      </a:lnTo>
                      <a:lnTo>
                        <a:pt x="206464" y="1108388"/>
                      </a:lnTo>
                      <a:lnTo>
                        <a:pt x="208879" y="1102351"/>
                      </a:lnTo>
                      <a:lnTo>
                        <a:pt x="209483" y="1096314"/>
                      </a:lnTo>
                      <a:lnTo>
                        <a:pt x="201635" y="1091484"/>
                      </a:lnTo>
                      <a:lnTo>
                        <a:pt x="193183" y="1090277"/>
                      </a:lnTo>
                      <a:lnTo>
                        <a:pt x="188957" y="1079411"/>
                      </a:lnTo>
                      <a:lnTo>
                        <a:pt x="190768" y="1077600"/>
                      </a:lnTo>
                      <a:lnTo>
                        <a:pt x="198013" y="1078807"/>
                      </a:lnTo>
                      <a:lnTo>
                        <a:pt x="198616" y="1068544"/>
                      </a:lnTo>
                      <a:lnTo>
                        <a:pt x="197409" y="1063111"/>
                      </a:lnTo>
                      <a:lnTo>
                        <a:pt x="193183" y="1061904"/>
                      </a:lnTo>
                      <a:lnTo>
                        <a:pt x="191372" y="1056470"/>
                      </a:lnTo>
                      <a:lnTo>
                        <a:pt x="181109" y="1055263"/>
                      </a:lnTo>
                      <a:lnTo>
                        <a:pt x="174468" y="1057074"/>
                      </a:lnTo>
                      <a:lnTo>
                        <a:pt x="169639" y="1056470"/>
                      </a:lnTo>
                      <a:lnTo>
                        <a:pt x="169035" y="1052848"/>
                      </a:lnTo>
                      <a:lnTo>
                        <a:pt x="166017" y="1051641"/>
                      </a:lnTo>
                      <a:lnTo>
                        <a:pt x="166620" y="1038359"/>
                      </a:lnTo>
                      <a:lnTo>
                        <a:pt x="162998" y="1034133"/>
                      </a:lnTo>
                      <a:lnTo>
                        <a:pt x="155150" y="1031115"/>
                      </a:lnTo>
                      <a:lnTo>
                        <a:pt x="149113" y="1026285"/>
                      </a:lnTo>
                      <a:lnTo>
                        <a:pt x="134020" y="1023267"/>
                      </a:lnTo>
                      <a:lnTo>
                        <a:pt x="129191" y="1014815"/>
                      </a:lnTo>
                      <a:lnTo>
                        <a:pt x="121343" y="1011193"/>
                      </a:lnTo>
                      <a:lnTo>
                        <a:pt x="122550" y="1003948"/>
                      </a:lnTo>
                      <a:lnTo>
                        <a:pt x="124965" y="999722"/>
                      </a:lnTo>
                      <a:lnTo>
                        <a:pt x="124965" y="992478"/>
                      </a:lnTo>
                      <a:lnTo>
                        <a:pt x="127380" y="993082"/>
                      </a:lnTo>
                      <a:lnTo>
                        <a:pt x="128587" y="987648"/>
                      </a:lnTo>
                      <a:lnTo>
                        <a:pt x="131002" y="984630"/>
                      </a:lnTo>
                      <a:lnTo>
                        <a:pt x="124965" y="980404"/>
                      </a:lnTo>
                      <a:lnTo>
                        <a:pt x="125569" y="977386"/>
                      </a:lnTo>
                      <a:lnTo>
                        <a:pt x="129795" y="976178"/>
                      </a:lnTo>
                      <a:lnTo>
                        <a:pt x="132209" y="973160"/>
                      </a:lnTo>
                      <a:lnTo>
                        <a:pt x="135832" y="975575"/>
                      </a:lnTo>
                      <a:lnTo>
                        <a:pt x="138246" y="973160"/>
                      </a:lnTo>
                      <a:lnTo>
                        <a:pt x="142472" y="973764"/>
                      </a:lnTo>
                      <a:lnTo>
                        <a:pt x="146698" y="970141"/>
                      </a:lnTo>
                      <a:lnTo>
                        <a:pt x="145491" y="965312"/>
                      </a:lnTo>
                      <a:lnTo>
                        <a:pt x="141265" y="968934"/>
                      </a:lnTo>
                      <a:lnTo>
                        <a:pt x="138246" y="963501"/>
                      </a:lnTo>
                      <a:lnTo>
                        <a:pt x="131002" y="964708"/>
                      </a:lnTo>
                      <a:lnTo>
                        <a:pt x="121343" y="962293"/>
                      </a:lnTo>
                      <a:lnTo>
                        <a:pt x="116513" y="967123"/>
                      </a:lnTo>
                      <a:lnTo>
                        <a:pt x="114099" y="963501"/>
                      </a:lnTo>
                      <a:lnTo>
                        <a:pt x="109873" y="962293"/>
                      </a:lnTo>
                      <a:lnTo>
                        <a:pt x="103836" y="963501"/>
                      </a:lnTo>
                      <a:lnTo>
                        <a:pt x="92969" y="958671"/>
                      </a:lnTo>
                      <a:lnTo>
                        <a:pt x="89347" y="962293"/>
                      </a:lnTo>
                      <a:lnTo>
                        <a:pt x="79084" y="962897"/>
                      </a:lnTo>
                      <a:lnTo>
                        <a:pt x="76669" y="958068"/>
                      </a:lnTo>
                      <a:lnTo>
                        <a:pt x="71840" y="958671"/>
                      </a:lnTo>
                      <a:lnTo>
                        <a:pt x="68821" y="952634"/>
                      </a:lnTo>
                      <a:lnTo>
                        <a:pt x="63388" y="947201"/>
                      </a:lnTo>
                      <a:lnTo>
                        <a:pt x="63992" y="943579"/>
                      </a:lnTo>
                      <a:lnTo>
                        <a:pt x="59162" y="940560"/>
                      </a:lnTo>
                      <a:lnTo>
                        <a:pt x="54333" y="941164"/>
                      </a:lnTo>
                      <a:lnTo>
                        <a:pt x="44673" y="936334"/>
                      </a:lnTo>
                      <a:lnTo>
                        <a:pt x="45277" y="932109"/>
                      </a:lnTo>
                      <a:lnTo>
                        <a:pt x="42862" y="929090"/>
                      </a:lnTo>
                      <a:lnTo>
                        <a:pt x="31996" y="928486"/>
                      </a:lnTo>
                      <a:lnTo>
                        <a:pt x="25355" y="930297"/>
                      </a:lnTo>
                      <a:lnTo>
                        <a:pt x="24148" y="932109"/>
                      </a:lnTo>
                      <a:lnTo>
                        <a:pt x="18111" y="932109"/>
                      </a:lnTo>
                      <a:lnTo>
                        <a:pt x="15092" y="927883"/>
                      </a:lnTo>
                      <a:lnTo>
                        <a:pt x="10263" y="925468"/>
                      </a:lnTo>
                      <a:lnTo>
                        <a:pt x="10263" y="922449"/>
                      </a:lnTo>
                      <a:lnTo>
                        <a:pt x="6037" y="917620"/>
                      </a:lnTo>
                      <a:lnTo>
                        <a:pt x="1811" y="918223"/>
                      </a:lnTo>
                      <a:lnTo>
                        <a:pt x="0" y="902527"/>
                      </a:lnTo>
                      <a:lnTo>
                        <a:pt x="1207" y="898301"/>
                      </a:lnTo>
                      <a:lnTo>
                        <a:pt x="7244" y="893472"/>
                      </a:lnTo>
                      <a:lnTo>
                        <a:pt x="9055" y="887435"/>
                      </a:lnTo>
                      <a:lnTo>
                        <a:pt x="7848" y="879587"/>
                      </a:lnTo>
                      <a:lnTo>
                        <a:pt x="13885" y="876568"/>
                      </a:lnTo>
                      <a:lnTo>
                        <a:pt x="10263" y="869928"/>
                      </a:lnTo>
                      <a:lnTo>
                        <a:pt x="7244" y="869324"/>
                      </a:lnTo>
                      <a:lnTo>
                        <a:pt x="6641" y="860269"/>
                      </a:lnTo>
                      <a:lnTo>
                        <a:pt x="9659" y="854232"/>
                      </a:lnTo>
                      <a:lnTo>
                        <a:pt x="16300" y="855439"/>
                      </a:lnTo>
                      <a:lnTo>
                        <a:pt x="22940" y="859061"/>
                      </a:lnTo>
                      <a:lnTo>
                        <a:pt x="39844" y="851817"/>
                      </a:lnTo>
                      <a:lnTo>
                        <a:pt x="44070" y="851213"/>
                      </a:lnTo>
                      <a:lnTo>
                        <a:pt x="42259" y="845176"/>
                      </a:lnTo>
                      <a:lnTo>
                        <a:pt x="38033" y="837328"/>
                      </a:lnTo>
                      <a:lnTo>
                        <a:pt x="38033" y="835517"/>
                      </a:lnTo>
                      <a:lnTo>
                        <a:pt x="43466" y="830084"/>
                      </a:lnTo>
                      <a:lnTo>
                        <a:pt x="50107" y="831291"/>
                      </a:lnTo>
                      <a:lnTo>
                        <a:pt x="50710" y="833706"/>
                      </a:lnTo>
                      <a:lnTo>
                        <a:pt x="56747" y="832499"/>
                      </a:lnTo>
                      <a:lnTo>
                        <a:pt x="63992" y="833102"/>
                      </a:lnTo>
                      <a:lnTo>
                        <a:pt x="67010" y="837328"/>
                      </a:lnTo>
                      <a:lnTo>
                        <a:pt x="65199" y="842761"/>
                      </a:lnTo>
                      <a:lnTo>
                        <a:pt x="67614" y="848195"/>
                      </a:lnTo>
                      <a:lnTo>
                        <a:pt x="65199" y="854232"/>
                      </a:lnTo>
                      <a:lnTo>
                        <a:pt x="72444" y="854835"/>
                      </a:lnTo>
                      <a:lnTo>
                        <a:pt x="77273" y="858457"/>
                      </a:lnTo>
                      <a:lnTo>
                        <a:pt x="80895" y="859061"/>
                      </a:lnTo>
                      <a:lnTo>
                        <a:pt x="82103" y="863287"/>
                      </a:lnTo>
                      <a:lnTo>
                        <a:pt x="86329" y="863891"/>
                      </a:lnTo>
                      <a:lnTo>
                        <a:pt x="93573" y="862683"/>
                      </a:lnTo>
                      <a:lnTo>
                        <a:pt x="93573" y="865702"/>
                      </a:lnTo>
                      <a:lnTo>
                        <a:pt x="97195" y="866909"/>
                      </a:lnTo>
                      <a:lnTo>
                        <a:pt x="100214" y="865702"/>
                      </a:lnTo>
                      <a:lnTo>
                        <a:pt x="97195" y="861476"/>
                      </a:lnTo>
                      <a:lnTo>
                        <a:pt x="102629" y="858457"/>
                      </a:lnTo>
                      <a:lnTo>
                        <a:pt x="108062" y="857250"/>
                      </a:lnTo>
                      <a:lnTo>
                        <a:pt x="109269" y="846384"/>
                      </a:lnTo>
                      <a:lnTo>
                        <a:pt x="111080" y="843969"/>
                      </a:lnTo>
                      <a:lnTo>
                        <a:pt x="109269" y="839139"/>
                      </a:lnTo>
                      <a:lnTo>
                        <a:pt x="114702" y="833102"/>
                      </a:lnTo>
                      <a:lnTo>
                        <a:pt x="114099" y="830084"/>
                      </a:lnTo>
                      <a:lnTo>
                        <a:pt x="119532" y="829480"/>
                      </a:lnTo>
                      <a:lnTo>
                        <a:pt x="127380" y="819821"/>
                      </a:lnTo>
                      <a:lnTo>
                        <a:pt x="134624" y="818613"/>
                      </a:lnTo>
                      <a:lnTo>
                        <a:pt x="144283" y="819821"/>
                      </a:lnTo>
                      <a:lnTo>
                        <a:pt x="157565" y="812576"/>
                      </a:lnTo>
                      <a:lnTo>
                        <a:pt x="169035" y="807747"/>
                      </a:lnTo>
                      <a:lnTo>
                        <a:pt x="182316" y="804728"/>
                      </a:lnTo>
                      <a:lnTo>
                        <a:pt x="186542" y="805332"/>
                      </a:lnTo>
                      <a:lnTo>
                        <a:pt x="187750" y="808954"/>
                      </a:lnTo>
                      <a:lnTo>
                        <a:pt x="198616" y="807143"/>
                      </a:lnTo>
                      <a:lnTo>
                        <a:pt x="198616" y="804728"/>
                      </a:lnTo>
                      <a:lnTo>
                        <a:pt x="201635" y="795069"/>
                      </a:lnTo>
                      <a:lnTo>
                        <a:pt x="204050" y="793862"/>
                      </a:lnTo>
                      <a:lnTo>
                        <a:pt x="204050" y="787221"/>
                      </a:lnTo>
                      <a:lnTo>
                        <a:pt x="199824" y="782391"/>
                      </a:lnTo>
                      <a:lnTo>
                        <a:pt x="200427" y="778769"/>
                      </a:lnTo>
                      <a:lnTo>
                        <a:pt x="204653" y="778769"/>
                      </a:lnTo>
                      <a:lnTo>
                        <a:pt x="209483" y="776958"/>
                      </a:lnTo>
                      <a:lnTo>
                        <a:pt x="213105" y="772129"/>
                      </a:lnTo>
                      <a:lnTo>
                        <a:pt x="216727" y="772129"/>
                      </a:lnTo>
                      <a:lnTo>
                        <a:pt x="216124" y="767299"/>
                      </a:lnTo>
                      <a:lnTo>
                        <a:pt x="220349" y="763677"/>
                      </a:lnTo>
                      <a:lnTo>
                        <a:pt x="225783" y="766695"/>
                      </a:lnTo>
                      <a:lnTo>
                        <a:pt x="226386" y="769714"/>
                      </a:lnTo>
                      <a:lnTo>
                        <a:pt x="230008" y="772129"/>
                      </a:lnTo>
                      <a:lnTo>
                        <a:pt x="234234" y="766695"/>
                      </a:lnTo>
                      <a:lnTo>
                        <a:pt x="242082" y="769714"/>
                      </a:lnTo>
                      <a:lnTo>
                        <a:pt x="248723" y="773336"/>
                      </a:lnTo>
                      <a:lnTo>
                        <a:pt x="253553" y="778166"/>
                      </a:lnTo>
                      <a:lnTo>
                        <a:pt x="263815" y="781788"/>
                      </a:lnTo>
                      <a:lnTo>
                        <a:pt x="272267" y="782995"/>
                      </a:lnTo>
                      <a:lnTo>
                        <a:pt x="275889" y="776958"/>
                      </a:lnTo>
                      <a:lnTo>
                        <a:pt x="273475" y="775751"/>
                      </a:lnTo>
                      <a:lnTo>
                        <a:pt x="268645" y="770317"/>
                      </a:lnTo>
                      <a:lnTo>
                        <a:pt x="269852" y="766092"/>
                      </a:lnTo>
                      <a:lnTo>
                        <a:pt x="280115" y="768506"/>
                      </a:lnTo>
                      <a:lnTo>
                        <a:pt x="281926" y="772129"/>
                      </a:lnTo>
                      <a:lnTo>
                        <a:pt x="287360" y="768506"/>
                      </a:lnTo>
                      <a:lnTo>
                        <a:pt x="286756" y="775751"/>
                      </a:lnTo>
                      <a:lnTo>
                        <a:pt x="292189" y="775147"/>
                      </a:lnTo>
                      <a:lnTo>
                        <a:pt x="294604" y="772732"/>
                      </a:lnTo>
                      <a:lnTo>
                        <a:pt x="292189" y="769110"/>
                      </a:lnTo>
                      <a:lnTo>
                        <a:pt x="292189" y="758847"/>
                      </a:lnTo>
                      <a:lnTo>
                        <a:pt x="295208" y="758847"/>
                      </a:lnTo>
                      <a:lnTo>
                        <a:pt x="296415" y="764884"/>
                      </a:lnTo>
                      <a:lnTo>
                        <a:pt x="301849" y="761262"/>
                      </a:lnTo>
                      <a:lnTo>
                        <a:pt x="300641" y="751603"/>
                      </a:lnTo>
                      <a:lnTo>
                        <a:pt x="301849" y="746774"/>
                      </a:lnTo>
                      <a:lnTo>
                        <a:pt x="295208" y="743151"/>
                      </a:lnTo>
                      <a:lnTo>
                        <a:pt x="297019" y="740133"/>
                      </a:lnTo>
                      <a:lnTo>
                        <a:pt x="292793" y="737114"/>
                      </a:lnTo>
                      <a:lnTo>
                        <a:pt x="289775" y="731077"/>
                      </a:lnTo>
                      <a:lnTo>
                        <a:pt x="292189" y="726852"/>
                      </a:lnTo>
                      <a:lnTo>
                        <a:pt x="298226" y="729266"/>
                      </a:lnTo>
                      <a:lnTo>
                        <a:pt x="310300" y="729266"/>
                      </a:lnTo>
                      <a:lnTo>
                        <a:pt x="306678" y="735303"/>
                      </a:lnTo>
                      <a:lnTo>
                        <a:pt x="311508" y="737718"/>
                      </a:lnTo>
                      <a:lnTo>
                        <a:pt x="315130" y="734700"/>
                      </a:lnTo>
                      <a:lnTo>
                        <a:pt x="321771" y="735907"/>
                      </a:lnTo>
                      <a:lnTo>
                        <a:pt x="332033" y="741340"/>
                      </a:lnTo>
                      <a:lnTo>
                        <a:pt x="336259" y="737718"/>
                      </a:lnTo>
                      <a:lnTo>
                        <a:pt x="332637" y="735907"/>
                      </a:lnTo>
                      <a:lnTo>
                        <a:pt x="334448" y="732889"/>
                      </a:lnTo>
                      <a:lnTo>
                        <a:pt x="338674" y="734096"/>
                      </a:lnTo>
                      <a:lnTo>
                        <a:pt x="345315" y="731681"/>
                      </a:lnTo>
                      <a:lnTo>
                        <a:pt x="346522" y="726248"/>
                      </a:lnTo>
                      <a:lnTo>
                        <a:pt x="342900" y="725040"/>
                      </a:lnTo>
                      <a:lnTo>
                        <a:pt x="345918" y="717796"/>
                      </a:lnTo>
                      <a:lnTo>
                        <a:pt x="342900" y="717192"/>
                      </a:lnTo>
                      <a:lnTo>
                        <a:pt x="344107" y="710552"/>
                      </a:lnTo>
                      <a:lnTo>
                        <a:pt x="348937" y="712966"/>
                      </a:lnTo>
                      <a:lnTo>
                        <a:pt x="352559" y="716589"/>
                      </a:lnTo>
                      <a:lnTo>
                        <a:pt x="359200" y="716589"/>
                      </a:lnTo>
                      <a:lnTo>
                        <a:pt x="359200" y="712363"/>
                      </a:lnTo>
                      <a:lnTo>
                        <a:pt x="361614" y="708741"/>
                      </a:lnTo>
                      <a:lnTo>
                        <a:pt x="366444" y="706929"/>
                      </a:lnTo>
                      <a:lnTo>
                        <a:pt x="362218" y="703307"/>
                      </a:lnTo>
                      <a:lnTo>
                        <a:pt x="361011" y="700289"/>
                      </a:lnTo>
                      <a:lnTo>
                        <a:pt x="371274" y="699685"/>
                      </a:lnTo>
                      <a:lnTo>
                        <a:pt x="373688" y="701496"/>
                      </a:lnTo>
                      <a:lnTo>
                        <a:pt x="383951" y="702704"/>
                      </a:lnTo>
                      <a:lnTo>
                        <a:pt x="385159" y="696667"/>
                      </a:lnTo>
                      <a:lnTo>
                        <a:pt x="379725" y="690026"/>
                      </a:lnTo>
                      <a:lnTo>
                        <a:pt x="373085" y="688818"/>
                      </a:lnTo>
                      <a:lnTo>
                        <a:pt x="374896" y="680367"/>
                      </a:lnTo>
                      <a:lnTo>
                        <a:pt x="382140" y="680970"/>
                      </a:lnTo>
                      <a:lnTo>
                        <a:pt x="386970" y="676141"/>
                      </a:lnTo>
                      <a:lnTo>
                        <a:pt x="388177" y="670708"/>
                      </a:lnTo>
                      <a:lnTo>
                        <a:pt x="391799" y="671915"/>
                      </a:lnTo>
                      <a:lnTo>
                        <a:pt x="397836" y="667689"/>
                      </a:lnTo>
                      <a:lnTo>
                        <a:pt x="398440" y="661048"/>
                      </a:lnTo>
                      <a:lnTo>
                        <a:pt x="406288" y="650182"/>
                      </a:lnTo>
                      <a:lnTo>
                        <a:pt x="406288" y="645956"/>
                      </a:lnTo>
                      <a:lnTo>
                        <a:pt x="403873" y="643541"/>
                      </a:lnTo>
                      <a:lnTo>
                        <a:pt x="404477" y="638712"/>
                      </a:lnTo>
                      <a:lnTo>
                        <a:pt x="410514" y="630864"/>
                      </a:lnTo>
                      <a:lnTo>
                        <a:pt x="406288" y="625430"/>
                      </a:lnTo>
                      <a:lnTo>
                        <a:pt x="406892" y="619393"/>
                      </a:lnTo>
                      <a:lnTo>
                        <a:pt x="405684" y="609130"/>
                      </a:lnTo>
                      <a:lnTo>
                        <a:pt x="408703" y="606112"/>
                      </a:lnTo>
                      <a:lnTo>
                        <a:pt x="411721" y="609734"/>
                      </a:lnTo>
                      <a:lnTo>
                        <a:pt x="416551" y="612149"/>
                      </a:lnTo>
                      <a:lnTo>
                        <a:pt x="420173" y="609734"/>
                      </a:lnTo>
                      <a:lnTo>
                        <a:pt x="424399" y="609130"/>
                      </a:lnTo>
                      <a:lnTo>
                        <a:pt x="425607" y="605508"/>
                      </a:lnTo>
                      <a:lnTo>
                        <a:pt x="429229" y="601886"/>
                      </a:lnTo>
                      <a:lnTo>
                        <a:pt x="427418" y="597660"/>
                      </a:lnTo>
                      <a:lnTo>
                        <a:pt x="429832" y="586794"/>
                      </a:lnTo>
                      <a:lnTo>
                        <a:pt x="424399" y="583172"/>
                      </a:lnTo>
                      <a:lnTo>
                        <a:pt x="426814" y="580153"/>
                      </a:lnTo>
                      <a:lnTo>
                        <a:pt x="427418" y="572909"/>
                      </a:lnTo>
                      <a:lnTo>
                        <a:pt x="414740" y="569286"/>
                      </a:lnTo>
                      <a:lnTo>
                        <a:pt x="410514" y="563249"/>
                      </a:lnTo>
                      <a:lnTo>
                        <a:pt x="417155" y="564457"/>
                      </a:lnTo>
                      <a:lnTo>
                        <a:pt x="420173" y="561438"/>
                      </a:lnTo>
                      <a:lnTo>
                        <a:pt x="426814" y="545742"/>
                      </a:lnTo>
                      <a:lnTo>
                        <a:pt x="429832" y="542724"/>
                      </a:lnTo>
                      <a:lnTo>
                        <a:pt x="440699" y="536687"/>
                      </a:lnTo>
                      <a:lnTo>
                        <a:pt x="442510" y="533668"/>
                      </a:lnTo>
                      <a:lnTo>
                        <a:pt x="441906" y="527028"/>
                      </a:lnTo>
                      <a:lnTo>
                        <a:pt x="440095" y="524613"/>
                      </a:lnTo>
                      <a:lnTo>
                        <a:pt x="428625" y="513143"/>
                      </a:lnTo>
                      <a:lnTo>
                        <a:pt x="428021" y="510124"/>
                      </a:lnTo>
                      <a:lnTo>
                        <a:pt x="420173" y="501069"/>
                      </a:lnTo>
                      <a:lnTo>
                        <a:pt x="413533" y="496843"/>
                      </a:lnTo>
                      <a:lnTo>
                        <a:pt x="405081" y="492617"/>
                      </a:lnTo>
                      <a:lnTo>
                        <a:pt x="400855" y="487184"/>
                      </a:lnTo>
                      <a:lnTo>
                        <a:pt x="400855" y="475110"/>
                      </a:lnTo>
                      <a:lnTo>
                        <a:pt x="403873" y="459414"/>
                      </a:lnTo>
                      <a:lnTo>
                        <a:pt x="412929" y="463639"/>
                      </a:lnTo>
                      <a:lnTo>
                        <a:pt x="413533" y="461225"/>
                      </a:lnTo>
                      <a:lnTo>
                        <a:pt x="411118" y="456395"/>
                      </a:lnTo>
                      <a:lnTo>
                        <a:pt x="416551" y="452169"/>
                      </a:lnTo>
                      <a:lnTo>
                        <a:pt x="418362" y="446736"/>
                      </a:lnTo>
                      <a:lnTo>
                        <a:pt x="417155" y="441906"/>
                      </a:lnTo>
                      <a:lnTo>
                        <a:pt x="412325" y="440699"/>
                      </a:lnTo>
                      <a:lnTo>
                        <a:pt x="402666" y="432851"/>
                      </a:lnTo>
                      <a:lnTo>
                        <a:pt x="404477" y="425003"/>
                      </a:lnTo>
                      <a:lnTo>
                        <a:pt x="399647" y="423796"/>
                      </a:lnTo>
                      <a:lnTo>
                        <a:pt x="399044" y="419570"/>
                      </a:lnTo>
                      <a:lnTo>
                        <a:pt x="403873" y="407496"/>
                      </a:lnTo>
                      <a:lnTo>
                        <a:pt x="408703" y="411118"/>
                      </a:lnTo>
                      <a:lnTo>
                        <a:pt x="411721" y="408703"/>
                      </a:lnTo>
                      <a:lnTo>
                        <a:pt x="413533" y="403873"/>
                      </a:lnTo>
                      <a:lnTo>
                        <a:pt x="419570" y="403873"/>
                      </a:lnTo>
                      <a:lnTo>
                        <a:pt x="418966" y="400855"/>
                      </a:lnTo>
                      <a:lnTo>
                        <a:pt x="420777" y="395422"/>
                      </a:lnTo>
                      <a:lnTo>
                        <a:pt x="427418" y="394214"/>
                      </a:lnTo>
                      <a:lnTo>
                        <a:pt x="428021" y="391799"/>
                      </a:lnTo>
                      <a:lnTo>
                        <a:pt x="432247" y="387574"/>
                      </a:lnTo>
                      <a:lnTo>
                        <a:pt x="438888" y="386970"/>
                      </a:lnTo>
                      <a:lnTo>
                        <a:pt x="443717" y="392403"/>
                      </a:lnTo>
                      <a:lnTo>
                        <a:pt x="444925" y="395422"/>
                      </a:lnTo>
                      <a:lnTo>
                        <a:pt x="448547" y="397233"/>
                      </a:lnTo>
                      <a:lnTo>
                        <a:pt x="450962" y="396025"/>
                      </a:lnTo>
                      <a:lnTo>
                        <a:pt x="454584" y="399044"/>
                      </a:lnTo>
                      <a:lnTo>
                        <a:pt x="461224" y="400251"/>
                      </a:lnTo>
                      <a:lnTo>
                        <a:pt x="461828" y="398440"/>
                      </a:lnTo>
                      <a:lnTo>
                        <a:pt x="462432" y="395422"/>
                      </a:lnTo>
                      <a:lnTo>
                        <a:pt x="461828" y="394818"/>
                      </a:lnTo>
                      <a:lnTo>
                        <a:pt x="461224" y="394818"/>
                      </a:lnTo>
                      <a:lnTo>
                        <a:pt x="459413" y="389385"/>
                      </a:lnTo>
                      <a:lnTo>
                        <a:pt x="457602" y="388177"/>
                      </a:lnTo>
                      <a:lnTo>
                        <a:pt x="455791" y="388177"/>
                      </a:lnTo>
                      <a:lnTo>
                        <a:pt x="453376" y="383951"/>
                      </a:lnTo>
                      <a:lnTo>
                        <a:pt x="453980" y="382140"/>
                      </a:lnTo>
                      <a:lnTo>
                        <a:pt x="455187" y="382140"/>
                      </a:lnTo>
                      <a:lnTo>
                        <a:pt x="452773" y="380329"/>
                      </a:lnTo>
                      <a:lnTo>
                        <a:pt x="454584" y="376103"/>
                      </a:lnTo>
                      <a:lnTo>
                        <a:pt x="455791" y="374292"/>
                      </a:lnTo>
                      <a:lnTo>
                        <a:pt x="455187" y="373689"/>
                      </a:lnTo>
                      <a:lnTo>
                        <a:pt x="453980" y="373085"/>
                      </a:lnTo>
                      <a:lnTo>
                        <a:pt x="456395" y="371878"/>
                      </a:lnTo>
                      <a:lnTo>
                        <a:pt x="455791" y="371274"/>
                      </a:lnTo>
                      <a:lnTo>
                        <a:pt x="455791" y="369463"/>
                      </a:lnTo>
                      <a:lnTo>
                        <a:pt x="456999" y="365841"/>
                      </a:lnTo>
                      <a:lnTo>
                        <a:pt x="455187" y="364633"/>
                      </a:lnTo>
                      <a:lnTo>
                        <a:pt x="456999" y="363426"/>
                      </a:lnTo>
                      <a:lnTo>
                        <a:pt x="457602" y="363426"/>
                      </a:lnTo>
                      <a:lnTo>
                        <a:pt x="457602" y="362822"/>
                      </a:lnTo>
                      <a:lnTo>
                        <a:pt x="456999" y="361011"/>
                      </a:lnTo>
                      <a:lnTo>
                        <a:pt x="458206" y="354370"/>
                      </a:lnTo>
                      <a:lnTo>
                        <a:pt x="457602" y="352559"/>
                      </a:lnTo>
                      <a:lnTo>
                        <a:pt x="443717" y="345918"/>
                      </a:lnTo>
                      <a:lnTo>
                        <a:pt x="436473" y="340485"/>
                      </a:lnTo>
                      <a:lnTo>
                        <a:pt x="435266" y="336863"/>
                      </a:lnTo>
                      <a:lnTo>
                        <a:pt x="427418" y="332033"/>
                      </a:lnTo>
                      <a:lnTo>
                        <a:pt x="426814" y="327204"/>
                      </a:lnTo>
                      <a:lnTo>
                        <a:pt x="429229" y="324185"/>
                      </a:lnTo>
                      <a:lnTo>
                        <a:pt x="424399" y="319960"/>
                      </a:lnTo>
                      <a:lnTo>
                        <a:pt x="429229" y="315734"/>
                      </a:lnTo>
                      <a:lnTo>
                        <a:pt x="424399" y="312715"/>
                      </a:lnTo>
                      <a:lnTo>
                        <a:pt x="421381" y="313923"/>
                      </a:lnTo>
                      <a:lnTo>
                        <a:pt x="411118" y="310904"/>
                      </a:lnTo>
                      <a:lnTo>
                        <a:pt x="409910" y="307886"/>
                      </a:lnTo>
                      <a:lnTo>
                        <a:pt x="409910" y="301245"/>
                      </a:lnTo>
                      <a:lnTo>
                        <a:pt x="408099" y="297623"/>
                      </a:lnTo>
                      <a:lnTo>
                        <a:pt x="412325" y="297019"/>
                      </a:lnTo>
                      <a:lnTo>
                        <a:pt x="412325" y="295208"/>
                      </a:lnTo>
                      <a:lnTo>
                        <a:pt x="411721" y="294001"/>
                      </a:lnTo>
                      <a:lnTo>
                        <a:pt x="412325" y="292189"/>
                      </a:lnTo>
                      <a:lnTo>
                        <a:pt x="412929" y="290378"/>
                      </a:lnTo>
                      <a:lnTo>
                        <a:pt x="412325" y="284945"/>
                      </a:lnTo>
                      <a:lnTo>
                        <a:pt x="412325" y="283134"/>
                      </a:lnTo>
                      <a:lnTo>
                        <a:pt x="413533" y="281323"/>
                      </a:lnTo>
                      <a:lnTo>
                        <a:pt x="415344" y="274078"/>
                      </a:lnTo>
                      <a:lnTo>
                        <a:pt x="416551" y="271060"/>
                      </a:lnTo>
                      <a:lnTo>
                        <a:pt x="422588" y="266231"/>
                      </a:lnTo>
                      <a:lnTo>
                        <a:pt x="425003" y="265023"/>
                      </a:lnTo>
                      <a:lnTo>
                        <a:pt x="425607" y="263212"/>
                      </a:lnTo>
                      <a:lnTo>
                        <a:pt x="426210" y="263212"/>
                      </a:lnTo>
                      <a:lnTo>
                        <a:pt x="431040" y="261401"/>
                      </a:lnTo>
                      <a:lnTo>
                        <a:pt x="431644" y="263816"/>
                      </a:lnTo>
                      <a:lnTo>
                        <a:pt x="433455" y="265627"/>
                      </a:lnTo>
                      <a:lnTo>
                        <a:pt x="435266" y="262005"/>
                      </a:lnTo>
                      <a:lnTo>
                        <a:pt x="439492" y="262005"/>
                      </a:lnTo>
                      <a:lnTo>
                        <a:pt x="441303" y="262608"/>
                      </a:lnTo>
                      <a:lnTo>
                        <a:pt x="441906" y="262005"/>
                      </a:lnTo>
                      <a:lnTo>
                        <a:pt x="441303" y="260194"/>
                      </a:lnTo>
                      <a:lnTo>
                        <a:pt x="438284" y="257779"/>
                      </a:lnTo>
                      <a:lnTo>
                        <a:pt x="441303" y="256571"/>
                      </a:lnTo>
                      <a:lnTo>
                        <a:pt x="441303" y="252949"/>
                      </a:lnTo>
                      <a:lnTo>
                        <a:pt x="441303" y="251138"/>
                      </a:lnTo>
                      <a:lnTo>
                        <a:pt x="441303" y="249327"/>
                      </a:lnTo>
                      <a:lnTo>
                        <a:pt x="440095" y="247516"/>
                      </a:lnTo>
                      <a:lnTo>
                        <a:pt x="444321" y="245101"/>
                      </a:lnTo>
                      <a:lnTo>
                        <a:pt x="447339" y="248723"/>
                      </a:lnTo>
                      <a:lnTo>
                        <a:pt x="449151" y="248723"/>
                      </a:lnTo>
                      <a:lnTo>
                        <a:pt x="450962" y="248723"/>
                      </a:lnTo>
                      <a:lnTo>
                        <a:pt x="450358" y="245705"/>
                      </a:lnTo>
                      <a:lnTo>
                        <a:pt x="454584" y="242686"/>
                      </a:lnTo>
                      <a:lnTo>
                        <a:pt x="455791" y="240875"/>
                      </a:lnTo>
                      <a:lnTo>
                        <a:pt x="460017" y="241479"/>
                      </a:lnTo>
                      <a:lnTo>
                        <a:pt x="462432" y="240875"/>
                      </a:lnTo>
                      <a:lnTo>
                        <a:pt x="463035" y="239064"/>
                      </a:lnTo>
                      <a:lnTo>
                        <a:pt x="466054" y="236649"/>
                      </a:lnTo>
                      <a:lnTo>
                        <a:pt x="466054" y="234838"/>
                      </a:lnTo>
                      <a:lnTo>
                        <a:pt x="467261" y="234234"/>
                      </a:lnTo>
                      <a:lnTo>
                        <a:pt x="469072" y="233027"/>
                      </a:lnTo>
                      <a:lnTo>
                        <a:pt x="469676" y="231820"/>
                      </a:lnTo>
                      <a:lnTo>
                        <a:pt x="471487" y="230009"/>
                      </a:lnTo>
                      <a:lnTo>
                        <a:pt x="472695" y="229405"/>
                      </a:lnTo>
                      <a:lnTo>
                        <a:pt x="473902" y="229405"/>
                      </a:lnTo>
                      <a:lnTo>
                        <a:pt x="476317" y="225783"/>
                      </a:lnTo>
                      <a:lnTo>
                        <a:pt x="480543" y="222764"/>
                      </a:lnTo>
                      <a:lnTo>
                        <a:pt x="481750" y="222160"/>
                      </a:lnTo>
                      <a:lnTo>
                        <a:pt x="484165" y="221557"/>
                      </a:lnTo>
                      <a:lnTo>
                        <a:pt x="485372" y="218538"/>
                      </a:lnTo>
                      <a:lnTo>
                        <a:pt x="490202" y="217331"/>
                      </a:lnTo>
                      <a:lnTo>
                        <a:pt x="492013" y="216727"/>
                      </a:lnTo>
                      <a:lnTo>
                        <a:pt x="493220" y="215520"/>
                      </a:lnTo>
                      <a:lnTo>
                        <a:pt x="494428" y="213105"/>
                      </a:lnTo>
                      <a:lnTo>
                        <a:pt x="495635" y="210087"/>
                      </a:lnTo>
                      <a:lnTo>
                        <a:pt x="502276" y="204050"/>
                      </a:lnTo>
                      <a:lnTo>
                        <a:pt x="503483" y="205257"/>
                      </a:lnTo>
                      <a:lnTo>
                        <a:pt x="504087" y="205861"/>
                      </a:lnTo>
                      <a:lnTo>
                        <a:pt x="505294" y="201635"/>
                      </a:lnTo>
                      <a:lnTo>
                        <a:pt x="507709" y="201031"/>
                      </a:lnTo>
                      <a:lnTo>
                        <a:pt x="507709" y="199220"/>
                      </a:lnTo>
                      <a:lnTo>
                        <a:pt x="505898" y="198616"/>
                      </a:lnTo>
                      <a:lnTo>
                        <a:pt x="503483" y="194391"/>
                      </a:lnTo>
                      <a:lnTo>
                        <a:pt x="500465" y="195598"/>
                      </a:lnTo>
                      <a:lnTo>
                        <a:pt x="498654" y="194994"/>
                      </a:lnTo>
                      <a:lnTo>
                        <a:pt x="495635" y="193183"/>
                      </a:lnTo>
                      <a:lnTo>
                        <a:pt x="495635" y="190768"/>
                      </a:lnTo>
                      <a:lnTo>
                        <a:pt x="500465" y="185939"/>
                      </a:lnTo>
                      <a:lnTo>
                        <a:pt x="499861" y="181713"/>
                      </a:lnTo>
                      <a:lnTo>
                        <a:pt x="498050" y="178091"/>
                      </a:lnTo>
                      <a:lnTo>
                        <a:pt x="495032" y="178694"/>
                      </a:lnTo>
                      <a:lnTo>
                        <a:pt x="493220" y="174468"/>
                      </a:lnTo>
                      <a:lnTo>
                        <a:pt x="487787" y="173261"/>
                      </a:lnTo>
                      <a:lnTo>
                        <a:pt x="484769" y="167828"/>
                      </a:lnTo>
                      <a:lnTo>
                        <a:pt x="487787" y="164809"/>
                      </a:lnTo>
                      <a:lnTo>
                        <a:pt x="496239" y="159376"/>
                      </a:lnTo>
                      <a:lnTo>
                        <a:pt x="495635" y="154547"/>
                      </a:lnTo>
                      <a:lnTo>
                        <a:pt x="490806" y="158169"/>
                      </a:lnTo>
                      <a:lnTo>
                        <a:pt x="485976" y="156358"/>
                      </a:lnTo>
                      <a:lnTo>
                        <a:pt x="482354" y="158169"/>
                      </a:lnTo>
                      <a:lnTo>
                        <a:pt x="481750" y="161791"/>
                      </a:lnTo>
                      <a:lnTo>
                        <a:pt x="478128" y="164206"/>
                      </a:lnTo>
                      <a:lnTo>
                        <a:pt x="475109" y="163602"/>
                      </a:lnTo>
                      <a:lnTo>
                        <a:pt x="469676" y="158169"/>
                      </a:lnTo>
                      <a:lnTo>
                        <a:pt x="469676" y="157565"/>
                      </a:lnTo>
                      <a:lnTo>
                        <a:pt x="470280" y="152735"/>
                      </a:lnTo>
                      <a:lnTo>
                        <a:pt x="472695" y="150924"/>
                      </a:lnTo>
                      <a:lnTo>
                        <a:pt x="476921" y="141869"/>
                      </a:lnTo>
                      <a:lnTo>
                        <a:pt x="477524" y="137643"/>
                      </a:lnTo>
                      <a:lnTo>
                        <a:pt x="481750" y="132813"/>
                      </a:lnTo>
                      <a:lnTo>
                        <a:pt x="482958" y="120739"/>
                      </a:lnTo>
                      <a:lnTo>
                        <a:pt x="485976" y="115910"/>
                      </a:lnTo>
                      <a:lnTo>
                        <a:pt x="487183" y="103836"/>
                      </a:lnTo>
                      <a:lnTo>
                        <a:pt x="484769" y="96592"/>
                      </a:lnTo>
                      <a:lnTo>
                        <a:pt x="485372" y="93573"/>
                      </a:lnTo>
                      <a:lnTo>
                        <a:pt x="482958" y="88744"/>
                      </a:lnTo>
                      <a:lnTo>
                        <a:pt x="483561" y="81499"/>
                      </a:lnTo>
                      <a:lnTo>
                        <a:pt x="476317" y="74858"/>
                      </a:lnTo>
                      <a:lnTo>
                        <a:pt x="478732" y="69425"/>
                      </a:lnTo>
                      <a:lnTo>
                        <a:pt x="473298" y="62784"/>
                      </a:lnTo>
                      <a:lnTo>
                        <a:pt x="472695" y="54333"/>
                      </a:lnTo>
                      <a:lnTo>
                        <a:pt x="466658" y="49503"/>
                      </a:lnTo>
                      <a:lnTo>
                        <a:pt x="465450" y="44674"/>
                      </a:lnTo>
                      <a:lnTo>
                        <a:pt x="456395" y="42863"/>
                      </a:lnTo>
                      <a:lnTo>
                        <a:pt x="451565" y="33203"/>
                      </a:lnTo>
                      <a:lnTo>
                        <a:pt x="450962" y="28374"/>
                      </a:lnTo>
                      <a:lnTo>
                        <a:pt x="446736" y="26563"/>
                      </a:lnTo>
                      <a:lnTo>
                        <a:pt x="446736" y="21129"/>
                      </a:lnTo>
                      <a:lnTo>
                        <a:pt x="449754" y="18111"/>
                      </a:lnTo>
                      <a:lnTo>
                        <a:pt x="451565" y="4830"/>
                      </a:lnTo>
                      <a:lnTo>
                        <a:pt x="451565" y="604"/>
                      </a:lnTo>
                      <a:lnTo>
                        <a:pt x="454584" y="0"/>
                      </a:lnTo>
                      <a:lnTo>
                        <a:pt x="460017" y="1811"/>
                      </a:lnTo>
                      <a:lnTo>
                        <a:pt x="463639" y="4830"/>
                      </a:lnTo>
                      <a:lnTo>
                        <a:pt x="461828" y="7244"/>
                      </a:lnTo>
                      <a:lnTo>
                        <a:pt x="464847" y="12678"/>
                      </a:lnTo>
                      <a:lnTo>
                        <a:pt x="465450" y="18111"/>
                      </a:lnTo>
                      <a:lnTo>
                        <a:pt x="476317" y="24148"/>
                      </a:lnTo>
                      <a:lnTo>
                        <a:pt x="480543" y="24752"/>
                      </a:lnTo>
                      <a:lnTo>
                        <a:pt x="484769" y="19922"/>
                      </a:lnTo>
                      <a:lnTo>
                        <a:pt x="492013" y="19922"/>
                      </a:lnTo>
                      <a:lnTo>
                        <a:pt x="495635" y="23544"/>
                      </a:lnTo>
                      <a:lnTo>
                        <a:pt x="505294" y="20526"/>
                      </a:lnTo>
                      <a:lnTo>
                        <a:pt x="509520" y="21733"/>
                      </a:lnTo>
                      <a:lnTo>
                        <a:pt x="510728" y="21129"/>
                      </a:lnTo>
                      <a:lnTo>
                        <a:pt x="513746" y="24148"/>
                      </a:lnTo>
                      <a:lnTo>
                        <a:pt x="514350" y="26563"/>
                      </a:lnTo>
                      <a:lnTo>
                        <a:pt x="519180" y="26563"/>
                      </a:lnTo>
                      <a:lnTo>
                        <a:pt x="520387" y="27770"/>
                      </a:lnTo>
                      <a:lnTo>
                        <a:pt x="524009" y="28374"/>
                      </a:lnTo>
                      <a:lnTo>
                        <a:pt x="532461" y="30185"/>
                      </a:lnTo>
                      <a:lnTo>
                        <a:pt x="536687" y="31996"/>
                      </a:lnTo>
                      <a:lnTo>
                        <a:pt x="541516" y="30185"/>
                      </a:lnTo>
                      <a:lnTo>
                        <a:pt x="543931" y="24752"/>
                      </a:lnTo>
                      <a:lnTo>
                        <a:pt x="549968" y="22337"/>
                      </a:lnTo>
                      <a:lnTo>
                        <a:pt x="555401" y="16300"/>
                      </a:lnTo>
                      <a:lnTo>
                        <a:pt x="555401" y="10866"/>
                      </a:lnTo>
                      <a:lnTo>
                        <a:pt x="559627" y="8452"/>
                      </a:lnTo>
                      <a:lnTo>
                        <a:pt x="569890" y="6037"/>
                      </a:lnTo>
                      <a:lnTo>
                        <a:pt x="575323" y="7848"/>
                      </a:lnTo>
                      <a:lnTo>
                        <a:pt x="579549" y="12074"/>
                      </a:lnTo>
                      <a:lnTo>
                        <a:pt x="583775" y="13281"/>
                      </a:lnTo>
                      <a:lnTo>
                        <a:pt x="589208" y="9659"/>
                      </a:lnTo>
                      <a:lnTo>
                        <a:pt x="594642" y="12678"/>
                      </a:lnTo>
                      <a:lnTo>
                        <a:pt x="595849" y="17507"/>
                      </a:lnTo>
                      <a:lnTo>
                        <a:pt x="598867" y="19318"/>
                      </a:lnTo>
                      <a:lnTo>
                        <a:pt x="603093" y="16903"/>
                      </a:lnTo>
                      <a:lnTo>
                        <a:pt x="609734" y="19922"/>
                      </a:lnTo>
                      <a:lnTo>
                        <a:pt x="612753" y="19318"/>
                      </a:lnTo>
                      <a:lnTo>
                        <a:pt x="618186" y="24148"/>
                      </a:lnTo>
                      <a:lnTo>
                        <a:pt x="627241" y="25959"/>
                      </a:lnTo>
                      <a:lnTo>
                        <a:pt x="627241" y="33203"/>
                      </a:lnTo>
                      <a:lnTo>
                        <a:pt x="629052" y="42259"/>
                      </a:lnTo>
                      <a:lnTo>
                        <a:pt x="627241" y="48900"/>
                      </a:lnTo>
                      <a:lnTo>
                        <a:pt x="627845" y="60973"/>
                      </a:lnTo>
                      <a:lnTo>
                        <a:pt x="631467" y="59766"/>
                      </a:lnTo>
                      <a:lnTo>
                        <a:pt x="632071" y="56144"/>
                      </a:lnTo>
                      <a:lnTo>
                        <a:pt x="635693" y="52522"/>
                      </a:lnTo>
                      <a:lnTo>
                        <a:pt x="642938" y="56144"/>
                      </a:lnTo>
                      <a:lnTo>
                        <a:pt x="644749" y="61577"/>
                      </a:lnTo>
                      <a:lnTo>
                        <a:pt x="641730" y="65199"/>
                      </a:lnTo>
                      <a:lnTo>
                        <a:pt x="646560" y="68821"/>
                      </a:lnTo>
                      <a:lnTo>
                        <a:pt x="650786" y="69425"/>
                      </a:lnTo>
                      <a:lnTo>
                        <a:pt x="659841" y="65199"/>
                      </a:lnTo>
                      <a:lnTo>
                        <a:pt x="663463" y="69425"/>
                      </a:lnTo>
                      <a:lnTo>
                        <a:pt x="664067" y="73651"/>
                      </a:lnTo>
                      <a:lnTo>
                        <a:pt x="671915" y="74858"/>
                      </a:lnTo>
                      <a:lnTo>
                        <a:pt x="671915" y="80292"/>
                      </a:lnTo>
                      <a:lnTo>
                        <a:pt x="675537" y="83310"/>
                      </a:lnTo>
                      <a:lnTo>
                        <a:pt x="674933" y="88744"/>
                      </a:lnTo>
                      <a:lnTo>
                        <a:pt x="680366" y="95384"/>
                      </a:lnTo>
                      <a:lnTo>
                        <a:pt x="689422" y="92366"/>
                      </a:lnTo>
                      <a:lnTo>
                        <a:pt x="693044" y="95384"/>
                      </a:lnTo>
                      <a:lnTo>
                        <a:pt x="702703" y="92366"/>
                      </a:lnTo>
                      <a:lnTo>
                        <a:pt x="705722" y="93573"/>
                      </a:lnTo>
                      <a:lnTo>
                        <a:pt x="713570" y="89347"/>
                      </a:lnTo>
                      <a:lnTo>
                        <a:pt x="720211" y="85121"/>
                      </a:lnTo>
                      <a:lnTo>
                        <a:pt x="722022" y="88140"/>
                      </a:lnTo>
                      <a:lnTo>
                        <a:pt x="728059" y="82707"/>
                      </a:lnTo>
                      <a:lnTo>
                        <a:pt x="733492" y="83310"/>
                      </a:lnTo>
                      <a:lnTo>
                        <a:pt x="734096" y="87536"/>
                      </a:lnTo>
                      <a:lnTo>
                        <a:pt x="746170" y="89347"/>
                      </a:lnTo>
                      <a:lnTo>
                        <a:pt x="748585" y="95988"/>
                      </a:lnTo>
                      <a:lnTo>
                        <a:pt x="756433" y="96592"/>
                      </a:lnTo>
                      <a:lnTo>
                        <a:pt x="759451" y="93573"/>
                      </a:lnTo>
                      <a:lnTo>
                        <a:pt x="763073" y="92969"/>
                      </a:lnTo>
                      <a:lnTo>
                        <a:pt x="770921" y="97195"/>
                      </a:lnTo>
                      <a:lnTo>
                        <a:pt x="779977" y="99610"/>
                      </a:lnTo>
                      <a:lnTo>
                        <a:pt x="782995" y="102629"/>
                      </a:lnTo>
                      <a:lnTo>
                        <a:pt x="786013" y="101421"/>
                      </a:lnTo>
                      <a:lnTo>
                        <a:pt x="789032" y="103836"/>
                      </a:lnTo>
                      <a:lnTo>
                        <a:pt x="786617" y="109873"/>
                      </a:lnTo>
                      <a:lnTo>
                        <a:pt x="783599" y="110477"/>
                      </a:lnTo>
                      <a:lnTo>
                        <a:pt x="780580" y="114702"/>
                      </a:lnTo>
                      <a:lnTo>
                        <a:pt x="789636" y="115910"/>
                      </a:lnTo>
                      <a:lnTo>
                        <a:pt x="792050" y="111080"/>
                      </a:lnTo>
                      <a:lnTo>
                        <a:pt x="799295" y="111684"/>
                      </a:lnTo>
                      <a:lnTo>
                        <a:pt x="803521" y="115306"/>
                      </a:lnTo>
                      <a:lnTo>
                        <a:pt x="809558" y="115910"/>
                      </a:lnTo>
                      <a:lnTo>
                        <a:pt x="814387" y="120739"/>
                      </a:lnTo>
                      <a:lnTo>
                        <a:pt x="820424" y="117117"/>
                      </a:lnTo>
                      <a:lnTo>
                        <a:pt x="830687" y="119532"/>
                      </a:lnTo>
                      <a:lnTo>
                        <a:pt x="833706" y="124362"/>
                      </a:lnTo>
                      <a:lnTo>
                        <a:pt x="833102" y="130399"/>
                      </a:lnTo>
                      <a:lnTo>
                        <a:pt x="834309" y="133417"/>
                      </a:lnTo>
                      <a:lnTo>
                        <a:pt x="830687" y="135832"/>
                      </a:lnTo>
                      <a:lnTo>
                        <a:pt x="831895" y="140058"/>
                      </a:lnTo>
                      <a:lnTo>
                        <a:pt x="834913" y="140661"/>
                      </a:lnTo>
                      <a:lnTo>
                        <a:pt x="834913" y="147302"/>
                      </a:lnTo>
                      <a:lnTo>
                        <a:pt x="832498" y="150321"/>
                      </a:lnTo>
                      <a:lnTo>
                        <a:pt x="831895" y="159376"/>
                      </a:lnTo>
                      <a:lnTo>
                        <a:pt x="830084" y="161791"/>
                      </a:lnTo>
                      <a:lnTo>
                        <a:pt x="830084" y="169639"/>
                      </a:lnTo>
                      <a:lnTo>
                        <a:pt x="833706" y="175072"/>
                      </a:lnTo>
                      <a:lnTo>
                        <a:pt x="833102" y="178694"/>
                      </a:lnTo>
                      <a:lnTo>
                        <a:pt x="830084" y="181713"/>
                      </a:lnTo>
                      <a:lnTo>
                        <a:pt x="828272" y="187146"/>
                      </a:lnTo>
                      <a:lnTo>
                        <a:pt x="830687" y="193183"/>
                      </a:lnTo>
                      <a:lnTo>
                        <a:pt x="824650" y="197409"/>
                      </a:lnTo>
                      <a:lnTo>
                        <a:pt x="814991" y="200428"/>
                      </a:lnTo>
                      <a:lnTo>
                        <a:pt x="814991" y="205257"/>
                      </a:lnTo>
                      <a:lnTo>
                        <a:pt x="811369" y="208879"/>
                      </a:lnTo>
                      <a:lnTo>
                        <a:pt x="808954" y="207672"/>
                      </a:lnTo>
                      <a:lnTo>
                        <a:pt x="810765" y="214313"/>
                      </a:lnTo>
                      <a:lnTo>
                        <a:pt x="810161" y="215520"/>
                      </a:lnTo>
                      <a:lnTo>
                        <a:pt x="807747" y="214916"/>
                      </a:lnTo>
                      <a:lnTo>
                        <a:pt x="802917" y="213709"/>
                      </a:lnTo>
                      <a:lnTo>
                        <a:pt x="802917" y="210690"/>
                      </a:lnTo>
                      <a:lnTo>
                        <a:pt x="801710" y="211898"/>
                      </a:lnTo>
                      <a:lnTo>
                        <a:pt x="802917" y="215520"/>
                      </a:lnTo>
                      <a:lnTo>
                        <a:pt x="805332" y="220349"/>
                      </a:lnTo>
                      <a:lnTo>
                        <a:pt x="804728" y="221557"/>
                      </a:lnTo>
                      <a:lnTo>
                        <a:pt x="801710" y="222160"/>
                      </a:lnTo>
                      <a:lnTo>
                        <a:pt x="800502" y="220953"/>
                      </a:lnTo>
                      <a:lnTo>
                        <a:pt x="798691" y="221557"/>
                      </a:lnTo>
                      <a:lnTo>
                        <a:pt x="800502" y="222160"/>
                      </a:lnTo>
                      <a:lnTo>
                        <a:pt x="801710" y="222764"/>
                      </a:lnTo>
                      <a:lnTo>
                        <a:pt x="801710" y="225179"/>
                      </a:lnTo>
                      <a:lnTo>
                        <a:pt x="804124" y="226990"/>
                      </a:lnTo>
                      <a:lnTo>
                        <a:pt x="802313" y="228197"/>
                      </a:lnTo>
                      <a:lnTo>
                        <a:pt x="800502" y="229405"/>
                      </a:lnTo>
                      <a:lnTo>
                        <a:pt x="799295" y="231820"/>
                      </a:lnTo>
                      <a:lnTo>
                        <a:pt x="798087" y="231216"/>
                      </a:lnTo>
                      <a:lnTo>
                        <a:pt x="798087" y="231820"/>
                      </a:lnTo>
                      <a:lnTo>
                        <a:pt x="801710" y="232423"/>
                      </a:lnTo>
                      <a:lnTo>
                        <a:pt x="803521" y="231820"/>
                      </a:lnTo>
                      <a:lnTo>
                        <a:pt x="803521" y="234234"/>
                      </a:lnTo>
                      <a:lnTo>
                        <a:pt x="801106" y="234234"/>
                      </a:lnTo>
                      <a:lnTo>
                        <a:pt x="801710" y="237857"/>
                      </a:lnTo>
                      <a:lnTo>
                        <a:pt x="800502" y="238460"/>
                      </a:lnTo>
                      <a:lnTo>
                        <a:pt x="797484" y="237857"/>
                      </a:lnTo>
                      <a:lnTo>
                        <a:pt x="798691" y="240875"/>
                      </a:lnTo>
                      <a:lnTo>
                        <a:pt x="799899" y="241479"/>
                      </a:lnTo>
                      <a:lnTo>
                        <a:pt x="801710" y="240875"/>
                      </a:lnTo>
                      <a:lnTo>
                        <a:pt x="805332" y="241479"/>
                      </a:lnTo>
                      <a:lnTo>
                        <a:pt x="805332" y="242083"/>
                      </a:lnTo>
                      <a:lnTo>
                        <a:pt x="802313" y="243290"/>
                      </a:lnTo>
                      <a:lnTo>
                        <a:pt x="801106" y="246308"/>
                      </a:lnTo>
                      <a:lnTo>
                        <a:pt x="796276" y="245101"/>
                      </a:lnTo>
                      <a:lnTo>
                        <a:pt x="797484" y="241479"/>
                      </a:lnTo>
                      <a:lnTo>
                        <a:pt x="790239" y="231216"/>
                      </a:lnTo>
                      <a:lnTo>
                        <a:pt x="785410" y="229405"/>
                      </a:lnTo>
                      <a:lnTo>
                        <a:pt x="786617" y="236046"/>
                      </a:lnTo>
                      <a:lnTo>
                        <a:pt x="786013" y="240271"/>
                      </a:lnTo>
                      <a:lnTo>
                        <a:pt x="782995" y="240875"/>
                      </a:lnTo>
                      <a:lnTo>
                        <a:pt x="777562" y="249327"/>
                      </a:lnTo>
                      <a:lnTo>
                        <a:pt x="778769" y="252345"/>
                      </a:lnTo>
                      <a:lnTo>
                        <a:pt x="784202" y="254760"/>
                      </a:lnTo>
                      <a:lnTo>
                        <a:pt x="787825" y="265627"/>
                      </a:lnTo>
                      <a:lnTo>
                        <a:pt x="778769" y="271060"/>
                      </a:lnTo>
                      <a:lnTo>
                        <a:pt x="774543" y="274078"/>
                      </a:lnTo>
                      <a:lnTo>
                        <a:pt x="774543" y="280719"/>
                      </a:lnTo>
                      <a:lnTo>
                        <a:pt x="775751" y="283134"/>
                      </a:lnTo>
                      <a:lnTo>
                        <a:pt x="773940" y="286152"/>
                      </a:lnTo>
                      <a:lnTo>
                        <a:pt x="769110" y="289775"/>
                      </a:lnTo>
                      <a:lnTo>
                        <a:pt x="766092" y="287964"/>
                      </a:lnTo>
                      <a:lnTo>
                        <a:pt x="766092" y="283134"/>
                      </a:lnTo>
                      <a:lnTo>
                        <a:pt x="761262" y="279512"/>
                      </a:lnTo>
                      <a:lnTo>
                        <a:pt x="758847" y="281323"/>
                      </a:lnTo>
                      <a:lnTo>
                        <a:pt x="750396" y="281927"/>
                      </a:lnTo>
                      <a:lnTo>
                        <a:pt x="743151" y="277701"/>
                      </a:lnTo>
                      <a:lnTo>
                        <a:pt x="743755" y="271664"/>
                      </a:lnTo>
                      <a:lnTo>
                        <a:pt x="739529" y="272267"/>
                      </a:lnTo>
                      <a:lnTo>
                        <a:pt x="735907" y="277097"/>
                      </a:lnTo>
                      <a:lnTo>
                        <a:pt x="728662" y="279512"/>
                      </a:lnTo>
                      <a:lnTo>
                        <a:pt x="726248" y="278908"/>
                      </a:lnTo>
                      <a:lnTo>
                        <a:pt x="722022" y="272871"/>
                      </a:lnTo>
                      <a:lnTo>
                        <a:pt x="713570" y="268042"/>
                      </a:lnTo>
                      <a:lnTo>
                        <a:pt x="708137" y="266834"/>
                      </a:lnTo>
                      <a:lnTo>
                        <a:pt x="706326" y="257779"/>
                      </a:lnTo>
                      <a:lnTo>
                        <a:pt x="701496" y="253553"/>
                      </a:lnTo>
                      <a:lnTo>
                        <a:pt x="694855" y="253553"/>
                      </a:lnTo>
                      <a:lnTo>
                        <a:pt x="690026" y="251742"/>
                      </a:lnTo>
                      <a:lnTo>
                        <a:pt x="687007" y="248723"/>
                      </a:lnTo>
                      <a:lnTo>
                        <a:pt x="682781" y="240271"/>
                      </a:lnTo>
                      <a:lnTo>
                        <a:pt x="683989" y="235442"/>
                      </a:lnTo>
                      <a:lnTo>
                        <a:pt x="684592" y="227594"/>
                      </a:lnTo>
                      <a:lnTo>
                        <a:pt x="680366" y="223368"/>
                      </a:lnTo>
                      <a:lnTo>
                        <a:pt x="676744" y="214916"/>
                      </a:lnTo>
                      <a:lnTo>
                        <a:pt x="682781" y="212501"/>
                      </a:lnTo>
                      <a:lnTo>
                        <a:pt x="675537" y="205257"/>
                      </a:lnTo>
                      <a:lnTo>
                        <a:pt x="674330" y="193183"/>
                      </a:lnTo>
                      <a:lnTo>
                        <a:pt x="668896" y="189561"/>
                      </a:lnTo>
                      <a:lnTo>
                        <a:pt x="663463" y="190165"/>
                      </a:lnTo>
                      <a:lnTo>
                        <a:pt x="659841" y="185939"/>
                      </a:lnTo>
                      <a:lnTo>
                        <a:pt x="654408" y="184731"/>
                      </a:lnTo>
                      <a:lnTo>
                        <a:pt x="651993" y="182920"/>
                      </a:lnTo>
                      <a:lnTo>
                        <a:pt x="651993" y="178091"/>
                      </a:lnTo>
                      <a:lnTo>
                        <a:pt x="646560" y="175676"/>
                      </a:lnTo>
                      <a:lnTo>
                        <a:pt x="644145" y="178091"/>
                      </a:lnTo>
                      <a:lnTo>
                        <a:pt x="644145" y="182920"/>
                      </a:lnTo>
                      <a:lnTo>
                        <a:pt x="638712" y="188354"/>
                      </a:lnTo>
                      <a:lnTo>
                        <a:pt x="636901" y="195598"/>
                      </a:lnTo>
                      <a:lnTo>
                        <a:pt x="639315" y="198013"/>
                      </a:lnTo>
                      <a:lnTo>
                        <a:pt x="644749" y="198616"/>
                      </a:lnTo>
                      <a:lnTo>
                        <a:pt x="655615" y="205257"/>
                      </a:lnTo>
                      <a:lnTo>
                        <a:pt x="652597" y="207672"/>
                      </a:lnTo>
                      <a:lnTo>
                        <a:pt x="655011" y="211898"/>
                      </a:lnTo>
                      <a:lnTo>
                        <a:pt x="661048" y="211294"/>
                      </a:lnTo>
                      <a:lnTo>
                        <a:pt x="659841" y="214916"/>
                      </a:lnTo>
                      <a:lnTo>
                        <a:pt x="664671" y="215520"/>
                      </a:lnTo>
                      <a:lnTo>
                        <a:pt x="667689" y="214313"/>
                      </a:lnTo>
                      <a:lnTo>
                        <a:pt x="668293" y="222160"/>
                      </a:lnTo>
                      <a:lnTo>
                        <a:pt x="665878" y="225179"/>
                      </a:lnTo>
                      <a:lnTo>
                        <a:pt x="653804" y="224575"/>
                      </a:lnTo>
                      <a:lnTo>
                        <a:pt x="645956" y="225179"/>
                      </a:lnTo>
                      <a:lnTo>
                        <a:pt x="640523" y="215520"/>
                      </a:lnTo>
                      <a:lnTo>
                        <a:pt x="629656" y="214916"/>
                      </a:lnTo>
                      <a:lnTo>
                        <a:pt x="626638" y="217935"/>
                      </a:lnTo>
                      <a:lnTo>
                        <a:pt x="626638" y="222160"/>
                      </a:lnTo>
                      <a:lnTo>
                        <a:pt x="630260" y="226990"/>
                      </a:lnTo>
                      <a:lnTo>
                        <a:pt x="623619" y="226990"/>
                      </a:lnTo>
                      <a:lnTo>
                        <a:pt x="619997" y="225783"/>
                      </a:lnTo>
                      <a:lnTo>
                        <a:pt x="616978" y="221557"/>
                      </a:lnTo>
                      <a:lnTo>
                        <a:pt x="615771" y="217331"/>
                      </a:lnTo>
                      <a:lnTo>
                        <a:pt x="616978" y="212501"/>
                      </a:lnTo>
                      <a:lnTo>
                        <a:pt x="613356" y="210087"/>
                      </a:lnTo>
                      <a:lnTo>
                        <a:pt x="604904" y="212501"/>
                      </a:lnTo>
                      <a:lnTo>
                        <a:pt x="604904" y="204653"/>
                      </a:lnTo>
                      <a:lnTo>
                        <a:pt x="602490" y="200428"/>
                      </a:lnTo>
                      <a:lnTo>
                        <a:pt x="598264" y="202239"/>
                      </a:lnTo>
                      <a:lnTo>
                        <a:pt x="591623" y="202239"/>
                      </a:lnTo>
                      <a:lnTo>
                        <a:pt x="591623" y="199824"/>
                      </a:lnTo>
                      <a:lnTo>
                        <a:pt x="589208" y="193183"/>
                      </a:lnTo>
                      <a:lnTo>
                        <a:pt x="589812" y="187146"/>
                      </a:lnTo>
                      <a:lnTo>
                        <a:pt x="586190" y="187750"/>
                      </a:lnTo>
                      <a:lnTo>
                        <a:pt x="581964" y="183524"/>
                      </a:lnTo>
                      <a:lnTo>
                        <a:pt x="576531" y="181109"/>
                      </a:lnTo>
                      <a:lnTo>
                        <a:pt x="575927" y="173261"/>
                      </a:lnTo>
                      <a:lnTo>
                        <a:pt x="570494" y="173261"/>
                      </a:lnTo>
                      <a:lnTo>
                        <a:pt x="571097" y="178091"/>
                      </a:lnTo>
                      <a:lnTo>
                        <a:pt x="562646" y="176280"/>
                      </a:lnTo>
                      <a:lnTo>
                        <a:pt x="563853" y="172657"/>
                      </a:lnTo>
                      <a:lnTo>
                        <a:pt x="560835" y="170243"/>
                      </a:lnTo>
                      <a:lnTo>
                        <a:pt x="556609" y="170846"/>
                      </a:lnTo>
                      <a:lnTo>
                        <a:pt x="556005" y="165413"/>
                      </a:lnTo>
                      <a:lnTo>
                        <a:pt x="549364" y="162395"/>
                      </a:lnTo>
                      <a:lnTo>
                        <a:pt x="548157" y="156961"/>
                      </a:lnTo>
                      <a:lnTo>
                        <a:pt x="543328" y="155754"/>
                      </a:lnTo>
                      <a:lnTo>
                        <a:pt x="540913" y="158169"/>
                      </a:lnTo>
                      <a:lnTo>
                        <a:pt x="536687" y="154547"/>
                      </a:lnTo>
                      <a:lnTo>
                        <a:pt x="535479" y="147302"/>
                      </a:lnTo>
                      <a:lnTo>
                        <a:pt x="533668" y="136436"/>
                      </a:lnTo>
                      <a:lnTo>
                        <a:pt x="530650" y="137039"/>
                      </a:lnTo>
                      <a:lnTo>
                        <a:pt x="525820" y="144887"/>
                      </a:lnTo>
                      <a:lnTo>
                        <a:pt x="524613" y="151528"/>
                      </a:lnTo>
                      <a:lnTo>
                        <a:pt x="522802" y="155150"/>
                      </a:lnTo>
                      <a:lnTo>
                        <a:pt x="520387" y="163602"/>
                      </a:lnTo>
                      <a:lnTo>
                        <a:pt x="516765" y="167828"/>
                      </a:lnTo>
                      <a:lnTo>
                        <a:pt x="516765" y="171450"/>
                      </a:lnTo>
                      <a:lnTo>
                        <a:pt x="522802" y="176883"/>
                      </a:lnTo>
                      <a:lnTo>
                        <a:pt x="525217" y="169639"/>
                      </a:lnTo>
                      <a:lnTo>
                        <a:pt x="533065" y="173261"/>
                      </a:lnTo>
                      <a:lnTo>
                        <a:pt x="547553" y="175676"/>
                      </a:lnTo>
                      <a:lnTo>
                        <a:pt x="546950" y="177487"/>
                      </a:lnTo>
                      <a:lnTo>
                        <a:pt x="550572" y="181713"/>
                      </a:lnTo>
                      <a:lnTo>
                        <a:pt x="549968" y="185939"/>
                      </a:lnTo>
                      <a:lnTo>
                        <a:pt x="556005" y="195598"/>
                      </a:lnTo>
                      <a:lnTo>
                        <a:pt x="552987" y="199220"/>
                      </a:lnTo>
                      <a:lnTo>
                        <a:pt x="546346" y="199824"/>
                      </a:lnTo>
                      <a:lnTo>
                        <a:pt x="542724" y="198013"/>
                      </a:lnTo>
                      <a:lnTo>
                        <a:pt x="539102" y="199824"/>
                      </a:lnTo>
                      <a:lnTo>
                        <a:pt x="537894" y="204050"/>
                      </a:lnTo>
                      <a:lnTo>
                        <a:pt x="533668" y="204050"/>
                      </a:lnTo>
                      <a:lnTo>
                        <a:pt x="530650" y="208879"/>
                      </a:lnTo>
                      <a:lnTo>
                        <a:pt x="523405" y="212501"/>
                      </a:lnTo>
                      <a:lnTo>
                        <a:pt x="520387" y="216727"/>
                      </a:lnTo>
                      <a:lnTo>
                        <a:pt x="519783" y="223368"/>
                      </a:lnTo>
                      <a:lnTo>
                        <a:pt x="521594" y="225783"/>
                      </a:lnTo>
                      <a:lnTo>
                        <a:pt x="520387" y="231216"/>
                      </a:lnTo>
                      <a:lnTo>
                        <a:pt x="516765" y="232423"/>
                      </a:lnTo>
                      <a:lnTo>
                        <a:pt x="513746" y="235442"/>
                      </a:lnTo>
                      <a:lnTo>
                        <a:pt x="506502" y="236046"/>
                      </a:lnTo>
                      <a:lnTo>
                        <a:pt x="504691" y="238460"/>
                      </a:lnTo>
                      <a:lnTo>
                        <a:pt x="499257" y="237857"/>
                      </a:lnTo>
                      <a:lnTo>
                        <a:pt x="496239" y="242083"/>
                      </a:lnTo>
                      <a:lnTo>
                        <a:pt x="484769" y="248120"/>
                      </a:lnTo>
                      <a:lnTo>
                        <a:pt x="484165" y="256571"/>
                      </a:lnTo>
                      <a:lnTo>
                        <a:pt x="481146" y="260194"/>
                      </a:lnTo>
                      <a:lnTo>
                        <a:pt x="486580" y="266834"/>
                      </a:lnTo>
                      <a:lnTo>
                        <a:pt x="483561" y="271664"/>
                      </a:lnTo>
                      <a:lnTo>
                        <a:pt x="485976" y="275890"/>
                      </a:lnTo>
                      <a:lnTo>
                        <a:pt x="480543" y="277097"/>
                      </a:lnTo>
                      <a:lnTo>
                        <a:pt x="475109" y="284341"/>
                      </a:lnTo>
                      <a:lnTo>
                        <a:pt x="470884" y="297019"/>
                      </a:lnTo>
                      <a:lnTo>
                        <a:pt x="467261" y="297623"/>
                      </a:lnTo>
                      <a:lnTo>
                        <a:pt x="465450" y="301849"/>
                      </a:lnTo>
                      <a:lnTo>
                        <a:pt x="469676" y="309093"/>
                      </a:lnTo>
                      <a:lnTo>
                        <a:pt x="471487" y="316337"/>
                      </a:lnTo>
                      <a:lnTo>
                        <a:pt x="469676" y="321771"/>
                      </a:lnTo>
                      <a:lnTo>
                        <a:pt x="480543" y="332637"/>
                      </a:lnTo>
                      <a:lnTo>
                        <a:pt x="485976" y="327808"/>
                      </a:lnTo>
                      <a:lnTo>
                        <a:pt x="489598" y="330222"/>
                      </a:lnTo>
                      <a:lnTo>
                        <a:pt x="493220" y="327808"/>
                      </a:lnTo>
                      <a:lnTo>
                        <a:pt x="496239" y="328411"/>
                      </a:lnTo>
                      <a:lnTo>
                        <a:pt x="500465" y="324789"/>
                      </a:lnTo>
                      <a:lnTo>
                        <a:pt x="503483" y="325393"/>
                      </a:lnTo>
                      <a:lnTo>
                        <a:pt x="504087" y="332033"/>
                      </a:lnTo>
                      <a:lnTo>
                        <a:pt x="507709" y="333241"/>
                      </a:lnTo>
                      <a:lnTo>
                        <a:pt x="513746" y="338674"/>
                      </a:lnTo>
                      <a:lnTo>
                        <a:pt x="514954" y="342296"/>
                      </a:lnTo>
                      <a:lnTo>
                        <a:pt x="517972" y="342296"/>
                      </a:lnTo>
                      <a:lnTo>
                        <a:pt x="525820" y="347730"/>
                      </a:lnTo>
                      <a:lnTo>
                        <a:pt x="525217" y="351352"/>
                      </a:lnTo>
                      <a:lnTo>
                        <a:pt x="531254" y="354370"/>
                      </a:lnTo>
                      <a:lnTo>
                        <a:pt x="531857" y="357389"/>
                      </a:lnTo>
                      <a:lnTo>
                        <a:pt x="542120" y="359200"/>
                      </a:lnTo>
                      <a:lnTo>
                        <a:pt x="542120" y="367048"/>
                      </a:lnTo>
                      <a:lnTo>
                        <a:pt x="540309" y="370066"/>
                      </a:lnTo>
                      <a:lnTo>
                        <a:pt x="545139" y="377311"/>
                      </a:lnTo>
                      <a:lnTo>
                        <a:pt x="550572" y="377311"/>
                      </a:lnTo>
                      <a:lnTo>
                        <a:pt x="549968" y="382140"/>
                      </a:lnTo>
                      <a:lnTo>
                        <a:pt x="555401" y="388177"/>
                      </a:lnTo>
                      <a:lnTo>
                        <a:pt x="559627" y="388781"/>
                      </a:lnTo>
                      <a:lnTo>
                        <a:pt x="561438" y="392403"/>
                      </a:lnTo>
                      <a:lnTo>
                        <a:pt x="566871" y="394818"/>
                      </a:lnTo>
                      <a:lnTo>
                        <a:pt x="571097" y="394818"/>
                      </a:lnTo>
                      <a:lnTo>
                        <a:pt x="573512" y="393007"/>
                      </a:lnTo>
                      <a:lnTo>
                        <a:pt x="576531" y="397233"/>
                      </a:lnTo>
                      <a:lnTo>
                        <a:pt x="580756" y="396629"/>
                      </a:lnTo>
                      <a:lnTo>
                        <a:pt x="581360" y="400251"/>
                      </a:lnTo>
                      <a:lnTo>
                        <a:pt x="584982" y="402666"/>
                      </a:lnTo>
                      <a:lnTo>
                        <a:pt x="592227" y="402666"/>
                      </a:lnTo>
                      <a:lnTo>
                        <a:pt x="594038" y="396629"/>
                      </a:lnTo>
                      <a:lnTo>
                        <a:pt x="600679" y="395422"/>
                      </a:lnTo>
                      <a:lnTo>
                        <a:pt x="606112" y="397836"/>
                      </a:lnTo>
                      <a:lnTo>
                        <a:pt x="612149" y="391196"/>
                      </a:lnTo>
                      <a:lnTo>
                        <a:pt x="615167" y="391799"/>
                      </a:lnTo>
                      <a:lnTo>
                        <a:pt x="615771" y="399044"/>
                      </a:lnTo>
                      <a:lnTo>
                        <a:pt x="619393" y="399044"/>
                      </a:lnTo>
                      <a:lnTo>
                        <a:pt x="621204" y="406288"/>
                      </a:lnTo>
                      <a:lnTo>
                        <a:pt x="618790" y="409307"/>
                      </a:lnTo>
                      <a:lnTo>
                        <a:pt x="620601" y="412929"/>
                      </a:lnTo>
                      <a:lnTo>
                        <a:pt x="618186" y="418966"/>
                      </a:lnTo>
                      <a:lnTo>
                        <a:pt x="621808" y="420777"/>
                      </a:lnTo>
                      <a:lnTo>
                        <a:pt x="621808" y="427418"/>
                      </a:lnTo>
                      <a:lnTo>
                        <a:pt x="627845" y="430436"/>
                      </a:lnTo>
                      <a:lnTo>
                        <a:pt x="630260" y="435869"/>
                      </a:lnTo>
                      <a:lnTo>
                        <a:pt x="634486" y="433455"/>
                      </a:lnTo>
                      <a:lnTo>
                        <a:pt x="637504" y="439491"/>
                      </a:lnTo>
                      <a:lnTo>
                        <a:pt x="644749" y="440095"/>
                      </a:lnTo>
                      <a:lnTo>
                        <a:pt x="651993" y="442510"/>
                      </a:lnTo>
                      <a:lnTo>
                        <a:pt x="655615" y="442510"/>
                      </a:lnTo>
                      <a:lnTo>
                        <a:pt x="655615" y="446132"/>
                      </a:lnTo>
                      <a:lnTo>
                        <a:pt x="650786" y="446736"/>
                      </a:lnTo>
                      <a:lnTo>
                        <a:pt x="645352" y="450358"/>
                      </a:lnTo>
                      <a:lnTo>
                        <a:pt x="644145" y="455188"/>
                      </a:lnTo>
                      <a:lnTo>
                        <a:pt x="645352" y="460017"/>
                      </a:lnTo>
                      <a:lnTo>
                        <a:pt x="640523" y="460017"/>
                      </a:lnTo>
                      <a:lnTo>
                        <a:pt x="641126" y="464243"/>
                      </a:lnTo>
                      <a:lnTo>
                        <a:pt x="638108" y="472091"/>
                      </a:lnTo>
                      <a:lnTo>
                        <a:pt x="632675" y="467865"/>
                      </a:lnTo>
                      <a:lnTo>
                        <a:pt x="628449" y="468469"/>
                      </a:lnTo>
                      <a:lnTo>
                        <a:pt x="622412" y="461828"/>
                      </a:lnTo>
                      <a:lnTo>
                        <a:pt x="613356" y="470884"/>
                      </a:lnTo>
                      <a:lnTo>
                        <a:pt x="607923" y="469073"/>
                      </a:lnTo>
                      <a:lnTo>
                        <a:pt x="607319" y="466658"/>
                      </a:lnTo>
                      <a:lnTo>
                        <a:pt x="601886" y="467865"/>
                      </a:lnTo>
                      <a:lnTo>
                        <a:pt x="594038" y="462432"/>
                      </a:lnTo>
                      <a:lnTo>
                        <a:pt x="589208" y="461828"/>
                      </a:lnTo>
                      <a:lnTo>
                        <a:pt x="586190" y="464243"/>
                      </a:lnTo>
                      <a:lnTo>
                        <a:pt x="580153" y="462432"/>
                      </a:lnTo>
                      <a:lnTo>
                        <a:pt x="574719" y="463036"/>
                      </a:lnTo>
                      <a:lnTo>
                        <a:pt x="566871" y="469073"/>
                      </a:lnTo>
                      <a:lnTo>
                        <a:pt x="563249" y="469073"/>
                      </a:lnTo>
                      <a:lnTo>
                        <a:pt x="562042" y="465451"/>
                      </a:lnTo>
                      <a:lnTo>
                        <a:pt x="546346" y="461225"/>
                      </a:lnTo>
                      <a:lnTo>
                        <a:pt x="543931" y="465451"/>
                      </a:lnTo>
                      <a:lnTo>
                        <a:pt x="539102" y="465451"/>
                      </a:lnTo>
                      <a:lnTo>
                        <a:pt x="539705" y="469073"/>
                      </a:lnTo>
                      <a:lnTo>
                        <a:pt x="543328" y="475713"/>
                      </a:lnTo>
                      <a:lnTo>
                        <a:pt x="542724" y="479336"/>
                      </a:lnTo>
                      <a:lnTo>
                        <a:pt x="539102" y="481147"/>
                      </a:lnTo>
                      <a:lnTo>
                        <a:pt x="541516" y="492013"/>
                      </a:lnTo>
                      <a:lnTo>
                        <a:pt x="537894" y="499258"/>
                      </a:lnTo>
                      <a:lnTo>
                        <a:pt x="541516" y="500465"/>
                      </a:lnTo>
                      <a:lnTo>
                        <a:pt x="537894" y="507709"/>
                      </a:lnTo>
                      <a:lnTo>
                        <a:pt x="535479" y="508313"/>
                      </a:lnTo>
                      <a:lnTo>
                        <a:pt x="530046" y="516765"/>
                      </a:lnTo>
                      <a:lnTo>
                        <a:pt x="530650" y="522198"/>
                      </a:lnTo>
                      <a:lnTo>
                        <a:pt x="526424" y="524009"/>
                      </a:lnTo>
                      <a:lnTo>
                        <a:pt x="522198" y="521594"/>
                      </a:lnTo>
                      <a:lnTo>
                        <a:pt x="518576" y="524009"/>
                      </a:lnTo>
                      <a:lnTo>
                        <a:pt x="517368" y="528235"/>
                      </a:lnTo>
                      <a:lnTo>
                        <a:pt x="514954" y="529443"/>
                      </a:lnTo>
                      <a:lnTo>
                        <a:pt x="518576" y="536687"/>
                      </a:lnTo>
                      <a:lnTo>
                        <a:pt x="515557" y="539705"/>
                      </a:lnTo>
                      <a:lnTo>
                        <a:pt x="513143" y="537291"/>
                      </a:lnTo>
                      <a:lnTo>
                        <a:pt x="502880" y="534272"/>
                      </a:lnTo>
                      <a:lnTo>
                        <a:pt x="502276" y="528235"/>
                      </a:lnTo>
                      <a:lnTo>
                        <a:pt x="495635" y="519180"/>
                      </a:lnTo>
                      <a:lnTo>
                        <a:pt x="484769" y="520387"/>
                      </a:lnTo>
                      <a:lnTo>
                        <a:pt x="480543" y="524613"/>
                      </a:lnTo>
                      <a:lnTo>
                        <a:pt x="476317" y="525217"/>
                      </a:lnTo>
                      <a:lnTo>
                        <a:pt x="476921" y="528839"/>
                      </a:lnTo>
                      <a:lnTo>
                        <a:pt x="480543" y="533065"/>
                      </a:lnTo>
                      <a:lnTo>
                        <a:pt x="479939" y="536083"/>
                      </a:lnTo>
                      <a:lnTo>
                        <a:pt x="482354" y="540913"/>
                      </a:lnTo>
                      <a:lnTo>
                        <a:pt x="470884" y="552383"/>
                      </a:lnTo>
                      <a:lnTo>
                        <a:pt x="469676" y="560231"/>
                      </a:lnTo>
                      <a:lnTo>
                        <a:pt x="466658" y="559627"/>
                      </a:lnTo>
                      <a:lnTo>
                        <a:pt x="461828" y="566872"/>
                      </a:lnTo>
                      <a:lnTo>
                        <a:pt x="463035" y="568683"/>
                      </a:lnTo>
                      <a:lnTo>
                        <a:pt x="460017" y="574720"/>
                      </a:lnTo>
                      <a:lnTo>
                        <a:pt x="450358" y="584379"/>
                      </a:lnTo>
                      <a:lnTo>
                        <a:pt x="450358" y="586794"/>
                      </a:lnTo>
                      <a:lnTo>
                        <a:pt x="457602" y="592227"/>
                      </a:lnTo>
                      <a:lnTo>
                        <a:pt x="462432" y="599471"/>
                      </a:lnTo>
                      <a:lnTo>
                        <a:pt x="469676" y="613356"/>
                      </a:lnTo>
                      <a:lnTo>
                        <a:pt x="478128" y="622412"/>
                      </a:lnTo>
                      <a:lnTo>
                        <a:pt x="484165" y="625430"/>
                      </a:lnTo>
                      <a:lnTo>
                        <a:pt x="490202" y="632675"/>
                      </a:lnTo>
                      <a:lnTo>
                        <a:pt x="502276" y="635693"/>
                      </a:lnTo>
                      <a:lnTo>
                        <a:pt x="515557" y="648975"/>
                      </a:lnTo>
                      <a:lnTo>
                        <a:pt x="519783" y="651389"/>
                      </a:lnTo>
                      <a:lnTo>
                        <a:pt x="528839" y="652597"/>
                      </a:lnTo>
                      <a:lnTo>
                        <a:pt x="537894" y="650182"/>
                      </a:lnTo>
                      <a:lnTo>
                        <a:pt x="552383" y="658634"/>
                      </a:lnTo>
                      <a:lnTo>
                        <a:pt x="557212" y="659237"/>
                      </a:lnTo>
                      <a:lnTo>
                        <a:pt x="562646" y="669500"/>
                      </a:lnTo>
                      <a:lnTo>
                        <a:pt x="565060" y="662859"/>
                      </a:lnTo>
                      <a:lnTo>
                        <a:pt x="569286" y="665274"/>
                      </a:lnTo>
                      <a:lnTo>
                        <a:pt x="576531" y="665274"/>
                      </a:lnTo>
                      <a:lnTo>
                        <a:pt x="577738" y="667085"/>
                      </a:lnTo>
                      <a:lnTo>
                        <a:pt x="586793" y="665274"/>
                      </a:lnTo>
                      <a:lnTo>
                        <a:pt x="592830" y="666482"/>
                      </a:lnTo>
                      <a:lnTo>
                        <a:pt x="597056" y="669500"/>
                      </a:lnTo>
                      <a:lnTo>
                        <a:pt x="600075" y="676141"/>
                      </a:lnTo>
                      <a:lnTo>
                        <a:pt x="598867" y="691837"/>
                      </a:lnTo>
                      <a:lnTo>
                        <a:pt x="596453" y="691837"/>
                      </a:lnTo>
                      <a:lnTo>
                        <a:pt x="592227" y="699081"/>
                      </a:lnTo>
                      <a:lnTo>
                        <a:pt x="594038" y="709344"/>
                      </a:lnTo>
                      <a:lnTo>
                        <a:pt x="591623" y="709948"/>
                      </a:lnTo>
                      <a:lnTo>
                        <a:pt x="591623" y="714778"/>
                      </a:lnTo>
                      <a:lnTo>
                        <a:pt x="597660" y="714778"/>
                      </a:lnTo>
                      <a:lnTo>
                        <a:pt x="597056" y="721418"/>
                      </a:lnTo>
                      <a:lnTo>
                        <a:pt x="599471" y="723833"/>
                      </a:lnTo>
                      <a:lnTo>
                        <a:pt x="600075" y="733492"/>
                      </a:lnTo>
                      <a:lnTo>
                        <a:pt x="604301" y="734700"/>
                      </a:lnTo>
                      <a:lnTo>
                        <a:pt x="606716" y="739529"/>
                      </a:lnTo>
                      <a:lnTo>
                        <a:pt x="600679" y="740133"/>
                      </a:lnTo>
                      <a:lnTo>
                        <a:pt x="599471" y="745566"/>
                      </a:lnTo>
                      <a:lnTo>
                        <a:pt x="600679" y="751603"/>
                      </a:lnTo>
                      <a:lnTo>
                        <a:pt x="598867" y="755829"/>
                      </a:lnTo>
                      <a:lnTo>
                        <a:pt x="592830" y="755829"/>
                      </a:lnTo>
                      <a:lnTo>
                        <a:pt x="592830" y="759451"/>
                      </a:lnTo>
                      <a:lnTo>
                        <a:pt x="585586" y="762469"/>
                      </a:lnTo>
                      <a:lnTo>
                        <a:pt x="584982" y="765488"/>
                      </a:lnTo>
                      <a:lnTo>
                        <a:pt x="578342" y="767903"/>
                      </a:lnTo>
                      <a:lnTo>
                        <a:pt x="575927" y="764884"/>
                      </a:lnTo>
                      <a:lnTo>
                        <a:pt x="566871" y="767903"/>
                      </a:lnTo>
                      <a:lnTo>
                        <a:pt x="571701" y="777562"/>
                      </a:lnTo>
                      <a:lnTo>
                        <a:pt x="567475" y="784203"/>
                      </a:lnTo>
                      <a:lnTo>
                        <a:pt x="563249" y="786014"/>
                      </a:lnTo>
                      <a:lnTo>
                        <a:pt x="567475" y="789636"/>
                      </a:lnTo>
                      <a:lnTo>
                        <a:pt x="566268" y="795673"/>
                      </a:lnTo>
                      <a:lnTo>
                        <a:pt x="564457" y="800502"/>
                      </a:lnTo>
                      <a:lnTo>
                        <a:pt x="566268" y="810765"/>
                      </a:lnTo>
                      <a:lnTo>
                        <a:pt x="563853" y="816199"/>
                      </a:lnTo>
                      <a:lnTo>
                        <a:pt x="569890" y="820425"/>
                      </a:lnTo>
                      <a:lnTo>
                        <a:pt x="568682" y="826462"/>
                      </a:lnTo>
                      <a:lnTo>
                        <a:pt x="580756" y="824650"/>
                      </a:lnTo>
                      <a:lnTo>
                        <a:pt x="584379" y="837932"/>
                      </a:lnTo>
                      <a:lnTo>
                        <a:pt x="589208" y="840347"/>
                      </a:lnTo>
                      <a:lnTo>
                        <a:pt x="591019" y="845176"/>
                      </a:lnTo>
                      <a:lnTo>
                        <a:pt x="595849" y="847591"/>
                      </a:lnTo>
                      <a:lnTo>
                        <a:pt x="601282" y="853628"/>
                      </a:lnTo>
                      <a:lnTo>
                        <a:pt x="608527" y="849402"/>
                      </a:lnTo>
                      <a:lnTo>
                        <a:pt x="612149" y="850006"/>
                      </a:lnTo>
                      <a:lnTo>
                        <a:pt x="612753" y="853628"/>
                      </a:lnTo>
                      <a:lnTo>
                        <a:pt x="610338" y="857250"/>
                      </a:lnTo>
                      <a:lnTo>
                        <a:pt x="610941" y="862683"/>
                      </a:lnTo>
                      <a:lnTo>
                        <a:pt x="605508" y="862080"/>
                      </a:lnTo>
                      <a:lnTo>
                        <a:pt x="603093" y="874153"/>
                      </a:lnTo>
                      <a:lnTo>
                        <a:pt x="604904" y="878983"/>
                      </a:lnTo>
                      <a:lnTo>
                        <a:pt x="599471" y="883209"/>
                      </a:lnTo>
                      <a:lnTo>
                        <a:pt x="599471" y="887435"/>
                      </a:lnTo>
                      <a:lnTo>
                        <a:pt x="601886" y="889850"/>
                      </a:lnTo>
                      <a:lnTo>
                        <a:pt x="591623" y="895887"/>
                      </a:lnTo>
                      <a:lnTo>
                        <a:pt x="597056" y="900716"/>
                      </a:lnTo>
                      <a:lnTo>
                        <a:pt x="596453" y="904942"/>
                      </a:lnTo>
                      <a:lnTo>
                        <a:pt x="601886" y="907961"/>
                      </a:lnTo>
                      <a:lnTo>
                        <a:pt x="606716" y="907961"/>
                      </a:lnTo>
                      <a:lnTo>
                        <a:pt x="609734" y="912790"/>
                      </a:lnTo>
                      <a:lnTo>
                        <a:pt x="615771" y="912790"/>
                      </a:lnTo>
                      <a:lnTo>
                        <a:pt x="614564" y="905546"/>
                      </a:lnTo>
                      <a:lnTo>
                        <a:pt x="619393" y="906753"/>
                      </a:lnTo>
                      <a:lnTo>
                        <a:pt x="623619" y="910979"/>
                      </a:lnTo>
                      <a:lnTo>
                        <a:pt x="636297" y="909772"/>
                      </a:lnTo>
                      <a:lnTo>
                        <a:pt x="639919" y="913998"/>
                      </a:lnTo>
                      <a:lnTo>
                        <a:pt x="644145" y="915809"/>
                      </a:lnTo>
                      <a:lnTo>
                        <a:pt x="649578" y="911583"/>
                      </a:lnTo>
                      <a:lnTo>
                        <a:pt x="651993" y="912790"/>
                      </a:lnTo>
                      <a:lnTo>
                        <a:pt x="650182" y="918827"/>
                      </a:lnTo>
                      <a:lnTo>
                        <a:pt x="645956" y="918827"/>
                      </a:lnTo>
                      <a:lnTo>
                        <a:pt x="641126" y="923657"/>
                      </a:lnTo>
                      <a:lnTo>
                        <a:pt x="639919" y="930297"/>
                      </a:lnTo>
                      <a:lnTo>
                        <a:pt x="635089" y="933920"/>
                      </a:lnTo>
                      <a:lnTo>
                        <a:pt x="632675" y="937542"/>
                      </a:lnTo>
                      <a:lnTo>
                        <a:pt x="627241" y="939957"/>
                      </a:lnTo>
                      <a:lnTo>
                        <a:pt x="626638" y="945994"/>
                      </a:lnTo>
                      <a:lnTo>
                        <a:pt x="629052" y="955049"/>
                      </a:lnTo>
                      <a:lnTo>
                        <a:pt x="627845" y="957464"/>
                      </a:lnTo>
                      <a:lnTo>
                        <a:pt x="627241" y="968330"/>
                      </a:lnTo>
                      <a:lnTo>
                        <a:pt x="625430" y="971349"/>
                      </a:lnTo>
                      <a:lnTo>
                        <a:pt x="632675" y="972556"/>
                      </a:lnTo>
                      <a:lnTo>
                        <a:pt x="632675" y="977989"/>
                      </a:lnTo>
                      <a:lnTo>
                        <a:pt x="636297" y="979800"/>
                      </a:lnTo>
                      <a:lnTo>
                        <a:pt x="633882" y="982819"/>
                      </a:lnTo>
                      <a:lnTo>
                        <a:pt x="635089" y="988856"/>
                      </a:lnTo>
                      <a:lnTo>
                        <a:pt x="639919" y="990667"/>
                      </a:lnTo>
                      <a:lnTo>
                        <a:pt x="642938" y="988856"/>
                      </a:lnTo>
                      <a:lnTo>
                        <a:pt x="647163" y="996704"/>
                      </a:lnTo>
                      <a:lnTo>
                        <a:pt x="645352" y="1007571"/>
                      </a:lnTo>
                      <a:lnTo>
                        <a:pt x="641730" y="1008778"/>
                      </a:lnTo>
                      <a:lnTo>
                        <a:pt x="637504" y="1013608"/>
                      </a:lnTo>
                      <a:lnTo>
                        <a:pt x="637504" y="1020852"/>
                      </a:lnTo>
                      <a:lnTo>
                        <a:pt x="641730" y="1026285"/>
                      </a:lnTo>
                      <a:lnTo>
                        <a:pt x="645352" y="1030511"/>
                      </a:lnTo>
                      <a:lnTo>
                        <a:pt x="642938" y="1037152"/>
                      </a:lnTo>
                      <a:lnTo>
                        <a:pt x="639919" y="1041378"/>
                      </a:lnTo>
                      <a:lnTo>
                        <a:pt x="639919" y="1046207"/>
                      </a:lnTo>
                      <a:lnTo>
                        <a:pt x="645352" y="1048622"/>
                      </a:lnTo>
                      <a:lnTo>
                        <a:pt x="641126" y="1052244"/>
                      </a:lnTo>
                      <a:lnTo>
                        <a:pt x="641126" y="1057074"/>
                      </a:lnTo>
                      <a:lnTo>
                        <a:pt x="632675" y="1058885"/>
                      </a:lnTo>
                      <a:lnTo>
                        <a:pt x="629052" y="1063111"/>
                      </a:lnTo>
                      <a:lnTo>
                        <a:pt x="627241" y="1063111"/>
                      </a:lnTo>
                      <a:lnTo>
                        <a:pt x="624223" y="1070355"/>
                      </a:lnTo>
                      <a:lnTo>
                        <a:pt x="624827" y="1073374"/>
                      </a:lnTo>
                      <a:lnTo>
                        <a:pt x="623619" y="1087862"/>
                      </a:lnTo>
                      <a:lnTo>
                        <a:pt x="619997" y="1087259"/>
                      </a:lnTo>
                      <a:lnTo>
                        <a:pt x="615771" y="1083033"/>
                      </a:lnTo>
                      <a:lnTo>
                        <a:pt x="615167" y="1076996"/>
                      </a:lnTo>
                      <a:lnTo>
                        <a:pt x="612149" y="1073977"/>
                      </a:lnTo>
                      <a:lnTo>
                        <a:pt x="609734" y="1072166"/>
                      </a:lnTo>
                      <a:lnTo>
                        <a:pt x="606716" y="1070355"/>
                      </a:lnTo>
                      <a:lnTo>
                        <a:pt x="603093" y="1069148"/>
                      </a:lnTo>
                      <a:lnTo>
                        <a:pt x="600679" y="1069752"/>
                      </a:lnTo>
                      <a:lnTo>
                        <a:pt x="598867" y="1070355"/>
                      </a:lnTo>
                      <a:lnTo>
                        <a:pt x="597660" y="1069148"/>
                      </a:lnTo>
                      <a:lnTo>
                        <a:pt x="595849" y="1068544"/>
                      </a:lnTo>
                      <a:lnTo>
                        <a:pt x="598867" y="1070959"/>
                      </a:lnTo>
                      <a:lnTo>
                        <a:pt x="601282" y="1069752"/>
                      </a:lnTo>
                      <a:lnTo>
                        <a:pt x="603697" y="1069752"/>
                      </a:lnTo>
                      <a:lnTo>
                        <a:pt x="606716" y="1070959"/>
                      </a:lnTo>
                      <a:lnTo>
                        <a:pt x="608527" y="1072166"/>
                      </a:lnTo>
                      <a:lnTo>
                        <a:pt x="608527" y="1074581"/>
                      </a:lnTo>
                      <a:lnTo>
                        <a:pt x="610941" y="1076996"/>
                      </a:lnTo>
                      <a:lnTo>
                        <a:pt x="609130" y="1072770"/>
                      </a:lnTo>
                      <a:lnTo>
                        <a:pt x="610941" y="1073374"/>
                      </a:lnTo>
                      <a:lnTo>
                        <a:pt x="612753" y="1076392"/>
                      </a:lnTo>
                      <a:lnTo>
                        <a:pt x="614564" y="1076996"/>
                      </a:lnTo>
                      <a:lnTo>
                        <a:pt x="612753" y="1081825"/>
                      </a:lnTo>
                      <a:lnTo>
                        <a:pt x="611545" y="1078203"/>
                      </a:lnTo>
                      <a:lnTo>
                        <a:pt x="613356" y="1085448"/>
                      </a:lnTo>
                      <a:lnTo>
                        <a:pt x="616978" y="1088466"/>
                      </a:lnTo>
                      <a:lnTo>
                        <a:pt x="623015" y="1088466"/>
                      </a:lnTo>
                      <a:lnTo>
                        <a:pt x="624223" y="1093899"/>
                      </a:lnTo>
                      <a:lnTo>
                        <a:pt x="623015" y="1103558"/>
                      </a:lnTo>
                      <a:lnTo>
                        <a:pt x="627241" y="1104766"/>
                      </a:lnTo>
                      <a:lnTo>
                        <a:pt x="631467" y="1108388"/>
                      </a:lnTo>
                      <a:lnTo>
                        <a:pt x="635693" y="1115029"/>
                      </a:lnTo>
                      <a:lnTo>
                        <a:pt x="641126" y="1118047"/>
                      </a:lnTo>
                      <a:lnTo>
                        <a:pt x="639315" y="1125895"/>
                      </a:lnTo>
                      <a:lnTo>
                        <a:pt x="644145" y="1130725"/>
                      </a:lnTo>
                      <a:lnTo>
                        <a:pt x="644749" y="1134347"/>
                      </a:lnTo>
                      <a:lnTo>
                        <a:pt x="638712" y="1133743"/>
                      </a:lnTo>
                      <a:lnTo>
                        <a:pt x="637504" y="1132536"/>
                      </a:lnTo>
                      <a:lnTo>
                        <a:pt x="636901" y="1134347"/>
                      </a:lnTo>
                      <a:lnTo>
                        <a:pt x="633882" y="1145214"/>
                      </a:lnTo>
                      <a:lnTo>
                        <a:pt x="627845" y="1146421"/>
                      </a:lnTo>
                      <a:lnTo>
                        <a:pt x="626638" y="1140988"/>
                      </a:lnTo>
                      <a:lnTo>
                        <a:pt x="624827" y="1138573"/>
                      </a:lnTo>
                      <a:lnTo>
                        <a:pt x="624223" y="1138573"/>
                      </a:lnTo>
                      <a:lnTo>
                        <a:pt x="623015" y="1139780"/>
                      </a:lnTo>
                      <a:lnTo>
                        <a:pt x="620601" y="1138573"/>
                      </a:lnTo>
                      <a:lnTo>
                        <a:pt x="613960" y="1137969"/>
                      </a:lnTo>
                      <a:lnTo>
                        <a:pt x="613960" y="1134951"/>
                      </a:lnTo>
                      <a:lnTo>
                        <a:pt x="618186" y="1131329"/>
                      </a:lnTo>
                      <a:lnTo>
                        <a:pt x="618186" y="1130725"/>
                      </a:lnTo>
                      <a:lnTo>
                        <a:pt x="612753" y="1133743"/>
                      </a:lnTo>
                      <a:lnTo>
                        <a:pt x="613960" y="1137969"/>
                      </a:lnTo>
                      <a:lnTo>
                        <a:pt x="618186" y="1140988"/>
                      </a:lnTo>
                      <a:lnTo>
                        <a:pt x="615771" y="1144006"/>
                      </a:lnTo>
                      <a:lnTo>
                        <a:pt x="610338" y="1144610"/>
                      </a:lnTo>
                      <a:lnTo>
                        <a:pt x="605508" y="1140988"/>
                      </a:lnTo>
                      <a:lnTo>
                        <a:pt x="601886" y="1140384"/>
                      </a:lnTo>
                      <a:lnTo>
                        <a:pt x="603093" y="1133140"/>
                      </a:lnTo>
                      <a:lnTo>
                        <a:pt x="607319" y="1128914"/>
                      </a:lnTo>
                      <a:lnTo>
                        <a:pt x="609734" y="1127103"/>
                      </a:lnTo>
                      <a:lnTo>
                        <a:pt x="610941" y="1127103"/>
                      </a:lnTo>
                      <a:lnTo>
                        <a:pt x="611545" y="1126499"/>
                      </a:lnTo>
                      <a:lnTo>
                        <a:pt x="611545" y="1124688"/>
                      </a:lnTo>
                      <a:lnTo>
                        <a:pt x="610941" y="1126499"/>
                      </a:lnTo>
                      <a:lnTo>
                        <a:pt x="609734" y="1127103"/>
                      </a:lnTo>
                      <a:lnTo>
                        <a:pt x="606716" y="1128310"/>
                      </a:lnTo>
                      <a:lnTo>
                        <a:pt x="601282" y="1133743"/>
                      </a:lnTo>
                      <a:lnTo>
                        <a:pt x="602490" y="1135554"/>
                      </a:lnTo>
                      <a:lnTo>
                        <a:pt x="598867" y="1140988"/>
                      </a:lnTo>
                      <a:lnTo>
                        <a:pt x="592227" y="1137969"/>
                      </a:lnTo>
                      <a:lnTo>
                        <a:pt x="591019" y="1137969"/>
                      </a:lnTo>
                      <a:lnTo>
                        <a:pt x="598867" y="1141591"/>
                      </a:lnTo>
                      <a:lnTo>
                        <a:pt x="605508" y="1141591"/>
                      </a:lnTo>
                      <a:lnTo>
                        <a:pt x="606112" y="1144610"/>
                      </a:lnTo>
                      <a:lnTo>
                        <a:pt x="610338" y="1147025"/>
                      </a:lnTo>
                      <a:lnTo>
                        <a:pt x="606112" y="1151854"/>
                      </a:lnTo>
                      <a:lnTo>
                        <a:pt x="599471" y="1154873"/>
                      </a:lnTo>
                      <a:lnTo>
                        <a:pt x="597056" y="1159099"/>
                      </a:lnTo>
                      <a:lnTo>
                        <a:pt x="589812" y="1164532"/>
                      </a:lnTo>
                      <a:lnTo>
                        <a:pt x="589812" y="1171173"/>
                      </a:lnTo>
                      <a:lnTo>
                        <a:pt x="598264" y="1176002"/>
                      </a:lnTo>
                      <a:lnTo>
                        <a:pt x="600679" y="1180228"/>
                      </a:lnTo>
                      <a:lnTo>
                        <a:pt x="596453" y="1183247"/>
                      </a:lnTo>
                      <a:lnTo>
                        <a:pt x="592830" y="1182643"/>
                      </a:lnTo>
                      <a:lnTo>
                        <a:pt x="584379" y="1179021"/>
                      </a:lnTo>
                      <a:lnTo>
                        <a:pt x="584379" y="1172984"/>
                      </a:lnTo>
                      <a:lnTo>
                        <a:pt x="582568" y="1166343"/>
                      </a:lnTo>
                      <a:lnTo>
                        <a:pt x="578342" y="1160910"/>
                      </a:lnTo>
                      <a:lnTo>
                        <a:pt x="582568" y="1148232"/>
                      </a:lnTo>
                      <a:lnTo>
                        <a:pt x="587397" y="1143403"/>
                      </a:lnTo>
                      <a:lnTo>
                        <a:pt x="591019" y="1137969"/>
                      </a:lnTo>
                      <a:lnTo>
                        <a:pt x="586793" y="1138573"/>
                      </a:lnTo>
                      <a:lnTo>
                        <a:pt x="584982" y="1143403"/>
                      </a:lnTo>
                      <a:lnTo>
                        <a:pt x="579549" y="1150043"/>
                      </a:lnTo>
                      <a:lnTo>
                        <a:pt x="580153" y="1152458"/>
                      </a:lnTo>
                      <a:lnTo>
                        <a:pt x="577134" y="1155477"/>
                      </a:lnTo>
                      <a:lnTo>
                        <a:pt x="575323" y="1160910"/>
                      </a:lnTo>
                      <a:lnTo>
                        <a:pt x="577134" y="1171776"/>
                      </a:lnTo>
                      <a:lnTo>
                        <a:pt x="578945" y="1174795"/>
                      </a:lnTo>
                      <a:lnTo>
                        <a:pt x="574719" y="1180228"/>
                      </a:lnTo>
                      <a:lnTo>
                        <a:pt x="571097" y="1191698"/>
                      </a:lnTo>
                      <a:lnTo>
                        <a:pt x="574719" y="1198339"/>
                      </a:lnTo>
                      <a:lnTo>
                        <a:pt x="572305" y="1204979"/>
                      </a:lnTo>
                      <a:lnTo>
                        <a:pt x="566871" y="1209205"/>
                      </a:lnTo>
                      <a:lnTo>
                        <a:pt x="565664" y="1205583"/>
                      </a:lnTo>
                      <a:lnTo>
                        <a:pt x="563853" y="1206791"/>
                      </a:lnTo>
                      <a:lnTo>
                        <a:pt x="561438" y="1206187"/>
                      </a:lnTo>
                      <a:lnTo>
                        <a:pt x="563853" y="1207394"/>
                      </a:lnTo>
                      <a:lnTo>
                        <a:pt x="566871" y="1210413"/>
                      </a:lnTo>
                      <a:lnTo>
                        <a:pt x="563853" y="1221883"/>
                      </a:lnTo>
                      <a:lnTo>
                        <a:pt x="560231" y="1223090"/>
                      </a:lnTo>
                      <a:lnTo>
                        <a:pt x="557212" y="1218261"/>
                      </a:lnTo>
                      <a:lnTo>
                        <a:pt x="559023" y="1213431"/>
                      </a:lnTo>
                      <a:lnTo>
                        <a:pt x="561438" y="1211016"/>
                      </a:lnTo>
                      <a:lnTo>
                        <a:pt x="560835" y="1205583"/>
                      </a:lnTo>
                      <a:lnTo>
                        <a:pt x="560231" y="1205583"/>
                      </a:lnTo>
                      <a:lnTo>
                        <a:pt x="560835" y="1210413"/>
                      </a:lnTo>
                      <a:lnTo>
                        <a:pt x="556609" y="1217053"/>
                      </a:lnTo>
                      <a:lnTo>
                        <a:pt x="550572" y="1212828"/>
                      </a:lnTo>
                      <a:lnTo>
                        <a:pt x="549968" y="1209809"/>
                      </a:lnTo>
                      <a:lnTo>
                        <a:pt x="552987" y="1205583"/>
                      </a:lnTo>
                      <a:lnTo>
                        <a:pt x="555401" y="1203772"/>
                      </a:lnTo>
                      <a:lnTo>
                        <a:pt x="551176" y="1203168"/>
                      </a:lnTo>
                      <a:lnTo>
                        <a:pt x="547553" y="1204376"/>
                      </a:lnTo>
                      <a:lnTo>
                        <a:pt x="546346" y="1206791"/>
                      </a:lnTo>
                      <a:lnTo>
                        <a:pt x="545742" y="1207998"/>
                      </a:lnTo>
                      <a:lnTo>
                        <a:pt x="542120" y="1207394"/>
                      </a:lnTo>
                      <a:lnTo>
                        <a:pt x="543328" y="1202565"/>
                      </a:lnTo>
                      <a:lnTo>
                        <a:pt x="539102" y="1204376"/>
                      </a:lnTo>
                      <a:lnTo>
                        <a:pt x="536687" y="1206187"/>
                      </a:lnTo>
                      <a:lnTo>
                        <a:pt x="535479" y="1204979"/>
                      </a:lnTo>
                      <a:lnTo>
                        <a:pt x="533668" y="1206187"/>
                      </a:lnTo>
                      <a:lnTo>
                        <a:pt x="530046" y="1209809"/>
                      </a:lnTo>
                      <a:lnTo>
                        <a:pt x="528839" y="1217053"/>
                      </a:lnTo>
                      <a:lnTo>
                        <a:pt x="527631" y="1220072"/>
                      </a:lnTo>
                      <a:lnTo>
                        <a:pt x="528839" y="1227920"/>
                      </a:lnTo>
                      <a:lnTo>
                        <a:pt x="526424" y="1230939"/>
                      </a:lnTo>
                      <a:lnTo>
                        <a:pt x="522802" y="1229127"/>
                      </a:lnTo>
                      <a:lnTo>
                        <a:pt x="520991" y="1224298"/>
                      </a:lnTo>
                      <a:lnTo>
                        <a:pt x="520991" y="1216450"/>
                      </a:lnTo>
                      <a:lnTo>
                        <a:pt x="519180" y="1215846"/>
                      </a:lnTo>
                      <a:close/>
                      <a:moveTo>
                        <a:pt x="513746" y="1215846"/>
                      </a:moveTo>
                      <a:lnTo>
                        <a:pt x="515557" y="1215242"/>
                      </a:lnTo>
                      <a:lnTo>
                        <a:pt x="514954" y="1215242"/>
                      </a:lnTo>
                      <a:lnTo>
                        <a:pt x="513746" y="1215846"/>
                      </a:lnTo>
                      <a:close/>
                      <a:moveTo>
                        <a:pt x="611545" y="1122877"/>
                      </a:moveTo>
                      <a:lnTo>
                        <a:pt x="615167" y="1121669"/>
                      </a:lnTo>
                      <a:lnTo>
                        <a:pt x="618186" y="1125292"/>
                      </a:lnTo>
                      <a:lnTo>
                        <a:pt x="613960" y="1118651"/>
                      </a:lnTo>
                      <a:lnTo>
                        <a:pt x="615167" y="1114425"/>
                      </a:lnTo>
                      <a:lnTo>
                        <a:pt x="614564" y="1110199"/>
                      </a:lnTo>
                      <a:lnTo>
                        <a:pt x="616375" y="1104766"/>
                      </a:lnTo>
                      <a:lnTo>
                        <a:pt x="619393" y="1104766"/>
                      </a:lnTo>
                      <a:lnTo>
                        <a:pt x="617582" y="1104162"/>
                      </a:lnTo>
                      <a:lnTo>
                        <a:pt x="616375" y="1104766"/>
                      </a:lnTo>
                      <a:lnTo>
                        <a:pt x="613356" y="1111406"/>
                      </a:lnTo>
                      <a:lnTo>
                        <a:pt x="614564" y="1113218"/>
                      </a:lnTo>
                      <a:lnTo>
                        <a:pt x="613356" y="1118651"/>
                      </a:lnTo>
                      <a:lnTo>
                        <a:pt x="613960" y="1121066"/>
                      </a:lnTo>
                      <a:lnTo>
                        <a:pt x="611545" y="1122877"/>
                      </a:lnTo>
                      <a:close/>
                      <a:moveTo>
                        <a:pt x="594642" y="1067337"/>
                      </a:moveTo>
                      <a:lnTo>
                        <a:pt x="594038" y="1066733"/>
                      </a:lnTo>
                      <a:lnTo>
                        <a:pt x="592227" y="1066129"/>
                      </a:lnTo>
                      <a:lnTo>
                        <a:pt x="590416" y="1067941"/>
                      </a:lnTo>
                      <a:lnTo>
                        <a:pt x="594642" y="1067337"/>
                      </a:lnTo>
                      <a:close/>
                      <a:moveTo>
                        <a:pt x="624223" y="1214639"/>
                      </a:moveTo>
                      <a:lnTo>
                        <a:pt x="624223" y="1216450"/>
                      </a:lnTo>
                      <a:lnTo>
                        <a:pt x="625430" y="1217053"/>
                      </a:lnTo>
                      <a:lnTo>
                        <a:pt x="628449" y="1217657"/>
                      </a:lnTo>
                      <a:lnTo>
                        <a:pt x="628449" y="1218865"/>
                      </a:lnTo>
                      <a:lnTo>
                        <a:pt x="629052" y="1222487"/>
                      </a:lnTo>
                      <a:lnTo>
                        <a:pt x="629052" y="1227316"/>
                      </a:lnTo>
                      <a:lnTo>
                        <a:pt x="632675" y="1232750"/>
                      </a:lnTo>
                      <a:lnTo>
                        <a:pt x="631467" y="1236976"/>
                      </a:lnTo>
                      <a:lnTo>
                        <a:pt x="633278" y="1240598"/>
                      </a:lnTo>
                      <a:lnTo>
                        <a:pt x="638108" y="1241805"/>
                      </a:lnTo>
                      <a:lnTo>
                        <a:pt x="636297" y="1244824"/>
                      </a:lnTo>
                      <a:lnTo>
                        <a:pt x="629052" y="1239994"/>
                      </a:lnTo>
                      <a:lnTo>
                        <a:pt x="628449" y="1235768"/>
                      </a:lnTo>
                      <a:lnTo>
                        <a:pt x="625430" y="1233957"/>
                      </a:lnTo>
                      <a:lnTo>
                        <a:pt x="619997" y="1232750"/>
                      </a:lnTo>
                      <a:lnTo>
                        <a:pt x="621204" y="1225505"/>
                      </a:lnTo>
                      <a:lnTo>
                        <a:pt x="620601" y="1218261"/>
                      </a:lnTo>
                      <a:lnTo>
                        <a:pt x="624223" y="1214639"/>
                      </a:lnTo>
                      <a:close/>
                      <a:moveTo>
                        <a:pt x="476317" y="1212224"/>
                      </a:moveTo>
                      <a:lnTo>
                        <a:pt x="480543" y="1221883"/>
                      </a:lnTo>
                      <a:lnTo>
                        <a:pt x="482958" y="1224902"/>
                      </a:lnTo>
                      <a:lnTo>
                        <a:pt x="481750" y="1229127"/>
                      </a:lnTo>
                      <a:lnTo>
                        <a:pt x="482958" y="1236372"/>
                      </a:lnTo>
                      <a:lnTo>
                        <a:pt x="482958" y="1241201"/>
                      </a:lnTo>
                      <a:lnTo>
                        <a:pt x="479335" y="1252672"/>
                      </a:lnTo>
                      <a:lnTo>
                        <a:pt x="479939" y="1261727"/>
                      </a:lnTo>
                      <a:lnTo>
                        <a:pt x="475713" y="1266557"/>
                      </a:lnTo>
                      <a:lnTo>
                        <a:pt x="466658" y="1266557"/>
                      </a:lnTo>
                      <a:lnTo>
                        <a:pt x="456395" y="1262331"/>
                      </a:lnTo>
                      <a:lnTo>
                        <a:pt x="455187" y="1256898"/>
                      </a:lnTo>
                      <a:lnTo>
                        <a:pt x="456999" y="1247238"/>
                      </a:lnTo>
                      <a:lnTo>
                        <a:pt x="460621" y="1243616"/>
                      </a:lnTo>
                      <a:lnTo>
                        <a:pt x="463035" y="1233957"/>
                      </a:lnTo>
                      <a:lnTo>
                        <a:pt x="473298" y="1214035"/>
                      </a:lnTo>
                      <a:lnTo>
                        <a:pt x="476317" y="1212224"/>
                      </a:lnTo>
                      <a:close/>
                      <a:moveTo>
                        <a:pt x="607923" y="1214639"/>
                      </a:moveTo>
                      <a:lnTo>
                        <a:pt x="609734" y="1212224"/>
                      </a:lnTo>
                      <a:lnTo>
                        <a:pt x="610338" y="1211620"/>
                      </a:lnTo>
                      <a:lnTo>
                        <a:pt x="610941" y="1212828"/>
                      </a:lnTo>
                      <a:lnTo>
                        <a:pt x="609734" y="1214035"/>
                      </a:lnTo>
                      <a:lnTo>
                        <a:pt x="610338" y="1214639"/>
                      </a:lnTo>
                      <a:lnTo>
                        <a:pt x="611545" y="1214035"/>
                      </a:lnTo>
                      <a:lnTo>
                        <a:pt x="612753" y="1213431"/>
                      </a:lnTo>
                      <a:lnTo>
                        <a:pt x="613356" y="1214035"/>
                      </a:lnTo>
                      <a:lnTo>
                        <a:pt x="618790" y="1214639"/>
                      </a:lnTo>
                      <a:lnTo>
                        <a:pt x="616978" y="1223090"/>
                      </a:lnTo>
                      <a:lnTo>
                        <a:pt x="611545" y="1226109"/>
                      </a:lnTo>
                      <a:lnTo>
                        <a:pt x="609734" y="1223090"/>
                      </a:lnTo>
                      <a:lnTo>
                        <a:pt x="605508" y="1221883"/>
                      </a:lnTo>
                      <a:lnTo>
                        <a:pt x="607923" y="1214639"/>
                      </a:lnTo>
                      <a:close/>
                      <a:moveTo>
                        <a:pt x="575927" y="1207394"/>
                      </a:moveTo>
                      <a:lnTo>
                        <a:pt x="577134" y="1207998"/>
                      </a:lnTo>
                      <a:lnTo>
                        <a:pt x="577134" y="1209809"/>
                      </a:lnTo>
                      <a:lnTo>
                        <a:pt x="578945" y="1211620"/>
                      </a:lnTo>
                      <a:lnTo>
                        <a:pt x="578342" y="1212828"/>
                      </a:lnTo>
                      <a:lnTo>
                        <a:pt x="580153" y="1212828"/>
                      </a:lnTo>
                      <a:lnTo>
                        <a:pt x="580756" y="1212828"/>
                      </a:lnTo>
                      <a:lnTo>
                        <a:pt x="582568" y="1213431"/>
                      </a:lnTo>
                      <a:lnTo>
                        <a:pt x="581964" y="1221279"/>
                      </a:lnTo>
                      <a:lnTo>
                        <a:pt x="579549" y="1232146"/>
                      </a:lnTo>
                      <a:lnTo>
                        <a:pt x="575927" y="1230335"/>
                      </a:lnTo>
                      <a:lnTo>
                        <a:pt x="574116" y="1224902"/>
                      </a:lnTo>
                      <a:lnTo>
                        <a:pt x="575927" y="1223694"/>
                      </a:lnTo>
                      <a:lnTo>
                        <a:pt x="572908" y="1218865"/>
                      </a:lnTo>
                      <a:lnTo>
                        <a:pt x="570494" y="1216450"/>
                      </a:lnTo>
                      <a:lnTo>
                        <a:pt x="572305" y="1212224"/>
                      </a:lnTo>
                      <a:lnTo>
                        <a:pt x="575927" y="1207394"/>
                      </a:lnTo>
                      <a:close/>
                      <a:moveTo>
                        <a:pt x="616375" y="1206187"/>
                      </a:moveTo>
                      <a:lnTo>
                        <a:pt x="621204" y="1209809"/>
                      </a:lnTo>
                      <a:lnTo>
                        <a:pt x="619393" y="1214639"/>
                      </a:lnTo>
                      <a:lnTo>
                        <a:pt x="614564" y="1214035"/>
                      </a:lnTo>
                      <a:lnTo>
                        <a:pt x="616375" y="1206187"/>
                      </a:lnTo>
                      <a:close/>
                      <a:moveTo>
                        <a:pt x="551779" y="1203772"/>
                      </a:moveTo>
                      <a:lnTo>
                        <a:pt x="552987" y="1204376"/>
                      </a:lnTo>
                      <a:lnTo>
                        <a:pt x="548761" y="1209205"/>
                      </a:lnTo>
                      <a:lnTo>
                        <a:pt x="546346" y="1206791"/>
                      </a:lnTo>
                      <a:lnTo>
                        <a:pt x="548761" y="1204376"/>
                      </a:lnTo>
                      <a:lnTo>
                        <a:pt x="551779" y="1203772"/>
                      </a:lnTo>
                      <a:close/>
                      <a:moveTo>
                        <a:pt x="579549" y="1201961"/>
                      </a:moveTo>
                      <a:lnTo>
                        <a:pt x="585586" y="1203772"/>
                      </a:lnTo>
                      <a:lnTo>
                        <a:pt x="582568" y="1211016"/>
                      </a:lnTo>
                      <a:lnTo>
                        <a:pt x="580153" y="1212828"/>
                      </a:lnTo>
                      <a:lnTo>
                        <a:pt x="577738" y="1210413"/>
                      </a:lnTo>
                      <a:lnTo>
                        <a:pt x="577738" y="1207998"/>
                      </a:lnTo>
                      <a:lnTo>
                        <a:pt x="576531" y="1206187"/>
                      </a:lnTo>
                      <a:lnTo>
                        <a:pt x="579549" y="1201961"/>
                      </a:lnTo>
                      <a:close/>
                      <a:moveTo>
                        <a:pt x="475713" y="1200754"/>
                      </a:moveTo>
                      <a:lnTo>
                        <a:pt x="477524" y="1203168"/>
                      </a:lnTo>
                      <a:lnTo>
                        <a:pt x="474506" y="1206791"/>
                      </a:lnTo>
                      <a:lnTo>
                        <a:pt x="472091" y="1203772"/>
                      </a:lnTo>
                      <a:lnTo>
                        <a:pt x="475713" y="1200754"/>
                      </a:lnTo>
                      <a:close/>
                      <a:moveTo>
                        <a:pt x="640523" y="1218865"/>
                      </a:moveTo>
                      <a:lnTo>
                        <a:pt x="639919" y="1220072"/>
                      </a:lnTo>
                      <a:lnTo>
                        <a:pt x="638108" y="1221279"/>
                      </a:lnTo>
                      <a:lnTo>
                        <a:pt x="636297" y="1223090"/>
                      </a:lnTo>
                      <a:lnTo>
                        <a:pt x="633882" y="1223694"/>
                      </a:lnTo>
                      <a:lnTo>
                        <a:pt x="631467" y="1226109"/>
                      </a:lnTo>
                      <a:lnTo>
                        <a:pt x="629656" y="1224298"/>
                      </a:lnTo>
                      <a:lnTo>
                        <a:pt x="629656" y="1222487"/>
                      </a:lnTo>
                      <a:lnTo>
                        <a:pt x="629052" y="1218865"/>
                      </a:lnTo>
                      <a:lnTo>
                        <a:pt x="629052" y="1217657"/>
                      </a:lnTo>
                      <a:lnTo>
                        <a:pt x="627845" y="1216450"/>
                      </a:lnTo>
                      <a:lnTo>
                        <a:pt x="625430" y="1216450"/>
                      </a:lnTo>
                      <a:lnTo>
                        <a:pt x="623015" y="1207394"/>
                      </a:lnTo>
                      <a:lnTo>
                        <a:pt x="620601" y="1202565"/>
                      </a:lnTo>
                      <a:lnTo>
                        <a:pt x="624223" y="1204376"/>
                      </a:lnTo>
                      <a:lnTo>
                        <a:pt x="630864" y="1203772"/>
                      </a:lnTo>
                      <a:lnTo>
                        <a:pt x="636297" y="1200150"/>
                      </a:lnTo>
                      <a:lnTo>
                        <a:pt x="648371" y="1206791"/>
                      </a:lnTo>
                      <a:lnTo>
                        <a:pt x="646560" y="1214639"/>
                      </a:lnTo>
                      <a:lnTo>
                        <a:pt x="643541" y="1219468"/>
                      </a:lnTo>
                      <a:lnTo>
                        <a:pt x="642938" y="1219468"/>
                      </a:lnTo>
                      <a:lnTo>
                        <a:pt x="641126" y="1217053"/>
                      </a:lnTo>
                      <a:lnTo>
                        <a:pt x="641126" y="1218261"/>
                      </a:lnTo>
                      <a:lnTo>
                        <a:pt x="640523" y="1218865"/>
                      </a:lnTo>
                      <a:close/>
                      <a:moveTo>
                        <a:pt x="597056" y="1199546"/>
                      </a:moveTo>
                      <a:lnTo>
                        <a:pt x="598867" y="1202565"/>
                      </a:lnTo>
                      <a:lnTo>
                        <a:pt x="603697" y="1200754"/>
                      </a:lnTo>
                      <a:lnTo>
                        <a:pt x="607923" y="1201357"/>
                      </a:lnTo>
                      <a:lnTo>
                        <a:pt x="611545" y="1203168"/>
                      </a:lnTo>
                      <a:lnTo>
                        <a:pt x="612753" y="1202565"/>
                      </a:lnTo>
                      <a:lnTo>
                        <a:pt x="615771" y="1206187"/>
                      </a:lnTo>
                      <a:lnTo>
                        <a:pt x="612149" y="1211620"/>
                      </a:lnTo>
                      <a:lnTo>
                        <a:pt x="611545" y="1214035"/>
                      </a:lnTo>
                      <a:lnTo>
                        <a:pt x="610338" y="1214035"/>
                      </a:lnTo>
                      <a:lnTo>
                        <a:pt x="611545" y="1212828"/>
                      </a:lnTo>
                      <a:lnTo>
                        <a:pt x="611545" y="1211620"/>
                      </a:lnTo>
                      <a:lnTo>
                        <a:pt x="610338" y="1211016"/>
                      </a:lnTo>
                      <a:lnTo>
                        <a:pt x="609734" y="1211620"/>
                      </a:lnTo>
                      <a:lnTo>
                        <a:pt x="607923" y="1213431"/>
                      </a:lnTo>
                      <a:lnTo>
                        <a:pt x="606716" y="1211620"/>
                      </a:lnTo>
                      <a:lnTo>
                        <a:pt x="604301" y="1211016"/>
                      </a:lnTo>
                      <a:lnTo>
                        <a:pt x="602490" y="1207394"/>
                      </a:lnTo>
                      <a:lnTo>
                        <a:pt x="600679" y="1206791"/>
                      </a:lnTo>
                      <a:lnTo>
                        <a:pt x="598264" y="1206791"/>
                      </a:lnTo>
                      <a:lnTo>
                        <a:pt x="595849" y="1202565"/>
                      </a:lnTo>
                      <a:lnTo>
                        <a:pt x="597056" y="1199546"/>
                      </a:lnTo>
                      <a:close/>
                      <a:moveTo>
                        <a:pt x="601282" y="1188680"/>
                      </a:moveTo>
                      <a:lnTo>
                        <a:pt x="602490" y="1193509"/>
                      </a:lnTo>
                      <a:lnTo>
                        <a:pt x="612753" y="1200754"/>
                      </a:lnTo>
                      <a:lnTo>
                        <a:pt x="610338" y="1201961"/>
                      </a:lnTo>
                      <a:lnTo>
                        <a:pt x="604904" y="1200150"/>
                      </a:lnTo>
                      <a:lnTo>
                        <a:pt x="598867" y="1201357"/>
                      </a:lnTo>
                      <a:lnTo>
                        <a:pt x="597056" y="1197132"/>
                      </a:lnTo>
                      <a:lnTo>
                        <a:pt x="597056" y="1189284"/>
                      </a:lnTo>
                      <a:lnTo>
                        <a:pt x="601282" y="1188680"/>
                      </a:lnTo>
                      <a:close/>
                      <a:moveTo>
                        <a:pt x="583775" y="1180228"/>
                      </a:moveTo>
                      <a:lnTo>
                        <a:pt x="586793" y="1180228"/>
                      </a:lnTo>
                      <a:lnTo>
                        <a:pt x="595245" y="1184454"/>
                      </a:lnTo>
                      <a:lnTo>
                        <a:pt x="590416" y="1191095"/>
                      </a:lnTo>
                      <a:lnTo>
                        <a:pt x="587397" y="1197132"/>
                      </a:lnTo>
                      <a:lnTo>
                        <a:pt x="583171" y="1194717"/>
                      </a:lnTo>
                      <a:lnTo>
                        <a:pt x="578342" y="1194717"/>
                      </a:lnTo>
                      <a:lnTo>
                        <a:pt x="577134" y="1191698"/>
                      </a:lnTo>
                      <a:lnTo>
                        <a:pt x="578945" y="1185661"/>
                      </a:lnTo>
                      <a:lnTo>
                        <a:pt x="583775" y="1180228"/>
                      </a:lnTo>
                      <a:close/>
                      <a:moveTo>
                        <a:pt x="476921" y="1178417"/>
                      </a:moveTo>
                      <a:lnTo>
                        <a:pt x="473298" y="1186869"/>
                      </a:lnTo>
                      <a:lnTo>
                        <a:pt x="467261" y="1195924"/>
                      </a:lnTo>
                      <a:lnTo>
                        <a:pt x="466054" y="1199546"/>
                      </a:lnTo>
                      <a:lnTo>
                        <a:pt x="459413" y="1203772"/>
                      </a:lnTo>
                      <a:lnTo>
                        <a:pt x="457602" y="1203168"/>
                      </a:lnTo>
                      <a:lnTo>
                        <a:pt x="459413" y="1193509"/>
                      </a:lnTo>
                      <a:lnTo>
                        <a:pt x="462432" y="1186265"/>
                      </a:lnTo>
                      <a:lnTo>
                        <a:pt x="467261" y="1182039"/>
                      </a:lnTo>
                      <a:lnTo>
                        <a:pt x="476921" y="1178417"/>
                      </a:lnTo>
                      <a:close/>
                      <a:moveTo>
                        <a:pt x="615167" y="1180228"/>
                      </a:moveTo>
                      <a:lnTo>
                        <a:pt x="623015" y="1180832"/>
                      </a:lnTo>
                      <a:lnTo>
                        <a:pt x="626638" y="1179021"/>
                      </a:lnTo>
                      <a:lnTo>
                        <a:pt x="628449" y="1182039"/>
                      </a:lnTo>
                      <a:lnTo>
                        <a:pt x="633278" y="1181436"/>
                      </a:lnTo>
                      <a:lnTo>
                        <a:pt x="635089" y="1191095"/>
                      </a:lnTo>
                      <a:lnTo>
                        <a:pt x="635089" y="1200150"/>
                      </a:lnTo>
                      <a:lnTo>
                        <a:pt x="632675" y="1201357"/>
                      </a:lnTo>
                      <a:lnTo>
                        <a:pt x="624223" y="1202565"/>
                      </a:lnTo>
                      <a:lnTo>
                        <a:pt x="618186" y="1197735"/>
                      </a:lnTo>
                      <a:lnTo>
                        <a:pt x="607923" y="1197132"/>
                      </a:lnTo>
                      <a:lnTo>
                        <a:pt x="603093" y="1193509"/>
                      </a:lnTo>
                      <a:lnTo>
                        <a:pt x="602490" y="1188680"/>
                      </a:lnTo>
                      <a:lnTo>
                        <a:pt x="604904" y="1181436"/>
                      </a:lnTo>
                      <a:lnTo>
                        <a:pt x="607923" y="1181436"/>
                      </a:lnTo>
                      <a:lnTo>
                        <a:pt x="613356" y="1177813"/>
                      </a:lnTo>
                      <a:lnTo>
                        <a:pt x="615167" y="1180228"/>
                      </a:lnTo>
                      <a:close/>
                      <a:moveTo>
                        <a:pt x="605508" y="1172984"/>
                      </a:moveTo>
                      <a:lnTo>
                        <a:pt x="607923" y="1173588"/>
                      </a:lnTo>
                      <a:lnTo>
                        <a:pt x="608527" y="1180228"/>
                      </a:lnTo>
                      <a:lnTo>
                        <a:pt x="604904" y="1179625"/>
                      </a:lnTo>
                      <a:lnTo>
                        <a:pt x="603093" y="1173588"/>
                      </a:lnTo>
                      <a:lnTo>
                        <a:pt x="605508" y="1172984"/>
                      </a:lnTo>
                      <a:close/>
                      <a:moveTo>
                        <a:pt x="633882" y="1174191"/>
                      </a:moveTo>
                      <a:lnTo>
                        <a:pt x="633882" y="1180228"/>
                      </a:lnTo>
                      <a:lnTo>
                        <a:pt x="628449" y="1181436"/>
                      </a:lnTo>
                      <a:lnTo>
                        <a:pt x="623619" y="1174795"/>
                      </a:lnTo>
                      <a:lnTo>
                        <a:pt x="633882" y="1174191"/>
                      </a:lnTo>
                      <a:close/>
                      <a:moveTo>
                        <a:pt x="654408" y="1171173"/>
                      </a:moveTo>
                      <a:lnTo>
                        <a:pt x="657426" y="1172984"/>
                      </a:lnTo>
                      <a:lnTo>
                        <a:pt x="662256" y="1173588"/>
                      </a:lnTo>
                      <a:lnTo>
                        <a:pt x="668293" y="1181436"/>
                      </a:lnTo>
                      <a:lnTo>
                        <a:pt x="670104" y="1187472"/>
                      </a:lnTo>
                      <a:lnTo>
                        <a:pt x="667085" y="1198943"/>
                      </a:lnTo>
                      <a:lnTo>
                        <a:pt x="660445" y="1200754"/>
                      </a:lnTo>
                      <a:lnTo>
                        <a:pt x="653804" y="1195924"/>
                      </a:lnTo>
                      <a:lnTo>
                        <a:pt x="658030" y="1189887"/>
                      </a:lnTo>
                      <a:lnTo>
                        <a:pt x="648975" y="1185661"/>
                      </a:lnTo>
                      <a:lnTo>
                        <a:pt x="648975" y="1183247"/>
                      </a:lnTo>
                      <a:lnTo>
                        <a:pt x="648975" y="1182643"/>
                      </a:lnTo>
                      <a:lnTo>
                        <a:pt x="647163" y="1180832"/>
                      </a:lnTo>
                      <a:lnTo>
                        <a:pt x="651389" y="1173588"/>
                      </a:lnTo>
                      <a:lnTo>
                        <a:pt x="654408" y="1171173"/>
                      </a:lnTo>
                      <a:close/>
                      <a:moveTo>
                        <a:pt x="615167" y="1171173"/>
                      </a:moveTo>
                      <a:lnTo>
                        <a:pt x="619393" y="1172984"/>
                      </a:lnTo>
                      <a:lnTo>
                        <a:pt x="619393" y="1178417"/>
                      </a:lnTo>
                      <a:lnTo>
                        <a:pt x="615167" y="1179021"/>
                      </a:lnTo>
                      <a:lnTo>
                        <a:pt x="613960" y="1177210"/>
                      </a:lnTo>
                      <a:lnTo>
                        <a:pt x="612149" y="1177813"/>
                      </a:lnTo>
                      <a:lnTo>
                        <a:pt x="608527" y="1176002"/>
                      </a:lnTo>
                      <a:lnTo>
                        <a:pt x="610941" y="1172380"/>
                      </a:lnTo>
                      <a:lnTo>
                        <a:pt x="615167" y="1171173"/>
                      </a:lnTo>
                      <a:close/>
                      <a:moveTo>
                        <a:pt x="627241" y="1166947"/>
                      </a:moveTo>
                      <a:lnTo>
                        <a:pt x="627241" y="1170569"/>
                      </a:lnTo>
                      <a:lnTo>
                        <a:pt x="629656" y="1174191"/>
                      </a:lnTo>
                      <a:lnTo>
                        <a:pt x="625430" y="1174191"/>
                      </a:lnTo>
                      <a:lnTo>
                        <a:pt x="623015" y="1174795"/>
                      </a:lnTo>
                      <a:lnTo>
                        <a:pt x="616978" y="1170569"/>
                      </a:lnTo>
                      <a:lnTo>
                        <a:pt x="618790" y="1168758"/>
                      </a:lnTo>
                      <a:lnTo>
                        <a:pt x="620601" y="1168758"/>
                      </a:lnTo>
                      <a:lnTo>
                        <a:pt x="624223" y="1166947"/>
                      </a:lnTo>
                      <a:lnTo>
                        <a:pt x="627241" y="1166947"/>
                      </a:lnTo>
                      <a:close/>
                      <a:moveTo>
                        <a:pt x="634486" y="1165739"/>
                      </a:moveTo>
                      <a:lnTo>
                        <a:pt x="631467" y="1171173"/>
                      </a:lnTo>
                      <a:lnTo>
                        <a:pt x="627845" y="1170569"/>
                      </a:lnTo>
                      <a:lnTo>
                        <a:pt x="627241" y="1165136"/>
                      </a:lnTo>
                      <a:lnTo>
                        <a:pt x="634486" y="1165739"/>
                      </a:lnTo>
                      <a:close/>
                      <a:moveTo>
                        <a:pt x="613356" y="1165739"/>
                      </a:moveTo>
                      <a:lnTo>
                        <a:pt x="613960" y="1169965"/>
                      </a:lnTo>
                      <a:lnTo>
                        <a:pt x="609130" y="1173588"/>
                      </a:lnTo>
                      <a:lnTo>
                        <a:pt x="601886" y="1171173"/>
                      </a:lnTo>
                      <a:lnTo>
                        <a:pt x="604301" y="1166947"/>
                      </a:lnTo>
                      <a:lnTo>
                        <a:pt x="606716" y="1163928"/>
                      </a:lnTo>
                      <a:lnTo>
                        <a:pt x="602490" y="1166343"/>
                      </a:lnTo>
                      <a:lnTo>
                        <a:pt x="600075" y="1171776"/>
                      </a:lnTo>
                      <a:lnTo>
                        <a:pt x="593434" y="1169965"/>
                      </a:lnTo>
                      <a:lnTo>
                        <a:pt x="592830" y="1166947"/>
                      </a:lnTo>
                      <a:lnTo>
                        <a:pt x="599471" y="1160910"/>
                      </a:lnTo>
                      <a:lnTo>
                        <a:pt x="602490" y="1154269"/>
                      </a:lnTo>
                      <a:lnTo>
                        <a:pt x="606716" y="1152458"/>
                      </a:lnTo>
                      <a:lnTo>
                        <a:pt x="613960" y="1144610"/>
                      </a:lnTo>
                      <a:lnTo>
                        <a:pt x="619393" y="1147628"/>
                      </a:lnTo>
                      <a:lnTo>
                        <a:pt x="621808" y="1142195"/>
                      </a:lnTo>
                      <a:lnTo>
                        <a:pt x="623619" y="1140988"/>
                      </a:lnTo>
                      <a:lnTo>
                        <a:pt x="623619" y="1139177"/>
                      </a:lnTo>
                      <a:lnTo>
                        <a:pt x="624827" y="1138573"/>
                      </a:lnTo>
                      <a:lnTo>
                        <a:pt x="626034" y="1140988"/>
                      </a:lnTo>
                      <a:lnTo>
                        <a:pt x="626638" y="1145817"/>
                      </a:lnTo>
                      <a:lnTo>
                        <a:pt x="623619" y="1145817"/>
                      </a:lnTo>
                      <a:lnTo>
                        <a:pt x="623015" y="1152458"/>
                      </a:lnTo>
                      <a:lnTo>
                        <a:pt x="612753" y="1156684"/>
                      </a:lnTo>
                      <a:lnTo>
                        <a:pt x="611545" y="1159099"/>
                      </a:lnTo>
                      <a:lnTo>
                        <a:pt x="606716" y="1160910"/>
                      </a:lnTo>
                      <a:lnTo>
                        <a:pt x="606716" y="1163928"/>
                      </a:lnTo>
                      <a:lnTo>
                        <a:pt x="608527" y="1161514"/>
                      </a:lnTo>
                      <a:lnTo>
                        <a:pt x="612149" y="1160306"/>
                      </a:lnTo>
                      <a:lnTo>
                        <a:pt x="613356" y="1165739"/>
                      </a:lnTo>
                      <a:close/>
                      <a:moveTo>
                        <a:pt x="616375" y="1157288"/>
                      </a:moveTo>
                      <a:lnTo>
                        <a:pt x="622412" y="1158495"/>
                      </a:lnTo>
                      <a:lnTo>
                        <a:pt x="623015" y="1161514"/>
                      </a:lnTo>
                      <a:lnTo>
                        <a:pt x="626638" y="1166343"/>
                      </a:lnTo>
                      <a:lnTo>
                        <a:pt x="623619" y="1166947"/>
                      </a:lnTo>
                      <a:lnTo>
                        <a:pt x="620601" y="1168154"/>
                      </a:lnTo>
                      <a:lnTo>
                        <a:pt x="618790" y="1165136"/>
                      </a:lnTo>
                      <a:lnTo>
                        <a:pt x="613960" y="1165739"/>
                      </a:lnTo>
                      <a:lnTo>
                        <a:pt x="612753" y="1159702"/>
                      </a:lnTo>
                      <a:lnTo>
                        <a:pt x="616375" y="1157288"/>
                      </a:lnTo>
                      <a:close/>
                      <a:moveTo>
                        <a:pt x="626034" y="1147025"/>
                      </a:moveTo>
                      <a:lnTo>
                        <a:pt x="630260" y="1147628"/>
                      </a:lnTo>
                      <a:lnTo>
                        <a:pt x="634486" y="1155477"/>
                      </a:lnTo>
                      <a:lnTo>
                        <a:pt x="638108" y="1160306"/>
                      </a:lnTo>
                      <a:lnTo>
                        <a:pt x="636901" y="1163928"/>
                      </a:lnTo>
                      <a:lnTo>
                        <a:pt x="627845" y="1165136"/>
                      </a:lnTo>
                      <a:lnTo>
                        <a:pt x="623619" y="1162117"/>
                      </a:lnTo>
                      <a:lnTo>
                        <a:pt x="622412" y="1157288"/>
                      </a:lnTo>
                      <a:lnTo>
                        <a:pt x="626034" y="1147025"/>
                      </a:lnTo>
                      <a:close/>
                      <a:moveTo>
                        <a:pt x="643541" y="1142195"/>
                      </a:moveTo>
                      <a:lnTo>
                        <a:pt x="650786" y="1151251"/>
                      </a:lnTo>
                      <a:lnTo>
                        <a:pt x="650786" y="1157891"/>
                      </a:lnTo>
                      <a:lnTo>
                        <a:pt x="647767" y="1165739"/>
                      </a:lnTo>
                      <a:lnTo>
                        <a:pt x="644749" y="1168154"/>
                      </a:lnTo>
                      <a:lnTo>
                        <a:pt x="641126" y="1168154"/>
                      </a:lnTo>
                      <a:lnTo>
                        <a:pt x="638108" y="1172380"/>
                      </a:lnTo>
                      <a:lnTo>
                        <a:pt x="638108" y="1179021"/>
                      </a:lnTo>
                      <a:lnTo>
                        <a:pt x="639919" y="1184454"/>
                      </a:lnTo>
                      <a:lnTo>
                        <a:pt x="642938" y="1184454"/>
                      </a:lnTo>
                      <a:lnTo>
                        <a:pt x="640523" y="1179021"/>
                      </a:lnTo>
                      <a:lnTo>
                        <a:pt x="641730" y="1170569"/>
                      </a:lnTo>
                      <a:lnTo>
                        <a:pt x="645352" y="1171173"/>
                      </a:lnTo>
                      <a:lnTo>
                        <a:pt x="649578" y="1176002"/>
                      </a:lnTo>
                      <a:lnTo>
                        <a:pt x="646560" y="1180832"/>
                      </a:lnTo>
                      <a:lnTo>
                        <a:pt x="648975" y="1183247"/>
                      </a:lnTo>
                      <a:lnTo>
                        <a:pt x="648371" y="1187472"/>
                      </a:lnTo>
                      <a:lnTo>
                        <a:pt x="652597" y="1191095"/>
                      </a:lnTo>
                      <a:lnTo>
                        <a:pt x="653200" y="1197132"/>
                      </a:lnTo>
                      <a:lnTo>
                        <a:pt x="658634" y="1201961"/>
                      </a:lnTo>
                      <a:lnTo>
                        <a:pt x="657426" y="1206187"/>
                      </a:lnTo>
                      <a:lnTo>
                        <a:pt x="652597" y="1204979"/>
                      </a:lnTo>
                      <a:lnTo>
                        <a:pt x="642334" y="1200150"/>
                      </a:lnTo>
                      <a:lnTo>
                        <a:pt x="639919" y="1197132"/>
                      </a:lnTo>
                      <a:lnTo>
                        <a:pt x="636297" y="1185661"/>
                      </a:lnTo>
                      <a:lnTo>
                        <a:pt x="636901" y="1182039"/>
                      </a:lnTo>
                      <a:lnTo>
                        <a:pt x="633882" y="1169965"/>
                      </a:lnTo>
                      <a:lnTo>
                        <a:pt x="635089" y="1166947"/>
                      </a:lnTo>
                      <a:lnTo>
                        <a:pt x="639919" y="1162721"/>
                      </a:lnTo>
                      <a:lnTo>
                        <a:pt x="639315" y="1159702"/>
                      </a:lnTo>
                      <a:lnTo>
                        <a:pt x="635089" y="1154873"/>
                      </a:lnTo>
                      <a:lnTo>
                        <a:pt x="632675" y="1146421"/>
                      </a:lnTo>
                      <a:lnTo>
                        <a:pt x="637504" y="1148836"/>
                      </a:lnTo>
                      <a:lnTo>
                        <a:pt x="643541" y="1142195"/>
                      </a:lnTo>
                      <a:close/>
                      <a:moveTo>
                        <a:pt x="654408" y="1171173"/>
                      </a:moveTo>
                      <a:lnTo>
                        <a:pt x="646560" y="1171173"/>
                      </a:lnTo>
                      <a:lnTo>
                        <a:pt x="650182" y="1166947"/>
                      </a:lnTo>
                      <a:lnTo>
                        <a:pt x="653200" y="1154873"/>
                      </a:lnTo>
                      <a:lnTo>
                        <a:pt x="652597" y="1151251"/>
                      </a:lnTo>
                      <a:lnTo>
                        <a:pt x="648975" y="1147025"/>
                      </a:lnTo>
                      <a:lnTo>
                        <a:pt x="648371" y="1141591"/>
                      </a:lnTo>
                      <a:lnTo>
                        <a:pt x="654408" y="1140384"/>
                      </a:lnTo>
                      <a:lnTo>
                        <a:pt x="656823" y="1140988"/>
                      </a:lnTo>
                      <a:lnTo>
                        <a:pt x="656823" y="1147628"/>
                      </a:lnTo>
                      <a:lnTo>
                        <a:pt x="658634" y="1151251"/>
                      </a:lnTo>
                      <a:lnTo>
                        <a:pt x="664067" y="1154873"/>
                      </a:lnTo>
                      <a:lnTo>
                        <a:pt x="660445" y="1163325"/>
                      </a:lnTo>
                      <a:lnTo>
                        <a:pt x="662256" y="1172380"/>
                      </a:lnTo>
                      <a:lnTo>
                        <a:pt x="658030" y="1172984"/>
                      </a:lnTo>
                      <a:lnTo>
                        <a:pt x="654408" y="1171173"/>
                      </a:lnTo>
                      <a:close/>
                      <a:moveTo>
                        <a:pt x="639919" y="1134347"/>
                      </a:moveTo>
                      <a:lnTo>
                        <a:pt x="644749" y="1134951"/>
                      </a:lnTo>
                      <a:lnTo>
                        <a:pt x="645956" y="1141591"/>
                      </a:lnTo>
                      <a:lnTo>
                        <a:pt x="642334" y="1141591"/>
                      </a:lnTo>
                      <a:lnTo>
                        <a:pt x="639919" y="1145214"/>
                      </a:lnTo>
                      <a:lnTo>
                        <a:pt x="635089" y="1140988"/>
                      </a:lnTo>
                      <a:lnTo>
                        <a:pt x="636901" y="1138573"/>
                      </a:lnTo>
                      <a:lnTo>
                        <a:pt x="637504" y="1133140"/>
                      </a:lnTo>
                      <a:lnTo>
                        <a:pt x="639919" y="1134347"/>
                      </a:lnTo>
                      <a:close/>
                      <a:moveTo>
                        <a:pt x="650786" y="1099332"/>
                      </a:moveTo>
                      <a:lnTo>
                        <a:pt x="651389" y="1102955"/>
                      </a:lnTo>
                      <a:lnTo>
                        <a:pt x="650786" y="1112010"/>
                      </a:lnTo>
                      <a:lnTo>
                        <a:pt x="653804" y="1112614"/>
                      </a:lnTo>
                      <a:lnTo>
                        <a:pt x="658634" y="1118047"/>
                      </a:lnTo>
                      <a:lnTo>
                        <a:pt x="653804" y="1118047"/>
                      </a:lnTo>
                      <a:lnTo>
                        <a:pt x="653200" y="1121669"/>
                      </a:lnTo>
                      <a:lnTo>
                        <a:pt x="661048" y="1127706"/>
                      </a:lnTo>
                      <a:lnTo>
                        <a:pt x="662256" y="1134951"/>
                      </a:lnTo>
                      <a:lnTo>
                        <a:pt x="667085" y="1139780"/>
                      </a:lnTo>
                      <a:lnTo>
                        <a:pt x="668293" y="1142195"/>
                      </a:lnTo>
                      <a:lnTo>
                        <a:pt x="666482" y="1147628"/>
                      </a:lnTo>
                      <a:lnTo>
                        <a:pt x="669500" y="1152458"/>
                      </a:lnTo>
                      <a:lnTo>
                        <a:pt x="667085" y="1156080"/>
                      </a:lnTo>
                      <a:lnTo>
                        <a:pt x="664671" y="1151854"/>
                      </a:lnTo>
                      <a:lnTo>
                        <a:pt x="658634" y="1147628"/>
                      </a:lnTo>
                      <a:lnTo>
                        <a:pt x="659841" y="1142799"/>
                      </a:lnTo>
                      <a:lnTo>
                        <a:pt x="658030" y="1138573"/>
                      </a:lnTo>
                      <a:lnTo>
                        <a:pt x="651389" y="1138573"/>
                      </a:lnTo>
                      <a:lnTo>
                        <a:pt x="647163" y="1136762"/>
                      </a:lnTo>
                      <a:lnTo>
                        <a:pt x="645956" y="1130725"/>
                      </a:lnTo>
                      <a:lnTo>
                        <a:pt x="642938" y="1127706"/>
                      </a:lnTo>
                      <a:lnTo>
                        <a:pt x="644145" y="1122877"/>
                      </a:lnTo>
                      <a:lnTo>
                        <a:pt x="644145" y="1118047"/>
                      </a:lnTo>
                      <a:lnTo>
                        <a:pt x="644749" y="1104162"/>
                      </a:lnTo>
                      <a:lnTo>
                        <a:pt x="646560" y="1102955"/>
                      </a:lnTo>
                      <a:lnTo>
                        <a:pt x="647163" y="1098125"/>
                      </a:lnTo>
                      <a:lnTo>
                        <a:pt x="650786" y="1099332"/>
                      </a:lnTo>
                      <a:close/>
                      <a:moveTo>
                        <a:pt x="625430" y="1095710"/>
                      </a:moveTo>
                      <a:lnTo>
                        <a:pt x="630260" y="1101747"/>
                      </a:lnTo>
                      <a:lnTo>
                        <a:pt x="632675" y="1103558"/>
                      </a:lnTo>
                      <a:lnTo>
                        <a:pt x="632071" y="1107784"/>
                      </a:lnTo>
                      <a:lnTo>
                        <a:pt x="625430" y="1101747"/>
                      </a:lnTo>
                      <a:lnTo>
                        <a:pt x="625430" y="1095710"/>
                      </a:lnTo>
                      <a:close/>
                      <a:moveTo>
                        <a:pt x="632071" y="1080618"/>
                      </a:moveTo>
                      <a:lnTo>
                        <a:pt x="632675" y="1082429"/>
                      </a:lnTo>
                      <a:lnTo>
                        <a:pt x="633278" y="1085448"/>
                      </a:lnTo>
                      <a:lnTo>
                        <a:pt x="635089" y="1087862"/>
                      </a:lnTo>
                      <a:lnTo>
                        <a:pt x="634486" y="1092692"/>
                      </a:lnTo>
                      <a:lnTo>
                        <a:pt x="637504" y="1095710"/>
                      </a:lnTo>
                      <a:lnTo>
                        <a:pt x="630260" y="1100540"/>
                      </a:lnTo>
                      <a:lnTo>
                        <a:pt x="629656" y="1094503"/>
                      </a:lnTo>
                      <a:lnTo>
                        <a:pt x="625430" y="1092692"/>
                      </a:lnTo>
                      <a:lnTo>
                        <a:pt x="624223" y="1087259"/>
                      </a:lnTo>
                      <a:lnTo>
                        <a:pt x="625430" y="1084844"/>
                      </a:lnTo>
                      <a:lnTo>
                        <a:pt x="625430" y="1073374"/>
                      </a:lnTo>
                      <a:lnTo>
                        <a:pt x="626638" y="1066129"/>
                      </a:lnTo>
                      <a:lnTo>
                        <a:pt x="630260" y="1061904"/>
                      </a:lnTo>
                      <a:lnTo>
                        <a:pt x="632675" y="1061904"/>
                      </a:lnTo>
                      <a:lnTo>
                        <a:pt x="634486" y="1068544"/>
                      </a:lnTo>
                      <a:lnTo>
                        <a:pt x="634486" y="1073977"/>
                      </a:lnTo>
                      <a:lnTo>
                        <a:pt x="632071" y="1075789"/>
                      </a:lnTo>
                      <a:lnTo>
                        <a:pt x="632675" y="1079411"/>
                      </a:lnTo>
                      <a:lnTo>
                        <a:pt x="633278" y="1078203"/>
                      </a:lnTo>
                      <a:lnTo>
                        <a:pt x="632675" y="1076996"/>
                      </a:lnTo>
                      <a:lnTo>
                        <a:pt x="634486" y="1074581"/>
                      </a:lnTo>
                      <a:lnTo>
                        <a:pt x="636297" y="1069752"/>
                      </a:lnTo>
                      <a:lnTo>
                        <a:pt x="634486" y="1067337"/>
                      </a:lnTo>
                      <a:lnTo>
                        <a:pt x="632675" y="1059489"/>
                      </a:lnTo>
                      <a:lnTo>
                        <a:pt x="637504" y="1058281"/>
                      </a:lnTo>
                      <a:lnTo>
                        <a:pt x="644749" y="1061904"/>
                      </a:lnTo>
                      <a:lnTo>
                        <a:pt x="646560" y="1065526"/>
                      </a:lnTo>
                      <a:lnTo>
                        <a:pt x="649578" y="1076996"/>
                      </a:lnTo>
                      <a:lnTo>
                        <a:pt x="653200" y="1080014"/>
                      </a:lnTo>
                      <a:lnTo>
                        <a:pt x="651993" y="1086655"/>
                      </a:lnTo>
                      <a:lnTo>
                        <a:pt x="653804" y="1089070"/>
                      </a:lnTo>
                      <a:lnTo>
                        <a:pt x="647767" y="1092692"/>
                      </a:lnTo>
                      <a:lnTo>
                        <a:pt x="646560" y="1101144"/>
                      </a:lnTo>
                      <a:lnTo>
                        <a:pt x="643541" y="1105369"/>
                      </a:lnTo>
                      <a:lnTo>
                        <a:pt x="642334" y="1115029"/>
                      </a:lnTo>
                      <a:lnTo>
                        <a:pt x="639919" y="1115029"/>
                      </a:lnTo>
                      <a:lnTo>
                        <a:pt x="635089" y="1109595"/>
                      </a:lnTo>
                      <a:lnTo>
                        <a:pt x="632675" y="1099936"/>
                      </a:lnTo>
                      <a:lnTo>
                        <a:pt x="636901" y="1096918"/>
                      </a:lnTo>
                      <a:lnTo>
                        <a:pt x="638712" y="1098125"/>
                      </a:lnTo>
                      <a:lnTo>
                        <a:pt x="638712" y="1093899"/>
                      </a:lnTo>
                      <a:lnTo>
                        <a:pt x="635089" y="1092088"/>
                      </a:lnTo>
                      <a:lnTo>
                        <a:pt x="637504" y="1089070"/>
                      </a:lnTo>
                      <a:lnTo>
                        <a:pt x="634486" y="1084844"/>
                      </a:lnTo>
                      <a:lnTo>
                        <a:pt x="633882" y="1083033"/>
                      </a:lnTo>
                      <a:lnTo>
                        <a:pt x="632071" y="1080618"/>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sp>
              <p:nvSpPr>
                <p:cNvPr id="2515" name="Jammu and Kashmir" descr="{&quot;Key&quot;:&quot;jammu and kashmir&quot;,&quot;Name&quot;:&quot;Jammu and Kashmir&quot;,&quot;Value&quot;:1.0,&quot;Formula&quot;:&quot;&quot;,&quot;Text&quot;:&quot;&quot;,&quot;OfficeApplication&quot;:1,&quot;HasValue&quot;:true}">
                  <a:extLst>
                    <a:ext uri="{FF2B5EF4-FFF2-40B4-BE49-F238E27FC236}">
                      <a16:creationId xmlns:a16="http://schemas.microsoft.com/office/drawing/2014/main" id="{F88D2903-EB73-43C9-9869-FDC5AB76B675}"/>
                    </a:ext>
                  </a:extLst>
                </p:cNvPr>
                <p:cNvSpPr/>
                <p:nvPr/>
              </p:nvSpPr>
              <p:spPr>
                <a:xfrm>
                  <a:off x="3978834" y="6037"/>
                  <a:ext cx="1605835" cy="1201357"/>
                </a:xfrm>
                <a:custGeom>
                  <a:avLst/>
                  <a:gdLst>
                    <a:gd name="connsiteX0" fmla="*/ 1209809 w 1605834"/>
                    <a:gd name="connsiteY0" fmla="*/ 1143402 h 1201357"/>
                    <a:gd name="connsiteX1" fmla="*/ 1208602 w 1605834"/>
                    <a:gd name="connsiteY1" fmla="*/ 1144610 h 1201357"/>
                    <a:gd name="connsiteX2" fmla="*/ 1204376 w 1605834"/>
                    <a:gd name="connsiteY2" fmla="*/ 1147628 h 1201357"/>
                    <a:gd name="connsiteX3" fmla="*/ 1194717 w 1605834"/>
                    <a:gd name="connsiteY3" fmla="*/ 1156684 h 1201357"/>
                    <a:gd name="connsiteX4" fmla="*/ 1194113 w 1605834"/>
                    <a:gd name="connsiteY4" fmla="*/ 1156080 h 1201357"/>
                    <a:gd name="connsiteX5" fmla="*/ 1192906 w 1605834"/>
                    <a:gd name="connsiteY5" fmla="*/ 1154873 h 1201357"/>
                    <a:gd name="connsiteX6" fmla="*/ 1188076 w 1605834"/>
                    <a:gd name="connsiteY6" fmla="*/ 1149439 h 1201357"/>
                    <a:gd name="connsiteX7" fmla="*/ 1192906 w 1605834"/>
                    <a:gd name="connsiteY7" fmla="*/ 1143402 h 1201357"/>
                    <a:gd name="connsiteX8" fmla="*/ 1192302 w 1605834"/>
                    <a:gd name="connsiteY8" fmla="*/ 1131932 h 1201357"/>
                    <a:gd name="connsiteX9" fmla="*/ 1196528 w 1605834"/>
                    <a:gd name="connsiteY9" fmla="*/ 1131329 h 1201357"/>
                    <a:gd name="connsiteX10" fmla="*/ 1211017 w 1605834"/>
                    <a:gd name="connsiteY10" fmla="*/ 1120462 h 1201357"/>
                    <a:gd name="connsiteX11" fmla="*/ 1207394 w 1605834"/>
                    <a:gd name="connsiteY11" fmla="*/ 1117444 h 1201357"/>
                    <a:gd name="connsiteX12" fmla="*/ 1206187 w 1605834"/>
                    <a:gd name="connsiteY12" fmla="*/ 1108388 h 1201357"/>
                    <a:gd name="connsiteX13" fmla="*/ 1206791 w 1605834"/>
                    <a:gd name="connsiteY13" fmla="*/ 1101747 h 1201357"/>
                    <a:gd name="connsiteX14" fmla="*/ 1209206 w 1605834"/>
                    <a:gd name="connsiteY14" fmla="*/ 1097522 h 1201357"/>
                    <a:gd name="connsiteX15" fmla="*/ 1207394 w 1605834"/>
                    <a:gd name="connsiteY15" fmla="*/ 1093296 h 1201357"/>
                    <a:gd name="connsiteX16" fmla="*/ 1207998 w 1605834"/>
                    <a:gd name="connsiteY16" fmla="*/ 1086655 h 1201357"/>
                    <a:gd name="connsiteX17" fmla="*/ 1206187 w 1605834"/>
                    <a:gd name="connsiteY17" fmla="*/ 1086051 h 1201357"/>
                    <a:gd name="connsiteX18" fmla="*/ 1204376 w 1605834"/>
                    <a:gd name="connsiteY18" fmla="*/ 1086051 h 1201357"/>
                    <a:gd name="connsiteX19" fmla="*/ 1201961 w 1605834"/>
                    <a:gd name="connsiteY19" fmla="*/ 1086051 h 1201357"/>
                    <a:gd name="connsiteX20" fmla="*/ 1190491 w 1605834"/>
                    <a:gd name="connsiteY20" fmla="*/ 1092692 h 1201357"/>
                    <a:gd name="connsiteX21" fmla="*/ 1191698 w 1605834"/>
                    <a:gd name="connsiteY21" fmla="*/ 1098729 h 1201357"/>
                    <a:gd name="connsiteX22" fmla="*/ 1179624 w 1605834"/>
                    <a:gd name="connsiteY22" fmla="*/ 1102955 h 1201357"/>
                    <a:gd name="connsiteX23" fmla="*/ 1177210 w 1605834"/>
                    <a:gd name="connsiteY23" fmla="*/ 1107784 h 1201357"/>
                    <a:gd name="connsiteX24" fmla="*/ 1172380 w 1605834"/>
                    <a:gd name="connsiteY24" fmla="*/ 1110803 h 1201357"/>
                    <a:gd name="connsiteX25" fmla="*/ 1168758 w 1605834"/>
                    <a:gd name="connsiteY25" fmla="*/ 1110803 h 1201357"/>
                    <a:gd name="connsiteX26" fmla="*/ 1168154 w 1605834"/>
                    <a:gd name="connsiteY26" fmla="*/ 1108992 h 1201357"/>
                    <a:gd name="connsiteX27" fmla="*/ 1168154 w 1605834"/>
                    <a:gd name="connsiteY27" fmla="*/ 1108992 h 1201357"/>
                    <a:gd name="connsiteX28" fmla="*/ 1166343 w 1605834"/>
                    <a:gd name="connsiteY28" fmla="*/ 1107784 h 1201357"/>
                    <a:gd name="connsiteX29" fmla="*/ 1163325 w 1605834"/>
                    <a:gd name="connsiteY29" fmla="*/ 1107181 h 1201357"/>
                    <a:gd name="connsiteX30" fmla="*/ 1162721 w 1605834"/>
                    <a:gd name="connsiteY30" fmla="*/ 1107181 h 1201357"/>
                    <a:gd name="connsiteX31" fmla="*/ 1159702 w 1605834"/>
                    <a:gd name="connsiteY31" fmla="*/ 1108992 h 1201357"/>
                    <a:gd name="connsiteX32" fmla="*/ 1157891 w 1605834"/>
                    <a:gd name="connsiteY32" fmla="*/ 1114425 h 1201357"/>
                    <a:gd name="connsiteX33" fmla="*/ 1155477 w 1605834"/>
                    <a:gd name="connsiteY33" fmla="*/ 1115632 h 1201357"/>
                    <a:gd name="connsiteX34" fmla="*/ 1153665 w 1605834"/>
                    <a:gd name="connsiteY34" fmla="*/ 1114425 h 1201357"/>
                    <a:gd name="connsiteX35" fmla="*/ 1153062 w 1605834"/>
                    <a:gd name="connsiteY35" fmla="*/ 1113821 h 1201357"/>
                    <a:gd name="connsiteX36" fmla="*/ 1151854 w 1605834"/>
                    <a:gd name="connsiteY36" fmla="*/ 1111407 h 1201357"/>
                    <a:gd name="connsiteX37" fmla="*/ 1150043 w 1605834"/>
                    <a:gd name="connsiteY37" fmla="*/ 1111407 h 1201357"/>
                    <a:gd name="connsiteX38" fmla="*/ 1148836 w 1605834"/>
                    <a:gd name="connsiteY38" fmla="*/ 1112614 h 1201357"/>
                    <a:gd name="connsiteX39" fmla="*/ 1147628 w 1605834"/>
                    <a:gd name="connsiteY39" fmla="*/ 1113821 h 1201357"/>
                    <a:gd name="connsiteX40" fmla="*/ 1146421 w 1605834"/>
                    <a:gd name="connsiteY40" fmla="*/ 1115029 h 1201357"/>
                    <a:gd name="connsiteX41" fmla="*/ 1145214 w 1605834"/>
                    <a:gd name="connsiteY41" fmla="*/ 1120462 h 1201357"/>
                    <a:gd name="connsiteX42" fmla="*/ 1137969 w 1605834"/>
                    <a:gd name="connsiteY42" fmla="*/ 1119858 h 1201357"/>
                    <a:gd name="connsiteX43" fmla="*/ 1139780 w 1605834"/>
                    <a:gd name="connsiteY43" fmla="*/ 1126499 h 1201357"/>
                    <a:gd name="connsiteX44" fmla="*/ 1137366 w 1605834"/>
                    <a:gd name="connsiteY44" fmla="*/ 1129518 h 1201357"/>
                    <a:gd name="connsiteX45" fmla="*/ 1127706 w 1605834"/>
                    <a:gd name="connsiteY45" fmla="*/ 1129518 h 1201357"/>
                    <a:gd name="connsiteX46" fmla="*/ 1126499 w 1605834"/>
                    <a:gd name="connsiteY46" fmla="*/ 1128310 h 1201357"/>
                    <a:gd name="connsiteX47" fmla="*/ 1126499 w 1605834"/>
                    <a:gd name="connsiteY47" fmla="*/ 1128310 h 1201357"/>
                    <a:gd name="connsiteX48" fmla="*/ 1126499 w 1605834"/>
                    <a:gd name="connsiteY48" fmla="*/ 1127103 h 1201357"/>
                    <a:gd name="connsiteX49" fmla="*/ 1123480 w 1605834"/>
                    <a:gd name="connsiteY49" fmla="*/ 1122273 h 1201357"/>
                    <a:gd name="connsiteX50" fmla="*/ 1121669 w 1605834"/>
                    <a:gd name="connsiteY50" fmla="*/ 1116840 h 1201357"/>
                    <a:gd name="connsiteX51" fmla="*/ 1118651 w 1605834"/>
                    <a:gd name="connsiteY51" fmla="*/ 1114425 h 1201357"/>
                    <a:gd name="connsiteX52" fmla="*/ 1115029 w 1605834"/>
                    <a:gd name="connsiteY52" fmla="*/ 1107181 h 1201357"/>
                    <a:gd name="connsiteX53" fmla="*/ 1111407 w 1605834"/>
                    <a:gd name="connsiteY53" fmla="*/ 1102955 h 1201357"/>
                    <a:gd name="connsiteX54" fmla="*/ 1114425 w 1605834"/>
                    <a:gd name="connsiteY54" fmla="*/ 1086051 h 1201357"/>
                    <a:gd name="connsiteX55" fmla="*/ 1110803 w 1605834"/>
                    <a:gd name="connsiteY55" fmla="*/ 1083033 h 1201357"/>
                    <a:gd name="connsiteX56" fmla="*/ 1108992 w 1605834"/>
                    <a:gd name="connsiteY56" fmla="*/ 1083033 h 1201357"/>
                    <a:gd name="connsiteX57" fmla="*/ 1107784 w 1605834"/>
                    <a:gd name="connsiteY57" fmla="*/ 1083033 h 1201357"/>
                    <a:gd name="connsiteX58" fmla="*/ 1107181 w 1605834"/>
                    <a:gd name="connsiteY58" fmla="*/ 1083033 h 1201357"/>
                    <a:gd name="connsiteX59" fmla="*/ 1105973 w 1605834"/>
                    <a:gd name="connsiteY59" fmla="*/ 1082429 h 1201357"/>
                    <a:gd name="connsiteX60" fmla="*/ 1104162 w 1605834"/>
                    <a:gd name="connsiteY60" fmla="*/ 1079411 h 1201357"/>
                    <a:gd name="connsiteX61" fmla="*/ 1103559 w 1605834"/>
                    <a:gd name="connsiteY61" fmla="*/ 1073977 h 1201357"/>
                    <a:gd name="connsiteX62" fmla="*/ 1101144 w 1605834"/>
                    <a:gd name="connsiteY62" fmla="*/ 1071563 h 1201357"/>
                    <a:gd name="connsiteX63" fmla="*/ 1095107 w 1605834"/>
                    <a:gd name="connsiteY63" fmla="*/ 1067337 h 1201357"/>
                    <a:gd name="connsiteX64" fmla="*/ 1093899 w 1605834"/>
                    <a:gd name="connsiteY64" fmla="*/ 1067337 h 1201357"/>
                    <a:gd name="connsiteX65" fmla="*/ 1093296 w 1605834"/>
                    <a:gd name="connsiteY65" fmla="*/ 1068544 h 1201357"/>
                    <a:gd name="connsiteX66" fmla="*/ 1093296 w 1605834"/>
                    <a:gd name="connsiteY66" fmla="*/ 1068544 h 1201357"/>
                    <a:gd name="connsiteX67" fmla="*/ 1092088 w 1605834"/>
                    <a:gd name="connsiteY67" fmla="*/ 1068544 h 1201357"/>
                    <a:gd name="connsiteX68" fmla="*/ 1090881 w 1605834"/>
                    <a:gd name="connsiteY68" fmla="*/ 1066733 h 1201357"/>
                    <a:gd name="connsiteX69" fmla="*/ 1090277 w 1605834"/>
                    <a:gd name="connsiteY69" fmla="*/ 1066129 h 1201357"/>
                    <a:gd name="connsiteX70" fmla="*/ 1087862 w 1605834"/>
                    <a:gd name="connsiteY70" fmla="*/ 1064318 h 1201357"/>
                    <a:gd name="connsiteX71" fmla="*/ 1082429 w 1605834"/>
                    <a:gd name="connsiteY71" fmla="*/ 1061300 h 1201357"/>
                    <a:gd name="connsiteX72" fmla="*/ 1083033 w 1605834"/>
                    <a:gd name="connsiteY72" fmla="*/ 1057074 h 1201357"/>
                    <a:gd name="connsiteX73" fmla="*/ 1087259 w 1605834"/>
                    <a:gd name="connsiteY73" fmla="*/ 1054659 h 1201357"/>
                    <a:gd name="connsiteX74" fmla="*/ 1088466 w 1605834"/>
                    <a:gd name="connsiteY74" fmla="*/ 1051037 h 1201357"/>
                    <a:gd name="connsiteX75" fmla="*/ 1081825 w 1605834"/>
                    <a:gd name="connsiteY75" fmla="*/ 1046207 h 1201357"/>
                    <a:gd name="connsiteX76" fmla="*/ 1072166 w 1605834"/>
                    <a:gd name="connsiteY76" fmla="*/ 1034737 h 1201357"/>
                    <a:gd name="connsiteX77" fmla="*/ 1068544 w 1605834"/>
                    <a:gd name="connsiteY77" fmla="*/ 1033530 h 1201357"/>
                    <a:gd name="connsiteX78" fmla="*/ 1065526 w 1605834"/>
                    <a:gd name="connsiteY78" fmla="*/ 1033530 h 1201357"/>
                    <a:gd name="connsiteX79" fmla="*/ 1064922 w 1605834"/>
                    <a:gd name="connsiteY79" fmla="*/ 1032926 h 1201357"/>
                    <a:gd name="connsiteX80" fmla="*/ 1064318 w 1605834"/>
                    <a:gd name="connsiteY80" fmla="*/ 1032926 h 1201357"/>
                    <a:gd name="connsiteX81" fmla="*/ 1062507 w 1605834"/>
                    <a:gd name="connsiteY81" fmla="*/ 1031115 h 1201357"/>
                    <a:gd name="connsiteX82" fmla="*/ 1061903 w 1605834"/>
                    <a:gd name="connsiteY82" fmla="*/ 1032926 h 1201357"/>
                    <a:gd name="connsiteX83" fmla="*/ 1061903 w 1605834"/>
                    <a:gd name="connsiteY83" fmla="*/ 1034133 h 1201357"/>
                    <a:gd name="connsiteX84" fmla="*/ 1061300 w 1605834"/>
                    <a:gd name="connsiteY84" fmla="*/ 1035341 h 1201357"/>
                    <a:gd name="connsiteX85" fmla="*/ 1059489 w 1605834"/>
                    <a:gd name="connsiteY85" fmla="*/ 1038359 h 1201357"/>
                    <a:gd name="connsiteX86" fmla="*/ 1054055 w 1605834"/>
                    <a:gd name="connsiteY86" fmla="*/ 1041378 h 1201357"/>
                    <a:gd name="connsiteX87" fmla="*/ 1048018 w 1605834"/>
                    <a:gd name="connsiteY87" fmla="*/ 1041981 h 1201357"/>
                    <a:gd name="connsiteX88" fmla="*/ 1047415 w 1605834"/>
                    <a:gd name="connsiteY88" fmla="*/ 1041981 h 1201357"/>
                    <a:gd name="connsiteX89" fmla="*/ 1047415 w 1605834"/>
                    <a:gd name="connsiteY89" fmla="*/ 1041981 h 1201357"/>
                    <a:gd name="connsiteX90" fmla="*/ 1042585 w 1605834"/>
                    <a:gd name="connsiteY90" fmla="*/ 1047415 h 1201357"/>
                    <a:gd name="connsiteX91" fmla="*/ 1038359 w 1605834"/>
                    <a:gd name="connsiteY91" fmla="*/ 1049226 h 1201357"/>
                    <a:gd name="connsiteX92" fmla="*/ 1032322 w 1605834"/>
                    <a:gd name="connsiteY92" fmla="*/ 1055866 h 1201357"/>
                    <a:gd name="connsiteX93" fmla="*/ 1026889 w 1605834"/>
                    <a:gd name="connsiteY93" fmla="*/ 1057074 h 1201357"/>
                    <a:gd name="connsiteX94" fmla="*/ 1025078 w 1605834"/>
                    <a:gd name="connsiteY94" fmla="*/ 1055866 h 1201357"/>
                    <a:gd name="connsiteX95" fmla="*/ 1025078 w 1605834"/>
                    <a:gd name="connsiteY95" fmla="*/ 1055866 h 1201357"/>
                    <a:gd name="connsiteX96" fmla="*/ 1025078 w 1605834"/>
                    <a:gd name="connsiteY96" fmla="*/ 1055866 h 1201357"/>
                    <a:gd name="connsiteX97" fmla="*/ 1022663 w 1605834"/>
                    <a:gd name="connsiteY97" fmla="*/ 1057678 h 1201357"/>
                    <a:gd name="connsiteX98" fmla="*/ 1019041 w 1605834"/>
                    <a:gd name="connsiteY98" fmla="*/ 1061300 h 1201357"/>
                    <a:gd name="connsiteX99" fmla="*/ 1017833 w 1605834"/>
                    <a:gd name="connsiteY99" fmla="*/ 1061300 h 1201357"/>
                    <a:gd name="connsiteX100" fmla="*/ 1016022 w 1605834"/>
                    <a:gd name="connsiteY100" fmla="*/ 1060696 h 1201357"/>
                    <a:gd name="connsiteX101" fmla="*/ 1014815 w 1605834"/>
                    <a:gd name="connsiteY101" fmla="*/ 1060696 h 1201357"/>
                    <a:gd name="connsiteX102" fmla="*/ 1013004 w 1605834"/>
                    <a:gd name="connsiteY102" fmla="*/ 1056470 h 1201357"/>
                    <a:gd name="connsiteX103" fmla="*/ 1011193 w 1605834"/>
                    <a:gd name="connsiteY103" fmla="*/ 1057678 h 1201357"/>
                    <a:gd name="connsiteX104" fmla="*/ 1010589 w 1605834"/>
                    <a:gd name="connsiteY104" fmla="*/ 1057678 h 1201357"/>
                    <a:gd name="connsiteX105" fmla="*/ 1009382 w 1605834"/>
                    <a:gd name="connsiteY105" fmla="*/ 1057678 h 1201357"/>
                    <a:gd name="connsiteX106" fmla="*/ 1008174 w 1605834"/>
                    <a:gd name="connsiteY106" fmla="*/ 1057074 h 1201357"/>
                    <a:gd name="connsiteX107" fmla="*/ 1008174 w 1605834"/>
                    <a:gd name="connsiteY107" fmla="*/ 1057074 h 1201357"/>
                    <a:gd name="connsiteX108" fmla="*/ 1007571 w 1605834"/>
                    <a:gd name="connsiteY108" fmla="*/ 1056470 h 1201357"/>
                    <a:gd name="connsiteX109" fmla="*/ 1006967 w 1605834"/>
                    <a:gd name="connsiteY109" fmla="*/ 1055866 h 1201357"/>
                    <a:gd name="connsiteX110" fmla="*/ 1006363 w 1605834"/>
                    <a:gd name="connsiteY110" fmla="*/ 1055866 h 1201357"/>
                    <a:gd name="connsiteX111" fmla="*/ 1005156 w 1605834"/>
                    <a:gd name="connsiteY111" fmla="*/ 1056470 h 1201357"/>
                    <a:gd name="connsiteX112" fmla="*/ 1004552 w 1605834"/>
                    <a:gd name="connsiteY112" fmla="*/ 1056470 h 1201357"/>
                    <a:gd name="connsiteX113" fmla="*/ 1003345 w 1605834"/>
                    <a:gd name="connsiteY113" fmla="*/ 1057074 h 1201357"/>
                    <a:gd name="connsiteX114" fmla="*/ 999119 w 1605834"/>
                    <a:gd name="connsiteY114" fmla="*/ 1062507 h 1201357"/>
                    <a:gd name="connsiteX115" fmla="*/ 998515 w 1605834"/>
                    <a:gd name="connsiteY115" fmla="*/ 1070355 h 1201357"/>
                    <a:gd name="connsiteX116" fmla="*/ 994289 w 1605834"/>
                    <a:gd name="connsiteY116" fmla="*/ 1072770 h 1201357"/>
                    <a:gd name="connsiteX117" fmla="*/ 992478 w 1605834"/>
                    <a:gd name="connsiteY117" fmla="*/ 1072166 h 1201357"/>
                    <a:gd name="connsiteX118" fmla="*/ 991271 w 1605834"/>
                    <a:gd name="connsiteY118" fmla="*/ 1071563 h 1201357"/>
                    <a:gd name="connsiteX119" fmla="*/ 988252 w 1605834"/>
                    <a:gd name="connsiteY119" fmla="*/ 1063714 h 1201357"/>
                    <a:gd name="connsiteX120" fmla="*/ 981612 w 1605834"/>
                    <a:gd name="connsiteY120" fmla="*/ 1062507 h 1201357"/>
                    <a:gd name="connsiteX121" fmla="*/ 978593 w 1605834"/>
                    <a:gd name="connsiteY121" fmla="*/ 1057678 h 1201357"/>
                    <a:gd name="connsiteX122" fmla="*/ 976782 w 1605834"/>
                    <a:gd name="connsiteY122" fmla="*/ 1059489 h 1201357"/>
                    <a:gd name="connsiteX123" fmla="*/ 976178 w 1605834"/>
                    <a:gd name="connsiteY123" fmla="*/ 1060696 h 1201357"/>
                    <a:gd name="connsiteX124" fmla="*/ 974367 w 1605834"/>
                    <a:gd name="connsiteY124" fmla="*/ 1060696 h 1201357"/>
                    <a:gd name="connsiteX125" fmla="*/ 973764 w 1605834"/>
                    <a:gd name="connsiteY125" fmla="*/ 1059489 h 1201357"/>
                    <a:gd name="connsiteX126" fmla="*/ 973764 w 1605834"/>
                    <a:gd name="connsiteY126" fmla="*/ 1059489 h 1201357"/>
                    <a:gd name="connsiteX127" fmla="*/ 971952 w 1605834"/>
                    <a:gd name="connsiteY127" fmla="*/ 1057678 h 1201357"/>
                    <a:gd name="connsiteX128" fmla="*/ 971349 w 1605834"/>
                    <a:gd name="connsiteY128" fmla="*/ 1057074 h 1201357"/>
                    <a:gd name="connsiteX129" fmla="*/ 972556 w 1605834"/>
                    <a:gd name="connsiteY129" fmla="*/ 1055866 h 1201357"/>
                    <a:gd name="connsiteX130" fmla="*/ 967123 w 1605834"/>
                    <a:gd name="connsiteY130" fmla="*/ 1051037 h 1201357"/>
                    <a:gd name="connsiteX131" fmla="*/ 962293 w 1605834"/>
                    <a:gd name="connsiteY131" fmla="*/ 1049226 h 1201357"/>
                    <a:gd name="connsiteX132" fmla="*/ 961086 w 1605834"/>
                    <a:gd name="connsiteY132" fmla="*/ 1044396 h 1201357"/>
                    <a:gd name="connsiteX133" fmla="*/ 958671 w 1605834"/>
                    <a:gd name="connsiteY133" fmla="*/ 1046207 h 1201357"/>
                    <a:gd name="connsiteX134" fmla="*/ 958067 w 1605834"/>
                    <a:gd name="connsiteY134" fmla="*/ 1046811 h 1201357"/>
                    <a:gd name="connsiteX135" fmla="*/ 958067 w 1605834"/>
                    <a:gd name="connsiteY135" fmla="*/ 1047415 h 1201357"/>
                    <a:gd name="connsiteX136" fmla="*/ 958067 w 1605834"/>
                    <a:gd name="connsiteY136" fmla="*/ 1048018 h 1201357"/>
                    <a:gd name="connsiteX137" fmla="*/ 957464 w 1605834"/>
                    <a:gd name="connsiteY137" fmla="*/ 1049226 h 1201357"/>
                    <a:gd name="connsiteX138" fmla="*/ 956256 w 1605834"/>
                    <a:gd name="connsiteY138" fmla="*/ 1047415 h 1201357"/>
                    <a:gd name="connsiteX139" fmla="*/ 955653 w 1605834"/>
                    <a:gd name="connsiteY139" fmla="*/ 1045000 h 1201357"/>
                    <a:gd name="connsiteX140" fmla="*/ 955049 w 1605834"/>
                    <a:gd name="connsiteY140" fmla="*/ 1043792 h 1201357"/>
                    <a:gd name="connsiteX141" fmla="*/ 955049 w 1605834"/>
                    <a:gd name="connsiteY141" fmla="*/ 1038359 h 1201357"/>
                    <a:gd name="connsiteX142" fmla="*/ 953238 w 1605834"/>
                    <a:gd name="connsiteY142" fmla="*/ 1038359 h 1201357"/>
                    <a:gd name="connsiteX143" fmla="*/ 953238 w 1605834"/>
                    <a:gd name="connsiteY143" fmla="*/ 1032322 h 1201357"/>
                    <a:gd name="connsiteX144" fmla="*/ 945994 w 1605834"/>
                    <a:gd name="connsiteY144" fmla="*/ 1031115 h 1201357"/>
                    <a:gd name="connsiteX145" fmla="*/ 945994 w 1605834"/>
                    <a:gd name="connsiteY145" fmla="*/ 1031718 h 1201357"/>
                    <a:gd name="connsiteX146" fmla="*/ 944786 w 1605834"/>
                    <a:gd name="connsiteY146" fmla="*/ 1033530 h 1201357"/>
                    <a:gd name="connsiteX147" fmla="*/ 940560 w 1605834"/>
                    <a:gd name="connsiteY147" fmla="*/ 1034133 h 1201357"/>
                    <a:gd name="connsiteX148" fmla="*/ 939957 w 1605834"/>
                    <a:gd name="connsiteY148" fmla="*/ 1033530 h 1201357"/>
                    <a:gd name="connsiteX149" fmla="*/ 938749 w 1605834"/>
                    <a:gd name="connsiteY149" fmla="*/ 1031115 h 1201357"/>
                    <a:gd name="connsiteX150" fmla="*/ 936938 w 1605834"/>
                    <a:gd name="connsiteY150" fmla="*/ 1031115 h 1201357"/>
                    <a:gd name="connsiteX151" fmla="*/ 932109 w 1605834"/>
                    <a:gd name="connsiteY151" fmla="*/ 1028096 h 1201357"/>
                    <a:gd name="connsiteX152" fmla="*/ 930297 w 1605834"/>
                    <a:gd name="connsiteY152" fmla="*/ 1028700 h 1201357"/>
                    <a:gd name="connsiteX153" fmla="*/ 930297 w 1605834"/>
                    <a:gd name="connsiteY153" fmla="*/ 1028700 h 1201357"/>
                    <a:gd name="connsiteX154" fmla="*/ 929090 w 1605834"/>
                    <a:gd name="connsiteY154" fmla="*/ 1029304 h 1201357"/>
                    <a:gd name="connsiteX155" fmla="*/ 924864 w 1605834"/>
                    <a:gd name="connsiteY155" fmla="*/ 1030511 h 1201357"/>
                    <a:gd name="connsiteX156" fmla="*/ 923053 w 1605834"/>
                    <a:gd name="connsiteY156" fmla="*/ 1029304 h 1201357"/>
                    <a:gd name="connsiteX157" fmla="*/ 923053 w 1605834"/>
                    <a:gd name="connsiteY157" fmla="*/ 1029304 h 1201357"/>
                    <a:gd name="connsiteX158" fmla="*/ 922449 w 1605834"/>
                    <a:gd name="connsiteY158" fmla="*/ 1028700 h 1201357"/>
                    <a:gd name="connsiteX159" fmla="*/ 921242 w 1605834"/>
                    <a:gd name="connsiteY159" fmla="*/ 1027493 h 1201357"/>
                    <a:gd name="connsiteX160" fmla="*/ 918223 w 1605834"/>
                    <a:gd name="connsiteY160" fmla="*/ 1025682 h 1201357"/>
                    <a:gd name="connsiteX161" fmla="*/ 917016 w 1605834"/>
                    <a:gd name="connsiteY161" fmla="*/ 1024474 h 1201357"/>
                    <a:gd name="connsiteX162" fmla="*/ 907357 w 1605834"/>
                    <a:gd name="connsiteY162" fmla="*/ 1018437 h 1201357"/>
                    <a:gd name="connsiteX163" fmla="*/ 902527 w 1605834"/>
                    <a:gd name="connsiteY163" fmla="*/ 1008174 h 1201357"/>
                    <a:gd name="connsiteX164" fmla="*/ 901320 w 1605834"/>
                    <a:gd name="connsiteY164" fmla="*/ 1003345 h 1201357"/>
                    <a:gd name="connsiteX165" fmla="*/ 897698 w 1605834"/>
                    <a:gd name="connsiteY165" fmla="*/ 998515 h 1201357"/>
                    <a:gd name="connsiteX166" fmla="*/ 895887 w 1605834"/>
                    <a:gd name="connsiteY166" fmla="*/ 999119 h 1201357"/>
                    <a:gd name="connsiteX167" fmla="*/ 894679 w 1605834"/>
                    <a:gd name="connsiteY167" fmla="*/ 1000326 h 1201357"/>
                    <a:gd name="connsiteX168" fmla="*/ 892868 w 1605834"/>
                    <a:gd name="connsiteY168" fmla="*/ 999723 h 1201357"/>
                    <a:gd name="connsiteX169" fmla="*/ 891661 w 1605834"/>
                    <a:gd name="connsiteY169" fmla="*/ 999119 h 1201357"/>
                    <a:gd name="connsiteX170" fmla="*/ 891661 w 1605834"/>
                    <a:gd name="connsiteY170" fmla="*/ 999119 h 1201357"/>
                    <a:gd name="connsiteX171" fmla="*/ 890453 w 1605834"/>
                    <a:gd name="connsiteY171" fmla="*/ 998515 h 1201357"/>
                    <a:gd name="connsiteX172" fmla="*/ 884416 w 1605834"/>
                    <a:gd name="connsiteY172" fmla="*/ 989460 h 1201357"/>
                    <a:gd name="connsiteX173" fmla="*/ 883209 w 1605834"/>
                    <a:gd name="connsiteY173" fmla="*/ 984630 h 1201357"/>
                    <a:gd name="connsiteX174" fmla="*/ 884416 w 1605834"/>
                    <a:gd name="connsiteY174" fmla="*/ 979801 h 1201357"/>
                    <a:gd name="connsiteX175" fmla="*/ 887435 w 1605834"/>
                    <a:gd name="connsiteY175" fmla="*/ 977386 h 1201357"/>
                    <a:gd name="connsiteX176" fmla="*/ 886228 w 1605834"/>
                    <a:gd name="connsiteY176" fmla="*/ 973160 h 1201357"/>
                    <a:gd name="connsiteX177" fmla="*/ 889850 w 1605834"/>
                    <a:gd name="connsiteY177" fmla="*/ 967727 h 1201357"/>
                    <a:gd name="connsiteX178" fmla="*/ 888039 w 1605834"/>
                    <a:gd name="connsiteY178" fmla="*/ 965916 h 1201357"/>
                    <a:gd name="connsiteX179" fmla="*/ 887435 w 1605834"/>
                    <a:gd name="connsiteY179" fmla="*/ 965916 h 1201357"/>
                    <a:gd name="connsiteX180" fmla="*/ 886831 w 1605834"/>
                    <a:gd name="connsiteY180" fmla="*/ 967123 h 1201357"/>
                    <a:gd name="connsiteX181" fmla="*/ 886228 w 1605834"/>
                    <a:gd name="connsiteY181" fmla="*/ 967123 h 1201357"/>
                    <a:gd name="connsiteX182" fmla="*/ 885624 w 1605834"/>
                    <a:gd name="connsiteY182" fmla="*/ 967727 h 1201357"/>
                    <a:gd name="connsiteX183" fmla="*/ 885020 w 1605834"/>
                    <a:gd name="connsiteY183" fmla="*/ 968934 h 1201357"/>
                    <a:gd name="connsiteX184" fmla="*/ 884416 w 1605834"/>
                    <a:gd name="connsiteY184" fmla="*/ 968934 h 1201357"/>
                    <a:gd name="connsiteX185" fmla="*/ 883209 w 1605834"/>
                    <a:gd name="connsiteY185" fmla="*/ 968330 h 1201357"/>
                    <a:gd name="connsiteX186" fmla="*/ 882002 w 1605834"/>
                    <a:gd name="connsiteY186" fmla="*/ 967123 h 1201357"/>
                    <a:gd name="connsiteX187" fmla="*/ 880794 w 1605834"/>
                    <a:gd name="connsiteY187" fmla="*/ 965312 h 1201357"/>
                    <a:gd name="connsiteX188" fmla="*/ 878983 w 1605834"/>
                    <a:gd name="connsiteY188" fmla="*/ 964708 h 1201357"/>
                    <a:gd name="connsiteX189" fmla="*/ 877172 w 1605834"/>
                    <a:gd name="connsiteY189" fmla="*/ 964708 h 1201357"/>
                    <a:gd name="connsiteX190" fmla="*/ 875965 w 1605834"/>
                    <a:gd name="connsiteY190" fmla="*/ 964708 h 1201357"/>
                    <a:gd name="connsiteX191" fmla="*/ 874757 w 1605834"/>
                    <a:gd name="connsiteY191" fmla="*/ 965916 h 1201357"/>
                    <a:gd name="connsiteX192" fmla="*/ 875965 w 1605834"/>
                    <a:gd name="connsiteY192" fmla="*/ 968330 h 1201357"/>
                    <a:gd name="connsiteX193" fmla="*/ 875361 w 1605834"/>
                    <a:gd name="connsiteY193" fmla="*/ 971952 h 1201357"/>
                    <a:gd name="connsiteX194" fmla="*/ 869324 w 1605834"/>
                    <a:gd name="connsiteY194" fmla="*/ 983423 h 1201357"/>
                    <a:gd name="connsiteX195" fmla="*/ 865702 w 1605834"/>
                    <a:gd name="connsiteY195" fmla="*/ 984026 h 1201357"/>
                    <a:gd name="connsiteX196" fmla="*/ 864494 w 1605834"/>
                    <a:gd name="connsiteY196" fmla="*/ 983423 h 1201357"/>
                    <a:gd name="connsiteX197" fmla="*/ 862080 w 1605834"/>
                    <a:gd name="connsiteY197" fmla="*/ 982819 h 1201357"/>
                    <a:gd name="connsiteX198" fmla="*/ 862080 w 1605834"/>
                    <a:gd name="connsiteY198" fmla="*/ 982819 h 1201357"/>
                    <a:gd name="connsiteX199" fmla="*/ 861476 w 1605834"/>
                    <a:gd name="connsiteY199" fmla="*/ 984026 h 1201357"/>
                    <a:gd name="connsiteX200" fmla="*/ 860268 w 1605834"/>
                    <a:gd name="connsiteY200" fmla="*/ 984630 h 1201357"/>
                    <a:gd name="connsiteX201" fmla="*/ 853024 w 1605834"/>
                    <a:gd name="connsiteY201" fmla="*/ 985838 h 1201357"/>
                    <a:gd name="connsiteX202" fmla="*/ 848195 w 1605834"/>
                    <a:gd name="connsiteY202" fmla="*/ 987649 h 1201357"/>
                    <a:gd name="connsiteX203" fmla="*/ 846383 w 1605834"/>
                    <a:gd name="connsiteY203" fmla="*/ 987045 h 1201357"/>
                    <a:gd name="connsiteX204" fmla="*/ 845176 w 1605834"/>
                    <a:gd name="connsiteY204" fmla="*/ 987045 h 1201357"/>
                    <a:gd name="connsiteX205" fmla="*/ 842158 w 1605834"/>
                    <a:gd name="connsiteY205" fmla="*/ 984630 h 1201357"/>
                    <a:gd name="connsiteX206" fmla="*/ 838535 w 1605834"/>
                    <a:gd name="connsiteY206" fmla="*/ 976782 h 1201357"/>
                    <a:gd name="connsiteX207" fmla="*/ 831291 w 1605834"/>
                    <a:gd name="connsiteY207" fmla="*/ 975575 h 1201357"/>
                    <a:gd name="connsiteX208" fmla="*/ 830687 w 1605834"/>
                    <a:gd name="connsiteY208" fmla="*/ 976782 h 1201357"/>
                    <a:gd name="connsiteX209" fmla="*/ 830687 w 1605834"/>
                    <a:gd name="connsiteY209" fmla="*/ 976782 h 1201357"/>
                    <a:gd name="connsiteX210" fmla="*/ 828876 w 1605834"/>
                    <a:gd name="connsiteY210" fmla="*/ 977989 h 1201357"/>
                    <a:gd name="connsiteX211" fmla="*/ 825858 w 1605834"/>
                    <a:gd name="connsiteY211" fmla="*/ 977989 h 1201357"/>
                    <a:gd name="connsiteX212" fmla="*/ 821632 w 1605834"/>
                    <a:gd name="connsiteY212" fmla="*/ 978593 h 1201357"/>
                    <a:gd name="connsiteX213" fmla="*/ 821028 w 1605834"/>
                    <a:gd name="connsiteY213" fmla="*/ 979197 h 1201357"/>
                    <a:gd name="connsiteX214" fmla="*/ 815595 w 1605834"/>
                    <a:gd name="connsiteY214" fmla="*/ 983423 h 1201357"/>
                    <a:gd name="connsiteX215" fmla="*/ 810162 w 1605834"/>
                    <a:gd name="connsiteY215" fmla="*/ 983423 h 1201357"/>
                    <a:gd name="connsiteX216" fmla="*/ 807747 w 1605834"/>
                    <a:gd name="connsiteY216" fmla="*/ 982819 h 1201357"/>
                    <a:gd name="connsiteX217" fmla="*/ 806539 w 1605834"/>
                    <a:gd name="connsiteY217" fmla="*/ 982819 h 1201357"/>
                    <a:gd name="connsiteX218" fmla="*/ 805936 w 1605834"/>
                    <a:gd name="connsiteY218" fmla="*/ 982819 h 1201357"/>
                    <a:gd name="connsiteX219" fmla="*/ 803521 w 1605834"/>
                    <a:gd name="connsiteY219" fmla="*/ 981008 h 1201357"/>
                    <a:gd name="connsiteX220" fmla="*/ 801710 w 1605834"/>
                    <a:gd name="connsiteY220" fmla="*/ 981612 h 1201357"/>
                    <a:gd name="connsiteX221" fmla="*/ 800502 w 1605834"/>
                    <a:gd name="connsiteY221" fmla="*/ 981612 h 1201357"/>
                    <a:gd name="connsiteX222" fmla="*/ 799899 w 1605834"/>
                    <a:gd name="connsiteY222" fmla="*/ 981612 h 1201357"/>
                    <a:gd name="connsiteX223" fmla="*/ 793258 w 1605834"/>
                    <a:gd name="connsiteY223" fmla="*/ 987045 h 1201357"/>
                    <a:gd name="connsiteX224" fmla="*/ 793258 w 1605834"/>
                    <a:gd name="connsiteY224" fmla="*/ 988252 h 1201357"/>
                    <a:gd name="connsiteX225" fmla="*/ 784203 w 1605834"/>
                    <a:gd name="connsiteY225" fmla="*/ 995497 h 1201357"/>
                    <a:gd name="connsiteX226" fmla="*/ 779373 w 1605834"/>
                    <a:gd name="connsiteY226" fmla="*/ 997308 h 1201357"/>
                    <a:gd name="connsiteX227" fmla="*/ 775751 w 1605834"/>
                    <a:gd name="connsiteY227" fmla="*/ 1002137 h 1201357"/>
                    <a:gd name="connsiteX228" fmla="*/ 771525 w 1605834"/>
                    <a:gd name="connsiteY228" fmla="*/ 1014815 h 1201357"/>
                    <a:gd name="connsiteX229" fmla="*/ 767903 w 1605834"/>
                    <a:gd name="connsiteY229" fmla="*/ 1019041 h 1201357"/>
                    <a:gd name="connsiteX230" fmla="*/ 763677 w 1605834"/>
                    <a:gd name="connsiteY230" fmla="*/ 1020852 h 1201357"/>
                    <a:gd name="connsiteX231" fmla="*/ 757640 w 1605834"/>
                    <a:gd name="connsiteY231" fmla="*/ 1020852 h 1201357"/>
                    <a:gd name="connsiteX232" fmla="*/ 750396 w 1605834"/>
                    <a:gd name="connsiteY232" fmla="*/ 1022059 h 1201357"/>
                    <a:gd name="connsiteX233" fmla="*/ 745566 w 1605834"/>
                    <a:gd name="connsiteY233" fmla="*/ 1025078 h 1201357"/>
                    <a:gd name="connsiteX234" fmla="*/ 738322 w 1605834"/>
                    <a:gd name="connsiteY234" fmla="*/ 1025682 h 1201357"/>
                    <a:gd name="connsiteX235" fmla="*/ 735303 w 1605834"/>
                    <a:gd name="connsiteY235" fmla="*/ 1035341 h 1201357"/>
                    <a:gd name="connsiteX236" fmla="*/ 724437 w 1605834"/>
                    <a:gd name="connsiteY236" fmla="*/ 1043189 h 1201357"/>
                    <a:gd name="connsiteX237" fmla="*/ 722626 w 1605834"/>
                    <a:gd name="connsiteY237" fmla="*/ 1047415 h 1201357"/>
                    <a:gd name="connsiteX238" fmla="*/ 719607 w 1605834"/>
                    <a:gd name="connsiteY238" fmla="*/ 1048018 h 1201357"/>
                    <a:gd name="connsiteX239" fmla="*/ 715381 w 1605834"/>
                    <a:gd name="connsiteY239" fmla="*/ 1051641 h 1201357"/>
                    <a:gd name="connsiteX240" fmla="*/ 707533 w 1605834"/>
                    <a:gd name="connsiteY240" fmla="*/ 1055866 h 1201357"/>
                    <a:gd name="connsiteX241" fmla="*/ 705118 w 1605834"/>
                    <a:gd name="connsiteY241" fmla="*/ 1055866 h 1201357"/>
                    <a:gd name="connsiteX242" fmla="*/ 704515 w 1605834"/>
                    <a:gd name="connsiteY242" fmla="*/ 1055263 h 1201357"/>
                    <a:gd name="connsiteX243" fmla="*/ 702704 w 1605834"/>
                    <a:gd name="connsiteY243" fmla="*/ 1052848 h 1201357"/>
                    <a:gd name="connsiteX244" fmla="*/ 700892 w 1605834"/>
                    <a:gd name="connsiteY244" fmla="*/ 1050433 h 1201357"/>
                    <a:gd name="connsiteX245" fmla="*/ 698478 w 1605834"/>
                    <a:gd name="connsiteY245" fmla="*/ 1048018 h 1201357"/>
                    <a:gd name="connsiteX246" fmla="*/ 691233 w 1605834"/>
                    <a:gd name="connsiteY246" fmla="*/ 1044396 h 1201357"/>
                    <a:gd name="connsiteX247" fmla="*/ 684593 w 1605834"/>
                    <a:gd name="connsiteY247" fmla="*/ 1043189 h 1201357"/>
                    <a:gd name="connsiteX248" fmla="*/ 682782 w 1605834"/>
                    <a:gd name="connsiteY248" fmla="*/ 1043792 h 1201357"/>
                    <a:gd name="connsiteX249" fmla="*/ 682178 w 1605834"/>
                    <a:gd name="connsiteY249" fmla="*/ 1043792 h 1201357"/>
                    <a:gd name="connsiteX250" fmla="*/ 679159 w 1605834"/>
                    <a:gd name="connsiteY250" fmla="*/ 1044396 h 1201357"/>
                    <a:gd name="connsiteX251" fmla="*/ 677348 w 1605834"/>
                    <a:gd name="connsiteY251" fmla="*/ 1051037 h 1201357"/>
                    <a:gd name="connsiteX252" fmla="*/ 674934 w 1605834"/>
                    <a:gd name="connsiteY252" fmla="*/ 1053452 h 1201357"/>
                    <a:gd name="connsiteX253" fmla="*/ 676141 w 1605834"/>
                    <a:gd name="connsiteY253" fmla="*/ 1059489 h 1201357"/>
                    <a:gd name="connsiteX254" fmla="*/ 681574 w 1605834"/>
                    <a:gd name="connsiteY254" fmla="*/ 1066129 h 1201357"/>
                    <a:gd name="connsiteX255" fmla="*/ 693044 w 1605834"/>
                    <a:gd name="connsiteY255" fmla="*/ 1072770 h 1201357"/>
                    <a:gd name="connsiteX256" fmla="*/ 697874 w 1605834"/>
                    <a:gd name="connsiteY256" fmla="*/ 1083637 h 1201357"/>
                    <a:gd name="connsiteX257" fmla="*/ 700892 w 1605834"/>
                    <a:gd name="connsiteY257" fmla="*/ 1086655 h 1201357"/>
                    <a:gd name="connsiteX258" fmla="*/ 700289 w 1605834"/>
                    <a:gd name="connsiteY258" fmla="*/ 1095710 h 1201357"/>
                    <a:gd name="connsiteX259" fmla="*/ 697270 w 1605834"/>
                    <a:gd name="connsiteY259" fmla="*/ 1102955 h 1201357"/>
                    <a:gd name="connsiteX260" fmla="*/ 699081 w 1605834"/>
                    <a:gd name="connsiteY260" fmla="*/ 1107784 h 1201357"/>
                    <a:gd name="connsiteX261" fmla="*/ 703307 w 1605834"/>
                    <a:gd name="connsiteY261" fmla="*/ 1111407 h 1201357"/>
                    <a:gd name="connsiteX262" fmla="*/ 702704 w 1605834"/>
                    <a:gd name="connsiteY262" fmla="*/ 1115029 h 1201357"/>
                    <a:gd name="connsiteX263" fmla="*/ 695459 w 1605834"/>
                    <a:gd name="connsiteY263" fmla="*/ 1127706 h 1201357"/>
                    <a:gd name="connsiteX264" fmla="*/ 688818 w 1605834"/>
                    <a:gd name="connsiteY264" fmla="*/ 1136158 h 1201357"/>
                    <a:gd name="connsiteX265" fmla="*/ 686404 w 1605834"/>
                    <a:gd name="connsiteY265" fmla="*/ 1139177 h 1201357"/>
                    <a:gd name="connsiteX266" fmla="*/ 685196 w 1605834"/>
                    <a:gd name="connsiteY266" fmla="*/ 1140988 h 1201357"/>
                    <a:gd name="connsiteX267" fmla="*/ 682782 w 1605834"/>
                    <a:gd name="connsiteY267" fmla="*/ 1147628 h 1201357"/>
                    <a:gd name="connsiteX268" fmla="*/ 678556 w 1605834"/>
                    <a:gd name="connsiteY268" fmla="*/ 1153062 h 1201357"/>
                    <a:gd name="connsiteX269" fmla="*/ 673122 w 1605834"/>
                    <a:gd name="connsiteY269" fmla="*/ 1156080 h 1201357"/>
                    <a:gd name="connsiteX270" fmla="*/ 665878 w 1605834"/>
                    <a:gd name="connsiteY270" fmla="*/ 1157288 h 1201357"/>
                    <a:gd name="connsiteX271" fmla="*/ 659237 w 1605834"/>
                    <a:gd name="connsiteY271" fmla="*/ 1169965 h 1201357"/>
                    <a:gd name="connsiteX272" fmla="*/ 653804 w 1605834"/>
                    <a:gd name="connsiteY272" fmla="*/ 1174191 h 1201357"/>
                    <a:gd name="connsiteX273" fmla="*/ 645956 w 1605834"/>
                    <a:gd name="connsiteY273" fmla="*/ 1177210 h 1201357"/>
                    <a:gd name="connsiteX274" fmla="*/ 634486 w 1605834"/>
                    <a:gd name="connsiteY274" fmla="*/ 1179021 h 1201357"/>
                    <a:gd name="connsiteX275" fmla="*/ 629052 w 1605834"/>
                    <a:gd name="connsiteY275" fmla="*/ 1180832 h 1201357"/>
                    <a:gd name="connsiteX276" fmla="*/ 621204 w 1605834"/>
                    <a:gd name="connsiteY276" fmla="*/ 1186869 h 1201357"/>
                    <a:gd name="connsiteX277" fmla="*/ 618790 w 1605834"/>
                    <a:gd name="connsiteY277" fmla="*/ 1198943 h 1201357"/>
                    <a:gd name="connsiteX278" fmla="*/ 616375 w 1605834"/>
                    <a:gd name="connsiteY278" fmla="*/ 1203169 h 1201357"/>
                    <a:gd name="connsiteX279" fmla="*/ 613960 w 1605834"/>
                    <a:gd name="connsiteY279" fmla="*/ 1203772 h 1201357"/>
                    <a:gd name="connsiteX280" fmla="*/ 613356 w 1605834"/>
                    <a:gd name="connsiteY280" fmla="*/ 1202565 h 1201357"/>
                    <a:gd name="connsiteX281" fmla="*/ 613356 w 1605834"/>
                    <a:gd name="connsiteY281" fmla="*/ 1201961 h 1201357"/>
                    <a:gd name="connsiteX282" fmla="*/ 613356 w 1605834"/>
                    <a:gd name="connsiteY282" fmla="*/ 1195924 h 1201357"/>
                    <a:gd name="connsiteX283" fmla="*/ 608527 w 1605834"/>
                    <a:gd name="connsiteY283" fmla="*/ 1194113 h 1201357"/>
                    <a:gd name="connsiteX284" fmla="*/ 609734 w 1605834"/>
                    <a:gd name="connsiteY284" fmla="*/ 1189284 h 1201357"/>
                    <a:gd name="connsiteX285" fmla="*/ 608527 w 1605834"/>
                    <a:gd name="connsiteY285" fmla="*/ 1189284 h 1201357"/>
                    <a:gd name="connsiteX286" fmla="*/ 606716 w 1605834"/>
                    <a:gd name="connsiteY286" fmla="*/ 1190491 h 1201357"/>
                    <a:gd name="connsiteX287" fmla="*/ 606112 w 1605834"/>
                    <a:gd name="connsiteY287" fmla="*/ 1190491 h 1201357"/>
                    <a:gd name="connsiteX288" fmla="*/ 597660 w 1605834"/>
                    <a:gd name="connsiteY288" fmla="*/ 1192906 h 1201357"/>
                    <a:gd name="connsiteX289" fmla="*/ 595849 w 1605834"/>
                    <a:gd name="connsiteY289" fmla="*/ 1192906 h 1201357"/>
                    <a:gd name="connsiteX290" fmla="*/ 594038 w 1605834"/>
                    <a:gd name="connsiteY290" fmla="*/ 1192302 h 1201357"/>
                    <a:gd name="connsiteX291" fmla="*/ 591623 w 1605834"/>
                    <a:gd name="connsiteY291" fmla="*/ 1192302 h 1201357"/>
                    <a:gd name="connsiteX292" fmla="*/ 580757 w 1605834"/>
                    <a:gd name="connsiteY292" fmla="*/ 1187472 h 1201357"/>
                    <a:gd name="connsiteX293" fmla="*/ 579549 w 1605834"/>
                    <a:gd name="connsiteY293" fmla="*/ 1188680 h 1201357"/>
                    <a:gd name="connsiteX294" fmla="*/ 578946 w 1605834"/>
                    <a:gd name="connsiteY294" fmla="*/ 1188680 h 1201357"/>
                    <a:gd name="connsiteX295" fmla="*/ 575927 w 1605834"/>
                    <a:gd name="connsiteY295" fmla="*/ 1188680 h 1201357"/>
                    <a:gd name="connsiteX296" fmla="*/ 574720 w 1605834"/>
                    <a:gd name="connsiteY296" fmla="*/ 1190491 h 1201357"/>
                    <a:gd name="connsiteX297" fmla="*/ 568683 w 1605834"/>
                    <a:gd name="connsiteY297" fmla="*/ 1185661 h 1201357"/>
                    <a:gd name="connsiteX298" fmla="*/ 568079 w 1605834"/>
                    <a:gd name="connsiteY298" fmla="*/ 1182643 h 1201357"/>
                    <a:gd name="connsiteX299" fmla="*/ 562042 w 1605834"/>
                    <a:gd name="connsiteY299" fmla="*/ 1183247 h 1201357"/>
                    <a:gd name="connsiteX300" fmla="*/ 562042 w 1605834"/>
                    <a:gd name="connsiteY300" fmla="*/ 1178417 h 1201357"/>
                    <a:gd name="connsiteX301" fmla="*/ 557816 w 1605834"/>
                    <a:gd name="connsiteY301" fmla="*/ 1179021 h 1201357"/>
                    <a:gd name="connsiteX302" fmla="*/ 552987 w 1605834"/>
                    <a:gd name="connsiteY302" fmla="*/ 1175398 h 1201357"/>
                    <a:gd name="connsiteX303" fmla="*/ 549968 w 1605834"/>
                    <a:gd name="connsiteY303" fmla="*/ 1176606 h 1201357"/>
                    <a:gd name="connsiteX304" fmla="*/ 548157 w 1605834"/>
                    <a:gd name="connsiteY304" fmla="*/ 1169361 h 1201357"/>
                    <a:gd name="connsiteX305" fmla="*/ 542724 w 1605834"/>
                    <a:gd name="connsiteY305" fmla="*/ 1169965 h 1201357"/>
                    <a:gd name="connsiteX306" fmla="*/ 536083 w 1605834"/>
                    <a:gd name="connsiteY306" fmla="*/ 1173587 h 1201357"/>
                    <a:gd name="connsiteX307" fmla="*/ 534272 w 1605834"/>
                    <a:gd name="connsiteY307" fmla="*/ 1163325 h 1201357"/>
                    <a:gd name="connsiteX308" fmla="*/ 531254 w 1605834"/>
                    <a:gd name="connsiteY308" fmla="*/ 1156684 h 1201357"/>
                    <a:gd name="connsiteX309" fmla="*/ 527631 w 1605834"/>
                    <a:gd name="connsiteY309" fmla="*/ 1159099 h 1201357"/>
                    <a:gd name="connsiteX310" fmla="*/ 523405 w 1605834"/>
                    <a:gd name="connsiteY310" fmla="*/ 1156080 h 1201357"/>
                    <a:gd name="connsiteX311" fmla="*/ 519783 w 1605834"/>
                    <a:gd name="connsiteY311" fmla="*/ 1156080 h 1201357"/>
                    <a:gd name="connsiteX312" fmla="*/ 516161 w 1605834"/>
                    <a:gd name="connsiteY312" fmla="*/ 1153062 h 1201357"/>
                    <a:gd name="connsiteX313" fmla="*/ 513143 w 1605834"/>
                    <a:gd name="connsiteY313" fmla="*/ 1153665 h 1201357"/>
                    <a:gd name="connsiteX314" fmla="*/ 512539 w 1605834"/>
                    <a:gd name="connsiteY314" fmla="*/ 1157891 h 1201357"/>
                    <a:gd name="connsiteX315" fmla="*/ 508313 w 1605834"/>
                    <a:gd name="connsiteY315" fmla="*/ 1162721 h 1201357"/>
                    <a:gd name="connsiteX316" fmla="*/ 500465 w 1605834"/>
                    <a:gd name="connsiteY316" fmla="*/ 1162721 h 1201357"/>
                    <a:gd name="connsiteX317" fmla="*/ 495635 w 1605834"/>
                    <a:gd name="connsiteY317" fmla="*/ 1159099 h 1201357"/>
                    <a:gd name="connsiteX318" fmla="*/ 487184 w 1605834"/>
                    <a:gd name="connsiteY318" fmla="*/ 1159702 h 1201357"/>
                    <a:gd name="connsiteX319" fmla="*/ 483561 w 1605834"/>
                    <a:gd name="connsiteY319" fmla="*/ 1154269 h 1201357"/>
                    <a:gd name="connsiteX320" fmla="*/ 477524 w 1605834"/>
                    <a:gd name="connsiteY320" fmla="*/ 1154269 h 1201357"/>
                    <a:gd name="connsiteX321" fmla="*/ 470884 w 1605834"/>
                    <a:gd name="connsiteY321" fmla="*/ 1153062 h 1201357"/>
                    <a:gd name="connsiteX322" fmla="*/ 470280 w 1605834"/>
                    <a:gd name="connsiteY322" fmla="*/ 1156080 h 1201357"/>
                    <a:gd name="connsiteX323" fmla="*/ 463639 w 1605834"/>
                    <a:gd name="connsiteY323" fmla="*/ 1157288 h 1201357"/>
                    <a:gd name="connsiteX324" fmla="*/ 449754 w 1605834"/>
                    <a:gd name="connsiteY324" fmla="*/ 1156684 h 1201357"/>
                    <a:gd name="connsiteX325" fmla="*/ 449151 w 1605834"/>
                    <a:gd name="connsiteY325" fmla="*/ 1153665 h 1201357"/>
                    <a:gd name="connsiteX326" fmla="*/ 444321 w 1605834"/>
                    <a:gd name="connsiteY326" fmla="*/ 1154269 h 1201357"/>
                    <a:gd name="connsiteX327" fmla="*/ 443114 w 1605834"/>
                    <a:gd name="connsiteY327" fmla="*/ 1149439 h 1201357"/>
                    <a:gd name="connsiteX328" fmla="*/ 445529 w 1605834"/>
                    <a:gd name="connsiteY328" fmla="*/ 1144610 h 1201357"/>
                    <a:gd name="connsiteX329" fmla="*/ 439492 w 1605834"/>
                    <a:gd name="connsiteY329" fmla="*/ 1140384 h 1201357"/>
                    <a:gd name="connsiteX330" fmla="*/ 437680 w 1605834"/>
                    <a:gd name="connsiteY330" fmla="*/ 1136158 h 1201357"/>
                    <a:gd name="connsiteX331" fmla="*/ 437077 w 1605834"/>
                    <a:gd name="connsiteY331" fmla="*/ 1128310 h 1201357"/>
                    <a:gd name="connsiteX332" fmla="*/ 434058 w 1605834"/>
                    <a:gd name="connsiteY332" fmla="*/ 1124688 h 1201357"/>
                    <a:gd name="connsiteX333" fmla="*/ 437077 w 1605834"/>
                    <a:gd name="connsiteY333" fmla="*/ 1122273 h 1201357"/>
                    <a:gd name="connsiteX334" fmla="*/ 437680 w 1605834"/>
                    <a:gd name="connsiteY334" fmla="*/ 1118047 h 1201357"/>
                    <a:gd name="connsiteX335" fmla="*/ 446132 w 1605834"/>
                    <a:gd name="connsiteY335" fmla="*/ 1112010 h 1201357"/>
                    <a:gd name="connsiteX336" fmla="*/ 442510 w 1605834"/>
                    <a:gd name="connsiteY336" fmla="*/ 1108388 h 1201357"/>
                    <a:gd name="connsiteX337" fmla="*/ 439492 w 1605834"/>
                    <a:gd name="connsiteY337" fmla="*/ 1107784 h 1201357"/>
                    <a:gd name="connsiteX338" fmla="*/ 437077 w 1605834"/>
                    <a:gd name="connsiteY338" fmla="*/ 1101747 h 1201357"/>
                    <a:gd name="connsiteX339" fmla="*/ 438888 w 1605834"/>
                    <a:gd name="connsiteY339" fmla="*/ 1094503 h 1201357"/>
                    <a:gd name="connsiteX340" fmla="*/ 441303 w 1605834"/>
                    <a:gd name="connsiteY340" fmla="*/ 1089673 h 1201357"/>
                    <a:gd name="connsiteX341" fmla="*/ 444321 w 1605834"/>
                    <a:gd name="connsiteY341" fmla="*/ 1079411 h 1201357"/>
                    <a:gd name="connsiteX342" fmla="*/ 447340 w 1605834"/>
                    <a:gd name="connsiteY342" fmla="*/ 1073977 h 1201357"/>
                    <a:gd name="connsiteX343" fmla="*/ 448547 w 1605834"/>
                    <a:gd name="connsiteY343" fmla="*/ 1069148 h 1201357"/>
                    <a:gd name="connsiteX344" fmla="*/ 437680 w 1605834"/>
                    <a:gd name="connsiteY344" fmla="*/ 1069751 h 1201357"/>
                    <a:gd name="connsiteX345" fmla="*/ 433455 w 1605834"/>
                    <a:gd name="connsiteY345" fmla="*/ 1076392 h 1201357"/>
                    <a:gd name="connsiteX346" fmla="*/ 438284 w 1605834"/>
                    <a:gd name="connsiteY346" fmla="*/ 1081222 h 1201357"/>
                    <a:gd name="connsiteX347" fmla="*/ 434058 w 1605834"/>
                    <a:gd name="connsiteY347" fmla="*/ 1081825 h 1201357"/>
                    <a:gd name="connsiteX348" fmla="*/ 430436 w 1605834"/>
                    <a:gd name="connsiteY348" fmla="*/ 1087862 h 1201357"/>
                    <a:gd name="connsiteX349" fmla="*/ 424399 w 1605834"/>
                    <a:gd name="connsiteY349" fmla="*/ 1089673 h 1201357"/>
                    <a:gd name="connsiteX350" fmla="*/ 417758 w 1605834"/>
                    <a:gd name="connsiteY350" fmla="*/ 1086655 h 1201357"/>
                    <a:gd name="connsiteX351" fmla="*/ 415344 w 1605834"/>
                    <a:gd name="connsiteY351" fmla="*/ 1090881 h 1201357"/>
                    <a:gd name="connsiteX352" fmla="*/ 412325 w 1605834"/>
                    <a:gd name="connsiteY352" fmla="*/ 1091485 h 1201357"/>
                    <a:gd name="connsiteX353" fmla="*/ 407496 w 1605834"/>
                    <a:gd name="connsiteY353" fmla="*/ 1089673 h 1201357"/>
                    <a:gd name="connsiteX354" fmla="*/ 405685 w 1605834"/>
                    <a:gd name="connsiteY354" fmla="*/ 1085448 h 1201357"/>
                    <a:gd name="connsiteX355" fmla="*/ 403270 w 1605834"/>
                    <a:gd name="connsiteY355" fmla="*/ 1086051 h 1201357"/>
                    <a:gd name="connsiteX356" fmla="*/ 396629 w 1605834"/>
                    <a:gd name="connsiteY356" fmla="*/ 1080014 h 1201357"/>
                    <a:gd name="connsiteX357" fmla="*/ 391799 w 1605834"/>
                    <a:gd name="connsiteY357" fmla="*/ 1081825 h 1201357"/>
                    <a:gd name="connsiteX358" fmla="*/ 386366 w 1605834"/>
                    <a:gd name="connsiteY358" fmla="*/ 1081825 h 1201357"/>
                    <a:gd name="connsiteX359" fmla="*/ 382744 w 1605834"/>
                    <a:gd name="connsiteY359" fmla="*/ 1086655 h 1201357"/>
                    <a:gd name="connsiteX360" fmla="*/ 377311 w 1605834"/>
                    <a:gd name="connsiteY360" fmla="*/ 1086051 h 1201357"/>
                    <a:gd name="connsiteX361" fmla="*/ 371274 w 1605834"/>
                    <a:gd name="connsiteY361" fmla="*/ 1082429 h 1201357"/>
                    <a:gd name="connsiteX362" fmla="*/ 365237 w 1605834"/>
                    <a:gd name="connsiteY362" fmla="*/ 1075185 h 1201357"/>
                    <a:gd name="connsiteX363" fmla="*/ 365840 w 1605834"/>
                    <a:gd name="connsiteY363" fmla="*/ 1071563 h 1201357"/>
                    <a:gd name="connsiteX364" fmla="*/ 361615 w 1605834"/>
                    <a:gd name="connsiteY364" fmla="*/ 1069148 h 1201357"/>
                    <a:gd name="connsiteX365" fmla="*/ 357389 w 1605834"/>
                    <a:gd name="connsiteY365" fmla="*/ 1069148 h 1201357"/>
                    <a:gd name="connsiteX366" fmla="*/ 355578 w 1605834"/>
                    <a:gd name="connsiteY366" fmla="*/ 1066733 h 1201357"/>
                    <a:gd name="connsiteX367" fmla="*/ 347730 w 1605834"/>
                    <a:gd name="connsiteY367" fmla="*/ 1065526 h 1201357"/>
                    <a:gd name="connsiteX368" fmla="*/ 344711 w 1605834"/>
                    <a:gd name="connsiteY368" fmla="*/ 1059489 h 1201357"/>
                    <a:gd name="connsiteX369" fmla="*/ 338674 w 1605834"/>
                    <a:gd name="connsiteY369" fmla="*/ 1055866 h 1201357"/>
                    <a:gd name="connsiteX370" fmla="*/ 335656 w 1605834"/>
                    <a:gd name="connsiteY370" fmla="*/ 1055866 h 1201357"/>
                    <a:gd name="connsiteX371" fmla="*/ 328411 w 1605834"/>
                    <a:gd name="connsiteY371" fmla="*/ 1052848 h 1201357"/>
                    <a:gd name="connsiteX372" fmla="*/ 326600 w 1605834"/>
                    <a:gd name="connsiteY372" fmla="*/ 1053452 h 1201357"/>
                    <a:gd name="connsiteX373" fmla="*/ 320563 w 1605834"/>
                    <a:gd name="connsiteY373" fmla="*/ 1050433 h 1201357"/>
                    <a:gd name="connsiteX374" fmla="*/ 315130 w 1605834"/>
                    <a:gd name="connsiteY374" fmla="*/ 1049829 h 1201357"/>
                    <a:gd name="connsiteX375" fmla="*/ 313923 w 1605834"/>
                    <a:gd name="connsiteY375" fmla="*/ 1044396 h 1201357"/>
                    <a:gd name="connsiteX376" fmla="*/ 306074 w 1605834"/>
                    <a:gd name="connsiteY376" fmla="*/ 1044396 h 1201357"/>
                    <a:gd name="connsiteX377" fmla="*/ 300641 w 1605834"/>
                    <a:gd name="connsiteY377" fmla="*/ 1043189 h 1201357"/>
                    <a:gd name="connsiteX378" fmla="*/ 302452 w 1605834"/>
                    <a:gd name="connsiteY378" fmla="*/ 1037152 h 1201357"/>
                    <a:gd name="connsiteX379" fmla="*/ 297019 w 1605834"/>
                    <a:gd name="connsiteY379" fmla="*/ 1035341 h 1201357"/>
                    <a:gd name="connsiteX380" fmla="*/ 294604 w 1605834"/>
                    <a:gd name="connsiteY380" fmla="*/ 1030511 h 1201357"/>
                    <a:gd name="connsiteX381" fmla="*/ 287360 w 1605834"/>
                    <a:gd name="connsiteY381" fmla="*/ 1031115 h 1201357"/>
                    <a:gd name="connsiteX382" fmla="*/ 281927 w 1605834"/>
                    <a:gd name="connsiteY382" fmla="*/ 1026889 h 1201357"/>
                    <a:gd name="connsiteX383" fmla="*/ 266230 w 1605834"/>
                    <a:gd name="connsiteY383" fmla="*/ 1025682 h 1201357"/>
                    <a:gd name="connsiteX384" fmla="*/ 263212 w 1605834"/>
                    <a:gd name="connsiteY384" fmla="*/ 1034133 h 1201357"/>
                    <a:gd name="connsiteX385" fmla="*/ 260193 w 1605834"/>
                    <a:gd name="connsiteY385" fmla="*/ 1035341 h 1201357"/>
                    <a:gd name="connsiteX386" fmla="*/ 257175 w 1605834"/>
                    <a:gd name="connsiteY386" fmla="*/ 1033530 h 1201357"/>
                    <a:gd name="connsiteX387" fmla="*/ 259590 w 1605834"/>
                    <a:gd name="connsiteY387" fmla="*/ 1028096 h 1201357"/>
                    <a:gd name="connsiteX388" fmla="*/ 249327 w 1605834"/>
                    <a:gd name="connsiteY388" fmla="*/ 1016626 h 1201357"/>
                    <a:gd name="connsiteX389" fmla="*/ 248120 w 1605834"/>
                    <a:gd name="connsiteY389" fmla="*/ 1011193 h 1201357"/>
                    <a:gd name="connsiteX390" fmla="*/ 239668 w 1605834"/>
                    <a:gd name="connsiteY390" fmla="*/ 1005760 h 1201357"/>
                    <a:gd name="connsiteX391" fmla="*/ 232423 w 1605834"/>
                    <a:gd name="connsiteY391" fmla="*/ 1006363 h 1201357"/>
                    <a:gd name="connsiteX392" fmla="*/ 226990 w 1605834"/>
                    <a:gd name="connsiteY392" fmla="*/ 1005760 h 1201357"/>
                    <a:gd name="connsiteX393" fmla="*/ 225783 w 1605834"/>
                    <a:gd name="connsiteY393" fmla="*/ 1002741 h 1201357"/>
                    <a:gd name="connsiteX394" fmla="*/ 225783 w 1605834"/>
                    <a:gd name="connsiteY394" fmla="*/ 993082 h 1201357"/>
                    <a:gd name="connsiteX395" fmla="*/ 228198 w 1605834"/>
                    <a:gd name="connsiteY395" fmla="*/ 991271 h 1201357"/>
                    <a:gd name="connsiteX396" fmla="*/ 231820 w 1605834"/>
                    <a:gd name="connsiteY396" fmla="*/ 985838 h 1201357"/>
                    <a:gd name="connsiteX397" fmla="*/ 232423 w 1605834"/>
                    <a:gd name="connsiteY397" fmla="*/ 975575 h 1201357"/>
                    <a:gd name="connsiteX398" fmla="*/ 225783 w 1605834"/>
                    <a:gd name="connsiteY398" fmla="*/ 973160 h 1201357"/>
                    <a:gd name="connsiteX399" fmla="*/ 225783 w 1605834"/>
                    <a:gd name="connsiteY399" fmla="*/ 968934 h 1201357"/>
                    <a:gd name="connsiteX400" fmla="*/ 221557 w 1605834"/>
                    <a:gd name="connsiteY400" fmla="*/ 965312 h 1201357"/>
                    <a:gd name="connsiteX401" fmla="*/ 219746 w 1605834"/>
                    <a:gd name="connsiteY401" fmla="*/ 958671 h 1201357"/>
                    <a:gd name="connsiteX402" fmla="*/ 220953 w 1605834"/>
                    <a:gd name="connsiteY402" fmla="*/ 955653 h 1201357"/>
                    <a:gd name="connsiteX403" fmla="*/ 217935 w 1605834"/>
                    <a:gd name="connsiteY403" fmla="*/ 952030 h 1201357"/>
                    <a:gd name="connsiteX404" fmla="*/ 216727 w 1605834"/>
                    <a:gd name="connsiteY404" fmla="*/ 945993 h 1201357"/>
                    <a:gd name="connsiteX405" fmla="*/ 213105 w 1605834"/>
                    <a:gd name="connsiteY405" fmla="*/ 942975 h 1201357"/>
                    <a:gd name="connsiteX406" fmla="*/ 214313 w 1605834"/>
                    <a:gd name="connsiteY406" fmla="*/ 939353 h 1201357"/>
                    <a:gd name="connsiteX407" fmla="*/ 211898 w 1605834"/>
                    <a:gd name="connsiteY407" fmla="*/ 936938 h 1201357"/>
                    <a:gd name="connsiteX408" fmla="*/ 212501 w 1605834"/>
                    <a:gd name="connsiteY408" fmla="*/ 930901 h 1201357"/>
                    <a:gd name="connsiteX409" fmla="*/ 218538 w 1605834"/>
                    <a:gd name="connsiteY409" fmla="*/ 923657 h 1201357"/>
                    <a:gd name="connsiteX410" fmla="*/ 217935 w 1605834"/>
                    <a:gd name="connsiteY410" fmla="*/ 918223 h 1201357"/>
                    <a:gd name="connsiteX411" fmla="*/ 223972 w 1605834"/>
                    <a:gd name="connsiteY411" fmla="*/ 915809 h 1201357"/>
                    <a:gd name="connsiteX412" fmla="*/ 225783 w 1605834"/>
                    <a:gd name="connsiteY412" fmla="*/ 913998 h 1201357"/>
                    <a:gd name="connsiteX413" fmla="*/ 219746 w 1605834"/>
                    <a:gd name="connsiteY413" fmla="*/ 906753 h 1201357"/>
                    <a:gd name="connsiteX414" fmla="*/ 219746 w 1605834"/>
                    <a:gd name="connsiteY414" fmla="*/ 903131 h 1201357"/>
                    <a:gd name="connsiteX415" fmla="*/ 222161 w 1605834"/>
                    <a:gd name="connsiteY415" fmla="*/ 899509 h 1201357"/>
                    <a:gd name="connsiteX416" fmla="*/ 226990 w 1605834"/>
                    <a:gd name="connsiteY416" fmla="*/ 896490 h 1201357"/>
                    <a:gd name="connsiteX417" fmla="*/ 223972 w 1605834"/>
                    <a:gd name="connsiteY417" fmla="*/ 893472 h 1201357"/>
                    <a:gd name="connsiteX418" fmla="*/ 224575 w 1605834"/>
                    <a:gd name="connsiteY418" fmla="*/ 885020 h 1201357"/>
                    <a:gd name="connsiteX419" fmla="*/ 217935 w 1605834"/>
                    <a:gd name="connsiteY419" fmla="*/ 877776 h 1201357"/>
                    <a:gd name="connsiteX420" fmla="*/ 212501 w 1605834"/>
                    <a:gd name="connsiteY420" fmla="*/ 872946 h 1201357"/>
                    <a:gd name="connsiteX421" fmla="*/ 213709 w 1605834"/>
                    <a:gd name="connsiteY421" fmla="*/ 867513 h 1201357"/>
                    <a:gd name="connsiteX422" fmla="*/ 212501 w 1605834"/>
                    <a:gd name="connsiteY422" fmla="*/ 860269 h 1201357"/>
                    <a:gd name="connsiteX423" fmla="*/ 218538 w 1605834"/>
                    <a:gd name="connsiteY423" fmla="*/ 855439 h 1201357"/>
                    <a:gd name="connsiteX424" fmla="*/ 219746 w 1605834"/>
                    <a:gd name="connsiteY424" fmla="*/ 850609 h 1201357"/>
                    <a:gd name="connsiteX425" fmla="*/ 219142 w 1605834"/>
                    <a:gd name="connsiteY425" fmla="*/ 842158 h 1201357"/>
                    <a:gd name="connsiteX426" fmla="*/ 211898 w 1605834"/>
                    <a:gd name="connsiteY426" fmla="*/ 835517 h 1201357"/>
                    <a:gd name="connsiteX427" fmla="*/ 211898 w 1605834"/>
                    <a:gd name="connsiteY427" fmla="*/ 831895 h 1201357"/>
                    <a:gd name="connsiteX428" fmla="*/ 214916 w 1605834"/>
                    <a:gd name="connsiteY428" fmla="*/ 817406 h 1201357"/>
                    <a:gd name="connsiteX429" fmla="*/ 217331 w 1605834"/>
                    <a:gd name="connsiteY429" fmla="*/ 813784 h 1201357"/>
                    <a:gd name="connsiteX430" fmla="*/ 218538 w 1605834"/>
                    <a:gd name="connsiteY430" fmla="*/ 808351 h 1201357"/>
                    <a:gd name="connsiteX431" fmla="*/ 216124 w 1605834"/>
                    <a:gd name="connsiteY431" fmla="*/ 802314 h 1201357"/>
                    <a:gd name="connsiteX432" fmla="*/ 210087 w 1605834"/>
                    <a:gd name="connsiteY432" fmla="*/ 797484 h 1201357"/>
                    <a:gd name="connsiteX433" fmla="*/ 207068 w 1605834"/>
                    <a:gd name="connsiteY433" fmla="*/ 791447 h 1201357"/>
                    <a:gd name="connsiteX434" fmla="*/ 202842 w 1605834"/>
                    <a:gd name="connsiteY434" fmla="*/ 779977 h 1201357"/>
                    <a:gd name="connsiteX435" fmla="*/ 202842 w 1605834"/>
                    <a:gd name="connsiteY435" fmla="*/ 773336 h 1201357"/>
                    <a:gd name="connsiteX436" fmla="*/ 201635 w 1605834"/>
                    <a:gd name="connsiteY436" fmla="*/ 764884 h 1201357"/>
                    <a:gd name="connsiteX437" fmla="*/ 199220 w 1605834"/>
                    <a:gd name="connsiteY437" fmla="*/ 760055 h 1201357"/>
                    <a:gd name="connsiteX438" fmla="*/ 199220 w 1605834"/>
                    <a:gd name="connsiteY438" fmla="*/ 753414 h 1201357"/>
                    <a:gd name="connsiteX439" fmla="*/ 197409 w 1605834"/>
                    <a:gd name="connsiteY439" fmla="*/ 743755 h 1201357"/>
                    <a:gd name="connsiteX440" fmla="*/ 197409 w 1605834"/>
                    <a:gd name="connsiteY440" fmla="*/ 728663 h 1201357"/>
                    <a:gd name="connsiteX441" fmla="*/ 198013 w 1605834"/>
                    <a:gd name="connsiteY441" fmla="*/ 725040 h 1201357"/>
                    <a:gd name="connsiteX442" fmla="*/ 194994 w 1605834"/>
                    <a:gd name="connsiteY442" fmla="*/ 722022 h 1201357"/>
                    <a:gd name="connsiteX443" fmla="*/ 193787 w 1605834"/>
                    <a:gd name="connsiteY443" fmla="*/ 714174 h 1201357"/>
                    <a:gd name="connsiteX444" fmla="*/ 188354 w 1605834"/>
                    <a:gd name="connsiteY444" fmla="*/ 702704 h 1201357"/>
                    <a:gd name="connsiteX445" fmla="*/ 187146 w 1605834"/>
                    <a:gd name="connsiteY445" fmla="*/ 698478 h 1201357"/>
                    <a:gd name="connsiteX446" fmla="*/ 184128 w 1605834"/>
                    <a:gd name="connsiteY446" fmla="*/ 695459 h 1201357"/>
                    <a:gd name="connsiteX447" fmla="*/ 184731 w 1605834"/>
                    <a:gd name="connsiteY447" fmla="*/ 692441 h 1201357"/>
                    <a:gd name="connsiteX448" fmla="*/ 179298 w 1605834"/>
                    <a:gd name="connsiteY448" fmla="*/ 690630 h 1201357"/>
                    <a:gd name="connsiteX449" fmla="*/ 178091 w 1605834"/>
                    <a:gd name="connsiteY449" fmla="*/ 684593 h 1201357"/>
                    <a:gd name="connsiteX450" fmla="*/ 181109 w 1605834"/>
                    <a:gd name="connsiteY450" fmla="*/ 682178 h 1201357"/>
                    <a:gd name="connsiteX451" fmla="*/ 184128 w 1605834"/>
                    <a:gd name="connsiteY451" fmla="*/ 671311 h 1201357"/>
                    <a:gd name="connsiteX452" fmla="*/ 183524 w 1605834"/>
                    <a:gd name="connsiteY452" fmla="*/ 662860 h 1201357"/>
                    <a:gd name="connsiteX453" fmla="*/ 185939 w 1605834"/>
                    <a:gd name="connsiteY453" fmla="*/ 657426 h 1201357"/>
                    <a:gd name="connsiteX454" fmla="*/ 186542 w 1605834"/>
                    <a:gd name="connsiteY454" fmla="*/ 651993 h 1201357"/>
                    <a:gd name="connsiteX455" fmla="*/ 185335 w 1605834"/>
                    <a:gd name="connsiteY455" fmla="*/ 648975 h 1201357"/>
                    <a:gd name="connsiteX456" fmla="*/ 187750 w 1605834"/>
                    <a:gd name="connsiteY456" fmla="*/ 645956 h 1201357"/>
                    <a:gd name="connsiteX457" fmla="*/ 187750 w 1605834"/>
                    <a:gd name="connsiteY457" fmla="*/ 639315 h 1201357"/>
                    <a:gd name="connsiteX458" fmla="*/ 191372 w 1605834"/>
                    <a:gd name="connsiteY458" fmla="*/ 635693 h 1201357"/>
                    <a:gd name="connsiteX459" fmla="*/ 194994 w 1605834"/>
                    <a:gd name="connsiteY459" fmla="*/ 636901 h 1201357"/>
                    <a:gd name="connsiteX460" fmla="*/ 198013 w 1605834"/>
                    <a:gd name="connsiteY460" fmla="*/ 635693 h 1201357"/>
                    <a:gd name="connsiteX461" fmla="*/ 203446 w 1605834"/>
                    <a:gd name="connsiteY461" fmla="*/ 636901 h 1201357"/>
                    <a:gd name="connsiteX462" fmla="*/ 207068 w 1605834"/>
                    <a:gd name="connsiteY462" fmla="*/ 636297 h 1201357"/>
                    <a:gd name="connsiteX463" fmla="*/ 210690 w 1605834"/>
                    <a:gd name="connsiteY463" fmla="*/ 632675 h 1201357"/>
                    <a:gd name="connsiteX464" fmla="*/ 223972 w 1605834"/>
                    <a:gd name="connsiteY464" fmla="*/ 633882 h 1201357"/>
                    <a:gd name="connsiteX465" fmla="*/ 228198 w 1605834"/>
                    <a:gd name="connsiteY465" fmla="*/ 638712 h 1201357"/>
                    <a:gd name="connsiteX466" fmla="*/ 230612 w 1605834"/>
                    <a:gd name="connsiteY466" fmla="*/ 638712 h 1201357"/>
                    <a:gd name="connsiteX467" fmla="*/ 233027 w 1605834"/>
                    <a:gd name="connsiteY467" fmla="*/ 633278 h 1201357"/>
                    <a:gd name="connsiteX468" fmla="*/ 232423 w 1605834"/>
                    <a:gd name="connsiteY468" fmla="*/ 628449 h 1201357"/>
                    <a:gd name="connsiteX469" fmla="*/ 240272 w 1605834"/>
                    <a:gd name="connsiteY469" fmla="*/ 616979 h 1201357"/>
                    <a:gd name="connsiteX470" fmla="*/ 233631 w 1605834"/>
                    <a:gd name="connsiteY470" fmla="*/ 612753 h 1201357"/>
                    <a:gd name="connsiteX471" fmla="*/ 239668 w 1605834"/>
                    <a:gd name="connsiteY471" fmla="*/ 600679 h 1201357"/>
                    <a:gd name="connsiteX472" fmla="*/ 241479 w 1605834"/>
                    <a:gd name="connsiteY472" fmla="*/ 600679 h 1201357"/>
                    <a:gd name="connsiteX473" fmla="*/ 247516 w 1605834"/>
                    <a:gd name="connsiteY473" fmla="*/ 587397 h 1201357"/>
                    <a:gd name="connsiteX474" fmla="*/ 255968 w 1605834"/>
                    <a:gd name="connsiteY474" fmla="*/ 580757 h 1201357"/>
                    <a:gd name="connsiteX475" fmla="*/ 266230 w 1605834"/>
                    <a:gd name="connsiteY475" fmla="*/ 581360 h 1201357"/>
                    <a:gd name="connsiteX476" fmla="*/ 270456 w 1605834"/>
                    <a:gd name="connsiteY476" fmla="*/ 575927 h 1201357"/>
                    <a:gd name="connsiteX477" fmla="*/ 282530 w 1605834"/>
                    <a:gd name="connsiteY477" fmla="*/ 574720 h 1201357"/>
                    <a:gd name="connsiteX478" fmla="*/ 284945 w 1605834"/>
                    <a:gd name="connsiteY478" fmla="*/ 577135 h 1201357"/>
                    <a:gd name="connsiteX479" fmla="*/ 287964 w 1605834"/>
                    <a:gd name="connsiteY479" fmla="*/ 575323 h 1201357"/>
                    <a:gd name="connsiteX480" fmla="*/ 289775 w 1605834"/>
                    <a:gd name="connsiteY480" fmla="*/ 571701 h 1201357"/>
                    <a:gd name="connsiteX481" fmla="*/ 295812 w 1605834"/>
                    <a:gd name="connsiteY481" fmla="*/ 569286 h 1201357"/>
                    <a:gd name="connsiteX482" fmla="*/ 297019 w 1605834"/>
                    <a:gd name="connsiteY482" fmla="*/ 564457 h 1201357"/>
                    <a:gd name="connsiteX483" fmla="*/ 306678 w 1605834"/>
                    <a:gd name="connsiteY483" fmla="*/ 560835 h 1201357"/>
                    <a:gd name="connsiteX484" fmla="*/ 309093 w 1605834"/>
                    <a:gd name="connsiteY484" fmla="*/ 560835 h 1201357"/>
                    <a:gd name="connsiteX485" fmla="*/ 311508 w 1605834"/>
                    <a:gd name="connsiteY485" fmla="*/ 556609 h 1201357"/>
                    <a:gd name="connsiteX486" fmla="*/ 310904 w 1605834"/>
                    <a:gd name="connsiteY486" fmla="*/ 551176 h 1201357"/>
                    <a:gd name="connsiteX487" fmla="*/ 318148 w 1605834"/>
                    <a:gd name="connsiteY487" fmla="*/ 545742 h 1201357"/>
                    <a:gd name="connsiteX488" fmla="*/ 315734 w 1605834"/>
                    <a:gd name="connsiteY488" fmla="*/ 531254 h 1201357"/>
                    <a:gd name="connsiteX489" fmla="*/ 324185 w 1605834"/>
                    <a:gd name="connsiteY489" fmla="*/ 526424 h 1201357"/>
                    <a:gd name="connsiteX490" fmla="*/ 322978 w 1605834"/>
                    <a:gd name="connsiteY490" fmla="*/ 520991 h 1201357"/>
                    <a:gd name="connsiteX491" fmla="*/ 316941 w 1605834"/>
                    <a:gd name="connsiteY491" fmla="*/ 517368 h 1201357"/>
                    <a:gd name="connsiteX492" fmla="*/ 322374 w 1605834"/>
                    <a:gd name="connsiteY492" fmla="*/ 505295 h 1201357"/>
                    <a:gd name="connsiteX493" fmla="*/ 329619 w 1605834"/>
                    <a:gd name="connsiteY493" fmla="*/ 503483 h 1201357"/>
                    <a:gd name="connsiteX494" fmla="*/ 330826 w 1605834"/>
                    <a:gd name="connsiteY494" fmla="*/ 501069 h 1201357"/>
                    <a:gd name="connsiteX495" fmla="*/ 325393 w 1605834"/>
                    <a:gd name="connsiteY495" fmla="*/ 496843 h 1201357"/>
                    <a:gd name="connsiteX496" fmla="*/ 327204 w 1605834"/>
                    <a:gd name="connsiteY496" fmla="*/ 492013 h 1201357"/>
                    <a:gd name="connsiteX497" fmla="*/ 322374 w 1605834"/>
                    <a:gd name="connsiteY497" fmla="*/ 493221 h 1201357"/>
                    <a:gd name="connsiteX498" fmla="*/ 319356 w 1605834"/>
                    <a:gd name="connsiteY498" fmla="*/ 490806 h 1201357"/>
                    <a:gd name="connsiteX499" fmla="*/ 313319 w 1605834"/>
                    <a:gd name="connsiteY499" fmla="*/ 493221 h 1201357"/>
                    <a:gd name="connsiteX500" fmla="*/ 309093 w 1605834"/>
                    <a:gd name="connsiteY500" fmla="*/ 492013 h 1201357"/>
                    <a:gd name="connsiteX501" fmla="*/ 304867 w 1605834"/>
                    <a:gd name="connsiteY501" fmla="*/ 488391 h 1201357"/>
                    <a:gd name="connsiteX502" fmla="*/ 303056 w 1605834"/>
                    <a:gd name="connsiteY502" fmla="*/ 483561 h 1201357"/>
                    <a:gd name="connsiteX503" fmla="*/ 298830 w 1605834"/>
                    <a:gd name="connsiteY503" fmla="*/ 483561 h 1201357"/>
                    <a:gd name="connsiteX504" fmla="*/ 294604 w 1605834"/>
                    <a:gd name="connsiteY504" fmla="*/ 485976 h 1201357"/>
                    <a:gd name="connsiteX505" fmla="*/ 292793 w 1605834"/>
                    <a:gd name="connsiteY505" fmla="*/ 482958 h 1201357"/>
                    <a:gd name="connsiteX506" fmla="*/ 286152 w 1605834"/>
                    <a:gd name="connsiteY506" fmla="*/ 476317 h 1201357"/>
                    <a:gd name="connsiteX507" fmla="*/ 275286 w 1605834"/>
                    <a:gd name="connsiteY507" fmla="*/ 476921 h 1201357"/>
                    <a:gd name="connsiteX508" fmla="*/ 271664 w 1605834"/>
                    <a:gd name="connsiteY508" fmla="*/ 472091 h 1201357"/>
                    <a:gd name="connsiteX509" fmla="*/ 263816 w 1605834"/>
                    <a:gd name="connsiteY509" fmla="*/ 468469 h 1201357"/>
                    <a:gd name="connsiteX510" fmla="*/ 257175 w 1605834"/>
                    <a:gd name="connsiteY510" fmla="*/ 468469 h 1201357"/>
                    <a:gd name="connsiteX511" fmla="*/ 251138 w 1605834"/>
                    <a:gd name="connsiteY511" fmla="*/ 473902 h 1201357"/>
                    <a:gd name="connsiteX512" fmla="*/ 246308 w 1605834"/>
                    <a:gd name="connsiteY512" fmla="*/ 474506 h 1201357"/>
                    <a:gd name="connsiteX513" fmla="*/ 243894 w 1605834"/>
                    <a:gd name="connsiteY513" fmla="*/ 472091 h 1201357"/>
                    <a:gd name="connsiteX514" fmla="*/ 246308 w 1605834"/>
                    <a:gd name="connsiteY514" fmla="*/ 458810 h 1201357"/>
                    <a:gd name="connsiteX515" fmla="*/ 240875 w 1605834"/>
                    <a:gd name="connsiteY515" fmla="*/ 448547 h 1201357"/>
                    <a:gd name="connsiteX516" fmla="*/ 240875 w 1605834"/>
                    <a:gd name="connsiteY516" fmla="*/ 439492 h 1201357"/>
                    <a:gd name="connsiteX517" fmla="*/ 242686 w 1605834"/>
                    <a:gd name="connsiteY517" fmla="*/ 433455 h 1201357"/>
                    <a:gd name="connsiteX518" fmla="*/ 248120 w 1605834"/>
                    <a:gd name="connsiteY518" fmla="*/ 423192 h 1201357"/>
                    <a:gd name="connsiteX519" fmla="*/ 254156 w 1605834"/>
                    <a:gd name="connsiteY519" fmla="*/ 417155 h 1201357"/>
                    <a:gd name="connsiteX520" fmla="*/ 260797 w 1605834"/>
                    <a:gd name="connsiteY520" fmla="*/ 414136 h 1201357"/>
                    <a:gd name="connsiteX521" fmla="*/ 258986 w 1605834"/>
                    <a:gd name="connsiteY521" fmla="*/ 403873 h 1201357"/>
                    <a:gd name="connsiteX522" fmla="*/ 258986 w 1605834"/>
                    <a:gd name="connsiteY522" fmla="*/ 397233 h 1201357"/>
                    <a:gd name="connsiteX523" fmla="*/ 252345 w 1605834"/>
                    <a:gd name="connsiteY523" fmla="*/ 396629 h 1201357"/>
                    <a:gd name="connsiteX524" fmla="*/ 245101 w 1605834"/>
                    <a:gd name="connsiteY524" fmla="*/ 389988 h 1201357"/>
                    <a:gd name="connsiteX525" fmla="*/ 235442 w 1605834"/>
                    <a:gd name="connsiteY525" fmla="*/ 391196 h 1201357"/>
                    <a:gd name="connsiteX526" fmla="*/ 228801 w 1605834"/>
                    <a:gd name="connsiteY526" fmla="*/ 385763 h 1201357"/>
                    <a:gd name="connsiteX527" fmla="*/ 216727 w 1605834"/>
                    <a:gd name="connsiteY527" fmla="*/ 389385 h 1201357"/>
                    <a:gd name="connsiteX528" fmla="*/ 211898 w 1605834"/>
                    <a:gd name="connsiteY528" fmla="*/ 389385 h 1201357"/>
                    <a:gd name="connsiteX529" fmla="*/ 207068 w 1605834"/>
                    <a:gd name="connsiteY529" fmla="*/ 385763 h 1201357"/>
                    <a:gd name="connsiteX530" fmla="*/ 200427 w 1605834"/>
                    <a:gd name="connsiteY530" fmla="*/ 386970 h 1201357"/>
                    <a:gd name="connsiteX531" fmla="*/ 196805 w 1605834"/>
                    <a:gd name="connsiteY531" fmla="*/ 383951 h 1201357"/>
                    <a:gd name="connsiteX532" fmla="*/ 179902 w 1605834"/>
                    <a:gd name="connsiteY532" fmla="*/ 386970 h 1201357"/>
                    <a:gd name="connsiteX533" fmla="*/ 172657 w 1605834"/>
                    <a:gd name="connsiteY533" fmla="*/ 377311 h 1201357"/>
                    <a:gd name="connsiteX534" fmla="*/ 159376 w 1605834"/>
                    <a:gd name="connsiteY534" fmla="*/ 374292 h 1201357"/>
                    <a:gd name="connsiteX535" fmla="*/ 150924 w 1605834"/>
                    <a:gd name="connsiteY535" fmla="*/ 368859 h 1201357"/>
                    <a:gd name="connsiteX536" fmla="*/ 141869 w 1605834"/>
                    <a:gd name="connsiteY536" fmla="*/ 360407 h 1201357"/>
                    <a:gd name="connsiteX537" fmla="*/ 135228 w 1605834"/>
                    <a:gd name="connsiteY537" fmla="*/ 356181 h 1201357"/>
                    <a:gd name="connsiteX538" fmla="*/ 128588 w 1605834"/>
                    <a:gd name="connsiteY538" fmla="*/ 350144 h 1201357"/>
                    <a:gd name="connsiteX539" fmla="*/ 124362 w 1605834"/>
                    <a:gd name="connsiteY539" fmla="*/ 347730 h 1201357"/>
                    <a:gd name="connsiteX540" fmla="*/ 124965 w 1605834"/>
                    <a:gd name="connsiteY540" fmla="*/ 335656 h 1201357"/>
                    <a:gd name="connsiteX541" fmla="*/ 124362 w 1605834"/>
                    <a:gd name="connsiteY541" fmla="*/ 329619 h 1201357"/>
                    <a:gd name="connsiteX542" fmla="*/ 127984 w 1605834"/>
                    <a:gd name="connsiteY542" fmla="*/ 318148 h 1201357"/>
                    <a:gd name="connsiteX543" fmla="*/ 122551 w 1605834"/>
                    <a:gd name="connsiteY543" fmla="*/ 313923 h 1201357"/>
                    <a:gd name="connsiteX544" fmla="*/ 115306 w 1605834"/>
                    <a:gd name="connsiteY544" fmla="*/ 306074 h 1201357"/>
                    <a:gd name="connsiteX545" fmla="*/ 111684 w 1605834"/>
                    <a:gd name="connsiteY545" fmla="*/ 306074 h 1201357"/>
                    <a:gd name="connsiteX546" fmla="*/ 108062 w 1605834"/>
                    <a:gd name="connsiteY546" fmla="*/ 311508 h 1201357"/>
                    <a:gd name="connsiteX547" fmla="*/ 102025 w 1605834"/>
                    <a:gd name="connsiteY547" fmla="*/ 313923 h 1201357"/>
                    <a:gd name="connsiteX548" fmla="*/ 97799 w 1605834"/>
                    <a:gd name="connsiteY548" fmla="*/ 311508 h 1201357"/>
                    <a:gd name="connsiteX549" fmla="*/ 92969 w 1605834"/>
                    <a:gd name="connsiteY549" fmla="*/ 312715 h 1201357"/>
                    <a:gd name="connsiteX550" fmla="*/ 88743 w 1605834"/>
                    <a:gd name="connsiteY550" fmla="*/ 315734 h 1201357"/>
                    <a:gd name="connsiteX551" fmla="*/ 79084 w 1605834"/>
                    <a:gd name="connsiteY551" fmla="*/ 315734 h 1201357"/>
                    <a:gd name="connsiteX552" fmla="*/ 77273 w 1605834"/>
                    <a:gd name="connsiteY552" fmla="*/ 313923 h 1201357"/>
                    <a:gd name="connsiteX553" fmla="*/ 76670 w 1605834"/>
                    <a:gd name="connsiteY553" fmla="*/ 307282 h 1201357"/>
                    <a:gd name="connsiteX554" fmla="*/ 66407 w 1605834"/>
                    <a:gd name="connsiteY554" fmla="*/ 307886 h 1201357"/>
                    <a:gd name="connsiteX555" fmla="*/ 62784 w 1605834"/>
                    <a:gd name="connsiteY555" fmla="*/ 305471 h 1201357"/>
                    <a:gd name="connsiteX556" fmla="*/ 60370 w 1605834"/>
                    <a:gd name="connsiteY556" fmla="*/ 308489 h 1201357"/>
                    <a:gd name="connsiteX557" fmla="*/ 55540 w 1605834"/>
                    <a:gd name="connsiteY557" fmla="*/ 310300 h 1201357"/>
                    <a:gd name="connsiteX558" fmla="*/ 55540 w 1605834"/>
                    <a:gd name="connsiteY558" fmla="*/ 313319 h 1201357"/>
                    <a:gd name="connsiteX559" fmla="*/ 48899 w 1605834"/>
                    <a:gd name="connsiteY559" fmla="*/ 316337 h 1201357"/>
                    <a:gd name="connsiteX560" fmla="*/ 44070 w 1605834"/>
                    <a:gd name="connsiteY560" fmla="*/ 312715 h 1201357"/>
                    <a:gd name="connsiteX561" fmla="*/ 39844 w 1605834"/>
                    <a:gd name="connsiteY561" fmla="*/ 313923 h 1201357"/>
                    <a:gd name="connsiteX562" fmla="*/ 33807 w 1605834"/>
                    <a:gd name="connsiteY562" fmla="*/ 319356 h 1201357"/>
                    <a:gd name="connsiteX563" fmla="*/ 27770 w 1605834"/>
                    <a:gd name="connsiteY563" fmla="*/ 315734 h 1201357"/>
                    <a:gd name="connsiteX564" fmla="*/ 24148 w 1605834"/>
                    <a:gd name="connsiteY564" fmla="*/ 310904 h 1201357"/>
                    <a:gd name="connsiteX565" fmla="*/ 13281 w 1605834"/>
                    <a:gd name="connsiteY565" fmla="*/ 308489 h 1201357"/>
                    <a:gd name="connsiteX566" fmla="*/ 7848 w 1605834"/>
                    <a:gd name="connsiteY566" fmla="*/ 300038 h 1201357"/>
                    <a:gd name="connsiteX567" fmla="*/ 4830 w 1605834"/>
                    <a:gd name="connsiteY567" fmla="*/ 300038 h 1201357"/>
                    <a:gd name="connsiteX568" fmla="*/ 0 w 1605834"/>
                    <a:gd name="connsiteY568" fmla="*/ 296415 h 1201357"/>
                    <a:gd name="connsiteX569" fmla="*/ 0 w 1605834"/>
                    <a:gd name="connsiteY569" fmla="*/ 288567 h 1201357"/>
                    <a:gd name="connsiteX570" fmla="*/ 4226 w 1605834"/>
                    <a:gd name="connsiteY570" fmla="*/ 284945 h 1201357"/>
                    <a:gd name="connsiteX571" fmla="*/ 5433 w 1605834"/>
                    <a:gd name="connsiteY571" fmla="*/ 277701 h 1201357"/>
                    <a:gd name="connsiteX572" fmla="*/ 9055 w 1605834"/>
                    <a:gd name="connsiteY572" fmla="*/ 277701 h 1201357"/>
                    <a:gd name="connsiteX573" fmla="*/ 10867 w 1605834"/>
                    <a:gd name="connsiteY573" fmla="*/ 271664 h 1201357"/>
                    <a:gd name="connsiteX574" fmla="*/ 13885 w 1605834"/>
                    <a:gd name="connsiteY574" fmla="*/ 269853 h 1201357"/>
                    <a:gd name="connsiteX575" fmla="*/ 11470 w 1605834"/>
                    <a:gd name="connsiteY575" fmla="*/ 263816 h 1201357"/>
                    <a:gd name="connsiteX576" fmla="*/ 4226 w 1605834"/>
                    <a:gd name="connsiteY576" fmla="*/ 262005 h 1201357"/>
                    <a:gd name="connsiteX577" fmla="*/ 0 w 1605834"/>
                    <a:gd name="connsiteY577" fmla="*/ 257779 h 1201357"/>
                    <a:gd name="connsiteX578" fmla="*/ 1207 w 1605834"/>
                    <a:gd name="connsiteY578" fmla="*/ 253553 h 1201357"/>
                    <a:gd name="connsiteX579" fmla="*/ 604 w 1605834"/>
                    <a:gd name="connsiteY579" fmla="*/ 249327 h 1201357"/>
                    <a:gd name="connsiteX580" fmla="*/ 3622 w 1605834"/>
                    <a:gd name="connsiteY580" fmla="*/ 242686 h 1201357"/>
                    <a:gd name="connsiteX581" fmla="*/ 9055 w 1605834"/>
                    <a:gd name="connsiteY581" fmla="*/ 238460 h 1201357"/>
                    <a:gd name="connsiteX582" fmla="*/ 7244 w 1605834"/>
                    <a:gd name="connsiteY582" fmla="*/ 233631 h 1201357"/>
                    <a:gd name="connsiteX583" fmla="*/ 4226 w 1605834"/>
                    <a:gd name="connsiteY583" fmla="*/ 230612 h 1201357"/>
                    <a:gd name="connsiteX584" fmla="*/ 6037 w 1605834"/>
                    <a:gd name="connsiteY584" fmla="*/ 227594 h 1201357"/>
                    <a:gd name="connsiteX585" fmla="*/ 6037 w 1605834"/>
                    <a:gd name="connsiteY585" fmla="*/ 222764 h 1201357"/>
                    <a:gd name="connsiteX586" fmla="*/ 11470 w 1605834"/>
                    <a:gd name="connsiteY586" fmla="*/ 217935 h 1201357"/>
                    <a:gd name="connsiteX587" fmla="*/ 13281 w 1605834"/>
                    <a:gd name="connsiteY587" fmla="*/ 209483 h 1201357"/>
                    <a:gd name="connsiteX588" fmla="*/ 21733 w 1605834"/>
                    <a:gd name="connsiteY588" fmla="*/ 205861 h 1201357"/>
                    <a:gd name="connsiteX589" fmla="*/ 27770 w 1605834"/>
                    <a:gd name="connsiteY589" fmla="*/ 209483 h 1201357"/>
                    <a:gd name="connsiteX590" fmla="*/ 31392 w 1605834"/>
                    <a:gd name="connsiteY590" fmla="*/ 209483 h 1201357"/>
                    <a:gd name="connsiteX591" fmla="*/ 35618 w 1605834"/>
                    <a:gd name="connsiteY591" fmla="*/ 205257 h 1201357"/>
                    <a:gd name="connsiteX592" fmla="*/ 38637 w 1605834"/>
                    <a:gd name="connsiteY592" fmla="*/ 205257 h 1201357"/>
                    <a:gd name="connsiteX593" fmla="*/ 45881 w 1605834"/>
                    <a:gd name="connsiteY593" fmla="*/ 198616 h 1201357"/>
                    <a:gd name="connsiteX594" fmla="*/ 51314 w 1605834"/>
                    <a:gd name="connsiteY594" fmla="*/ 197409 h 1201357"/>
                    <a:gd name="connsiteX595" fmla="*/ 56144 w 1605834"/>
                    <a:gd name="connsiteY595" fmla="*/ 191976 h 1201357"/>
                    <a:gd name="connsiteX596" fmla="*/ 59162 w 1605834"/>
                    <a:gd name="connsiteY596" fmla="*/ 190165 h 1201357"/>
                    <a:gd name="connsiteX597" fmla="*/ 60370 w 1605834"/>
                    <a:gd name="connsiteY597" fmla="*/ 186542 h 1201357"/>
                    <a:gd name="connsiteX598" fmla="*/ 65199 w 1605834"/>
                    <a:gd name="connsiteY598" fmla="*/ 181713 h 1201357"/>
                    <a:gd name="connsiteX599" fmla="*/ 69425 w 1605834"/>
                    <a:gd name="connsiteY599" fmla="*/ 181713 h 1201357"/>
                    <a:gd name="connsiteX600" fmla="*/ 73651 w 1605834"/>
                    <a:gd name="connsiteY600" fmla="*/ 176883 h 1201357"/>
                    <a:gd name="connsiteX601" fmla="*/ 74255 w 1605834"/>
                    <a:gd name="connsiteY601" fmla="*/ 168432 h 1201357"/>
                    <a:gd name="connsiteX602" fmla="*/ 71840 w 1605834"/>
                    <a:gd name="connsiteY602" fmla="*/ 164809 h 1201357"/>
                    <a:gd name="connsiteX603" fmla="*/ 82103 w 1605834"/>
                    <a:gd name="connsiteY603" fmla="*/ 158169 h 1201357"/>
                    <a:gd name="connsiteX604" fmla="*/ 84518 w 1605834"/>
                    <a:gd name="connsiteY604" fmla="*/ 159980 h 1201357"/>
                    <a:gd name="connsiteX605" fmla="*/ 87536 w 1605834"/>
                    <a:gd name="connsiteY605" fmla="*/ 157565 h 1201357"/>
                    <a:gd name="connsiteX606" fmla="*/ 95988 w 1605834"/>
                    <a:gd name="connsiteY606" fmla="*/ 159376 h 1201357"/>
                    <a:gd name="connsiteX607" fmla="*/ 95384 w 1605834"/>
                    <a:gd name="connsiteY607" fmla="*/ 149717 h 1201357"/>
                    <a:gd name="connsiteX608" fmla="*/ 97195 w 1605834"/>
                    <a:gd name="connsiteY608" fmla="*/ 145491 h 1201357"/>
                    <a:gd name="connsiteX609" fmla="*/ 101421 w 1605834"/>
                    <a:gd name="connsiteY609" fmla="*/ 141869 h 1201357"/>
                    <a:gd name="connsiteX610" fmla="*/ 108062 w 1605834"/>
                    <a:gd name="connsiteY610" fmla="*/ 140058 h 1201357"/>
                    <a:gd name="connsiteX611" fmla="*/ 110477 w 1605834"/>
                    <a:gd name="connsiteY611" fmla="*/ 137643 h 1201357"/>
                    <a:gd name="connsiteX612" fmla="*/ 111684 w 1605834"/>
                    <a:gd name="connsiteY612" fmla="*/ 132813 h 1201357"/>
                    <a:gd name="connsiteX613" fmla="*/ 115306 w 1605834"/>
                    <a:gd name="connsiteY613" fmla="*/ 130399 h 1201357"/>
                    <a:gd name="connsiteX614" fmla="*/ 115306 w 1605834"/>
                    <a:gd name="connsiteY614" fmla="*/ 127380 h 1201357"/>
                    <a:gd name="connsiteX615" fmla="*/ 119532 w 1605834"/>
                    <a:gd name="connsiteY615" fmla="*/ 121343 h 1201357"/>
                    <a:gd name="connsiteX616" fmla="*/ 115306 w 1605834"/>
                    <a:gd name="connsiteY616" fmla="*/ 114099 h 1201357"/>
                    <a:gd name="connsiteX617" fmla="*/ 115910 w 1605834"/>
                    <a:gd name="connsiteY617" fmla="*/ 106251 h 1201357"/>
                    <a:gd name="connsiteX618" fmla="*/ 114099 w 1605834"/>
                    <a:gd name="connsiteY618" fmla="*/ 102629 h 1201357"/>
                    <a:gd name="connsiteX619" fmla="*/ 117721 w 1605834"/>
                    <a:gd name="connsiteY619" fmla="*/ 100817 h 1201357"/>
                    <a:gd name="connsiteX620" fmla="*/ 123758 w 1605834"/>
                    <a:gd name="connsiteY620" fmla="*/ 100817 h 1201357"/>
                    <a:gd name="connsiteX621" fmla="*/ 129191 w 1605834"/>
                    <a:gd name="connsiteY621" fmla="*/ 95988 h 1201357"/>
                    <a:gd name="connsiteX622" fmla="*/ 137643 w 1605834"/>
                    <a:gd name="connsiteY622" fmla="*/ 92969 h 1201357"/>
                    <a:gd name="connsiteX623" fmla="*/ 139454 w 1605834"/>
                    <a:gd name="connsiteY623" fmla="*/ 97195 h 1201357"/>
                    <a:gd name="connsiteX624" fmla="*/ 144887 w 1605834"/>
                    <a:gd name="connsiteY624" fmla="*/ 97799 h 1201357"/>
                    <a:gd name="connsiteX625" fmla="*/ 148509 w 1605834"/>
                    <a:gd name="connsiteY625" fmla="*/ 95384 h 1201357"/>
                    <a:gd name="connsiteX626" fmla="*/ 159376 w 1605834"/>
                    <a:gd name="connsiteY626" fmla="*/ 95384 h 1201357"/>
                    <a:gd name="connsiteX627" fmla="*/ 167224 w 1605834"/>
                    <a:gd name="connsiteY627" fmla="*/ 92969 h 1201357"/>
                    <a:gd name="connsiteX628" fmla="*/ 170846 w 1605834"/>
                    <a:gd name="connsiteY628" fmla="*/ 93573 h 1201357"/>
                    <a:gd name="connsiteX629" fmla="*/ 172657 w 1605834"/>
                    <a:gd name="connsiteY629" fmla="*/ 89347 h 1201357"/>
                    <a:gd name="connsiteX630" fmla="*/ 180505 w 1605834"/>
                    <a:gd name="connsiteY630" fmla="*/ 89347 h 1201357"/>
                    <a:gd name="connsiteX631" fmla="*/ 186542 w 1605834"/>
                    <a:gd name="connsiteY631" fmla="*/ 85725 h 1201357"/>
                    <a:gd name="connsiteX632" fmla="*/ 193787 w 1605834"/>
                    <a:gd name="connsiteY632" fmla="*/ 89951 h 1201357"/>
                    <a:gd name="connsiteX633" fmla="*/ 198616 w 1605834"/>
                    <a:gd name="connsiteY633" fmla="*/ 90555 h 1201357"/>
                    <a:gd name="connsiteX634" fmla="*/ 202239 w 1605834"/>
                    <a:gd name="connsiteY634" fmla="*/ 93573 h 1201357"/>
                    <a:gd name="connsiteX635" fmla="*/ 206464 w 1605834"/>
                    <a:gd name="connsiteY635" fmla="*/ 92366 h 1201357"/>
                    <a:gd name="connsiteX636" fmla="*/ 208276 w 1605834"/>
                    <a:gd name="connsiteY636" fmla="*/ 95384 h 1201357"/>
                    <a:gd name="connsiteX637" fmla="*/ 211898 w 1605834"/>
                    <a:gd name="connsiteY637" fmla="*/ 92969 h 1201357"/>
                    <a:gd name="connsiteX638" fmla="*/ 217331 w 1605834"/>
                    <a:gd name="connsiteY638" fmla="*/ 93573 h 1201357"/>
                    <a:gd name="connsiteX639" fmla="*/ 220349 w 1605834"/>
                    <a:gd name="connsiteY639" fmla="*/ 92366 h 1201357"/>
                    <a:gd name="connsiteX640" fmla="*/ 221557 w 1605834"/>
                    <a:gd name="connsiteY640" fmla="*/ 97799 h 1201357"/>
                    <a:gd name="connsiteX641" fmla="*/ 228801 w 1605834"/>
                    <a:gd name="connsiteY641" fmla="*/ 100214 h 1201357"/>
                    <a:gd name="connsiteX642" fmla="*/ 231216 w 1605834"/>
                    <a:gd name="connsiteY642" fmla="*/ 98403 h 1201357"/>
                    <a:gd name="connsiteX643" fmla="*/ 242686 w 1605834"/>
                    <a:gd name="connsiteY643" fmla="*/ 100817 h 1201357"/>
                    <a:gd name="connsiteX644" fmla="*/ 246308 w 1605834"/>
                    <a:gd name="connsiteY644" fmla="*/ 94780 h 1201357"/>
                    <a:gd name="connsiteX645" fmla="*/ 258382 w 1605834"/>
                    <a:gd name="connsiteY645" fmla="*/ 97195 h 1201357"/>
                    <a:gd name="connsiteX646" fmla="*/ 263816 w 1605834"/>
                    <a:gd name="connsiteY646" fmla="*/ 92969 h 1201357"/>
                    <a:gd name="connsiteX647" fmla="*/ 275286 w 1605834"/>
                    <a:gd name="connsiteY647" fmla="*/ 97799 h 1201357"/>
                    <a:gd name="connsiteX648" fmla="*/ 282530 w 1605834"/>
                    <a:gd name="connsiteY648" fmla="*/ 95988 h 1201357"/>
                    <a:gd name="connsiteX649" fmla="*/ 283738 w 1605834"/>
                    <a:gd name="connsiteY649" fmla="*/ 89951 h 1201357"/>
                    <a:gd name="connsiteX650" fmla="*/ 281323 w 1605834"/>
                    <a:gd name="connsiteY650" fmla="*/ 83914 h 1201357"/>
                    <a:gd name="connsiteX651" fmla="*/ 275890 w 1605834"/>
                    <a:gd name="connsiteY651" fmla="*/ 76066 h 1201357"/>
                    <a:gd name="connsiteX652" fmla="*/ 272871 w 1605834"/>
                    <a:gd name="connsiteY652" fmla="*/ 74255 h 1201357"/>
                    <a:gd name="connsiteX653" fmla="*/ 268645 w 1605834"/>
                    <a:gd name="connsiteY653" fmla="*/ 74858 h 1201357"/>
                    <a:gd name="connsiteX654" fmla="*/ 263816 w 1605834"/>
                    <a:gd name="connsiteY654" fmla="*/ 68821 h 1201357"/>
                    <a:gd name="connsiteX655" fmla="*/ 257175 w 1605834"/>
                    <a:gd name="connsiteY655" fmla="*/ 68218 h 1201357"/>
                    <a:gd name="connsiteX656" fmla="*/ 254156 w 1605834"/>
                    <a:gd name="connsiteY656" fmla="*/ 65199 h 1201357"/>
                    <a:gd name="connsiteX657" fmla="*/ 246308 w 1605834"/>
                    <a:gd name="connsiteY657" fmla="*/ 63388 h 1201357"/>
                    <a:gd name="connsiteX658" fmla="*/ 244497 w 1605834"/>
                    <a:gd name="connsiteY658" fmla="*/ 56144 h 1201357"/>
                    <a:gd name="connsiteX659" fmla="*/ 237253 w 1605834"/>
                    <a:gd name="connsiteY659" fmla="*/ 50107 h 1201357"/>
                    <a:gd name="connsiteX660" fmla="*/ 239668 w 1605834"/>
                    <a:gd name="connsiteY660" fmla="*/ 42259 h 1201357"/>
                    <a:gd name="connsiteX661" fmla="*/ 244497 w 1605834"/>
                    <a:gd name="connsiteY661" fmla="*/ 42863 h 1201357"/>
                    <a:gd name="connsiteX662" fmla="*/ 251138 w 1605834"/>
                    <a:gd name="connsiteY662" fmla="*/ 47088 h 1201357"/>
                    <a:gd name="connsiteX663" fmla="*/ 254156 w 1605834"/>
                    <a:gd name="connsiteY663" fmla="*/ 44674 h 1201357"/>
                    <a:gd name="connsiteX664" fmla="*/ 259590 w 1605834"/>
                    <a:gd name="connsiteY664" fmla="*/ 47692 h 1201357"/>
                    <a:gd name="connsiteX665" fmla="*/ 263816 w 1605834"/>
                    <a:gd name="connsiteY665" fmla="*/ 47088 h 1201357"/>
                    <a:gd name="connsiteX666" fmla="*/ 268042 w 1605834"/>
                    <a:gd name="connsiteY666" fmla="*/ 50107 h 1201357"/>
                    <a:gd name="connsiteX667" fmla="*/ 270456 w 1605834"/>
                    <a:gd name="connsiteY667" fmla="*/ 45881 h 1201357"/>
                    <a:gd name="connsiteX668" fmla="*/ 273475 w 1605834"/>
                    <a:gd name="connsiteY668" fmla="*/ 45881 h 1201357"/>
                    <a:gd name="connsiteX669" fmla="*/ 280719 w 1605834"/>
                    <a:gd name="connsiteY669" fmla="*/ 49503 h 1201357"/>
                    <a:gd name="connsiteX670" fmla="*/ 283134 w 1605834"/>
                    <a:gd name="connsiteY670" fmla="*/ 52522 h 1201357"/>
                    <a:gd name="connsiteX671" fmla="*/ 288567 w 1605834"/>
                    <a:gd name="connsiteY671" fmla="*/ 51918 h 1201357"/>
                    <a:gd name="connsiteX672" fmla="*/ 291586 w 1605834"/>
                    <a:gd name="connsiteY672" fmla="*/ 53729 h 1201357"/>
                    <a:gd name="connsiteX673" fmla="*/ 297019 w 1605834"/>
                    <a:gd name="connsiteY673" fmla="*/ 61577 h 1201357"/>
                    <a:gd name="connsiteX674" fmla="*/ 303056 w 1605834"/>
                    <a:gd name="connsiteY674" fmla="*/ 65803 h 1201357"/>
                    <a:gd name="connsiteX675" fmla="*/ 308489 w 1605834"/>
                    <a:gd name="connsiteY675" fmla="*/ 65199 h 1201357"/>
                    <a:gd name="connsiteX676" fmla="*/ 313923 w 1605834"/>
                    <a:gd name="connsiteY676" fmla="*/ 70633 h 1201357"/>
                    <a:gd name="connsiteX677" fmla="*/ 321167 w 1605834"/>
                    <a:gd name="connsiteY677" fmla="*/ 62785 h 1201357"/>
                    <a:gd name="connsiteX678" fmla="*/ 327204 w 1605834"/>
                    <a:gd name="connsiteY678" fmla="*/ 63388 h 1201357"/>
                    <a:gd name="connsiteX679" fmla="*/ 332637 w 1605834"/>
                    <a:gd name="connsiteY679" fmla="*/ 61577 h 1201357"/>
                    <a:gd name="connsiteX680" fmla="*/ 336259 w 1605834"/>
                    <a:gd name="connsiteY680" fmla="*/ 45881 h 1201357"/>
                    <a:gd name="connsiteX681" fmla="*/ 338674 w 1605834"/>
                    <a:gd name="connsiteY681" fmla="*/ 44674 h 1201357"/>
                    <a:gd name="connsiteX682" fmla="*/ 350748 w 1605834"/>
                    <a:gd name="connsiteY682" fmla="*/ 47088 h 1201357"/>
                    <a:gd name="connsiteX683" fmla="*/ 353163 w 1605834"/>
                    <a:gd name="connsiteY683" fmla="*/ 49503 h 1201357"/>
                    <a:gd name="connsiteX684" fmla="*/ 357389 w 1605834"/>
                    <a:gd name="connsiteY684" fmla="*/ 49503 h 1201357"/>
                    <a:gd name="connsiteX685" fmla="*/ 361011 w 1605834"/>
                    <a:gd name="connsiteY685" fmla="*/ 45277 h 1201357"/>
                    <a:gd name="connsiteX686" fmla="*/ 368859 w 1605834"/>
                    <a:gd name="connsiteY686" fmla="*/ 41655 h 1201357"/>
                    <a:gd name="connsiteX687" fmla="*/ 379122 w 1605834"/>
                    <a:gd name="connsiteY687" fmla="*/ 30789 h 1201357"/>
                    <a:gd name="connsiteX688" fmla="*/ 383348 w 1605834"/>
                    <a:gd name="connsiteY688" fmla="*/ 28374 h 1201357"/>
                    <a:gd name="connsiteX689" fmla="*/ 386970 w 1605834"/>
                    <a:gd name="connsiteY689" fmla="*/ 28374 h 1201357"/>
                    <a:gd name="connsiteX690" fmla="*/ 391799 w 1605834"/>
                    <a:gd name="connsiteY690" fmla="*/ 22940 h 1201357"/>
                    <a:gd name="connsiteX691" fmla="*/ 401459 w 1605834"/>
                    <a:gd name="connsiteY691" fmla="*/ 21733 h 1201357"/>
                    <a:gd name="connsiteX692" fmla="*/ 405081 w 1605834"/>
                    <a:gd name="connsiteY692" fmla="*/ 23544 h 1201357"/>
                    <a:gd name="connsiteX693" fmla="*/ 412929 w 1605834"/>
                    <a:gd name="connsiteY693" fmla="*/ 23544 h 1201357"/>
                    <a:gd name="connsiteX694" fmla="*/ 418362 w 1605834"/>
                    <a:gd name="connsiteY694" fmla="*/ 32600 h 1201357"/>
                    <a:gd name="connsiteX695" fmla="*/ 421984 w 1605834"/>
                    <a:gd name="connsiteY695" fmla="*/ 32600 h 1201357"/>
                    <a:gd name="connsiteX696" fmla="*/ 425607 w 1605834"/>
                    <a:gd name="connsiteY696" fmla="*/ 8452 h 1201357"/>
                    <a:gd name="connsiteX697" fmla="*/ 435266 w 1605834"/>
                    <a:gd name="connsiteY697" fmla="*/ 5433 h 1201357"/>
                    <a:gd name="connsiteX698" fmla="*/ 438888 w 1605834"/>
                    <a:gd name="connsiteY698" fmla="*/ 5433 h 1201357"/>
                    <a:gd name="connsiteX699" fmla="*/ 446132 w 1605834"/>
                    <a:gd name="connsiteY699" fmla="*/ 0 h 1201357"/>
                    <a:gd name="connsiteX700" fmla="*/ 449151 w 1605834"/>
                    <a:gd name="connsiteY700" fmla="*/ 0 h 1201357"/>
                    <a:gd name="connsiteX701" fmla="*/ 451566 w 1605834"/>
                    <a:gd name="connsiteY701" fmla="*/ 3622 h 1201357"/>
                    <a:gd name="connsiteX702" fmla="*/ 451566 w 1605834"/>
                    <a:gd name="connsiteY702" fmla="*/ 8452 h 1201357"/>
                    <a:gd name="connsiteX703" fmla="*/ 453377 w 1605834"/>
                    <a:gd name="connsiteY703" fmla="*/ 13281 h 1201357"/>
                    <a:gd name="connsiteX704" fmla="*/ 457603 w 1605834"/>
                    <a:gd name="connsiteY704" fmla="*/ 17507 h 1201357"/>
                    <a:gd name="connsiteX705" fmla="*/ 461828 w 1605834"/>
                    <a:gd name="connsiteY705" fmla="*/ 12678 h 1201357"/>
                    <a:gd name="connsiteX706" fmla="*/ 467262 w 1605834"/>
                    <a:gd name="connsiteY706" fmla="*/ 13885 h 1201357"/>
                    <a:gd name="connsiteX707" fmla="*/ 475713 w 1605834"/>
                    <a:gd name="connsiteY707" fmla="*/ 13885 h 1201357"/>
                    <a:gd name="connsiteX708" fmla="*/ 476317 w 1605834"/>
                    <a:gd name="connsiteY708" fmla="*/ 21129 h 1201357"/>
                    <a:gd name="connsiteX709" fmla="*/ 482354 w 1605834"/>
                    <a:gd name="connsiteY709" fmla="*/ 30789 h 1201357"/>
                    <a:gd name="connsiteX710" fmla="*/ 485976 w 1605834"/>
                    <a:gd name="connsiteY710" fmla="*/ 34411 h 1201357"/>
                    <a:gd name="connsiteX711" fmla="*/ 490202 w 1605834"/>
                    <a:gd name="connsiteY711" fmla="*/ 41655 h 1201357"/>
                    <a:gd name="connsiteX712" fmla="*/ 493824 w 1605834"/>
                    <a:gd name="connsiteY712" fmla="*/ 44070 h 1201357"/>
                    <a:gd name="connsiteX713" fmla="*/ 495032 w 1605834"/>
                    <a:gd name="connsiteY713" fmla="*/ 39240 h 1201357"/>
                    <a:gd name="connsiteX714" fmla="*/ 498050 w 1605834"/>
                    <a:gd name="connsiteY714" fmla="*/ 36222 h 1201357"/>
                    <a:gd name="connsiteX715" fmla="*/ 505898 w 1605834"/>
                    <a:gd name="connsiteY715" fmla="*/ 31392 h 1201357"/>
                    <a:gd name="connsiteX716" fmla="*/ 510728 w 1605834"/>
                    <a:gd name="connsiteY716" fmla="*/ 29581 h 1201357"/>
                    <a:gd name="connsiteX717" fmla="*/ 512539 w 1605834"/>
                    <a:gd name="connsiteY717" fmla="*/ 26563 h 1201357"/>
                    <a:gd name="connsiteX718" fmla="*/ 520991 w 1605834"/>
                    <a:gd name="connsiteY718" fmla="*/ 29581 h 1201357"/>
                    <a:gd name="connsiteX719" fmla="*/ 527028 w 1605834"/>
                    <a:gd name="connsiteY719" fmla="*/ 35014 h 1201357"/>
                    <a:gd name="connsiteX720" fmla="*/ 532461 w 1605834"/>
                    <a:gd name="connsiteY720" fmla="*/ 33807 h 1201357"/>
                    <a:gd name="connsiteX721" fmla="*/ 540309 w 1605834"/>
                    <a:gd name="connsiteY721" fmla="*/ 28977 h 1201357"/>
                    <a:gd name="connsiteX722" fmla="*/ 549968 w 1605834"/>
                    <a:gd name="connsiteY722" fmla="*/ 15696 h 1201357"/>
                    <a:gd name="connsiteX723" fmla="*/ 551779 w 1605834"/>
                    <a:gd name="connsiteY723" fmla="*/ 10867 h 1201357"/>
                    <a:gd name="connsiteX724" fmla="*/ 556609 w 1605834"/>
                    <a:gd name="connsiteY724" fmla="*/ 10263 h 1201357"/>
                    <a:gd name="connsiteX725" fmla="*/ 562042 w 1605834"/>
                    <a:gd name="connsiteY725" fmla="*/ 7244 h 1201357"/>
                    <a:gd name="connsiteX726" fmla="*/ 568683 w 1605834"/>
                    <a:gd name="connsiteY726" fmla="*/ 7848 h 1201357"/>
                    <a:gd name="connsiteX727" fmla="*/ 572305 w 1605834"/>
                    <a:gd name="connsiteY727" fmla="*/ 6037 h 1201357"/>
                    <a:gd name="connsiteX728" fmla="*/ 580153 w 1605834"/>
                    <a:gd name="connsiteY728" fmla="*/ 7244 h 1201357"/>
                    <a:gd name="connsiteX729" fmla="*/ 580153 w 1605834"/>
                    <a:gd name="connsiteY729" fmla="*/ 20526 h 1201357"/>
                    <a:gd name="connsiteX730" fmla="*/ 581360 w 1605834"/>
                    <a:gd name="connsiteY730" fmla="*/ 25355 h 1201357"/>
                    <a:gd name="connsiteX731" fmla="*/ 586190 w 1605834"/>
                    <a:gd name="connsiteY731" fmla="*/ 30789 h 1201357"/>
                    <a:gd name="connsiteX732" fmla="*/ 591623 w 1605834"/>
                    <a:gd name="connsiteY732" fmla="*/ 28374 h 1201357"/>
                    <a:gd name="connsiteX733" fmla="*/ 597057 w 1605834"/>
                    <a:gd name="connsiteY733" fmla="*/ 31392 h 1201357"/>
                    <a:gd name="connsiteX734" fmla="*/ 597057 w 1605834"/>
                    <a:gd name="connsiteY734" fmla="*/ 36826 h 1201357"/>
                    <a:gd name="connsiteX735" fmla="*/ 594038 w 1605834"/>
                    <a:gd name="connsiteY735" fmla="*/ 39844 h 1201357"/>
                    <a:gd name="connsiteX736" fmla="*/ 594642 w 1605834"/>
                    <a:gd name="connsiteY736" fmla="*/ 49503 h 1201357"/>
                    <a:gd name="connsiteX737" fmla="*/ 600679 w 1605834"/>
                    <a:gd name="connsiteY737" fmla="*/ 49503 h 1201357"/>
                    <a:gd name="connsiteX738" fmla="*/ 602490 w 1605834"/>
                    <a:gd name="connsiteY738" fmla="*/ 53729 h 1201357"/>
                    <a:gd name="connsiteX739" fmla="*/ 603697 w 1605834"/>
                    <a:gd name="connsiteY739" fmla="*/ 63992 h 1201357"/>
                    <a:gd name="connsiteX740" fmla="*/ 607923 w 1605834"/>
                    <a:gd name="connsiteY740" fmla="*/ 70633 h 1201357"/>
                    <a:gd name="connsiteX741" fmla="*/ 615771 w 1605834"/>
                    <a:gd name="connsiteY741" fmla="*/ 74255 h 1201357"/>
                    <a:gd name="connsiteX742" fmla="*/ 619997 w 1605834"/>
                    <a:gd name="connsiteY742" fmla="*/ 74858 h 1201357"/>
                    <a:gd name="connsiteX743" fmla="*/ 632675 w 1605834"/>
                    <a:gd name="connsiteY743" fmla="*/ 81499 h 1201357"/>
                    <a:gd name="connsiteX744" fmla="*/ 636297 w 1605834"/>
                    <a:gd name="connsiteY744" fmla="*/ 81499 h 1201357"/>
                    <a:gd name="connsiteX745" fmla="*/ 637504 w 1605834"/>
                    <a:gd name="connsiteY745" fmla="*/ 84518 h 1201357"/>
                    <a:gd name="connsiteX746" fmla="*/ 643541 w 1605834"/>
                    <a:gd name="connsiteY746" fmla="*/ 91762 h 1201357"/>
                    <a:gd name="connsiteX747" fmla="*/ 648371 w 1605834"/>
                    <a:gd name="connsiteY747" fmla="*/ 98403 h 1201357"/>
                    <a:gd name="connsiteX748" fmla="*/ 661048 w 1605834"/>
                    <a:gd name="connsiteY748" fmla="*/ 122551 h 1201357"/>
                    <a:gd name="connsiteX749" fmla="*/ 667689 w 1605834"/>
                    <a:gd name="connsiteY749" fmla="*/ 130399 h 1201357"/>
                    <a:gd name="connsiteX750" fmla="*/ 675537 w 1605834"/>
                    <a:gd name="connsiteY750" fmla="*/ 135228 h 1201357"/>
                    <a:gd name="connsiteX751" fmla="*/ 682178 w 1605834"/>
                    <a:gd name="connsiteY751" fmla="*/ 136436 h 1201357"/>
                    <a:gd name="connsiteX752" fmla="*/ 688215 w 1605834"/>
                    <a:gd name="connsiteY752" fmla="*/ 140058 h 1201357"/>
                    <a:gd name="connsiteX753" fmla="*/ 690026 w 1605834"/>
                    <a:gd name="connsiteY753" fmla="*/ 141869 h 1201357"/>
                    <a:gd name="connsiteX754" fmla="*/ 699685 w 1605834"/>
                    <a:gd name="connsiteY754" fmla="*/ 148510 h 1201357"/>
                    <a:gd name="connsiteX755" fmla="*/ 711155 w 1605834"/>
                    <a:gd name="connsiteY755" fmla="*/ 152132 h 1201357"/>
                    <a:gd name="connsiteX756" fmla="*/ 720815 w 1605834"/>
                    <a:gd name="connsiteY756" fmla="*/ 152132 h 1201357"/>
                    <a:gd name="connsiteX757" fmla="*/ 731681 w 1605834"/>
                    <a:gd name="connsiteY757" fmla="*/ 155150 h 1201357"/>
                    <a:gd name="connsiteX758" fmla="*/ 743151 w 1605834"/>
                    <a:gd name="connsiteY758" fmla="*/ 167828 h 1201357"/>
                    <a:gd name="connsiteX759" fmla="*/ 750999 w 1605834"/>
                    <a:gd name="connsiteY759" fmla="*/ 176883 h 1201357"/>
                    <a:gd name="connsiteX760" fmla="*/ 759451 w 1605834"/>
                    <a:gd name="connsiteY760" fmla="*/ 179902 h 1201357"/>
                    <a:gd name="connsiteX761" fmla="*/ 763073 w 1605834"/>
                    <a:gd name="connsiteY761" fmla="*/ 184731 h 1201357"/>
                    <a:gd name="connsiteX762" fmla="*/ 767903 w 1605834"/>
                    <a:gd name="connsiteY762" fmla="*/ 187750 h 1201357"/>
                    <a:gd name="connsiteX763" fmla="*/ 774544 w 1605834"/>
                    <a:gd name="connsiteY763" fmla="*/ 187750 h 1201357"/>
                    <a:gd name="connsiteX764" fmla="*/ 782392 w 1605834"/>
                    <a:gd name="connsiteY764" fmla="*/ 184128 h 1201357"/>
                    <a:gd name="connsiteX765" fmla="*/ 786618 w 1605834"/>
                    <a:gd name="connsiteY765" fmla="*/ 184128 h 1201357"/>
                    <a:gd name="connsiteX766" fmla="*/ 794465 w 1605834"/>
                    <a:gd name="connsiteY766" fmla="*/ 190165 h 1201357"/>
                    <a:gd name="connsiteX767" fmla="*/ 798088 w 1605834"/>
                    <a:gd name="connsiteY767" fmla="*/ 194994 h 1201357"/>
                    <a:gd name="connsiteX768" fmla="*/ 804125 w 1605834"/>
                    <a:gd name="connsiteY768" fmla="*/ 197409 h 1201357"/>
                    <a:gd name="connsiteX769" fmla="*/ 805332 w 1605834"/>
                    <a:gd name="connsiteY769" fmla="*/ 202842 h 1201357"/>
                    <a:gd name="connsiteX770" fmla="*/ 808351 w 1605834"/>
                    <a:gd name="connsiteY770" fmla="*/ 208276 h 1201357"/>
                    <a:gd name="connsiteX771" fmla="*/ 804728 w 1605834"/>
                    <a:gd name="connsiteY771" fmla="*/ 211898 h 1201357"/>
                    <a:gd name="connsiteX772" fmla="*/ 807747 w 1605834"/>
                    <a:gd name="connsiteY772" fmla="*/ 213709 h 1201357"/>
                    <a:gd name="connsiteX773" fmla="*/ 814388 w 1605834"/>
                    <a:gd name="connsiteY773" fmla="*/ 222764 h 1201357"/>
                    <a:gd name="connsiteX774" fmla="*/ 819217 w 1605834"/>
                    <a:gd name="connsiteY774" fmla="*/ 223368 h 1201357"/>
                    <a:gd name="connsiteX775" fmla="*/ 821028 w 1605834"/>
                    <a:gd name="connsiteY775" fmla="*/ 225783 h 1201357"/>
                    <a:gd name="connsiteX776" fmla="*/ 828273 w 1605834"/>
                    <a:gd name="connsiteY776" fmla="*/ 228198 h 1201357"/>
                    <a:gd name="connsiteX777" fmla="*/ 831291 w 1605834"/>
                    <a:gd name="connsiteY777" fmla="*/ 233027 h 1201357"/>
                    <a:gd name="connsiteX778" fmla="*/ 837932 w 1605834"/>
                    <a:gd name="connsiteY778" fmla="*/ 234235 h 1201357"/>
                    <a:gd name="connsiteX779" fmla="*/ 845780 w 1605834"/>
                    <a:gd name="connsiteY779" fmla="*/ 230009 h 1201357"/>
                    <a:gd name="connsiteX780" fmla="*/ 847591 w 1605834"/>
                    <a:gd name="connsiteY780" fmla="*/ 230009 h 1201357"/>
                    <a:gd name="connsiteX781" fmla="*/ 852420 w 1605834"/>
                    <a:gd name="connsiteY781" fmla="*/ 236649 h 1201357"/>
                    <a:gd name="connsiteX782" fmla="*/ 860872 w 1605834"/>
                    <a:gd name="connsiteY782" fmla="*/ 244497 h 1201357"/>
                    <a:gd name="connsiteX783" fmla="*/ 860872 w 1605834"/>
                    <a:gd name="connsiteY783" fmla="*/ 249327 h 1201357"/>
                    <a:gd name="connsiteX784" fmla="*/ 862683 w 1605834"/>
                    <a:gd name="connsiteY784" fmla="*/ 254760 h 1201357"/>
                    <a:gd name="connsiteX785" fmla="*/ 875965 w 1605834"/>
                    <a:gd name="connsiteY785" fmla="*/ 262005 h 1201357"/>
                    <a:gd name="connsiteX786" fmla="*/ 879587 w 1605834"/>
                    <a:gd name="connsiteY786" fmla="*/ 266230 h 1201357"/>
                    <a:gd name="connsiteX787" fmla="*/ 882002 w 1605834"/>
                    <a:gd name="connsiteY787" fmla="*/ 271664 h 1201357"/>
                    <a:gd name="connsiteX788" fmla="*/ 874154 w 1605834"/>
                    <a:gd name="connsiteY788" fmla="*/ 274079 h 1201357"/>
                    <a:gd name="connsiteX789" fmla="*/ 868117 w 1605834"/>
                    <a:gd name="connsiteY789" fmla="*/ 283738 h 1201357"/>
                    <a:gd name="connsiteX790" fmla="*/ 863891 w 1605834"/>
                    <a:gd name="connsiteY790" fmla="*/ 288567 h 1201357"/>
                    <a:gd name="connsiteX791" fmla="*/ 871135 w 1605834"/>
                    <a:gd name="connsiteY791" fmla="*/ 297623 h 1201357"/>
                    <a:gd name="connsiteX792" fmla="*/ 875965 w 1605834"/>
                    <a:gd name="connsiteY792" fmla="*/ 302452 h 1201357"/>
                    <a:gd name="connsiteX793" fmla="*/ 879587 w 1605834"/>
                    <a:gd name="connsiteY793" fmla="*/ 313319 h 1201357"/>
                    <a:gd name="connsiteX794" fmla="*/ 886228 w 1605834"/>
                    <a:gd name="connsiteY794" fmla="*/ 318752 h 1201357"/>
                    <a:gd name="connsiteX795" fmla="*/ 891661 w 1605834"/>
                    <a:gd name="connsiteY795" fmla="*/ 319356 h 1201357"/>
                    <a:gd name="connsiteX796" fmla="*/ 899509 w 1605834"/>
                    <a:gd name="connsiteY796" fmla="*/ 327808 h 1201357"/>
                    <a:gd name="connsiteX797" fmla="*/ 907961 w 1605834"/>
                    <a:gd name="connsiteY797" fmla="*/ 332033 h 1201357"/>
                    <a:gd name="connsiteX798" fmla="*/ 914601 w 1605834"/>
                    <a:gd name="connsiteY798" fmla="*/ 332033 h 1201357"/>
                    <a:gd name="connsiteX799" fmla="*/ 921846 w 1605834"/>
                    <a:gd name="connsiteY799" fmla="*/ 333845 h 1201357"/>
                    <a:gd name="connsiteX800" fmla="*/ 930297 w 1605834"/>
                    <a:gd name="connsiteY800" fmla="*/ 333241 h 1201357"/>
                    <a:gd name="connsiteX801" fmla="*/ 935731 w 1605834"/>
                    <a:gd name="connsiteY801" fmla="*/ 329619 h 1201357"/>
                    <a:gd name="connsiteX802" fmla="*/ 945390 w 1605834"/>
                    <a:gd name="connsiteY802" fmla="*/ 327808 h 1201357"/>
                    <a:gd name="connsiteX803" fmla="*/ 946597 w 1605834"/>
                    <a:gd name="connsiteY803" fmla="*/ 330826 h 1201357"/>
                    <a:gd name="connsiteX804" fmla="*/ 950823 w 1605834"/>
                    <a:gd name="connsiteY804" fmla="*/ 335052 h 1201357"/>
                    <a:gd name="connsiteX805" fmla="*/ 955653 w 1605834"/>
                    <a:gd name="connsiteY805" fmla="*/ 336259 h 1201357"/>
                    <a:gd name="connsiteX806" fmla="*/ 955049 w 1605834"/>
                    <a:gd name="connsiteY806" fmla="*/ 341693 h 1201357"/>
                    <a:gd name="connsiteX807" fmla="*/ 956256 w 1605834"/>
                    <a:gd name="connsiteY807" fmla="*/ 344711 h 1201357"/>
                    <a:gd name="connsiteX808" fmla="*/ 967123 w 1605834"/>
                    <a:gd name="connsiteY808" fmla="*/ 345918 h 1201357"/>
                    <a:gd name="connsiteX809" fmla="*/ 967727 w 1605834"/>
                    <a:gd name="connsiteY809" fmla="*/ 349541 h 1201357"/>
                    <a:gd name="connsiteX810" fmla="*/ 980404 w 1605834"/>
                    <a:gd name="connsiteY810" fmla="*/ 350144 h 1201357"/>
                    <a:gd name="connsiteX811" fmla="*/ 986441 w 1605834"/>
                    <a:gd name="connsiteY811" fmla="*/ 353163 h 1201357"/>
                    <a:gd name="connsiteX812" fmla="*/ 988856 w 1605834"/>
                    <a:gd name="connsiteY812" fmla="*/ 347730 h 1201357"/>
                    <a:gd name="connsiteX813" fmla="*/ 995497 w 1605834"/>
                    <a:gd name="connsiteY813" fmla="*/ 348937 h 1201357"/>
                    <a:gd name="connsiteX814" fmla="*/ 998515 w 1605834"/>
                    <a:gd name="connsiteY814" fmla="*/ 354974 h 1201357"/>
                    <a:gd name="connsiteX815" fmla="*/ 1000326 w 1605834"/>
                    <a:gd name="connsiteY815" fmla="*/ 354974 h 1201357"/>
                    <a:gd name="connsiteX816" fmla="*/ 1003948 w 1605834"/>
                    <a:gd name="connsiteY816" fmla="*/ 362822 h 1201357"/>
                    <a:gd name="connsiteX817" fmla="*/ 1008778 w 1605834"/>
                    <a:gd name="connsiteY817" fmla="*/ 362822 h 1201357"/>
                    <a:gd name="connsiteX818" fmla="*/ 1011796 w 1605834"/>
                    <a:gd name="connsiteY818" fmla="*/ 368255 h 1201357"/>
                    <a:gd name="connsiteX819" fmla="*/ 1011796 w 1605834"/>
                    <a:gd name="connsiteY819" fmla="*/ 372481 h 1201357"/>
                    <a:gd name="connsiteX820" fmla="*/ 1009382 w 1605834"/>
                    <a:gd name="connsiteY820" fmla="*/ 375500 h 1201357"/>
                    <a:gd name="connsiteX821" fmla="*/ 1015419 w 1605834"/>
                    <a:gd name="connsiteY821" fmla="*/ 380329 h 1201357"/>
                    <a:gd name="connsiteX822" fmla="*/ 1017230 w 1605834"/>
                    <a:gd name="connsiteY822" fmla="*/ 383348 h 1201357"/>
                    <a:gd name="connsiteX823" fmla="*/ 1016022 w 1605834"/>
                    <a:gd name="connsiteY823" fmla="*/ 389385 h 1201357"/>
                    <a:gd name="connsiteX824" fmla="*/ 1017230 w 1605834"/>
                    <a:gd name="connsiteY824" fmla="*/ 392403 h 1201357"/>
                    <a:gd name="connsiteX825" fmla="*/ 1022059 w 1605834"/>
                    <a:gd name="connsiteY825" fmla="*/ 395422 h 1201357"/>
                    <a:gd name="connsiteX826" fmla="*/ 1011193 w 1605834"/>
                    <a:gd name="connsiteY826" fmla="*/ 399648 h 1201357"/>
                    <a:gd name="connsiteX827" fmla="*/ 1006363 w 1605834"/>
                    <a:gd name="connsiteY827" fmla="*/ 397233 h 1201357"/>
                    <a:gd name="connsiteX828" fmla="*/ 1002137 w 1605834"/>
                    <a:gd name="connsiteY828" fmla="*/ 391799 h 1201357"/>
                    <a:gd name="connsiteX829" fmla="*/ 995497 w 1605834"/>
                    <a:gd name="connsiteY829" fmla="*/ 391196 h 1201357"/>
                    <a:gd name="connsiteX830" fmla="*/ 987649 w 1605834"/>
                    <a:gd name="connsiteY830" fmla="*/ 395422 h 1201357"/>
                    <a:gd name="connsiteX831" fmla="*/ 992478 w 1605834"/>
                    <a:gd name="connsiteY831" fmla="*/ 400855 h 1201357"/>
                    <a:gd name="connsiteX832" fmla="*/ 993082 w 1605834"/>
                    <a:gd name="connsiteY832" fmla="*/ 405685 h 1201357"/>
                    <a:gd name="connsiteX833" fmla="*/ 997308 w 1605834"/>
                    <a:gd name="connsiteY833" fmla="*/ 405685 h 1201357"/>
                    <a:gd name="connsiteX834" fmla="*/ 999119 w 1605834"/>
                    <a:gd name="connsiteY834" fmla="*/ 409307 h 1201357"/>
                    <a:gd name="connsiteX835" fmla="*/ 1006967 w 1605834"/>
                    <a:gd name="connsiteY835" fmla="*/ 410514 h 1201357"/>
                    <a:gd name="connsiteX836" fmla="*/ 1014211 w 1605834"/>
                    <a:gd name="connsiteY836" fmla="*/ 413533 h 1201357"/>
                    <a:gd name="connsiteX837" fmla="*/ 1019645 w 1605834"/>
                    <a:gd name="connsiteY837" fmla="*/ 409307 h 1201357"/>
                    <a:gd name="connsiteX838" fmla="*/ 1028096 w 1605834"/>
                    <a:gd name="connsiteY838" fmla="*/ 406288 h 1201357"/>
                    <a:gd name="connsiteX839" fmla="*/ 1032926 w 1605834"/>
                    <a:gd name="connsiteY839" fmla="*/ 408703 h 1201357"/>
                    <a:gd name="connsiteX840" fmla="*/ 1038963 w 1605834"/>
                    <a:gd name="connsiteY840" fmla="*/ 406892 h 1201357"/>
                    <a:gd name="connsiteX841" fmla="*/ 1048018 w 1605834"/>
                    <a:gd name="connsiteY841" fmla="*/ 411721 h 1201357"/>
                    <a:gd name="connsiteX842" fmla="*/ 1055263 w 1605834"/>
                    <a:gd name="connsiteY842" fmla="*/ 406288 h 1201357"/>
                    <a:gd name="connsiteX843" fmla="*/ 1058885 w 1605834"/>
                    <a:gd name="connsiteY843" fmla="*/ 411118 h 1201357"/>
                    <a:gd name="connsiteX844" fmla="*/ 1062507 w 1605834"/>
                    <a:gd name="connsiteY844" fmla="*/ 409307 h 1201357"/>
                    <a:gd name="connsiteX845" fmla="*/ 1070355 w 1605834"/>
                    <a:gd name="connsiteY845" fmla="*/ 410514 h 1201357"/>
                    <a:gd name="connsiteX846" fmla="*/ 1070355 w 1605834"/>
                    <a:gd name="connsiteY846" fmla="*/ 403270 h 1201357"/>
                    <a:gd name="connsiteX847" fmla="*/ 1071563 w 1605834"/>
                    <a:gd name="connsiteY847" fmla="*/ 397836 h 1201357"/>
                    <a:gd name="connsiteX848" fmla="*/ 1080618 w 1605834"/>
                    <a:gd name="connsiteY848" fmla="*/ 405081 h 1201357"/>
                    <a:gd name="connsiteX849" fmla="*/ 1084240 w 1605834"/>
                    <a:gd name="connsiteY849" fmla="*/ 405081 h 1201357"/>
                    <a:gd name="connsiteX850" fmla="*/ 1089070 w 1605834"/>
                    <a:gd name="connsiteY850" fmla="*/ 400251 h 1201357"/>
                    <a:gd name="connsiteX851" fmla="*/ 1096918 w 1605834"/>
                    <a:gd name="connsiteY851" fmla="*/ 405081 h 1201357"/>
                    <a:gd name="connsiteX852" fmla="*/ 1099936 w 1605834"/>
                    <a:gd name="connsiteY852" fmla="*/ 408703 h 1201357"/>
                    <a:gd name="connsiteX853" fmla="*/ 1102955 w 1605834"/>
                    <a:gd name="connsiteY853" fmla="*/ 406892 h 1201357"/>
                    <a:gd name="connsiteX854" fmla="*/ 1108388 w 1605834"/>
                    <a:gd name="connsiteY854" fmla="*/ 411721 h 1201357"/>
                    <a:gd name="connsiteX855" fmla="*/ 1110803 w 1605834"/>
                    <a:gd name="connsiteY855" fmla="*/ 406288 h 1201357"/>
                    <a:gd name="connsiteX856" fmla="*/ 1121669 w 1605834"/>
                    <a:gd name="connsiteY856" fmla="*/ 410514 h 1201357"/>
                    <a:gd name="connsiteX857" fmla="*/ 1120462 w 1605834"/>
                    <a:gd name="connsiteY857" fmla="*/ 403873 h 1201357"/>
                    <a:gd name="connsiteX858" fmla="*/ 1116236 w 1605834"/>
                    <a:gd name="connsiteY858" fmla="*/ 402666 h 1201357"/>
                    <a:gd name="connsiteX859" fmla="*/ 1113821 w 1605834"/>
                    <a:gd name="connsiteY859" fmla="*/ 399648 h 1201357"/>
                    <a:gd name="connsiteX860" fmla="*/ 1121066 w 1605834"/>
                    <a:gd name="connsiteY860" fmla="*/ 385763 h 1201357"/>
                    <a:gd name="connsiteX861" fmla="*/ 1124688 w 1605834"/>
                    <a:gd name="connsiteY861" fmla="*/ 382744 h 1201357"/>
                    <a:gd name="connsiteX862" fmla="*/ 1137366 w 1605834"/>
                    <a:gd name="connsiteY862" fmla="*/ 381537 h 1201357"/>
                    <a:gd name="connsiteX863" fmla="*/ 1144006 w 1605834"/>
                    <a:gd name="connsiteY863" fmla="*/ 391196 h 1201357"/>
                    <a:gd name="connsiteX864" fmla="*/ 1145817 w 1605834"/>
                    <a:gd name="connsiteY864" fmla="*/ 389385 h 1201357"/>
                    <a:gd name="connsiteX865" fmla="*/ 1151854 w 1605834"/>
                    <a:gd name="connsiteY865" fmla="*/ 391196 h 1201357"/>
                    <a:gd name="connsiteX866" fmla="*/ 1154873 w 1605834"/>
                    <a:gd name="connsiteY866" fmla="*/ 394214 h 1201357"/>
                    <a:gd name="connsiteX867" fmla="*/ 1160306 w 1605834"/>
                    <a:gd name="connsiteY867" fmla="*/ 389988 h 1201357"/>
                    <a:gd name="connsiteX868" fmla="*/ 1159099 w 1605834"/>
                    <a:gd name="connsiteY868" fmla="*/ 383951 h 1201357"/>
                    <a:gd name="connsiteX869" fmla="*/ 1162117 w 1605834"/>
                    <a:gd name="connsiteY869" fmla="*/ 374896 h 1201357"/>
                    <a:gd name="connsiteX870" fmla="*/ 1165739 w 1605834"/>
                    <a:gd name="connsiteY870" fmla="*/ 372481 h 1201357"/>
                    <a:gd name="connsiteX871" fmla="*/ 1168154 w 1605834"/>
                    <a:gd name="connsiteY871" fmla="*/ 366444 h 1201357"/>
                    <a:gd name="connsiteX872" fmla="*/ 1168154 w 1605834"/>
                    <a:gd name="connsiteY872" fmla="*/ 361011 h 1201357"/>
                    <a:gd name="connsiteX873" fmla="*/ 1177210 w 1605834"/>
                    <a:gd name="connsiteY873" fmla="*/ 366444 h 1201357"/>
                    <a:gd name="connsiteX874" fmla="*/ 1180228 w 1605834"/>
                    <a:gd name="connsiteY874" fmla="*/ 365840 h 1201357"/>
                    <a:gd name="connsiteX875" fmla="*/ 1183246 w 1605834"/>
                    <a:gd name="connsiteY875" fmla="*/ 361011 h 1201357"/>
                    <a:gd name="connsiteX876" fmla="*/ 1182643 w 1605834"/>
                    <a:gd name="connsiteY876" fmla="*/ 348937 h 1201357"/>
                    <a:gd name="connsiteX877" fmla="*/ 1185058 w 1605834"/>
                    <a:gd name="connsiteY877" fmla="*/ 346522 h 1201357"/>
                    <a:gd name="connsiteX878" fmla="*/ 1189887 w 1605834"/>
                    <a:gd name="connsiteY878" fmla="*/ 347730 h 1201357"/>
                    <a:gd name="connsiteX879" fmla="*/ 1197132 w 1605834"/>
                    <a:gd name="connsiteY879" fmla="*/ 347730 h 1201357"/>
                    <a:gd name="connsiteX880" fmla="*/ 1205583 w 1605834"/>
                    <a:gd name="connsiteY880" fmla="*/ 344711 h 1201357"/>
                    <a:gd name="connsiteX881" fmla="*/ 1209206 w 1605834"/>
                    <a:gd name="connsiteY881" fmla="*/ 341693 h 1201357"/>
                    <a:gd name="connsiteX882" fmla="*/ 1213431 w 1605834"/>
                    <a:gd name="connsiteY882" fmla="*/ 332637 h 1201357"/>
                    <a:gd name="connsiteX883" fmla="*/ 1218261 w 1605834"/>
                    <a:gd name="connsiteY883" fmla="*/ 332033 h 1201357"/>
                    <a:gd name="connsiteX884" fmla="*/ 1221883 w 1605834"/>
                    <a:gd name="connsiteY884" fmla="*/ 333845 h 1201357"/>
                    <a:gd name="connsiteX885" fmla="*/ 1233353 w 1605834"/>
                    <a:gd name="connsiteY885" fmla="*/ 335052 h 1201357"/>
                    <a:gd name="connsiteX886" fmla="*/ 1237579 w 1605834"/>
                    <a:gd name="connsiteY886" fmla="*/ 333845 h 1201357"/>
                    <a:gd name="connsiteX887" fmla="*/ 1246635 w 1605834"/>
                    <a:gd name="connsiteY887" fmla="*/ 326600 h 1201357"/>
                    <a:gd name="connsiteX888" fmla="*/ 1255087 w 1605834"/>
                    <a:gd name="connsiteY888" fmla="*/ 323582 h 1201357"/>
                    <a:gd name="connsiteX889" fmla="*/ 1258709 w 1605834"/>
                    <a:gd name="connsiteY889" fmla="*/ 319960 h 1201357"/>
                    <a:gd name="connsiteX890" fmla="*/ 1263538 w 1605834"/>
                    <a:gd name="connsiteY890" fmla="*/ 313319 h 1201357"/>
                    <a:gd name="connsiteX891" fmla="*/ 1270179 w 1605834"/>
                    <a:gd name="connsiteY891" fmla="*/ 313319 h 1201357"/>
                    <a:gd name="connsiteX892" fmla="*/ 1275612 w 1605834"/>
                    <a:gd name="connsiteY892" fmla="*/ 310300 h 1201357"/>
                    <a:gd name="connsiteX893" fmla="*/ 1287686 w 1605834"/>
                    <a:gd name="connsiteY893" fmla="*/ 310300 h 1201357"/>
                    <a:gd name="connsiteX894" fmla="*/ 1289497 w 1605834"/>
                    <a:gd name="connsiteY894" fmla="*/ 312715 h 1201357"/>
                    <a:gd name="connsiteX895" fmla="*/ 1299156 w 1605834"/>
                    <a:gd name="connsiteY895" fmla="*/ 313319 h 1201357"/>
                    <a:gd name="connsiteX896" fmla="*/ 1309419 w 1605834"/>
                    <a:gd name="connsiteY896" fmla="*/ 310300 h 1201357"/>
                    <a:gd name="connsiteX897" fmla="*/ 1322701 w 1605834"/>
                    <a:gd name="connsiteY897" fmla="*/ 307282 h 1201357"/>
                    <a:gd name="connsiteX898" fmla="*/ 1325115 w 1605834"/>
                    <a:gd name="connsiteY898" fmla="*/ 304263 h 1201357"/>
                    <a:gd name="connsiteX899" fmla="*/ 1338397 w 1605834"/>
                    <a:gd name="connsiteY899" fmla="*/ 315734 h 1201357"/>
                    <a:gd name="connsiteX900" fmla="*/ 1346848 w 1605834"/>
                    <a:gd name="connsiteY900" fmla="*/ 315734 h 1201357"/>
                    <a:gd name="connsiteX901" fmla="*/ 1358319 w 1605834"/>
                    <a:gd name="connsiteY901" fmla="*/ 318752 h 1201357"/>
                    <a:gd name="connsiteX902" fmla="*/ 1363752 w 1605834"/>
                    <a:gd name="connsiteY902" fmla="*/ 316941 h 1201357"/>
                    <a:gd name="connsiteX903" fmla="*/ 1374015 w 1605834"/>
                    <a:gd name="connsiteY903" fmla="*/ 305471 h 1201357"/>
                    <a:gd name="connsiteX904" fmla="*/ 1374619 w 1605834"/>
                    <a:gd name="connsiteY904" fmla="*/ 302452 h 1201357"/>
                    <a:gd name="connsiteX905" fmla="*/ 1372808 w 1605834"/>
                    <a:gd name="connsiteY905" fmla="*/ 295812 h 1201357"/>
                    <a:gd name="connsiteX906" fmla="*/ 1372808 w 1605834"/>
                    <a:gd name="connsiteY906" fmla="*/ 290378 h 1201357"/>
                    <a:gd name="connsiteX907" fmla="*/ 1377637 w 1605834"/>
                    <a:gd name="connsiteY907" fmla="*/ 282530 h 1201357"/>
                    <a:gd name="connsiteX908" fmla="*/ 1381863 w 1605834"/>
                    <a:gd name="connsiteY908" fmla="*/ 280116 h 1201357"/>
                    <a:gd name="connsiteX909" fmla="*/ 1393937 w 1605834"/>
                    <a:gd name="connsiteY909" fmla="*/ 279512 h 1201357"/>
                    <a:gd name="connsiteX910" fmla="*/ 1409029 w 1605834"/>
                    <a:gd name="connsiteY910" fmla="*/ 279512 h 1201357"/>
                    <a:gd name="connsiteX911" fmla="*/ 1412048 w 1605834"/>
                    <a:gd name="connsiteY911" fmla="*/ 277701 h 1201357"/>
                    <a:gd name="connsiteX912" fmla="*/ 1413859 w 1605834"/>
                    <a:gd name="connsiteY912" fmla="*/ 282530 h 1201357"/>
                    <a:gd name="connsiteX913" fmla="*/ 1417481 w 1605834"/>
                    <a:gd name="connsiteY913" fmla="*/ 298830 h 1201357"/>
                    <a:gd name="connsiteX914" fmla="*/ 1421103 w 1605834"/>
                    <a:gd name="connsiteY914" fmla="*/ 303056 h 1201357"/>
                    <a:gd name="connsiteX915" fmla="*/ 1427744 w 1605834"/>
                    <a:gd name="connsiteY915" fmla="*/ 304867 h 1201357"/>
                    <a:gd name="connsiteX916" fmla="*/ 1438611 w 1605834"/>
                    <a:gd name="connsiteY916" fmla="*/ 305471 h 1201357"/>
                    <a:gd name="connsiteX917" fmla="*/ 1450081 w 1605834"/>
                    <a:gd name="connsiteY917" fmla="*/ 312715 h 1201357"/>
                    <a:gd name="connsiteX918" fmla="*/ 1455514 w 1605834"/>
                    <a:gd name="connsiteY918" fmla="*/ 313319 h 1201357"/>
                    <a:gd name="connsiteX919" fmla="*/ 1479058 w 1605834"/>
                    <a:gd name="connsiteY919" fmla="*/ 322374 h 1201357"/>
                    <a:gd name="connsiteX920" fmla="*/ 1483284 w 1605834"/>
                    <a:gd name="connsiteY920" fmla="*/ 326600 h 1201357"/>
                    <a:gd name="connsiteX921" fmla="*/ 1489321 w 1605834"/>
                    <a:gd name="connsiteY921" fmla="*/ 327808 h 1201357"/>
                    <a:gd name="connsiteX922" fmla="*/ 1498376 w 1605834"/>
                    <a:gd name="connsiteY922" fmla="*/ 327808 h 1201357"/>
                    <a:gd name="connsiteX923" fmla="*/ 1507432 w 1605834"/>
                    <a:gd name="connsiteY923" fmla="*/ 330826 h 1201357"/>
                    <a:gd name="connsiteX924" fmla="*/ 1514676 w 1605834"/>
                    <a:gd name="connsiteY924" fmla="*/ 332033 h 1201357"/>
                    <a:gd name="connsiteX925" fmla="*/ 1520110 w 1605834"/>
                    <a:gd name="connsiteY925" fmla="*/ 324185 h 1201357"/>
                    <a:gd name="connsiteX926" fmla="*/ 1526147 w 1605834"/>
                    <a:gd name="connsiteY926" fmla="*/ 319960 h 1201357"/>
                    <a:gd name="connsiteX927" fmla="*/ 1533995 w 1605834"/>
                    <a:gd name="connsiteY927" fmla="*/ 316941 h 1201357"/>
                    <a:gd name="connsiteX928" fmla="*/ 1541843 w 1605834"/>
                    <a:gd name="connsiteY928" fmla="*/ 319356 h 1201357"/>
                    <a:gd name="connsiteX929" fmla="*/ 1545465 w 1605834"/>
                    <a:gd name="connsiteY929" fmla="*/ 324185 h 1201357"/>
                    <a:gd name="connsiteX930" fmla="*/ 1549087 w 1605834"/>
                    <a:gd name="connsiteY930" fmla="*/ 330826 h 1201357"/>
                    <a:gd name="connsiteX931" fmla="*/ 1552709 w 1605834"/>
                    <a:gd name="connsiteY931" fmla="*/ 341693 h 1201357"/>
                    <a:gd name="connsiteX932" fmla="*/ 1558142 w 1605834"/>
                    <a:gd name="connsiteY932" fmla="*/ 346522 h 1201357"/>
                    <a:gd name="connsiteX933" fmla="*/ 1559350 w 1605834"/>
                    <a:gd name="connsiteY933" fmla="*/ 352559 h 1201357"/>
                    <a:gd name="connsiteX934" fmla="*/ 1562972 w 1605834"/>
                    <a:gd name="connsiteY934" fmla="*/ 358596 h 1201357"/>
                    <a:gd name="connsiteX935" fmla="*/ 1575650 w 1605834"/>
                    <a:gd name="connsiteY935" fmla="*/ 363426 h 1201357"/>
                    <a:gd name="connsiteX936" fmla="*/ 1579876 w 1605834"/>
                    <a:gd name="connsiteY936" fmla="*/ 364029 h 1201357"/>
                    <a:gd name="connsiteX937" fmla="*/ 1596779 w 1605834"/>
                    <a:gd name="connsiteY937" fmla="*/ 372481 h 1201357"/>
                    <a:gd name="connsiteX938" fmla="*/ 1599798 w 1605834"/>
                    <a:gd name="connsiteY938" fmla="*/ 376707 h 1201357"/>
                    <a:gd name="connsiteX939" fmla="*/ 1604024 w 1605834"/>
                    <a:gd name="connsiteY939" fmla="*/ 389988 h 1201357"/>
                    <a:gd name="connsiteX940" fmla="*/ 1605835 w 1605834"/>
                    <a:gd name="connsiteY940" fmla="*/ 403873 h 1201357"/>
                    <a:gd name="connsiteX941" fmla="*/ 1607646 w 1605834"/>
                    <a:gd name="connsiteY941" fmla="*/ 411721 h 1201357"/>
                    <a:gd name="connsiteX942" fmla="*/ 1601005 w 1605834"/>
                    <a:gd name="connsiteY942" fmla="*/ 413533 h 1201357"/>
                    <a:gd name="connsiteX943" fmla="*/ 1597987 w 1605834"/>
                    <a:gd name="connsiteY943" fmla="*/ 418966 h 1201357"/>
                    <a:gd name="connsiteX944" fmla="*/ 1598590 w 1605834"/>
                    <a:gd name="connsiteY944" fmla="*/ 430436 h 1201357"/>
                    <a:gd name="connsiteX945" fmla="*/ 1594968 w 1605834"/>
                    <a:gd name="connsiteY945" fmla="*/ 445529 h 1201357"/>
                    <a:gd name="connsiteX946" fmla="*/ 1588327 w 1605834"/>
                    <a:gd name="connsiteY946" fmla="*/ 460017 h 1201357"/>
                    <a:gd name="connsiteX947" fmla="*/ 1587120 w 1605834"/>
                    <a:gd name="connsiteY947" fmla="*/ 472091 h 1201357"/>
                    <a:gd name="connsiteX948" fmla="*/ 1585309 w 1605834"/>
                    <a:gd name="connsiteY948" fmla="*/ 476921 h 1201357"/>
                    <a:gd name="connsiteX949" fmla="*/ 1577461 w 1605834"/>
                    <a:gd name="connsiteY949" fmla="*/ 487787 h 1201357"/>
                    <a:gd name="connsiteX950" fmla="*/ 1576253 w 1605834"/>
                    <a:gd name="connsiteY950" fmla="*/ 493221 h 1201357"/>
                    <a:gd name="connsiteX951" fmla="*/ 1578065 w 1605834"/>
                    <a:gd name="connsiteY951" fmla="*/ 514350 h 1201357"/>
                    <a:gd name="connsiteX952" fmla="*/ 1575046 w 1605834"/>
                    <a:gd name="connsiteY952" fmla="*/ 532461 h 1201357"/>
                    <a:gd name="connsiteX953" fmla="*/ 1570820 w 1605834"/>
                    <a:gd name="connsiteY953" fmla="*/ 543327 h 1201357"/>
                    <a:gd name="connsiteX954" fmla="*/ 1561765 w 1605834"/>
                    <a:gd name="connsiteY954" fmla="*/ 563250 h 1201357"/>
                    <a:gd name="connsiteX955" fmla="*/ 1556935 w 1605834"/>
                    <a:gd name="connsiteY955" fmla="*/ 567475 h 1201357"/>
                    <a:gd name="connsiteX956" fmla="*/ 1553917 w 1605834"/>
                    <a:gd name="connsiteY956" fmla="*/ 577738 h 1201357"/>
                    <a:gd name="connsiteX957" fmla="*/ 1554520 w 1605834"/>
                    <a:gd name="connsiteY957" fmla="*/ 600679 h 1201357"/>
                    <a:gd name="connsiteX958" fmla="*/ 1552709 w 1605834"/>
                    <a:gd name="connsiteY958" fmla="*/ 602490 h 1201357"/>
                    <a:gd name="connsiteX959" fmla="*/ 1527958 w 1605834"/>
                    <a:gd name="connsiteY959" fmla="*/ 610338 h 1201357"/>
                    <a:gd name="connsiteX960" fmla="*/ 1522524 w 1605834"/>
                    <a:gd name="connsiteY960" fmla="*/ 607923 h 1201357"/>
                    <a:gd name="connsiteX961" fmla="*/ 1515280 w 1605834"/>
                    <a:gd name="connsiteY961" fmla="*/ 607319 h 1201357"/>
                    <a:gd name="connsiteX962" fmla="*/ 1511054 w 1605834"/>
                    <a:gd name="connsiteY962" fmla="*/ 607923 h 1201357"/>
                    <a:gd name="connsiteX963" fmla="*/ 1503810 w 1605834"/>
                    <a:gd name="connsiteY963" fmla="*/ 615167 h 1201357"/>
                    <a:gd name="connsiteX964" fmla="*/ 1502602 w 1605834"/>
                    <a:gd name="connsiteY964" fmla="*/ 619393 h 1201357"/>
                    <a:gd name="connsiteX965" fmla="*/ 1499584 w 1605834"/>
                    <a:gd name="connsiteY965" fmla="*/ 619393 h 1201357"/>
                    <a:gd name="connsiteX966" fmla="*/ 1492943 w 1605834"/>
                    <a:gd name="connsiteY966" fmla="*/ 624827 h 1201357"/>
                    <a:gd name="connsiteX967" fmla="*/ 1495962 w 1605834"/>
                    <a:gd name="connsiteY967" fmla="*/ 628449 h 1201357"/>
                    <a:gd name="connsiteX968" fmla="*/ 1496565 w 1605834"/>
                    <a:gd name="connsiteY968" fmla="*/ 633882 h 1201357"/>
                    <a:gd name="connsiteX969" fmla="*/ 1492943 w 1605834"/>
                    <a:gd name="connsiteY969" fmla="*/ 634486 h 1201357"/>
                    <a:gd name="connsiteX970" fmla="*/ 1490529 w 1605834"/>
                    <a:gd name="connsiteY970" fmla="*/ 639315 h 1201357"/>
                    <a:gd name="connsiteX971" fmla="*/ 1497169 w 1605834"/>
                    <a:gd name="connsiteY971" fmla="*/ 645956 h 1201357"/>
                    <a:gd name="connsiteX972" fmla="*/ 1501999 w 1605834"/>
                    <a:gd name="connsiteY972" fmla="*/ 649578 h 1201357"/>
                    <a:gd name="connsiteX973" fmla="*/ 1501999 w 1605834"/>
                    <a:gd name="connsiteY973" fmla="*/ 653804 h 1201357"/>
                    <a:gd name="connsiteX974" fmla="*/ 1498376 w 1605834"/>
                    <a:gd name="connsiteY974" fmla="*/ 659237 h 1201357"/>
                    <a:gd name="connsiteX975" fmla="*/ 1492340 w 1605834"/>
                    <a:gd name="connsiteY975" fmla="*/ 660445 h 1201357"/>
                    <a:gd name="connsiteX976" fmla="*/ 1474229 w 1605834"/>
                    <a:gd name="connsiteY976" fmla="*/ 660445 h 1201357"/>
                    <a:gd name="connsiteX977" fmla="*/ 1468192 w 1605834"/>
                    <a:gd name="connsiteY977" fmla="*/ 658030 h 1201357"/>
                    <a:gd name="connsiteX978" fmla="*/ 1459136 w 1605834"/>
                    <a:gd name="connsiteY978" fmla="*/ 657426 h 1201357"/>
                    <a:gd name="connsiteX979" fmla="*/ 1455514 w 1605834"/>
                    <a:gd name="connsiteY979" fmla="*/ 655011 h 1201357"/>
                    <a:gd name="connsiteX980" fmla="*/ 1453703 w 1605834"/>
                    <a:gd name="connsiteY980" fmla="*/ 658030 h 1201357"/>
                    <a:gd name="connsiteX981" fmla="*/ 1444647 w 1605834"/>
                    <a:gd name="connsiteY981" fmla="*/ 661048 h 1201357"/>
                    <a:gd name="connsiteX982" fmla="*/ 1438611 w 1605834"/>
                    <a:gd name="connsiteY982" fmla="*/ 662256 h 1201357"/>
                    <a:gd name="connsiteX983" fmla="*/ 1442836 w 1605834"/>
                    <a:gd name="connsiteY983" fmla="*/ 668897 h 1201357"/>
                    <a:gd name="connsiteX984" fmla="*/ 1442836 w 1605834"/>
                    <a:gd name="connsiteY984" fmla="*/ 675537 h 1201357"/>
                    <a:gd name="connsiteX985" fmla="*/ 1445251 w 1605834"/>
                    <a:gd name="connsiteY985" fmla="*/ 677952 h 1201357"/>
                    <a:gd name="connsiteX986" fmla="*/ 1449477 w 1605834"/>
                    <a:gd name="connsiteY986" fmla="*/ 677952 h 1201357"/>
                    <a:gd name="connsiteX987" fmla="*/ 1448270 w 1605834"/>
                    <a:gd name="connsiteY987" fmla="*/ 683385 h 1201357"/>
                    <a:gd name="connsiteX988" fmla="*/ 1450081 w 1605834"/>
                    <a:gd name="connsiteY988" fmla="*/ 690630 h 1201357"/>
                    <a:gd name="connsiteX989" fmla="*/ 1449477 w 1605834"/>
                    <a:gd name="connsiteY989" fmla="*/ 697874 h 1201357"/>
                    <a:gd name="connsiteX990" fmla="*/ 1452495 w 1605834"/>
                    <a:gd name="connsiteY990" fmla="*/ 704515 h 1201357"/>
                    <a:gd name="connsiteX991" fmla="*/ 1456118 w 1605834"/>
                    <a:gd name="connsiteY991" fmla="*/ 709948 h 1201357"/>
                    <a:gd name="connsiteX992" fmla="*/ 1454910 w 1605834"/>
                    <a:gd name="connsiteY992" fmla="*/ 719607 h 1201357"/>
                    <a:gd name="connsiteX993" fmla="*/ 1453099 w 1605834"/>
                    <a:gd name="connsiteY993" fmla="*/ 723229 h 1201357"/>
                    <a:gd name="connsiteX994" fmla="*/ 1446458 w 1605834"/>
                    <a:gd name="connsiteY994" fmla="*/ 728663 h 1201357"/>
                    <a:gd name="connsiteX995" fmla="*/ 1441025 w 1605834"/>
                    <a:gd name="connsiteY995" fmla="*/ 726851 h 1201357"/>
                    <a:gd name="connsiteX996" fmla="*/ 1438611 w 1605834"/>
                    <a:gd name="connsiteY996" fmla="*/ 728663 h 1201357"/>
                    <a:gd name="connsiteX997" fmla="*/ 1434988 w 1605834"/>
                    <a:gd name="connsiteY997" fmla="*/ 740133 h 1201357"/>
                    <a:gd name="connsiteX998" fmla="*/ 1436196 w 1605834"/>
                    <a:gd name="connsiteY998" fmla="*/ 746170 h 1201357"/>
                    <a:gd name="connsiteX999" fmla="*/ 1428951 w 1605834"/>
                    <a:gd name="connsiteY999" fmla="*/ 755225 h 1201357"/>
                    <a:gd name="connsiteX1000" fmla="*/ 1423518 w 1605834"/>
                    <a:gd name="connsiteY1000" fmla="*/ 756433 h 1201357"/>
                    <a:gd name="connsiteX1001" fmla="*/ 1420500 w 1605834"/>
                    <a:gd name="connsiteY1001" fmla="*/ 760055 h 1201357"/>
                    <a:gd name="connsiteX1002" fmla="*/ 1419292 w 1605834"/>
                    <a:gd name="connsiteY1002" fmla="*/ 766092 h 1201357"/>
                    <a:gd name="connsiteX1003" fmla="*/ 1424122 w 1605834"/>
                    <a:gd name="connsiteY1003" fmla="*/ 771525 h 1201357"/>
                    <a:gd name="connsiteX1004" fmla="*/ 1423518 w 1605834"/>
                    <a:gd name="connsiteY1004" fmla="*/ 774544 h 1201357"/>
                    <a:gd name="connsiteX1005" fmla="*/ 1418688 w 1605834"/>
                    <a:gd name="connsiteY1005" fmla="*/ 776355 h 1201357"/>
                    <a:gd name="connsiteX1006" fmla="*/ 1416274 w 1605834"/>
                    <a:gd name="connsiteY1006" fmla="*/ 773336 h 1201357"/>
                    <a:gd name="connsiteX1007" fmla="*/ 1411444 w 1605834"/>
                    <a:gd name="connsiteY1007" fmla="*/ 771525 h 1201357"/>
                    <a:gd name="connsiteX1008" fmla="*/ 1396955 w 1605834"/>
                    <a:gd name="connsiteY1008" fmla="*/ 769110 h 1201357"/>
                    <a:gd name="connsiteX1009" fmla="*/ 1389711 w 1605834"/>
                    <a:gd name="connsiteY1009" fmla="*/ 770318 h 1201357"/>
                    <a:gd name="connsiteX1010" fmla="*/ 1384881 w 1605834"/>
                    <a:gd name="connsiteY1010" fmla="*/ 767299 h 1201357"/>
                    <a:gd name="connsiteX1011" fmla="*/ 1374619 w 1605834"/>
                    <a:gd name="connsiteY1011" fmla="*/ 767299 h 1201357"/>
                    <a:gd name="connsiteX1012" fmla="*/ 1370393 w 1605834"/>
                    <a:gd name="connsiteY1012" fmla="*/ 761866 h 1201357"/>
                    <a:gd name="connsiteX1013" fmla="*/ 1364356 w 1605834"/>
                    <a:gd name="connsiteY1013" fmla="*/ 764281 h 1201357"/>
                    <a:gd name="connsiteX1014" fmla="*/ 1364356 w 1605834"/>
                    <a:gd name="connsiteY1014" fmla="*/ 768507 h 1201357"/>
                    <a:gd name="connsiteX1015" fmla="*/ 1361337 w 1605834"/>
                    <a:gd name="connsiteY1015" fmla="*/ 773940 h 1201357"/>
                    <a:gd name="connsiteX1016" fmla="*/ 1353489 w 1605834"/>
                    <a:gd name="connsiteY1016" fmla="*/ 775147 h 1201357"/>
                    <a:gd name="connsiteX1017" fmla="*/ 1343226 w 1605834"/>
                    <a:gd name="connsiteY1017" fmla="*/ 771525 h 1201357"/>
                    <a:gd name="connsiteX1018" fmla="*/ 1338397 w 1605834"/>
                    <a:gd name="connsiteY1018" fmla="*/ 767299 h 1201357"/>
                    <a:gd name="connsiteX1019" fmla="*/ 1320890 w 1605834"/>
                    <a:gd name="connsiteY1019" fmla="*/ 774544 h 1201357"/>
                    <a:gd name="connsiteX1020" fmla="*/ 1317267 w 1605834"/>
                    <a:gd name="connsiteY1020" fmla="*/ 782995 h 1201357"/>
                    <a:gd name="connsiteX1021" fmla="*/ 1314249 w 1605834"/>
                    <a:gd name="connsiteY1021" fmla="*/ 787221 h 1201357"/>
                    <a:gd name="connsiteX1022" fmla="*/ 1317871 w 1605834"/>
                    <a:gd name="connsiteY1022" fmla="*/ 791447 h 1201357"/>
                    <a:gd name="connsiteX1023" fmla="*/ 1321493 w 1605834"/>
                    <a:gd name="connsiteY1023" fmla="*/ 798691 h 1201357"/>
                    <a:gd name="connsiteX1024" fmla="*/ 1322097 w 1605834"/>
                    <a:gd name="connsiteY1024" fmla="*/ 802314 h 1201357"/>
                    <a:gd name="connsiteX1025" fmla="*/ 1326927 w 1605834"/>
                    <a:gd name="connsiteY1025" fmla="*/ 815595 h 1201357"/>
                    <a:gd name="connsiteX1026" fmla="*/ 1328738 w 1605834"/>
                    <a:gd name="connsiteY1026" fmla="*/ 817406 h 1201357"/>
                    <a:gd name="connsiteX1027" fmla="*/ 1337793 w 1605834"/>
                    <a:gd name="connsiteY1027" fmla="*/ 835517 h 1201357"/>
                    <a:gd name="connsiteX1028" fmla="*/ 1340208 w 1605834"/>
                    <a:gd name="connsiteY1028" fmla="*/ 834310 h 1201357"/>
                    <a:gd name="connsiteX1029" fmla="*/ 1342623 w 1605834"/>
                    <a:gd name="connsiteY1029" fmla="*/ 837932 h 1201357"/>
                    <a:gd name="connsiteX1030" fmla="*/ 1346245 w 1605834"/>
                    <a:gd name="connsiteY1030" fmla="*/ 837328 h 1201357"/>
                    <a:gd name="connsiteX1031" fmla="*/ 1348056 w 1605834"/>
                    <a:gd name="connsiteY1031" fmla="*/ 840950 h 1201357"/>
                    <a:gd name="connsiteX1032" fmla="*/ 1342623 w 1605834"/>
                    <a:gd name="connsiteY1032" fmla="*/ 842158 h 1201357"/>
                    <a:gd name="connsiteX1033" fmla="*/ 1342623 w 1605834"/>
                    <a:gd name="connsiteY1033" fmla="*/ 845176 h 1201357"/>
                    <a:gd name="connsiteX1034" fmla="*/ 1339000 w 1605834"/>
                    <a:gd name="connsiteY1034" fmla="*/ 849402 h 1201357"/>
                    <a:gd name="connsiteX1035" fmla="*/ 1337793 w 1605834"/>
                    <a:gd name="connsiteY1035" fmla="*/ 853024 h 1201357"/>
                    <a:gd name="connsiteX1036" fmla="*/ 1341415 w 1605834"/>
                    <a:gd name="connsiteY1036" fmla="*/ 858457 h 1201357"/>
                    <a:gd name="connsiteX1037" fmla="*/ 1346848 w 1605834"/>
                    <a:gd name="connsiteY1037" fmla="*/ 860269 h 1201357"/>
                    <a:gd name="connsiteX1038" fmla="*/ 1351074 w 1605834"/>
                    <a:gd name="connsiteY1038" fmla="*/ 857250 h 1201357"/>
                    <a:gd name="connsiteX1039" fmla="*/ 1352885 w 1605834"/>
                    <a:gd name="connsiteY1039" fmla="*/ 860269 h 1201357"/>
                    <a:gd name="connsiteX1040" fmla="*/ 1352282 w 1605834"/>
                    <a:gd name="connsiteY1040" fmla="*/ 865098 h 1201357"/>
                    <a:gd name="connsiteX1041" fmla="*/ 1355904 w 1605834"/>
                    <a:gd name="connsiteY1041" fmla="*/ 875965 h 1201357"/>
                    <a:gd name="connsiteX1042" fmla="*/ 1348660 w 1605834"/>
                    <a:gd name="connsiteY1042" fmla="*/ 874154 h 1201357"/>
                    <a:gd name="connsiteX1043" fmla="*/ 1347452 w 1605834"/>
                    <a:gd name="connsiteY1043" fmla="*/ 872342 h 1201357"/>
                    <a:gd name="connsiteX1044" fmla="*/ 1337793 w 1605834"/>
                    <a:gd name="connsiteY1044" fmla="*/ 872946 h 1201357"/>
                    <a:gd name="connsiteX1045" fmla="*/ 1333567 w 1605834"/>
                    <a:gd name="connsiteY1045" fmla="*/ 875965 h 1201357"/>
                    <a:gd name="connsiteX1046" fmla="*/ 1329341 w 1605834"/>
                    <a:gd name="connsiteY1046" fmla="*/ 875965 h 1201357"/>
                    <a:gd name="connsiteX1047" fmla="*/ 1322701 w 1605834"/>
                    <a:gd name="connsiteY1047" fmla="*/ 874154 h 1201357"/>
                    <a:gd name="connsiteX1048" fmla="*/ 1317871 w 1605834"/>
                    <a:gd name="connsiteY1048" fmla="*/ 871135 h 1201357"/>
                    <a:gd name="connsiteX1049" fmla="*/ 1316664 w 1605834"/>
                    <a:gd name="connsiteY1049" fmla="*/ 874154 h 1201357"/>
                    <a:gd name="connsiteX1050" fmla="*/ 1316664 w 1605834"/>
                    <a:gd name="connsiteY1050" fmla="*/ 884416 h 1201357"/>
                    <a:gd name="connsiteX1051" fmla="*/ 1321493 w 1605834"/>
                    <a:gd name="connsiteY1051" fmla="*/ 897094 h 1201357"/>
                    <a:gd name="connsiteX1052" fmla="*/ 1322097 w 1605834"/>
                    <a:gd name="connsiteY1052" fmla="*/ 901924 h 1201357"/>
                    <a:gd name="connsiteX1053" fmla="*/ 1319682 w 1605834"/>
                    <a:gd name="connsiteY1053" fmla="*/ 909168 h 1201357"/>
                    <a:gd name="connsiteX1054" fmla="*/ 1319682 w 1605834"/>
                    <a:gd name="connsiteY1054" fmla="*/ 920638 h 1201357"/>
                    <a:gd name="connsiteX1055" fmla="*/ 1321493 w 1605834"/>
                    <a:gd name="connsiteY1055" fmla="*/ 925468 h 1201357"/>
                    <a:gd name="connsiteX1056" fmla="*/ 1323908 w 1605834"/>
                    <a:gd name="connsiteY1056" fmla="*/ 927883 h 1201357"/>
                    <a:gd name="connsiteX1057" fmla="*/ 1323908 w 1605834"/>
                    <a:gd name="connsiteY1057" fmla="*/ 933316 h 1201357"/>
                    <a:gd name="connsiteX1058" fmla="*/ 1328134 w 1605834"/>
                    <a:gd name="connsiteY1058" fmla="*/ 936334 h 1201357"/>
                    <a:gd name="connsiteX1059" fmla="*/ 1330549 w 1605834"/>
                    <a:gd name="connsiteY1059" fmla="*/ 943579 h 1201357"/>
                    <a:gd name="connsiteX1060" fmla="*/ 1332360 w 1605834"/>
                    <a:gd name="connsiteY1060" fmla="*/ 945993 h 1201357"/>
                    <a:gd name="connsiteX1061" fmla="*/ 1339000 w 1605834"/>
                    <a:gd name="connsiteY1061" fmla="*/ 945993 h 1201357"/>
                    <a:gd name="connsiteX1062" fmla="*/ 1346245 w 1605834"/>
                    <a:gd name="connsiteY1062" fmla="*/ 951427 h 1201357"/>
                    <a:gd name="connsiteX1063" fmla="*/ 1356508 w 1605834"/>
                    <a:gd name="connsiteY1063" fmla="*/ 955653 h 1201357"/>
                    <a:gd name="connsiteX1064" fmla="*/ 1377033 w 1605834"/>
                    <a:gd name="connsiteY1064" fmla="*/ 955653 h 1201357"/>
                    <a:gd name="connsiteX1065" fmla="*/ 1385485 w 1605834"/>
                    <a:gd name="connsiteY1065" fmla="*/ 954445 h 1201357"/>
                    <a:gd name="connsiteX1066" fmla="*/ 1390315 w 1605834"/>
                    <a:gd name="connsiteY1066" fmla="*/ 956860 h 1201357"/>
                    <a:gd name="connsiteX1067" fmla="*/ 1395144 w 1605834"/>
                    <a:gd name="connsiteY1067" fmla="*/ 958067 h 1201357"/>
                    <a:gd name="connsiteX1068" fmla="*/ 1398163 w 1605834"/>
                    <a:gd name="connsiteY1068" fmla="*/ 959879 h 1201357"/>
                    <a:gd name="connsiteX1069" fmla="*/ 1402389 w 1605834"/>
                    <a:gd name="connsiteY1069" fmla="*/ 959879 h 1201357"/>
                    <a:gd name="connsiteX1070" fmla="*/ 1407822 w 1605834"/>
                    <a:gd name="connsiteY1070" fmla="*/ 958067 h 1201357"/>
                    <a:gd name="connsiteX1071" fmla="*/ 1411444 w 1605834"/>
                    <a:gd name="connsiteY1071" fmla="*/ 958067 h 1201357"/>
                    <a:gd name="connsiteX1072" fmla="*/ 1427744 w 1605834"/>
                    <a:gd name="connsiteY1072" fmla="*/ 964104 h 1201357"/>
                    <a:gd name="connsiteX1073" fmla="*/ 1427140 w 1605834"/>
                    <a:gd name="connsiteY1073" fmla="*/ 971952 h 1201357"/>
                    <a:gd name="connsiteX1074" fmla="*/ 1424725 w 1605834"/>
                    <a:gd name="connsiteY1074" fmla="*/ 980404 h 1201357"/>
                    <a:gd name="connsiteX1075" fmla="*/ 1419896 w 1605834"/>
                    <a:gd name="connsiteY1075" fmla="*/ 987649 h 1201357"/>
                    <a:gd name="connsiteX1076" fmla="*/ 1413859 w 1605834"/>
                    <a:gd name="connsiteY1076" fmla="*/ 999119 h 1201357"/>
                    <a:gd name="connsiteX1077" fmla="*/ 1411444 w 1605834"/>
                    <a:gd name="connsiteY1077" fmla="*/ 1006363 h 1201357"/>
                    <a:gd name="connsiteX1078" fmla="*/ 1415066 w 1605834"/>
                    <a:gd name="connsiteY1078" fmla="*/ 1014211 h 1201357"/>
                    <a:gd name="connsiteX1079" fmla="*/ 1415066 w 1605834"/>
                    <a:gd name="connsiteY1079" fmla="*/ 1018437 h 1201357"/>
                    <a:gd name="connsiteX1080" fmla="*/ 1409029 w 1605834"/>
                    <a:gd name="connsiteY1080" fmla="*/ 1022059 h 1201357"/>
                    <a:gd name="connsiteX1081" fmla="*/ 1405407 w 1605834"/>
                    <a:gd name="connsiteY1081" fmla="*/ 1022059 h 1201357"/>
                    <a:gd name="connsiteX1082" fmla="*/ 1408426 w 1605834"/>
                    <a:gd name="connsiteY1082" fmla="*/ 1028700 h 1201357"/>
                    <a:gd name="connsiteX1083" fmla="*/ 1413255 w 1605834"/>
                    <a:gd name="connsiteY1083" fmla="*/ 1030511 h 1201357"/>
                    <a:gd name="connsiteX1084" fmla="*/ 1413255 w 1605834"/>
                    <a:gd name="connsiteY1084" fmla="*/ 1035341 h 1201357"/>
                    <a:gd name="connsiteX1085" fmla="*/ 1418085 w 1605834"/>
                    <a:gd name="connsiteY1085" fmla="*/ 1034737 h 1201357"/>
                    <a:gd name="connsiteX1086" fmla="*/ 1420500 w 1605834"/>
                    <a:gd name="connsiteY1086" fmla="*/ 1036548 h 1201357"/>
                    <a:gd name="connsiteX1087" fmla="*/ 1429555 w 1605834"/>
                    <a:gd name="connsiteY1087" fmla="*/ 1046811 h 1201357"/>
                    <a:gd name="connsiteX1088" fmla="*/ 1433177 w 1605834"/>
                    <a:gd name="connsiteY1088" fmla="*/ 1054055 h 1201357"/>
                    <a:gd name="connsiteX1089" fmla="*/ 1440422 w 1605834"/>
                    <a:gd name="connsiteY1089" fmla="*/ 1063111 h 1201357"/>
                    <a:gd name="connsiteX1090" fmla="*/ 1451288 w 1605834"/>
                    <a:gd name="connsiteY1090" fmla="*/ 1079411 h 1201357"/>
                    <a:gd name="connsiteX1091" fmla="*/ 1457929 w 1605834"/>
                    <a:gd name="connsiteY1091" fmla="*/ 1081825 h 1201357"/>
                    <a:gd name="connsiteX1092" fmla="*/ 1460947 w 1605834"/>
                    <a:gd name="connsiteY1092" fmla="*/ 1085448 h 1201357"/>
                    <a:gd name="connsiteX1093" fmla="*/ 1463362 w 1605834"/>
                    <a:gd name="connsiteY1093" fmla="*/ 1092088 h 1201357"/>
                    <a:gd name="connsiteX1094" fmla="*/ 1457929 w 1605834"/>
                    <a:gd name="connsiteY1094" fmla="*/ 1098729 h 1201357"/>
                    <a:gd name="connsiteX1095" fmla="*/ 1452495 w 1605834"/>
                    <a:gd name="connsiteY1095" fmla="*/ 1107181 h 1201357"/>
                    <a:gd name="connsiteX1096" fmla="*/ 1450684 w 1605834"/>
                    <a:gd name="connsiteY1096" fmla="*/ 1107784 h 1201357"/>
                    <a:gd name="connsiteX1097" fmla="*/ 1440422 w 1605834"/>
                    <a:gd name="connsiteY1097" fmla="*/ 1123481 h 1201357"/>
                    <a:gd name="connsiteX1098" fmla="*/ 1430159 w 1605834"/>
                    <a:gd name="connsiteY1098" fmla="*/ 1131932 h 1201357"/>
                    <a:gd name="connsiteX1099" fmla="*/ 1430159 w 1605834"/>
                    <a:gd name="connsiteY1099" fmla="*/ 1134347 h 1201357"/>
                    <a:gd name="connsiteX1100" fmla="*/ 1425933 w 1605834"/>
                    <a:gd name="connsiteY1100" fmla="*/ 1142799 h 1201357"/>
                    <a:gd name="connsiteX1101" fmla="*/ 1419292 w 1605834"/>
                    <a:gd name="connsiteY1101" fmla="*/ 1143402 h 1201357"/>
                    <a:gd name="connsiteX1102" fmla="*/ 1416274 w 1605834"/>
                    <a:gd name="connsiteY1102" fmla="*/ 1141591 h 1201357"/>
                    <a:gd name="connsiteX1103" fmla="*/ 1415670 w 1605834"/>
                    <a:gd name="connsiteY1103" fmla="*/ 1133140 h 1201357"/>
                    <a:gd name="connsiteX1104" fmla="*/ 1404803 w 1605834"/>
                    <a:gd name="connsiteY1104" fmla="*/ 1127706 h 1201357"/>
                    <a:gd name="connsiteX1105" fmla="*/ 1399974 w 1605834"/>
                    <a:gd name="connsiteY1105" fmla="*/ 1127103 h 1201357"/>
                    <a:gd name="connsiteX1106" fmla="*/ 1396955 w 1605834"/>
                    <a:gd name="connsiteY1106" fmla="*/ 1134347 h 1201357"/>
                    <a:gd name="connsiteX1107" fmla="*/ 1390918 w 1605834"/>
                    <a:gd name="connsiteY1107" fmla="*/ 1141591 h 1201357"/>
                    <a:gd name="connsiteX1108" fmla="*/ 1385485 w 1605834"/>
                    <a:gd name="connsiteY1108" fmla="*/ 1141591 h 1201357"/>
                    <a:gd name="connsiteX1109" fmla="*/ 1383674 w 1605834"/>
                    <a:gd name="connsiteY1109" fmla="*/ 1147628 h 1201357"/>
                    <a:gd name="connsiteX1110" fmla="*/ 1374015 w 1605834"/>
                    <a:gd name="connsiteY1110" fmla="*/ 1154269 h 1201357"/>
                    <a:gd name="connsiteX1111" fmla="*/ 1364356 w 1605834"/>
                    <a:gd name="connsiteY1111" fmla="*/ 1154269 h 1201357"/>
                    <a:gd name="connsiteX1112" fmla="*/ 1360734 w 1605834"/>
                    <a:gd name="connsiteY1112" fmla="*/ 1157288 h 1201357"/>
                    <a:gd name="connsiteX1113" fmla="*/ 1364356 w 1605834"/>
                    <a:gd name="connsiteY1113" fmla="*/ 1165739 h 1201357"/>
                    <a:gd name="connsiteX1114" fmla="*/ 1363148 w 1605834"/>
                    <a:gd name="connsiteY1114" fmla="*/ 1169965 h 1201357"/>
                    <a:gd name="connsiteX1115" fmla="*/ 1359526 w 1605834"/>
                    <a:gd name="connsiteY1115" fmla="*/ 1170569 h 1201357"/>
                    <a:gd name="connsiteX1116" fmla="*/ 1358922 w 1605834"/>
                    <a:gd name="connsiteY1116" fmla="*/ 1176002 h 1201357"/>
                    <a:gd name="connsiteX1117" fmla="*/ 1354093 w 1605834"/>
                    <a:gd name="connsiteY1117" fmla="*/ 1177210 h 1201357"/>
                    <a:gd name="connsiteX1118" fmla="*/ 1346245 w 1605834"/>
                    <a:gd name="connsiteY1118" fmla="*/ 1176606 h 1201357"/>
                    <a:gd name="connsiteX1119" fmla="*/ 1336586 w 1605834"/>
                    <a:gd name="connsiteY1119" fmla="*/ 1179624 h 1201357"/>
                    <a:gd name="connsiteX1120" fmla="*/ 1331756 w 1605834"/>
                    <a:gd name="connsiteY1120" fmla="*/ 1189284 h 1201357"/>
                    <a:gd name="connsiteX1121" fmla="*/ 1329341 w 1605834"/>
                    <a:gd name="connsiteY1121" fmla="*/ 1188680 h 1201357"/>
                    <a:gd name="connsiteX1122" fmla="*/ 1325719 w 1605834"/>
                    <a:gd name="connsiteY1122" fmla="*/ 1182643 h 1201357"/>
                    <a:gd name="connsiteX1123" fmla="*/ 1314249 w 1605834"/>
                    <a:gd name="connsiteY1123" fmla="*/ 1176606 h 1201357"/>
                    <a:gd name="connsiteX1124" fmla="*/ 1303382 w 1605834"/>
                    <a:gd name="connsiteY1124" fmla="*/ 1163928 h 1201357"/>
                    <a:gd name="connsiteX1125" fmla="*/ 1297949 w 1605834"/>
                    <a:gd name="connsiteY1125" fmla="*/ 1164532 h 1201357"/>
                    <a:gd name="connsiteX1126" fmla="*/ 1296742 w 1605834"/>
                    <a:gd name="connsiteY1126" fmla="*/ 1159099 h 1201357"/>
                    <a:gd name="connsiteX1127" fmla="*/ 1293723 w 1605834"/>
                    <a:gd name="connsiteY1127" fmla="*/ 1154269 h 1201357"/>
                    <a:gd name="connsiteX1128" fmla="*/ 1290705 w 1605834"/>
                    <a:gd name="connsiteY1128" fmla="*/ 1142799 h 1201357"/>
                    <a:gd name="connsiteX1129" fmla="*/ 1287686 w 1605834"/>
                    <a:gd name="connsiteY1129" fmla="*/ 1136158 h 1201357"/>
                    <a:gd name="connsiteX1130" fmla="*/ 1287686 w 1605834"/>
                    <a:gd name="connsiteY1130" fmla="*/ 1131932 h 1201357"/>
                    <a:gd name="connsiteX1131" fmla="*/ 1291308 w 1605834"/>
                    <a:gd name="connsiteY1131" fmla="*/ 1128310 h 1201357"/>
                    <a:gd name="connsiteX1132" fmla="*/ 1290705 w 1605834"/>
                    <a:gd name="connsiteY1132" fmla="*/ 1121066 h 1201357"/>
                    <a:gd name="connsiteX1133" fmla="*/ 1288290 w 1605834"/>
                    <a:gd name="connsiteY1133" fmla="*/ 1118651 h 1201357"/>
                    <a:gd name="connsiteX1134" fmla="*/ 1284668 w 1605834"/>
                    <a:gd name="connsiteY1134" fmla="*/ 1111407 h 1201357"/>
                    <a:gd name="connsiteX1135" fmla="*/ 1285875 w 1605834"/>
                    <a:gd name="connsiteY1135" fmla="*/ 1104162 h 1201357"/>
                    <a:gd name="connsiteX1136" fmla="*/ 1275009 w 1605834"/>
                    <a:gd name="connsiteY1136" fmla="*/ 1111407 h 1201357"/>
                    <a:gd name="connsiteX1137" fmla="*/ 1265349 w 1605834"/>
                    <a:gd name="connsiteY1137" fmla="*/ 1111407 h 1201357"/>
                    <a:gd name="connsiteX1138" fmla="*/ 1262331 w 1605834"/>
                    <a:gd name="connsiteY1138" fmla="*/ 1115029 h 1201357"/>
                    <a:gd name="connsiteX1139" fmla="*/ 1259312 w 1605834"/>
                    <a:gd name="connsiteY1139" fmla="*/ 1123481 h 1201357"/>
                    <a:gd name="connsiteX1140" fmla="*/ 1256294 w 1605834"/>
                    <a:gd name="connsiteY1140" fmla="*/ 1126499 h 1201357"/>
                    <a:gd name="connsiteX1141" fmla="*/ 1249050 w 1605834"/>
                    <a:gd name="connsiteY1141" fmla="*/ 1121669 h 1201357"/>
                    <a:gd name="connsiteX1142" fmla="*/ 1245427 w 1605834"/>
                    <a:gd name="connsiteY1142" fmla="*/ 1121066 h 1201357"/>
                    <a:gd name="connsiteX1143" fmla="*/ 1237579 w 1605834"/>
                    <a:gd name="connsiteY1143" fmla="*/ 1123481 h 1201357"/>
                    <a:gd name="connsiteX1144" fmla="*/ 1230335 w 1605834"/>
                    <a:gd name="connsiteY1144" fmla="*/ 1130121 h 1201357"/>
                    <a:gd name="connsiteX1145" fmla="*/ 1224902 w 1605834"/>
                    <a:gd name="connsiteY1145" fmla="*/ 1129518 h 1201357"/>
                    <a:gd name="connsiteX1146" fmla="*/ 1218865 w 1605834"/>
                    <a:gd name="connsiteY1146" fmla="*/ 1133140 h 1201357"/>
                    <a:gd name="connsiteX1147" fmla="*/ 1215846 w 1605834"/>
                    <a:gd name="connsiteY1147" fmla="*/ 1137969 h 1201357"/>
                    <a:gd name="connsiteX1148" fmla="*/ 1215243 w 1605834"/>
                    <a:gd name="connsiteY1148" fmla="*/ 1142799 h 1201357"/>
                    <a:gd name="connsiteX1149" fmla="*/ 1211017 w 1605834"/>
                    <a:gd name="connsiteY1149" fmla="*/ 1142799 h 1201357"/>
                    <a:gd name="connsiteX1150" fmla="*/ 1209809 w 1605834"/>
                    <a:gd name="connsiteY1150" fmla="*/ 1143402 h 120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Lst>
                  <a:rect l="l" t="t" r="r" b="b"/>
                  <a:pathLst>
                    <a:path w="1605834" h="1201357">
                      <a:moveTo>
                        <a:pt x="1209809" y="1143402"/>
                      </a:moveTo>
                      <a:lnTo>
                        <a:pt x="1208602" y="1144610"/>
                      </a:lnTo>
                      <a:lnTo>
                        <a:pt x="1204376" y="1147628"/>
                      </a:lnTo>
                      <a:lnTo>
                        <a:pt x="1194717" y="1156684"/>
                      </a:lnTo>
                      <a:lnTo>
                        <a:pt x="1194113" y="1156080"/>
                      </a:lnTo>
                      <a:lnTo>
                        <a:pt x="1192906" y="1154873"/>
                      </a:lnTo>
                      <a:lnTo>
                        <a:pt x="1188076" y="1149439"/>
                      </a:lnTo>
                      <a:lnTo>
                        <a:pt x="1192906" y="1143402"/>
                      </a:lnTo>
                      <a:lnTo>
                        <a:pt x="1192302" y="1131932"/>
                      </a:lnTo>
                      <a:lnTo>
                        <a:pt x="1196528" y="1131329"/>
                      </a:lnTo>
                      <a:lnTo>
                        <a:pt x="1211017" y="1120462"/>
                      </a:lnTo>
                      <a:lnTo>
                        <a:pt x="1207394" y="1117444"/>
                      </a:lnTo>
                      <a:lnTo>
                        <a:pt x="1206187" y="1108388"/>
                      </a:lnTo>
                      <a:lnTo>
                        <a:pt x="1206791" y="1101747"/>
                      </a:lnTo>
                      <a:lnTo>
                        <a:pt x="1209206" y="1097522"/>
                      </a:lnTo>
                      <a:lnTo>
                        <a:pt x="1207394" y="1093296"/>
                      </a:lnTo>
                      <a:lnTo>
                        <a:pt x="1207998" y="1086655"/>
                      </a:lnTo>
                      <a:lnTo>
                        <a:pt x="1206187" y="1086051"/>
                      </a:lnTo>
                      <a:lnTo>
                        <a:pt x="1204376" y="1086051"/>
                      </a:lnTo>
                      <a:lnTo>
                        <a:pt x="1201961" y="1086051"/>
                      </a:lnTo>
                      <a:lnTo>
                        <a:pt x="1190491" y="1092692"/>
                      </a:lnTo>
                      <a:lnTo>
                        <a:pt x="1191698" y="1098729"/>
                      </a:lnTo>
                      <a:lnTo>
                        <a:pt x="1179624" y="1102955"/>
                      </a:lnTo>
                      <a:lnTo>
                        <a:pt x="1177210" y="1107784"/>
                      </a:lnTo>
                      <a:lnTo>
                        <a:pt x="1172380" y="1110803"/>
                      </a:lnTo>
                      <a:lnTo>
                        <a:pt x="1168758" y="1110803"/>
                      </a:lnTo>
                      <a:lnTo>
                        <a:pt x="1168154" y="1108992"/>
                      </a:lnTo>
                      <a:lnTo>
                        <a:pt x="1168154" y="1108992"/>
                      </a:lnTo>
                      <a:lnTo>
                        <a:pt x="1166343" y="1107784"/>
                      </a:lnTo>
                      <a:lnTo>
                        <a:pt x="1163325" y="1107181"/>
                      </a:lnTo>
                      <a:lnTo>
                        <a:pt x="1162721" y="1107181"/>
                      </a:lnTo>
                      <a:lnTo>
                        <a:pt x="1159702" y="1108992"/>
                      </a:lnTo>
                      <a:lnTo>
                        <a:pt x="1157891" y="1114425"/>
                      </a:lnTo>
                      <a:lnTo>
                        <a:pt x="1155477" y="1115632"/>
                      </a:lnTo>
                      <a:lnTo>
                        <a:pt x="1153665" y="1114425"/>
                      </a:lnTo>
                      <a:lnTo>
                        <a:pt x="1153062" y="1113821"/>
                      </a:lnTo>
                      <a:lnTo>
                        <a:pt x="1151854" y="1111407"/>
                      </a:lnTo>
                      <a:lnTo>
                        <a:pt x="1150043" y="1111407"/>
                      </a:lnTo>
                      <a:lnTo>
                        <a:pt x="1148836" y="1112614"/>
                      </a:lnTo>
                      <a:lnTo>
                        <a:pt x="1147628" y="1113821"/>
                      </a:lnTo>
                      <a:lnTo>
                        <a:pt x="1146421" y="1115029"/>
                      </a:lnTo>
                      <a:lnTo>
                        <a:pt x="1145214" y="1120462"/>
                      </a:lnTo>
                      <a:lnTo>
                        <a:pt x="1137969" y="1119858"/>
                      </a:lnTo>
                      <a:lnTo>
                        <a:pt x="1139780" y="1126499"/>
                      </a:lnTo>
                      <a:lnTo>
                        <a:pt x="1137366" y="1129518"/>
                      </a:lnTo>
                      <a:lnTo>
                        <a:pt x="1127706" y="1129518"/>
                      </a:lnTo>
                      <a:lnTo>
                        <a:pt x="1126499" y="1128310"/>
                      </a:lnTo>
                      <a:lnTo>
                        <a:pt x="1126499" y="1128310"/>
                      </a:lnTo>
                      <a:lnTo>
                        <a:pt x="1126499" y="1127103"/>
                      </a:lnTo>
                      <a:lnTo>
                        <a:pt x="1123480" y="1122273"/>
                      </a:lnTo>
                      <a:lnTo>
                        <a:pt x="1121669" y="1116840"/>
                      </a:lnTo>
                      <a:lnTo>
                        <a:pt x="1118651" y="1114425"/>
                      </a:lnTo>
                      <a:lnTo>
                        <a:pt x="1115029" y="1107181"/>
                      </a:lnTo>
                      <a:lnTo>
                        <a:pt x="1111407" y="1102955"/>
                      </a:lnTo>
                      <a:lnTo>
                        <a:pt x="1114425" y="1086051"/>
                      </a:lnTo>
                      <a:lnTo>
                        <a:pt x="1110803" y="1083033"/>
                      </a:lnTo>
                      <a:lnTo>
                        <a:pt x="1108992" y="1083033"/>
                      </a:lnTo>
                      <a:lnTo>
                        <a:pt x="1107784" y="1083033"/>
                      </a:lnTo>
                      <a:lnTo>
                        <a:pt x="1107181" y="1083033"/>
                      </a:lnTo>
                      <a:lnTo>
                        <a:pt x="1105973" y="1082429"/>
                      </a:lnTo>
                      <a:lnTo>
                        <a:pt x="1104162" y="1079411"/>
                      </a:lnTo>
                      <a:lnTo>
                        <a:pt x="1103559" y="1073977"/>
                      </a:lnTo>
                      <a:lnTo>
                        <a:pt x="1101144" y="1071563"/>
                      </a:lnTo>
                      <a:lnTo>
                        <a:pt x="1095107" y="1067337"/>
                      </a:lnTo>
                      <a:lnTo>
                        <a:pt x="1093899" y="1067337"/>
                      </a:lnTo>
                      <a:lnTo>
                        <a:pt x="1093296" y="1068544"/>
                      </a:lnTo>
                      <a:lnTo>
                        <a:pt x="1093296" y="1068544"/>
                      </a:lnTo>
                      <a:lnTo>
                        <a:pt x="1092088" y="1068544"/>
                      </a:lnTo>
                      <a:lnTo>
                        <a:pt x="1090881" y="1066733"/>
                      </a:lnTo>
                      <a:lnTo>
                        <a:pt x="1090277" y="1066129"/>
                      </a:lnTo>
                      <a:lnTo>
                        <a:pt x="1087862" y="1064318"/>
                      </a:lnTo>
                      <a:lnTo>
                        <a:pt x="1082429" y="1061300"/>
                      </a:lnTo>
                      <a:lnTo>
                        <a:pt x="1083033" y="1057074"/>
                      </a:lnTo>
                      <a:lnTo>
                        <a:pt x="1087259" y="1054659"/>
                      </a:lnTo>
                      <a:lnTo>
                        <a:pt x="1088466" y="1051037"/>
                      </a:lnTo>
                      <a:lnTo>
                        <a:pt x="1081825" y="1046207"/>
                      </a:lnTo>
                      <a:lnTo>
                        <a:pt x="1072166" y="1034737"/>
                      </a:lnTo>
                      <a:lnTo>
                        <a:pt x="1068544" y="1033530"/>
                      </a:lnTo>
                      <a:lnTo>
                        <a:pt x="1065526" y="1033530"/>
                      </a:lnTo>
                      <a:lnTo>
                        <a:pt x="1064922" y="1032926"/>
                      </a:lnTo>
                      <a:lnTo>
                        <a:pt x="1064318" y="1032926"/>
                      </a:lnTo>
                      <a:lnTo>
                        <a:pt x="1062507" y="1031115"/>
                      </a:lnTo>
                      <a:lnTo>
                        <a:pt x="1061903" y="1032926"/>
                      </a:lnTo>
                      <a:lnTo>
                        <a:pt x="1061903" y="1034133"/>
                      </a:lnTo>
                      <a:lnTo>
                        <a:pt x="1061300" y="1035341"/>
                      </a:lnTo>
                      <a:lnTo>
                        <a:pt x="1059489" y="1038359"/>
                      </a:lnTo>
                      <a:lnTo>
                        <a:pt x="1054055" y="1041378"/>
                      </a:lnTo>
                      <a:lnTo>
                        <a:pt x="1048018" y="1041981"/>
                      </a:lnTo>
                      <a:lnTo>
                        <a:pt x="1047415" y="1041981"/>
                      </a:lnTo>
                      <a:lnTo>
                        <a:pt x="1047415" y="1041981"/>
                      </a:lnTo>
                      <a:lnTo>
                        <a:pt x="1042585" y="1047415"/>
                      </a:lnTo>
                      <a:lnTo>
                        <a:pt x="1038359" y="1049226"/>
                      </a:lnTo>
                      <a:lnTo>
                        <a:pt x="1032322" y="1055866"/>
                      </a:lnTo>
                      <a:lnTo>
                        <a:pt x="1026889" y="1057074"/>
                      </a:lnTo>
                      <a:lnTo>
                        <a:pt x="1025078" y="1055866"/>
                      </a:lnTo>
                      <a:lnTo>
                        <a:pt x="1025078" y="1055866"/>
                      </a:lnTo>
                      <a:lnTo>
                        <a:pt x="1025078" y="1055866"/>
                      </a:lnTo>
                      <a:lnTo>
                        <a:pt x="1022663" y="1057678"/>
                      </a:lnTo>
                      <a:lnTo>
                        <a:pt x="1019041" y="1061300"/>
                      </a:lnTo>
                      <a:lnTo>
                        <a:pt x="1017833" y="1061300"/>
                      </a:lnTo>
                      <a:lnTo>
                        <a:pt x="1016022" y="1060696"/>
                      </a:lnTo>
                      <a:lnTo>
                        <a:pt x="1014815" y="1060696"/>
                      </a:lnTo>
                      <a:lnTo>
                        <a:pt x="1013004" y="1056470"/>
                      </a:lnTo>
                      <a:lnTo>
                        <a:pt x="1011193" y="1057678"/>
                      </a:lnTo>
                      <a:lnTo>
                        <a:pt x="1010589" y="1057678"/>
                      </a:lnTo>
                      <a:lnTo>
                        <a:pt x="1009382" y="1057678"/>
                      </a:lnTo>
                      <a:lnTo>
                        <a:pt x="1008174" y="1057074"/>
                      </a:lnTo>
                      <a:lnTo>
                        <a:pt x="1008174" y="1057074"/>
                      </a:lnTo>
                      <a:lnTo>
                        <a:pt x="1007571" y="1056470"/>
                      </a:lnTo>
                      <a:lnTo>
                        <a:pt x="1006967" y="1055866"/>
                      </a:lnTo>
                      <a:lnTo>
                        <a:pt x="1006363" y="1055866"/>
                      </a:lnTo>
                      <a:lnTo>
                        <a:pt x="1005156" y="1056470"/>
                      </a:lnTo>
                      <a:lnTo>
                        <a:pt x="1004552" y="1056470"/>
                      </a:lnTo>
                      <a:lnTo>
                        <a:pt x="1003345" y="1057074"/>
                      </a:lnTo>
                      <a:lnTo>
                        <a:pt x="999119" y="1062507"/>
                      </a:lnTo>
                      <a:lnTo>
                        <a:pt x="998515" y="1070355"/>
                      </a:lnTo>
                      <a:lnTo>
                        <a:pt x="994289" y="1072770"/>
                      </a:lnTo>
                      <a:lnTo>
                        <a:pt x="992478" y="1072166"/>
                      </a:lnTo>
                      <a:lnTo>
                        <a:pt x="991271" y="1071563"/>
                      </a:lnTo>
                      <a:lnTo>
                        <a:pt x="988252" y="1063714"/>
                      </a:lnTo>
                      <a:lnTo>
                        <a:pt x="981612" y="1062507"/>
                      </a:lnTo>
                      <a:lnTo>
                        <a:pt x="978593" y="1057678"/>
                      </a:lnTo>
                      <a:lnTo>
                        <a:pt x="976782" y="1059489"/>
                      </a:lnTo>
                      <a:lnTo>
                        <a:pt x="976178" y="1060696"/>
                      </a:lnTo>
                      <a:lnTo>
                        <a:pt x="974367" y="1060696"/>
                      </a:lnTo>
                      <a:lnTo>
                        <a:pt x="973764" y="1059489"/>
                      </a:lnTo>
                      <a:lnTo>
                        <a:pt x="973764" y="1059489"/>
                      </a:lnTo>
                      <a:lnTo>
                        <a:pt x="971952" y="1057678"/>
                      </a:lnTo>
                      <a:lnTo>
                        <a:pt x="971349" y="1057074"/>
                      </a:lnTo>
                      <a:lnTo>
                        <a:pt x="972556" y="1055866"/>
                      </a:lnTo>
                      <a:lnTo>
                        <a:pt x="967123" y="1051037"/>
                      </a:lnTo>
                      <a:lnTo>
                        <a:pt x="962293" y="1049226"/>
                      </a:lnTo>
                      <a:lnTo>
                        <a:pt x="961086" y="1044396"/>
                      </a:lnTo>
                      <a:lnTo>
                        <a:pt x="958671" y="1046207"/>
                      </a:lnTo>
                      <a:lnTo>
                        <a:pt x="958067" y="1046811"/>
                      </a:lnTo>
                      <a:lnTo>
                        <a:pt x="958067" y="1047415"/>
                      </a:lnTo>
                      <a:lnTo>
                        <a:pt x="958067" y="1048018"/>
                      </a:lnTo>
                      <a:lnTo>
                        <a:pt x="957464" y="1049226"/>
                      </a:lnTo>
                      <a:lnTo>
                        <a:pt x="956256" y="1047415"/>
                      </a:lnTo>
                      <a:lnTo>
                        <a:pt x="955653" y="1045000"/>
                      </a:lnTo>
                      <a:lnTo>
                        <a:pt x="955049" y="1043792"/>
                      </a:lnTo>
                      <a:lnTo>
                        <a:pt x="955049" y="1038359"/>
                      </a:lnTo>
                      <a:lnTo>
                        <a:pt x="953238" y="1038359"/>
                      </a:lnTo>
                      <a:lnTo>
                        <a:pt x="953238" y="1032322"/>
                      </a:lnTo>
                      <a:lnTo>
                        <a:pt x="945994" y="1031115"/>
                      </a:lnTo>
                      <a:lnTo>
                        <a:pt x="945994" y="1031718"/>
                      </a:lnTo>
                      <a:lnTo>
                        <a:pt x="944786" y="1033530"/>
                      </a:lnTo>
                      <a:lnTo>
                        <a:pt x="940560" y="1034133"/>
                      </a:lnTo>
                      <a:lnTo>
                        <a:pt x="939957" y="1033530"/>
                      </a:lnTo>
                      <a:lnTo>
                        <a:pt x="938749" y="1031115"/>
                      </a:lnTo>
                      <a:lnTo>
                        <a:pt x="936938" y="1031115"/>
                      </a:lnTo>
                      <a:lnTo>
                        <a:pt x="932109" y="1028096"/>
                      </a:lnTo>
                      <a:lnTo>
                        <a:pt x="930297" y="1028700"/>
                      </a:lnTo>
                      <a:lnTo>
                        <a:pt x="930297" y="1028700"/>
                      </a:lnTo>
                      <a:lnTo>
                        <a:pt x="929090" y="1029304"/>
                      </a:lnTo>
                      <a:lnTo>
                        <a:pt x="924864" y="1030511"/>
                      </a:lnTo>
                      <a:lnTo>
                        <a:pt x="923053" y="1029304"/>
                      </a:lnTo>
                      <a:lnTo>
                        <a:pt x="923053" y="1029304"/>
                      </a:lnTo>
                      <a:lnTo>
                        <a:pt x="922449" y="1028700"/>
                      </a:lnTo>
                      <a:lnTo>
                        <a:pt x="921242" y="1027493"/>
                      </a:lnTo>
                      <a:lnTo>
                        <a:pt x="918223" y="1025682"/>
                      </a:lnTo>
                      <a:lnTo>
                        <a:pt x="917016" y="1024474"/>
                      </a:lnTo>
                      <a:lnTo>
                        <a:pt x="907357" y="1018437"/>
                      </a:lnTo>
                      <a:lnTo>
                        <a:pt x="902527" y="1008174"/>
                      </a:lnTo>
                      <a:lnTo>
                        <a:pt x="901320" y="1003345"/>
                      </a:lnTo>
                      <a:lnTo>
                        <a:pt x="897698" y="998515"/>
                      </a:lnTo>
                      <a:lnTo>
                        <a:pt x="895887" y="999119"/>
                      </a:lnTo>
                      <a:lnTo>
                        <a:pt x="894679" y="1000326"/>
                      </a:lnTo>
                      <a:lnTo>
                        <a:pt x="892868" y="999723"/>
                      </a:lnTo>
                      <a:lnTo>
                        <a:pt x="891661" y="999119"/>
                      </a:lnTo>
                      <a:lnTo>
                        <a:pt x="891661" y="999119"/>
                      </a:lnTo>
                      <a:lnTo>
                        <a:pt x="890453" y="998515"/>
                      </a:lnTo>
                      <a:lnTo>
                        <a:pt x="884416" y="989460"/>
                      </a:lnTo>
                      <a:lnTo>
                        <a:pt x="883209" y="984630"/>
                      </a:lnTo>
                      <a:lnTo>
                        <a:pt x="884416" y="979801"/>
                      </a:lnTo>
                      <a:lnTo>
                        <a:pt x="887435" y="977386"/>
                      </a:lnTo>
                      <a:lnTo>
                        <a:pt x="886228" y="973160"/>
                      </a:lnTo>
                      <a:lnTo>
                        <a:pt x="889850" y="967727"/>
                      </a:lnTo>
                      <a:lnTo>
                        <a:pt x="888039" y="965916"/>
                      </a:lnTo>
                      <a:lnTo>
                        <a:pt x="887435" y="965916"/>
                      </a:lnTo>
                      <a:lnTo>
                        <a:pt x="886831" y="967123"/>
                      </a:lnTo>
                      <a:lnTo>
                        <a:pt x="886228" y="967123"/>
                      </a:lnTo>
                      <a:lnTo>
                        <a:pt x="885624" y="967727"/>
                      </a:lnTo>
                      <a:lnTo>
                        <a:pt x="885020" y="968934"/>
                      </a:lnTo>
                      <a:lnTo>
                        <a:pt x="884416" y="968934"/>
                      </a:lnTo>
                      <a:lnTo>
                        <a:pt x="883209" y="968330"/>
                      </a:lnTo>
                      <a:lnTo>
                        <a:pt x="882002" y="967123"/>
                      </a:lnTo>
                      <a:lnTo>
                        <a:pt x="880794" y="965312"/>
                      </a:lnTo>
                      <a:lnTo>
                        <a:pt x="878983" y="964708"/>
                      </a:lnTo>
                      <a:lnTo>
                        <a:pt x="877172" y="964708"/>
                      </a:lnTo>
                      <a:lnTo>
                        <a:pt x="875965" y="964708"/>
                      </a:lnTo>
                      <a:lnTo>
                        <a:pt x="874757" y="965916"/>
                      </a:lnTo>
                      <a:lnTo>
                        <a:pt x="875965" y="968330"/>
                      </a:lnTo>
                      <a:lnTo>
                        <a:pt x="875361" y="971952"/>
                      </a:lnTo>
                      <a:lnTo>
                        <a:pt x="869324" y="983423"/>
                      </a:lnTo>
                      <a:lnTo>
                        <a:pt x="865702" y="984026"/>
                      </a:lnTo>
                      <a:lnTo>
                        <a:pt x="864494" y="983423"/>
                      </a:lnTo>
                      <a:lnTo>
                        <a:pt x="862080" y="982819"/>
                      </a:lnTo>
                      <a:lnTo>
                        <a:pt x="862080" y="982819"/>
                      </a:lnTo>
                      <a:lnTo>
                        <a:pt x="861476" y="984026"/>
                      </a:lnTo>
                      <a:lnTo>
                        <a:pt x="860268" y="984630"/>
                      </a:lnTo>
                      <a:lnTo>
                        <a:pt x="853024" y="985838"/>
                      </a:lnTo>
                      <a:lnTo>
                        <a:pt x="848195" y="987649"/>
                      </a:lnTo>
                      <a:lnTo>
                        <a:pt x="846383" y="987045"/>
                      </a:lnTo>
                      <a:lnTo>
                        <a:pt x="845176" y="987045"/>
                      </a:lnTo>
                      <a:lnTo>
                        <a:pt x="842158" y="984630"/>
                      </a:lnTo>
                      <a:lnTo>
                        <a:pt x="838535" y="976782"/>
                      </a:lnTo>
                      <a:lnTo>
                        <a:pt x="831291" y="975575"/>
                      </a:lnTo>
                      <a:lnTo>
                        <a:pt x="830687" y="976782"/>
                      </a:lnTo>
                      <a:lnTo>
                        <a:pt x="830687" y="976782"/>
                      </a:lnTo>
                      <a:lnTo>
                        <a:pt x="828876" y="977989"/>
                      </a:lnTo>
                      <a:lnTo>
                        <a:pt x="825858" y="977989"/>
                      </a:lnTo>
                      <a:lnTo>
                        <a:pt x="821632" y="978593"/>
                      </a:lnTo>
                      <a:lnTo>
                        <a:pt x="821028" y="979197"/>
                      </a:lnTo>
                      <a:lnTo>
                        <a:pt x="815595" y="983423"/>
                      </a:lnTo>
                      <a:lnTo>
                        <a:pt x="810162" y="983423"/>
                      </a:lnTo>
                      <a:lnTo>
                        <a:pt x="807747" y="982819"/>
                      </a:lnTo>
                      <a:lnTo>
                        <a:pt x="806539" y="982819"/>
                      </a:lnTo>
                      <a:lnTo>
                        <a:pt x="805936" y="982819"/>
                      </a:lnTo>
                      <a:lnTo>
                        <a:pt x="803521" y="981008"/>
                      </a:lnTo>
                      <a:lnTo>
                        <a:pt x="801710" y="981612"/>
                      </a:lnTo>
                      <a:lnTo>
                        <a:pt x="800502" y="981612"/>
                      </a:lnTo>
                      <a:lnTo>
                        <a:pt x="799899" y="981612"/>
                      </a:lnTo>
                      <a:lnTo>
                        <a:pt x="793258" y="987045"/>
                      </a:lnTo>
                      <a:lnTo>
                        <a:pt x="793258" y="988252"/>
                      </a:lnTo>
                      <a:lnTo>
                        <a:pt x="784203" y="995497"/>
                      </a:lnTo>
                      <a:lnTo>
                        <a:pt x="779373" y="997308"/>
                      </a:lnTo>
                      <a:lnTo>
                        <a:pt x="775751" y="1002137"/>
                      </a:lnTo>
                      <a:lnTo>
                        <a:pt x="771525" y="1014815"/>
                      </a:lnTo>
                      <a:lnTo>
                        <a:pt x="767903" y="1019041"/>
                      </a:lnTo>
                      <a:lnTo>
                        <a:pt x="763677" y="1020852"/>
                      </a:lnTo>
                      <a:lnTo>
                        <a:pt x="757640" y="1020852"/>
                      </a:lnTo>
                      <a:lnTo>
                        <a:pt x="750396" y="1022059"/>
                      </a:lnTo>
                      <a:lnTo>
                        <a:pt x="745566" y="1025078"/>
                      </a:lnTo>
                      <a:lnTo>
                        <a:pt x="738322" y="1025682"/>
                      </a:lnTo>
                      <a:lnTo>
                        <a:pt x="735303" y="1035341"/>
                      </a:lnTo>
                      <a:lnTo>
                        <a:pt x="724437" y="1043189"/>
                      </a:lnTo>
                      <a:lnTo>
                        <a:pt x="722626" y="1047415"/>
                      </a:lnTo>
                      <a:lnTo>
                        <a:pt x="719607" y="1048018"/>
                      </a:lnTo>
                      <a:lnTo>
                        <a:pt x="715381" y="1051641"/>
                      </a:lnTo>
                      <a:lnTo>
                        <a:pt x="707533" y="1055866"/>
                      </a:lnTo>
                      <a:lnTo>
                        <a:pt x="705118" y="1055866"/>
                      </a:lnTo>
                      <a:lnTo>
                        <a:pt x="704515" y="1055263"/>
                      </a:lnTo>
                      <a:lnTo>
                        <a:pt x="702704" y="1052848"/>
                      </a:lnTo>
                      <a:lnTo>
                        <a:pt x="700892" y="1050433"/>
                      </a:lnTo>
                      <a:lnTo>
                        <a:pt x="698478" y="1048018"/>
                      </a:lnTo>
                      <a:lnTo>
                        <a:pt x="691233" y="1044396"/>
                      </a:lnTo>
                      <a:lnTo>
                        <a:pt x="684593" y="1043189"/>
                      </a:lnTo>
                      <a:lnTo>
                        <a:pt x="682782" y="1043792"/>
                      </a:lnTo>
                      <a:lnTo>
                        <a:pt x="682178" y="1043792"/>
                      </a:lnTo>
                      <a:lnTo>
                        <a:pt x="679159" y="1044396"/>
                      </a:lnTo>
                      <a:lnTo>
                        <a:pt x="677348" y="1051037"/>
                      </a:lnTo>
                      <a:lnTo>
                        <a:pt x="674934" y="1053452"/>
                      </a:lnTo>
                      <a:lnTo>
                        <a:pt x="676141" y="1059489"/>
                      </a:lnTo>
                      <a:lnTo>
                        <a:pt x="681574" y="1066129"/>
                      </a:lnTo>
                      <a:lnTo>
                        <a:pt x="693044" y="1072770"/>
                      </a:lnTo>
                      <a:lnTo>
                        <a:pt x="697874" y="1083637"/>
                      </a:lnTo>
                      <a:lnTo>
                        <a:pt x="700892" y="1086655"/>
                      </a:lnTo>
                      <a:lnTo>
                        <a:pt x="700289" y="1095710"/>
                      </a:lnTo>
                      <a:lnTo>
                        <a:pt x="697270" y="1102955"/>
                      </a:lnTo>
                      <a:lnTo>
                        <a:pt x="699081" y="1107784"/>
                      </a:lnTo>
                      <a:lnTo>
                        <a:pt x="703307" y="1111407"/>
                      </a:lnTo>
                      <a:lnTo>
                        <a:pt x="702704" y="1115029"/>
                      </a:lnTo>
                      <a:lnTo>
                        <a:pt x="695459" y="1127706"/>
                      </a:lnTo>
                      <a:lnTo>
                        <a:pt x="688818" y="1136158"/>
                      </a:lnTo>
                      <a:lnTo>
                        <a:pt x="686404" y="1139177"/>
                      </a:lnTo>
                      <a:lnTo>
                        <a:pt x="685196" y="1140988"/>
                      </a:lnTo>
                      <a:lnTo>
                        <a:pt x="682782" y="1147628"/>
                      </a:lnTo>
                      <a:lnTo>
                        <a:pt x="678556" y="1153062"/>
                      </a:lnTo>
                      <a:lnTo>
                        <a:pt x="673122" y="1156080"/>
                      </a:lnTo>
                      <a:lnTo>
                        <a:pt x="665878" y="1157288"/>
                      </a:lnTo>
                      <a:lnTo>
                        <a:pt x="659237" y="1169965"/>
                      </a:lnTo>
                      <a:lnTo>
                        <a:pt x="653804" y="1174191"/>
                      </a:lnTo>
                      <a:lnTo>
                        <a:pt x="645956" y="1177210"/>
                      </a:lnTo>
                      <a:lnTo>
                        <a:pt x="634486" y="1179021"/>
                      </a:lnTo>
                      <a:lnTo>
                        <a:pt x="629052" y="1180832"/>
                      </a:lnTo>
                      <a:lnTo>
                        <a:pt x="621204" y="1186869"/>
                      </a:lnTo>
                      <a:lnTo>
                        <a:pt x="618790" y="1198943"/>
                      </a:lnTo>
                      <a:lnTo>
                        <a:pt x="616375" y="1203169"/>
                      </a:lnTo>
                      <a:lnTo>
                        <a:pt x="613960" y="1203772"/>
                      </a:lnTo>
                      <a:lnTo>
                        <a:pt x="613356" y="1202565"/>
                      </a:lnTo>
                      <a:lnTo>
                        <a:pt x="613356" y="1201961"/>
                      </a:lnTo>
                      <a:lnTo>
                        <a:pt x="613356" y="1195924"/>
                      </a:lnTo>
                      <a:lnTo>
                        <a:pt x="608527" y="1194113"/>
                      </a:lnTo>
                      <a:lnTo>
                        <a:pt x="609734" y="1189284"/>
                      </a:lnTo>
                      <a:lnTo>
                        <a:pt x="608527" y="1189284"/>
                      </a:lnTo>
                      <a:lnTo>
                        <a:pt x="606716" y="1190491"/>
                      </a:lnTo>
                      <a:lnTo>
                        <a:pt x="606112" y="1190491"/>
                      </a:lnTo>
                      <a:lnTo>
                        <a:pt x="597660" y="1192906"/>
                      </a:lnTo>
                      <a:lnTo>
                        <a:pt x="595849" y="1192906"/>
                      </a:lnTo>
                      <a:lnTo>
                        <a:pt x="594038" y="1192302"/>
                      </a:lnTo>
                      <a:lnTo>
                        <a:pt x="591623" y="1192302"/>
                      </a:lnTo>
                      <a:lnTo>
                        <a:pt x="580757" y="1187472"/>
                      </a:lnTo>
                      <a:lnTo>
                        <a:pt x="579549" y="1188680"/>
                      </a:lnTo>
                      <a:lnTo>
                        <a:pt x="578946" y="1188680"/>
                      </a:lnTo>
                      <a:lnTo>
                        <a:pt x="575927" y="1188680"/>
                      </a:lnTo>
                      <a:lnTo>
                        <a:pt x="574720" y="1190491"/>
                      </a:lnTo>
                      <a:lnTo>
                        <a:pt x="568683" y="1185661"/>
                      </a:lnTo>
                      <a:lnTo>
                        <a:pt x="568079" y="1182643"/>
                      </a:lnTo>
                      <a:lnTo>
                        <a:pt x="562042" y="1183247"/>
                      </a:lnTo>
                      <a:lnTo>
                        <a:pt x="562042" y="1178417"/>
                      </a:lnTo>
                      <a:lnTo>
                        <a:pt x="557816" y="1179021"/>
                      </a:lnTo>
                      <a:lnTo>
                        <a:pt x="552987" y="1175398"/>
                      </a:lnTo>
                      <a:lnTo>
                        <a:pt x="549968" y="1176606"/>
                      </a:lnTo>
                      <a:lnTo>
                        <a:pt x="548157" y="1169361"/>
                      </a:lnTo>
                      <a:lnTo>
                        <a:pt x="542724" y="1169965"/>
                      </a:lnTo>
                      <a:lnTo>
                        <a:pt x="536083" y="1173587"/>
                      </a:lnTo>
                      <a:lnTo>
                        <a:pt x="534272" y="1163325"/>
                      </a:lnTo>
                      <a:lnTo>
                        <a:pt x="531254" y="1156684"/>
                      </a:lnTo>
                      <a:lnTo>
                        <a:pt x="527631" y="1159099"/>
                      </a:lnTo>
                      <a:lnTo>
                        <a:pt x="523405" y="1156080"/>
                      </a:lnTo>
                      <a:lnTo>
                        <a:pt x="519783" y="1156080"/>
                      </a:lnTo>
                      <a:lnTo>
                        <a:pt x="516161" y="1153062"/>
                      </a:lnTo>
                      <a:lnTo>
                        <a:pt x="513143" y="1153665"/>
                      </a:lnTo>
                      <a:lnTo>
                        <a:pt x="512539" y="1157891"/>
                      </a:lnTo>
                      <a:lnTo>
                        <a:pt x="508313" y="1162721"/>
                      </a:lnTo>
                      <a:lnTo>
                        <a:pt x="500465" y="1162721"/>
                      </a:lnTo>
                      <a:lnTo>
                        <a:pt x="495635" y="1159099"/>
                      </a:lnTo>
                      <a:lnTo>
                        <a:pt x="487184" y="1159702"/>
                      </a:lnTo>
                      <a:lnTo>
                        <a:pt x="483561" y="1154269"/>
                      </a:lnTo>
                      <a:lnTo>
                        <a:pt x="477524" y="1154269"/>
                      </a:lnTo>
                      <a:lnTo>
                        <a:pt x="470884" y="1153062"/>
                      </a:lnTo>
                      <a:lnTo>
                        <a:pt x="470280" y="1156080"/>
                      </a:lnTo>
                      <a:lnTo>
                        <a:pt x="463639" y="1157288"/>
                      </a:lnTo>
                      <a:lnTo>
                        <a:pt x="449754" y="1156684"/>
                      </a:lnTo>
                      <a:lnTo>
                        <a:pt x="449151" y="1153665"/>
                      </a:lnTo>
                      <a:lnTo>
                        <a:pt x="444321" y="1154269"/>
                      </a:lnTo>
                      <a:lnTo>
                        <a:pt x="443114" y="1149439"/>
                      </a:lnTo>
                      <a:lnTo>
                        <a:pt x="445529" y="1144610"/>
                      </a:lnTo>
                      <a:lnTo>
                        <a:pt x="439492" y="1140384"/>
                      </a:lnTo>
                      <a:lnTo>
                        <a:pt x="437680" y="1136158"/>
                      </a:lnTo>
                      <a:lnTo>
                        <a:pt x="437077" y="1128310"/>
                      </a:lnTo>
                      <a:lnTo>
                        <a:pt x="434058" y="1124688"/>
                      </a:lnTo>
                      <a:lnTo>
                        <a:pt x="437077" y="1122273"/>
                      </a:lnTo>
                      <a:lnTo>
                        <a:pt x="437680" y="1118047"/>
                      </a:lnTo>
                      <a:lnTo>
                        <a:pt x="446132" y="1112010"/>
                      </a:lnTo>
                      <a:lnTo>
                        <a:pt x="442510" y="1108388"/>
                      </a:lnTo>
                      <a:lnTo>
                        <a:pt x="439492" y="1107784"/>
                      </a:lnTo>
                      <a:lnTo>
                        <a:pt x="437077" y="1101747"/>
                      </a:lnTo>
                      <a:lnTo>
                        <a:pt x="438888" y="1094503"/>
                      </a:lnTo>
                      <a:lnTo>
                        <a:pt x="441303" y="1089673"/>
                      </a:lnTo>
                      <a:lnTo>
                        <a:pt x="444321" y="1079411"/>
                      </a:lnTo>
                      <a:lnTo>
                        <a:pt x="447340" y="1073977"/>
                      </a:lnTo>
                      <a:lnTo>
                        <a:pt x="448547" y="1069148"/>
                      </a:lnTo>
                      <a:lnTo>
                        <a:pt x="437680" y="1069751"/>
                      </a:lnTo>
                      <a:lnTo>
                        <a:pt x="433455" y="1076392"/>
                      </a:lnTo>
                      <a:lnTo>
                        <a:pt x="438284" y="1081222"/>
                      </a:lnTo>
                      <a:lnTo>
                        <a:pt x="434058" y="1081825"/>
                      </a:lnTo>
                      <a:lnTo>
                        <a:pt x="430436" y="1087862"/>
                      </a:lnTo>
                      <a:lnTo>
                        <a:pt x="424399" y="1089673"/>
                      </a:lnTo>
                      <a:lnTo>
                        <a:pt x="417758" y="1086655"/>
                      </a:lnTo>
                      <a:lnTo>
                        <a:pt x="415344" y="1090881"/>
                      </a:lnTo>
                      <a:lnTo>
                        <a:pt x="412325" y="1091485"/>
                      </a:lnTo>
                      <a:lnTo>
                        <a:pt x="407496" y="1089673"/>
                      </a:lnTo>
                      <a:lnTo>
                        <a:pt x="405685" y="1085448"/>
                      </a:lnTo>
                      <a:lnTo>
                        <a:pt x="403270" y="1086051"/>
                      </a:lnTo>
                      <a:lnTo>
                        <a:pt x="396629" y="1080014"/>
                      </a:lnTo>
                      <a:lnTo>
                        <a:pt x="391799" y="1081825"/>
                      </a:lnTo>
                      <a:lnTo>
                        <a:pt x="386366" y="1081825"/>
                      </a:lnTo>
                      <a:lnTo>
                        <a:pt x="382744" y="1086655"/>
                      </a:lnTo>
                      <a:lnTo>
                        <a:pt x="377311" y="1086051"/>
                      </a:lnTo>
                      <a:lnTo>
                        <a:pt x="371274" y="1082429"/>
                      </a:lnTo>
                      <a:lnTo>
                        <a:pt x="365237" y="1075185"/>
                      </a:lnTo>
                      <a:lnTo>
                        <a:pt x="365840" y="1071563"/>
                      </a:lnTo>
                      <a:lnTo>
                        <a:pt x="361615" y="1069148"/>
                      </a:lnTo>
                      <a:lnTo>
                        <a:pt x="357389" y="1069148"/>
                      </a:lnTo>
                      <a:lnTo>
                        <a:pt x="355578" y="1066733"/>
                      </a:lnTo>
                      <a:lnTo>
                        <a:pt x="347730" y="1065526"/>
                      </a:lnTo>
                      <a:lnTo>
                        <a:pt x="344711" y="1059489"/>
                      </a:lnTo>
                      <a:lnTo>
                        <a:pt x="338674" y="1055866"/>
                      </a:lnTo>
                      <a:lnTo>
                        <a:pt x="335656" y="1055866"/>
                      </a:lnTo>
                      <a:lnTo>
                        <a:pt x="328411" y="1052848"/>
                      </a:lnTo>
                      <a:lnTo>
                        <a:pt x="326600" y="1053452"/>
                      </a:lnTo>
                      <a:lnTo>
                        <a:pt x="320563" y="1050433"/>
                      </a:lnTo>
                      <a:lnTo>
                        <a:pt x="315130" y="1049829"/>
                      </a:lnTo>
                      <a:lnTo>
                        <a:pt x="313923" y="1044396"/>
                      </a:lnTo>
                      <a:lnTo>
                        <a:pt x="306074" y="1044396"/>
                      </a:lnTo>
                      <a:lnTo>
                        <a:pt x="300641" y="1043189"/>
                      </a:lnTo>
                      <a:lnTo>
                        <a:pt x="302452" y="1037152"/>
                      </a:lnTo>
                      <a:lnTo>
                        <a:pt x="297019" y="1035341"/>
                      </a:lnTo>
                      <a:lnTo>
                        <a:pt x="294604" y="1030511"/>
                      </a:lnTo>
                      <a:lnTo>
                        <a:pt x="287360" y="1031115"/>
                      </a:lnTo>
                      <a:lnTo>
                        <a:pt x="281927" y="1026889"/>
                      </a:lnTo>
                      <a:lnTo>
                        <a:pt x="266230" y="1025682"/>
                      </a:lnTo>
                      <a:lnTo>
                        <a:pt x="263212" y="1034133"/>
                      </a:lnTo>
                      <a:lnTo>
                        <a:pt x="260193" y="1035341"/>
                      </a:lnTo>
                      <a:lnTo>
                        <a:pt x="257175" y="1033530"/>
                      </a:lnTo>
                      <a:lnTo>
                        <a:pt x="259590" y="1028096"/>
                      </a:lnTo>
                      <a:lnTo>
                        <a:pt x="249327" y="1016626"/>
                      </a:lnTo>
                      <a:lnTo>
                        <a:pt x="248120" y="1011193"/>
                      </a:lnTo>
                      <a:lnTo>
                        <a:pt x="239668" y="1005760"/>
                      </a:lnTo>
                      <a:lnTo>
                        <a:pt x="232423" y="1006363"/>
                      </a:lnTo>
                      <a:lnTo>
                        <a:pt x="226990" y="1005760"/>
                      </a:lnTo>
                      <a:lnTo>
                        <a:pt x="225783" y="1002741"/>
                      </a:lnTo>
                      <a:lnTo>
                        <a:pt x="225783" y="993082"/>
                      </a:lnTo>
                      <a:lnTo>
                        <a:pt x="228198" y="991271"/>
                      </a:lnTo>
                      <a:lnTo>
                        <a:pt x="231820" y="985838"/>
                      </a:lnTo>
                      <a:lnTo>
                        <a:pt x="232423" y="975575"/>
                      </a:lnTo>
                      <a:lnTo>
                        <a:pt x="225783" y="973160"/>
                      </a:lnTo>
                      <a:lnTo>
                        <a:pt x="225783" y="968934"/>
                      </a:lnTo>
                      <a:lnTo>
                        <a:pt x="221557" y="965312"/>
                      </a:lnTo>
                      <a:lnTo>
                        <a:pt x="219746" y="958671"/>
                      </a:lnTo>
                      <a:lnTo>
                        <a:pt x="220953" y="955653"/>
                      </a:lnTo>
                      <a:lnTo>
                        <a:pt x="217935" y="952030"/>
                      </a:lnTo>
                      <a:lnTo>
                        <a:pt x="216727" y="945993"/>
                      </a:lnTo>
                      <a:lnTo>
                        <a:pt x="213105" y="942975"/>
                      </a:lnTo>
                      <a:lnTo>
                        <a:pt x="214313" y="939353"/>
                      </a:lnTo>
                      <a:lnTo>
                        <a:pt x="211898" y="936938"/>
                      </a:lnTo>
                      <a:lnTo>
                        <a:pt x="212501" y="930901"/>
                      </a:lnTo>
                      <a:lnTo>
                        <a:pt x="218538" y="923657"/>
                      </a:lnTo>
                      <a:lnTo>
                        <a:pt x="217935" y="918223"/>
                      </a:lnTo>
                      <a:lnTo>
                        <a:pt x="223972" y="915809"/>
                      </a:lnTo>
                      <a:lnTo>
                        <a:pt x="225783" y="913998"/>
                      </a:lnTo>
                      <a:lnTo>
                        <a:pt x="219746" y="906753"/>
                      </a:lnTo>
                      <a:lnTo>
                        <a:pt x="219746" y="903131"/>
                      </a:lnTo>
                      <a:lnTo>
                        <a:pt x="222161" y="899509"/>
                      </a:lnTo>
                      <a:lnTo>
                        <a:pt x="226990" y="896490"/>
                      </a:lnTo>
                      <a:lnTo>
                        <a:pt x="223972" y="893472"/>
                      </a:lnTo>
                      <a:lnTo>
                        <a:pt x="224575" y="885020"/>
                      </a:lnTo>
                      <a:lnTo>
                        <a:pt x="217935" y="877776"/>
                      </a:lnTo>
                      <a:lnTo>
                        <a:pt x="212501" y="872946"/>
                      </a:lnTo>
                      <a:lnTo>
                        <a:pt x="213709" y="867513"/>
                      </a:lnTo>
                      <a:lnTo>
                        <a:pt x="212501" y="860269"/>
                      </a:lnTo>
                      <a:lnTo>
                        <a:pt x="218538" y="855439"/>
                      </a:lnTo>
                      <a:lnTo>
                        <a:pt x="219746" y="850609"/>
                      </a:lnTo>
                      <a:lnTo>
                        <a:pt x="219142" y="842158"/>
                      </a:lnTo>
                      <a:lnTo>
                        <a:pt x="211898" y="835517"/>
                      </a:lnTo>
                      <a:lnTo>
                        <a:pt x="211898" y="831895"/>
                      </a:lnTo>
                      <a:lnTo>
                        <a:pt x="214916" y="817406"/>
                      </a:lnTo>
                      <a:lnTo>
                        <a:pt x="217331" y="813784"/>
                      </a:lnTo>
                      <a:lnTo>
                        <a:pt x="218538" y="808351"/>
                      </a:lnTo>
                      <a:lnTo>
                        <a:pt x="216124" y="802314"/>
                      </a:lnTo>
                      <a:lnTo>
                        <a:pt x="210087" y="797484"/>
                      </a:lnTo>
                      <a:lnTo>
                        <a:pt x="207068" y="791447"/>
                      </a:lnTo>
                      <a:lnTo>
                        <a:pt x="202842" y="779977"/>
                      </a:lnTo>
                      <a:lnTo>
                        <a:pt x="202842" y="773336"/>
                      </a:lnTo>
                      <a:lnTo>
                        <a:pt x="201635" y="764884"/>
                      </a:lnTo>
                      <a:lnTo>
                        <a:pt x="199220" y="760055"/>
                      </a:lnTo>
                      <a:lnTo>
                        <a:pt x="199220" y="753414"/>
                      </a:lnTo>
                      <a:lnTo>
                        <a:pt x="197409" y="743755"/>
                      </a:lnTo>
                      <a:lnTo>
                        <a:pt x="197409" y="728663"/>
                      </a:lnTo>
                      <a:lnTo>
                        <a:pt x="198013" y="725040"/>
                      </a:lnTo>
                      <a:lnTo>
                        <a:pt x="194994" y="722022"/>
                      </a:lnTo>
                      <a:lnTo>
                        <a:pt x="193787" y="714174"/>
                      </a:lnTo>
                      <a:lnTo>
                        <a:pt x="188354" y="702704"/>
                      </a:lnTo>
                      <a:lnTo>
                        <a:pt x="187146" y="698478"/>
                      </a:lnTo>
                      <a:lnTo>
                        <a:pt x="184128" y="695459"/>
                      </a:lnTo>
                      <a:lnTo>
                        <a:pt x="184731" y="692441"/>
                      </a:lnTo>
                      <a:lnTo>
                        <a:pt x="179298" y="690630"/>
                      </a:lnTo>
                      <a:lnTo>
                        <a:pt x="178091" y="684593"/>
                      </a:lnTo>
                      <a:lnTo>
                        <a:pt x="181109" y="682178"/>
                      </a:lnTo>
                      <a:lnTo>
                        <a:pt x="184128" y="671311"/>
                      </a:lnTo>
                      <a:lnTo>
                        <a:pt x="183524" y="662860"/>
                      </a:lnTo>
                      <a:lnTo>
                        <a:pt x="185939" y="657426"/>
                      </a:lnTo>
                      <a:lnTo>
                        <a:pt x="186542" y="651993"/>
                      </a:lnTo>
                      <a:lnTo>
                        <a:pt x="185335" y="648975"/>
                      </a:lnTo>
                      <a:lnTo>
                        <a:pt x="187750" y="645956"/>
                      </a:lnTo>
                      <a:lnTo>
                        <a:pt x="187750" y="639315"/>
                      </a:lnTo>
                      <a:lnTo>
                        <a:pt x="191372" y="635693"/>
                      </a:lnTo>
                      <a:lnTo>
                        <a:pt x="194994" y="636901"/>
                      </a:lnTo>
                      <a:lnTo>
                        <a:pt x="198013" y="635693"/>
                      </a:lnTo>
                      <a:lnTo>
                        <a:pt x="203446" y="636901"/>
                      </a:lnTo>
                      <a:lnTo>
                        <a:pt x="207068" y="636297"/>
                      </a:lnTo>
                      <a:lnTo>
                        <a:pt x="210690" y="632675"/>
                      </a:lnTo>
                      <a:lnTo>
                        <a:pt x="223972" y="633882"/>
                      </a:lnTo>
                      <a:lnTo>
                        <a:pt x="228198" y="638712"/>
                      </a:lnTo>
                      <a:lnTo>
                        <a:pt x="230612" y="638712"/>
                      </a:lnTo>
                      <a:lnTo>
                        <a:pt x="233027" y="633278"/>
                      </a:lnTo>
                      <a:lnTo>
                        <a:pt x="232423" y="628449"/>
                      </a:lnTo>
                      <a:lnTo>
                        <a:pt x="240272" y="616979"/>
                      </a:lnTo>
                      <a:lnTo>
                        <a:pt x="233631" y="612753"/>
                      </a:lnTo>
                      <a:lnTo>
                        <a:pt x="239668" y="600679"/>
                      </a:lnTo>
                      <a:lnTo>
                        <a:pt x="241479" y="600679"/>
                      </a:lnTo>
                      <a:lnTo>
                        <a:pt x="247516" y="587397"/>
                      </a:lnTo>
                      <a:lnTo>
                        <a:pt x="255968" y="580757"/>
                      </a:lnTo>
                      <a:lnTo>
                        <a:pt x="266230" y="581360"/>
                      </a:lnTo>
                      <a:lnTo>
                        <a:pt x="270456" y="575927"/>
                      </a:lnTo>
                      <a:lnTo>
                        <a:pt x="282530" y="574720"/>
                      </a:lnTo>
                      <a:lnTo>
                        <a:pt x="284945" y="577135"/>
                      </a:lnTo>
                      <a:lnTo>
                        <a:pt x="287964" y="575323"/>
                      </a:lnTo>
                      <a:lnTo>
                        <a:pt x="289775" y="571701"/>
                      </a:lnTo>
                      <a:lnTo>
                        <a:pt x="295812" y="569286"/>
                      </a:lnTo>
                      <a:lnTo>
                        <a:pt x="297019" y="564457"/>
                      </a:lnTo>
                      <a:lnTo>
                        <a:pt x="306678" y="560835"/>
                      </a:lnTo>
                      <a:lnTo>
                        <a:pt x="309093" y="560835"/>
                      </a:lnTo>
                      <a:lnTo>
                        <a:pt x="311508" y="556609"/>
                      </a:lnTo>
                      <a:lnTo>
                        <a:pt x="310904" y="551176"/>
                      </a:lnTo>
                      <a:lnTo>
                        <a:pt x="318148" y="545742"/>
                      </a:lnTo>
                      <a:lnTo>
                        <a:pt x="315734" y="531254"/>
                      </a:lnTo>
                      <a:lnTo>
                        <a:pt x="324185" y="526424"/>
                      </a:lnTo>
                      <a:lnTo>
                        <a:pt x="322978" y="520991"/>
                      </a:lnTo>
                      <a:lnTo>
                        <a:pt x="316941" y="517368"/>
                      </a:lnTo>
                      <a:lnTo>
                        <a:pt x="322374" y="505295"/>
                      </a:lnTo>
                      <a:lnTo>
                        <a:pt x="329619" y="503483"/>
                      </a:lnTo>
                      <a:lnTo>
                        <a:pt x="330826" y="501069"/>
                      </a:lnTo>
                      <a:lnTo>
                        <a:pt x="325393" y="496843"/>
                      </a:lnTo>
                      <a:lnTo>
                        <a:pt x="327204" y="492013"/>
                      </a:lnTo>
                      <a:lnTo>
                        <a:pt x="322374" y="493221"/>
                      </a:lnTo>
                      <a:lnTo>
                        <a:pt x="319356" y="490806"/>
                      </a:lnTo>
                      <a:lnTo>
                        <a:pt x="313319" y="493221"/>
                      </a:lnTo>
                      <a:lnTo>
                        <a:pt x="309093" y="492013"/>
                      </a:lnTo>
                      <a:lnTo>
                        <a:pt x="304867" y="488391"/>
                      </a:lnTo>
                      <a:lnTo>
                        <a:pt x="303056" y="483561"/>
                      </a:lnTo>
                      <a:lnTo>
                        <a:pt x="298830" y="483561"/>
                      </a:lnTo>
                      <a:lnTo>
                        <a:pt x="294604" y="485976"/>
                      </a:lnTo>
                      <a:lnTo>
                        <a:pt x="292793" y="482958"/>
                      </a:lnTo>
                      <a:lnTo>
                        <a:pt x="286152" y="476317"/>
                      </a:lnTo>
                      <a:lnTo>
                        <a:pt x="275286" y="476921"/>
                      </a:lnTo>
                      <a:lnTo>
                        <a:pt x="271664" y="472091"/>
                      </a:lnTo>
                      <a:lnTo>
                        <a:pt x="263816" y="468469"/>
                      </a:lnTo>
                      <a:lnTo>
                        <a:pt x="257175" y="468469"/>
                      </a:lnTo>
                      <a:lnTo>
                        <a:pt x="251138" y="473902"/>
                      </a:lnTo>
                      <a:lnTo>
                        <a:pt x="246308" y="474506"/>
                      </a:lnTo>
                      <a:lnTo>
                        <a:pt x="243894" y="472091"/>
                      </a:lnTo>
                      <a:lnTo>
                        <a:pt x="246308" y="458810"/>
                      </a:lnTo>
                      <a:lnTo>
                        <a:pt x="240875" y="448547"/>
                      </a:lnTo>
                      <a:lnTo>
                        <a:pt x="240875" y="439492"/>
                      </a:lnTo>
                      <a:lnTo>
                        <a:pt x="242686" y="433455"/>
                      </a:lnTo>
                      <a:lnTo>
                        <a:pt x="248120" y="423192"/>
                      </a:lnTo>
                      <a:lnTo>
                        <a:pt x="254156" y="417155"/>
                      </a:lnTo>
                      <a:lnTo>
                        <a:pt x="260797" y="414136"/>
                      </a:lnTo>
                      <a:lnTo>
                        <a:pt x="258986" y="403873"/>
                      </a:lnTo>
                      <a:lnTo>
                        <a:pt x="258986" y="397233"/>
                      </a:lnTo>
                      <a:lnTo>
                        <a:pt x="252345" y="396629"/>
                      </a:lnTo>
                      <a:lnTo>
                        <a:pt x="245101" y="389988"/>
                      </a:lnTo>
                      <a:lnTo>
                        <a:pt x="235442" y="391196"/>
                      </a:lnTo>
                      <a:lnTo>
                        <a:pt x="228801" y="385763"/>
                      </a:lnTo>
                      <a:lnTo>
                        <a:pt x="216727" y="389385"/>
                      </a:lnTo>
                      <a:lnTo>
                        <a:pt x="211898" y="389385"/>
                      </a:lnTo>
                      <a:lnTo>
                        <a:pt x="207068" y="385763"/>
                      </a:lnTo>
                      <a:lnTo>
                        <a:pt x="200427" y="386970"/>
                      </a:lnTo>
                      <a:lnTo>
                        <a:pt x="196805" y="383951"/>
                      </a:lnTo>
                      <a:lnTo>
                        <a:pt x="179902" y="386970"/>
                      </a:lnTo>
                      <a:lnTo>
                        <a:pt x="172657" y="377311"/>
                      </a:lnTo>
                      <a:lnTo>
                        <a:pt x="159376" y="374292"/>
                      </a:lnTo>
                      <a:lnTo>
                        <a:pt x="150924" y="368859"/>
                      </a:lnTo>
                      <a:lnTo>
                        <a:pt x="141869" y="360407"/>
                      </a:lnTo>
                      <a:lnTo>
                        <a:pt x="135228" y="356181"/>
                      </a:lnTo>
                      <a:lnTo>
                        <a:pt x="128588" y="350144"/>
                      </a:lnTo>
                      <a:lnTo>
                        <a:pt x="124362" y="347730"/>
                      </a:lnTo>
                      <a:lnTo>
                        <a:pt x="124965" y="335656"/>
                      </a:lnTo>
                      <a:lnTo>
                        <a:pt x="124362" y="329619"/>
                      </a:lnTo>
                      <a:lnTo>
                        <a:pt x="127984" y="318148"/>
                      </a:lnTo>
                      <a:lnTo>
                        <a:pt x="122551" y="313923"/>
                      </a:lnTo>
                      <a:lnTo>
                        <a:pt x="115306" y="306074"/>
                      </a:lnTo>
                      <a:lnTo>
                        <a:pt x="111684" y="306074"/>
                      </a:lnTo>
                      <a:lnTo>
                        <a:pt x="108062" y="311508"/>
                      </a:lnTo>
                      <a:lnTo>
                        <a:pt x="102025" y="313923"/>
                      </a:lnTo>
                      <a:lnTo>
                        <a:pt x="97799" y="311508"/>
                      </a:lnTo>
                      <a:lnTo>
                        <a:pt x="92969" y="312715"/>
                      </a:lnTo>
                      <a:lnTo>
                        <a:pt x="88743" y="315734"/>
                      </a:lnTo>
                      <a:lnTo>
                        <a:pt x="79084" y="315734"/>
                      </a:lnTo>
                      <a:lnTo>
                        <a:pt x="77273" y="313923"/>
                      </a:lnTo>
                      <a:lnTo>
                        <a:pt x="76670" y="307282"/>
                      </a:lnTo>
                      <a:lnTo>
                        <a:pt x="66407" y="307886"/>
                      </a:lnTo>
                      <a:lnTo>
                        <a:pt x="62784" y="305471"/>
                      </a:lnTo>
                      <a:lnTo>
                        <a:pt x="60370" y="308489"/>
                      </a:lnTo>
                      <a:lnTo>
                        <a:pt x="55540" y="310300"/>
                      </a:lnTo>
                      <a:lnTo>
                        <a:pt x="55540" y="313319"/>
                      </a:lnTo>
                      <a:lnTo>
                        <a:pt x="48899" y="316337"/>
                      </a:lnTo>
                      <a:lnTo>
                        <a:pt x="44070" y="312715"/>
                      </a:lnTo>
                      <a:lnTo>
                        <a:pt x="39844" y="313923"/>
                      </a:lnTo>
                      <a:lnTo>
                        <a:pt x="33807" y="319356"/>
                      </a:lnTo>
                      <a:lnTo>
                        <a:pt x="27770" y="315734"/>
                      </a:lnTo>
                      <a:lnTo>
                        <a:pt x="24148" y="310904"/>
                      </a:lnTo>
                      <a:lnTo>
                        <a:pt x="13281" y="308489"/>
                      </a:lnTo>
                      <a:lnTo>
                        <a:pt x="7848" y="300038"/>
                      </a:lnTo>
                      <a:lnTo>
                        <a:pt x="4830" y="300038"/>
                      </a:lnTo>
                      <a:lnTo>
                        <a:pt x="0" y="296415"/>
                      </a:lnTo>
                      <a:lnTo>
                        <a:pt x="0" y="288567"/>
                      </a:lnTo>
                      <a:lnTo>
                        <a:pt x="4226" y="284945"/>
                      </a:lnTo>
                      <a:lnTo>
                        <a:pt x="5433" y="277701"/>
                      </a:lnTo>
                      <a:lnTo>
                        <a:pt x="9055" y="277701"/>
                      </a:lnTo>
                      <a:lnTo>
                        <a:pt x="10867" y="271664"/>
                      </a:lnTo>
                      <a:lnTo>
                        <a:pt x="13885" y="269853"/>
                      </a:lnTo>
                      <a:lnTo>
                        <a:pt x="11470" y="263816"/>
                      </a:lnTo>
                      <a:lnTo>
                        <a:pt x="4226" y="262005"/>
                      </a:lnTo>
                      <a:lnTo>
                        <a:pt x="0" y="257779"/>
                      </a:lnTo>
                      <a:lnTo>
                        <a:pt x="1207" y="253553"/>
                      </a:lnTo>
                      <a:lnTo>
                        <a:pt x="604" y="249327"/>
                      </a:lnTo>
                      <a:lnTo>
                        <a:pt x="3622" y="242686"/>
                      </a:lnTo>
                      <a:lnTo>
                        <a:pt x="9055" y="238460"/>
                      </a:lnTo>
                      <a:lnTo>
                        <a:pt x="7244" y="233631"/>
                      </a:lnTo>
                      <a:lnTo>
                        <a:pt x="4226" y="230612"/>
                      </a:lnTo>
                      <a:lnTo>
                        <a:pt x="6037" y="227594"/>
                      </a:lnTo>
                      <a:lnTo>
                        <a:pt x="6037" y="222764"/>
                      </a:lnTo>
                      <a:lnTo>
                        <a:pt x="11470" y="217935"/>
                      </a:lnTo>
                      <a:lnTo>
                        <a:pt x="13281" y="209483"/>
                      </a:lnTo>
                      <a:lnTo>
                        <a:pt x="21733" y="205861"/>
                      </a:lnTo>
                      <a:lnTo>
                        <a:pt x="27770" y="209483"/>
                      </a:lnTo>
                      <a:lnTo>
                        <a:pt x="31392" y="209483"/>
                      </a:lnTo>
                      <a:lnTo>
                        <a:pt x="35618" y="205257"/>
                      </a:lnTo>
                      <a:lnTo>
                        <a:pt x="38637" y="205257"/>
                      </a:lnTo>
                      <a:lnTo>
                        <a:pt x="45881" y="198616"/>
                      </a:lnTo>
                      <a:lnTo>
                        <a:pt x="51314" y="197409"/>
                      </a:lnTo>
                      <a:lnTo>
                        <a:pt x="56144" y="191976"/>
                      </a:lnTo>
                      <a:lnTo>
                        <a:pt x="59162" y="190165"/>
                      </a:lnTo>
                      <a:lnTo>
                        <a:pt x="60370" y="186542"/>
                      </a:lnTo>
                      <a:lnTo>
                        <a:pt x="65199" y="181713"/>
                      </a:lnTo>
                      <a:lnTo>
                        <a:pt x="69425" y="181713"/>
                      </a:lnTo>
                      <a:lnTo>
                        <a:pt x="73651" y="176883"/>
                      </a:lnTo>
                      <a:lnTo>
                        <a:pt x="74255" y="168432"/>
                      </a:lnTo>
                      <a:lnTo>
                        <a:pt x="71840" y="164809"/>
                      </a:lnTo>
                      <a:lnTo>
                        <a:pt x="82103" y="158169"/>
                      </a:lnTo>
                      <a:lnTo>
                        <a:pt x="84518" y="159980"/>
                      </a:lnTo>
                      <a:lnTo>
                        <a:pt x="87536" y="157565"/>
                      </a:lnTo>
                      <a:lnTo>
                        <a:pt x="95988" y="159376"/>
                      </a:lnTo>
                      <a:lnTo>
                        <a:pt x="95384" y="149717"/>
                      </a:lnTo>
                      <a:lnTo>
                        <a:pt x="97195" y="145491"/>
                      </a:lnTo>
                      <a:lnTo>
                        <a:pt x="101421" y="141869"/>
                      </a:lnTo>
                      <a:lnTo>
                        <a:pt x="108062" y="140058"/>
                      </a:lnTo>
                      <a:lnTo>
                        <a:pt x="110477" y="137643"/>
                      </a:lnTo>
                      <a:lnTo>
                        <a:pt x="111684" y="132813"/>
                      </a:lnTo>
                      <a:lnTo>
                        <a:pt x="115306" y="130399"/>
                      </a:lnTo>
                      <a:lnTo>
                        <a:pt x="115306" y="127380"/>
                      </a:lnTo>
                      <a:lnTo>
                        <a:pt x="119532" y="121343"/>
                      </a:lnTo>
                      <a:lnTo>
                        <a:pt x="115306" y="114099"/>
                      </a:lnTo>
                      <a:lnTo>
                        <a:pt x="115910" y="106251"/>
                      </a:lnTo>
                      <a:lnTo>
                        <a:pt x="114099" y="102629"/>
                      </a:lnTo>
                      <a:lnTo>
                        <a:pt x="117721" y="100817"/>
                      </a:lnTo>
                      <a:lnTo>
                        <a:pt x="123758" y="100817"/>
                      </a:lnTo>
                      <a:lnTo>
                        <a:pt x="129191" y="95988"/>
                      </a:lnTo>
                      <a:lnTo>
                        <a:pt x="137643" y="92969"/>
                      </a:lnTo>
                      <a:lnTo>
                        <a:pt x="139454" y="97195"/>
                      </a:lnTo>
                      <a:lnTo>
                        <a:pt x="144887" y="97799"/>
                      </a:lnTo>
                      <a:lnTo>
                        <a:pt x="148509" y="95384"/>
                      </a:lnTo>
                      <a:lnTo>
                        <a:pt x="159376" y="95384"/>
                      </a:lnTo>
                      <a:lnTo>
                        <a:pt x="167224" y="92969"/>
                      </a:lnTo>
                      <a:lnTo>
                        <a:pt x="170846" y="93573"/>
                      </a:lnTo>
                      <a:lnTo>
                        <a:pt x="172657" y="89347"/>
                      </a:lnTo>
                      <a:lnTo>
                        <a:pt x="180505" y="89347"/>
                      </a:lnTo>
                      <a:lnTo>
                        <a:pt x="186542" y="85725"/>
                      </a:lnTo>
                      <a:lnTo>
                        <a:pt x="193787" y="89951"/>
                      </a:lnTo>
                      <a:lnTo>
                        <a:pt x="198616" y="90555"/>
                      </a:lnTo>
                      <a:lnTo>
                        <a:pt x="202239" y="93573"/>
                      </a:lnTo>
                      <a:lnTo>
                        <a:pt x="206464" y="92366"/>
                      </a:lnTo>
                      <a:lnTo>
                        <a:pt x="208276" y="95384"/>
                      </a:lnTo>
                      <a:lnTo>
                        <a:pt x="211898" y="92969"/>
                      </a:lnTo>
                      <a:lnTo>
                        <a:pt x="217331" y="93573"/>
                      </a:lnTo>
                      <a:lnTo>
                        <a:pt x="220349" y="92366"/>
                      </a:lnTo>
                      <a:lnTo>
                        <a:pt x="221557" y="97799"/>
                      </a:lnTo>
                      <a:lnTo>
                        <a:pt x="228801" y="100214"/>
                      </a:lnTo>
                      <a:lnTo>
                        <a:pt x="231216" y="98403"/>
                      </a:lnTo>
                      <a:lnTo>
                        <a:pt x="242686" y="100817"/>
                      </a:lnTo>
                      <a:lnTo>
                        <a:pt x="246308" y="94780"/>
                      </a:lnTo>
                      <a:lnTo>
                        <a:pt x="258382" y="97195"/>
                      </a:lnTo>
                      <a:lnTo>
                        <a:pt x="263816" y="92969"/>
                      </a:lnTo>
                      <a:lnTo>
                        <a:pt x="275286" y="97799"/>
                      </a:lnTo>
                      <a:lnTo>
                        <a:pt x="282530" y="95988"/>
                      </a:lnTo>
                      <a:lnTo>
                        <a:pt x="283738" y="89951"/>
                      </a:lnTo>
                      <a:lnTo>
                        <a:pt x="281323" y="83914"/>
                      </a:lnTo>
                      <a:lnTo>
                        <a:pt x="275890" y="76066"/>
                      </a:lnTo>
                      <a:lnTo>
                        <a:pt x="272871" y="74255"/>
                      </a:lnTo>
                      <a:lnTo>
                        <a:pt x="268645" y="74858"/>
                      </a:lnTo>
                      <a:lnTo>
                        <a:pt x="263816" y="68821"/>
                      </a:lnTo>
                      <a:lnTo>
                        <a:pt x="257175" y="68218"/>
                      </a:lnTo>
                      <a:lnTo>
                        <a:pt x="254156" y="65199"/>
                      </a:lnTo>
                      <a:lnTo>
                        <a:pt x="246308" y="63388"/>
                      </a:lnTo>
                      <a:lnTo>
                        <a:pt x="244497" y="56144"/>
                      </a:lnTo>
                      <a:lnTo>
                        <a:pt x="237253" y="50107"/>
                      </a:lnTo>
                      <a:lnTo>
                        <a:pt x="239668" y="42259"/>
                      </a:lnTo>
                      <a:lnTo>
                        <a:pt x="244497" y="42863"/>
                      </a:lnTo>
                      <a:lnTo>
                        <a:pt x="251138" y="47088"/>
                      </a:lnTo>
                      <a:lnTo>
                        <a:pt x="254156" y="44674"/>
                      </a:lnTo>
                      <a:lnTo>
                        <a:pt x="259590" y="47692"/>
                      </a:lnTo>
                      <a:lnTo>
                        <a:pt x="263816" y="47088"/>
                      </a:lnTo>
                      <a:lnTo>
                        <a:pt x="268042" y="50107"/>
                      </a:lnTo>
                      <a:lnTo>
                        <a:pt x="270456" y="45881"/>
                      </a:lnTo>
                      <a:lnTo>
                        <a:pt x="273475" y="45881"/>
                      </a:lnTo>
                      <a:lnTo>
                        <a:pt x="280719" y="49503"/>
                      </a:lnTo>
                      <a:lnTo>
                        <a:pt x="283134" y="52522"/>
                      </a:lnTo>
                      <a:lnTo>
                        <a:pt x="288567" y="51918"/>
                      </a:lnTo>
                      <a:lnTo>
                        <a:pt x="291586" y="53729"/>
                      </a:lnTo>
                      <a:lnTo>
                        <a:pt x="297019" y="61577"/>
                      </a:lnTo>
                      <a:lnTo>
                        <a:pt x="303056" y="65803"/>
                      </a:lnTo>
                      <a:lnTo>
                        <a:pt x="308489" y="65199"/>
                      </a:lnTo>
                      <a:lnTo>
                        <a:pt x="313923" y="70633"/>
                      </a:lnTo>
                      <a:lnTo>
                        <a:pt x="321167" y="62785"/>
                      </a:lnTo>
                      <a:lnTo>
                        <a:pt x="327204" y="63388"/>
                      </a:lnTo>
                      <a:lnTo>
                        <a:pt x="332637" y="61577"/>
                      </a:lnTo>
                      <a:lnTo>
                        <a:pt x="336259" y="45881"/>
                      </a:lnTo>
                      <a:lnTo>
                        <a:pt x="338674" y="44674"/>
                      </a:lnTo>
                      <a:lnTo>
                        <a:pt x="350748" y="47088"/>
                      </a:lnTo>
                      <a:lnTo>
                        <a:pt x="353163" y="49503"/>
                      </a:lnTo>
                      <a:lnTo>
                        <a:pt x="357389" y="49503"/>
                      </a:lnTo>
                      <a:lnTo>
                        <a:pt x="361011" y="45277"/>
                      </a:lnTo>
                      <a:lnTo>
                        <a:pt x="368859" y="41655"/>
                      </a:lnTo>
                      <a:lnTo>
                        <a:pt x="379122" y="30789"/>
                      </a:lnTo>
                      <a:lnTo>
                        <a:pt x="383348" y="28374"/>
                      </a:lnTo>
                      <a:lnTo>
                        <a:pt x="386970" y="28374"/>
                      </a:lnTo>
                      <a:lnTo>
                        <a:pt x="391799" y="22940"/>
                      </a:lnTo>
                      <a:lnTo>
                        <a:pt x="401459" y="21733"/>
                      </a:lnTo>
                      <a:lnTo>
                        <a:pt x="405081" y="23544"/>
                      </a:lnTo>
                      <a:lnTo>
                        <a:pt x="412929" y="23544"/>
                      </a:lnTo>
                      <a:lnTo>
                        <a:pt x="418362" y="32600"/>
                      </a:lnTo>
                      <a:lnTo>
                        <a:pt x="421984" y="32600"/>
                      </a:lnTo>
                      <a:lnTo>
                        <a:pt x="425607" y="8452"/>
                      </a:lnTo>
                      <a:lnTo>
                        <a:pt x="435266" y="5433"/>
                      </a:lnTo>
                      <a:lnTo>
                        <a:pt x="438888" y="5433"/>
                      </a:lnTo>
                      <a:lnTo>
                        <a:pt x="446132" y="0"/>
                      </a:lnTo>
                      <a:lnTo>
                        <a:pt x="449151" y="0"/>
                      </a:lnTo>
                      <a:lnTo>
                        <a:pt x="451566" y="3622"/>
                      </a:lnTo>
                      <a:lnTo>
                        <a:pt x="451566" y="8452"/>
                      </a:lnTo>
                      <a:lnTo>
                        <a:pt x="453377" y="13281"/>
                      </a:lnTo>
                      <a:lnTo>
                        <a:pt x="457603" y="17507"/>
                      </a:lnTo>
                      <a:lnTo>
                        <a:pt x="461828" y="12678"/>
                      </a:lnTo>
                      <a:lnTo>
                        <a:pt x="467262" y="13885"/>
                      </a:lnTo>
                      <a:lnTo>
                        <a:pt x="475713" y="13885"/>
                      </a:lnTo>
                      <a:lnTo>
                        <a:pt x="476317" y="21129"/>
                      </a:lnTo>
                      <a:lnTo>
                        <a:pt x="482354" y="30789"/>
                      </a:lnTo>
                      <a:lnTo>
                        <a:pt x="485976" y="34411"/>
                      </a:lnTo>
                      <a:lnTo>
                        <a:pt x="490202" y="41655"/>
                      </a:lnTo>
                      <a:lnTo>
                        <a:pt x="493824" y="44070"/>
                      </a:lnTo>
                      <a:lnTo>
                        <a:pt x="495032" y="39240"/>
                      </a:lnTo>
                      <a:lnTo>
                        <a:pt x="498050" y="36222"/>
                      </a:lnTo>
                      <a:lnTo>
                        <a:pt x="505898" y="31392"/>
                      </a:lnTo>
                      <a:lnTo>
                        <a:pt x="510728" y="29581"/>
                      </a:lnTo>
                      <a:lnTo>
                        <a:pt x="512539" y="26563"/>
                      </a:lnTo>
                      <a:lnTo>
                        <a:pt x="520991" y="29581"/>
                      </a:lnTo>
                      <a:lnTo>
                        <a:pt x="527028" y="35014"/>
                      </a:lnTo>
                      <a:lnTo>
                        <a:pt x="532461" y="33807"/>
                      </a:lnTo>
                      <a:lnTo>
                        <a:pt x="540309" y="28977"/>
                      </a:lnTo>
                      <a:lnTo>
                        <a:pt x="549968" y="15696"/>
                      </a:lnTo>
                      <a:lnTo>
                        <a:pt x="551779" y="10867"/>
                      </a:lnTo>
                      <a:lnTo>
                        <a:pt x="556609" y="10263"/>
                      </a:lnTo>
                      <a:lnTo>
                        <a:pt x="562042" y="7244"/>
                      </a:lnTo>
                      <a:lnTo>
                        <a:pt x="568683" y="7848"/>
                      </a:lnTo>
                      <a:lnTo>
                        <a:pt x="572305" y="6037"/>
                      </a:lnTo>
                      <a:lnTo>
                        <a:pt x="580153" y="7244"/>
                      </a:lnTo>
                      <a:lnTo>
                        <a:pt x="580153" y="20526"/>
                      </a:lnTo>
                      <a:lnTo>
                        <a:pt x="581360" y="25355"/>
                      </a:lnTo>
                      <a:lnTo>
                        <a:pt x="586190" y="30789"/>
                      </a:lnTo>
                      <a:lnTo>
                        <a:pt x="591623" y="28374"/>
                      </a:lnTo>
                      <a:lnTo>
                        <a:pt x="597057" y="31392"/>
                      </a:lnTo>
                      <a:lnTo>
                        <a:pt x="597057" y="36826"/>
                      </a:lnTo>
                      <a:lnTo>
                        <a:pt x="594038" y="39844"/>
                      </a:lnTo>
                      <a:lnTo>
                        <a:pt x="594642" y="49503"/>
                      </a:lnTo>
                      <a:lnTo>
                        <a:pt x="600679" y="49503"/>
                      </a:lnTo>
                      <a:lnTo>
                        <a:pt x="602490" y="53729"/>
                      </a:lnTo>
                      <a:lnTo>
                        <a:pt x="603697" y="63992"/>
                      </a:lnTo>
                      <a:lnTo>
                        <a:pt x="607923" y="70633"/>
                      </a:lnTo>
                      <a:lnTo>
                        <a:pt x="615771" y="74255"/>
                      </a:lnTo>
                      <a:lnTo>
                        <a:pt x="619997" y="74858"/>
                      </a:lnTo>
                      <a:lnTo>
                        <a:pt x="632675" y="81499"/>
                      </a:lnTo>
                      <a:lnTo>
                        <a:pt x="636297" y="81499"/>
                      </a:lnTo>
                      <a:lnTo>
                        <a:pt x="637504" y="84518"/>
                      </a:lnTo>
                      <a:lnTo>
                        <a:pt x="643541" y="91762"/>
                      </a:lnTo>
                      <a:lnTo>
                        <a:pt x="648371" y="98403"/>
                      </a:lnTo>
                      <a:lnTo>
                        <a:pt x="661048" y="122551"/>
                      </a:lnTo>
                      <a:lnTo>
                        <a:pt x="667689" y="130399"/>
                      </a:lnTo>
                      <a:lnTo>
                        <a:pt x="675537" y="135228"/>
                      </a:lnTo>
                      <a:lnTo>
                        <a:pt x="682178" y="136436"/>
                      </a:lnTo>
                      <a:lnTo>
                        <a:pt x="688215" y="140058"/>
                      </a:lnTo>
                      <a:lnTo>
                        <a:pt x="690026" y="141869"/>
                      </a:lnTo>
                      <a:lnTo>
                        <a:pt x="699685" y="148510"/>
                      </a:lnTo>
                      <a:lnTo>
                        <a:pt x="711155" y="152132"/>
                      </a:lnTo>
                      <a:lnTo>
                        <a:pt x="720815" y="152132"/>
                      </a:lnTo>
                      <a:lnTo>
                        <a:pt x="731681" y="155150"/>
                      </a:lnTo>
                      <a:lnTo>
                        <a:pt x="743151" y="167828"/>
                      </a:lnTo>
                      <a:lnTo>
                        <a:pt x="750999" y="176883"/>
                      </a:lnTo>
                      <a:lnTo>
                        <a:pt x="759451" y="179902"/>
                      </a:lnTo>
                      <a:lnTo>
                        <a:pt x="763073" y="184731"/>
                      </a:lnTo>
                      <a:lnTo>
                        <a:pt x="767903" y="187750"/>
                      </a:lnTo>
                      <a:lnTo>
                        <a:pt x="774544" y="187750"/>
                      </a:lnTo>
                      <a:lnTo>
                        <a:pt x="782392" y="184128"/>
                      </a:lnTo>
                      <a:lnTo>
                        <a:pt x="786618" y="184128"/>
                      </a:lnTo>
                      <a:lnTo>
                        <a:pt x="794465" y="190165"/>
                      </a:lnTo>
                      <a:lnTo>
                        <a:pt x="798088" y="194994"/>
                      </a:lnTo>
                      <a:lnTo>
                        <a:pt x="804125" y="197409"/>
                      </a:lnTo>
                      <a:lnTo>
                        <a:pt x="805332" y="202842"/>
                      </a:lnTo>
                      <a:lnTo>
                        <a:pt x="808351" y="208276"/>
                      </a:lnTo>
                      <a:lnTo>
                        <a:pt x="804728" y="211898"/>
                      </a:lnTo>
                      <a:lnTo>
                        <a:pt x="807747" y="213709"/>
                      </a:lnTo>
                      <a:lnTo>
                        <a:pt x="814388" y="222764"/>
                      </a:lnTo>
                      <a:lnTo>
                        <a:pt x="819217" y="223368"/>
                      </a:lnTo>
                      <a:lnTo>
                        <a:pt x="821028" y="225783"/>
                      </a:lnTo>
                      <a:lnTo>
                        <a:pt x="828273" y="228198"/>
                      </a:lnTo>
                      <a:lnTo>
                        <a:pt x="831291" y="233027"/>
                      </a:lnTo>
                      <a:lnTo>
                        <a:pt x="837932" y="234235"/>
                      </a:lnTo>
                      <a:lnTo>
                        <a:pt x="845780" y="230009"/>
                      </a:lnTo>
                      <a:lnTo>
                        <a:pt x="847591" y="230009"/>
                      </a:lnTo>
                      <a:lnTo>
                        <a:pt x="852420" y="236649"/>
                      </a:lnTo>
                      <a:lnTo>
                        <a:pt x="860872" y="244497"/>
                      </a:lnTo>
                      <a:lnTo>
                        <a:pt x="860872" y="249327"/>
                      </a:lnTo>
                      <a:lnTo>
                        <a:pt x="862683" y="254760"/>
                      </a:lnTo>
                      <a:lnTo>
                        <a:pt x="875965" y="262005"/>
                      </a:lnTo>
                      <a:lnTo>
                        <a:pt x="879587" y="266230"/>
                      </a:lnTo>
                      <a:lnTo>
                        <a:pt x="882002" y="271664"/>
                      </a:lnTo>
                      <a:lnTo>
                        <a:pt x="874154" y="274079"/>
                      </a:lnTo>
                      <a:lnTo>
                        <a:pt x="868117" y="283738"/>
                      </a:lnTo>
                      <a:lnTo>
                        <a:pt x="863891" y="288567"/>
                      </a:lnTo>
                      <a:lnTo>
                        <a:pt x="871135" y="297623"/>
                      </a:lnTo>
                      <a:lnTo>
                        <a:pt x="875965" y="302452"/>
                      </a:lnTo>
                      <a:lnTo>
                        <a:pt x="879587" y="313319"/>
                      </a:lnTo>
                      <a:lnTo>
                        <a:pt x="886228" y="318752"/>
                      </a:lnTo>
                      <a:lnTo>
                        <a:pt x="891661" y="319356"/>
                      </a:lnTo>
                      <a:lnTo>
                        <a:pt x="899509" y="327808"/>
                      </a:lnTo>
                      <a:lnTo>
                        <a:pt x="907961" y="332033"/>
                      </a:lnTo>
                      <a:lnTo>
                        <a:pt x="914601" y="332033"/>
                      </a:lnTo>
                      <a:lnTo>
                        <a:pt x="921846" y="333845"/>
                      </a:lnTo>
                      <a:lnTo>
                        <a:pt x="930297" y="333241"/>
                      </a:lnTo>
                      <a:lnTo>
                        <a:pt x="935731" y="329619"/>
                      </a:lnTo>
                      <a:lnTo>
                        <a:pt x="945390" y="327808"/>
                      </a:lnTo>
                      <a:lnTo>
                        <a:pt x="946597" y="330826"/>
                      </a:lnTo>
                      <a:lnTo>
                        <a:pt x="950823" y="335052"/>
                      </a:lnTo>
                      <a:lnTo>
                        <a:pt x="955653" y="336259"/>
                      </a:lnTo>
                      <a:lnTo>
                        <a:pt x="955049" y="341693"/>
                      </a:lnTo>
                      <a:lnTo>
                        <a:pt x="956256" y="344711"/>
                      </a:lnTo>
                      <a:lnTo>
                        <a:pt x="967123" y="345918"/>
                      </a:lnTo>
                      <a:lnTo>
                        <a:pt x="967727" y="349541"/>
                      </a:lnTo>
                      <a:lnTo>
                        <a:pt x="980404" y="350144"/>
                      </a:lnTo>
                      <a:lnTo>
                        <a:pt x="986441" y="353163"/>
                      </a:lnTo>
                      <a:lnTo>
                        <a:pt x="988856" y="347730"/>
                      </a:lnTo>
                      <a:lnTo>
                        <a:pt x="995497" y="348937"/>
                      </a:lnTo>
                      <a:lnTo>
                        <a:pt x="998515" y="354974"/>
                      </a:lnTo>
                      <a:lnTo>
                        <a:pt x="1000326" y="354974"/>
                      </a:lnTo>
                      <a:lnTo>
                        <a:pt x="1003948" y="362822"/>
                      </a:lnTo>
                      <a:lnTo>
                        <a:pt x="1008778" y="362822"/>
                      </a:lnTo>
                      <a:lnTo>
                        <a:pt x="1011796" y="368255"/>
                      </a:lnTo>
                      <a:lnTo>
                        <a:pt x="1011796" y="372481"/>
                      </a:lnTo>
                      <a:lnTo>
                        <a:pt x="1009382" y="375500"/>
                      </a:lnTo>
                      <a:lnTo>
                        <a:pt x="1015419" y="380329"/>
                      </a:lnTo>
                      <a:lnTo>
                        <a:pt x="1017230" y="383348"/>
                      </a:lnTo>
                      <a:lnTo>
                        <a:pt x="1016022" y="389385"/>
                      </a:lnTo>
                      <a:lnTo>
                        <a:pt x="1017230" y="392403"/>
                      </a:lnTo>
                      <a:lnTo>
                        <a:pt x="1022059" y="395422"/>
                      </a:lnTo>
                      <a:lnTo>
                        <a:pt x="1011193" y="399648"/>
                      </a:lnTo>
                      <a:lnTo>
                        <a:pt x="1006363" y="397233"/>
                      </a:lnTo>
                      <a:lnTo>
                        <a:pt x="1002137" y="391799"/>
                      </a:lnTo>
                      <a:lnTo>
                        <a:pt x="995497" y="391196"/>
                      </a:lnTo>
                      <a:lnTo>
                        <a:pt x="987649" y="395422"/>
                      </a:lnTo>
                      <a:lnTo>
                        <a:pt x="992478" y="400855"/>
                      </a:lnTo>
                      <a:lnTo>
                        <a:pt x="993082" y="405685"/>
                      </a:lnTo>
                      <a:lnTo>
                        <a:pt x="997308" y="405685"/>
                      </a:lnTo>
                      <a:lnTo>
                        <a:pt x="999119" y="409307"/>
                      </a:lnTo>
                      <a:lnTo>
                        <a:pt x="1006967" y="410514"/>
                      </a:lnTo>
                      <a:lnTo>
                        <a:pt x="1014211" y="413533"/>
                      </a:lnTo>
                      <a:lnTo>
                        <a:pt x="1019645" y="409307"/>
                      </a:lnTo>
                      <a:lnTo>
                        <a:pt x="1028096" y="406288"/>
                      </a:lnTo>
                      <a:lnTo>
                        <a:pt x="1032926" y="408703"/>
                      </a:lnTo>
                      <a:lnTo>
                        <a:pt x="1038963" y="406892"/>
                      </a:lnTo>
                      <a:lnTo>
                        <a:pt x="1048018" y="411721"/>
                      </a:lnTo>
                      <a:lnTo>
                        <a:pt x="1055263" y="406288"/>
                      </a:lnTo>
                      <a:lnTo>
                        <a:pt x="1058885" y="411118"/>
                      </a:lnTo>
                      <a:lnTo>
                        <a:pt x="1062507" y="409307"/>
                      </a:lnTo>
                      <a:lnTo>
                        <a:pt x="1070355" y="410514"/>
                      </a:lnTo>
                      <a:lnTo>
                        <a:pt x="1070355" y="403270"/>
                      </a:lnTo>
                      <a:lnTo>
                        <a:pt x="1071563" y="397836"/>
                      </a:lnTo>
                      <a:lnTo>
                        <a:pt x="1080618" y="405081"/>
                      </a:lnTo>
                      <a:lnTo>
                        <a:pt x="1084240" y="405081"/>
                      </a:lnTo>
                      <a:lnTo>
                        <a:pt x="1089070" y="400251"/>
                      </a:lnTo>
                      <a:lnTo>
                        <a:pt x="1096918" y="405081"/>
                      </a:lnTo>
                      <a:lnTo>
                        <a:pt x="1099936" y="408703"/>
                      </a:lnTo>
                      <a:lnTo>
                        <a:pt x="1102955" y="406892"/>
                      </a:lnTo>
                      <a:lnTo>
                        <a:pt x="1108388" y="411721"/>
                      </a:lnTo>
                      <a:lnTo>
                        <a:pt x="1110803" y="406288"/>
                      </a:lnTo>
                      <a:lnTo>
                        <a:pt x="1121669" y="410514"/>
                      </a:lnTo>
                      <a:lnTo>
                        <a:pt x="1120462" y="403873"/>
                      </a:lnTo>
                      <a:lnTo>
                        <a:pt x="1116236" y="402666"/>
                      </a:lnTo>
                      <a:lnTo>
                        <a:pt x="1113821" y="399648"/>
                      </a:lnTo>
                      <a:lnTo>
                        <a:pt x="1121066" y="385763"/>
                      </a:lnTo>
                      <a:lnTo>
                        <a:pt x="1124688" y="382744"/>
                      </a:lnTo>
                      <a:lnTo>
                        <a:pt x="1137366" y="381537"/>
                      </a:lnTo>
                      <a:lnTo>
                        <a:pt x="1144006" y="391196"/>
                      </a:lnTo>
                      <a:lnTo>
                        <a:pt x="1145817" y="389385"/>
                      </a:lnTo>
                      <a:lnTo>
                        <a:pt x="1151854" y="391196"/>
                      </a:lnTo>
                      <a:lnTo>
                        <a:pt x="1154873" y="394214"/>
                      </a:lnTo>
                      <a:lnTo>
                        <a:pt x="1160306" y="389988"/>
                      </a:lnTo>
                      <a:lnTo>
                        <a:pt x="1159099" y="383951"/>
                      </a:lnTo>
                      <a:lnTo>
                        <a:pt x="1162117" y="374896"/>
                      </a:lnTo>
                      <a:lnTo>
                        <a:pt x="1165739" y="372481"/>
                      </a:lnTo>
                      <a:lnTo>
                        <a:pt x="1168154" y="366444"/>
                      </a:lnTo>
                      <a:lnTo>
                        <a:pt x="1168154" y="361011"/>
                      </a:lnTo>
                      <a:lnTo>
                        <a:pt x="1177210" y="366444"/>
                      </a:lnTo>
                      <a:lnTo>
                        <a:pt x="1180228" y="365840"/>
                      </a:lnTo>
                      <a:lnTo>
                        <a:pt x="1183246" y="361011"/>
                      </a:lnTo>
                      <a:lnTo>
                        <a:pt x="1182643" y="348937"/>
                      </a:lnTo>
                      <a:lnTo>
                        <a:pt x="1185058" y="346522"/>
                      </a:lnTo>
                      <a:lnTo>
                        <a:pt x="1189887" y="347730"/>
                      </a:lnTo>
                      <a:lnTo>
                        <a:pt x="1197132" y="347730"/>
                      </a:lnTo>
                      <a:lnTo>
                        <a:pt x="1205583" y="344711"/>
                      </a:lnTo>
                      <a:lnTo>
                        <a:pt x="1209206" y="341693"/>
                      </a:lnTo>
                      <a:lnTo>
                        <a:pt x="1213431" y="332637"/>
                      </a:lnTo>
                      <a:lnTo>
                        <a:pt x="1218261" y="332033"/>
                      </a:lnTo>
                      <a:lnTo>
                        <a:pt x="1221883" y="333845"/>
                      </a:lnTo>
                      <a:lnTo>
                        <a:pt x="1233353" y="335052"/>
                      </a:lnTo>
                      <a:lnTo>
                        <a:pt x="1237579" y="333845"/>
                      </a:lnTo>
                      <a:lnTo>
                        <a:pt x="1246635" y="326600"/>
                      </a:lnTo>
                      <a:lnTo>
                        <a:pt x="1255087" y="323582"/>
                      </a:lnTo>
                      <a:lnTo>
                        <a:pt x="1258709" y="319960"/>
                      </a:lnTo>
                      <a:lnTo>
                        <a:pt x="1263538" y="313319"/>
                      </a:lnTo>
                      <a:lnTo>
                        <a:pt x="1270179" y="313319"/>
                      </a:lnTo>
                      <a:lnTo>
                        <a:pt x="1275612" y="310300"/>
                      </a:lnTo>
                      <a:lnTo>
                        <a:pt x="1287686" y="310300"/>
                      </a:lnTo>
                      <a:lnTo>
                        <a:pt x="1289497" y="312715"/>
                      </a:lnTo>
                      <a:lnTo>
                        <a:pt x="1299156" y="313319"/>
                      </a:lnTo>
                      <a:lnTo>
                        <a:pt x="1309419" y="310300"/>
                      </a:lnTo>
                      <a:lnTo>
                        <a:pt x="1322701" y="307282"/>
                      </a:lnTo>
                      <a:lnTo>
                        <a:pt x="1325115" y="304263"/>
                      </a:lnTo>
                      <a:lnTo>
                        <a:pt x="1338397" y="315734"/>
                      </a:lnTo>
                      <a:lnTo>
                        <a:pt x="1346848" y="315734"/>
                      </a:lnTo>
                      <a:lnTo>
                        <a:pt x="1358319" y="318752"/>
                      </a:lnTo>
                      <a:lnTo>
                        <a:pt x="1363752" y="316941"/>
                      </a:lnTo>
                      <a:lnTo>
                        <a:pt x="1374015" y="305471"/>
                      </a:lnTo>
                      <a:lnTo>
                        <a:pt x="1374619" y="302452"/>
                      </a:lnTo>
                      <a:lnTo>
                        <a:pt x="1372808" y="295812"/>
                      </a:lnTo>
                      <a:lnTo>
                        <a:pt x="1372808" y="290378"/>
                      </a:lnTo>
                      <a:lnTo>
                        <a:pt x="1377637" y="282530"/>
                      </a:lnTo>
                      <a:lnTo>
                        <a:pt x="1381863" y="280116"/>
                      </a:lnTo>
                      <a:lnTo>
                        <a:pt x="1393937" y="279512"/>
                      </a:lnTo>
                      <a:lnTo>
                        <a:pt x="1409029" y="279512"/>
                      </a:lnTo>
                      <a:lnTo>
                        <a:pt x="1412048" y="277701"/>
                      </a:lnTo>
                      <a:lnTo>
                        <a:pt x="1413859" y="282530"/>
                      </a:lnTo>
                      <a:lnTo>
                        <a:pt x="1417481" y="298830"/>
                      </a:lnTo>
                      <a:lnTo>
                        <a:pt x="1421103" y="303056"/>
                      </a:lnTo>
                      <a:lnTo>
                        <a:pt x="1427744" y="304867"/>
                      </a:lnTo>
                      <a:lnTo>
                        <a:pt x="1438611" y="305471"/>
                      </a:lnTo>
                      <a:lnTo>
                        <a:pt x="1450081" y="312715"/>
                      </a:lnTo>
                      <a:lnTo>
                        <a:pt x="1455514" y="313319"/>
                      </a:lnTo>
                      <a:lnTo>
                        <a:pt x="1479058" y="322374"/>
                      </a:lnTo>
                      <a:lnTo>
                        <a:pt x="1483284" y="326600"/>
                      </a:lnTo>
                      <a:lnTo>
                        <a:pt x="1489321" y="327808"/>
                      </a:lnTo>
                      <a:lnTo>
                        <a:pt x="1498376" y="327808"/>
                      </a:lnTo>
                      <a:lnTo>
                        <a:pt x="1507432" y="330826"/>
                      </a:lnTo>
                      <a:lnTo>
                        <a:pt x="1514676" y="332033"/>
                      </a:lnTo>
                      <a:lnTo>
                        <a:pt x="1520110" y="324185"/>
                      </a:lnTo>
                      <a:lnTo>
                        <a:pt x="1526147" y="319960"/>
                      </a:lnTo>
                      <a:lnTo>
                        <a:pt x="1533995" y="316941"/>
                      </a:lnTo>
                      <a:lnTo>
                        <a:pt x="1541843" y="319356"/>
                      </a:lnTo>
                      <a:lnTo>
                        <a:pt x="1545465" y="324185"/>
                      </a:lnTo>
                      <a:lnTo>
                        <a:pt x="1549087" y="330826"/>
                      </a:lnTo>
                      <a:lnTo>
                        <a:pt x="1552709" y="341693"/>
                      </a:lnTo>
                      <a:lnTo>
                        <a:pt x="1558142" y="346522"/>
                      </a:lnTo>
                      <a:lnTo>
                        <a:pt x="1559350" y="352559"/>
                      </a:lnTo>
                      <a:lnTo>
                        <a:pt x="1562972" y="358596"/>
                      </a:lnTo>
                      <a:lnTo>
                        <a:pt x="1575650" y="363426"/>
                      </a:lnTo>
                      <a:lnTo>
                        <a:pt x="1579876" y="364029"/>
                      </a:lnTo>
                      <a:lnTo>
                        <a:pt x="1596779" y="372481"/>
                      </a:lnTo>
                      <a:lnTo>
                        <a:pt x="1599798" y="376707"/>
                      </a:lnTo>
                      <a:lnTo>
                        <a:pt x="1604024" y="389988"/>
                      </a:lnTo>
                      <a:lnTo>
                        <a:pt x="1605835" y="403873"/>
                      </a:lnTo>
                      <a:lnTo>
                        <a:pt x="1607646" y="411721"/>
                      </a:lnTo>
                      <a:lnTo>
                        <a:pt x="1601005" y="413533"/>
                      </a:lnTo>
                      <a:lnTo>
                        <a:pt x="1597987" y="418966"/>
                      </a:lnTo>
                      <a:lnTo>
                        <a:pt x="1598590" y="430436"/>
                      </a:lnTo>
                      <a:lnTo>
                        <a:pt x="1594968" y="445529"/>
                      </a:lnTo>
                      <a:lnTo>
                        <a:pt x="1588327" y="460017"/>
                      </a:lnTo>
                      <a:lnTo>
                        <a:pt x="1587120" y="472091"/>
                      </a:lnTo>
                      <a:lnTo>
                        <a:pt x="1585309" y="476921"/>
                      </a:lnTo>
                      <a:lnTo>
                        <a:pt x="1577461" y="487787"/>
                      </a:lnTo>
                      <a:lnTo>
                        <a:pt x="1576253" y="493221"/>
                      </a:lnTo>
                      <a:lnTo>
                        <a:pt x="1578065" y="514350"/>
                      </a:lnTo>
                      <a:lnTo>
                        <a:pt x="1575046" y="532461"/>
                      </a:lnTo>
                      <a:lnTo>
                        <a:pt x="1570820" y="543327"/>
                      </a:lnTo>
                      <a:lnTo>
                        <a:pt x="1561765" y="563250"/>
                      </a:lnTo>
                      <a:lnTo>
                        <a:pt x="1556935" y="567475"/>
                      </a:lnTo>
                      <a:lnTo>
                        <a:pt x="1553917" y="577738"/>
                      </a:lnTo>
                      <a:lnTo>
                        <a:pt x="1554520" y="600679"/>
                      </a:lnTo>
                      <a:lnTo>
                        <a:pt x="1552709" y="602490"/>
                      </a:lnTo>
                      <a:lnTo>
                        <a:pt x="1527958" y="610338"/>
                      </a:lnTo>
                      <a:lnTo>
                        <a:pt x="1522524" y="607923"/>
                      </a:lnTo>
                      <a:lnTo>
                        <a:pt x="1515280" y="607319"/>
                      </a:lnTo>
                      <a:lnTo>
                        <a:pt x="1511054" y="607923"/>
                      </a:lnTo>
                      <a:lnTo>
                        <a:pt x="1503810" y="615167"/>
                      </a:lnTo>
                      <a:lnTo>
                        <a:pt x="1502602" y="619393"/>
                      </a:lnTo>
                      <a:lnTo>
                        <a:pt x="1499584" y="619393"/>
                      </a:lnTo>
                      <a:lnTo>
                        <a:pt x="1492943" y="624827"/>
                      </a:lnTo>
                      <a:lnTo>
                        <a:pt x="1495962" y="628449"/>
                      </a:lnTo>
                      <a:lnTo>
                        <a:pt x="1496565" y="633882"/>
                      </a:lnTo>
                      <a:lnTo>
                        <a:pt x="1492943" y="634486"/>
                      </a:lnTo>
                      <a:lnTo>
                        <a:pt x="1490529" y="639315"/>
                      </a:lnTo>
                      <a:lnTo>
                        <a:pt x="1497169" y="645956"/>
                      </a:lnTo>
                      <a:lnTo>
                        <a:pt x="1501999" y="649578"/>
                      </a:lnTo>
                      <a:lnTo>
                        <a:pt x="1501999" y="653804"/>
                      </a:lnTo>
                      <a:lnTo>
                        <a:pt x="1498376" y="659237"/>
                      </a:lnTo>
                      <a:lnTo>
                        <a:pt x="1492340" y="660445"/>
                      </a:lnTo>
                      <a:lnTo>
                        <a:pt x="1474229" y="660445"/>
                      </a:lnTo>
                      <a:lnTo>
                        <a:pt x="1468192" y="658030"/>
                      </a:lnTo>
                      <a:lnTo>
                        <a:pt x="1459136" y="657426"/>
                      </a:lnTo>
                      <a:lnTo>
                        <a:pt x="1455514" y="655011"/>
                      </a:lnTo>
                      <a:lnTo>
                        <a:pt x="1453703" y="658030"/>
                      </a:lnTo>
                      <a:lnTo>
                        <a:pt x="1444647" y="661048"/>
                      </a:lnTo>
                      <a:lnTo>
                        <a:pt x="1438611" y="662256"/>
                      </a:lnTo>
                      <a:lnTo>
                        <a:pt x="1442836" y="668897"/>
                      </a:lnTo>
                      <a:lnTo>
                        <a:pt x="1442836" y="675537"/>
                      </a:lnTo>
                      <a:lnTo>
                        <a:pt x="1445251" y="677952"/>
                      </a:lnTo>
                      <a:lnTo>
                        <a:pt x="1449477" y="677952"/>
                      </a:lnTo>
                      <a:lnTo>
                        <a:pt x="1448270" y="683385"/>
                      </a:lnTo>
                      <a:lnTo>
                        <a:pt x="1450081" y="690630"/>
                      </a:lnTo>
                      <a:lnTo>
                        <a:pt x="1449477" y="697874"/>
                      </a:lnTo>
                      <a:lnTo>
                        <a:pt x="1452495" y="704515"/>
                      </a:lnTo>
                      <a:lnTo>
                        <a:pt x="1456118" y="709948"/>
                      </a:lnTo>
                      <a:lnTo>
                        <a:pt x="1454910" y="719607"/>
                      </a:lnTo>
                      <a:lnTo>
                        <a:pt x="1453099" y="723229"/>
                      </a:lnTo>
                      <a:lnTo>
                        <a:pt x="1446458" y="728663"/>
                      </a:lnTo>
                      <a:lnTo>
                        <a:pt x="1441025" y="726851"/>
                      </a:lnTo>
                      <a:lnTo>
                        <a:pt x="1438611" y="728663"/>
                      </a:lnTo>
                      <a:lnTo>
                        <a:pt x="1434988" y="740133"/>
                      </a:lnTo>
                      <a:lnTo>
                        <a:pt x="1436196" y="746170"/>
                      </a:lnTo>
                      <a:lnTo>
                        <a:pt x="1428951" y="755225"/>
                      </a:lnTo>
                      <a:lnTo>
                        <a:pt x="1423518" y="756433"/>
                      </a:lnTo>
                      <a:lnTo>
                        <a:pt x="1420500" y="760055"/>
                      </a:lnTo>
                      <a:lnTo>
                        <a:pt x="1419292" y="766092"/>
                      </a:lnTo>
                      <a:lnTo>
                        <a:pt x="1424122" y="771525"/>
                      </a:lnTo>
                      <a:lnTo>
                        <a:pt x="1423518" y="774544"/>
                      </a:lnTo>
                      <a:lnTo>
                        <a:pt x="1418688" y="776355"/>
                      </a:lnTo>
                      <a:lnTo>
                        <a:pt x="1416274" y="773336"/>
                      </a:lnTo>
                      <a:lnTo>
                        <a:pt x="1411444" y="771525"/>
                      </a:lnTo>
                      <a:lnTo>
                        <a:pt x="1396955" y="769110"/>
                      </a:lnTo>
                      <a:lnTo>
                        <a:pt x="1389711" y="770318"/>
                      </a:lnTo>
                      <a:lnTo>
                        <a:pt x="1384881" y="767299"/>
                      </a:lnTo>
                      <a:lnTo>
                        <a:pt x="1374619" y="767299"/>
                      </a:lnTo>
                      <a:lnTo>
                        <a:pt x="1370393" y="761866"/>
                      </a:lnTo>
                      <a:lnTo>
                        <a:pt x="1364356" y="764281"/>
                      </a:lnTo>
                      <a:lnTo>
                        <a:pt x="1364356" y="768507"/>
                      </a:lnTo>
                      <a:lnTo>
                        <a:pt x="1361337" y="773940"/>
                      </a:lnTo>
                      <a:lnTo>
                        <a:pt x="1353489" y="775147"/>
                      </a:lnTo>
                      <a:lnTo>
                        <a:pt x="1343226" y="771525"/>
                      </a:lnTo>
                      <a:lnTo>
                        <a:pt x="1338397" y="767299"/>
                      </a:lnTo>
                      <a:lnTo>
                        <a:pt x="1320890" y="774544"/>
                      </a:lnTo>
                      <a:lnTo>
                        <a:pt x="1317267" y="782995"/>
                      </a:lnTo>
                      <a:lnTo>
                        <a:pt x="1314249" y="787221"/>
                      </a:lnTo>
                      <a:lnTo>
                        <a:pt x="1317871" y="791447"/>
                      </a:lnTo>
                      <a:lnTo>
                        <a:pt x="1321493" y="798691"/>
                      </a:lnTo>
                      <a:lnTo>
                        <a:pt x="1322097" y="802314"/>
                      </a:lnTo>
                      <a:lnTo>
                        <a:pt x="1326927" y="815595"/>
                      </a:lnTo>
                      <a:lnTo>
                        <a:pt x="1328738" y="817406"/>
                      </a:lnTo>
                      <a:lnTo>
                        <a:pt x="1337793" y="835517"/>
                      </a:lnTo>
                      <a:lnTo>
                        <a:pt x="1340208" y="834310"/>
                      </a:lnTo>
                      <a:lnTo>
                        <a:pt x="1342623" y="837932"/>
                      </a:lnTo>
                      <a:lnTo>
                        <a:pt x="1346245" y="837328"/>
                      </a:lnTo>
                      <a:lnTo>
                        <a:pt x="1348056" y="840950"/>
                      </a:lnTo>
                      <a:lnTo>
                        <a:pt x="1342623" y="842158"/>
                      </a:lnTo>
                      <a:lnTo>
                        <a:pt x="1342623" y="845176"/>
                      </a:lnTo>
                      <a:lnTo>
                        <a:pt x="1339000" y="849402"/>
                      </a:lnTo>
                      <a:lnTo>
                        <a:pt x="1337793" y="853024"/>
                      </a:lnTo>
                      <a:lnTo>
                        <a:pt x="1341415" y="858457"/>
                      </a:lnTo>
                      <a:lnTo>
                        <a:pt x="1346848" y="860269"/>
                      </a:lnTo>
                      <a:lnTo>
                        <a:pt x="1351074" y="857250"/>
                      </a:lnTo>
                      <a:lnTo>
                        <a:pt x="1352885" y="860269"/>
                      </a:lnTo>
                      <a:lnTo>
                        <a:pt x="1352282" y="865098"/>
                      </a:lnTo>
                      <a:lnTo>
                        <a:pt x="1355904" y="875965"/>
                      </a:lnTo>
                      <a:lnTo>
                        <a:pt x="1348660" y="874154"/>
                      </a:lnTo>
                      <a:lnTo>
                        <a:pt x="1347452" y="872342"/>
                      </a:lnTo>
                      <a:lnTo>
                        <a:pt x="1337793" y="872946"/>
                      </a:lnTo>
                      <a:lnTo>
                        <a:pt x="1333567" y="875965"/>
                      </a:lnTo>
                      <a:lnTo>
                        <a:pt x="1329341" y="875965"/>
                      </a:lnTo>
                      <a:lnTo>
                        <a:pt x="1322701" y="874154"/>
                      </a:lnTo>
                      <a:lnTo>
                        <a:pt x="1317871" y="871135"/>
                      </a:lnTo>
                      <a:lnTo>
                        <a:pt x="1316664" y="874154"/>
                      </a:lnTo>
                      <a:lnTo>
                        <a:pt x="1316664" y="884416"/>
                      </a:lnTo>
                      <a:lnTo>
                        <a:pt x="1321493" y="897094"/>
                      </a:lnTo>
                      <a:lnTo>
                        <a:pt x="1322097" y="901924"/>
                      </a:lnTo>
                      <a:lnTo>
                        <a:pt x="1319682" y="909168"/>
                      </a:lnTo>
                      <a:lnTo>
                        <a:pt x="1319682" y="920638"/>
                      </a:lnTo>
                      <a:lnTo>
                        <a:pt x="1321493" y="925468"/>
                      </a:lnTo>
                      <a:lnTo>
                        <a:pt x="1323908" y="927883"/>
                      </a:lnTo>
                      <a:lnTo>
                        <a:pt x="1323908" y="933316"/>
                      </a:lnTo>
                      <a:lnTo>
                        <a:pt x="1328134" y="936334"/>
                      </a:lnTo>
                      <a:lnTo>
                        <a:pt x="1330549" y="943579"/>
                      </a:lnTo>
                      <a:lnTo>
                        <a:pt x="1332360" y="945993"/>
                      </a:lnTo>
                      <a:lnTo>
                        <a:pt x="1339000" y="945993"/>
                      </a:lnTo>
                      <a:lnTo>
                        <a:pt x="1346245" y="951427"/>
                      </a:lnTo>
                      <a:lnTo>
                        <a:pt x="1356508" y="955653"/>
                      </a:lnTo>
                      <a:lnTo>
                        <a:pt x="1377033" y="955653"/>
                      </a:lnTo>
                      <a:lnTo>
                        <a:pt x="1385485" y="954445"/>
                      </a:lnTo>
                      <a:lnTo>
                        <a:pt x="1390315" y="956860"/>
                      </a:lnTo>
                      <a:lnTo>
                        <a:pt x="1395144" y="958067"/>
                      </a:lnTo>
                      <a:lnTo>
                        <a:pt x="1398163" y="959879"/>
                      </a:lnTo>
                      <a:lnTo>
                        <a:pt x="1402389" y="959879"/>
                      </a:lnTo>
                      <a:lnTo>
                        <a:pt x="1407822" y="958067"/>
                      </a:lnTo>
                      <a:lnTo>
                        <a:pt x="1411444" y="958067"/>
                      </a:lnTo>
                      <a:lnTo>
                        <a:pt x="1427744" y="964104"/>
                      </a:lnTo>
                      <a:lnTo>
                        <a:pt x="1427140" y="971952"/>
                      </a:lnTo>
                      <a:lnTo>
                        <a:pt x="1424725" y="980404"/>
                      </a:lnTo>
                      <a:lnTo>
                        <a:pt x="1419896" y="987649"/>
                      </a:lnTo>
                      <a:lnTo>
                        <a:pt x="1413859" y="999119"/>
                      </a:lnTo>
                      <a:lnTo>
                        <a:pt x="1411444" y="1006363"/>
                      </a:lnTo>
                      <a:lnTo>
                        <a:pt x="1415066" y="1014211"/>
                      </a:lnTo>
                      <a:lnTo>
                        <a:pt x="1415066" y="1018437"/>
                      </a:lnTo>
                      <a:lnTo>
                        <a:pt x="1409029" y="1022059"/>
                      </a:lnTo>
                      <a:lnTo>
                        <a:pt x="1405407" y="1022059"/>
                      </a:lnTo>
                      <a:lnTo>
                        <a:pt x="1408426" y="1028700"/>
                      </a:lnTo>
                      <a:lnTo>
                        <a:pt x="1413255" y="1030511"/>
                      </a:lnTo>
                      <a:lnTo>
                        <a:pt x="1413255" y="1035341"/>
                      </a:lnTo>
                      <a:lnTo>
                        <a:pt x="1418085" y="1034737"/>
                      </a:lnTo>
                      <a:lnTo>
                        <a:pt x="1420500" y="1036548"/>
                      </a:lnTo>
                      <a:lnTo>
                        <a:pt x="1429555" y="1046811"/>
                      </a:lnTo>
                      <a:lnTo>
                        <a:pt x="1433177" y="1054055"/>
                      </a:lnTo>
                      <a:lnTo>
                        <a:pt x="1440422" y="1063111"/>
                      </a:lnTo>
                      <a:lnTo>
                        <a:pt x="1451288" y="1079411"/>
                      </a:lnTo>
                      <a:lnTo>
                        <a:pt x="1457929" y="1081825"/>
                      </a:lnTo>
                      <a:lnTo>
                        <a:pt x="1460947" y="1085448"/>
                      </a:lnTo>
                      <a:lnTo>
                        <a:pt x="1463362" y="1092088"/>
                      </a:lnTo>
                      <a:lnTo>
                        <a:pt x="1457929" y="1098729"/>
                      </a:lnTo>
                      <a:lnTo>
                        <a:pt x="1452495" y="1107181"/>
                      </a:lnTo>
                      <a:lnTo>
                        <a:pt x="1450684" y="1107784"/>
                      </a:lnTo>
                      <a:lnTo>
                        <a:pt x="1440422" y="1123481"/>
                      </a:lnTo>
                      <a:lnTo>
                        <a:pt x="1430159" y="1131932"/>
                      </a:lnTo>
                      <a:lnTo>
                        <a:pt x="1430159" y="1134347"/>
                      </a:lnTo>
                      <a:lnTo>
                        <a:pt x="1425933" y="1142799"/>
                      </a:lnTo>
                      <a:lnTo>
                        <a:pt x="1419292" y="1143402"/>
                      </a:lnTo>
                      <a:lnTo>
                        <a:pt x="1416274" y="1141591"/>
                      </a:lnTo>
                      <a:lnTo>
                        <a:pt x="1415670" y="1133140"/>
                      </a:lnTo>
                      <a:lnTo>
                        <a:pt x="1404803" y="1127706"/>
                      </a:lnTo>
                      <a:lnTo>
                        <a:pt x="1399974" y="1127103"/>
                      </a:lnTo>
                      <a:lnTo>
                        <a:pt x="1396955" y="1134347"/>
                      </a:lnTo>
                      <a:lnTo>
                        <a:pt x="1390918" y="1141591"/>
                      </a:lnTo>
                      <a:lnTo>
                        <a:pt x="1385485" y="1141591"/>
                      </a:lnTo>
                      <a:lnTo>
                        <a:pt x="1383674" y="1147628"/>
                      </a:lnTo>
                      <a:lnTo>
                        <a:pt x="1374015" y="1154269"/>
                      </a:lnTo>
                      <a:lnTo>
                        <a:pt x="1364356" y="1154269"/>
                      </a:lnTo>
                      <a:lnTo>
                        <a:pt x="1360734" y="1157288"/>
                      </a:lnTo>
                      <a:lnTo>
                        <a:pt x="1364356" y="1165739"/>
                      </a:lnTo>
                      <a:lnTo>
                        <a:pt x="1363148" y="1169965"/>
                      </a:lnTo>
                      <a:lnTo>
                        <a:pt x="1359526" y="1170569"/>
                      </a:lnTo>
                      <a:lnTo>
                        <a:pt x="1358922" y="1176002"/>
                      </a:lnTo>
                      <a:lnTo>
                        <a:pt x="1354093" y="1177210"/>
                      </a:lnTo>
                      <a:lnTo>
                        <a:pt x="1346245" y="1176606"/>
                      </a:lnTo>
                      <a:lnTo>
                        <a:pt x="1336586" y="1179624"/>
                      </a:lnTo>
                      <a:lnTo>
                        <a:pt x="1331756" y="1189284"/>
                      </a:lnTo>
                      <a:lnTo>
                        <a:pt x="1329341" y="1188680"/>
                      </a:lnTo>
                      <a:lnTo>
                        <a:pt x="1325719" y="1182643"/>
                      </a:lnTo>
                      <a:lnTo>
                        <a:pt x="1314249" y="1176606"/>
                      </a:lnTo>
                      <a:lnTo>
                        <a:pt x="1303382" y="1163928"/>
                      </a:lnTo>
                      <a:lnTo>
                        <a:pt x="1297949" y="1164532"/>
                      </a:lnTo>
                      <a:lnTo>
                        <a:pt x="1296742" y="1159099"/>
                      </a:lnTo>
                      <a:lnTo>
                        <a:pt x="1293723" y="1154269"/>
                      </a:lnTo>
                      <a:lnTo>
                        <a:pt x="1290705" y="1142799"/>
                      </a:lnTo>
                      <a:lnTo>
                        <a:pt x="1287686" y="1136158"/>
                      </a:lnTo>
                      <a:lnTo>
                        <a:pt x="1287686" y="1131932"/>
                      </a:lnTo>
                      <a:lnTo>
                        <a:pt x="1291308" y="1128310"/>
                      </a:lnTo>
                      <a:lnTo>
                        <a:pt x="1290705" y="1121066"/>
                      </a:lnTo>
                      <a:lnTo>
                        <a:pt x="1288290" y="1118651"/>
                      </a:lnTo>
                      <a:lnTo>
                        <a:pt x="1284668" y="1111407"/>
                      </a:lnTo>
                      <a:lnTo>
                        <a:pt x="1285875" y="1104162"/>
                      </a:lnTo>
                      <a:lnTo>
                        <a:pt x="1275009" y="1111407"/>
                      </a:lnTo>
                      <a:lnTo>
                        <a:pt x="1265349" y="1111407"/>
                      </a:lnTo>
                      <a:lnTo>
                        <a:pt x="1262331" y="1115029"/>
                      </a:lnTo>
                      <a:lnTo>
                        <a:pt x="1259312" y="1123481"/>
                      </a:lnTo>
                      <a:lnTo>
                        <a:pt x="1256294" y="1126499"/>
                      </a:lnTo>
                      <a:lnTo>
                        <a:pt x="1249050" y="1121669"/>
                      </a:lnTo>
                      <a:lnTo>
                        <a:pt x="1245427" y="1121066"/>
                      </a:lnTo>
                      <a:lnTo>
                        <a:pt x="1237579" y="1123481"/>
                      </a:lnTo>
                      <a:lnTo>
                        <a:pt x="1230335" y="1130121"/>
                      </a:lnTo>
                      <a:lnTo>
                        <a:pt x="1224902" y="1129518"/>
                      </a:lnTo>
                      <a:lnTo>
                        <a:pt x="1218865" y="1133140"/>
                      </a:lnTo>
                      <a:lnTo>
                        <a:pt x="1215846" y="1137969"/>
                      </a:lnTo>
                      <a:lnTo>
                        <a:pt x="1215243" y="1142799"/>
                      </a:lnTo>
                      <a:lnTo>
                        <a:pt x="1211017" y="1142799"/>
                      </a:lnTo>
                      <a:lnTo>
                        <a:pt x="1209809" y="1143402"/>
                      </a:lnTo>
                      <a:close/>
                    </a:path>
                  </a:pathLst>
                </a:custGeom>
                <a:grpFill/>
                <a:ln w="3175" cap="rnd">
                  <a:solidFill>
                    <a:schemeClr val="bg1">
                      <a:lumMod val="75000"/>
                    </a:schemeClr>
                  </a:solidFill>
                  <a:prstDash val="solid"/>
                  <a:round/>
                </a:ln>
              </p:spPr>
              <p:txBody>
                <a:bodyPr rtlCol="0" anchor="ctr"/>
                <a:lstStyle/>
                <a:p>
                  <a:endParaRPr lang="en-US" dirty="0">
                    <a:solidFill>
                      <a:prstClr val="black"/>
                    </a:solidFill>
                  </a:endParaRPr>
                </a:p>
              </p:txBody>
            </p:sp>
          </p:grpSp>
          <p:grpSp>
            <p:nvGrpSpPr>
              <p:cNvPr id="2396" name="Etiquettes">
                <a:extLst>
                  <a:ext uri="{FF2B5EF4-FFF2-40B4-BE49-F238E27FC236}">
                    <a16:creationId xmlns:a16="http://schemas.microsoft.com/office/drawing/2014/main" id="{E4CE247C-0667-44E2-9054-17A34BA207D7}"/>
                  </a:ext>
                </a:extLst>
              </p:cNvPr>
              <p:cNvGrpSpPr/>
              <p:nvPr/>
            </p:nvGrpSpPr>
            <p:grpSpPr>
              <a:xfrm>
                <a:off x="1753417" y="665684"/>
                <a:ext cx="7806935" cy="5868218"/>
                <a:chOff x="1090749" y="566270"/>
                <a:chExt cx="7806935" cy="5868218"/>
              </a:xfrm>
              <a:grpFill/>
            </p:grpSpPr>
            <p:sp>
              <p:nvSpPr>
                <p:cNvPr id="2422" name="Etiquette - Andhra Pradesh" hidden="1">
                  <a:extLst>
                    <a:ext uri="{FF2B5EF4-FFF2-40B4-BE49-F238E27FC236}">
                      <a16:creationId xmlns:a16="http://schemas.microsoft.com/office/drawing/2014/main" id="{7EFA9C11-46DC-44E6-87FB-0641AE3D684F}"/>
                    </a:ext>
                  </a:extLst>
                </p:cNvPr>
                <p:cNvSpPr>
                  <a:spLocks noChangeArrowheads="1"/>
                </p:cNvSpPr>
                <p:nvPr/>
              </p:nvSpPr>
              <p:spPr bwMode="auto">
                <a:xfrm>
                  <a:off x="4462975" y="4696308"/>
                  <a:ext cx="2268465"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Andhra Pradesh</a:t>
                  </a:r>
                </a:p>
              </p:txBody>
            </p:sp>
            <p:sp>
              <p:nvSpPr>
                <p:cNvPr id="2423" name="Etiquette - DARK - Arunachal Pradesh" hidden="1">
                  <a:extLst>
                    <a:ext uri="{FF2B5EF4-FFF2-40B4-BE49-F238E27FC236}">
                      <a16:creationId xmlns:a16="http://schemas.microsoft.com/office/drawing/2014/main" id="{AF3BF35B-B496-431F-BFCF-9734440E60A9}"/>
                    </a:ext>
                  </a:extLst>
                </p:cNvPr>
                <p:cNvSpPr>
                  <a:spLocks noChangeArrowheads="1"/>
                </p:cNvSpPr>
                <p:nvPr/>
              </p:nvSpPr>
              <p:spPr bwMode="auto">
                <a:xfrm>
                  <a:off x="6235758" y="2293503"/>
                  <a:ext cx="2661926"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Arunachal Pradesh</a:t>
                  </a:r>
                </a:p>
              </p:txBody>
            </p:sp>
            <p:sp>
              <p:nvSpPr>
                <p:cNvPr id="2424" name="Etiquette - DARK - Assam" hidden="1">
                  <a:extLst>
                    <a:ext uri="{FF2B5EF4-FFF2-40B4-BE49-F238E27FC236}">
                      <a16:creationId xmlns:a16="http://schemas.microsoft.com/office/drawing/2014/main" id="{1FAA7565-98D3-45DA-840D-9BEA22DC1967}"/>
                    </a:ext>
                  </a:extLst>
                </p:cNvPr>
                <p:cNvSpPr>
                  <a:spLocks noChangeArrowheads="1"/>
                </p:cNvSpPr>
                <p:nvPr/>
              </p:nvSpPr>
              <p:spPr bwMode="auto">
                <a:xfrm>
                  <a:off x="5864454" y="2757154"/>
                  <a:ext cx="922934"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Assam</a:t>
                  </a:r>
                </a:p>
              </p:txBody>
            </p:sp>
            <p:sp>
              <p:nvSpPr>
                <p:cNvPr id="2425" name="Etiquette - Bihar" hidden="1">
                  <a:extLst>
                    <a:ext uri="{FF2B5EF4-FFF2-40B4-BE49-F238E27FC236}">
                      <a16:creationId xmlns:a16="http://schemas.microsoft.com/office/drawing/2014/main" id="{022CF48B-0F30-404B-8D86-6FA470B6E43E}"/>
                    </a:ext>
                  </a:extLst>
                </p:cNvPr>
                <p:cNvSpPr>
                  <a:spLocks noChangeArrowheads="1"/>
                </p:cNvSpPr>
                <p:nvPr/>
              </p:nvSpPr>
              <p:spPr bwMode="auto">
                <a:xfrm>
                  <a:off x="5289558" y="3000418"/>
                  <a:ext cx="743202"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Bihar</a:t>
                  </a:r>
                </a:p>
              </p:txBody>
            </p:sp>
            <p:sp>
              <p:nvSpPr>
                <p:cNvPr id="2426" name="Etiquette - DARK - Goa" hidden="1">
                  <a:extLst>
                    <a:ext uri="{FF2B5EF4-FFF2-40B4-BE49-F238E27FC236}">
                      <a16:creationId xmlns:a16="http://schemas.microsoft.com/office/drawing/2014/main" id="{51FC141B-10D8-45BB-90B6-A1C3128169E0}"/>
                    </a:ext>
                  </a:extLst>
                </p:cNvPr>
                <p:cNvSpPr>
                  <a:spLocks noChangeArrowheads="1"/>
                </p:cNvSpPr>
                <p:nvPr/>
              </p:nvSpPr>
              <p:spPr bwMode="auto">
                <a:xfrm>
                  <a:off x="3154861" y="4903584"/>
                  <a:ext cx="568332"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Goa</a:t>
                  </a:r>
                </a:p>
              </p:txBody>
            </p:sp>
            <p:sp>
              <p:nvSpPr>
                <p:cNvPr id="2427" name="Etiquette - Gujarat" hidden="1">
                  <a:extLst>
                    <a:ext uri="{FF2B5EF4-FFF2-40B4-BE49-F238E27FC236}">
                      <a16:creationId xmlns:a16="http://schemas.microsoft.com/office/drawing/2014/main" id="{7E8D788C-A8F7-4845-B86B-BF5AF07E1D20}"/>
                    </a:ext>
                  </a:extLst>
                </p:cNvPr>
                <p:cNvSpPr>
                  <a:spLocks noChangeArrowheads="1"/>
                </p:cNvSpPr>
                <p:nvPr/>
              </p:nvSpPr>
              <p:spPr bwMode="auto">
                <a:xfrm>
                  <a:off x="2888747" y="3458366"/>
                  <a:ext cx="1054083"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Gujarat</a:t>
                  </a:r>
                </a:p>
              </p:txBody>
            </p:sp>
            <p:sp>
              <p:nvSpPr>
                <p:cNvPr id="2428" name="Etiquette - Haryana" hidden="1">
                  <a:extLst>
                    <a:ext uri="{FF2B5EF4-FFF2-40B4-BE49-F238E27FC236}">
                      <a16:creationId xmlns:a16="http://schemas.microsoft.com/office/drawing/2014/main" id="{35972F18-8966-4051-AFB1-2E49CED6EA85}"/>
                    </a:ext>
                  </a:extLst>
                </p:cNvPr>
                <p:cNvSpPr>
                  <a:spLocks noChangeArrowheads="1"/>
                </p:cNvSpPr>
                <p:nvPr/>
              </p:nvSpPr>
              <p:spPr bwMode="auto">
                <a:xfrm>
                  <a:off x="2610620" y="2439946"/>
                  <a:ext cx="1180379"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Haryana</a:t>
                  </a:r>
                </a:p>
              </p:txBody>
            </p:sp>
            <p:sp>
              <p:nvSpPr>
                <p:cNvPr id="2429" name="Etiquette - DARK - Himachal Pradesh" hidden="1">
                  <a:extLst>
                    <a:ext uri="{FF2B5EF4-FFF2-40B4-BE49-F238E27FC236}">
                      <a16:creationId xmlns:a16="http://schemas.microsoft.com/office/drawing/2014/main" id="{C3A3FBFD-7FBD-402F-8BC4-F747A3B2B6B3}"/>
                    </a:ext>
                  </a:extLst>
                </p:cNvPr>
                <p:cNvSpPr>
                  <a:spLocks noChangeArrowheads="1"/>
                </p:cNvSpPr>
                <p:nvPr/>
              </p:nvSpPr>
              <p:spPr bwMode="auto">
                <a:xfrm>
                  <a:off x="3728027" y="1960980"/>
                  <a:ext cx="2550200"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Himachal Pradesh</a:t>
                  </a:r>
                </a:p>
              </p:txBody>
            </p:sp>
            <p:sp>
              <p:nvSpPr>
                <p:cNvPr id="2430" name="Etiquette - Jammu and Kashmir" hidden="1">
                  <a:extLst>
                    <a:ext uri="{FF2B5EF4-FFF2-40B4-BE49-F238E27FC236}">
                      <a16:creationId xmlns:a16="http://schemas.microsoft.com/office/drawing/2014/main" id="{51B409A9-BF7B-4F26-BB31-AC2F992FC85B}"/>
                    </a:ext>
                  </a:extLst>
                </p:cNvPr>
                <p:cNvSpPr>
                  <a:spLocks noChangeArrowheads="1"/>
                </p:cNvSpPr>
                <p:nvPr/>
              </p:nvSpPr>
              <p:spPr bwMode="auto">
                <a:xfrm>
                  <a:off x="3736863" y="566270"/>
                  <a:ext cx="781632" cy="2098449"/>
                </a:xfrm>
                <a:prstGeom prst="rect">
                  <a:avLst/>
                </a:prstGeom>
                <a:grpFill/>
                <a:ln w="9525">
                  <a:solidFill>
                    <a:schemeClr val="bg1">
                      <a:lumMod val="75000"/>
                    </a:schemeClr>
                  </a:solidFill>
                  <a:miter lim="800000"/>
                  <a:headEnd/>
                  <a:tailEnd/>
                </a:ln>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Jammu and Kashmir</a:t>
                  </a:r>
                </a:p>
              </p:txBody>
            </p:sp>
            <p:sp>
              <p:nvSpPr>
                <p:cNvPr id="2431" name="Etiquette - Karnataka" hidden="1">
                  <a:extLst>
                    <a:ext uri="{FF2B5EF4-FFF2-40B4-BE49-F238E27FC236}">
                      <a16:creationId xmlns:a16="http://schemas.microsoft.com/office/drawing/2014/main" id="{5C0CB297-6E7B-477B-A429-B6CA151F957B}"/>
                    </a:ext>
                  </a:extLst>
                </p:cNvPr>
                <p:cNvSpPr>
                  <a:spLocks noChangeArrowheads="1"/>
                </p:cNvSpPr>
                <p:nvPr/>
              </p:nvSpPr>
              <p:spPr bwMode="auto">
                <a:xfrm>
                  <a:off x="3396607" y="5257543"/>
                  <a:ext cx="1423254"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Karnataka</a:t>
                  </a:r>
                </a:p>
              </p:txBody>
            </p:sp>
            <p:sp>
              <p:nvSpPr>
                <p:cNvPr id="2432" name="Etiquette - DARK - Kerala" hidden="1">
                  <a:extLst>
                    <a:ext uri="{FF2B5EF4-FFF2-40B4-BE49-F238E27FC236}">
                      <a16:creationId xmlns:a16="http://schemas.microsoft.com/office/drawing/2014/main" id="{CE01E8EF-FE87-4B1C-9678-3984246D913F}"/>
                    </a:ext>
                  </a:extLst>
                </p:cNvPr>
                <p:cNvSpPr>
                  <a:spLocks noChangeArrowheads="1"/>
                </p:cNvSpPr>
                <p:nvPr/>
              </p:nvSpPr>
              <p:spPr bwMode="auto">
                <a:xfrm>
                  <a:off x="3417067" y="5720298"/>
                  <a:ext cx="888928"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Kerala</a:t>
                  </a:r>
                </a:p>
              </p:txBody>
            </p:sp>
            <p:sp>
              <p:nvSpPr>
                <p:cNvPr id="2433" name="Etiquette - Madhya Pradesh" hidden="1">
                  <a:extLst>
                    <a:ext uri="{FF2B5EF4-FFF2-40B4-BE49-F238E27FC236}">
                      <a16:creationId xmlns:a16="http://schemas.microsoft.com/office/drawing/2014/main" id="{9612266C-4728-44BE-93BB-D2C3CA129A71}"/>
                    </a:ext>
                  </a:extLst>
                </p:cNvPr>
                <p:cNvSpPr>
                  <a:spLocks noChangeArrowheads="1"/>
                </p:cNvSpPr>
                <p:nvPr/>
              </p:nvSpPr>
              <p:spPr bwMode="auto">
                <a:xfrm>
                  <a:off x="3225897" y="3448489"/>
                  <a:ext cx="2385045"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Madhya Pradesh</a:t>
                  </a:r>
                </a:p>
              </p:txBody>
            </p:sp>
            <p:sp>
              <p:nvSpPr>
                <p:cNvPr id="2434" name="Etiquette - Maharashtra" hidden="1">
                  <a:extLst>
                    <a:ext uri="{FF2B5EF4-FFF2-40B4-BE49-F238E27FC236}">
                      <a16:creationId xmlns:a16="http://schemas.microsoft.com/office/drawing/2014/main" id="{B80D5811-1521-40EA-B68D-71065EE0C521}"/>
                    </a:ext>
                  </a:extLst>
                </p:cNvPr>
                <p:cNvSpPr>
                  <a:spLocks noChangeArrowheads="1"/>
                </p:cNvSpPr>
                <p:nvPr/>
              </p:nvSpPr>
              <p:spPr bwMode="auto">
                <a:xfrm>
                  <a:off x="3060620" y="4093904"/>
                  <a:ext cx="1826431"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Maharashtra</a:t>
                  </a:r>
                </a:p>
              </p:txBody>
            </p:sp>
            <p:sp>
              <p:nvSpPr>
                <p:cNvPr id="2435" name="Etiquette - DARK - Manipur" hidden="1">
                  <a:extLst>
                    <a:ext uri="{FF2B5EF4-FFF2-40B4-BE49-F238E27FC236}">
                      <a16:creationId xmlns:a16="http://schemas.microsoft.com/office/drawing/2014/main" id="{2A71BE6A-D0CE-4CF4-AB7E-AE656BC18D76}"/>
                    </a:ext>
                  </a:extLst>
                </p:cNvPr>
                <p:cNvSpPr>
                  <a:spLocks noChangeArrowheads="1"/>
                </p:cNvSpPr>
                <p:nvPr/>
              </p:nvSpPr>
              <p:spPr bwMode="auto">
                <a:xfrm>
                  <a:off x="6822241" y="3340402"/>
                  <a:ext cx="1224096"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Manipur</a:t>
                  </a:r>
                </a:p>
              </p:txBody>
            </p:sp>
            <p:sp>
              <p:nvSpPr>
                <p:cNvPr id="2436" name="Etiquette - DARK - Meghalaya" hidden="1">
                  <a:extLst>
                    <a:ext uri="{FF2B5EF4-FFF2-40B4-BE49-F238E27FC236}">
                      <a16:creationId xmlns:a16="http://schemas.microsoft.com/office/drawing/2014/main" id="{408A5672-A65D-47CA-83BF-D19CA394E0FE}"/>
                    </a:ext>
                  </a:extLst>
                </p:cNvPr>
                <p:cNvSpPr>
                  <a:spLocks noChangeArrowheads="1"/>
                </p:cNvSpPr>
                <p:nvPr/>
              </p:nvSpPr>
              <p:spPr bwMode="auto">
                <a:xfrm>
                  <a:off x="5550906" y="3312166"/>
                  <a:ext cx="1564125"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Meghalaya</a:t>
                  </a:r>
                </a:p>
              </p:txBody>
            </p:sp>
            <p:sp>
              <p:nvSpPr>
                <p:cNvPr id="2437" name="Etiquette - DARK - Mizoram" hidden="1">
                  <a:extLst>
                    <a:ext uri="{FF2B5EF4-FFF2-40B4-BE49-F238E27FC236}">
                      <a16:creationId xmlns:a16="http://schemas.microsoft.com/office/drawing/2014/main" id="{CD102165-7891-484B-B3D2-62140D1695AB}"/>
                    </a:ext>
                  </a:extLst>
                </p:cNvPr>
                <p:cNvSpPr>
                  <a:spLocks noChangeArrowheads="1"/>
                </p:cNvSpPr>
                <p:nvPr/>
              </p:nvSpPr>
              <p:spPr bwMode="auto">
                <a:xfrm>
                  <a:off x="6626271" y="3658335"/>
                  <a:ext cx="1272674"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Mizoram</a:t>
                  </a:r>
                </a:p>
              </p:txBody>
            </p:sp>
            <p:sp>
              <p:nvSpPr>
                <p:cNvPr id="2438" name="Etiquette - DARK - Nagaland" hidden="1">
                  <a:extLst>
                    <a:ext uri="{FF2B5EF4-FFF2-40B4-BE49-F238E27FC236}">
                      <a16:creationId xmlns:a16="http://schemas.microsoft.com/office/drawing/2014/main" id="{011E374C-8879-433C-9AD4-04F2B7B029C5}"/>
                    </a:ext>
                  </a:extLst>
                </p:cNvPr>
                <p:cNvSpPr>
                  <a:spLocks noChangeArrowheads="1"/>
                </p:cNvSpPr>
                <p:nvPr/>
              </p:nvSpPr>
              <p:spPr bwMode="auto">
                <a:xfrm>
                  <a:off x="6911952" y="3073064"/>
                  <a:ext cx="1335819"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Nagaland</a:t>
                  </a:r>
                </a:p>
              </p:txBody>
            </p:sp>
            <p:sp>
              <p:nvSpPr>
                <p:cNvPr id="2439" name="Etiquette - Orissa" hidden="1">
                  <a:extLst>
                    <a:ext uri="{FF2B5EF4-FFF2-40B4-BE49-F238E27FC236}">
                      <a16:creationId xmlns:a16="http://schemas.microsoft.com/office/drawing/2014/main" id="{01C405E4-C569-424A-89EF-3DE39F8827C3}"/>
                    </a:ext>
                  </a:extLst>
                </p:cNvPr>
                <p:cNvSpPr>
                  <a:spLocks noChangeArrowheads="1"/>
                </p:cNvSpPr>
                <p:nvPr/>
              </p:nvSpPr>
              <p:spPr bwMode="auto">
                <a:xfrm>
                  <a:off x="5006071" y="3813884"/>
                  <a:ext cx="874355"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Orissa</a:t>
                  </a:r>
                </a:p>
              </p:txBody>
            </p:sp>
            <p:sp>
              <p:nvSpPr>
                <p:cNvPr id="2440" name="Etiquette - Punjab" hidden="1">
                  <a:extLst>
                    <a:ext uri="{FF2B5EF4-FFF2-40B4-BE49-F238E27FC236}">
                      <a16:creationId xmlns:a16="http://schemas.microsoft.com/office/drawing/2014/main" id="{C1D91078-135B-4C8E-A281-C5D86D5EFC26}"/>
                    </a:ext>
                  </a:extLst>
                </p:cNvPr>
                <p:cNvSpPr>
                  <a:spLocks noChangeArrowheads="1"/>
                </p:cNvSpPr>
                <p:nvPr/>
              </p:nvSpPr>
              <p:spPr bwMode="auto">
                <a:xfrm>
                  <a:off x="2900031" y="2084074"/>
                  <a:ext cx="981224"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Punjab</a:t>
                  </a:r>
                </a:p>
              </p:txBody>
            </p:sp>
            <p:sp>
              <p:nvSpPr>
                <p:cNvPr id="2441" name="Etiquette - Rajasthan" hidden="1">
                  <a:extLst>
                    <a:ext uri="{FF2B5EF4-FFF2-40B4-BE49-F238E27FC236}">
                      <a16:creationId xmlns:a16="http://schemas.microsoft.com/office/drawing/2014/main" id="{B35FDE30-3D66-4E60-B061-CF891AA37388}"/>
                    </a:ext>
                  </a:extLst>
                </p:cNvPr>
                <p:cNvSpPr>
                  <a:spLocks noChangeArrowheads="1"/>
                </p:cNvSpPr>
                <p:nvPr/>
              </p:nvSpPr>
              <p:spPr bwMode="auto">
                <a:xfrm>
                  <a:off x="2910628" y="2880357"/>
                  <a:ext cx="1389255"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Rajasthan</a:t>
                  </a:r>
                </a:p>
              </p:txBody>
            </p:sp>
            <p:sp>
              <p:nvSpPr>
                <p:cNvPr id="2442" name="Etiquette - DARK - Sikkim" hidden="1">
                  <a:extLst>
                    <a:ext uri="{FF2B5EF4-FFF2-40B4-BE49-F238E27FC236}">
                      <a16:creationId xmlns:a16="http://schemas.microsoft.com/office/drawing/2014/main" id="{9A7F74D4-2D9C-4703-A6C5-A4F7A49213F8}"/>
                    </a:ext>
                  </a:extLst>
                </p:cNvPr>
                <p:cNvSpPr>
                  <a:spLocks noChangeArrowheads="1"/>
                </p:cNvSpPr>
                <p:nvPr/>
              </p:nvSpPr>
              <p:spPr bwMode="auto">
                <a:xfrm>
                  <a:off x="5696935" y="2491474"/>
                  <a:ext cx="927788"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Sikkim</a:t>
                  </a:r>
                </a:p>
              </p:txBody>
            </p:sp>
            <p:sp>
              <p:nvSpPr>
                <p:cNvPr id="2443" name="Etiquette - DARK - Tamil Nadu" hidden="1">
                  <a:extLst>
                    <a:ext uri="{FF2B5EF4-FFF2-40B4-BE49-F238E27FC236}">
                      <a16:creationId xmlns:a16="http://schemas.microsoft.com/office/drawing/2014/main" id="{C42C6DAC-E2CF-4848-9B9F-DFB255FE1CCB}"/>
                    </a:ext>
                  </a:extLst>
                </p:cNvPr>
                <p:cNvSpPr>
                  <a:spLocks noChangeArrowheads="1"/>
                </p:cNvSpPr>
                <p:nvPr/>
              </p:nvSpPr>
              <p:spPr bwMode="auto">
                <a:xfrm>
                  <a:off x="4238081" y="5824915"/>
                  <a:ext cx="1617555"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Tamil Nadu</a:t>
                  </a:r>
                </a:p>
              </p:txBody>
            </p:sp>
            <p:sp>
              <p:nvSpPr>
                <p:cNvPr id="2444" name="Etiquette - DARK - Tripura" hidden="1">
                  <a:extLst>
                    <a:ext uri="{FF2B5EF4-FFF2-40B4-BE49-F238E27FC236}">
                      <a16:creationId xmlns:a16="http://schemas.microsoft.com/office/drawing/2014/main" id="{DF241703-5259-49E6-B9BF-C55270503A47}"/>
                    </a:ext>
                  </a:extLst>
                </p:cNvPr>
                <p:cNvSpPr>
                  <a:spLocks noChangeArrowheads="1"/>
                </p:cNvSpPr>
                <p:nvPr/>
              </p:nvSpPr>
              <p:spPr bwMode="auto">
                <a:xfrm>
                  <a:off x="6038088" y="3817987"/>
                  <a:ext cx="1029799"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Tripura</a:t>
                  </a:r>
                </a:p>
              </p:txBody>
            </p:sp>
            <p:sp>
              <p:nvSpPr>
                <p:cNvPr id="2445" name="Etiquette - Uttar Pradesh" hidden="1">
                  <a:extLst>
                    <a:ext uri="{FF2B5EF4-FFF2-40B4-BE49-F238E27FC236}">
                      <a16:creationId xmlns:a16="http://schemas.microsoft.com/office/drawing/2014/main" id="{A5706972-3687-48E7-B02D-6BE9980C6FC9}"/>
                    </a:ext>
                  </a:extLst>
                </p:cNvPr>
                <p:cNvSpPr>
                  <a:spLocks noChangeArrowheads="1"/>
                </p:cNvSpPr>
                <p:nvPr/>
              </p:nvSpPr>
              <p:spPr bwMode="auto">
                <a:xfrm>
                  <a:off x="3966554" y="2851894"/>
                  <a:ext cx="1967299"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Uttar Pradesh</a:t>
                  </a:r>
                </a:p>
              </p:txBody>
            </p:sp>
            <p:sp>
              <p:nvSpPr>
                <p:cNvPr id="2446" name="Etiquette - DARK - West Bengal" hidden="1">
                  <a:extLst>
                    <a:ext uri="{FF2B5EF4-FFF2-40B4-BE49-F238E27FC236}">
                      <a16:creationId xmlns:a16="http://schemas.microsoft.com/office/drawing/2014/main" id="{796B665F-992A-4BB0-96D4-DB9FDAD9D3AE}"/>
                    </a:ext>
                  </a:extLst>
                </p:cNvPr>
                <p:cNvSpPr>
                  <a:spLocks noChangeArrowheads="1"/>
                </p:cNvSpPr>
                <p:nvPr/>
              </p:nvSpPr>
              <p:spPr bwMode="auto">
                <a:xfrm>
                  <a:off x="5379481" y="4078426"/>
                  <a:ext cx="1777853"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West Bengal</a:t>
                  </a:r>
                </a:p>
              </p:txBody>
            </p:sp>
            <p:sp>
              <p:nvSpPr>
                <p:cNvPr id="2447" name="Etiquette - DARK - Andaman Islands" hidden="1">
                  <a:extLst>
                    <a:ext uri="{FF2B5EF4-FFF2-40B4-BE49-F238E27FC236}">
                      <a16:creationId xmlns:a16="http://schemas.microsoft.com/office/drawing/2014/main" id="{780CE003-2566-442A-88B2-D2498DC633BE}"/>
                    </a:ext>
                  </a:extLst>
                </p:cNvPr>
                <p:cNvSpPr>
                  <a:spLocks noChangeArrowheads="1"/>
                </p:cNvSpPr>
                <p:nvPr/>
              </p:nvSpPr>
              <p:spPr bwMode="auto">
                <a:xfrm>
                  <a:off x="4715971" y="5635763"/>
                  <a:ext cx="3167107"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Andaman and Nicobar</a:t>
                  </a:r>
                  <a:endParaRPr lang="en-US" altLang="fr-FR" sz="900" dirty="0">
                    <a:solidFill>
                      <a:prstClr val="black"/>
                    </a:solidFill>
                    <a:latin typeface="Calibri" panose="020F0502020204030204"/>
                  </a:endParaRPr>
                </a:p>
              </p:txBody>
            </p:sp>
            <p:sp>
              <p:nvSpPr>
                <p:cNvPr id="2448" name="Etiquette - DARK - Uttarakhand" hidden="1">
                  <a:extLst>
                    <a:ext uri="{FF2B5EF4-FFF2-40B4-BE49-F238E27FC236}">
                      <a16:creationId xmlns:a16="http://schemas.microsoft.com/office/drawing/2014/main" id="{7F6D5F04-CA6A-473E-8D76-E92932FEACEF}"/>
                    </a:ext>
                  </a:extLst>
                </p:cNvPr>
                <p:cNvSpPr>
                  <a:spLocks noChangeArrowheads="1"/>
                </p:cNvSpPr>
                <p:nvPr/>
              </p:nvSpPr>
              <p:spPr bwMode="auto">
                <a:xfrm>
                  <a:off x="4349788" y="2276641"/>
                  <a:ext cx="1787571"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err="1">
                      <a:solidFill>
                        <a:srgbClr val="000000"/>
                      </a:solidFill>
                      <a:latin typeface="Calibri" panose="020F0502020204030204"/>
                    </a:rPr>
                    <a:t>Uttarakhand</a:t>
                  </a:r>
                  <a:endParaRPr lang="en-US" altLang="fr-FR" sz="900" dirty="0">
                    <a:solidFill>
                      <a:srgbClr val="000000"/>
                    </a:solidFill>
                    <a:latin typeface="Calibri" panose="020F0502020204030204"/>
                  </a:endParaRPr>
                </a:p>
              </p:txBody>
            </p:sp>
            <p:sp>
              <p:nvSpPr>
                <p:cNvPr id="2449" name="Etiquette - DARK - Dadra and (Nagar Haveli)" hidden="1">
                  <a:extLst>
                    <a:ext uri="{FF2B5EF4-FFF2-40B4-BE49-F238E27FC236}">
                      <a16:creationId xmlns:a16="http://schemas.microsoft.com/office/drawing/2014/main" id="{63BAC28B-EE20-4521-9221-2DF4AC493AC9}"/>
                    </a:ext>
                  </a:extLst>
                </p:cNvPr>
                <p:cNvSpPr>
                  <a:spLocks noChangeArrowheads="1"/>
                </p:cNvSpPr>
                <p:nvPr/>
              </p:nvSpPr>
              <p:spPr bwMode="auto">
                <a:xfrm>
                  <a:off x="1090749" y="4411197"/>
                  <a:ext cx="3341975"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Dadra and Nagar Haveli</a:t>
                  </a:r>
                  <a:endParaRPr lang="en-US" altLang="fr-FR" sz="900" dirty="0">
                    <a:solidFill>
                      <a:prstClr val="black"/>
                    </a:solidFill>
                    <a:latin typeface="Calibri" panose="020F0502020204030204"/>
                  </a:endParaRPr>
                </a:p>
              </p:txBody>
            </p:sp>
            <p:sp>
              <p:nvSpPr>
                <p:cNvPr id="2450" name="Etiquette - DARK - Daman and Diu" hidden="1">
                  <a:extLst>
                    <a:ext uri="{FF2B5EF4-FFF2-40B4-BE49-F238E27FC236}">
                      <a16:creationId xmlns:a16="http://schemas.microsoft.com/office/drawing/2014/main" id="{7A2684E2-CA4E-49D5-A9B2-B02C074664E6}"/>
                    </a:ext>
                  </a:extLst>
                </p:cNvPr>
                <p:cNvSpPr>
                  <a:spLocks noChangeArrowheads="1"/>
                </p:cNvSpPr>
                <p:nvPr/>
              </p:nvSpPr>
              <p:spPr bwMode="auto">
                <a:xfrm>
                  <a:off x="1649487" y="4131474"/>
                  <a:ext cx="2181029"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Daman and Diu</a:t>
                  </a:r>
                </a:p>
              </p:txBody>
            </p:sp>
            <p:sp>
              <p:nvSpPr>
                <p:cNvPr id="2451" name="Etiquette - DARK - Delhi" hidden="1">
                  <a:extLst>
                    <a:ext uri="{FF2B5EF4-FFF2-40B4-BE49-F238E27FC236}">
                      <a16:creationId xmlns:a16="http://schemas.microsoft.com/office/drawing/2014/main" id="{8AE84C5E-B09C-47DD-B1B7-1022C39A50E8}"/>
                    </a:ext>
                  </a:extLst>
                </p:cNvPr>
                <p:cNvSpPr>
                  <a:spLocks noChangeArrowheads="1"/>
                </p:cNvSpPr>
                <p:nvPr/>
              </p:nvSpPr>
              <p:spPr bwMode="auto">
                <a:xfrm>
                  <a:off x="4616670" y="2537141"/>
                  <a:ext cx="738345"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Delhi</a:t>
                  </a:r>
                </a:p>
              </p:txBody>
            </p:sp>
            <p:sp>
              <p:nvSpPr>
                <p:cNvPr id="2452" name="Etiquette - DARK - Lakshadweep" hidden="1">
                  <a:extLst>
                    <a:ext uri="{FF2B5EF4-FFF2-40B4-BE49-F238E27FC236}">
                      <a16:creationId xmlns:a16="http://schemas.microsoft.com/office/drawing/2014/main" id="{6CD40BA1-B18C-417C-99BD-8350D21240D5}"/>
                    </a:ext>
                  </a:extLst>
                </p:cNvPr>
                <p:cNvSpPr>
                  <a:spLocks noChangeArrowheads="1"/>
                </p:cNvSpPr>
                <p:nvPr/>
              </p:nvSpPr>
              <p:spPr bwMode="auto">
                <a:xfrm>
                  <a:off x="2141926" y="6014800"/>
                  <a:ext cx="1923578"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Lakshadweep</a:t>
                  </a:r>
                </a:p>
              </p:txBody>
            </p:sp>
            <p:sp>
              <p:nvSpPr>
                <p:cNvPr id="2453" name="Etiquette - DARK - Pondicherry" hidden="1">
                  <a:extLst>
                    <a:ext uri="{FF2B5EF4-FFF2-40B4-BE49-F238E27FC236}">
                      <a16:creationId xmlns:a16="http://schemas.microsoft.com/office/drawing/2014/main" id="{72DDCE64-6E12-45D3-AA85-55BBD958F2DC}"/>
                    </a:ext>
                  </a:extLst>
                </p:cNvPr>
                <p:cNvSpPr>
                  <a:spLocks noChangeArrowheads="1"/>
                </p:cNvSpPr>
                <p:nvPr/>
              </p:nvSpPr>
              <p:spPr bwMode="auto">
                <a:xfrm>
                  <a:off x="4357413" y="5465734"/>
                  <a:ext cx="1641842"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Puducherry</a:t>
                  </a:r>
                  <a:endParaRPr lang="en-US" altLang="fr-FR" sz="900" dirty="0">
                    <a:solidFill>
                      <a:prstClr val="black"/>
                    </a:solidFill>
                    <a:latin typeface="Calibri" panose="020F0502020204030204"/>
                  </a:endParaRPr>
                </a:p>
              </p:txBody>
            </p:sp>
            <p:sp>
              <p:nvSpPr>
                <p:cNvPr id="2454" name="Etiquette - Jharkhand" hidden="1">
                  <a:extLst>
                    <a:ext uri="{FF2B5EF4-FFF2-40B4-BE49-F238E27FC236}">
                      <a16:creationId xmlns:a16="http://schemas.microsoft.com/office/drawing/2014/main" id="{9CC757E5-656E-468F-AE77-E4D73218EFE4}"/>
                    </a:ext>
                  </a:extLst>
                </p:cNvPr>
                <p:cNvSpPr>
                  <a:spLocks noChangeArrowheads="1"/>
                </p:cNvSpPr>
                <p:nvPr/>
              </p:nvSpPr>
              <p:spPr bwMode="auto">
                <a:xfrm>
                  <a:off x="4778231" y="3445662"/>
                  <a:ext cx="1462114"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Jharkhand</a:t>
                  </a:r>
                </a:p>
              </p:txBody>
            </p:sp>
            <p:sp>
              <p:nvSpPr>
                <p:cNvPr id="2455" name="Etiquette - Chhattisgarh" hidden="1">
                  <a:extLst>
                    <a:ext uri="{FF2B5EF4-FFF2-40B4-BE49-F238E27FC236}">
                      <a16:creationId xmlns:a16="http://schemas.microsoft.com/office/drawing/2014/main" id="{FAFAD32C-B931-4762-9900-0FB81939C5C7}"/>
                    </a:ext>
                  </a:extLst>
                </p:cNvPr>
                <p:cNvSpPr>
                  <a:spLocks noChangeArrowheads="1"/>
                </p:cNvSpPr>
                <p:nvPr/>
              </p:nvSpPr>
              <p:spPr bwMode="auto">
                <a:xfrm>
                  <a:off x="4922030" y="4440506"/>
                  <a:ext cx="1806998"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Chhattisgarh</a:t>
                  </a:r>
                </a:p>
              </p:txBody>
            </p:sp>
            <p:cxnSp>
              <p:nvCxnSpPr>
                <p:cNvPr id="2456" name="Etiquette -" hidden="1">
                  <a:extLst>
                    <a:ext uri="{FF2B5EF4-FFF2-40B4-BE49-F238E27FC236}">
                      <a16:creationId xmlns:a16="http://schemas.microsoft.com/office/drawing/2014/main" id="{61504FD9-C408-4BAF-BAD8-8BBEB3244F5D}"/>
                    </a:ext>
                  </a:extLst>
                </p:cNvPr>
                <p:cNvCxnSpPr>
                  <a:cxnSpLocks/>
                </p:cNvCxnSpPr>
                <p:nvPr/>
              </p:nvCxnSpPr>
              <p:spPr>
                <a:xfrm flipV="1">
                  <a:off x="3127056" y="4109520"/>
                  <a:ext cx="72082" cy="92289"/>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57" name="Etiquette -" hidden="1">
                  <a:extLst>
                    <a:ext uri="{FF2B5EF4-FFF2-40B4-BE49-F238E27FC236}">
                      <a16:creationId xmlns:a16="http://schemas.microsoft.com/office/drawing/2014/main" id="{2B4A605A-D838-401D-BF9E-78B7C122B5D7}"/>
                    </a:ext>
                  </a:extLst>
                </p:cNvPr>
                <p:cNvCxnSpPr/>
                <p:nvPr/>
              </p:nvCxnSpPr>
              <p:spPr>
                <a:xfrm flipV="1">
                  <a:off x="3358434" y="4176288"/>
                  <a:ext cx="184079" cy="157421"/>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58" name="Etiquette -" hidden="1">
                  <a:extLst>
                    <a:ext uri="{FF2B5EF4-FFF2-40B4-BE49-F238E27FC236}">
                      <a16:creationId xmlns:a16="http://schemas.microsoft.com/office/drawing/2014/main" id="{10FDE6DB-5A02-4BD6-9F10-E43111BD1F93}"/>
                    </a:ext>
                  </a:extLst>
                </p:cNvPr>
                <p:cNvCxnSpPr/>
                <p:nvPr/>
              </p:nvCxnSpPr>
              <p:spPr>
                <a:xfrm flipV="1">
                  <a:off x="4358091" y="2042929"/>
                  <a:ext cx="184079" cy="14786"/>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59" name="Etiquette -" hidden="1">
                  <a:extLst>
                    <a:ext uri="{FF2B5EF4-FFF2-40B4-BE49-F238E27FC236}">
                      <a16:creationId xmlns:a16="http://schemas.microsoft.com/office/drawing/2014/main" id="{71B60DCC-E041-4B88-B635-BD9066A7A6C5}"/>
                    </a:ext>
                  </a:extLst>
                </p:cNvPr>
                <p:cNvCxnSpPr/>
                <p:nvPr/>
              </p:nvCxnSpPr>
              <p:spPr>
                <a:xfrm flipV="1">
                  <a:off x="4719915" y="2352684"/>
                  <a:ext cx="184079" cy="14786"/>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0" name="Etiquette -" hidden="1">
                  <a:extLst>
                    <a:ext uri="{FF2B5EF4-FFF2-40B4-BE49-F238E27FC236}">
                      <a16:creationId xmlns:a16="http://schemas.microsoft.com/office/drawing/2014/main" id="{ED18D0CD-36F2-45CB-AE88-4345D8DE51A8}"/>
                    </a:ext>
                  </a:extLst>
                </p:cNvPr>
                <p:cNvCxnSpPr/>
                <p:nvPr/>
              </p:nvCxnSpPr>
              <p:spPr>
                <a:xfrm flipV="1">
                  <a:off x="6045842" y="2668466"/>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1" name="Etiquette -" hidden="1">
                  <a:extLst>
                    <a:ext uri="{FF2B5EF4-FFF2-40B4-BE49-F238E27FC236}">
                      <a16:creationId xmlns:a16="http://schemas.microsoft.com/office/drawing/2014/main" id="{0877BE84-99D1-43AE-BB3E-5E973F4320F0}"/>
                    </a:ext>
                  </a:extLst>
                </p:cNvPr>
                <p:cNvCxnSpPr/>
                <p:nvPr/>
              </p:nvCxnSpPr>
              <p:spPr>
                <a:xfrm flipV="1">
                  <a:off x="7127498" y="2488620"/>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2" name="Etiquette -" hidden="1">
                  <a:extLst>
                    <a:ext uri="{FF2B5EF4-FFF2-40B4-BE49-F238E27FC236}">
                      <a16:creationId xmlns:a16="http://schemas.microsoft.com/office/drawing/2014/main" id="{5D8D9DA1-4FDF-4C8C-914F-E13CF3055450}"/>
                    </a:ext>
                  </a:extLst>
                </p:cNvPr>
                <p:cNvCxnSpPr/>
                <p:nvPr/>
              </p:nvCxnSpPr>
              <p:spPr>
                <a:xfrm rot="5400000" flipV="1">
                  <a:off x="7145213" y="3063622"/>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3" name="Etiquette -" hidden="1">
                  <a:extLst>
                    <a:ext uri="{FF2B5EF4-FFF2-40B4-BE49-F238E27FC236}">
                      <a16:creationId xmlns:a16="http://schemas.microsoft.com/office/drawing/2014/main" id="{D142D9B1-284A-4983-9BBB-47AA0D90C498}"/>
                    </a:ext>
                  </a:extLst>
                </p:cNvPr>
                <p:cNvCxnSpPr/>
                <p:nvPr/>
              </p:nvCxnSpPr>
              <p:spPr>
                <a:xfrm rot="5400000" flipV="1">
                  <a:off x="7048729" y="3335827"/>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4" name="Etiquette -" hidden="1">
                  <a:extLst>
                    <a:ext uri="{FF2B5EF4-FFF2-40B4-BE49-F238E27FC236}">
                      <a16:creationId xmlns:a16="http://schemas.microsoft.com/office/drawing/2014/main" id="{465E1392-8745-431B-A174-463101EDA3BE}"/>
                    </a:ext>
                  </a:extLst>
                </p:cNvPr>
                <p:cNvCxnSpPr/>
                <p:nvPr/>
              </p:nvCxnSpPr>
              <p:spPr>
                <a:xfrm rot="5400000" flipV="1">
                  <a:off x="6853402" y="3647110"/>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5" name="Etiquette -" hidden="1">
                  <a:extLst>
                    <a:ext uri="{FF2B5EF4-FFF2-40B4-BE49-F238E27FC236}">
                      <a16:creationId xmlns:a16="http://schemas.microsoft.com/office/drawing/2014/main" id="{345123C5-9876-4F6A-8ED1-2219A124201A}"/>
                    </a:ext>
                  </a:extLst>
                </p:cNvPr>
                <p:cNvCxnSpPr/>
                <p:nvPr/>
              </p:nvCxnSpPr>
              <p:spPr>
                <a:xfrm flipV="1">
                  <a:off x="6529134" y="3624643"/>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6" name="Etiquette -" hidden="1">
                  <a:extLst>
                    <a:ext uri="{FF2B5EF4-FFF2-40B4-BE49-F238E27FC236}">
                      <a16:creationId xmlns:a16="http://schemas.microsoft.com/office/drawing/2014/main" id="{F0EF9179-7859-4AB4-B2FB-3C76613926C4}"/>
                    </a:ext>
                  </a:extLst>
                </p:cNvPr>
                <p:cNvCxnSpPr/>
                <p:nvPr/>
              </p:nvCxnSpPr>
              <p:spPr>
                <a:xfrm flipV="1">
                  <a:off x="6360842" y="3239902"/>
                  <a:ext cx="46684" cy="86105"/>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7" name="Etiquette -" hidden="1">
                  <a:extLst>
                    <a:ext uri="{FF2B5EF4-FFF2-40B4-BE49-F238E27FC236}">
                      <a16:creationId xmlns:a16="http://schemas.microsoft.com/office/drawing/2014/main" id="{B2B17355-EB60-426E-B904-55658EBC0F8E}"/>
                    </a:ext>
                  </a:extLst>
                </p:cNvPr>
                <p:cNvCxnSpPr/>
                <p:nvPr/>
              </p:nvCxnSpPr>
              <p:spPr>
                <a:xfrm flipV="1">
                  <a:off x="6489123" y="2852729"/>
                  <a:ext cx="0" cy="190621"/>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8" name="Etiquette -" hidden="1">
                  <a:extLst>
                    <a:ext uri="{FF2B5EF4-FFF2-40B4-BE49-F238E27FC236}">
                      <a16:creationId xmlns:a16="http://schemas.microsoft.com/office/drawing/2014/main" id="{AD8B1A2F-D63F-482B-A3CB-6DCCB09BC7B3}"/>
                    </a:ext>
                  </a:extLst>
                </p:cNvPr>
                <p:cNvCxnSpPr/>
                <p:nvPr/>
              </p:nvCxnSpPr>
              <p:spPr>
                <a:xfrm>
                  <a:off x="5898016" y="3816417"/>
                  <a:ext cx="122426" cy="19015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9" name="Etiquette -" hidden="1">
                  <a:extLst>
                    <a:ext uri="{FF2B5EF4-FFF2-40B4-BE49-F238E27FC236}">
                      <a16:creationId xmlns:a16="http://schemas.microsoft.com/office/drawing/2014/main" id="{9C24C5DF-25EA-431F-9D1E-1F33B71B9DC3}"/>
                    </a:ext>
                  </a:extLst>
                </p:cNvPr>
                <p:cNvCxnSpPr/>
                <p:nvPr/>
              </p:nvCxnSpPr>
              <p:spPr>
                <a:xfrm flipV="1">
                  <a:off x="4213253" y="2627037"/>
                  <a:ext cx="605767" cy="46766"/>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70" name="Etiquette -" hidden="1">
                  <a:extLst>
                    <a:ext uri="{FF2B5EF4-FFF2-40B4-BE49-F238E27FC236}">
                      <a16:creationId xmlns:a16="http://schemas.microsoft.com/office/drawing/2014/main" id="{6DBB351F-C0DF-40C2-B713-7942B77118F9}"/>
                    </a:ext>
                  </a:extLst>
                </p:cNvPr>
                <p:cNvCxnSpPr/>
                <p:nvPr/>
              </p:nvCxnSpPr>
              <p:spPr>
                <a:xfrm rot="5400000" flipV="1">
                  <a:off x="4742183" y="5454667"/>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71" name="Etiquette -" hidden="1">
                  <a:extLst>
                    <a:ext uri="{FF2B5EF4-FFF2-40B4-BE49-F238E27FC236}">
                      <a16:creationId xmlns:a16="http://schemas.microsoft.com/office/drawing/2014/main" id="{053BF1A4-55B4-4588-B0AB-C1CADA3511CC}"/>
                    </a:ext>
                  </a:extLst>
                </p:cNvPr>
                <p:cNvCxnSpPr/>
                <p:nvPr/>
              </p:nvCxnSpPr>
              <p:spPr>
                <a:xfrm rot="5400000" flipV="1">
                  <a:off x="4546824" y="5815395"/>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72" name="Etiquette -" hidden="1">
                  <a:extLst>
                    <a:ext uri="{FF2B5EF4-FFF2-40B4-BE49-F238E27FC236}">
                      <a16:creationId xmlns:a16="http://schemas.microsoft.com/office/drawing/2014/main" id="{2DB67940-2C3D-4EA5-AF2E-96177D5949B8}"/>
                    </a:ext>
                  </a:extLst>
                </p:cNvPr>
                <p:cNvCxnSpPr/>
                <p:nvPr/>
              </p:nvCxnSpPr>
              <p:spPr>
                <a:xfrm rot="5400000" flipV="1">
                  <a:off x="3639838" y="4895373"/>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73" name="Etiquette -" hidden="1">
                  <a:extLst>
                    <a:ext uri="{FF2B5EF4-FFF2-40B4-BE49-F238E27FC236}">
                      <a16:creationId xmlns:a16="http://schemas.microsoft.com/office/drawing/2014/main" id="{8258DE04-6427-4D3A-AC1E-589E492C0B3B}"/>
                    </a:ext>
                  </a:extLst>
                </p:cNvPr>
                <p:cNvCxnSpPr>
                  <a:cxnSpLocks/>
                </p:cNvCxnSpPr>
                <p:nvPr/>
              </p:nvCxnSpPr>
              <p:spPr>
                <a:xfrm rot="5400000" flipV="1">
                  <a:off x="3703241" y="2215706"/>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74" name="Etiquette -" hidden="1">
                  <a:extLst>
                    <a:ext uri="{FF2B5EF4-FFF2-40B4-BE49-F238E27FC236}">
                      <a16:creationId xmlns:a16="http://schemas.microsoft.com/office/drawing/2014/main" id="{B7C39CCB-A238-4798-AB37-410FD8757B76}"/>
                    </a:ext>
                  </a:extLst>
                </p:cNvPr>
                <p:cNvCxnSpPr>
                  <a:cxnSpLocks/>
                </p:cNvCxnSpPr>
                <p:nvPr/>
              </p:nvCxnSpPr>
              <p:spPr>
                <a:xfrm rot="5400000" flipV="1">
                  <a:off x="3671193" y="2300506"/>
                  <a:ext cx="0" cy="425455"/>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75" name="Etiquette -" hidden="1">
                  <a:extLst>
                    <a:ext uri="{FF2B5EF4-FFF2-40B4-BE49-F238E27FC236}">
                      <a16:creationId xmlns:a16="http://schemas.microsoft.com/office/drawing/2014/main" id="{A21986B9-F12E-4179-BE94-E0CE416872AC}"/>
                    </a:ext>
                  </a:extLst>
                </p:cNvPr>
                <p:cNvCxnSpPr/>
                <p:nvPr/>
              </p:nvCxnSpPr>
              <p:spPr>
                <a:xfrm rot="5400000" flipV="1">
                  <a:off x="5028901" y="4678057"/>
                  <a:ext cx="0" cy="157538"/>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76" name="Etiquette - Telangana" hidden="1">
                  <a:extLst>
                    <a:ext uri="{FF2B5EF4-FFF2-40B4-BE49-F238E27FC236}">
                      <a16:creationId xmlns:a16="http://schemas.microsoft.com/office/drawing/2014/main" id="{1AD47B05-3A10-4D6A-96D6-E5A18C32E42C}"/>
                    </a:ext>
                  </a:extLst>
                </p:cNvPr>
                <p:cNvSpPr>
                  <a:spLocks noChangeArrowheads="1"/>
                </p:cNvSpPr>
                <p:nvPr/>
              </p:nvSpPr>
              <p:spPr bwMode="auto">
                <a:xfrm>
                  <a:off x="3823095" y="4500184"/>
                  <a:ext cx="1457257" cy="419688"/>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Telangana</a:t>
                  </a:r>
                </a:p>
              </p:txBody>
            </p:sp>
            <p:cxnSp>
              <p:nvCxnSpPr>
                <p:cNvPr id="2477" name="Etiquette -" hidden="1">
                  <a:extLst>
                    <a:ext uri="{FF2B5EF4-FFF2-40B4-BE49-F238E27FC236}">
                      <a16:creationId xmlns:a16="http://schemas.microsoft.com/office/drawing/2014/main" id="{308D2336-843A-4911-A2E6-F48E28240F04}"/>
                    </a:ext>
                  </a:extLst>
                </p:cNvPr>
                <p:cNvCxnSpPr>
                  <a:cxnSpLocks/>
                </p:cNvCxnSpPr>
                <p:nvPr/>
              </p:nvCxnSpPr>
              <p:spPr>
                <a:xfrm>
                  <a:off x="4846444" y="4384590"/>
                  <a:ext cx="562351" cy="117950"/>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78" name="Etiquette - Chandigarh" hidden="1">
                  <a:extLst>
                    <a:ext uri="{FF2B5EF4-FFF2-40B4-BE49-F238E27FC236}">
                      <a16:creationId xmlns:a16="http://schemas.microsoft.com/office/drawing/2014/main" id="{C3494453-701F-4208-A88B-BD53FD69C7F2}"/>
                    </a:ext>
                  </a:extLst>
                </p:cNvPr>
                <p:cNvSpPr>
                  <a:spLocks noChangeArrowheads="1"/>
                </p:cNvSpPr>
                <p:nvPr/>
              </p:nvSpPr>
              <p:spPr bwMode="auto">
                <a:xfrm>
                  <a:off x="2635205" y="1884661"/>
                  <a:ext cx="1622415" cy="419688"/>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fr-FR" sz="900" dirty="0">
                      <a:solidFill>
                        <a:srgbClr val="000000"/>
                      </a:solidFill>
                      <a:latin typeface="Calibri" panose="020F0502020204030204"/>
                    </a:rPr>
                    <a:t>Chandigarh</a:t>
                  </a:r>
                </a:p>
              </p:txBody>
            </p:sp>
            <p:cxnSp>
              <p:nvCxnSpPr>
                <p:cNvPr id="2479" name="Etiquette -" hidden="1">
                  <a:extLst>
                    <a:ext uri="{FF2B5EF4-FFF2-40B4-BE49-F238E27FC236}">
                      <a16:creationId xmlns:a16="http://schemas.microsoft.com/office/drawing/2014/main" id="{32D42BD0-95AB-4D6B-A30F-7696E05F66EA}"/>
                    </a:ext>
                  </a:extLst>
                </p:cNvPr>
                <p:cNvCxnSpPr>
                  <a:cxnSpLocks/>
                </p:cNvCxnSpPr>
                <p:nvPr/>
              </p:nvCxnSpPr>
              <p:spPr>
                <a:xfrm>
                  <a:off x="3754282" y="2122976"/>
                  <a:ext cx="396859" cy="175867"/>
                </a:xfrm>
                <a:prstGeom prst="line">
                  <a:avLst/>
                </a:prstGeom>
                <a:grp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397" name="GradientColorLegend">
                <a:extLst>
                  <a:ext uri="{FF2B5EF4-FFF2-40B4-BE49-F238E27FC236}">
                    <a16:creationId xmlns:a16="http://schemas.microsoft.com/office/drawing/2014/main" id="{9BE3054B-FFE5-43C3-8531-BC6BD0D0A937}"/>
                  </a:ext>
                </a:extLst>
              </p:cNvPr>
              <p:cNvGrpSpPr/>
              <p:nvPr/>
            </p:nvGrpSpPr>
            <p:grpSpPr>
              <a:xfrm>
                <a:off x="8507840" y="3825753"/>
                <a:ext cx="194305" cy="2231949"/>
                <a:chOff x="1029056" y="2147923"/>
                <a:chExt cx="194305" cy="2231949"/>
              </a:xfrm>
              <a:grpFill/>
            </p:grpSpPr>
            <p:sp>
              <p:nvSpPr>
                <p:cNvPr id="2419" name="Etiquette - GradientColorLegend - DARK - Shape" hidden="1">
                  <a:extLst>
                    <a:ext uri="{FF2B5EF4-FFF2-40B4-BE49-F238E27FC236}">
                      <a16:creationId xmlns:a16="http://schemas.microsoft.com/office/drawing/2014/main" id="{1535DD6B-7E19-4712-877C-D74F66918797}"/>
                    </a:ext>
                  </a:extLst>
                </p:cNvPr>
                <p:cNvSpPr/>
                <p:nvPr/>
              </p:nvSpPr>
              <p:spPr>
                <a:xfrm>
                  <a:off x="1066170" y="2575168"/>
                  <a:ext cx="120073" cy="1382400"/>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white"/>
                    </a:solidFill>
                  </a:endParaRPr>
                </a:p>
              </p:txBody>
            </p:sp>
            <p:sp>
              <p:nvSpPr>
                <p:cNvPr id="2420" name="Etiquette - GradientColorLegend - DARK - MaxValue" hidden="1">
                  <a:extLst>
                    <a:ext uri="{FF2B5EF4-FFF2-40B4-BE49-F238E27FC236}">
                      <a16:creationId xmlns:a16="http://schemas.microsoft.com/office/drawing/2014/main" id="{48AF65E1-DCC5-4BF6-8381-A0EDF30676B6}"/>
                    </a:ext>
                  </a:extLst>
                </p:cNvPr>
                <p:cNvSpPr txBox="1"/>
                <p:nvPr/>
              </p:nvSpPr>
              <p:spPr>
                <a:xfrm>
                  <a:off x="1029056" y="2147923"/>
                  <a:ext cx="194302" cy="419688"/>
                </a:xfrm>
                <a:prstGeom prst="rect">
                  <a:avLst/>
                </a:prstGeom>
                <a:grpFill/>
                <a:ln>
                  <a:solidFill>
                    <a:schemeClr val="bg1">
                      <a:lumMod val="75000"/>
                    </a:schemeClr>
                  </a:solidFill>
                </a:ln>
              </p:spPr>
              <p:txBody>
                <a:bodyPr wrap="none" lIns="0" tIns="0" rIns="0" bIns="0" rtlCol="0" anchor="b">
                  <a:spAutoFit/>
                </a:bodyPr>
                <a:lstStyle/>
                <a:p>
                  <a:pPr algn="ctr">
                    <a:defRPr/>
                  </a:pPr>
                  <a:r>
                    <a:rPr lang="en-US" sz="900" dirty="0">
                      <a:solidFill>
                        <a:prstClr val="black"/>
                      </a:solidFill>
                    </a:rPr>
                    <a:t>1</a:t>
                  </a:r>
                </a:p>
              </p:txBody>
            </p:sp>
            <p:sp>
              <p:nvSpPr>
                <p:cNvPr id="2421" name="Etiquette - GradientColorLegend - DARK - MinValue" hidden="1">
                  <a:extLst>
                    <a:ext uri="{FF2B5EF4-FFF2-40B4-BE49-F238E27FC236}">
                      <a16:creationId xmlns:a16="http://schemas.microsoft.com/office/drawing/2014/main" id="{CEE4BA4A-8CB7-4489-B0AB-436B03A30306}"/>
                    </a:ext>
                  </a:extLst>
                </p:cNvPr>
                <p:cNvSpPr txBox="1"/>
                <p:nvPr/>
              </p:nvSpPr>
              <p:spPr>
                <a:xfrm>
                  <a:off x="1029056" y="3960184"/>
                  <a:ext cx="194305" cy="419688"/>
                </a:xfrm>
                <a:prstGeom prst="rect">
                  <a:avLst/>
                </a:prstGeom>
                <a:grpFill/>
                <a:ln>
                  <a:solidFill>
                    <a:schemeClr val="bg1">
                      <a:lumMod val="75000"/>
                    </a:schemeClr>
                  </a:solidFill>
                </a:ln>
              </p:spPr>
              <p:txBody>
                <a:bodyPr wrap="none" lIns="0" tIns="0" rIns="0" bIns="0" rtlCol="0">
                  <a:spAutoFit/>
                </a:bodyPr>
                <a:lstStyle/>
                <a:p>
                  <a:pPr algn="ctr">
                    <a:defRPr/>
                  </a:pPr>
                  <a:r>
                    <a:rPr lang="en-US" sz="900" dirty="0">
                      <a:solidFill>
                        <a:prstClr val="black"/>
                      </a:solidFill>
                    </a:rPr>
                    <a:t>1</a:t>
                  </a:r>
                </a:p>
              </p:txBody>
            </p:sp>
          </p:grpSp>
          <p:grpSp>
            <p:nvGrpSpPr>
              <p:cNvPr id="2398" name="RangeColorLegend">
                <a:extLst>
                  <a:ext uri="{FF2B5EF4-FFF2-40B4-BE49-F238E27FC236}">
                    <a16:creationId xmlns:a16="http://schemas.microsoft.com/office/drawing/2014/main" id="{91860D7E-D701-4DE3-913F-DA3437D8A641}"/>
                  </a:ext>
                </a:extLst>
              </p:cNvPr>
              <p:cNvGrpSpPr/>
              <p:nvPr/>
            </p:nvGrpSpPr>
            <p:grpSpPr>
              <a:xfrm>
                <a:off x="8039843" y="4545492"/>
                <a:ext cx="1270800" cy="1538880"/>
                <a:chOff x="9228362" y="4919762"/>
                <a:chExt cx="1270800" cy="1538880"/>
              </a:xfrm>
              <a:grpFill/>
            </p:grpSpPr>
            <p:sp>
              <p:nvSpPr>
                <p:cNvPr id="2399" name="Etiquette - RangeColorLegend - DARK - Color - 2" hidden="1">
                  <a:extLst>
                    <a:ext uri="{FF2B5EF4-FFF2-40B4-BE49-F238E27FC236}">
                      <a16:creationId xmlns:a16="http://schemas.microsoft.com/office/drawing/2014/main" id="{C3CDE262-3B68-40A1-A741-3E4936BD5059}"/>
                    </a:ext>
                  </a:extLst>
                </p:cNvPr>
                <p:cNvSpPr/>
                <p:nvPr/>
              </p:nvSpPr>
              <p:spPr>
                <a:xfrm>
                  <a:off x="9228362" y="5073650"/>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00" name="Etiquette - RangeColorLegend - DARK - Color - 1" hidden="1">
                  <a:extLst>
                    <a:ext uri="{FF2B5EF4-FFF2-40B4-BE49-F238E27FC236}">
                      <a16:creationId xmlns:a16="http://schemas.microsoft.com/office/drawing/2014/main" id="{31DCD722-5C69-4423-85F8-2807C3A079DE}"/>
                    </a:ext>
                  </a:extLst>
                </p:cNvPr>
                <p:cNvSpPr/>
                <p:nvPr/>
              </p:nvSpPr>
              <p:spPr>
                <a:xfrm>
                  <a:off x="9228362" y="4919762"/>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01" name="Etiquette - RangeColorLegend - DARK - Number - 2" hidden="1">
                  <a:extLst>
                    <a:ext uri="{FF2B5EF4-FFF2-40B4-BE49-F238E27FC236}">
                      <a16:creationId xmlns:a16="http://schemas.microsoft.com/office/drawing/2014/main" id="{6C1604AA-2B95-4B9F-921F-0BF7B157BC23}"/>
                    </a:ext>
                  </a:extLst>
                </p:cNvPr>
                <p:cNvSpPr/>
                <p:nvPr/>
              </p:nvSpPr>
              <p:spPr>
                <a:xfrm>
                  <a:off x="9383162" y="5073650"/>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lt; 1</a:t>
                  </a:r>
                </a:p>
              </p:txBody>
            </p:sp>
            <p:sp>
              <p:nvSpPr>
                <p:cNvPr id="2402" name="Etiquette - RangeColorLegend - DARK - Number - 1" hidden="1">
                  <a:extLst>
                    <a:ext uri="{FF2B5EF4-FFF2-40B4-BE49-F238E27FC236}">
                      <a16:creationId xmlns:a16="http://schemas.microsoft.com/office/drawing/2014/main" id="{A221AB85-B2FB-42C7-99A5-1F9DF12892B6}"/>
                    </a:ext>
                  </a:extLst>
                </p:cNvPr>
                <p:cNvSpPr/>
                <p:nvPr/>
              </p:nvSpPr>
              <p:spPr>
                <a:xfrm>
                  <a:off x="9383162" y="4919762"/>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1+</a:t>
                  </a:r>
                </a:p>
              </p:txBody>
            </p:sp>
            <p:sp>
              <p:nvSpPr>
                <p:cNvPr id="2403" name="Etiquette - RangeColorLegend - DARK - Color - 4" hidden="1">
                  <a:extLst>
                    <a:ext uri="{FF2B5EF4-FFF2-40B4-BE49-F238E27FC236}">
                      <a16:creationId xmlns:a16="http://schemas.microsoft.com/office/drawing/2014/main" id="{EA6A4C0D-5401-44D9-8783-B6248AF7D3CF}"/>
                    </a:ext>
                  </a:extLst>
                </p:cNvPr>
                <p:cNvSpPr/>
                <p:nvPr/>
              </p:nvSpPr>
              <p:spPr>
                <a:xfrm>
                  <a:off x="9228362" y="5381426"/>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04" name="Etiquette - RangeColorLegend - DARK - Color - 3" hidden="1">
                  <a:extLst>
                    <a:ext uri="{FF2B5EF4-FFF2-40B4-BE49-F238E27FC236}">
                      <a16:creationId xmlns:a16="http://schemas.microsoft.com/office/drawing/2014/main" id="{CA743B18-F2EB-4A46-A9C5-402F977A8160}"/>
                    </a:ext>
                  </a:extLst>
                </p:cNvPr>
                <p:cNvSpPr/>
                <p:nvPr/>
              </p:nvSpPr>
              <p:spPr>
                <a:xfrm>
                  <a:off x="9228362" y="5227538"/>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05" name="Etiquette - RangeColorLegend - DARK - Number - 4" hidden="1">
                  <a:extLst>
                    <a:ext uri="{FF2B5EF4-FFF2-40B4-BE49-F238E27FC236}">
                      <a16:creationId xmlns:a16="http://schemas.microsoft.com/office/drawing/2014/main" id="{35034A3E-BF9D-4910-A71C-07FF33A750C4}"/>
                    </a:ext>
                  </a:extLst>
                </p:cNvPr>
                <p:cNvSpPr/>
                <p:nvPr/>
              </p:nvSpPr>
              <p:spPr>
                <a:xfrm>
                  <a:off x="9383162" y="5381426"/>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300 to 400[</a:t>
                  </a:r>
                </a:p>
              </p:txBody>
            </p:sp>
            <p:sp>
              <p:nvSpPr>
                <p:cNvPr id="2406" name="Etiquette - RangeColorLegend - DARK - Number - 3" hidden="1">
                  <a:extLst>
                    <a:ext uri="{FF2B5EF4-FFF2-40B4-BE49-F238E27FC236}">
                      <a16:creationId xmlns:a16="http://schemas.microsoft.com/office/drawing/2014/main" id="{DFD45A41-6D2C-4E40-B87A-F650639FFFC1}"/>
                    </a:ext>
                  </a:extLst>
                </p:cNvPr>
                <p:cNvSpPr/>
                <p:nvPr/>
              </p:nvSpPr>
              <p:spPr>
                <a:xfrm>
                  <a:off x="9383162" y="5227538"/>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200 to 300[</a:t>
                  </a:r>
                </a:p>
              </p:txBody>
            </p:sp>
            <p:sp>
              <p:nvSpPr>
                <p:cNvPr id="2407" name="Etiquette - RangeColorLegend - DARK - Color - 5" hidden="1">
                  <a:extLst>
                    <a:ext uri="{FF2B5EF4-FFF2-40B4-BE49-F238E27FC236}">
                      <a16:creationId xmlns:a16="http://schemas.microsoft.com/office/drawing/2014/main" id="{E46FB562-6E61-4CDC-B2EB-75F2E45A71F0}"/>
                    </a:ext>
                  </a:extLst>
                </p:cNvPr>
                <p:cNvSpPr/>
                <p:nvPr/>
              </p:nvSpPr>
              <p:spPr>
                <a:xfrm>
                  <a:off x="9228362" y="5535314"/>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08" name="Etiquette - RangeColorLegend - DARK - Number - 5" hidden="1">
                  <a:extLst>
                    <a:ext uri="{FF2B5EF4-FFF2-40B4-BE49-F238E27FC236}">
                      <a16:creationId xmlns:a16="http://schemas.microsoft.com/office/drawing/2014/main" id="{ACDCC7D0-FEC3-4E1D-AF74-F15ECE4199AF}"/>
                    </a:ext>
                  </a:extLst>
                </p:cNvPr>
                <p:cNvSpPr/>
                <p:nvPr/>
              </p:nvSpPr>
              <p:spPr>
                <a:xfrm>
                  <a:off x="9383162" y="5535314"/>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400+</a:t>
                  </a:r>
                </a:p>
              </p:txBody>
            </p:sp>
            <p:sp>
              <p:nvSpPr>
                <p:cNvPr id="2409" name="Etiquette - RangeColorLegend - DARK - Color - 6" hidden="1">
                  <a:extLst>
                    <a:ext uri="{FF2B5EF4-FFF2-40B4-BE49-F238E27FC236}">
                      <a16:creationId xmlns:a16="http://schemas.microsoft.com/office/drawing/2014/main" id="{7BE50C9E-770C-4F0B-87C8-8E409EE97E87}"/>
                    </a:ext>
                  </a:extLst>
                </p:cNvPr>
                <p:cNvSpPr/>
                <p:nvPr/>
              </p:nvSpPr>
              <p:spPr>
                <a:xfrm>
                  <a:off x="9228362" y="5689202"/>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10" name="Etiquette - RangeColorLegend - DARK - Number - 6" hidden="1">
                  <a:extLst>
                    <a:ext uri="{FF2B5EF4-FFF2-40B4-BE49-F238E27FC236}">
                      <a16:creationId xmlns:a16="http://schemas.microsoft.com/office/drawing/2014/main" id="{B64DFBD0-44F7-4683-BF47-3700F61E5234}"/>
                    </a:ext>
                  </a:extLst>
                </p:cNvPr>
                <p:cNvSpPr/>
                <p:nvPr/>
              </p:nvSpPr>
              <p:spPr>
                <a:xfrm>
                  <a:off x="9383162" y="5689202"/>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400+</a:t>
                  </a:r>
                </a:p>
              </p:txBody>
            </p:sp>
            <p:sp>
              <p:nvSpPr>
                <p:cNvPr id="2411" name="Etiquette - RangeColorLegend - DARK - Color - 7" hidden="1">
                  <a:extLst>
                    <a:ext uri="{FF2B5EF4-FFF2-40B4-BE49-F238E27FC236}">
                      <a16:creationId xmlns:a16="http://schemas.microsoft.com/office/drawing/2014/main" id="{766C1F6E-A96D-4A7D-A8D8-8693C9BDDCE5}"/>
                    </a:ext>
                  </a:extLst>
                </p:cNvPr>
                <p:cNvSpPr/>
                <p:nvPr/>
              </p:nvSpPr>
              <p:spPr>
                <a:xfrm>
                  <a:off x="9228362" y="5843090"/>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12" name="Etiquette - RangeColorLegend - DARK - Number - 7" hidden="1">
                  <a:extLst>
                    <a:ext uri="{FF2B5EF4-FFF2-40B4-BE49-F238E27FC236}">
                      <a16:creationId xmlns:a16="http://schemas.microsoft.com/office/drawing/2014/main" id="{EBD2272A-16BE-414C-981C-EB8FEC3DE4BF}"/>
                    </a:ext>
                  </a:extLst>
                </p:cNvPr>
                <p:cNvSpPr/>
                <p:nvPr/>
              </p:nvSpPr>
              <p:spPr>
                <a:xfrm>
                  <a:off x="9383162" y="5843090"/>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400+</a:t>
                  </a:r>
                </a:p>
              </p:txBody>
            </p:sp>
            <p:sp>
              <p:nvSpPr>
                <p:cNvPr id="2413" name="Etiquette - RangeColorLegend - DARK - Color - 8" hidden="1">
                  <a:extLst>
                    <a:ext uri="{FF2B5EF4-FFF2-40B4-BE49-F238E27FC236}">
                      <a16:creationId xmlns:a16="http://schemas.microsoft.com/office/drawing/2014/main" id="{7514CEBB-61CF-45A2-A838-B71DB9200B78}"/>
                    </a:ext>
                  </a:extLst>
                </p:cNvPr>
                <p:cNvSpPr/>
                <p:nvPr/>
              </p:nvSpPr>
              <p:spPr>
                <a:xfrm>
                  <a:off x="9228362" y="5996978"/>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14" name="Etiquette - RangeColorLegend - DARK - Number - 8" hidden="1">
                  <a:extLst>
                    <a:ext uri="{FF2B5EF4-FFF2-40B4-BE49-F238E27FC236}">
                      <a16:creationId xmlns:a16="http://schemas.microsoft.com/office/drawing/2014/main" id="{1CF349F7-F46A-4C6C-B014-DA55141773F0}"/>
                    </a:ext>
                  </a:extLst>
                </p:cNvPr>
                <p:cNvSpPr/>
                <p:nvPr/>
              </p:nvSpPr>
              <p:spPr>
                <a:xfrm>
                  <a:off x="9383162" y="5996978"/>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400+</a:t>
                  </a:r>
                </a:p>
              </p:txBody>
            </p:sp>
            <p:sp>
              <p:nvSpPr>
                <p:cNvPr id="2415" name="Etiquette - RangeColorLegend - DARK - Color - 9" hidden="1">
                  <a:extLst>
                    <a:ext uri="{FF2B5EF4-FFF2-40B4-BE49-F238E27FC236}">
                      <a16:creationId xmlns:a16="http://schemas.microsoft.com/office/drawing/2014/main" id="{7EF8D0C9-498E-495E-9789-F21DA4B8A5C0}"/>
                    </a:ext>
                  </a:extLst>
                </p:cNvPr>
                <p:cNvSpPr/>
                <p:nvPr/>
              </p:nvSpPr>
              <p:spPr>
                <a:xfrm>
                  <a:off x="9228362" y="6150866"/>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16" name="Etiquette - RangeColorLegend - DARK - Number - 9" hidden="1">
                  <a:extLst>
                    <a:ext uri="{FF2B5EF4-FFF2-40B4-BE49-F238E27FC236}">
                      <a16:creationId xmlns:a16="http://schemas.microsoft.com/office/drawing/2014/main" id="{E662E8E0-7DCE-4844-9CA9-D0B8C82079BF}"/>
                    </a:ext>
                  </a:extLst>
                </p:cNvPr>
                <p:cNvSpPr/>
                <p:nvPr/>
              </p:nvSpPr>
              <p:spPr>
                <a:xfrm>
                  <a:off x="9383162" y="6150866"/>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400+</a:t>
                  </a:r>
                </a:p>
              </p:txBody>
            </p:sp>
            <p:sp>
              <p:nvSpPr>
                <p:cNvPr id="2417" name="Etiquette - RangeColorLegend - DARK - Color - 10" hidden="1">
                  <a:extLst>
                    <a:ext uri="{FF2B5EF4-FFF2-40B4-BE49-F238E27FC236}">
                      <a16:creationId xmlns:a16="http://schemas.microsoft.com/office/drawing/2014/main" id="{9D29ADBD-821C-4B9C-B33A-E93B14479A62}"/>
                    </a:ext>
                  </a:extLst>
                </p:cNvPr>
                <p:cNvSpPr/>
                <p:nvPr/>
              </p:nvSpPr>
              <p:spPr>
                <a:xfrm>
                  <a:off x="9228362" y="6304754"/>
                  <a:ext cx="154800" cy="153888"/>
                </a:xfrm>
                <a:prstGeom prst="rect">
                  <a:avLst/>
                </a:prstGeom>
                <a:grpFill/>
                <a:ln>
                  <a:solidFill>
                    <a:schemeClr val="bg1">
                      <a:lumMod val="75000"/>
                    </a:schemeClr>
                  </a:solidFill>
                </a:ln>
              </p:spPr>
              <p:txBody>
                <a:bodyPr wrap="square" lIns="0" tIns="0" rIns="0" bIns="0" anchor="ctr">
                  <a:noAutofit/>
                </a:bodyPr>
                <a:lstStyle/>
                <a:p>
                  <a:pPr algn="ctr">
                    <a:defRPr/>
                  </a:pPr>
                  <a:endParaRPr lang="en-US" sz="900" dirty="0">
                    <a:solidFill>
                      <a:prstClr val="black"/>
                    </a:solidFill>
                  </a:endParaRPr>
                </a:p>
              </p:txBody>
            </p:sp>
            <p:sp>
              <p:nvSpPr>
                <p:cNvPr id="2418" name="Etiquette - RangeColorLegend - DARK - Number - 10" hidden="1">
                  <a:extLst>
                    <a:ext uri="{FF2B5EF4-FFF2-40B4-BE49-F238E27FC236}">
                      <a16:creationId xmlns:a16="http://schemas.microsoft.com/office/drawing/2014/main" id="{2AB97378-B3F6-4971-987E-869CCD43B4F8}"/>
                    </a:ext>
                  </a:extLst>
                </p:cNvPr>
                <p:cNvSpPr/>
                <p:nvPr/>
              </p:nvSpPr>
              <p:spPr>
                <a:xfrm>
                  <a:off x="9383162" y="6304754"/>
                  <a:ext cx="1116000" cy="153888"/>
                </a:xfrm>
                <a:prstGeom prst="rect">
                  <a:avLst/>
                </a:prstGeom>
                <a:grpFill/>
                <a:ln>
                  <a:solidFill>
                    <a:schemeClr val="bg1">
                      <a:lumMod val="75000"/>
                    </a:schemeClr>
                  </a:solidFill>
                </a:ln>
              </p:spPr>
              <p:txBody>
                <a:bodyPr wrap="none" lIns="72000" tIns="0" rIns="0" bIns="0" anchor="ctr">
                  <a:noAutofit/>
                </a:bodyPr>
                <a:lstStyle/>
                <a:p>
                  <a:pPr>
                    <a:defRPr/>
                  </a:pPr>
                  <a:r>
                    <a:rPr lang="en-US" sz="900" dirty="0">
                      <a:solidFill>
                        <a:prstClr val="black"/>
                      </a:solidFill>
                    </a:rPr>
                    <a:t>400+</a:t>
                  </a:r>
                </a:p>
              </p:txBody>
            </p:sp>
          </p:grpSp>
        </p:grpSp>
        <p:sp>
          <p:nvSpPr>
            <p:cNvPr id="44" name="POWER_USER_DATA_MAP_TITLE">
              <a:extLst>
                <a:ext uri="{FF2B5EF4-FFF2-40B4-BE49-F238E27FC236}">
                  <a16:creationId xmlns:a16="http://schemas.microsoft.com/office/drawing/2014/main" id="{2451F0D3-5C83-4276-85D5-9B0822F6A535}"/>
                </a:ext>
              </a:extLst>
            </p:cNvPr>
            <p:cNvSpPr/>
            <p:nvPr/>
          </p:nvSpPr>
          <p:spPr>
            <a:xfrm>
              <a:off x="85643" y="-359744"/>
              <a:ext cx="6693592" cy="635000"/>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500" b="1">
                  <a:solidFill>
                    <a:srgbClr val="000000"/>
                  </a:solidFill>
                </a:rPr>
                <a:t>India</a:t>
              </a:r>
              <a:endParaRPr lang="en-US" sz="1500" b="1" dirty="0">
                <a:solidFill>
                  <a:srgbClr val="000000"/>
                </a:solidFill>
              </a:endParaRPr>
            </a:p>
          </p:txBody>
        </p:sp>
        <p:sp>
          <p:nvSpPr>
            <p:cNvPr id="45" name="POWER_USER_DATA_MAP_STORAGE">
              <a:extLst>
                <a:ext uri="{FF2B5EF4-FFF2-40B4-BE49-F238E27FC236}">
                  <a16:creationId xmlns:a16="http://schemas.microsoft.com/office/drawing/2014/main" id="{8391638D-1CA7-4654-A4E4-09ED574EFB8B}"/>
                </a:ext>
              </a:extLst>
            </p:cNvPr>
            <p:cNvSpPr/>
            <p:nvPr/>
          </p:nvSpPr>
          <p:spPr>
            <a:xfrm>
              <a:off x="1225204" y="570979"/>
              <a:ext cx="0" cy="0"/>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dirty="0"/>
            </a:p>
          </p:txBody>
        </p:sp>
      </p:grpSp>
      <p:grpSp>
        <p:nvGrpSpPr>
          <p:cNvPr id="49" name="POWER_USER_DATA_MAP" descr="{&quot;IsGrandientColor&quot;:true,&quot;GradientColor&quot;:&quot;#1B7CA8&quot;,&quot;IsRangesColor&quot;:false,&quot;RangesSettings&quot;:null,&quot;RangeName&quot;:&quot;POWER_USER_EXCEL_MAP_3DB468B4_CB8E_4045_A2A1_BE1A66F43A69&quot;,&quot;Version&quot;:&quot;1.6.1146.0&quot;}">
            <a:extLst>
              <a:ext uri="{FF2B5EF4-FFF2-40B4-BE49-F238E27FC236}">
                <a16:creationId xmlns:a16="http://schemas.microsoft.com/office/drawing/2014/main" id="{168EA402-9FAC-4612-8544-9EFCBA7BE6F1}"/>
              </a:ext>
            </a:extLst>
          </p:cNvPr>
          <p:cNvGrpSpPr>
            <a:grpSpLocks noChangeAspect="1"/>
          </p:cNvGrpSpPr>
          <p:nvPr/>
        </p:nvGrpSpPr>
        <p:grpSpPr>
          <a:xfrm>
            <a:off x="7096359" y="2775567"/>
            <a:ext cx="2490084" cy="2288045"/>
            <a:chOff x="929481" y="-931068"/>
            <a:chExt cx="7682166" cy="7243761"/>
          </a:xfrm>
        </p:grpSpPr>
        <p:grpSp>
          <p:nvGrpSpPr>
            <p:cNvPr id="2516" name="Japan_Wards">
              <a:extLst>
                <a:ext uri="{FF2B5EF4-FFF2-40B4-BE49-F238E27FC236}">
                  <a16:creationId xmlns:a16="http://schemas.microsoft.com/office/drawing/2014/main" id="{4315C29F-CBCE-4613-A1CF-BDD3BC4EFD71}"/>
                </a:ext>
              </a:extLst>
            </p:cNvPr>
            <p:cNvGrpSpPr>
              <a:grpSpLocks noChangeAspect="1"/>
            </p:cNvGrpSpPr>
            <p:nvPr/>
          </p:nvGrpSpPr>
          <p:grpSpPr>
            <a:xfrm>
              <a:off x="929481" y="100806"/>
              <a:ext cx="7285038" cy="6211887"/>
              <a:chOff x="2905125" y="627063"/>
              <a:chExt cx="7285038" cy="6211887"/>
            </a:xfrm>
          </p:grpSpPr>
          <p:grpSp>
            <p:nvGrpSpPr>
              <p:cNvPr id="2517" name="Japan_Wards">
                <a:extLst>
                  <a:ext uri="{FF2B5EF4-FFF2-40B4-BE49-F238E27FC236}">
                    <a16:creationId xmlns:a16="http://schemas.microsoft.com/office/drawing/2014/main" id="{06E46F57-BC28-4BB4-B6A1-BDD5C2FD7C0D}"/>
                  </a:ext>
                </a:extLst>
              </p:cNvPr>
              <p:cNvGrpSpPr/>
              <p:nvPr/>
            </p:nvGrpSpPr>
            <p:grpSpPr>
              <a:xfrm>
                <a:off x="2905125" y="627063"/>
                <a:ext cx="7285038" cy="6211887"/>
                <a:chOff x="2905125" y="627063"/>
                <a:chExt cx="7285038" cy="6211887"/>
              </a:xfrm>
            </p:grpSpPr>
            <p:sp>
              <p:nvSpPr>
                <p:cNvPr id="2543" name="Hiroshima" descr="{&quot;Key&quot;:&quot;hiroshima&quot;,&quot;Name&quot;:&quot;Hiroshima&quot;,&quot;Value&quot;:1.0,&quot;Formula&quot;:&quot;&quot;,&quot;Text&quot;:&quot;&quot;,&quot;OfficeApplication&quot;:1,&quot;HasValue&quot;:true}">
                  <a:extLst>
                    <a:ext uri="{FF2B5EF4-FFF2-40B4-BE49-F238E27FC236}">
                      <a16:creationId xmlns:a16="http://schemas.microsoft.com/office/drawing/2014/main" id="{44DB4CF5-EAB9-498F-848C-54F2D6AAC1CA}"/>
                    </a:ext>
                  </a:extLst>
                </p:cNvPr>
                <p:cNvSpPr>
                  <a:spLocks noEditPoints="1"/>
                </p:cNvSpPr>
                <p:nvPr/>
              </p:nvSpPr>
              <p:spPr bwMode="auto">
                <a:xfrm>
                  <a:off x="5041900" y="3851275"/>
                  <a:ext cx="330200" cy="319087"/>
                </a:xfrm>
                <a:custGeom>
                  <a:avLst/>
                  <a:gdLst>
                    <a:gd name="T0" fmla="*/ 190 w 566"/>
                    <a:gd name="T1" fmla="*/ 539 h 544"/>
                    <a:gd name="T2" fmla="*/ 147 w 566"/>
                    <a:gd name="T3" fmla="*/ 520 h 544"/>
                    <a:gd name="T4" fmla="*/ 198 w 566"/>
                    <a:gd name="T5" fmla="*/ 505 h 544"/>
                    <a:gd name="T6" fmla="*/ 140 w 566"/>
                    <a:gd name="T7" fmla="*/ 442 h 544"/>
                    <a:gd name="T8" fmla="*/ 137 w 566"/>
                    <a:gd name="T9" fmla="*/ 451 h 544"/>
                    <a:gd name="T10" fmla="*/ 216 w 566"/>
                    <a:gd name="T11" fmla="*/ 479 h 544"/>
                    <a:gd name="T12" fmla="*/ 174 w 566"/>
                    <a:gd name="T13" fmla="*/ 476 h 544"/>
                    <a:gd name="T14" fmla="*/ 198 w 566"/>
                    <a:gd name="T15" fmla="*/ 441 h 544"/>
                    <a:gd name="T16" fmla="*/ 204 w 566"/>
                    <a:gd name="T17" fmla="*/ 462 h 544"/>
                    <a:gd name="T18" fmla="*/ 306 w 566"/>
                    <a:gd name="T19" fmla="*/ 447 h 544"/>
                    <a:gd name="T20" fmla="*/ 326 w 566"/>
                    <a:gd name="T21" fmla="*/ 436 h 544"/>
                    <a:gd name="T22" fmla="*/ 104 w 566"/>
                    <a:gd name="T23" fmla="*/ 436 h 544"/>
                    <a:gd name="T24" fmla="*/ 290 w 566"/>
                    <a:gd name="T25" fmla="*/ 441 h 544"/>
                    <a:gd name="T26" fmla="*/ 264 w 566"/>
                    <a:gd name="T27" fmla="*/ 440 h 544"/>
                    <a:gd name="T28" fmla="*/ 290 w 566"/>
                    <a:gd name="T29" fmla="*/ 441 h 544"/>
                    <a:gd name="T30" fmla="*/ 244 w 566"/>
                    <a:gd name="T31" fmla="*/ 440 h 544"/>
                    <a:gd name="T32" fmla="*/ 255 w 566"/>
                    <a:gd name="T33" fmla="*/ 441 h 544"/>
                    <a:gd name="T34" fmla="*/ 339 w 566"/>
                    <a:gd name="T35" fmla="*/ 426 h 544"/>
                    <a:gd name="T36" fmla="*/ 340 w 566"/>
                    <a:gd name="T37" fmla="*/ 402 h 544"/>
                    <a:gd name="T38" fmla="*/ 103 w 566"/>
                    <a:gd name="T39" fmla="*/ 410 h 544"/>
                    <a:gd name="T40" fmla="*/ 110 w 566"/>
                    <a:gd name="T41" fmla="*/ 381 h 544"/>
                    <a:gd name="T42" fmla="*/ 103 w 566"/>
                    <a:gd name="T43" fmla="*/ 410 h 544"/>
                    <a:gd name="T44" fmla="*/ 158 w 566"/>
                    <a:gd name="T45" fmla="*/ 371 h 544"/>
                    <a:gd name="T46" fmla="*/ 453 w 566"/>
                    <a:gd name="T47" fmla="*/ 10 h 544"/>
                    <a:gd name="T48" fmla="*/ 509 w 566"/>
                    <a:gd name="T49" fmla="*/ 85 h 544"/>
                    <a:gd name="T50" fmla="*/ 533 w 566"/>
                    <a:gd name="T51" fmla="*/ 154 h 544"/>
                    <a:gd name="T52" fmla="*/ 544 w 566"/>
                    <a:gd name="T53" fmla="*/ 231 h 544"/>
                    <a:gd name="T54" fmla="*/ 566 w 566"/>
                    <a:gd name="T55" fmla="*/ 280 h 544"/>
                    <a:gd name="T56" fmla="*/ 555 w 566"/>
                    <a:gd name="T57" fmla="*/ 311 h 544"/>
                    <a:gd name="T58" fmla="*/ 494 w 566"/>
                    <a:gd name="T59" fmla="*/ 371 h 544"/>
                    <a:gd name="T60" fmla="*/ 513 w 566"/>
                    <a:gd name="T61" fmla="*/ 350 h 544"/>
                    <a:gd name="T62" fmla="*/ 493 w 566"/>
                    <a:gd name="T63" fmla="*/ 324 h 544"/>
                    <a:gd name="T64" fmla="*/ 466 w 566"/>
                    <a:gd name="T65" fmla="*/ 369 h 544"/>
                    <a:gd name="T66" fmla="*/ 450 w 566"/>
                    <a:gd name="T67" fmla="*/ 385 h 544"/>
                    <a:gd name="T68" fmla="*/ 416 w 566"/>
                    <a:gd name="T69" fmla="*/ 401 h 544"/>
                    <a:gd name="T70" fmla="*/ 431 w 566"/>
                    <a:gd name="T71" fmla="*/ 356 h 544"/>
                    <a:gd name="T72" fmla="*/ 453 w 566"/>
                    <a:gd name="T73" fmla="*/ 355 h 544"/>
                    <a:gd name="T74" fmla="*/ 423 w 566"/>
                    <a:gd name="T75" fmla="*/ 339 h 544"/>
                    <a:gd name="T76" fmla="*/ 339 w 566"/>
                    <a:gd name="T77" fmla="*/ 380 h 544"/>
                    <a:gd name="T78" fmla="*/ 290 w 566"/>
                    <a:gd name="T79" fmla="*/ 396 h 544"/>
                    <a:gd name="T80" fmla="*/ 275 w 566"/>
                    <a:gd name="T81" fmla="*/ 415 h 544"/>
                    <a:gd name="T82" fmla="*/ 226 w 566"/>
                    <a:gd name="T83" fmla="*/ 422 h 544"/>
                    <a:gd name="T84" fmla="*/ 205 w 566"/>
                    <a:gd name="T85" fmla="*/ 415 h 544"/>
                    <a:gd name="T86" fmla="*/ 186 w 566"/>
                    <a:gd name="T87" fmla="*/ 369 h 544"/>
                    <a:gd name="T88" fmla="*/ 178 w 566"/>
                    <a:gd name="T89" fmla="*/ 355 h 544"/>
                    <a:gd name="T90" fmla="*/ 109 w 566"/>
                    <a:gd name="T91" fmla="*/ 369 h 544"/>
                    <a:gd name="T92" fmla="*/ 53 w 566"/>
                    <a:gd name="T93" fmla="*/ 422 h 544"/>
                    <a:gd name="T94" fmla="*/ 4 w 566"/>
                    <a:gd name="T95" fmla="*/ 305 h 544"/>
                    <a:gd name="T96" fmla="*/ 21 w 566"/>
                    <a:gd name="T97" fmla="*/ 259 h 544"/>
                    <a:gd name="T98" fmla="*/ 43 w 566"/>
                    <a:gd name="T99" fmla="*/ 206 h 544"/>
                    <a:gd name="T100" fmla="*/ 68 w 566"/>
                    <a:gd name="T101" fmla="*/ 164 h 544"/>
                    <a:gd name="T102" fmla="*/ 95 w 566"/>
                    <a:gd name="T103" fmla="*/ 154 h 544"/>
                    <a:gd name="T104" fmla="*/ 140 w 566"/>
                    <a:gd name="T105" fmla="*/ 149 h 544"/>
                    <a:gd name="T106" fmla="*/ 173 w 566"/>
                    <a:gd name="T107" fmla="*/ 141 h 544"/>
                    <a:gd name="T108" fmla="*/ 256 w 566"/>
                    <a:gd name="T109" fmla="*/ 116 h 544"/>
                    <a:gd name="T110" fmla="*/ 241 w 566"/>
                    <a:gd name="T111" fmla="*/ 95 h 544"/>
                    <a:gd name="T112" fmla="*/ 270 w 566"/>
                    <a:gd name="T113" fmla="*/ 67 h 544"/>
                    <a:gd name="T114" fmla="*/ 326 w 566"/>
                    <a:gd name="T115" fmla="*/ 4 h 544"/>
                    <a:gd name="T116" fmla="*/ 395 w 566"/>
                    <a:gd name="T117" fmla="*/ 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6" h="544">
                      <a:moveTo>
                        <a:pt x="184" y="544"/>
                      </a:moveTo>
                      <a:lnTo>
                        <a:pt x="183" y="537"/>
                      </a:lnTo>
                      <a:lnTo>
                        <a:pt x="185" y="535"/>
                      </a:lnTo>
                      <a:lnTo>
                        <a:pt x="190" y="532"/>
                      </a:lnTo>
                      <a:lnTo>
                        <a:pt x="194" y="534"/>
                      </a:lnTo>
                      <a:lnTo>
                        <a:pt x="190" y="539"/>
                      </a:lnTo>
                      <a:lnTo>
                        <a:pt x="187" y="540"/>
                      </a:lnTo>
                      <a:lnTo>
                        <a:pt x="186" y="542"/>
                      </a:lnTo>
                      <a:lnTo>
                        <a:pt x="184" y="544"/>
                      </a:lnTo>
                      <a:close/>
                      <a:moveTo>
                        <a:pt x="155" y="520"/>
                      </a:moveTo>
                      <a:lnTo>
                        <a:pt x="155" y="522"/>
                      </a:lnTo>
                      <a:lnTo>
                        <a:pt x="147" y="520"/>
                      </a:lnTo>
                      <a:lnTo>
                        <a:pt x="145" y="517"/>
                      </a:lnTo>
                      <a:lnTo>
                        <a:pt x="147" y="514"/>
                      </a:lnTo>
                      <a:lnTo>
                        <a:pt x="151" y="515"/>
                      </a:lnTo>
                      <a:lnTo>
                        <a:pt x="155" y="520"/>
                      </a:lnTo>
                      <a:close/>
                      <a:moveTo>
                        <a:pt x="200" y="499"/>
                      </a:moveTo>
                      <a:lnTo>
                        <a:pt x="198" y="505"/>
                      </a:lnTo>
                      <a:lnTo>
                        <a:pt x="195" y="504"/>
                      </a:lnTo>
                      <a:lnTo>
                        <a:pt x="194" y="500"/>
                      </a:lnTo>
                      <a:lnTo>
                        <a:pt x="195" y="497"/>
                      </a:lnTo>
                      <a:lnTo>
                        <a:pt x="198" y="492"/>
                      </a:lnTo>
                      <a:lnTo>
                        <a:pt x="200" y="499"/>
                      </a:lnTo>
                      <a:close/>
                      <a:moveTo>
                        <a:pt x="140" y="442"/>
                      </a:moveTo>
                      <a:lnTo>
                        <a:pt x="146" y="445"/>
                      </a:lnTo>
                      <a:lnTo>
                        <a:pt x="149" y="445"/>
                      </a:lnTo>
                      <a:lnTo>
                        <a:pt x="150" y="450"/>
                      </a:lnTo>
                      <a:lnTo>
                        <a:pt x="143" y="456"/>
                      </a:lnTo>
                      <a:lnTo>
                        <a:pt x="139" y="455"/>
                      </a:lnTo>
                      <a:lnTo>
                        <a:pt x="137" y="451"/>
                      </a:lnTo>
                      <a:lnTo>
                        <a:pt x="137" y="443"/>
                      </a:lnTo>
                      <a:lnTo>
                        <a:pt x="140" y="442"/>
                      </a:lnTo>
                      <a:close/>
                      <a:moveTo>
                        <a:pt x="204" y="469"/>
                      </a:moveTo>
                      <a:lnTo>
                        <a:pt x="205" y="475"/>
                      </a:lnTo>
                      <a:lnTo>
                        <a:pt x="216" y="470"/>
                      </a:lnTo>
                      <a:lnTo>
                        <a:pt x="216" y="479"/>
                      </a:lnTo>
                      <a:lnTo>
                        <a:pt x="213" y="491"/>
                      </a:lnTo>
                      <a:lnTo>
                        <a:pt x="206" y="492"/>
                      </a:lnTo>
                      <a:lnTo>
                        <a:pt x="198" y="487"/>
                      </a:lnTo>
                      <a:lnTo>
                        <a:pt x="176" y="489"/>
                      </a:lnTo>
                      <a:lnTo>
                        <a:pt x="166" y="485"/>
                      </a:lnTo>
                      <a:lnTo>
                        <a:pt x="174" y="476"/>
                      </a:lnTo>
                      <a:lnTo>
                        <a:pt x="184" y="471"/>
                      </a:lnTo>
                      <a:lnTo>
                        <a:pt x="189" y="464"/>
                      </a:lnTo>
                      <a:lnTo>
                        <a:pt x="184" y="451"/>
                      </a:lnTo>
                      <a:lnTo>
                        <a:pt x="188" y="446"/>
                      </a:lnTo>
                      <a:lnTo>
                        <a:pt x="193" y="442"/>
                      </a:lnTo>
                      <a:lnTo>
                        <a:pt x="198" y="441"/>
                      </a:lnTo>
                      <a:lnTo>
                        <a:pt x="203" y="442"/>
                      </a:lnTo>
                      <a:lnTo>
                        <a:pt x="205" y="445"/>
                      </a:lnTo>
                      <a:lnTo>
                        <a:pt x="203" y="451"/>
                      </a:lnTo>
                      <a:lnTo>
                        <a:pt x="200" y="451"/>
                      </a:lnTo>
                      <a:lnTo>
                        <a:pt x="203" y="457"/>
                      </a:lnTo>
                      <a:lnTo>
                        <a:pt x="204" y="462"/>
                      </a:lnTo>
                      <a:lnTo>
                        <a:pt x="204" y="469"/>
                      </a:lnTo>
                      <a:close/>
                      <a:moveTo>
                        <a:pt x="323" y="450"/>
                      </a:moveTo>
                      <a:lnTo>
                        <a:pt x="311" y="454"/>
                      </a:lnTo>
                      <a:lnTo>
                        <a:pt x="308" y="452"/>
                      </a:lnTo>
                      <a:lnTo>
                        <a:pt x="306" y="450"/>
                      </a:lnTo>
                      <a:lnTo>
                        <a:pt x="306" y="447"/>
                      </a:lnTo>
                      <a:lnTo>
                        <a:pt x="308" y="442"/>
                      </a:lnTo>
                      <a:lnTo>
                        <a:pt x="313" y="437"/>
                      </a:lnTo>
                      <a:lnTo>
                        <a:pt x="318" y="436"/>
                      </a:lnTo>
                      <a:lnTo>
                        <a:pt x="320" y="435"/>
                      </a:lnTo>
                      <a:lnTo>
                        <a:pt x="325" y="432"/>
                      </a:lnTo>
                      <a:lnTo>
                        <a:pt x="326" y="436"/>
                      </a:lnTo>
                      <a:lnTo>
                        <a:pt x="330" y="439"/>
                      </a:lnTo>
                      <a:lnTo>
                        <a:pt x="329" y="445"/>
                      </a:lnTo>
                      <a:lnTo>
                        <a:pt x="323" y="450"/>
                      </a:lnTo>
                      <a:close/>
                      <a:moveTo>
                        <a:pt x="111" y="435"/>
                      </a:moveTo>
                      <a:lnTo>
                        <a:pt x="106" y="439"/>
                      </a:lnTo>
                      <a:lnTo>
                        <a:pt x="104" y="436"/>
                      </a:lnTo>
                      <a:lnTo>
                        <a:pt x="101" y="436"/>
                      </a:lnTo>
                      <a:lnTo>
                        <a:pt x="101" y="432"/>
                      </a:lnTo>
                      <a:lnTo>
                        <a:pt x="106" y="431"/>
                      </a:lnTo>
                      <a:lnTo>
                        <a:pt x="110" y="432"/>
                      </a:lnTo>
                      <a:lnTo>
                        <a:pt x="111" y="435"/>
                      </a:lnTo>
                      <a:close/>
                      <a:moveTo>
                        <a:pt x="290" y="441"/>
                      </a:moveTo>
                      <a:lnTo>
                        <a:pt x="288" y="446"/>
                      </a:lnTo>
                      <a:lnTo>
                        <a:pt x="281" y="450"/>
                      </a:lnTo>
                      <a:lnTo>
                        <a:pt x="280" y="446"/>
                      </a:lnTo>
                      <a:lnTo>
                        <a:pt x="278" y="445"/>
                      </a:lnTo>
                      <a:lnTo>
                        <a:pt x="274" y="445"/>
                      </a:lnTo>
                      <a:lnTo>
                        <a:pt x="264" y="440"/>
                      </a:lnTo>
                      <a:lnTo>
                        <a:pt x="260" y="435"/>
                      </a:lnTo>
                      <a:lnTo>
                        <a:pt x="263" y="430"/>
                      </a:lnTo>
                      <a:lnTo>
                        <a:pt x="269" y="429"/>
                      </a:lnTo>
                      <a:lnTo>
                        <a:pt x="280" y="432"/>
                      </a:lnTo>
                      <a:lnTo>
                        <a:pt x="288" y="436"/>
                      </a:lnTo>
                      <a:lnTo>
                        <a:pt x="290" y="441"/>
                      </a:lnTo>
                      <a:close/>
                      <a:moveTo>
                        <a:pt x="255" y="441"/>
                      </a:moveTo>
                      <a:lnTo>
                        <a:pt x="255" y="444"/>
                      </a:lnTo>
                      <a:lnTo>
                        <a:pt x="250" y="445"/>
                      </a:lnTo>
                      <a:lnTo>
                        <a:pt x="246" y="442"/>
                      </a:lnTo>
                      <a:lnTo>
                        <a:pt x="244" y="445"/>
                      </a:lnTo>
                      <a:lnTo>
                        <a:pt x="244" y="440"/>
                      </a:lnTo>
                      <a:lnTo>
                        <a:pt x="244" y="436"/>
                      </a:lnTo>
                      <a:lnTo>
                        <a:pt x="250" y="431"/>
                      </a:lnTo>
                      <a:lnTo>
                        <a:pt x="254" y="429"/>
                      </a:lnTo>
                      <a:lnTo>
                        <a:pt x="256" y="432"/>
                      </a:lnTo>
                      <a:lnTo>
                        <a:pt x="258" y="437"/>
                      </a:lnTo>
                      <a:lnTo>
                        <a:pt x="255" y="441"/>
                      </a:lnTo>
                      <a:close/>
                      <a:moveTo>
                        <a:pt x="359" y="394"/>
                      </a:moveTo>
                      <a:lnTo>
                        <a:pt x="356" y="405"/>
                      </a:lnTo>
                      <a:lnTo>
                        <a:pt x="353" y="415"/>
                      </a:lnTo>
                      <a:lnTo>
                        <a:pt x="353" y="420"/>
                      </a:lnTo>
                      <a:lnTo>
                        <a:pt x="348" y="424"/>
                      </a:lnTo>
                      <a:lnTo>
                        <a:pt x="339" y="426"/>
                      </a:lnTo>
                      <a:lnTo>
                        <a:pt x="330" y="426"/>
                      </a:lnTo>
                      <a:lnTo>
                        <a:pt x="325" y="424"/>
                      </a:lnTo>
                      <a:lnTo>
                        <a:pt x="323" y="416"/>
                      </a:lnTo>
                      <a:lnTo>
                        <a:pt x="324" y="411"/>
                      </a:lnTo>
                      <a:lnTo>
                        <a:pt x="328" y="409"/>
                      </a:lnTo>
                      <a:lnTo>
                        <a:pt x="340" y="402"/>
                      </a:lnTo>
                      <a:lnTo>
                        <a:pt x="344" y="402"/>
                      </a:lnTo>
                      <a:lnTo>
                        <a:pt x="349" y="400"/>
                      </a:lnTo>
                      <a:lnTo>
                        <a:pt x="354" y="392"/>
                      </a:lnTo>
                      <a:lnTo>
                        <a:pt x="356" y="390"/>
                      </a:lnTo>
                      <a:lnTo>
                        <a:pt x="359" y="394"/>
                      </a:lnTo>
                      <a:close/>
                      <a:moveTo>
                        <a:pt x="103" y="410"/>
                      </a:moveTo>
                      <a:lnTo>
                        <a:pt x="96" y="412"/>
                      </a:lnTo>
                      <a:lnTo>
                        <a:pt x="91" y="409"/>
                      </a:lnTo>
                      <a:lnTo>
                        <a:pt x="91" y="405"/>
                      </a:lnTo>
                      <a:lnTo>
                        <a:pt x="99" y="392"/>
                      </a:lnTo>
                      <a:lnTo>
                        <a:pt x="104" y="386"/>
                      </a:lnTo>
                      <a:lnTo>
                        <a:pt x="110" y="381"/>
                      </a:lnTo>
                      <a:lnTo>
                        <a:pt x="116" y="379"/>
                      </a:lnTo>
                      <a:lnTo>
                        <a:pt x="120" y="380"/>
                      </a:lnTo>
                      <a:lnTo>
                        <a:pt x="123" y="384"/>
                      </a:lnTo>
                      <a:lnTo>
                        <a:pt x="123" y="391"/>
                      </a:lnTo>
                      <a:lnTo>
                        <a:pt x="115" y="399"/>
                      </a:lnTo>
                      <a:lnTo>
                        <a:pt x="103" y="410"/>
                      </a:lnTo>
                      <a:close/>
                      <a:moveTo>
                        <a:pt x="161" y="381"/>
                      </a:moveTo>
                      <a:lnTo>
                        <a:pt x="158" y="382"/>
                      </a:lnTo>
                      <a:lnTo>
                        <a:pt x="155" y="381"/>
                      </a:lnTo>
                      <a:lnTo>
                        <a:pt x="154" y="379"/>
                      </a:lnTo>
                      <a:lnTo>
                        <a:pt x="156" y="375"/>
                      </a:lnTo>
                      <a:lnTo>
                        <a:pt x="158" y="371"/>
                      </a:lnTo>
                      <a:lnTo>
                        <a:pt x="160" y="369"/>
                      </a:lnTo>
                      <a:lnTo>
                        <a:pt x="163" y="371"/>
                      </a:lnTo>
                      <a:lnTo>
                        <a:pt x="163" y="376"/>
                      </a:lnTo>
                      <a:lnTo>
                        <a:pt x="161" y="381"/>
                      </a:lnTo>
                      <a:close/>
                      <a:moveTo>
                        <a:pt x="436" y="6"/>
                      </a:moveTo>
                      <a:lnTo>
                        <a:pt x="453" y="10"/>
                      </a:lnTo>
                      <a:lnTo>
                        <a:pt x="478" y="10"/>
                      </a:lnTo>
                      <a:lnTo>
                        <a:pt x="491" y="15"/>
                      </a:lnTo>
                      <a:lnTo>
                        <a:pt x="508" y="41"/>
                      </a:lnTo>
                      <a:lnTo>
                        <a:pt x="510" y="56"/>
                      </a:lnTo>
                      <a:lnTo>
                        <a:pt x="509" y="72"/>
                      </a:lnTo>
                      <a:lnTo>
                        <a:pt x="509" y="85"/>
                      </a:lnTo>
                      <a:lnTo>
                        <a:pt x="510" y="100"/>
                      </a:lnTo>
                      <a:lnTo>
                        <a:pt x="513" y="110"/>
                      </a:lnTo>
                      <a:lnTo>
                        <a:pt x="515" y="116"/>
                      </a:lnTo>
                      <a:lnTo>
                        <a:pt x="531" y="141"/>
                      </a:lnTo>
                      <a:lnTo>
                        <a:pt x="533" y="147"/>
                      </a:lnTo>
                      <a:lnTo>
                        <a:pt x="533" y="154"/>
                      </a:lnTo>
                      <a:lnTo>
                        <a:pt x="531" y="162"/>
                      </a:lnTo>
                      <a:lnTo>
                        <a:pt x="531" y="172"/>
                      </a:lnTo>
                      <a:lnTo>
                        <a:pt x="533" y="182"/>
                      </a:lnTo>
                      <a:lnTo>
                        <a:pt x="535" y="192"/>
                      </a:lnTo>
                      <a:lnTo>
                        <a:pt x="544" y="211"/>
                      </a:lnTo>
                      <a:lnTo>
                        <a:pt x="544" y="231"/>
                      </a:lnTo>
                      <a:lnTo>
                        <a:pt x="545" y="239"/>
                      </a:lnTo>
                      <a:lnTo>
                        <a:pt x="549" y="245"/>
                      </a:lnTo>
                      <a:lnTo>
                        <a:pt x="558" y="259"/>
                      </a:lnTo>
                      <a:lnTo>
                        <a:pt x="563" y="270"/>
                      </a:lnTo>
                      <a:lnTo>
                        <a:pt x="565" y="276"/>
                      </a:lnTo>
                      <a:lnTo>
                        <a:pt x="566" y="280"/>
                      </a:lnTo>
                      <a:lnTo>
                        <a:pt x="565" y="290"/>
                      </a:lnTo>
                      <a:lnTo>
                        <a:pt x="564" y="297"/>
                      </a:lnTo>
                      <a:lnTo>
                        <a:pt x="559" y="297"/>
                      </a:lnTo>
                      <a:lnTo>
                        <a:pt x="554" y="300"/>
                      </a:lnTo>
                      <a:lnTo>
                        <a:pt x="553" y="309"/>
                      </a:lnTo>
                      <a:lnTo>
                        <a:pt x="555" y="311"/>
                      </a:lnTo>
                      <a:lnTo>
                        <a:pt x="551" y="321"/>
                      </a:lnTo>
                      <a:lnTo>
                        <a:pt x="523" y="359"/>
                      </a:lnTo>
                      <a:lnTo>
                        <a:pt x="516" y="364"/>
                      </a:lnTo>
                      <a:lnTo>
                        <a:pt x="504" y="370"/>
                      </a:lnTo>
                      <a:lnTo>
                        <a:pt x="499" y="371"/>
                      </a:lnTo>
                      <a:lnTo>
                        <a:pt x="494" y="371"/>
                      </a:lnTo>
                      <a:lnTo>
                        <a:pt x="491" y="366"/>
                      </a:lnTo>
                      <a:lnTo>
                        <a:pt x="494" y="362"/>
                      </a:lnTo>
                      <a:lnTo>
                        <a:pt x="499" y="361"/>
                      </a:lnTo>
                      <a:lnTo>
                        <a:pt x="504" y="360"/>
                      </a:lnTo>
                      <a:lnTo>
                        <a:pt x="509" y="359"/>
                      </a:lnTo>
                      <a:lnTo>
                        <a:pt x="513" y="350"/>
                      </a:lnTo>
                      <a:lnTo>
                        <a:pt x="508" y="344"/>
                      </a:lnTo>
                      <a:lnTo>
                        <a:pt x="499" y="341"/>
                      </a:lnTo>
                      <a:lnTo>
                        <a:pt x="489" y="342"/>
                      </a:lnTo>
                      <a:lnTo>
                        <a:pt x="489" y="339"/>
                      </a:lnTo>
                      <a:lnTo>
                        <a:pt x="496" y="332"/>
                      </a:lnTo>
                      <a:lnTo>
                        <a:pt x="493" y="324"/>
                      </a:lnTo>
                      <a:lnTo>
                        <a:pt x="485" y="320"/>
                      </a:lnTo>
                      <a:lnTo>
                        <a:pt x="478" y="345"/>
                      </a:lnTo>
                      <a:lnTo>
                        <a:pt x="471" y="351"/>
                      </a:lnTo>
                      <a:lnTo>
                        <a:pt x="464" y="356"/>
                      </a:lnTo>
                      <a:lnTo>
                        <a:pt x="459" y="361"/>
                      </a:lnTo>
                      <a:lnTo>
                        <a:pt x="466" y="369"/>
                      </a:lnTo>
                      <a:lnTo>
                        <a:pt x="469" y="379"/>
                      </a:lnTo>
                      <a:lnTo>
                        <a:pt x="468" y="387"/>
                      </a:lnTo>
                      <a:lnTo>
                        <a:pt x="460" y="391"/>
                      </a:lnTo>
                      <a:lnTo>
                        <a:pt x="458" y="390"/>
                      </a:lnTo>
                      <a:lnTo>
                        <a:pt x="453" y="386"/>
                      </a:lnTo>
                      <a:lnTo>
                        <a:pt x="450" y="385"/>
                      </a:lnTo>
                      <a:lnTo>
                        <a:pt x="448" y="386"/>
                      </a:lnTo>
                      <a:lnTo>
                        <a:pt x="444" y="390"/>
                      </a:lnTo>
                      <a:lnTo>
                        <a:pt x="436" y="394"/>
                      </a:lnTo>
                      <a:lnTo>
                        <a:pt x="426" y="402"/>
                      </a:lnTo>
                      <a:lnTo>
                        <a:pt x="422" y="405"/>
                      </a:lnTo>
                      <a:lnTo>
                        <a:pt x="416" y="401"/>
                      </a:lnTo>
                      <a:lnTo>
                        <a:pt x="414" y="392"/>
                      </a:lnTo>
                      <a:lnTo>
                        <a:pt x="415" y="374"/>
                      </a:lnTo>
                      <a:lnTo>
                        <a:pt x="416" y="374"/>
                      </a:lnTo>
                      <a:lnTo>
                        <a:pt x="420" y="369"/>
                      </a:lnTo>
                      <a:lnTo>
                        <a:pt x="428" y="360"/>
                      </a:lnTo>
                      <a:lnTo>
                        <a:pt x="431" y="356"/>
                      </a:lnTo>
                      <a:lnTo>
                        <a:pt x="433" y="361"/>
                      </a:lnTo>
                      <a:lnTo>
                        <a:pt x="433" y="369"/>
                      </a:lnTo>
                      <a:lnTo>
                        <a:pt x="431" y="375"/>
                      </a:lnTo>
                      <a:lnTo>
                        <a:pt x="439" y="372"/>
                      </a:lnTo>
                      <a:lnTo>
                        <a:pt x="445" y="357"/>
                      </a:lnTo>
                      <a:lnTo>
                        <a:pt x="453" y="355"/>
                      </a:lnTo>
                      <a:lnTo>
                        <a:pt x="453" y="351"/>
                      </a:lnTo>
                      <a:lnTo>
                        <a:pt x="446" y="346"/>
                      </a:lnTo>
                      <a:lnTo>
                        <a:pt x="439" y="342"/>
                      </a:lnTo>
                      <a:lnTo>
                        <a:pt x="435" y="341"/>
                      </a:lnTo>
                      <a:lnTo>
                        <a:pt x="428" y="341"/>
                      </a:lnTo>
                      <a:lnTo>
                        <a:pt x="423" y="339"/>
                      </a:lnTo>
                      <a:lnTo>
                        <a:pt x="418" y="342"/>
                      </a:lnTo>
                      <a:lnTo>
                        <a:pt x="420" y="357"/>
                      </a:lnTo>
                      <a:lnTo>
                        <a:pt x="409" y="366"/>
                      </a:lnTo>
                      <a:lnTo>
                        <a:pt x="393" y="370"/>
                      </a:lnTo>
                      <a:lnTo>
                        <a:pt x="350" y="375"/>
                      </a:lnTo>
                      <a:lnTo>
                        <a:pt x="339" y="380"/>
                      </a:lnTo>
                      <a:lnTo>
                        <a:pt x="326" y="387"/>
                      </a:lnTo>
                      <a:lnTo>
                        <a:pt x="320" y="376"/>
                      </a:lnTo>
                      <a:lnTo>
                        <a:pt x="313" y="380"/>
                      </a:lnTo>
                      <a:lnTo>
                        <a:pt x="305" y="390"/>
                      </a:lnTo>
                      <a:lnTo>
                        <a:pt x="296" y="395"/>
                      </a:lnTo>
                      <a:lnTo>
                        <a:pt x="290" y="396"/>
                      </a:lnTo>
                      <a:lnTo>
                        <a:pt x="290" y="400"/>
                      </a:lnTo>
                      <a:lnTo>
                        <a:pt x="294" y="405"/>
                      </a:lnTo>
                      <a:lnTo>
                        <a:pt x="296" y="410"/>
                      </a:lnTo>
                      <a:lnTo>
                        <a:pt x="294" y="414"/>
                      </a:lnTo>
                      <a:lnTo>
                        <a:pt x="288" y="415"/>
                      </a:lnTo>
                      <a:lnTo>
                        <a:pt x="275" y="415"/>
                      </a:lnTo>
                      <a:lnTo>
                        <a:pt x="266" y="419"/>
                      </a:lnTo>
                      <a:lnTo>
                        <a:pt x="248" y="431"/>
                      </a:lnTo>
                      <a:lnTo>
                        <a:pt x="235" y="431"/>
                      </a:lnTo>
                      <a:lnTo>
                        <a:pt x="234" y="430"/>
                      </a:lnTo>
                      <a:lnTo>
                        <a:pt x="230" y="421"/>
                      </a:lnTo>
                      <a:lnTo>
                        <a:pt x="226" y="422"/>
                      </a:lnTo>
                      <a:lnTo>
                        <a:pt x="221" y="429"/>
                      </a:lnTo>
                      <a:lnTo>
                        <a:pt x="211" y="435"/>
                      </a:lnTo>
                      <a:lnTo>
                        <a:pt x="206" y="434"/>
                      </a:lnTo>
                      <a:lnTo>
                        <a:pt x="203" y="429"/>
                      </a:lnTo>
                      <a:lnTo>
                        <a:pt x="209" y="421"/>
                      </a:lnTo>
                      <a:lnTo>
                        <a:pt x="205" y="415"/>
                      </a:lnTo>
                      <a:lnTo>
                        <a:pt x="198" y="409"/>
                      </a:lnTo>
                      <a:lnTo>
                        <a:pt x="193" y="396"/>
                      </a:lnTo>
                      <a:lnTo>
                        <a:pt x="186" y="387"/>
                      </a:lnTo>
                      <a:lnTo>
                        <a:pt x="186" y="381"/>
                      </a:lnTo>
                      <a:lnTo>
                        <a:pt x="188" y="374"/>
                      </a:lnTo>
                      <a:lnTo>
                        <a:pt x="186" y="369"/>
                      </a:lnTo>
                      <a:lnTo>
                        <a:pt x="194" y="365"/>
                      </a:lnTo>
                      <a:lnTo>
                        <a:pt x="198" y="365"/>
                      </a:lnTo>
                      <a:lnTo>
                        <a:pt x="195" y="360"/>
                      </a:lnTo>
                      <a:lnTo>
                        <a:pt x="191" y="356"/>
                      </a:lnTo>
                      <a:lnTo>
                        <a:pt x="184" y="351"/>
                      </a:lnTo>
                      <a:lnTo>
                        <a:pt x="178" y="355"/>
                      </a:lnTo>
                      <a:lnTo>
                        <a:pt x="169" y="357"/>
                      </a:lnTo>
                      <a:lnTo>
                        <a:pt x="161" y="357"/>
                      </a:lnTo>
                      <a:lnTo>
                        <a:pt x="146" y="349"/>
                      </a:lnTo>
                      <a:lnTo>
                        <a:pt x="138" y="350"/>
                      </a:lnTo>
                      <a:lnTo>
                        <a:pt x="123" y="359"/>
                      </a:lnTo>
                      <a:lnTo>
                        <a:pt x="109" y="369"/>
                      </a:lnTo>
                      <a:lnTo>
                        <a:pt x="73" y="411"/>
                      </a:lnTo>
                      <a:lnTo>
                        <a:pt x="76" y="419"/>
                      </a:lnTo>
                      <a:lnTo>
                        <a:pt x="79" y="429"/>
                      </a:lnTo>
                      <a:lnTo>
                        <a:pt x="80" y="435"/>
                      </a:lnTo>
                      <a:lnTo>
                        <a:pt x="64" y="430"/>
                      </a:lnTo>
                      <a:lnTo>
                        <a:pt x="53" y="422"/>
                      </a:lnTo>
                      <a:lnTo>
                        <a:pt x="48" y="421"/>
                      </a:lnTo>
                      <a:lnTo>
                        <a:pt x="41" y="416"/>
                      </a:lnTo>
                      <a:lnTo>
                        <a:pt x="35" y="407"/>
                      </a:lnTo>
                      <a:lnTo>
                        <a:pt x="13" y="352"/>
                      </a:lnTo>
                      <a:lnTo>
                        <a:pt x="9" y="316"/>
                      </a:lnTo>
                      <a:lnTo>
                        <a:pt x="4" y="305"/>
                      </a:lnTo>
                      <a:lnTo>
                        <a:pt x="3" y="297"/>
                      </a:lnTo>
                      <a:lnTo>
                        <a:pt x="1" y="292"/>
                      </a:lnTo>
                      <a:lnTo>
                        <a:pt x="0" y="286"/>
                      </a:lnTo>
                      <a:lnTo>
                        <a:pt x="3" y="280"/>
                      </a:lnTo>
                      <a:lnTo>
                        <a:pt x="9" y="271"/>
                      </a:lnTo>
                      <a:lnTo>
                        <a:pt x="21" y="259"/>
                      </a:lnTo>
                      <a:lnTo>
                        <a:pt x="28" y="246"/>
                      </a:lnTo>
                      <a:lnTo>
                        <a:pt x="30" y="239"/>
                      </a:lnTo>
                      <a:lnTo>
                        <a:pt x="31" y="230"/>
                      </a:lnTo>
                      <a:lnTo>
                        <a:pt x="34" y="224"/>
                      </a:lnTo>
                      <a:lnTo>
                        <a:pt x="36" y="216"/>
                      </a:lnTo>
                      <a:lnTo>
                        <a:pt x="43" y="206"/>
                      </a:lnTo>
                      <a:lnTo>
                        <a:pt x="44" y="202"/>
                      </a:lnTo>
                      <a:lnTo>
                        <a:pt x="44" y="196"/>
                      </a:lnTo>
                      <a:lnTo>
                        <a:pt x="41" y="190"/>
                      </a:lnTo>
                      <a:lnTo>
                        <a:pt x="41" y="185"/>
                      </a:lnTo>
                      <a:lnTo>
                        <a:pt x="45" y="179"/>
                      </a:lnTo>
                      <a:lnTo>
                        <a:pt x="68" y="164"/>
                      </a:lnTo>
                      <a:lnTo>
                        <a:pt x="75" y="156"/>
                      </a:lnTo>
                      <a:lnTo>
                        <a:pt x="80" y="150"/>
                      </a:lnTo>
                      <a:lnTo>
                        <a:pt x="84" y="146"/>
                      </a:lnTo>
                      <a:lnTo>
                        <a:pt x="88" y="147"/>
                      </a:lnTo>
                      <a:lnTo>
                        <a:pt x="91" y="150"/>
                      </a:lnTo>
                      <a:lnTo>
                        <a:pt x="95" y="154"/>
                      </a:lnTo>
                      <a:lnTo>
                        <a:pt x="100" y="154"/>
                      </a:lnTo>
                      <a:lnTo>
                        <a:pt x="108" y="150"/>
                      </a:lnTo>
                      <a:lnTo>
                        <a:pt x="125" y="144"/>
                      </a:lnTo>
                      <a:lnTo>
                        <a:pt x="131" y="145"/>
                      </a:lnTo>
                      <a:lnTo>
                        <a:pt x="136" y="147"/>
                      </a:lnTo>
                      <a:lnTo>
                        <a:pt x="140" y="149"/>
                      </a:lnTo>
                      <a:lnTo>
                        <a:pt x="145" y="146"/>
                      </a:lnTo>
                      <a:lnTo>
                        <a:pt x="150" y="141"/>
                      </a:lnTo>
                      <a:lnTo>
                        <a:pt x="154" y="137"/>
                      </a:lnTo>
                      <a:lnTo>
                        <a:pt x="160" y="137"/>
                      </a:lnTo>
                      <a:lnTo>
                        <a:pt x="166" y="140"/>
                      </a:lnTo>
                      <a:lnTo>
                        <a:pt x="173" y="141"/>
                      </a:lnTo>
                      <a:lnTo>
                        <a:pt x="189" y="142"/>
                      </a:lnTo>
                      <a:lnTo>
                        <a:pt x="194" y="141"/>
                      </a:lnTo>
                      <a:lnTo>
                        <a:pt x="203" y="139"/>
                      </a:lnTo>
                      <a:lnTo>
                        <a:pt x="220" y="129"/>
                      </a:lnTo>
                      <a:lnTo>
                        <a:pt x="253" y="119"/>
                      </a:lnTo>
                      <a:lnTo>
                        <a:pt x="256" y="116"/>
                      </a:lnTo>
                      <a:lnTo>
                        <a:pt x="256" y="110"/>
                      </a:lnTo>
                      <a:lnTo>
                        <a:pt x="254" y="105"/>
                      </a:lnTo>
                      <a:lnTo>
                        <a:pt x="249" y="101"/>
                      </a:lnTo>
                      <a:lnTo>
                        <a:pt x="244" y="99"/>
                      </a:lnTo>
                      <a:lnTo>
                        <a:pt x="241" y="96"/>
                      </a:lnTo>
                      <a:lnTo>
                        <a:pt x="241" y="95"/>
                      </a:lnTo>
                      <a:lnTo>
                        <a:pt x="241" y="91"/>
                      </a:lnTo>
                      <a:lnTo>
                        <a:pt x="245" y="87"/>
                      </a:lnTo>
                      <a:lnTo>
                        <a:pt x="253" y="79"/>
                      </a:lnTo>
                      <a:lnTo>
                        <a:pt x="258" y="74"/>
                      </a:lnTo>
                      <a:lnTo>
                        <a:pt x="263" y="70"/>
                      </a:lnTo>
                      <a:lnTo>
                        <a:pt x="270" y="67"/>
                      </a:lnTo>
                      <a:lnTo>
                        <a:pt x="276" y="64"/>
                      </a:lnTo>
                      <a:lnTo>
                        <a:pt x="284" y="59"/>
                      </a:lnTo>
                      <a:lnTo>
                        <a:pt x="309" y="26"/>
                      </a:lnTo>
                      <a:lnTo>
                        <a:pt x="316" y="12"/>
                      </a:lnTo>
                      <a:lnTo>
                        <a:pt x="321" y="7"/>
                      </a:lnTo>
                      <a:lnTo>
                        <a:pt x="326" y="4"/>
                      </a:lnTo>
                      <a:lnTo>
                        <a:pt x="335" y="1"/>
                      </a:lnTo>
                      <a:lnTo>
                        <a:pt x="361" y="6"/>
                      </a:lnTo>
                      <a:lnTo>
                        <a:pt x="368" y="6"/>
                      </a:lnTo>
                      <a:lnTo>
                        <a:pt x="378" y="0"/>
                      </a:lnTo>
                      <a:lnTo>
                        <a:pt x="383" y="0"/>
                      </a:lnTo>
                      <a:lnTo>
                        <a:pt x="395" y="7"/>
                      </a:lnTo>
                      <a:lnTo>
                        <a:pt x="400" y="9"/>
                      </a:lnTo>
                      <a:lnTo>
                        <a:pt x="408" y="9"/>
                      </a:lnTo>
                      <a:lnTo>
                        <a:pt x="425" y="5"/>
                      </a:lnTo>
                      <a:lnTo>
                        <a:pt x="436" y="6"/>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44" name="Okayama" descr="{&quot;Key&quot;:&quot;okayama&quot;,&quot;Name&quot;:&quot;Okayama&quot;,&quot;Value&quot;:1.0,&quot;Formula&quot;:&quot;&quot;,&quot;Text&quot;:&quot;&quot;,&quot;OfficeApplication&quot;:1,&quot;HasValue&quot;:true}">
                  <a:extLst>
                    <a:ext uri="{FF2B5EF4-FFF2-40B4-BE49-F238E27FC236}">
                      <a16:creationId xmlns:a16="http://schemas.microsoft.com/office/drawing/2014/main" id="{295459A2-4726-492B-9C51-F927FA261219}"/>
                    </a:ext>
                  </a:extLst>
                </p:cNvPr>
                <p:cNvSpPr>
                  <a:spLocks noEditPoints="1"/>
                </p:cNvSpPr>
                <p:nvPr/>
              </p:nvSpPr>
              <p:spPr bwMode="auto">
                <a:xfrm>
                  <a:off x="5329238" y="3781425"/>
                  <a:ext cx="265113" cy="260350"/>
                </a:xfrm>
                <a:custGeom>
                  <a:avLst/>
                  <a:gdLst>
                    <a:gd name="T0" fmla="*/ 199 w 455"/>
                    <a:gd name="T1" fmla="*/ 441 h 446"/>
                    <a:gd name="T2" fmla="*/ 207 w 455"/>
                    <a:gd name="T3" fmla="*/ 443 h 446"/>
                    <a:gd name="T4" fmla="*/ 454 w 455"/>
                    <a:gd name="T5" fmla="*/ 77 h 446"/>
                    <a:gd name="T6" fmla="*/ 447 w 455"/>
                    <a:gd name="T7" fmla="*/ 101 h 446"/>
                    <a:gd name="T8" fmla="*/ 402 w 455"/>
                    <a:gd name="T9" fmla="*/ 161 h 446"/>
                    <a:gd name="T10" fmla="*/ 402 w 455"/>
                    <a:gd name="T11" fmla="*/ 211 h 446"/>
                    <a:gd name="T12" fmla="*/ 400 w 455"/>
                    <a:gd name="T13" fmla="*/ 248 h 446"/>
                    <a:gd name="T14" fmla="*/ 423 w 455"/>
                    <a:gd name="T15" fmla="*/ 286 h 446"/>
                    <a:gd name="T16" fmla="*/ 395 w 455"/>
                    <a:gd name="T17" fmla="*/ 298 h 446"/>
                    <a:gd name="T18" fmla="*/ 388 w 455"/>
                    <a:gd name="T19" fmla="*/ 303 h 446"/>
                    <a:gd name="T20" fmla="*/ 394 w 455"/>
                    <a:gd name="T21" fmla="*/ 312 h 446"/>
                    <a:gd name="T22" fmla="*/ 375 w 455"/>
                    <a:gd name="T23" fmla="*/ 331 h 446"/>
                    <a:gd name="T24" fmla="*/ 362 w 455"/>
                    <a:gd name="T25" fmla="*/ 341 h 446"/>
                    <a:gd name="T26" fmla="*/ 368 w 455"/>
                    <a:gd name="T27" fmla="*/ 350 h 446"/>
                    <a:gd name="T28" fmla="*/ 324 w 455"/>
                    <a:gd name="T29" fmla="*/ 363 h 446"/>
                    <a:gd name="T30" fmla="*/ 288 w 455"/>
                    <a:gd name="T31" fmla="*/ 353 h 446"/>
                    <a:gd name="T32" fmla="*/ 268 w 455"/>
                    <a:gd name="T33" fmla="*/ 376 h 446"/>
                    <a:gd name="T34" fmla="*/ 296 w 455"/>
                    <a:gd name="T35" fmla="*/ 360 h 446"/>
                    <a:gd name="T36" fmla="*/ 314 w 455"/>
                    <a:gd name="T37" fmla="*/ 375 h 446"/>
                    <a:gd name="T38" fmla="*/ 301 w 455"/>
                    <a:gd name="T39" fmla="*/ 396 h 446"/>
                    <a:gd name="T40" fmla="*/ 270 w 455"/>
                    <a:gd name="T41" fmla="*/ 430 h 446"/>
                    <a:gd name="T42" fmla="*/ 214 w 455"/>
                    <a:gd name="T43" fmla="*/ 433 h 446"/>
                    <a:gd name="T44" fmla="*/ 190 w 455"/>
                    <a:gd name="T45" fmla="*/ 405 h 446"/>
                    <a:gd name="T46" fmla="*/ 183 w 455"/>
                    <a:gd name="T47" fmla="*/ 396 h 446"/>
                    <a:gd name="T48" fmla="*/ 151 w 455"/>
                    <a:gd name="T49" fmla="*/ 405 h 446"/>
                    <a:gd name="T50" fmla="*/ 126 w 455"/>
                    <a:gd name="T51" fmla="*/ 423 h 446"/>
                    <a:gd name="T52" fmla="*/ 83 w 455"/>
                    <a:gd name="T53" fmla="*/ 442 h 446"/>
                    <a:gd name="T54" fmla="*/ 91 w 455"/>
                    <a:gd name="T55" fmla="*/ 411 h 446"/>
                    <a:gd name="T56" fmla="*/ 74 w 455"/>
                    <a:gd name="T57" fmla="*/ 411 h 446"/>
                    <a:gd name="T58" fmla="*/ 66 w 455"/>
                    <a:gd name="T59" fmla="*/ 380 h 446"/>
                    <a:gd name="T60" fmla="*/ 53 w 455"/>
                    <a:gd name="T61" fmla="*/ 332 h 446"/>
                    <a:gd name="T62" fmla="*/ 40 w 455"/>
                    <a:gd name="T63" fmla="*/ 283 h 446"/>
                    <a:gd name="T64" fmla="*/ 24 w 455"/>
                    <a:gd name="T65" fmla="*/ 237 h 446"/>
                    <a:gd name="T66" fmla="*/ 18 w 455"/>
                    <a:gd name="T67" fmla="*/ 193 h 446"/>
                    <a:gd name="T68" fmla="*/ 6 w 455"/>
                    <a:gd name="T69" fmla="*/ 128 h 446"/>
                    <a:gd name="T70" fmla="*/ 47 w 455"/>
                    <a:gd name="T71" fmla="*/ 108 h 446"/>
                    <a:gd name="T72" fmla="*/ 50 w 455"/>
                    <a:gd name="T73" fmla="*/ 87 h 446"/>
                    <a:gd name="T74" fmla="*/ 97 w 455"/>
                    <a:gd name="T75" fmla="*/ 72 h 446"/>
                    <a:gd name="T76" fmla="*/ 109 w 455"/>
                    <a:gd name="T77" fmla="*/ 46 h 446"/>
                    <a:gd name="T78" fmla="*/ 125 w 455"/>
                    <a:gd name="T79" fmla="*/ 10 h 446"/>
                    <a:gd name="T80" fmla="*/ 190 w 455"/>
                    <a:gd name="T81" fmla="*/ 16 h 446"/>
                    <a:gd name="T82" fmla="*/ 220 w 455"/>
                    <a:gd name="T83" fmla="*/ 42 h 446"/>
                    <a:gd name="T84" fmla="*/ 235 w 455"/>
                    <a:gd name="T85" fmla="*/ 31 h 446"/>
                    <a:gd name="T86" fmla="*/ 260 w 455"/>
                    <a:gd name="T87" fmla="*/ 13 h 446"/>
                    <a:gd name="T88" fmla="*/ 284 w 455"/>
                    <a:gd name="T89" fmla="*/ 0 h 446"/>
                    <a:gd name="T90" fmla="*/ 295 w 455"/>
                    <a:gd name="T91" fmla="*/ 15 h 446"/>
                    <a:gd name="T92" fmla="*/ 341 w 455"/>
                    <a:gd name="T93" fmla="*/ 32 h 446"/>
                    <a:gd name="T94" fmla="*/ 358 w 455"/>
                    <a:gd name="T95" fmla="*/ 62 h 446"/>
                    <a:gd name="T96" fmla="*/ 367 w 455"/>
                    <a:gd name="T97" fmla="*/ 81 h 446"/>
                    <a:gd name="T98" fmla="*/ 410 w 455"/>
                    <a:gd name="T99" fmla="*/ 68 h 446"/>
                    <a:gd name="T100" fmla="*/ 436 w 455"/>
                    <a:gd name="T101" fmla="*/ 6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446">
                      <a:moveTo>
                        <a:pt x="207" y="443"/>
                      </a:moveTo>
                      <a:lnTo>
                        <a:pt x="204" y="446"/>
                      </a:lnTo>
                      <a:lnTo>
                        <a:pt x="202" y="445"/>
                      </a:lnTo>
                      <a:lnTo>
                        <a:pt x="199" y="441"/>
                      </a:lnTo>
                      <a:lnTo>
                        <a:pt x="202" y="439"/>
                      </a:lnTo>
                      <a:lnTo>
                        <a:pt x="203" y="441"/>
                      </a:lnTo>
                      <a:lnTo>
                        <a:pt x="207" y="442"/>
                      </a:lnTo>
                      <a:lnTo>
                        <a:pt x="207" y="443"/>
                      </a:lnTo>
                      <a:close/>
                      <a:moveTo>
                        <a:pt x="455" y="48"/>
                      </a:moveTo>
                      <a:lnTo>
                        <a:pt x="455" y="55"/>
                      </a:lnTo>
                      <a:lnTo>
                        <a:pt x="453" y="68"/>
                      </a:lnTo>
                      <a:lnTo>
                        <a:pt x="454" y="77"/>
                      </a:lnTo>
                      <a:lnTo>
                        <a:pt x="455" y="86"/>
                      </a:lnTo>
                      <a:lnTo>
                        <a:pt x="454" y="92"/>
                      </a:lnTo>
                      <a:lnTo>
                        <a:pt x="452" y="96"/>
                      </a:lnTo>
                      <a:lnTo>
                        <a:pt x="447" y="101"/>
                      </a:lnTo>
                      <a:lnTo>
                        <a:pt x="442" y="106"/>
                      </a:lnTo>
                      <a:lnTo>
                        <a:pt x="422" y="141"/>
                      </a:lnTo>
                      <a:lnTo>
                        <a:pt x="403" y="159"/>
                      </a:lnTo>
                      <a:lnTo>
                        <a:pt x="402" y="161"/>
                      </a:lnTo>
                      <a:lnTo>
                        <a:pt x="403" y="170"/>
                      </a:lnTo>
                      <a:lnTo>
                        <a:pt x="403" y="177"/>
                      </a:lnTo>
                      <a:lnTo>
                        <a:pt x="400" y="192"/>
                      </a:lnTo>
                      <a:lnTo>
                        <a:pt x="402" y="211"/>
                      </a:lnTo>
                      <a:lnTo>
                        <a:pt x="403" y="223"/>
                      </a:lnTo>
                      <a:lnTo>
                        <a:pt x="400" y="233"/>
                      </a:lnTo>
                      <a:lnTo>
                        <a:pt x="399" y="241"/>
                      </a:lnTo>
                      <a:lnTo>
                        <a:pt x="400" y="248"/>
                      </a:lnTo>
                      <a:lnTo>
                        <a:pt x="413" y="260"/>
                      </a:lnTo>
                      <a:lnTo>
                        <a:pt x="419" y="270"/>
                      </a:lnTo>
                      <a:lnTo>
                        <a:pt x="423" y="278"/>
                      </a:lnTo>
                      <a:lnTo>
                        <a:pt x="423" y="286"/>
                      </a:lnTo>
                      <a:lnTo>
                        <a:pt x="423" y="292"/>
                      </a:lnTo>
                      <a:lnTo>
                        <a:pt x="419" y="303"/>
                      </a:lnTo>
                      <a:lnTo>
                        <a:pt x="408" y="301"/>
                      </a:lnTo>
                      <a:lnTo>
                        <a:pt x="395" y="298"/>
                      </a:lnTo>
                      <a:lnTo>
                        <a:pt x="385" y="293"/>
                      </a:lnTo>
                      <a:lnTo>
                        <a:pt x="380" y="295"/>
                      </a:lnTo>
                      <a:lnTo>
                        <a:pt x="383" y="302"/>
                      </a:lnTo>
                      <a:lnTo>
                        <a:pt x="388" y="303"/>
                      </a:lnTo>
                      <a:lnTo>
                        <a:pt x="408" y="308"/>
                      </a:lnTo>
                      <a:lnTo>
                        <a:pt x="405" y="310"/>
                      </a:lnTo>
                      <a:lnTo>
                        <a:pt x="398" y="311"/>
                      </a:lnTo>
                      <a:lnTo>
                        <a:pt x="394" y="312"/>
                      </a:lnTo>
                      <a:lnTo>
                        <a:pt x="387" y="323"/>
                      </a:lnTo>
                      <a:lnTo>
                        <a:pt x="385" y="326"/>
                      </a:lnTo>
                      <a:lnTo>
                        <a:pt x="382" y="327"/>
                      </a:lnTo>
                      <a:lnTo>
                        <a:pt x="375" y="331"/>
                      </a:lnTo>
                      <a:lnTo>
                        <a:pt x="368" y="332"/>
                      </a:lnTo>
                      <a:lnTo>
                        <a:pt x="365" y="335"/>
                      </a:lnTo>
                      <a:lnTo>
                        <a:pt x="359" y="338"/>
                      </a:lnTo>
                      <a:lnTo>
                        <a:pt x="362" y="341"/>
                      </a:lnTo>
                      <a:lnTo>
                        <a:pt x="364" y="342"/>
                      </a:lnTo>
                      <a:lnTo>
                        <a:pt x="369" y="341"/>
                      </a:lnTo>
                      <a:lnTo>
                        <a:pt x="373" y="338"/>
                      </a:lnTo>
                      <a:lnTo>
                        <a:pt x="368" y="350"/>
                      </a:lnTo>
                      <a:lnTo>
                        <a:pt x="355" y="358"/>
                      </a:lnTo>
                      <a:lnTo>
                        <a:pt x="342" y="363"/>
                      </a:lnTo>
                      <a:lnTo>
                        <a:pt x="330" y="366"/>
                      </a:lnTo>
                      <a:lnTo>
                        <a:pt x="324" y="363"/>
                      </a:lnTo>
                      <a:lnTo>
                        <a:pt x="315" y="355"/>
                      </a:lnTo>
                      <a:lnTo>
                        <a:pt x="308" y="352"/>
                      </a:lnTo>
                      <a:lnTo>
                        <a:pt x="294" y="352"/>
                      </a:lnTo>
                      <a:lnTo>
                        <a:pt x="288" y="353"/>
                      </a:lnTo>
                      <a:lnTo>
                        <a:pt x="278" y="360"/>
                      </a:lnTo>
                      <a:lnTo>
                        <a:pt x="270" y="363"/>
                      </a:lnTo>
                      <a:lnTo>
                        <a:pt x="266" y="367"/>
                      </a:lnTo>
                      <a:lnTo>
                        <a:pt x="268" y="376"/>
                      </a:lnTo>
                      <a:lnTo>
                        <a:pt x="273" y="378"/>
                      </a:lnTo>
                      <a:lnTo>
                        <a:pt x="279" y="373"/>
                      </a:lnTo>
                      <a:lnTo>
                        <a:pt x="290" y="362"/>
                      </a:lnTo>
                      <a:lnTo>
                        <a:pt x="296" y="360"/>
                      </a:lnTo>
                      <a:lnTo>
                        <a:pt x="304" y="358"/>
                      </a:lnTo>
                      <a:lnTo>
                        <a:pt x="310" y="360"/>
                      </a:lnTo>
                      <a:lnTo>
                        <a:pt x="315" y="366"/>
                      </a:lnTo>
                      <a:lnTo>
                        <a:pt x="314" y="375"/>
                      </a:lnTo>
                      <a:lnTo>
                        <a:pt x="310" y="380"/>
                      </a:lnTo>
                      <a:lnTo>
                        <a:pt x="303" y="385"/>
                      </a:lnTo>
                      <a:lnTo>
                        <a:pt x="298" y="388"/>
                      </a:lnTo>
                      <a:lnTo>
                        <a:pt x="301" y="396"/>
                      </a:lnTo>
                      <a:lnTo>
                        <a:pt x="289" y="391"/>
                      </a:lnTo>
                      <a:lnTo>
                        <a:pt x="283" y="402"/>
                      </a:lnTo>
                      <a:lnTo>
                        <a:pt x="278" y="418"/>
                      </a:lnTo>
                      <a:lnTo>
                        <a:pt x="270" y="430"/>
                      </a:lnTo>
                      <a:lnTo>
                        <a:pt x="239" y="423"/>
                      </a:lnTo>
                      <a:lnTo>
                        <a:pt x="224" y="423"/>
                      </a:lnTo>
                      <a:lnTo>
                        <a:pt x="226" y="436"/>
                      </a:lnTo>
                      <a:lnTo>
                        <a:pt x="214" y="433"/>
                      </a:lnTo>
                      <a:lnTo>
                        <a:pt x="208" y="423"/>
                      </a:lnTo>
                      <a:lnTo>
                        <a:pt x="203" y="411"/>
                      </a:lnTo>
                      <a:lnTo>
                        <a:pt x="193" y="402"/>
                      </a:lnTo>
                      <a:lnTo>
                        <a:pt x="190" y="405"/>
                      </a:lnTo>
                      <a:lnTo>
                        <a:pt x="188" y="402"/>
                      </a:lnTo>
                      <a:lnTo>
                        <a:pt x="186" y="397"/>
                      </a:lnTo>
                      <a:lnTo>
                        <a:pt x="185" y="392"/>
                      </a:lnTo>
                      <a:lnTo>
                        <a:pt x="183" y="396"/>
                      </a:lnTo>
                      <a:lnTo>
                        <a:pt x="175" y="392"/>
                      </a:lnTo>
                      <a:lnTo>
                        <a:pt x="170" y="396"/>
                      </a:lnTo>
                      <a:lnTo>
                        <a:pt x="164" y="400"/>
                      </a:lnTo>
                      <a:lnTo>
                        <a:pt x="151" y="405"/>
                      </a:lnTo>
                      <a:lnTo>
                        <a:pt x="134" y="415"/>
                      </a:lnTo>
                      <a:lnTo>
                        <a:pt x="130" y="417"/>
                      </a:lnTo>
                      <a:lnTo>
                        <a:pt x="129" y="421"/>
                      </a:lnTo>
                      <a:lnTo>
                        <a:pt x="126" y="423"/>
                      </a:lnTo>
                      <a:lnTo>
                        <a:pt x="123" y="425"/>
                      </a:lnTo>
                      <a:lnTo>
                        <a:pt x="115" y="426"/>
                      </a:lnTo>
                      <a:lnTo>
                        <a:pt x="108" y="432"/>
                      </a:lnTo>
                      <a:lnTo>
                        <a:pt x="83" y="442"/>
                      </a:lnTo>
                      <a:lnTo>
                        <a:pt x="99" y="423"/>
                      </a:lnTo>
                      <a:lnTo>
                        <a:pt x="104" y="413"/>
                      </a:lnTo>
                      <a:lnTo>
                        <a:pt x="95" y="410"/>
                      </a:lnTo>
                      <a:lnTo>
                        <a:pt x="91" y="411"/>
                      </a:lnTo>
                      <a:lnTo>
                        <a:pt x="83" y="417"/>
                      </a:lnTo>
                      <a:lnTo>
                        <a:pt x="78" y="418"/>
                      </a:lnTo>
                      <a:lnTo>
                        <a:pt x="73" y="418"/>
                      </a:lnTo>
                      <a:lnTo>
                        <a:pt x="74" y="411"/>
                      </a:lnTo>
                      <a:lnTo>
                        <a:pt x="75" y="401"/>
                      </a:lnTo>
                      <a:lnTo>
                        <a:pt x="74" y="397"/>
                      </a:lnTo>
                      <a:lnTo>
                        <a:pt x="71" y="391"/>
                      </a:lnTo>
                      <a:lnTo>
                        <a:pt x="66" y="380"/>
                      </a:lnTo>
                      <a:lnTo>
                        <a:pt x="58" y="366"/>
                      </a:lnTo>
                      <a:lnTo>
                        <a:pt x="54" y="360"/>
                      </a:lnTo>
                      <a:lnTo>
                        <a:pt x="53" y="352"/>
                      </a:lnTo>
                      <a:lnTo>
                        <a:pt x="53" y="332"/>
                      </a:lnTo>
                      <a:lnTo>
                        <a:pt x="44" y="313"/>
                      </a:lnTo>
                      <a:lnTo>
                        <a:pt x="41" y="303"/>
                      </a:lnTo>
                      <a:lnTo>
                        <a:pt x="40" y="293"/>
                      </a:lnTo>
                      <a:lnTo>
                        <a:pt x="40" y="283"/>
                      </a:lnTo>
                      <a:lnTo>
                        <a:pt x="41" y="275"/>
                      </a:lnTo>
                      <a:lnTo>
                        <a:pt x="41" y="268"/>
                      </a:lnTo>
                      <a:lnTo>
                        <a:pt x="40" y="262"/>
                      </a:lnTo>
                      <a:lnTo>
                        <a:pt x="24" y="237"/>
                      </a:lnTo>
                      <a:lnTo>
                        <a:pt x="21" y="231"/>
                      </a:lnTo>
                      <a:lnTo>
                        <a:pt x="19" y="221"/>
                      </a:lnTo>
                      <a:lnTo>
                        <a:pt x="18" y="206"/>
                      </a:lnTo>
                      <a:lnTo>
                        <a:pt x="18" y="193"/>
                      </a:lnTo>
                      <a:lnTo>
                        <a:pt x="19" y="177"/>
                      </a:lnTo>
                      <a:lnTo>
                        <a:pt x="16" y="162"/>
                      </a:lnTo>
                      <a:lnTo>
                        <a:pt x="0" y="136"/>
                      </a:lnTo>
                      <a:lnTo>
                        <a:pt x="6" y="128"/>
                      </a:lnTo>
                      <a:lnTo>
                        <a:pt x="10" y="125"/>
                      </a:lnTo>
                      <a:lnTo>
                        <a:pt x="18" y="123"/>
                      </a:lnTo>
                      <a:lnTo>
                        <a:pt x="39" y="113"/>
                      </a:lnTo>
                      <a:lnTo>
                        <a:pt x="47" y="108"/>
                      </a:lnTo>
                      <a:lnTo>
                        <a:pt x="48" y="105"/>
                      </a:lnTo>
                      <a:lnTo>
                        <a:pt x="49" y="100"/>
                      </a:lnTo>
                      <a:lnTo>
                        <a:pt x="48" y="91"/>
                      </a:lnTo>
                      <a:lnTo>
                        <a:pt x="50" y="87"/>
                      </a:lnTo>
                      <a:lnTo>
                        <a:pt x="54" y="83"/>
                      </a:lnTo>
                      <a:lnTo>
                        <a:pt x="74" y="83"/>
                      </a:lnTo>
                      <a:lnTo>
                        <a:pt x="94" y="75"/>
                      </a:lnTo>
                      <a:lnTo>
                        <a:pt x="97" y="72"/>
                      </a:lnTo>
                      <a:lnTo>
                        <a:pt x="98" y="57"/>
                      </a:lnTo>
                      <a:lnTo>
                        <a:pt x="100" y="52"/>
                      </a:lnTo>
                      <a:lnTo>
                        <a:pt x="105" y="48"/>
                      </a:lnTo>
                      <a:lnTo>
                        <a:pt x="109" y="46"/>
                      </a:lnTo>
                      <a:lnTo>
                        <a:pt x="113" y="42"/>
                      </a:lnTo>
                      <a:lnTo>
                        <a:pt x="115" y="37"/>
                      </a:lnTo>
                      <a:lnTo>
                        <a:pt x="120" y="22"/>
                      </a:lnTo>
                      <a:lnTo>
                        <a:pt x="125" y="10"/>
                      </a:lnTo>
                      <a:lnTo>
                        <a:pt x="128" y="6"/>
                      </a:lnTo>
                      <a:lnTo>
                        <a:pt x="133" y="3"/>
                      </a:lnTo>
                      <a:lnTo>
                        <a:pt x="139" y="2"/>
                      </a:lnTo>
                      <a:lnTo>
                        <a:pt x="190" y="16"/>
                      </a:lnTo>
                      <a:lnTo>
                        <a:pt x="198" y="18"/>
                      </a:lnTo>
                      <a:lnTo>
                        <a:pt x="204" y="23"/>
                      </a:lnTo>
                      <a:lnTo>
                        <a:pt x="209" y="28"/>
                      </a:lnTo>
                      <a:lnTo>
                        <a:pt x="220" y="42"/>
                      </a:lnTo>
                      <a:lnTo>
                        <a:pt x="225" y="43"/>
                      </a:lnTo>
                      <a:lnTo>
                        <a:pt x="229" y="41"/>
                      </a:lnTo>
                      <a:lnTo>
                        <a:pt x="234" y="36"/>
                      </a:lnTo>
                      <a:lnTo>
                        <a:pt x="235" y="31"/>
                      </a:lnTo>
                      <a:lnTo>
                        <a:pt x="239" y="27"/>
                      </a:lnTo>
                      <a:lnTo>
                        <a:pt x="243" y="23"/>
                      </a:lnTo>
                      <a:lnTo>
                        <a:pt x="257" y="17"/>
                      </a:lnTo>
                      <a:lnTo>
                        <a:pt x="260" y="13"/>
                      </a:lnTo>
                      <a:lnTo>
                        <a:pt x="263" y="8"/>
                      </a:lnTo>
                      <a:lnTo>
                        <a:pt x="268" y="3"/>
                      </a:lnTo>
                      <a:lnTo>
                        <a:pt x="276" y="1"/>
                      </a:lnTo>
                      <a:lnTo>
                        <a:pt x="284" y="0"/>
                      </a:lnTo>
                      <a:lnTo>
                        <a:pt x="292" y="1"/>
                      </a:lnTo>
                      <a:lnTo>
                        <a:pt x="297" y="5"/>
                      </a:lnTo>
                      <a:lnTo>
                        <a:pt x="297" y="8"/>
                      </a:lnTo>
                      <a:lnTo>
                        <a:pt x="295" y="15"/>
                      </a:lnTo>
                      <a:lnTo>
                        <a:pt x="297" y="18"/>
                      </a:lnTo>
                      <a:lnTo>
                        <a:pt x="299" y="20"/>
                      </a:lnTo>
                      <a:lnTo>
                        <a:pt x="329" y="23"/>
                      </a:lnTo>
                      <a:lnTo>
                        <a:pt x="341" y="32"/>
                      </a:lnTo>
                      <a:lnTo>
                        <a:pt x="349" y="41"/>
                      </a:lnTo>
                      <a:lnTo>
                        <a:pt x="353" y="50"/>
                      </a:lnTo>
                      <a:lnTo>
                        <a:pt x="354" y="55"/>
                      </a:lnTo>
                      <a:lnTo>
                        <a:pt x="358" y="62"/>
                      </a:lnTo>
                      <a:lnTo>
                        <a:pt x="359" y="66"/>
                      </a:lnTo>
                      <a:lnTo>
                        <a:pt x="360" y="72"/>
                      </a:lnTo>
                      <a:lnTo>
                        <a:pt x="363" y="78"/>
                      </a:lnTo>
                      <a:lnTo>
                        <a:pt x="367" y="81"/>
                      </a:lnTo>
                      <a:lnTo>
                        <a:pt x="372" y="80"/>
                      </a:lnTo>
                      <a:lnTo>
                        <a:pt x="395" y="70"/>
                      </a:lnTo>
                      <a:lnTo>
                        <a:pt x="404" y="68"/>
                      </a:lnTo>
                      <a:lnTo>
                        <a:pt x="410" y="68"/>
                      </a:lnTo>
                      <a:lnTo>
                        <a:pt x="415" y="70"/>
                      </a:lnTo>
                      <a:lnTo>
                        <a:pt x="420" y="70"/>
                      </a:lnTo>
                      <a:lnTo>
                        <a:pt x="426" y="66"/>
                      </a:lnTo>
                      <a:lnTo>
                        <a:pt x="436" y="60"/>
                      </a:lnTo>
                      <a:lnTo>
                        <a:pt x="455" y="48"/>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45" name="Shimane" descr="{&quot;Key&quot;:&quot;shimane&quot;,&quot;Name&quot;:&quot;Shimane&quot;,&quot;Value&quot;:1.0,&quot;Formula&quot;:&quot;&quot;,&quot;Text&quot;:&quot;&quot;,&quot;OfficeApplication&quot;:1,&quot;HasValue&quot;:true}">
                  <a:extLst>
                    <a:ext uri="{FF2B5EF4-FFF2-40B4-BE49-F238E27FC236}">
                      <a16:creationId xmlns:a16="http://schemas.microsoft.com/office/drawing/2014/main" id="{765C6738-A846-42C0-9E59-7A4ABC942282}"/>
                    </a:ext>
                  </a:extLst>
                </p:cNvPr>
                <p:cNvSpPr>
                  <a:spLocks noEditPoints="1"/>
                </p:cNvSpPr>
                <p:nvPr/>
              </p:nvSpPr>
              <p:spPr bwMode="auto">
                <a:xfrm>
                  <a:off x="4954588" y="3487738"/>
                  <a:ext cx="401638" cy="587375"/>
                </a:xfrm>
                <a:custGeom>
                  <a:avLst/>
                  <a:gdLst>
                    <a:gd name="T0" fmla="*/ 624 w 689"/>
                    <a:gd name="T1" fmla="*/ 417 h 1007"/>
                    <a:gd name="T2" fmla="*/ 651 w 689"/>
                    <a:gd name="T3" fmla="*/ 451 h 1007"/>
                    <a:gd name="T4" fmla="*/ 657 w 689"/>
                    <a:gd name="T5" fmla="*/ 473 h 1007"/>
                    <a:gd name="T6" fmla="*/ 611 w 689"/>
                    <a:gd name="T7" fmla="*/ 555 h 1007"/>
                    <a:gd name="T8" fmla="*/ 605 w 689"/>
                    <a:gd name="T9" fmla="*/ 587 h 1007"/>
                    <a:gd name="T10" fmla="*/ 545 w 689"/>
                    <a:gd name="T11" fmla="*/ 632 h 1007"/>
                    <a:gd name="T12" fmla="*/ 476 w 689"/>
                    <a:gd name="T13" fmla="*/ 628 h 1007"/>
                    <a:gd name="T14" fmla="*/ 420 w 689"/>
                    <a:gd name="T15" fmla="*/ 692 h 1007"/>
                    <a:gd name="T16" fmla="*/ 391 w 689"/>
                    <a:gd name="T17" fmla="*/ 720 h 1007"/>
                    <a:gd name="T18" fmla="*/ 406 w 689"/>
                    <a:gd name="T19" fmla="*/ 741 h 1007"/>
                    <a:gd name="T20" fmla="*/ 322 w 689"/>
                    <a:gd name="T21" fmla="*/ 766 h 1007"/>
                    <a:gd name="T22" fmla="*/ 290 w 689"/>
                    <a:gd name="T23" fmla="*/ 773 h 1007"/>
                    <a:gd name="T24" fmla="*/ 245 w 689"/>
                    <a:gd name="T25" fmla="*/ 778 h 1007"/>
                    <a:gd name="T26" fmla="*/ 218 w 689"/>
                    <a:gd name="T27" fmla="*/ 788 h 1007"/>
                    <a:gd name="T28" fmla="*/ 192 w 689"/>
                    <a:gd name="T29" fmla="*/ 831 h 1007"/>
                    <a:gd name="T30" fmla="*/ 171 w 689"/>
                    <a:gd name="T31" fmla="*/ 883 h 1007"/>
                    <a:gd name="T32" fmla="*/ 154 w 689"/>
                    <a:gd name="T33" fmla="*/ 930 h 1007"/>
                    <a:gd name="T34" fmla="*/ 131 w 689"/>
                    <a:gd name="T35" fmla="*/ 981 h 1007"/>
                    <a:gd name="T36" fmla="*/ 106 w 689"/>
                    <a:gd name="T37" fmla="*/ 1003 h 1007"/>
                    <a:gd name="T38" fmla="*/ 51 w 689"/>
                    <a:gd name="T39" fmla="*/ 1006 h 1007"/>
                    <a:gd name="T40" fmla="*/ 34 w 689"/>
                    <a:gd name="T41" fmla="*/ 976 h 1007"/>
                    <a:gd name="T42" fmla="*/ 11 w 689"/>
                    <a:gd name="T43" fmla="*/ 943 h 1007"/>
                    <a:gd name="T44" fmla="*/ 0 w 689"/>
                    <a:gd name="T45" fmla="*/ 911 h 1007"/>
                    <a:gd name="T46" fmla="*/ 15 w 689"/>
                    <a:gd name="T47" fmla="*/ 870 h 1007"/>
                    <a:gd name="T48" fmla="*/ 4 w 689"/>
                    <a:gd name="T49" fmla="*/ 825 h 1007"/>
                    <a:gd name="T50" fmla="*/ 76 w 689"/>
                    <a:gd name="T51" fmla="*/ 805 h 1007"/>
                    <a:gd name="T52" fmla="*/ 133 w 689"/>
                    <a:gd name="T53" fmla="*/ 745 h 1007"/>
                    <a:gd name="T54" fmla="*/ 186 w 689"/>
                    <a:gd name="T55" fmla="*/ 685 h 1007"/>
                    <a:gd name="T56" fmla="*/ 261 w 689"/>
                    <a:gd name="T57" fmla="*/ 633 h 1007"/>
                    <a:gd name="T58" fmla="*/ 295 w 689"/>
                    <a:gd name="T59" fmla="*/ 586 h 1007"/>
                    <a:gd name="T60" fmla="*/ 355 w 689"/>
                    <a:gd name="T61" fmla="*/ 536 h 1007"/>
                    <a:gd name="T62" fmla="*/ 405 w 689"/>
                    <a:gd name="T63" fmla="*/ 482 h 1007"/>
                    <a:gd name="T64" fmla="*/ 389 w 689"/>
                    <a:gd name="T65" fmla="*/ 447 h 1007"/>
                    <a:gd name="T66" fmla="*/ 436 w 689"/>
                    <a:gd name="T67" fmla="*/ 440 h 1007"/>
                    <a:gd name="T68" fmla="*/ 470 w 689"/>
                    <a:gd name="T69" fmla="*/ 416 h 1007"/>
                    <a:gd name="T70" fmla="*/ 533 w 689"/>
                    <a:gd name="T71" fmla="*/ 396 h 1007"/>
                    <a:gd name="T72" fmla="*/ 568 w 689"/>
                    <a:gd name="T73" fmla="*/ 381 h 1007"/>
                    <a:gd name="T74" fmla="*/ 599 w 689"/>
                    <a:gd name="T75" fmla="*/ 387 h 1007"/>
                    <a:gd name="T76" fmla="*/ 628 w 689"/>
                    <a:gd name="T77" fmla="*/ 386 h 1007"/>
                    <a:gd name="T78" fmla="*/ 666 w 689"/>
                    <a:gd name="T79" fmla="*/ 385 h 1007"/>
                    <a:gd name="T80" fmla="*/ 562 w 689"/>
                    <a:gd name="T81" fmla="*/ 167 h 1007"/>
                    <a:gd name="T82" fmla="*/ 540 w 689"/>
                    <a:gd name="T83" fmla="*/ 167 h 1007"/>
                    <a:gd name="T84" fmla="*/ 567 w 689"/>
                    <a:gd name="T85" fmla="*/ 161 h 1007"/>
                    <a:gd name="T86" fmla="*/ 585 w 689"/>
                    <a:gd name="T87" fmla="*/ 140 h 1007"/>
                    <a:gd name="T88" fmla="*/ 570 w 689"/>
                    <a:gd name="T89" fmla="*/ 116 h 1007"/>
                    <a:gd name="T90" fmla="*/ 558 w 689"/>
                    <a:gd name="T91" fmla="*/ 140 h 1007"/>
                    <a:gd name="T92" fmla="*/ 543 w 689"/>
                    <a:gd name="T93" fmla="*/ 134 h 1007"/>
                    <a:gd name="T94" fmla="*/ 537 w 689"/>
                    <a:gd name="T95" fmla="*/ 147 h 1007"/>
                    <a:gd name="T96" fmla="*/ 541 w 689"/>
                    <a:gd name="T97" fmla="*/ 116 h 1007"/>
                    <a:gd name="T98" fmla="*/ 674 w 689"/>
                    <a:gd name="T99" fmla="*/ 70 h 1007"/>
                    <a:gd name="T100" fmla="*/ 666 w 689"/>
                    <a:gd name="T101" fmla="*/ 92 h 1007"/>
                    <a:gd name="T102" fmla="*/ 613 w 689"/>
                    <a:gd name="T103" fmla="*/ 68 h 1007"/>
                    <a:gd name="T104" fmla="*/ 656 w 689"/>
                    <a:gd name="T105" fmla="*/ 8 h 1007"/>
                    <a:gd name="T106" fmla="*/ 677 w 689"/>
                    <a:gd name="T107" fmla="*/ 25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9" h="1007">
                      <a:moveTo>
                        <a:pt x="639" y="401"/>
                      </a:moveTo>
                      <a:lnTo>
                        <a:pt x="638" y="400"/>
                      </a:lnTo>
                      <a:lnTo>
                        <a:pt x="620" y="406"/>
                      </a:lnTo>
                      <a:lnTo>
                        <a:pt x="616" y="410"/>
                      </a:lnTo>
                      <a:lnTo>
                        <a:pt x="619" y="415"/>
                      </a:lnTo>
                      <a:lnTo>
                        <a:pt x="624" y="417"/>
                      </a:lnTo>
                      <a:lnTo>
                        <a:pt x="627" y="424"/>
                      </a:lnTo>
                      <a:lnTo>
                        <a:pt x="629" y="430"/>
                      </a:lnTo>
                      <a:lnTo>
                        <a:pt x="633" y="436"/>
                      </a:lnTo>
                      <a:lnTo>
                        <a:pt x="636" y="440"/>
                      </a:lnTo>
                      <a:lnTo>
                        <a:pt x="646" y="449"/>
                      </a:lnTo>
                      <a:lnTo>
                        <a:pt x="651" y="451"/>
                      </a:lnTo>
                      <a:lnTo>
                        <a:pt x="663" y="456"/>
                      </a:lnTo>
                      <a:lnTo>
                        <a:pt x="666" y="460"/>
                      </a:lnTo>
                      <a:lnTo>
                        <a:pt x="665" y="465"/>
                      </a:lnTo>
                      <a:lnTo>
                        <a:pt x="663" y="467"/>
                      </a:lnTo>
                      <a:lnTo>
                        <a:pt x="659" y="470"/>
                      </a:lnTo>
                      <a:lnTo>
                        <a:pt x="657" y="473"/>
                      </a:lnTo>
                      <a:lnTo>
                        <a:pt x="655" y="501"/>
                      </a:lnTo>
                      <a:lnTo>
                        <a:pt x="656" y="517"/>
                      </a:lnTo>
                      <a:lnTo>
                        <a:pt x="656" y="526"/>
                      </a:lnTo>
                      <a:lnTo>
                        <a:pt x="654" y="532"/>
                      </a:lnTo>
                      <a:lnTo>
                        <a:pt x="645" y="538"/>
                      </a:lnTo>
                      <a:lnTo>
                        <a:pt x="611" y="555"/>
                      </a:lnTo>
                      <a:lnTo>
                        <a:pt x="605" y="560"/>
                      </a:lnTo>
                      <a:lnTo>
                        <a:pt x="601" y="563"/>
                      </a:lnTo>
                      <a:lnTo>
                        <a:pt x="603" y="568"/>
                      </a:lnTo>
                      <a:lnTo>
                        <a:pt x="605" y="573"/>
                      </a:lnTo>
                      <a:lnTo>
                        <a:pt x="606" y="580"/>
                      </a:lnTo>
                      <a:lnTo>
                        <a:pt x="605" y="587"/>
                      </a:lnTo>
                      <a:lnTo>
                        <a:pt x="595" y="605"/>
                      </a:lnTo>
                      <a:lnTo>
                        <a:pt x="586" y="631"/>
                      </a:lnTo>
                      <a:lnTo>
                        <a:pt x="575" y="630"/>
                      </a:lnTo>
                      <a:lnTo>
                        <a:pt x="558" y="633"/>
                      </a:lnTo>
                      <a:lnTo>
                        <a:pt x="550" y="633"/>
                      </a:lnTo>
                      <a:lnTo>
                        <a:pt x="545" y="632"/>
                      </a:lnTo>
                      <a:lnTo>
                        <a:pt x="533" y="625"/>
                      </a:lnTo>
                      <a:lnTo>
                        <a:pt x="528" y="625"/>
                      </a:lnTo>
                      <a:lnTo>
                        <a:pt x="518" y="631"/>
                      </a:lnTo>
                      <a:lnTo>
                        <a:pt x="511" y="631"/>
                      </a:lnTo>
                      <a:lnTo>
                        <a:pt x="485" y="626"/>
                      </a:lnTo>
                      <a:lnTo>
                        <a:pt x="476" y="628"/>
                      </a:lnTo>
                      <a:lnTo>
                        <a:pt x="471" y="632"/>
                      </a:lnTo>
                      <a:lnTo>
                        <a:pt x="466" y="637"/>
                      </a:lnTo>
                      <a:lnTo>
                        <a:pt x="459" y="651"/>
                      </a:lnTo>
                      <a:lnTo>
                        <a:pt x="434" y="683"/>
                      </a:lnTo>
                      <a:lnTo>
                        <a:pt x="426" y="688"/>
                      </a:lnTo>
                      <a:lnTo>
                        <a:pt x="420" y="692"/>
                      </a:lnTo>
                      <a:lnTo>
                        <a:pt x="413" y="695"/>
                      </a:lnTo>
                      <a:lnTo>
                        <a:pt x="408" y="698"/>
                      </a:lnTo>
                      <a:lnTo>
                        <a:pt x="403" y="703"/>
                      </a:lnTo>
                      <a:lnTo>
                        <a:pt x="395" y="712"/>
                      </a:lnTo>
                      <a:lnTo>
                        <a:pt x="391" y="716"/>
                      </a:lnTo>
                      <a:lnTo>
                        <a:pt x="391" y="720"/>
                      </a:lnTo>
                      <a:lnTo>
                        <a:pt x="391" y="721"/>
                      </a:lnTo>
                      <a:lnTo>
                        <a:pt x="394" y="723"/>
                      </a:lnTo>
                      <a:lnTo>
                        <a:pt x="399" y="726"/>
                      </a:lnTo>
                      <a:lnTo>
                        <a:pt x="404" y="730"/>
                      </a:lnTo>
                      <a:lnTo>
                        <a:pt x="406" y="735"/>
                      </a:lnTo>
                      <a:lnTo>
                        <a:pt x="406" y="741"/>
                      </a:lnTo>
                      <a:lnTo>
                        <a:pt x="402" y="743"/>
                      </a:lnTo>
                      <a:lnTo>
                        <a:pt x="370" y="753"/>
                      </a:lnTo>
                      <a:lnTo>
                        <a:pt x="352" y="763"/>
                      </a:lnTo>
                      <a:lnTo>
                        <a:pt x="344" y="766"/>
                      </a:lnTo>
                      <a:lnTo>
                        <a:pt x="339" y="767"/>
                      </a:lnTo>
                      <a:lnTo>
                        <a:pt x="322" y="766"/>
                      </a:lnTo>
                      <a:lnTo>
                        <a:pt x="316" y="765"/>
                      </a:lnTo>
                      <a:lnTo>
                        <a:pt x="310" y="762"/>
                      </a:lnTo>
                      <a:lnTo>
                        <a:pt x="304" y="762"/>
                      </a:lnTo>
                      <a:lnTo>
                        <a:pt x="300" y="766"/>
                      </a:lnTo>
                      <a:lnTo>
                        <a:pt x="295" y="771"/>
                      </a:lnTo>
                      <a:lnTo>
                        <a:pt x="290" y="773"/>
                      </a:lnTo>
                      <a:lnTo>
                        <a:pt x="286" y="772"/>
                      </a:lnTo>
                      <a:lnTo>
                        <a:pt x="281" y="770"/>
                      </a:lnTo>
                      <a:lnTo>
                        <a:pt x="275" y="768"/>
                      </a:lnTo>
                      <a:lnTo>
                        <a:pt x="258" y="775"/>
                      </a:lnTo>
                      <a:lnTo>
                        <a:pt x="250" y="778"/>
                      </a:lnTo>
                      <a:lnTo>
                        <a:pt x="245" y="778"/>
                      </a:lnTo>
                      <a:lnTo>
                        <a:pt x="241" y="775"/>
                      </a:lnTo>
                      <a:lnTo>
                        <a:pt x="238" y="772"/>
                      </a:lnTo>
                      <a:lnTo>
                        <a:pt x="234" y="771"/>
                      </a:lnTo>
                      <a:lnTo>
                        <a:pt x="230" y="775"/>
                      </a:lnTo>
                      <a:lnTo>
                        <a:pt x="225" y="781"/>
                      </a:lnTo>
                      <a:lnTo>
                        <a:pt x="218" y="788"/>
                      </a:lnTo>
                      <a:lnTo>
                        <a:pt x="195" y="803"/>
                      </a:lnTo>
                      <a:lnTo>
                        <a:pt x="191" y="810"/>
                      </a:lnTo>
                      <a:lnTo>
                        <a:pt x="191" y="815"/>
                      </a:lnTo>
                      <a:lnTo>
                        <a:pt x="194" y="821"/>
                      </a:lnTo>
                      <a:lnTo>
                        <a:pt x="194" y="827"/>
                      </a:lnTo>
                      <a:lnTo>
                        <a:pt x="192" y="831"/>
                      </a:lnTo>
                      <a:lnTo>
                        <a:pt x="186" y="841"/>
                      </a:lnTo>
                      <a:lnTo>
                        <a:pt x="184" y="848"/>
                      </a:lnTo>
                      <a:lnTo>
                        <a:pt x="181" y="855"/>
                      </a:lnTo>
                      <a:lnTo>
                        <a:pt x="180" y="863"/>
                      </a:lnTo>
                      <a:lnTo>
                        <a:pt x="177" y="871"/>
                      </a:lnTo>
                      <a:lnTo>
                        <a:pt x="171" y="883"/>
                      </a:lnTo>
                      <a:lnTo>
                        <a:pt x="159" y="896"/>
                      </a:lnTo>
                      <a:lnTo>
                        <a:pt x="152" y="905"/>
                      </a:lnTo>
                      <a:lnTo>
                        <a:pt x="150" y="911"/>
                      </a:lnTo>
                      <a:lnTo>
                        <a:pt x="151" y="917"/>
                      </a:lnTo>
                      <a:lnTo>
                        <a:pt x="153" y="922"/>
                      </a:lnTo>
                      <a:lnTo>
                        <a:pt x="154" y="930"/>
                      </a:lnTo>
                      <a:lnTo>
                        <a:pt x="130" y="951"/>
                      </a:lnTo>
                      <a:lnTo>
                        <a:pt x="129" y="957"/>
                      </a:lnTo>
                      <a:lnTo>
                        <a:pt x="130" y="965"/>
                      </a:lnTo>
                      <a:lnTo>
                        <a:pt x="134" y="971"/>
                      </a:lnTo>
                      <a:lnTo>
                        <a:pt x="135" y="976"/>
                      </a:lnTo>
                      <a:lnTo>
                        <a:pt x="131" y="981"/>
                      </a:lnTo>
                      <a:lnTo>
                        <a:pt x="120" y="986"/>
                      </a:lnTo>
                      <a:lnTo>
                        <a:pt x="118" y="990"/>
                      </a:lnTo>
                      <a:lnTo>
                        <a:pt x="114" y="998"/>
                      </a:lnTo>
                      <a:lnTo>
                        <a:pt x="113" y="1003"/>
                      </a:lnTo>
                      <a:lnTo>
                        <a:pt x="109" y="1005"/>
                      </a:lnTo>
                      <a:lnTo>
                        <a:pt x="106" y="1003"/>
                      </a:lnTo>
                      <a:lnTo>
                        <a:pt x="101" y="998"/>
                      </a:lnTo>
                      <a:lnTo>
                        <a:pt x="96" y="997"/>
                      </a:lnTo>
                      <a:lnTo>
                        <a:pt x="93" y="998"/>
                      </a:lnTo>
                      <a:lnTo>
                        <a:pt x="71" y="1005"/>
                      </a:lnTo>
                      <a:lnTo>
                        <a:pt x="59" y="1007"/>
                      </a:lnTo>
                      <a:lnTo>
                        <a:pt x="51" y="1006"/>
                      </a:lnTo>
                      <a:lnTo>
                        <a:pt x="46" y="1003"/>
                      </a:lnTo>
                      <a:lnTo>
                        <a:pt x="41" y="1000"/>
                      </a:lnTo>
                      <a:lnTo>
                        <a:pt x="39" y="995"/>
                      </a:lnTo>
                      <a:lnTo>
                        <a:pt x="36" y="988"/>
                      </a:lnTo>
                      <a:lnTo>
                        <a:pt x="35" y="981"/>
                      </a:lnTo>
                      <a:lnTo>
                        <a:pt x="34" y="976"/>
                      </a:lnTo>
                      <a:lnTo>
                        <a:pt x="34" y="971"/>
                      </a:lnTo>
                      <a:lnTo>
                        <a:pt x="35" y="967"/>
                      </a:lnTo>
                      <a:lnTo>
                        <a:pt x="43" y="956"/>
                      </a:lnTo>
                      <a:lnTo>
                        <a:pt x="43" y="953"/>
                      </a:lnTo>
                      <a:lnTo>
                        <a:pt x="40" y="950"/>
                      </a:lnTo>
                      <a:lnTo>
                        <a:pt x="11" y="943"/>
                      </a:lnTo>
                      <a:lnTo>
                        <a:pt x="6" y="940"/>
                      </a:lnTo>
                      <a:lnTo>
                        <a:pt x="5" y="935"/>
                      </a:lnTo>
                      <a:lnTo>
                        <a:pt x="6" y="931"/>
                      </a:lnTo>
                      <a:lnTo>
                        <a:pt x="5" y="925"/>
                      </a:lnTo>
                      <a:lnTo>
                        <a:pt x="1" y="920"/>
                      </a:lnTo>
                      <a:lnTo>
                        <a:pt x="0" y="911"/>
                      </a:lnTo>
                      <a:lnTo>
                        <a:pt x="0" y="905"/>
                      </a:lnTo>
                      <a:lnTo>
                        <a:pt x="5" y="897"/>
                      </a:lnTo>
                      <a:lnTo>
                        <a:pt x="10" y="882"/>
                      </a:lnTo>
                      <a:lnTo>
                        <a:pt x="13" y="878"/>
                      </a:lnTo>
                      <a:lnTo>
                        <a:pt x="15" y="875"/>
                      </a:lnTo>
                      <a:lnTo>
                        <a:pt x="15" y="870"/>
                      </a:lnTo>
                      <a:lnTo>
                        <a:pt x="8" y="852"/>
                      </a:lnTo>
                      <a:lnTo>
                        <a:pt x="6" y="848"/>
                      </a:lnTo>
                      <a:lnTo>
                        <a:pt x="5" y="841"/>
                      </a:lnTo>
                      <a:lnTo>
                        <a:pt x="5" y="836"/>
                      </a:lnTo>
                      <a:lnTo>
                        <a:pt x="5" y="830"/>
                      </a:lnTo>
                      <a:lnTo>
                        <a:pt x="4" y="825"/>
                      </a:lnTo>
                      <a:lnTo>
                        <a:pt x="5" y="823"/>
                      </a:lnTo>
                      <a:lnTo>
                        <a:pt x="18" y="826"/>
                      </a:lnTo>
                      <a:lnTo>
                        <a:pt x="31" y="823"/>
                      </a:lnTo>
                      <a:lnTo>
                        <a:pt x="49" y="818"/>
                      </a:lnTo>
                      <a:lnTo>
                        <a:pt x="70" y="808"/>
                      </a:lnTo>
                      <a:lnTo>
                        <a:pt x="76" y="805"/>
                      </a:lnTo>
                      <a:lnTo>
                        <a:pt x="79" y="793"/>
                      </a:lnTo>
                      <a:lnTo>
                        <a:pt x="83" y="782"/>
                      </a:lnTo>
                      <a:lnTo>
                        <a:pt x="93" y="781"/>
                      </a:lnTo>
                      <a:lnTo>
                        <a:pt x="94" y="777"/>
                      </a:lnTo>
                      <a:lnTo>
                        <a:pt x="116" y="756"/>
                      </a:lnTo>
                      <a:lnTo>
                        <a:pt x="133" y="745"/>
                      </a:lnTo>
                      <a:lnTo>
                        <a:pt x="143" y="731"/>
                      </a:lnTo>
                      <a:lnTo>
                        <a:pt x="148" y="725"/>
                      </a:lnTo>
                      <a:lnTo>
                        <a:pt x="155" y="727"/>
                      </a:lnTo>
                      <a:lnTo>
                        <a:pt x="158" y="721"/>
                      </a:lnTo>
                      <a:lnTo>
                        <a:pt x="159" y="710"/>
                      </a:lnTo>
                      <a:lnTo>
                        <a:pt x="186" y="685"/>
                      </a:lnTo>
                      <a:lnTo>
                        <a:pt x="198" y="676"/>
                      </a:lnTo>
                      <a:lnTo>
                        <a:pt x="220" y="658"/>
                      </a:lnTo>
                      <a:lnTo>
                        <a:pt x="229" y="647"/>
                      </a:lnTo>
                      <a:lnTo>
                        <a:pt x="243" y="645"/>
                      </a:lnTo>
                      <a:lnTo>
                        <a:pt x="251" y="641"/>
                      </a:lnTo>
                      <a:lnTo>
                        <a:pt x="261" y="633"/>
                      </a:lnTo>
                      <a:lnTo>
                        <a:pt x="265" y="620"/>
                      </a:lnTo>
                      <a:lnTo>
                        <a:pt x="278" y="610"/>
                      </a:lnTo>
                      <a:lnTo>
                        <a:pt x="286" y="603"/>
                      </a:lnTo>
                      <a:lnTo>
                        <a:pt x="290" y="598"/>
                      </a:lnTo>
                      <a:lnTo>
                        <a:pt x="289" y="593"/>
                      </a:lnTo>
                      <a:lnTo>
                        <a:pt x="295" y="586"/>
                      </a:lnTo>
                      <a:lnTo>
                        <a:pt x="298" y="578"/>
                      </a:lnTo>
                      <a:lnTo>
                        <a:pt x="321" y="560"/>
                      </a:lnTo>
                      <a:lnTo>
                        <a:pt x="333" y="551"/>
                      </a:lnTo>
                      <a:lnTo>
                        <a:pt x="346" y="545"/>
                      </a:lnTo>
                      <a:lnTo>
                        <a:pt x="348" y="538"/>
                      </a:lnTo>
                      <a:lnTo>
                        <a:pt x="355" y="536"/>
                      </a:lnTo>
                      <a:lnTo>
                        <a:pt x="365" y="530"/>
                      </a:lnTo>
                      <a:lnTo>
                        <a:pt x="384" y="525"/>
                      </a:lnTo>
                      <a:lnTo>
                        <a:pt x="390" y="520"/>
                      </a:lnTo>
                      <a:lnTo>
                        <a:pt x="400" y="502"/>
                      </a:lnTo>
                      <a:lnTo>
                        <a:pt x="404" y="490"/>
                      </a:lnTo>
                      <a:lnTo>
                        <a:pt x="405" y="482"/>
                      </a:lnTo>
                      <a:lnTo>
                        <a:pt x="405" y="475"/>
                      </a:lnTo>
                      <a:lnTo>
                        <a:pt x="403" y="468"/>
                      </a:lnTo>
                      <a:lnTo>
                        <a:pt x="396" y="465"/>
                      </a:lnTo>
                      <a:lnTo>
                        <a:pt x="388" y="458"/>
                      </a:lnTo>
                      <a:lnTo>
                        <a:pt x="384" y="452"/>
                      </a:lnTo>
                      <a:lnTo>
                        <a:pt x="389" y="447"/>
                      </a:lnTo>
                      <a:lnTo>
                        <a:pt x="398" y="447"/>
                      </a:lnTo>
                      <a:lnTo>
                        <a:pt x="408" y="443"/>
                      </a:lnTo>
                      <a:lnTo>
                        <a:pt x="415" y="443"/>
                      </a:lnTo>
                      <a:lnTo>
                        <a:pt x="429" y="443"/>
                      </a:lnTo>
                      <a:lnTo>
                        <a:pt x="434" y="442"/>
                      </a:lnTo>
                      <a:lnTo>
                        <a:pt x="436" y="440"/>
                      </a:lnTo>
                      <a:lnTo>
                        <a:pt x="433" y="436"/>
                      </a:lnTo>
                      <a:lnTo>
                        <a:pt x="425" y="433"/>
                      </a:lnTo>
                      <a:lnTo>
                        <a:pt x="436" y="430"/>
                      </a:lnTo>
                      <a:lnTo>
                        <a:pt x="445" y="427"/>
                      </a:lnTo>
                      <a:lnTo>
                        <a:pt x="458" y="421"/>
                      </a:lnTo>
                      <a:lnTo>
                        <a:pt x="470" y="416"/>
                      </a:lnTo>
                      <a:lnTo>
                        <a:pt x="481" y="413"/>
                      </a:lnTo>
                      <a:lnTo>
                        <a:pt x="504" y="412"/>
                      </a:lnTo>
                      <a:lnTo>
                        <a:pt x="514" y="410"/>
                      </a:lnTo>
                      <a:lnTo>
                        <a:pt x="524" y="410"/>
                      </a:lnTo>
                      <a:lnTo>
                        <a:pt x="525" y="397"/>
                      </a:lnTo>
                      <a:lnTo>
                        <a:pt x="533" y="396"/>
                      </a:lnTo>
                      <a:lnTo>
                        <a:pt x="541" y="398"/>
                      </a:lnTo>
                      <a:lnTo>
                        <a:pt x="549" y="396"/>
                      </a:lnTo>
                      <a:lnTo>
                        <a:pt x="553" y="388"/>
                      </a:lnTo>
                      <a:lnTo>
                        <a:pt x="556" y="382"/>
                      </a:lnTo>
                      <a:lnTo>
                        <a:pt x="561" y="378"/>
                      </a:lnTo>
                      <a:lnTo>
                        <a:pt x="568" y="381"/>
                      </a:lnTo>
                      <a:lnTo>
                        <a:pt x="573" y="375"/>
                      </a:lnTo>
                      <a:lnTo>
                        <a:pt x="573" y="368"/>
                      </a:lnTo>
                      <a:lnTo>
                        <a:pt x="578" y="370"/>
                      </a:lnTo>
                      <a:lnTo>
                        <a:pt x="584" y="376"/>
                      </a:lnTo>
                      <a:lnTo>
                        <a:pt x="593" y="383"/>
                      </a:lnTo>
                      <a:lnTo>
                        <a:pt x="599" y="387"/>
                      </a:lnTo>
                      <a:lnTo>
                        <a:pt x="611" y="383"/>
                      </a:lnTo>
                      <a:lnTo>
                        <a:pt x="619" y="382"/>
                      </a:lnTo>
                      <a:lnTo>
                        <a:pt x="626" y="377"/>
                      </a:lnTo>
                      <a:lnTo>
                        <a:pt x="628" y="380"/>
                      </a:lnTo>
                      <a:lnTo>
                        <a:pt x="625" y="385"/>
                      </a:lnTo>
                      <a:lnTo>
                        <a:pt x="628" y="386"/>
                      </a:lnTo>
                      <a:lnTo>
                        <a:pt x="631" y="387"/>
                      </a:lnTo>
                      <a:lnTo>
                        <a:pt x="634" y="385"/>
                      </a:lnTo>
                      <a:lnTo>
                        <a:pt x="643" y="382"/>
                      </a:lnTo>
                      <a:lnTo>
                        <a:pt x="650" y="381"/>
                      </a:lnTo>
                      <a:lnTo>
                        <a:pt x="660" y="380"/>
                      </a:lnTo>
                      <a:lnTo>
                        <a:pt x="666" y="385"/>
                      </a:lnTo>
                      <a:lnTo>
                        <a:pt x="661" y="388"/>
                      </a:lnTo>
                      <a:lnTo>
                        <a:pt x="655" y="390"/>
                      </a:lnTo>
                      <a:lnTo>
                        <a:pt x="651" y="392"/>
                      </a:lnTo>
                      <a:lnTo>
                        <a:pt x="644" y="393"/>
                      </a:lnTo>
                      <a:lnTo>
                        <a:pt x="639" y="401"/>
                      </a:lnTo>
                      <a:close/>
                      <a:moveTo>
                        <a:pt x="562" y="167"/>
                      </a:moveTo>
                      <a:lnTo>
                        <a:pt x="567" y="174"/>
                      </a:lnTo>
                      <a:lnTo>
                        <a:pt x="561" y="174"/>
                      </a:lnTo>
                      <a:lnTo>
                        <a:pt x="546" y="174"/>
                      </a:lnTo>
                      <a:lnTo>
                        <a:pt x="544" y="174"/>
                      </a:lnTo>
                      <a:lnTo>
                        <a:pt x="541" y="170"/>
                      </a:lnTo>
                      <a:lnTo>
                        <a:pt x="540" y="167"/>
                      </a:lnTo>
                      <a:lnTo>
                        <a:pt x="540" y="164"/>
                      </a:lnTo>
                      <a:lnTo>
                        <a:pt x="545" y="159"/>
                      </a:lnTo>
                      <a:lnTo>
                        <a:pt x="554" y="161"/>
                      </a:lnTo>
                      <a:lnTo>
                        <a:pt x="562" y="167"/>
                      </a:lnTo>
                      <a:close/>
                      <a:moveTo>
                        <a:pt x="575" y="152"/>
                      </a:moveTo>
                      <a:lnTo>
                        <a:pt x="567" y="161"/>
                      </a:lnTo>
                      <a:lnTo>
                        <a:pt x="567" y="146"/>
                      </a:lnTo>
                      <a:lnTo>
                        <a:pt x="567" y="131"/>
                      </a:lnTo>
                      <a:lnTo>
                        <a:pt x="572" y="120"/>
                      </a:lnTo>
                      <a:lnTo>
                        <a:pt x="584" y="116"/>
                      </a:lnTo>
                      <a:lnTo>
                        <a:pt x="590" y="126"/>
                      </a:lnTo>
                      <a:lnTo>
                        <a:pt x="585" y="140"/>
                      </a:lnTo>
                      <a:lnTo>
                        <a:pt x="575" y="152"/>
                      </a:lnTo>
                      <a:close/>
                      <a:moveTo>
                        <a:pt x="551" y="106"/>
                      </a:moveTo>
                      <a:lnTo>
                        <a:pt x="559" y="109"/>
                      </a:lnTo>
                      <a:lnTo>
                        <a:pt x="565" y="107"/>
                      </a:lnTo>
                      <a:lnTo>
                        <a:pt x="570" y="107"/>
                      </a:lnTo>
                      <a:lnTo>
                        <a:pt x="570" y="116"/>
                      </a:lnTo>
                      <a:lnTo>
                        <a:pt x="565" y="117"/>
                      </a:lnTo>
                      <a:lnTo>
                        <a:pt x="559" y="120"/>
                      </a:lnTo>
                      <a:lnTo>
                        <a:pt x="556" y="129"/>
                      </a:lnTo>
                      <a:lnTo>
                        <a:pt x="558" y="134"/>
                      </a:lnTo>
                      <a:lnTo>
                        <a:pt x="559" y="137"/>
                      </a:lnTo>
                      <a:lnTo>
                        <a:pt x="558" y="140"/>
                      </a:lnTo>
                      <a:lnTo>
                        <a:pt x="554" y="144"/>
                      </a:lnTo>
                      <a:lnTo>
                        <a:pt x="550" y="144"/>
                      </a:lnTo>
                      <a:lnTo>
                        <a:pt x="546" y="142"/>
                      </a:lnTo>
                      <a:lnTo>
                        <a:pt x="544" y="141"/>
                      </a:lnTo>
                      <a:lnTo>
                        <a:pt x="543" y="138"/>
                      </a:lnTo>
                      <a:lnTo>
                        <a:pt x="543" y="134"/>
                      </a:lnTo>
                      <a:lnTo>
                        <a:pt x="541" y="131"/>
                      </a:lnTo>
                      <a:lnTo>
                        <a:pt x="540" y="130"/>
                      </a:lnTo>
                      <a:lnTo>
                        <a:pt x="535" y="130"/>
                      </a:lnTo>
                      <a:lnTo>
                        <a:pt x="531" y="132"/>
                      </a:lnTo>
                      <a:lnTo>
                        <a:pt x="533" y="137"/>
                      </a:lnTo>
                      <a:lnTo>
                        <a:pt x="537" y="147"/>
                      </a:lnTo>
                      <a:lnTo>
                        <a:pt x="534" y="152"/>
                      </a:lnTo>
                      <a:lnTo>
                        <a:pt x="527" y="151"/>
                      </a:lnTo>
                      <a:lnTo>
                        <a:pt x="521" y="146"/>
                      </a:lnTo>
                      <a:lnTo>
                        <a:pt x="515" y="140"/>
                      </a:lnTo>
                      <a:lnTo>
                        <a:pt x="524" y="130"/>
                      </a:lnTo>
                      <a:lnTo>
                        <a:pt x="541" y="116"/>
                      </a:lnTo>
                      <a:lnTo>
                        <a:pt x="551" y="106"/>
                      </a:lnTo>
                      <a:close/>
                      <a:moveTo>
                        <a:pt x="688" y="67"/>
                      </a:moveTo>
                      <a:lnTo>
                        <a:pt x="685" y="72"/>
                      </a:lnTo>
                      <a:lnTo>
                        <a:pt x="680" y="76"/>
                      </a:lnTo>
                      <a:lnTo>
                        <a:pt x="678" y="70"/>
                      </a:lnTo>
                      <a:lnTo>
                        <a:pt x="674" y="70"/>
                      </a:lnTo>
                      <a:lnTo>
                        <a:pt x="670" y="72"/>
                      </a:lnTo>
                      <a:lnTo>
                        <a:pt x="666" y="76"/>
                      </a:lnTo>
                      <a:lnTo>
                        <a:pt x="671" y="79"/>
                      </a:lnTo>
                      <a:lnTo>
                        <a:pt x="673" y="84"/>
                      </a:lnTo>
                      <a:lnTo>
                        <a:pt x="671" y="88"/>
                      </a:lnTo>
                      <a:lnTo>
                        <a:pt x="666" y="92"/>
                      </a:lnTo>
                      <a:lnTo>
                        <a:pt x="664" y="92"/>
                      </a:lnTo>
                      <a:lnTo>
                        <a:pt x="648" y="88"/>
                      </a:lnTo>
                      <a:lnTo>
                        <a:pt x="639" y="88"/>
                      </a:lnTo>
                      <a:lnTo>
                        <a:pt x="636" y="87"/>
                      </a:lnTo>
                      <a:lnTo>
                        <a:pt x="616" y="70"/>
                      </a:lnTo>
                      <a:lnTo>
                        <a:pt x="613" y="68"/>
                      </a:lnTo>
                      <a:lnTo>
                        <a:pt x="611" y="63"/>
                      </a:lnTo>
                      <a:lnTo>
                        <a:pt x="614" y="32"/>
                      </a:lnTo>
                      <a:lnTo>
                        <a:pt x="620" y="22"/>
                      </a:lnTo>
                      <a:lnTo>
                        <a:pt x="652" y="0"/>
                      </a:lnTo>
                      <a:lnTo>
                        <a:pt x="652" y="6"/>
                      </a:lnTo>
                      <a:lnTo>
                        <a:pt x="656" y="8"/>
                      </a:lnTo>
                      <a:lnTo>
                        <a:pt x="664" y="11"/>
                      </a:lnTo>
                      <a:lnTo>
                        <a:pt x="665" y="12"/>
                      </a:lnTo>
                      <a:lnTo>
                        <a:pt x="668" y="18"/>
                      </a:lnTo>
                      <a:lnTo>
                        <a:pt x="670" y="21"/>
                      </a:lnTo>
                      <a:lnTo>
                        <a:pt x="675" y="22"/>
                      </a:lnTo>
                      <a:lnTo>
                        <a:pt x="677" y="25"/>
                      </a:lnTo>
                      <a:lnTo>
                        <a:pt x="680" y="27"/>
                      </a:lnTo>
                      <a:lnTo>
                        <a:pt x="682" y="35"/>
                      </a:lnTo>
                      <a:lnTo>
                        <a:pt x="689" y="42"/>
                      </a:lnTo>
                      <a:lnTo>
                        <a:pt x="688" y="67"/>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46" name="Tottori" descr="{&quot;Key&quot;:&quot;tottori&quot;,&quot;Name&quot;:&quot;Tottori&quot;,&quot;Value&quot;:1.0,&quot;Formula&quot;:&quot;&quot;,&quot;Text&quot;:&quot;&quot;,&quot;OfficeApplication&quot;:1,&quot;HasValue&quot;:true}">
                  <a:extLst>
                    <a:ext uri="{FF2B5EF4-FFF2-40B4-BE49-F238E27FC236}">
                      <a16:creationId xmlns:a16="http://schemas.microsoft.com/office/drawing/2014/main" id="{AB6FFF22-EF66-46E1-AEAC-62D6984329FC}"/>
                    </a:ext>
                  </a:extLst>
                </p:cNvPr>
                <p:cNvSpPr>
                  <a:spLocks/>
                </p:cNvSpPr>
                <p:nvPr/>
              </p:nvSpPr>
              <p:spPr bwMode="auto">
                <a:xfrm>
                  <a:off x="5295900" y="3702050"/>
                  <a:ext cx="325438" cy="158750"/>
                </a:xfrm>
                <a:custGeom>
                  <a:avLst/>
                  <a:gdLst>
                    <a:gd name="T0" fmla="*/ 482 w 557"/>
                    <a:gd name="T1" fmla="*/ 201 h 271"/>
                    <a:gd name="T2" fmla="*/ 465 w 557"/>
                    <a:gd name="T3" fmla="*/ 203 h 271"/>
                    <a:gd name="T4" fmla="*/ 427 w 557"/>
                    <a:gd name="T5" fmla="*/ 215 h 271"/>
                    <a:gd name="T6" fmla="*/ 415 w 557"/>
                    <a:gd name="T7" fmla="*/ 207 h 271"/>
                    <a:gd name="T8" fmla="*/ 409 w 557"/>
                    <a:gd name="T9" fmla="*/ 190 h 271"/>
                    <a:gd name="T10" fmla="*/ 397 w 557"/>
                    <a:gd name="T11" fmla="*/ 167 h 271"/>
                    <a:gd name="T12" fmla="*/ 352 w 557"/>
                    <a:gd name="T13" fmla="*/ 153 h 271"/>
                    <a:gd name="T14" fmla="*/ 352 w 557"/>
                    <a:gd name="T15" fmla="*/ 140 h 271"/>
                    <a:gd name="T16" fmla="*/ 332 w 557"/>
                    <a:gd name="T17" fmla="*/ 136 h 271"/>
                    <a:gd name="T18" fmla="*/ 315 w 557"/>
                    <a:gd name="T19" fmla="*/ 148 h 271"/>
                    <a:gd name="T20" fmla="*/ 294 w 557"/>
                    <a:gd name="T21" fmla="*/ 162 h 271"/>
                    <a:gd name="T22" fmla="*/ 284 w 557"/>
                    <a:gd name="T23" fmla="*/ 176 h 271"/>
                    <a:gd name="T24" fmla="*/ 264 w 557"/>
                    <a:gd name="T25" fmla="*/ 163 h 271"/>
                    <a:gd name="T26" fmla="*/ 245 w 557"/>
                    <a:gd name="T27" fmla="*/ 151 h 271"/>
                    <a:gd name="T28" fmla="*/ 183 w 557"/>
                    <a:gd name="T29" fmla="*/ 141 h 271"/>
                    <a:gd name="T30" fmla="*/ 170 w 557"/>
                    <a:gd name="T31" fmla="*/ 172 h 271"/>
                    <a:gd name="T32" fmla="*/ 160 w 557"/>
                    <a:gd name="T33" fmla="*/ 183 h 271"/>
                    <a:gd name="T34" fmla="*/ 152 w 557"/>
                    <a:gd name="T35" fmla="*/ 207 h 271"/>
                    <a:gd name="T36" fmla="*/ 109 w 557"/>
                    <a:gd name="T37" fmla="*/ 218 h 271"/>
                    <a:gd name="T38" fmla="*/ 104 w 557"/>
                    <a:gd name="T39" fmla="*/ 234 h 271"/>
                    <a:gd name="T40" fmla="*/ 94 w 557"/>
                    <a:gd name="T41" fmla="*/ 248 h 271"/>
                    <a:gd name="T42" fmla="*/ 62 w 557"/>
                    <a:gd name="T43" fmla="*/ 263 h 271"/>
                    <a:gd name="T44" fmla="*/ 16 w 557"/>
                    <a:gd name="T45" fmla="*/ 266 h 271"/>
                    <a:gd name="T46" fmla="*/ 19 w 557"/>
                    <a:gd name="T47" fmla="*/ 218 h 271"/>
                    <a:gd name="T48" fmla="*/ 16 w 557"/>
                    <a:gd name="T49" fmla="*/ 199 h 271"/>
                    <a:gd name="T50" fmla="*/ 25 w 557"/>
                    <a:gd name="T51" fmla="*/ 186 h 271"/>
                    <a:gd name="T52" fmla="*/ 70 w 557"/>
                    <a:gd name="T53" fmla="*/ 157 h 271"/>
                    <a:gd name="T54" fmla="*/ 71 w 557"/>
                    <a:gd name="T55" fmla="*/ 104 h 271"/>
                    <a:gd name="T56" fmla="*/ 79 w 557"/>
                    <a:gd name="T57" fmla="*/ 96 h 271"/>
                    <a:gd name="T58" fmla="*/ 65 w 557"/>
                    <a:gd name="T59" fmla="*/ 82 h 271"/>
                    <a:gd name="T60" fmla="*/ 46 w 557"/>
                    <a:gd name="T61" fmla="*/ 67 h 271"/>
                    <a:gd name="T62" fmla="*/ 38 w 557"/>
                    <a:gd name="T63" fmla="*/ 48 h 271"/>
                    <a:gd name="T64" fmla="*/ 34 w 557"/>
                    <a:gd name="T65" fmla="*/ 37 h 271"/>
                    <a:gd name="T66" fmla="*/ 51 w 557"/>
                    <a:gd name="T67" fmla="*/ 33 h 271"/>
                    <a:gd name="T68" fmla="*/ 55 w 557"/>
                    <a:gd name="T69" fmla="*/ 52 h 271"/>
                    <a:gd name="T70" fmla="*/ 94 w 557"/>
                    <a:gd name="T71" fmla="*/ 70 h 271"/>
                    <a:gd name="T72" fmla="*/ 116 w 557"/>
                    <a:gd name="T73" fmla="*/ 71 h 271"/>
                    <a:gd name="T74" fmla="*/ 183 w 557"/>
                    <a:gd name="T75" fmla="*/ 33 h 271"/>
                    <a:gd name="T76" fmla="*/ 315 w 557"/>
                    <a:gd name="T77" fmla="*/ 42 h 271"/>
                    <a:gd name="T78" fmla="*/ 422 w 557"/>
                    <a:gd name="T79" fmla="*/ 32 h 271"/>
                    <a:gd name="T80" fmla="*/ 464 w 557"/>
                    <a:gd name="T81" fmla="*/ 17 h 271"/>
                    <a:gd name="T82" fmla="*/ 497 w 557"/>
                    <a:gd name="T83" fmla="*/ 2 h 271"/>
                    <a:gd name="T84" fmla="*/ 519 w 557"/>
                    <a:gd name="T85" fmla="*/ 28 h 271"/>
                    <a:gd name="T86" fmla="*/ 542 w 557"/>
                    <a:gd name="T87" fmla="*/ 107 h 271"/>
                    <a:gd name="T88" fmla="*/ 554 w 557"/>
                    <a:gd name="T89" fmla="*/ 137 h 271"/>
                    <a:gd name="T90" fmla="*/ 554 w 557"/>
                    <a:gd name="T91" fmla="*/ 168 h 271"/>
                    <a:gd name="T92" fmla="*/ 532 w 557"/>
                    <a:gd name="T93" fmla="*/ 188 h 271"/>
                    <a:gd name="T94" fmla="*/ 518 w 557"/>
                    <a:gd name="T95" fmla="*/ 18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7" h="271">
                      <a:moveTo>
                        <a:pt x="510" y="183"/>
                      </a:moveTo>
                      <a:lnTo>
                        <a:pt x="492" y="194"/>
                      </a:lnTo>
                      <a:lnTo>
                        <a:pt x="482" y="201"/>
                      </a:lnTo>
                      <a:lnTo>
                        <a:pt x="475" y="205"/>
                      </a:lnTo>
                      <a:lnTo>
                        <a:pt x="470" y="205"/>
                      </a:lnTo>
                      <a:lnTo>
                        <a:pt x="465" y="203"/>
                      </a:lnTo>
                      <a:lnTo>
                        <a:pt x="459" y="203"/>
                      </a:lnTo>
                      <a:lnTo>
                        <a:pt x="450" y="205"/>
                      </a:lnTo>
                      <a:lnTo>
                        <a:pt x="427" y="215"/>
                      </a:lnTo>
                      <a:lnTo>
                        <a:pt x="422" y="216"/>
                      </a:lnTo>
                      <a:lnTo>
                        <a:pt x="418" y="213"/>
                      </a:lnTo>
                      <a:lnTo>
                        <a:pt x="415" y="207"/>
                      </a:lnTo>
                      <a:lnTo>
                        <a:pt x="414" y="201"/>
                      </a:lnTo>
                      <a:lnTo>
                        <a:pt x="413" y="197"/>
                      </a:lnTo>
                      <a:lnTo>
                        <a:pt x="409" y="190"/>
                      </a:lnTo>
                      <a:lnTo>
                        <a:pt x="408" y="185"/>
                      </a:lnTo>
                      <a:lnTo>
                        <a:pt x="404" y="176"/>
                      </a:lnTo>
                      <a:lnTo>
                        <a:pt x="397" y="167"/>
                      </a:lnTo>
                      <a:lnTo>
                        <a:pt x="384" y="158"/>
                      </a:lnTo>
                      <a:lnTo>
                        <a:pt x="354" y="155"/>
                      </a:lnTo>
                      <a:lnTo>
                        <a:pt x="352" y="153"/>
                      </a:lnTo>
                      <a:lnTo>
                        <a:pt x="350" y="150"/>
                      </a:lnTo>
                      <a:lnTo>
                        <a:pt x="352" y="143"/>
                      </a:lnTo>
                      <a:lnTo>
                        <a:pt x="352" y="140"/>
                      </a:lnTo>
                      <a:lnTo>
                        <a:pt x="347" y="136"/>
                      </a:lnTo>
                      <a:lnTo>
                        <a:pt x="339" y="134"/>
                      </a:lnTo>
                      <a:lnTo>
                        <a:pt x="332" y="136"/>
                      </a:lnTo>
                      <a:lnTo>
                        <a:pt x="323" y="138"/>
                      </a:lnTo>
                      <a:lnTo>
                        <a:pt x="318" y="143"/>
                      </a:lnTo>
                      <a:lnTo>
                        <a:pt x="315" y="148"/>
                      </a:lnTo>
                      <a:lnTo>
                        <a:pt x="312" y="152"/>
                      </a:lnTo>
                      <a:lnTo>
                        <a:pt x="298" y="158"/>
                      </a:lnTo>
                      <a:lnTo>
                        <a:pt x="294" y="162"/>
                      </a:lnTo>
                      <a:lnTo>
                        <a:pt x="290" y="166"/>
                      </a:lnTo>
                      <a:lnTo>
                        <a:pt x="289" y="171"/>
                      </a:lnTo>
                      <a:lnTo>
                        <a:pt x="284" y="176"/>
                      </a:lnTo>
                      <a:lnTo>
                        <a:pt x="280" y="178"/>
                      </a:lnTo>
                      <a:lnTo>
                        <a:pt x="275" y="177"/>
                      </a:lnTo>
                      <a:lnTo>
                        <a:pt x="264" y="163"/>
                      </a:lnTo>
                      <a:lnTo>
                        <a:pt x="259" y="158"/>
                      </a:lnTo>
                      <a:lnTo>
                        <a:pt x="253" y="153"/>
                      </a:lnTo>
                      <a:lnTo>
                        <a:pt x="245" y="151"/>
                      </a:lnTo>
                      <a:lnTo>
                        <a:pt x="194" y="137"/>
                      </a:lnTo>
                      <a:lnTo>
                        <a:pt x="188" y="138"/>
                      </a:lnTo>
                      <a:lnTo>
                        <a:pt x="183" y="141"/>
                      </a:lnTo>
                      <a:lnTo>
                        <a:pt x="180" y="144"/>
                      </a:lnTo>
                      <a:lnTo>
                        <a:pt x="175" y="157"/>
                      </a:lnTo>
                      <a:lnTo>
                        <a:pt x="170" y="172"/>
                      </a:lnTo>
                      <a:lnTo>
                        <a:pt x="168" y="177"/>
                      </a:lnTo>
                      <a:lnTo>
                        <a:pt x="164" y="181"/>
                      </a:lnTo>
                      <a:lnTo>
                        <a:pt x="160" y="183"/>
                      </a:lnTo>
                      <a:lnTo>
                        <a:pt x="155" y="187"/>
                      </a:lnTo>
                      <a:lnTo>
                        <a:pt x="153" y="192"/>
                      </a:lnTo>
                      <a:lnTo>
                        <a:pt x="152" y="207"/>
                      </a:lnTo>
                      <a:lnTo>
                        <a:pt x="149" y="209"/>
                      </a:lnTo>
                      <a:lnTo>
                        <a:pt x="129" y="218"/>
                      </a:lnTo>
                      <a:lnTo>
                        <a:pt x="109" y="218"/>
                      </a:lnTo>
                      <a:lnTo>
                        <a:pt x="105" y="222"/>
                      </a:lnTo>
                      <a:lnTo>
                        <a:pt x="103" y="226"/>
                      </a:lnTo>
                      <a:lnTo>
                        <a:pt x="104" y="234"/>
                      </a:lnTo>
                      <a:lnTo>
                        <a:pt x="103" y="239"/>
                      </a:lnTo>
                      <a:lnTo>
                        <a:pt x="102" y="243"/>
                      </a:lnTo>
                      <a:lnTo>
                        <a:pt x="94" y="248"/>
                      </a:lnTo>
                      <a:lnTo>
                        <a:pt x="73" y="258"/>
                      </a:lnTo>
                      <a:lnTo>
                        <a:pt x="65" y="259"/>
                      </a:lnTo>
                      <a:lnTo>
                        <a:pt x="62" y="263"/>
                      </a:lnTo>
                      <a:lnTo>
                        <a:pt x="55" y="271"/>
                      </a:lnTo>
                      <a:lnTo>
                        <a:pt x="41" y="266"/>
                      </a:lnTo>
                      <a:lnTo>
                        <a:pt x="16" y="266"/>
                      </a:lnTo>
                      <a:lnTo>
                        <a:pt x="0" y="262"/>
                      </a:lnTo>
                      <a:lnTo>
                        <a:pt x="9" y="236"/>
                      </a:lnTo>
                      <a:lnTo>
                        <a:pt x="19" y="218"/>
                      </a:lnTo>
                      <a:lnTo>
                        <a:pt x="20" y="211"/>
                      </a:lnTo>
                      <a:lnTo>
                        <a:pt x="19" y="204"/>
                      </a:lnTo>
                      <a:lnTo>
                        <a:pt x="16" y="199"/>
                      </a:lnTo>
                      <a:lnTo>
                        <a:pt x="15" y="194"/>
                      </a:lnTo>
                      <a:lnTo>
                        <a:pt x="19" y="191"/>
                      </a:lnTo>
                      <a:lnTo>
                        <a:pt x="25" y="186"/>
                      </a:lnTo>
                      <a:lnTo>
                        <a:pt x="59" y="169"/>
                      </a:lnTo>
                      <a:lnTo>
                        <a:pt x="68" y="163"/>
                      </a:lnTo>
                      <a:lnTo>
                        <a:pt x="70" y="157"/>
                      </a:lnTo>
                      <a:lnTo>
                        <a:pt x="70" y="148"/>
                      </a:lnTo>
                      <a:lnTo>
                        <a:pt x="69" y="132"/>
                      </a:lnTo>
                      <a:lnTo>
                        <a:pt x="71" y="104"/>
                      </a:lnTo>
                      <a:lnTo>
                        <a:pt x="73" y="101"/>
                      </a:lnTo>
                      <a:lnTo>
                        <a:pt x="76" y="98"/>
                      </a:lnTo>
                      <a:lnTo>
                        <a:pt x="79" y="96"/>
                      </a:lnTo>
                      <a:lnTo>
                        <a:pt x="80" y="91"/>
                      </a:lnTo>
                      <a:lnTo>
                        <a:pt x="76" y="87"/>
                      </a:lnTo>
                      <a:lnTo>
                        <a:pt x="65" y="82"/>
                      </a:lnTo>
                      <a:lnTo>
                        <a:pt x="60" y="80"/>
                      </a:lnTo>
                      <a:lnTo>
                        <a:pt x="50" y="71"/>
                      </a:lnTo>
                      <a:lnTo>
                        <a:pt x="46" y="67"/>
                      </a:lnTo>
                      <a:lnTo>
                        <a:pt x="43" y="61"/>
                      </a:lnTo>
                      <a:lnTo>
                        <a:pt x="41" y="55"/>
                      </a:lnTo>
                      <a:lnTo>
                        <a:pt x="38" y="48"/>
                      </a:lnTo>
                      <a:lnTo>
                        <a:pt x="33" y="46"/>
                      </a:lnTo>
                      <a:lnTo>
                        <a:pt x="30" y="41"/>
                      </a:lnTo>
                      <a:lnTo>
                        <a:pt x="34" y="37"/>
                      </a:lnTo>
                      <a:lnTo>
                        <a:pt x="51" y="31"/>
                      </a:lnTo>
                      <a:lnTo>
                        <a:pt x="53" y="32"/>
                      </a:lnTo>
                      <a:lnTo>
                        <a:pt x="51" y="33"/>
                      </a:lnTo>
                      <a:lnTo>
                        <a:pt x="51" y="38"/>
                      </a:lnTo>
                      <a:lnTo>
                        <a:pt x="54" y="45"/>
                      </a:lnTo>
                      <a:lnTo>
                        <a:pt x="55" y="52"/>
                      </a:lnTo>
                      <a:lnTo>
                        <a:pt x="68" y="60"/>
                      </a:lnTo>
                      <a:lnTo>
                        <a:pt x="81" y="67"/>
                      </a:lnTo>
                      <a:lnTo>
                        <a:pt x="94" y="70"/>
                      </a:lnTo>
                      <a:lnTo>
                        <a:pt x="103" y="71"/>
                      </a:lnTo>
                      <a:lnTo>
                        <a:pt x="110" y="72"/>
                      </a:lnTo>
                      <a:lnTo>
                        <a:pt x="116" y="71"/>
                      </a:lnTo>
                      <a:lnTo>
                        <a:pt x="127" y="55"/>
                      </a:lnTo>
                      <a:lnTo>
                        <a:pt x="160" y="38"/>
                      </a:lnTo>
                      <a:lnTo>
                        <a:pt x="183" y="33"/>
                      </a:lnTo>
                      <a:lnTo>
                        <a:pt x="204" y="40"/>
                      </a:lnTo>
                      <a:lnTo>
                        <a:pt x="243" y="48"/>
                      </a:lnTo>
                      <a:lnTo>
                        <a:pt x="315" y="42"/>
                      </a:lnTo>
                      <a:lnTo>
                        <a:pt x="354" y="31"/>
                      </a:lnTo>
                      <a:lnTo>
                        <a:pt x="365" y="40"/>
                      </a:lnTo>
                      <a:lnTo>
                        <a:pt x="422" y="32"/>
                      </a:lnTo>
                      <a:lnTo>
                        <a:pt x="447" y="27"/>
                      </a:lnTo>
                      <a:lnTo>
                        <a:pt x="457" y="23"/>
                      </a:lnTo>
                      <a:lnTo>
                        <a:pt x="464" y="17"/>
                      </a:lnTo>
                      <a:lnTo>
                        <a:pt x="469" y="7"/>
                      </a:lnTo>
                      <a:lnTo>
                        <a:pt x="489" y="3"/>
                      </a:lnTo>
                      <a:lnTo>
                        <a:pt x="497" y="2"/>
                      </a:lnTo>
                      <a:lnTo>
                        <a:pt x="498" y="0"/>
                      </a:lnTo>
                      <a:lnTo>
                        <a:pt x="512" y="11"/>
                      </a:lnTo>
                      <a:lnTo>
                        <a:pt x="519" y="28"/>
                      </a:lnTo>
                      <a:lnTo>
                        <a:pt x="530" y="80"/>
                      </a:lnTo>
                      <a:lnTo>
                        <a:pt x="539" y="98"/>
                      </a:lnTo>
                      <a:lnTo>
                        <a:pt x="542" y="107"/>
                      </a:lnTo>
                      <a:lnTo>
                        <a:pt x="544" y="118"/>
                      </a:lnTo>
                      <a:lnTo>
                        <a:pt x="553" y="132"/>
                      </a:lnTo>
                      <a:lnTo>
                        <a:pt x="554" y="137"/>
                      </a:lnTo>
                      <a:lnTo>
                        <a:pt x="557" y="153"/>
                      </a:lnTo>
                      <a:lnTo>
                        <a:pt x="557" y="162"/>
                      </a:lnTo>
                      <a:lnTo>
                        <a:pt x="554" y="168"/>
                      </a:lnTo>
                      <a:lnTo>
                        <a:pt x="549" y="176"/>
                      </a:lnTo>
                      <a:lnTo>
                        <a:pt x="537" y="185"/>
                      </a:lnTo>
                      <a:lnTo>
                        <a:pt x="532" y="188"/>
                      </a:lnTo>
                      <a:lnTo>
                        <a:pt x="527" y="188"/>
                      </a:lnTo>
                      <a:lnTo>
                        <a:pt x="522" y="187"/>
                      </a:lnTo>
                      <a:lnTo>
                        <a:pt x="518" y="185"/>
                      </a:lnTo>
                      <a:lnTo>
                        <a:pt x="510" y="183"/>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47" name="Yamaguchi" descr="{&quot;Key&quot;:&quot;yamaguchi&quot;,&quot;Name&quot;:&quot;Yamaguchi&quot;,&quot;Value&quot;:1.0,&quot;Formula&quot;:&quot;&quot;,&quot;Text&quot;:&quot;&quot;,&quot;OfficeApplication&quot;:1,&quot;HasValue&quot;:true}">
                  <a:extLst>
                    <a:ext uri="{FF2B5EF4-FFF2-40B4-BE49-F238E27FC236}">
                      <a16:creationId xmlns:a16="http://schemas.microsoft.com/office/drawing/2014/main" id="{5EF6077D-0CB2-4FF7-B42E-E84DD6CCF4D2}"/>
                    </a:ext>
                  </a:extLst>
                </p:cNvPr>
                <p:cNvSpPr>
                  <a:spLocks noEditPoints="1"/>
                </p:cNvSpPr>
                <p:nvPr/>
              </p:nvSpPr>
              <p:spPr bwMode="auto">
                <a:xfrm>
                  <a:off x="4745038" y="3935413"/>
                  <a:ext cx="396875" cy="306387"/>
                </a:xfrm>
                <a:custGeom>
                  <a:avLst/>
                  <a:gdLst>
                    <a:gd name="T0" fmla="*/ 554 w 681"/>
                    <a:gd name="T1" fmla="*/ 500 h 525"/>
                    <a:gd name="T2" fmla="*/ 478 w 681"/>
                    <a:gd name="T3" fmla="*/ 487 h 525"/>
                    <a:gd name="T4" fmla="*/ 588 w 681"/>
                    <a:gd name="T5" fmla="*/ 498 h 525"/>
                    <a:gd name="T6" fmla="*/ 502 w 681"/>
                    <a:gd name="T7" fmla="*/ 459 h 525"/>
                    <a:gd name="T8" fmla="*/ 517 w 681"/>
                    <a:gd name="T9" fmla="*/ 449 h 525"/>
                    <a:gd name="T10" fmla="*/ 643 w 681"/>
                    <a:gd name="T11" fmla="*/ 425 h 525"/>
                    <a:gd name="T12" fmla="*/ 681 w 681"/>
                    <a:gd name="T13" fmla="*/ 415 h 525"/>
                    <a:gd name="T14" fmla="*/ 643 w 681"/>
                    <a:gd name="T15" fmla="*/ 462 h 525"/>
                    <a:gd name="T16" fmla="*/ 613 w 681"/>
                    <a:gd name="T17" fmla="*/ 442 h 525"/>
                    <a:gd name="T18" fmla="*/ 579 w 681"/>
                    <a:gd name="T19" fmla="*/ 455 h 525"/>
                    <a:gd name="T20" fmla="*/ 635 w 681"/>
                    <a:gd name="T21" fmla="*/ 415 h 525"/>
                    <a:gd name="T22" fmla="*/ 438 w 681"/>
                    <a:gd name="T23" fmla="*/ 395 h 525"/>
                    <a:gd name="T24" fmla="*/ 420 w 681"/>
                    <a:gd name="T25" fmla="*/ 418 h 525"/>
                    <a:gd name="T26" fmla="*/ 431 w 681"/>
                    <a:gd name="T27" fmla="*/ 408 h 525"/>
                    <a:gd name="T28" fmla="*/ 599 w 681"/>
                    <a:gd name="T29" fmla="*/ 380 h 525"/>
                    <a:gd name="T30" fmla="*/ 373 w 681"/>
                    <a:gd name="T31" fmla="*/ 377 h 525"/>
                    <a:gd name="T32" fmla="*/ 392 w 681"/>
                    <a:gd name="T33" fmla="*/ 370 h 525"/>
                    <a:gd name="T34" fmla="*/ 399 w 681"/>
                    <a:gd name="T35" fmla="*/ 364 h 525"/>
                    <a:gd name="T36" fmla="*/ 9 w 681"/>
                    <a:gd name="T37" fmla="*/ 334 h 525"/>
                    <a:gd name="T38" fmla="*/ 39 w 681"/>
                    <a:gd name="T39" fmla="*/ 213 h 525"/>
                    <a:gd name="T40" fmla="*/ 201 w 681"/>
                    <a:gd name="T41" fmla="*/ 132 h 525"/>
                    <a:gd name="T42" fmla="*/ 521 w 681"/>
                    <a:gd name="T43" fmla="*/ 210 h 525"/>
                    <a:gd name="T44" fmla="*/ 584 w 681"/>
                    <a:gd name="T45" fmla="*/ 321 h 525"/>
                    <a:gd name="T46" fmla="*/ 546 w 681"/>
                    <a:gd name="T47" fmla="*/ 415 h 525"/>
                    <a:gd name="T48" fmla="*/ 509 w 681"/>
                    <a:gd name="T49" fmla="*/ 494 h 525"/>
                    <a:gd name="T50" fmla="*/ 538 w 681"/>
                    <a:gd name="T51" fmla="*/ 460 h 525"/>
                    <a:gd name="T52" fmla="*/ 469 w 681"/>
                    <a:gd name="T53" fmla="*/ 409 h 525"/>
                    <a:gd name="T54" fmla="*/ 423 w 681"/>
                    <a:gd name="T55" fmla="*/ 403 h 525"/>
                    <a:gd name="T56" fmla="*/ 389 w 681"/>
                    <a:gd name="T57" fmla="*/ 358 h 525"/>
                    <a:gd name="T58" fmla="*/ 327 w 681"/>
                    <a:gd name="T59" fmla="*/ 373 h 525"/>
                    <a:gd name="T60" fmla="*/ 299 w 681"/>
                    <a:gd name="T61" fmla="*/ 381 h 525"/>
                    <a:gd name="T62" fmla="*/ 274 w 681"/>
                    <a:gd name="T63" fmla="*/ 385 h 525"/>
                    <a:gd name="T64" fmla="*/ 249 w 681"/>
                    <a:gd name="T65" fmla="*/ 393 h 525"/>
                    <a:gd name="T66" fmla="*/ 200 w 681"/>
                    <a:gd name="T67" fmla="*/ 421 h 525"/>
                    <a:gd name="T68" fmla="*/ 171 w 681"/>
                    <a:gd name="T69" fmla="*/ 413 h 525"/>
                    <a:gd name="T70" fmla="*/ 158 w 681"/>
                    <a:gd name="T71" fmla="*/ 396 h 525"/>
                    <a:gd name="T72" fmla="*/ 61 w 681"/>
                    <a:gd name="T73" fmla="*/ 423 h 525"/>
                    <a:gd name="T74" fmla="*/ 58 w 681"/>
                    <a:gd name="T75" fmla="*/ 380 h 525"/>
                    <a:gd name="T76" fmla="*/ 35 w 681"/>
                    <a:gd name="T77" fmla="*/ 330 h 525"/>
                    <a:gd name="T78" fmla="*/ 55 w 681"/>
                    <a:gd name="T79" fmla="*/ 277 h 525"/>
                    <a:gd name="T80" fmla="*/ 48 w 681"/>
                    <a:gd name="T81" fmla="*/ 219 h 525"/>
                    <a:gd name="T82" fmla="*/ 104 w 681"/>
                    <a:gd name="T83" fmla="*/ 200 h 525"/>
                    <a:gd name="T84" fmla="*/ 74 w 681"/>
                    <a:gd name="T85" fmla="*/ 178 h 525"/>
                    <a:gd name="T86" fmla="*/ 115 w 681"/>
                    <a:gd name="T87" fmla="*/ 180 h 525"/>
                    <a:gd name="T88" fmla="*/ 168 w 681"/>
                    <a:gd name="T89" fmla="*/ 194 h 525"/>
                    <a:gd name="T90" fmla="*/ 204 w 681"/>
                    <a:gd name="T91" fmla="*/ 188 h 525"/>
                    <a:gd name="T92" fmla="*/ 178 w 681"/>
                    <a:gd name="T93" fmla="*/ 204 h 525"/>
                    <a:gd name="T94" fmla="*/ 261 w 681"/>
                    <a:gd name="T95" fmla="*/ 159 h 525"/>
                    <a:gd name="T96" fmla="*/ 314 w 681"/>
                    <a:gd name="T97" fmla="*/ 98 h 525"/>
                    <a:gd name="T98" fmla="*/ 344 w 681"/>
                    <a:gd name="T99" fmla="*/ 64 h 525"/>
                    <a:gd name="T100" fmla="*/ 374 w 681"/>
                    <a:gd name="T101" fmla="*/ 103 h 525"/>
                    <a:gd name="T102" fmla="*/ 365 w 681"/>
                    <a:gd name="T103" fmla="*/ 164 h 525"/>
                    <a:gd name="T104" fmla="*/ 393 w 681"/>
                    <a:gd name="T105" fmla="*/ 209 h 525"/>
                    <a:gd name="T106" fmla="*/ 451 w 681"/>
                    <a:gd name="T107" fmla="*/ 231 h 525"/>
                    <a:gd name="T108" fmla="*/ 490 w 681"/>
                    <a:gd name="T109" fmla="*/ 214 h 525"/>
                    <a:gd name="T110" fmla="*/ 145 w 681"/>
                    <a:gd name="T111" fmla="*/ 14 h 525"/>
                    <a:gd name="T112" fmla="*/ 154 w 681"/>
                    <a:gd name="T113" fmla="*/ 14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1" h="525">
                      <a:moveTo>
                        <a:pt x="554" y="518"/>
                      </a:moveTo>
                      <a:lnTo>
                        <a:pt x="545" y="525"/>
                      </a:lnTo>
                      <a:lnTo>
                        <a:pt x="544" y="520"/>
                      </a:lnTo>
                      <a:lnTo>
                        <a:pt x="548" y="517"/>
                      </a:lnTo>
                      <a:lnTo>
                        <a:pt x="550" y="512"/>
                      </a:lnTo>
                      <a:lnTo>
                        <a:pt x="549" y="512"/>
                      </a:lnTo>
                      <a:lnTo>
                        <a:pt x="549" y="508"/>
                      </a:lnTo>
                      <a:lnTo>
                        <a:pt x="553" y="500"/>
                      </a:lnTo>
                      <a:lnTo>
                        <a:pt x="554" y="500"/>
                      </a:lnTo>
                      <a:lnTo>
                        <a:pt x="552" y="504"/>
                      </a:lnTo>
                      <a:lnTo>
                        <a:pt x="554" y="508"/>
                      </a:lnTo>
                      <a:lnTo>
                        <a:pt x="552" y="512"/>
                      </a:lnTo>
                      <a:lnTo>
                        <a:pt x="554" y="518"/>
                      </a:lnTo>
                      <a:close/>
                      <a:moveTo>
                        <a:pt x="481" y="497"/>
                      </a:moveTo>
                      <a:lnTo>
                        <a:pt x="475" y="497"/>
                      </a:lnTo>
                      <a:lnTo>
                        <a:pt x="473" y="495"/>
                      </a:lnTo>
                      <a:lnTo>
                        <a:pt x="470" y="493"/>
                      </a:lnTo>
                      <a:lnTo>
                        <a:pt x="478" y="487"/>
                      </a:lnTo>
                      <a:lnTo>
                        <a:pt x="483" y="484"/>
                      </a:lnTo>
                      <a:lnTo>
                        <a:pt x="488" y="489"/>
                      </a:lnTo>
                      <a:lnTo>
                        <a:pt x="486" y="493"/>
                      </a:lnTo>
                      <a:lnTo>
                        <a:pt x="481" y="497"/>
                      </a:lnTo>
                      <a:close/>
                      <a:moveTo>
                        <a:pt x="594" y="489"/>
                      </a:moveTo>
                      <a:lnTo>
                        <a:pt x="603" y="495"/>
                      </a:lnTo>
                      <a:lnTo>
                        <a:pt x="603" y="498"/>
                      </a:lnTo>
                      <a:lnTo>
                        <a:pt x="596" y="499"/>
                      </a:lnTo>
                      <a:lnTo>
                        <a:pt x="588" y="498"/>
                      </a:lnTo>
                      <a:lnTo>
                        <a:pt x="575" y="492"/>
                      </a:lnTo>
                      <a:lnTo>
                        <a:pt x="568" y="492"/>
                      </a:lnTo>
                      <a:lnTo>
                        <a:pt x="571" y="485"/>
                      </a:lnTo>
                      <a:lnTo>
                        <a:pt x="576" y="483"/>
                      </a:lnTo>
                      <a:lnTo>
                        <a:pt x="583" y="483"/>
                      </a:lnTo>
                      <a:lnTo>
                        <a:pt x="590" y="485"/>
                      </a:lnTo>
                      <a:lnTo>
                        <a:pt x="594" y="489"/>
                      </a:lnTo>
                      <a:close/>
                      <a:moveTo>
                        <a:pt x="500" y="453"/>
                      </a:moveTo>
                      <a:lnTo>
                        <a:pt x="502" y="459"/>
                      </a:lnTo>
                      <a:lnTo>
                        <a:pt x="494" y="457"/>
                      </a:lnTo>
                      <a:lnTo>
                        <a:pt x="493" y="454"/>
                      </a:lnTo>
                      <a:lnTo>
                        <a:pt x="496" y="455"/>
                      </a:lnTo>
                      <a:lnTo>
                        <a:pt x="498" y="450"/>
                      </a:lnTo>
                      <a:lnTo>
                        <a:pt x="499" y="450"/>
                      </a:lnTo>
                      <a:lnTo>
                        <a:pt x="500" y="453"/>
                      </a:lnTo>
                      <a:close/>
                      <a:moveTo>
                        <a:pt x="520" y="450"/>
                      </a:moveTo>
                      <a:lnTo>
                        <a:pt x="519" y="452"/>
                      </a:lnTo>
                      <a:lnTo>
                        <a:pt x="517" y="449"/>
                      </a:lnTo>
                      <a:lnTo>
                        <a:pt x="515" y="445"/>
                      </a:lnTo>
                      <a:lnTo>
                        <a:pt x="518" y="443"/>
                      </a:lnTo>
                      <a:lnTo>
                        <a:pt x="519" y="444"/>
                      </a:lnTo>
                      <a:lnTo>
                        <a:pt x="520" y="450"/>
                      </a:lnTo>
                      <a:close/>
                      <a:moveTo>
                        <a:pt x="613" y="419"/>
                      </a:moveTo>
                      <a:lnTo>
                        <a:pt x="624" y="435"/>
                      </a:lnTo>
                      <a:lnTo>
                        <a:pt x="629" y="435"/>
                      </a:lnTo>
                      <a:lnTo>
                        <a:pt x="634" y="433"/>
                      </a:lnTo>
                      <a:lnTo>
                        <a:pt x="643" y="425"/>
                      </a:lnTo>
                      <a:lnTo>
                        <a:pt x="645" y="425"/>
                      </a:lnTo>
                      <a:lnTo>
                        <a:pt x="651" y="427"/>
                      </a:lnTo>
                      <a:lnTo>
                        <a:pt x="654" y="425"/>
                      </a:lnTo>
                      <a:lnTo>
                        <a:pt x="656" y="423"/>
                      </a:lnTo>
                      <a:lnTo>
                        <a:pt x="658" y="418"/>
                      </a:lnTo>
                      <a:lnTo>
                        <a:pt x="659" y="415"/>
                      </a:lnTo>
                      <a:lnTo>
                        <a:pt x="664" y="414"/>
                      </a:lnTo>
                      <a:lnTo>
                        <a:pt x="675" y="415"/>
                      </a:lnTo>
                      <a:lnTo>
                        <a:pt x="681" y="415"/>
                      </a:lnTo>
                      <a:lnTo>
                        <a:pt x="676" y="420"/>
                      </a:lnTo>
                      <a:lnTo>
                        <a:pt x="668" y="433"/>
                      </a:lnTo>
                      <a:lnTo>
                        <a:pt x="665" y="433"/>
                      </a:lnTo>
                      <a:lnTo>
                        <a:pt x="661" y="432"/>
                      </a:lnTo>
                      <a:lnTo>
                        <a:pt x="651" y="434"/>
                      </a:lnTo>
                      <a:lnTo>
                        <a:pt x="648" y="437"/>
                      </a:lnTo>
                      <a:lnTo>
                        <a:pt x="645" y="440"/>
                      </a:lnTo>
                      <a:lnTo>
                        <a:pt x="645" y="453"/>
                      </a:lnTo>
                      <a:lnTo>
                        <a:pt x="643" y="462"/>
                      </a:lnTo>
                      <a:lnTo>
                        <a:pt x="638" y="460"/>
                      </a:lnTo>
                      <a:lnTo>
                        <a:pt x="629" y="460"/>
                      </a:lnTo>
                      <a:lnTo>
                        <a:pt x="626" y="459"/>
                      </a:lnTo>
                      <a:lnTo>
                        <a:pt x="624" y="455"/>
                      </a:lnTo>
                      <a:lnTo>
                        <a:pt x="625" y="450"/>
                      </a:lnTo>
                      <a:lnTo>
                        <a:pt x="625" y="446"/>
                      </a:lnTo>
                      <a:lnTo>
                        <a:pt x="620" y="442"/>
                      </a:lnTo>
                      <a:lnTo>
                        <a:pt x="618" y="445"/>
                      </a:lnTo>
                      <a:lnTo>
                        <a:pt x="613" y="442"/>
                      </a:lnTo>
                      <a:lnTo>
                        <a:pt x="610" y="444"/>
                      </a:lnTo>
                      <a:lnTo>
                        <a:pt x="609" y="449"/>
                      </a:lnTo>
                      <a:lnTo>
                        <a:pt x="607" y="453"/>
                      </a:lnTo>
                      <a:lnTo>
                        <a:pt x="602" y="453"/>
                      </a:lnTo>
                      <a:lnTo>
                        <a:pt x="595" y="450"/>
                      </a:lnTo>
                      <a:lnTo>
                        <a:pt x="590" y="453"/>
                      </a:lnTo>
                      <a:lnTo>
                        <a:pt x="588" y="449"/>
                      </a:lnTo>
                      <a:lnTo>
                        <a:pt x="585" y="451"/>
                      </a:lnTo>
                      <a:lnTo>
                        <a:pt x="579" y="455"/>
                      </a:lnTo>
                      <a:lnTo>
                        <a:pt x="577" y="446"/>
                      </a:lnTo>
                      <a:lnTo>
                        <a:pt x="570" y="435"/>
                      </a:lnTo>
                      <a:lnTo>
                        <a:pt x="568" y="424"/>
                      </a:lnTo>
                      <a:lnTo>
                        <a:pt x="574" y="413"/>
                      </a:lnTo>
                      <a:lnTo>
                        <a:pt x="584" y="408"/>
                      </a:lnTo>
                      <a:lnTo>
                        <a:pt x="594" y="409"/>
                      </a:lnTo>
                      <a:lnTo>
                        <a:pt x="605" y="414"/>
                      </a:lnTo>
                      <a:lnTo>
                        <a:pt x="613" y="419"/>
                      </a:lnTo>
                      <a:close/>
                      <a:moveTo>
                        <a:pt x="635" y="415"/>
                      </a:moveTo>
                      <a:lnTo>
                        <a:pt x="634" y="415"/>
                      </a:lnTo>
                      <a:lnTo>
                        <a:pt x="629" y="412"/>
                      </a:lnTo>
                      <a:lnTo>
                        <a:pt x="629" y="409"/>
                      </a:lnTo>
                      <a:lnTo>
                        <a:pt x="630" y="405"/>
                      </a:lnTo>
                      <a:lnTo>
                        <a:pt x="633" y="405"/>
                      </a:lnTo>
                      <a:lnTo>
                        <a:pt x="635" y="409"/>
                      </a:lnTo>
                      <a:lnTo>
                        <a:pt x="635" y="415"/>
                      </a:lnTo>
                      <a:close/>
                      <a:moveTo>
                        <a:pt x="437" y="390"/>
                      </a:moveTo>
                      <a:lnTo>
                        <a:pt x="438" y="395"/>
                      </a:lnTo>
                      <a:lnTo>
                        <a:pt x="440" y="394"/>
                      </a:lnTo>
                      <a:lnTo>
                        <a:pt x="443" y="399"/>
                      </a:lnTo>
                      <a:lnTo>
                        <a:pt x="440" y="400"/>
                      </a:lnTo>
                      <a:lnTo>
                        <a:pt x="437" y="405"/>
                      </a:lnTo>
                      <a:lnTo>
                        <a:pt x="435" y="410"/>
                      </a:lnTo>
                      <a:lnTo>
                        <a:pt x="431" y="411"/>
                      </a:lnTo>
                      <a:lnTo>
                        <a:pt x="427" y="418"/>
                      </a:lnTo>
                      <a:lnTo>
                        <a:pt x="422" y="419"/>
                      </a:lnTo>
                      <a:lnTo>
                        <a:pt x="420" y="418"/>
                      </a:lnTo>
                      <a:lnTo>
                        <a:pt x="415" y="414"/>
                      </a:lnTo>
                      <a:lnTo>
                        <a:pt x="415" y="410"/>
                      </a:lnTo>
                      <a:lnTo>
                        <a:pt x="418" y="406"/>
                      </a:lnTo>
                      <a:lnTo>
                        <a:pt x="420" y="410"/>
                      </a:lnTo>
                      <a:lnTo>
                        <a:pt x="423" y="410"/>
                      </a:lnTo>
                      <a:lnTo>
                        <a:pt x="425" y="410"/>
                      </a:lnTo>
                      <a:lnTo>
                        <a:pt x="425" y="406"/>
                      </a:lnTo>
                      <a:lnTo>
                        <a:pt x="429" y="406"/>
                      </a:lnTo>
                      <a:lnTo>
                        <a:pt x="431" y="408"/>
                      </a:lnTo>
                      <a:lnTo>
                        <a:pt x="431" y="405"/>
                      </a:lnTo>
                      <a:lnTo>
                        <a:pt x="431" y="401"/>
                      </a:lnTo>
                      <a:lnTo>
                        <a:pt x="429" y="400"/>
                      </a:lnTo>
                      <a:lnTo>
                        <a:pt x="434" y="398"/>
                      </a:lnTo>
                      <a:lnTo>
                        <a:pt x="437" y="390"/>
                      </a:lnTo>
                      <a:close/>
                      <a:moveTo>
                        <a:pt x="602" y="385"/>
                      </a:moveTo>
                      <a:lnTo>
                        <a:pt x="599" y="387"/>
                      </a:lnTo>
                      <a:lnTo>
                        <a:pt x="598" y="385"/>
                      </a:lnTo>
                      <a:lnTo>
                        <a:pt x="599" y="380"/>
                      </a:lnTo>
                      <a:lnTo>
                        <a:pt x="602" y="385"/>
                      </a:lnTo>
                      <a:close/>
                      <a:moveTo>
                        <a:pt x="385" y="392"/>
                      </a:moveTo>
                      <a:lnTo>
                        <a:pt x="381" y="395"/>
                      </a:lnTo>
                      <a:lnTo>
                        <a:pt x="380" y="392"/>
                      </a:lnTo>
                      <a:lnTo>
                        <a:pt x="376" y="389"/>
                      </a:lnTo>
                      <a:lnTo>
                        <a:pt x="375" y="387"/>
                      </a:lnTo>
                      <a:lnTo>
                        <a:pt x="373" y="385"/>
                      </a:lnTo>
                      <a:lnTo>
                        <a:pt x="369" y="382"/>
                      </a:lnTo>
                      <a:lnTo>
                        <a:pt x="373" y="377"/>
                      </a:lnTo>
                      <a:lnTo>
                        <a:pt x="373" y="372"/>
                      </a:lnTo>
                      <a:lnTo>
                        <a:pt x="375" y="372"/>
                      </a:lnTo>
                      <a:lnTo>
                        <a:pt x="376" y="378"/>
                      </a:lnTo>
                      <a:lnTo>
                        <a:pt x="376" y="383"/>
                      </a:lnTo>
                      <a:lnTo>
                        <a:pt x="380" y="389"/>
                      </a:lnTo>
                      <a:lnTo>
                        <a:pt x="385" y="392"/>
                      </a:lnTo>
                      <a:close/>
                      <a:moveTo>
                        <a:pt x="396" y="367"/>
                      </a:moveTo>
                      <a:lnTo>
                        <a:pt x="394" y="370"/>
                      </a:lnTo>
                      <a:lnTo>
                        <a:pt x="392" y="370"/>
                      </a:lnTo>
                      <a:lnTo>
                        <a:pt x="390" y="373"/>
                      </a:lnTo>
                      <a:lnTo>
                        <a:pt x="386" y="374"/>
                      </a:lnTo>
                      <a:lnTo>
                        <a:pt x="381" y="369"/>
                      </a:lnTo>
                      <a:lnTo>
                        <a:pt x="383" y="368"/>
                      </a:lnTo>
                      <a:lnTo>
                        <a:pt x="388" y="365"/>
                      </a:lnTo>
                      <a:lnTo>
                        <a:pt x="393" y="368"/>
                      </a:lnTo>
                      <a:lnTo>
                        <a:pt x="395" y="363"/>
                      </a:lnTo>
                      <a:lnTo>
                        <a:pt x="396" y="363"/>
                      </a:lnTo>
                      <a:lnTo>
                        <a:pt x="399" y="364"/>
                      </a:lnTo>
                      <a:lnTo>
                        <a:pt x="396" y="367"/>
                      </a:lnTo>
                      <a:close/>
                      <a:moveTo>
                        <a:pt x="9" y="334"/>
                      </a:moveTo>
                      <a:lnTo>
                        <a:pt x="8" y="338"/>
                      </a:lnTo>
                      <a:lnTo>
                        <a:pt x="4" y="337"/>
                      </a:lnTo>
                      <a:lnTo>
                        <a:pt x="1" y="335"/>
                      </a:lnTo>
                      <a:lnTo>
                        <a:pt x="0" y="329"/>
                      </a:lnTo>
                      <a:lnTo>
                        <a:pt x="3" y="330"/>
                      </a:lnTo>
                      <a:lnTo>
                        <a:pt x="9" y="333"/>
                      </a:lnTo>
                      <a:lnTo>
                        <a:pt x="9" y="334"/>
                      </a:lnTo>
                      <a:close/>
                      <a:moveTo>
                        <a:pt x="31" y="217"/>
                      </a:moveTo>
                      <a:lnTo>
                        <a:pt x="29" y="219"/>
                      </a:lnTo>
                      <a:lnTo>
                        <a:pt x="25" y="214"/>
                      </a:lnTo>
                      <a:lnTo>
                        <a:pt x="31" y="213"/>
                      </a:lnTo>
                      <a:lnTo>
                        <a:pt x="38" y="207"/>
                      </a:lnTo>
                      <a:lnTo>
                        <a:pt x="37" y="203"/>
                      </a:lnTo>
                      <a:lnTo>
                        <a:pt x="42" y="205"/>
                      </a:lnTo>
                      <a:lnTo>
                        <a:pt x="43" y="208"/>
                      </a:lnTo>
                      <a:lnTo>
                        <a:pt x="39" y="213"/>
                      </a:lnTo>
                      <a:lnTo>
                        <a:pt x="33" y="214"/>
                      </a:lnTo>
                      <a:lnTo>
                        <a:pt x="31" y="217"/>
                      </a:lnTo>
                      <a:close/>
                      <a:moveTo>
                        <a:pt x="259" y="143"/>
                      </a:moveTo>
                      <a:lnTo>
                        <a:pt x="254" y="147"/>
                      </a:lnTo>
                      <a:lnTo>
                        <a:pt x="252" y="139"/>
                      </a:lnTo>
                      <a:lnTo>
                        <a:pt x="256" y="135"/>
                      </a:lnTo>
                      <a:lnTo>
                        <a:pt x="256" y="138"/>
                      </a:lnTo>
                      <a:lnTo>
                        <a:pt x="259" y="143"/>
                      </a:lnTo>
                      <a:close/>
                      <a:moveTo>
                        <a:pt x="201" y="132"/>
                      </a:moveTo>
                      <a:lnTo>
                        <a:pt x="205" y="135"/>
                      </a:lnTo>
                      <a:lnTo>
                        <a:pt x="206" y="134"/>
                      </a:lnTo>
                      <a:lnTo>
                        <a:pt x="209" y="138"/>
                      </a:lnTo>
                      <a:lnTo>
                        <a:pt x="208" y="139"/>
                      </a:lnTo>
                      <a:lnTo>
                        <a:pt x="201" y="143"/>
                      </a:lnTo>
                      <a:lnTo>
                        <a:pt x="201" y="132"/>
                      </a:lnTo>
                      <a:close/>
                      <a:moveTo>
                        <a:pt x="513" y="163"/>
                      </a:moveTo>
                      <a:lnTo>
                        <a:pt x="518" y="174"/>
                      </a:lnTo>
                      <a:lnTo>
                        <a:pt x="521" y="210"/>
                      </a:lnTo>
                      <a:lnTo>
                        <a:pt x="544" y="265"/>
                      </a:lnTo>
                      <a:lnTo>
                        <a:pt x="550" y="274"/>
                      </a:lnTo>
                      <a:lnTo>
                        <a:pt x="556" y="279"/>
                      </a:lnTo>
                      <a:lnTo>
                        <a:pt x="561" y="280"/>
                      </a:lnTo>
                      <a:lnTo>
                        <a:pt x="573" y="288"/>
                      </a:lnTo>
                      <a:lnTo>
                        <a:pt x="589" y="293"/>
                      </a:lnTo>
                      <a:lnTo>
                        <a:pt x="590" y="304"/>
                      </a:lnTo>
                      <a:lnTo>
                        <a:pt x="589" y="317"/>
                      </a:lnTo>
                      <a:lnTo>
                        <a:pt x="584" y="321"/>
                      </a:lnTo>
                      <a:lnTo>
                        <a:pt x="579" y="325"/>
                      </a:lnTo>
                      <a:lnTo>
                        <a:pt x="574" y="333"/>
                      </a:lnTo>
                      <a:lnTo>
                        <a:pt x="573" y="354"/>
                      </a:lnTo>
                      <a:lnTo>
                        <a:pt x="578" y="373"/>
                      </a:lnTo>
                      <a:lnTo>
                        <a:pt x="578" y="390"/>
                      </a:lnTo>
                      <a:lnTo>
                        <a:pt x="565" y="407"/>
                      </a:lnTo>
                      <a:lnTo>
                        <a:pt x="555" y="410"/>
                      </a:lnTo>
                      <a:lnTo>
                        <a:pt x="550" y="412"/>
                      </a:lnTo>
                      <a:lnTo>
                        <a:pt x="546" y="415"/>
                      </a:lnTo>
                      <a:lnTo>
                        <a:pt x="546" y="428"/>
                      </a:lnTo>
                      <a:lnTo>
                        <a:pt x="549" y="437"/>
                      </a:lnTo>
                      <a:lnTo>
                        <a:pt x="556" y="454"/>
                      </a:lnTo>
                      <a:lnTo>
                        <a:pt x="558" y="462"/>
                      </a:lnTo>
                      <a:lnTo>
                        <a:pt x="553" y="468"/>
                      </a:lnTo>
                      <a:lnTo>
                        <a:pt x="535" y="478"/>
                      </a:lnTo>
                      <a:lnTo>
                        <a:pt x="523" y="489"/>
                      </a:lnTo>
                      <a:lnTo>
                        <a:pt x="515" y="493"/>
                      </a:lnTo>
                      <a:lnTo>
                        <a:pt x="509" y="494"/>
                      </a:lnTo>
                      <a:lnTo>
                        <a:pt x="510" y="485"/>
                      </a:lnTo>
                      <a:lnTo>
                        <a:pt x="519" y="479"/>
                      </a:lnTo>
                      <a:lnTo>
                        <a:pt x="520" y="477"/>
                      </a:lnTo>
                      <a:lnTo>
                        <a:pt x="523" y="469"/>
                      </a:lnTo>
                      <a:lnTo>
                        <a:pt x="524" y="465"/>
                      </a:lnTo>
                      <a:lnTo>
                        <a:pt x="528" y="470"/>
                      </a:lnTo>
                      <a:lnTo>
                        <a:pt x="533" y="470"/>
                      </a:lnTo>
                      <a:lnTo>
                        <a:pt x="537" y="468"/>
                      </a:lnTo>
                      <a:lnTo>
                        <a:pt x="538" y="460"/>
                      </a:lnTo>
                      <a:lnTo>
                        <a:pt x="537" y="452"/>
                      </a:lnTo>
                      <a:lnTo>
                        <a:pt x="533" y="448"/>
                      </a:lnTo>
                      <a:lnTo>
                        <a:pt x="528" y="444"/>
                      </a:lnTo>
                      <a:lnTo>
                        <a:pt x="523" y="440"/>
                      </a:lnTo>
                      <a:lnTo>
                        <a:pt x="515" y="436"/>
                      </a:lnTo>
                      <a:lnTo>
                        <a:pt x="490" y="428"/>
                      </a:lnTo>
                      <a:lnTo>
                        <a:pt x="482" y="425"/>
                      </a:lnTo>
                      <a:lnTo>
                        <a:pt x="479" y="424"/>
                      </a:lnTo>
                      <a:lnTo>
                        <a:pt x="469" y="409"/>
                      </a:lnTo>
                      <a:lnTo>
                        <a:pt x="465" y="407"/>
                      </a:lnTo>
                      <a:lnTo>
                        <a:pt x="454" y="402"/>
                      </a:lnTo>
                      <a:lnTo>
                        <a:pt x="450" y="399"/>
                      </a:lnTo>
                      <a:lnTo>
                        <a:pt x="440" y="392"/>
                      </a:lnTo>
                      <a:lnTo>
                        <a:pt x="433" y="387"/>
                      </a:lnTo>
                      <a:lnTo>
                        <a:pt x="425" y="388"/>
                      </a:lnTo>
                      <a:lnTo>
                        <a:pt x="418" y="399"/>
                      </a:lnTo>
                      <a:lnTo>
                        <a:pt x="423" y="399"/>
                      </a:lnTo>
                      <a:lnTo>
                        <a:pt x="423" y="403"/>
                      </a:lnTo>
                      <a:lnTo>
                        <a:pt x="409" y="403"/>
                      </a:lnTo>
                      <a:lnTo>
                        <a:pt x="404" y="400"/>
                      </a:lnTo>
                      <a:lnTo>
                        <a:pt x="403" y="393"/>
                      </a:lnTo>
                      <a:lnTo>
                        <a:pt x="415" y="383"/>
                      </a:lnTo>
                      <a:lnTo>
                        <a:pt x="421" y="375"/>
                      </a:lnTo>
                      <a:lnTo>
                        <a:pt x="421" y="373"/>
                      </a:lnTo>
                      <a:lnTo>
                        <a:pt x="418" y="371"/>
                      </a:lnTo>
                      <a:lnTo>
                        <a:pt x="411" y="367"/>
                      </a:lnTo>
                      <a:lnTo>
                        <a:pt x="389" y="358"/>
                      </a:lnTo>
                      <a:lnTo>
                        <a:pt x="374" y="364"/>
                      </a:lnTo>
                      <a:lnTo>
                        <a:pt x="368" y="363"/>
                      </a:lnTo>
                      <a:lnTo>
                        <a:pt x="363" y="367"/>
                      </a:lnTo>
                      <a:lnTo>
                        <a:pt x="350" y="371"/>
                      </a:lnTo>
                      <a:lnTo>
                        <a:pt x="345" y="373"/>
                      </a:lnTo>
                      <a:lnTo>
                        <a:pt x="334" y="373"/>
                      </a:lnTo>
                      <a:lnTo>
                        <a:pt x="331" y="368"/>
                      </a:lnTo>
                      <a:lnTo>
                        <a:pt x="329" y="368"/>
                      </a:lnTo>
                      <a:lnTo>
                        <a:pt x="327" y="373"/>
                      </a:lnTo>
                      <a:lnTo>
                        <a:pt x="329" y="378"/>
                      </a:lnTo>
                      <a:lnTo>
                        <a:pt x="330" y="384"/>
                      </a:lnTo>
                      <a:lnTo>
                        <a:pt x="329" y="389"/>
                      </a:lnTo>
                      <a:lnTo>
                        <a:pt x="323" y="393"/>
                      </a:lnTo>
                      <a:lnTo>
                        <a:pt x="319" y="391"/>
                      </a:lnTo>
                      <a:lnTo>
                        <a:pt x="317" y="383"/>
                      </a:lnTo>
                      <a:lnTo>
                        <a:pt x="314" y="383"/>
                      </a:lnTo>
                      <a:lnTo>
                        <a:pt x="313" y="385"/>
                      </a:lnTo>
                      <a:lnTo>
                        <a:pt x="299" y="381"/>
                      </a:lnTo>
                      <a:lnTo>
                        <a:pt x="296" y="379"/>
                      </a:lnTo>
                      <a:lnTo>
                        <a:pt x="289" y="371"/>
                      </a:lnTo>
                      <a:lnTo>
                        <a:pt x="285" y="370"/>
                      </a:lnTo>
                      <a:lnTo>
                        <a:pt x="279" y="373"/>
                      </a:lnTo>
                      <a:lnTo>
                        <a:pt x="281" y="376"/>
                      </a:lnTo>
                      <a:lnTo>
                        <a:pt x="281" y="379"/>
                      </a:lnTo>
                      <a:lnTo>
                        <a:pt x="279" y="383"/>
                      </a:lnTo>
                      <a:lnTo>
                        <a:pt x="278" y="383"/>
                      </a:lnTo>
                      <a:lnTo>
                        <a:pt x="274" y="385"/>
                      </a:lnTo>
                      <a:lnTo>
                        <a:pt x="271" y="394"/>
                      </a:lnTo>
                      <a:lnTo>
                        <a:pt x="268" y="395"/>
                      </a:lnTo>
                      <a:lnTo>
                        <a:pt x="265" y="395"/>
                      </a:lnTo>
                      <a:lnTo>
                        <a:pt x="263" y="393"/>
                      </a:lnTo>
                      <a:lnTo>
                        <a:pt x="260" y="385"/>
                      </a:lnTo>
                      <a:lnTo>
                        <a:pt x="258" y="390"/>
                      </a:lnTo>
                      <a:lnTo>
                        <a:pt x="255" y="394"/>
                      </a:lnTo>
                      <a:lnTo>
                        <a:pt x="253" y="394"/>
                      </a:lnTo>
                      <a:lnTo>
                        <a:pt x="249" y="393"/>
                      </a:lnTo>
                      <a:lnTo>
                        <a:pt x="253" y="385"/>
                      </a:lnTo>
                      <a:lnTo>
                        <a:pt x="254" y="376"/>
                      </a:lnTo>
                      <a:lnTo>
                        <a:pt x="252" y="369"/>
                      </a:lnTo>
                      <a:lnTo>
                        <a:pt x="248" y="366"/>
                      </a:lnTo>
                      <a:lnTo>
                        <a:pt x="245" y="369"/>
                      </a:lnTo>
                      <a:lnTo>
                        <a:pt x="234" y="390"/>
                      </a:lnTo>
                      <a:lnTo>
                        <a:pt x="224" y="404"/>
                      </a:lnTo>
                      <a:lnTo>
                        <a:pt x="220" y="408"/>
                      </a:lnTo>
                      <a:lnTo>
                        <a:pt x="200" y="421"/>
                      </a:lnTo>
                      <a:lnTo>
                        <a:pt x="194" y="421"/>
                      </a:lnTo>
                      <a:lnTo>
                        <a:pt x="192" y="415"/>
                      </a:lnTo>
                      <a:lnTo>
                        <a:pt x="188" y="418"/>
                      </a:lnTo>
                      <a:lnTo>
                        <a:pt x="185" y="418"/>
                      </a:lnTo>
                      <a:lnTo>
                        <a:pt x="181" y="416"/>
                      </a:lnTo>
                      <a:lnTo>
                        <a:pt x="180" y="414"/>
                      </a:lnTo>
                      <a:lnTo>
                        <a:pt x="179" y="409"/>
                      </a:lnTo>
                      <a:lnTo>
                        <a:pt x="178" y="409"/>
                      </a:lnTo>
                      <a:lnTo>
                        <a:pt x="171" y="413"/>
                      </a:lnTo>
                      <a:lnTo>
                        <a:pt x="169" y="415"/>
                      </a:lnTo>
                      <a:lnTo>
                        <a:pt x="166" y="418"/>
                      </a:lnTo>
                      <a:lnTo>
                        <a:pt x="163" y="419"/>
                      </a:lnTo>
                      <a:lnTo>
                        <a:pt x="160" y="418"/>
                      </a:lnTo>
                      <a:lnTo>
                        <a:pt x="159" y="414"/>
                      </a:lnTo>
                      <a:lnTo>
                        <a:pt x="155" y="408"/>
                      </a:lnTo>
                      <a:lnTo>
                        <a:pt x="155" y="403"/>
                      </a:lnTo>
                      <a:lnTo>
                        <a:pt x="158" y="399"/>
                      </a:lnTo>
                      <a:lnTo>
                        <a:pt x="158" y="396"/>
                      </a:lnTo>
                      <a:lnTo>
                        <a:pt x="154" y="395"/>
                      </a:lnTo>
                      <a:lnTo>
                        <a:pt x="140" y="385"/>
                      </a:lnTo>
                      <a:lnTo>
                        <a:pt x="133" y="370"/>
                      </a:lnTo>
                      <a:lnTo>
                        <a:pt x="120" y="368"/>
                      </a:lnTo>
                      <a:lnTo>
                        <a:pt x="105" y="363"/>
                      </a:lnTo>
                      <a:lnTo>
                        <a:pt x="96" y="378"/>
                      </a:lnTo>
                      <a:lnTo>
                        <a:pt x="78" y="399"/>
                      </a:lnTo>
                      <a:lnTo>
                        <a:pt x="64" y="411"/>
                      </a:lnTo>
                      <a:lnTo>
                        <a:pt x="61" y="423"/>
                      </a:lnTo>
                      <a:lnTo>
                        <a:pt x="56" y="426"/>
                      </a:lnTo>
                      <a:lnTo>
                        <a:pt x="50" y="423"/>
                      </a:lnTo>
                      <a:lnTo>
                        <a:pt x="48" y="418"/>
                      </a:lnTo>
                      <a:lnTo>
                        <a:pt x="43" y="415"/>
                      </a:lnTo>
                      <a:lnTo>
                        <a:pt x="43" y="409"/>
                      </a:lnTo>
                      <a:lnTo>
                        <a:pt x="50" y="410"/>
                      </a:lnTo>
                      <a:lnTo>
                        <a:pt x="54" y="398"/>
                      </a:lnTo>
                      <a:lnTo>
                        <a:pt x="54" y="393"/>
                      </a:lnTo>
                      <a:lnTo>
                        <a:pt x="58" y="380"/>
                      </a:lnTo>
                      <a:lnTo>
                        <a:pt x="55" y="375"/>
                      </a:lnTo>
                      <a:lnTo>
                        <a:pt x="53" y="371"/>
                      </a:lnTo>
                      <a:lnTo>
                        <a:pt x="55" y="359"/>
                      </a:lnTo>
                      <a:lnTo>
                        <a:pt x="53" y="354"/>
                      </a:lnTo>
                      <a:lnTo>
                        <a:pt x="42" y="353"/>
                      </a:lnTo>
                      <a:lnTo>
                        <a:pt x="40" y="348"/>
                      </a:lnTo>
                      <a:lnTo>
                        <a:pt x="38" y="341"/>
                      </a:lnTo>
                      <a:lnTo>
                        <a:pt x="35" y="336"/>
                      </a:lnTo>
                      <a:lnTo>
                        <a:pt x="35" y="330"/>
                      </a:lnTo>
                      <a:lnTo>
                        <a:pt x="40" y="323"/>
                      </a:lnTo>
                      <a:lnTo>
                        <a:pt x="45" y="318"/>
                      </a:lnTo>
                      <a:lnTo>
                        <a:pt x="50" y="315"/>
                      </a:lnTo>
                      <a:lnTo>
                        <a:pt x="55" y="310"/>
                      </a:lnTo>
                      <a:lnTo>
                        <a:pt x="59" y="303"/>
                      </a:lnTo>
                      <a:lnTo>
                        <a:pt x="60" y="296"/>
                      </a:lnTo>
                      <a:lnTo>
                        <a:pt x="59" y="292"/>
                      </a:lnTo>
                      <a:lnTo>
                        <a:pt x="56" y="289"/>
                      </a:lnTo>
                      <a:lnTo>
                        <a:pt x="55" y="277"/>
                      </a:lnTo>
                      <a:lnTo>
                        <a:pt x="49" y="267"/>
                      </a:lnTo>
                      <a:lnTo>
                        <a:pt x="48" y="259"/>
                      </a:lnTo>
                      <a:lnTo>
                        <a:pt x="41" y="254"/>
                      </a:lnTo>
                      <a:lnTo>
                        <a:pt x="39" y="250"/>
                      </a:lnTo>
                      <a:lnTo>
                        <a:pt x="40" y="246"/>
                      </a:lnTo>
                      <a:lnTo>
                        <a:pt x="43" y="243"/>
                      </a:lnTo>
                      <a:lnTo>
                        <a:pt x="45" y="239"/>
                      </a:lnTo>
                      <a:lnTo>
                        <a:pt x="46" y="224"/>
                      </a:lnTo>
                      <a:lnTo>
                        <a:pt x="48" y="219"/>
                      </a:lnTo>
                      <a:lnTo>
                        <a:pt x="50" y="213"/>
                      </a:lnTo>
                      <a:lnTo>
                        <a:pt x="55" y="215"/>
                      </a:lnTo>
                      <a:lnTo>
                        <a:pt x="61" y="217"/>
                      </a:lnTo>
                      <a:lnTo>
                        <a:pt x="68" y="215"/>
                      </a:lnTo>
                      <a:lnTo>
                        <a:pt x="70" y="211"/>
                      </a:lnTo>
                      <a:lnTo>
                        <a:pt x="73" y="210"/>
                      </a:lnTo>
                      <a:lnTo>
                        <a:pt x="89" y="206"/>
                      </a:lnTo>
                      <a:lnTo>
                        <a:pt x="95" y="203"/>
                      </a:lnTo>
                      <a:lnTo>
                        <a:pt x="104" y="200"/>
                      </a:lnTo>
                      <a:lnTo>
                        <a:pt x="98" y="194"/>
                      </a:lnTo>
                      <a:lnTo>
                        <a:pt x="93" y="194"/>
                      </a:lnTo>
                      <a:lnTo>
                        <a:pt x="76" y="191"/>
                      </a:lnTo>
                      <a:lnTo>
                        <a:pt x="73" y="189"/>
                      </a:lnTo>
                      <a:lnTo>
                        <a:pt x="69" y="195"/>
                      </a:lnTo>
                      <a:lnTo>
                        <a:pt x="64" y="193"/>
                      </a:lnTo>
                      <a:lnTo>
                        <a:pt x="66" y="188"/>
                      </a:lnTo>
                      <a:lnTo>
                        <a:pt x="70" y="182"/>
                      </a:lnTo>
                      <a:lnTo>
                        <a:pt x="74" y="178"/>
                      </a:lnTo>
                      <a:lnTo>
                        <a:pt x="81" y="171"/>
                      </a:lnTo>
                      <a:lnTo>
                        <a:pt x="86" y="174"/>
                      </a:lnTo>
                      <a:lnTo>
                        <a:pt x="91" y="178"/>
                      </a:lnTo>
                      <a:lnTo>
                        <a:pt x="91" y="184"/>
                      </a:lnTo>
                      <a:lnTo>
                        <a:pt x="95" y="186"/>
                      </a:lnTo>
                      <a:lnTo>
                        <a:pt x="100" y="186"/>
                      </a:lnTo>
                      <a:lnTo>
                        <a:pt x="105" y="185"/>
                      </a:lnTo>
                      <a:lnTo>
                        <a:pt x="111" y="184"/>
                      </a:lnTo>
                      <a:lnTo>
                        <a:pt x="115" y="180"/>
                      </a:lnTo>
                      <a:lnTo>
                        <a:pt x="120" y="179"/>
                      </a:lnTo>
                      <a:lnTo>
                        <a:pt x="130" y="184"/>
                      </a:lnTo>
                      <a:lnTo>
                        <a:pt x="138" y="186"/>
                      </a:lnTo>
                      <a:lnTo>
                        <a:pt x="144" y="185"/>
                      </a:lnTo>
                      <a:lnTo>
                        <a:pt x="148" y="201"/>
                      </a:lnTo>
                      <a:lnTo>
                        <a:pt x="153" y="206"/>
                      </a:lnTo>
                      <a:lnTo>
                        <a:pt x="160" y="206"/>
                      </a:lnTo>
                      <a:lnTo>
                        <a:pt x="163" y="201"/>
                      </a:lnTo>
                      <a:lnTo>
                        <a:pt x="168" y="194"/>
                      </a:lnTo>
                      <a:lnTo>
                        <a:pt x="160" y="186"/>
                      </a:lnTo>
                      <a:lnTo>
                        <a:pt x="159" y="183"/>
                      </a:lnTo>
                      <a:lnTo>
                        <a:pt x="159" y="176"/>
                      </a:lnTo>
                      <a:lnTo>
                        <a:pt x="168" y="179"/>
                      </a:lnTo>
                      <a:lnTo>
                        <a:pt x="174" y="176"/>
                      </a:lnTo>
                      <a:lnTo>
                        <a:pt x="185" y="175"/>
                      </a:lnTo>
                      <a:lnTo>
                        <a:pt x="193" y="173"/>
                      </a:lnTo>
                      <a:lnTo>
                        <a:pt x="196" y="178"/>
                      </a:lnTo>
                      <a:lnTo>
                        <a:pt x="204" y="188"/>
                      </a:lnTo>
                      <a:lnTo>
                        <a:pt x="198" y="186"/>
                      </a:lnTo>
                      <a:lnTo>
                        <a:pt x="191" y="181"/>
                      </a:lnTo>
                      <a:lnTo>
                        <a:pt x="188" y="180"/>
                      </a:lnTo>
                      <a:lnTo>
                        <a:pt x="183" y="183"/>
                      </a:lnTo>
                      <a:lnTo>
                        <a:pt x="180" y="186"/>
                      </a:lnTo>
                      <a:lnTo>
                        <a:pt x="178" y="193"/>
                      </a:lnTo>
                      <a:lnTo>
                        <a:pt x="175" y="199"/>
                      </a:lnTo>
                      <a:lnTo>
                        <a:pt x="175" y="206"/>
                      </a:lnTo>
                      <a:lnTo>
                        <a:pt x="178" y="204"/>
                      </a:lnTo>
                      <a:lnTo>
                        <a:pt x="183" y="200"/>
                      </a:lnTo>
                      <a:lnTo>
                        <a:pt x="185" y="200"/>
                      </a:lnTo>
                      <a:lnTo>
                        <a:pt x="205" y="199"/>
                      </a:lnTo>
                      <a:lnTo>
                        <a:pt x="220" y="194"/>
                      </a:lnTo>
                      <a:lnTo>
                        <a:pt x="225" y="183"/>
                      </a:lnTo>
                      <a:lnTo>
                        <a:pt x="238" y="184"/>
                      </a:lnTo>
                      <a:lnTo>
                        <a:pt x="258" y="179"/>
                      </a:lnTo>
                      <a:lnTo>
                        <a:pt x="256" y="165"/>
                      </a:lnTo>
                      <a:lnTo>
                        <a:pt x="261" y="159"/>
                      </a:lnTo>
                      <a:lnTo>
                        <a:pt x="274" y="146"/>
                      </a:lnTo>
                      <a:lnTo>
                        <a:pt x="276" y="143"/>
                      </a:lnTo>
                      <a:lnTo>
                        <a:pt x="274" y="133"/>
                      </a:lnTo>
                      <a:lnTo>
                        <a:pt x="276" y="130"/>
                      </a:lnTo>
                      <a:lnTo>
                        <a:pt x="285" y="129"/>
                      </a:lnTo>
                      <a:lnTo>
                        <a:pt x="300" y="116"/>
                      </a:lnTo>
                      <a:lnTo>
                        <a:pt x="306" y="110"/>
                      </a:lnTo>
                      <a:lnTo>
                        <a:pt x="313" y="103"/>
                      </a:lnTo>
                      <a:lnTo>
                        <a:pt x="314" y="98"/>
                      </a:lnTo>
                      <a:lnTo>
                        <a:pt x="315" y="86"/>
                      </a:lnTo>
                      <a:lnTo>
                        <a:pt x="318" y="84"/>
                      </a:lnTo>
                      <a:lnTo>
                        <a:pt x="326" y="84"/>
                      </a:lnTo>
                      <a:lnTo>
                        <a:pt x="330" y="85"/>
                      </a:lnTo>
                      <a:lnTo>
                        <a:pt x="329" y="81"/>
                      </a:lnTo>
                      <a:lnTo>
                        <a:pt x="329" y="73"/>
                      </a:lnTo>
                      <a:lnTo>
                        <a:pt x="330" y="64"/>
                      </a:lnTo>
                      <a:lnTo>
                        <a:pt x="338" y="61"/>
                      </a:lnTo>
                      <a:lnTo>
                        <a:pt x="344" y="64"/>
                      </a:lnTo>
                      <a:lnTo>
                        <a:pt x="354" y="68"/>
                      </a:lnTo>
                      <a:lnTo>
                        <a:pt x="360" y="63"/>
                      </a:lnTo>
                      <a:lnTo>
                        <a:pt x="363" y="58"/>
                      </a:lnTo>
                      <a:lnTo>
                        <a:pt x="364" y="63"/>
                      </a:lnTo>
                      <a:lnTo>
                        <a:pt x="364" y="69"/>
                      </a:lnTo>
                      <a:lnTo>
                        <a:pt x="364" y="74"/>
                      </a:lnTo>
                      <a:lnTo>
                        <a:pt x="365" y="81"/>
                      </a:lnTo>
                      <a:lnTo>
                        <a:pt x="366" y="85"/>
                      </a:lnTo>
                      <a:lnTo>
                        <a:pt x="374" y="103"/>
                      </a:lnTo>
                      <a:lnTo>
                        <a:pt x="374" y="108"/>
                      </a:lnTo>
                      <a:lnTo>
                        <a:pt x="371" y="111"/>
                      </a:lnTo>
                      <a:lnTo>
                        <a:pt x="369" y="115"/>
                      </a:lnTo>
                      <a:lnTo>
                        <a:pt x="364" y="130"/>
                      </a:lnTo>
                      <a:lnTo>
                        <a:pt x="359" y="138"/>
                      </a:lnTo>
                      <a:lnTo>
                        <a:pt x="359" y="144"/>
                      </a:lnTo>
                      <a:lnTo>
                        <a:pt x="360" y="153"/>
                      </a:lnTo>
                      <a:lnTo>
                        <a:pt x="364" y="158"/>
                      </a:lnTo>
                      <a:lnTo>
                        <a:pt x="365" y="164"/>
                      </a:lnTo>
                      <a:lnTo>
                        <a:pt x="364" y="168"/>
                      </a:lnTo>
                      <a:lnTo>
                        <a:pt x="365" y="173"/>
                      </a:lnTo>
                      <a:lnTo>
                        <a:pt x="370" y="176"/>
                      </a:lnTo>
                      <a:lnTo>
                        <a:pt x="399" y="183"/>
                      </a:lnTo>
                      <a:lnTo>
                        <a:pt x="402" y="186"/>
                      </a:lnTo>
                      <a:lnTo>
                        <a:pt x="402" y="189"/>
                      </a:lnTo>
                      <a:lnTo>
                        <a:pt x="394" y="200"/>
                      </a:lnTo>
                      <a:lnTo>
                        <a:pt x="393" y="204"/>
                      </a:lnTo>
                      <a:lnTo>
                        <a:pt x="393" y="209"/>
                      </a:lnTo>
                      <a:lnTo>
                        <a:pt x="394" y="214"/>
                      </a:lnTo>
                      <a:lnTo>
                        <a:pt x="395" y="221"/>
                      </a:lnTo>
                      <a:lnTo>
                        <a:pt x="398" y="228"/>
                      </a:lnTo>
                      <a:lnTo>
                        <a:pt x="400" y="233"/>
                      </a:lnTo>
                      <a:lnTo>
                        <a:pt x="405" y="236"/>
                      </a:lnTo>
                      <a:lnTo>
                        <a:pt x="410" y="239"/>
                      </a:lnTo>
                      <a:lnTo>
                        <a:pt x="418" y="240"/>
                      </a:lnTo>
                      <a:lnTo>
                        <a:pt x="430" y="238"/>
                      </a:lnTo>
                      <a:lnTo>
                        <a:pt x="451" y="231"/>
                      </a:lnTo>
                      <a:lnTo>
                        <a:pt x="455" y="230"/>
                      </a:lnTo>
                      <a:lnTo>
                        <a:pt x="460" y="231"/>
                      </a:lnTo>
                      <a:lnTo>
                        <a:pt x="465" y="236"/>
                      </a:lnTo>
                      <a:lnTo>
                        <a:pt x="468" y="238"/>
                      </a:lnTo>
                      <a:lnTo>
                        <a:pt x="471" y="236"/>
                      </a:lnTo>
                      <a:lnTo>
                        <a:pt x="473" y="231"/>
                      </a:lnTo>
                      <a:lnTo>
                        <a:pt x="476" y="223"/>
                      </a:lnTo>
                      <a:lnTo>
                        <a:pt x="479" y="219"/>
                      </a:lnTo>
                      <a:lnTo>
                        <a:pt x="490" y="214"/>
                      </a:lnTo>
                      <a:lnTo>
                        <a:pt x="494" y="209"/>
                      </a:lnTo>
                      <a:lnTo>
                        <a:pt x="493" y="204"/>
                      </a:lnTo>
                      <a:lnTo>
                        <a:pt x="489" y="198"/>
                      </a:lnTo>
                      <a:lnTo>
                        <a:pt x="488" y="190"/>
                      </a:lnTo>
                      <a:lnTo>
                        <a:pt x="489" y="184"/>
                      </a:lnTo>
                      <a:lnTo>
                        <a:pt x="513" y="163"/>
                      </a:lnTo>
                      <a:close/>
                      <a:moveTo>
                        <a:pt x="150" y="15"/>
                      </a:moveTo>
                      <a:lnTo>
                        <a:pt x="146" y="15"/>
                      </a:lnTo>
                      <a:lnTo>
                        <a:pt x="145" y="14"/>
                      </a:lnTo>
                      <a:lnTo>
                        <a:pt x="143" y="3"/>
                      </a:lnTo>
                      <a:lnTo>
                        <a:pt x="145" y="0"/>
                      </a:lnTo>
                      <a:lnTo>
                        <a:pt x="150" y="0"/>
                      </a:lnTo>
                      <a:lnTo>
                        <a:pt x="151" y="2"/>
                      </a:lnTo>
                      <a:lnTo>
                        <a:pt x="150" y="5"/>
                      </a:lnTo>
                      <a:lnTo>
                        <a:pt x="154" y="7"/>
                      </a:lnTo>
                      <a:lnTo>
                        <a:pt x="155" y="8"/>
                      </a:lnTo>
                      <a:lnTo>
                        <a:pt x="155" y="12"/>
                      </a:lnTo>
                      <a:lnTo>
                        <a:pt x="154" y="14"/>
                      </a:lnTo>
                      <a:lnTo>
                        <a:pt x="150" y="15"/>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48" name="Saga" descr="{&quot;Key&quot;:&quot;saga&quot;,&quot;Name&quot;:&quot;Saga&quot;,&quot;Value&quot;:1.0,&quot;Formula&quot;:&quot;&quot;,&quot;Text&quot;:&quot;&quot;,&quot;OfficeApplication&quot;:1,&quot;HasValue&quot;:true}">
                  <a:extLst>
                    <a:ext uri="{FF2B5EF4-FFF2-40B4-BE49-F238E27FC236}">
                      <a16:creationId xmlns:a16="http://schemas.microsoft.com/office/drawing/2014/main" id="{85602829-170A-4C55-B172-67D4E59C7C45}"/>
                    </a:ext>
                  </a:extLst>
                </p:cNvPr>
                <p:cNvSpPr>
                  <a:spLocks noEditPoints="1"/>
                </p:cNvSpPr>
                <p:nvPr/>
              </p:nvSpPr>
              <p:spPr bwMode="auto">
                <a:xfrm>
                  <a:off x="4502150" y="4267200"/>
                  <a:ext cx="185738" cy="190500"/>
                </a:xfrm>
                <a:custGeom>
                  <a:avLst/>
                  <a:gdLst>
                    <a:gd name="T0" fmla="*/ 91 w 320"/>
                    <a:gd name="T1" fmla="*/ 42 h 324"/>
                    <a:gd name="T2" fmla="*/ 96 w 320"/>
                    <a:gd name="T3" fmla="*/ 42 h 324"/>
                    <a:gd name="T4" fmla="*/ 154 w 320"/>
                    <a:gd name="T5" fmla="*/ 75 h 324"/>
                    <a:gd name="T6" fmla="*/ 198 w 320"/>
                    <a:gd name="T7" fmla="*/ 71 h 324"/>
                    <a:gd name="T8" fmla="*/ 221 w 320"/>
                    <a:gd name="T9" fmla="*/ 76 h 324"/>
                    <a:gd name="T10" fmla="*/ 258 w 320"/>
                    <a:gd name="T11" fmla="*/ 99 h 324"/>
                    <a:gd name="T12" fmla="*/ 276 w 320"/>
                    <a:gd name="T13" fmla="*/ 112 h 324"/>
                    <a:gd name="T14" fmla="*/ 300 w 320"/>
                    <a:gd name="T15" fmla="*/ 97 h 324"/>
                    <a:gd name="T16" fmla="*/ 316 w 320"/>
                    <a:gd name="T17" fmla="*/ 99 h 324"/>
                    <a:gd name="T18" fmla="*/ 320 w 320"/>
                    <a:gd name="T19" fmla="*/ 120 h 324"/>
                    <a:gd name="T20" fmla="*/ 313 w 320"/>
                    <a:gd name="T21" fmla="*/ 140 h 324"/>
                    <a:gd name="T22" fmla="*/ 300 w 320"/>
                    <a:gd name="T23" fmla="*/ 147 h 324"/>
                    <a:gd name="T24" fmla="*/ 291 w 320"/>
                    <a:gd name="T25" fmla="*/ 163 h 324"/>
                    <a:gd name="T26" fmla="*/ 275 w 320"/>
                    <a:gd name="T27" fmla="*/ 173 h 324"/>
                    <a:gd name="T28" fmla="*/ 259 w 320"/>
                    <a:gd name="T29" fmla="*/ 184 h 324"/>
                    <a:gd name="T30" fmla="*/ 252 w 320"/>
                    <a:gd name="T31" fmla="*/ 202 h 324"/>
                    <a:gd name="T32" fmla="*/ 244 w 320"/>
                    <a:gd name="T33" fmla="*/ 218 h 324"/>
                    <a:gd name="T34" fmla="*/ 240 w 320"/>
                    <a:gd name="T35" fmla="*/ 229 h 324"/>
                    <a:gd name="T36" fmla="*/ 209 w 320"/>
                    <a:gd name="T37" fmla="*/ 211 h 324"/>
                    <a:gd name="T38" fmla="*/ 176 w 320"/>
                    <a:gd name="T39" fmla="*/ 233 h 324"/>
                    <a:gd name="T40" fmla="*/ 157 w 320"/>
                    <a:gd name="T41" fmla="*/ 249 h 324"/>
                    <a:gd name="T42" fmla="*/ 187 w 320"/>
                    <a:gd name="T43" fmla="*/ 301 h 324"/>
                    <a:gd name="T44" fmla="*/ 187 w 320"/>
                    <a:gd name="T45" fmla="*/ 322 h 324"/>
                    <a:gd name="T46" fmla="*/ 129 w 320"/>
                    <a:gd name="T47" fmla="*/ 310 h 324"/>
                    <a:gd name="T48" fmla="*/ 104 w 320"/>
                    <a:gd name="T49" fmla="*/ 289 h 324"/>
                    <a:gd name="T50" fmla="*/ 71 w 320"/>
                    <a:gd name="T51" fmla="*/ 257 h 324"/>
                    <a:gd name="T52" fmla="*/ 79 w 320"/>
                    <a:gd name="T53" fmla="*/ 240 h 324"/>
                    <a:gd name="T54" fmla="*/ 67 w 320"/>
                    <a:gd name="T55" fmla="*/ 225 h 324"/>
                    <a:gd name="T56" fmla="*/ 31 w 320"/>
                    <a:gd name="T57" fmla="*/ 208 h 324"/>
                    <a:gd name="T58" fmla="*/ 24 w 320"/>
                    <a:gd name="T59" fmla="*/ 194 h 324"/>
                    <a:gd name="T60" fmla="*/ 7 w 320"/>
                    <a:gd name="T61" fmla="*/ 164 h 324"/>
                    <a:gd name="T62" fmla="*/ 29 w 320"/>
                    <a:gd name="T63" fmla="*/ 142 h 324"/>
                    <a:gd name="T64" fmla="*/ 35 w 320"/>
                    <a:gd name="T65" fmla="*/ 157 h 324"/>
                    <a:gd name="T66" fmla="*/ 41 w 320"/>
                    <a:gd name="T67" fmla="*/ 145 h 324"/>
                    <a:gd name="T68" fmla="*/ 54 w 320"/>
                    <a:gd name="T69" fmla="*/ 115 h 324"/>
                    <a:gd name="T70" fmla="*/ 31 w 320"/>
                    <a:gd name="T71" fmla="*/ 93 h 324"/>
                    <a:gd name="T72" fmla="*/ 24 w 320"/>
                    <a:gd name="T73" fmla="*/ 73 h 324"/>
                    <a:gd name="T74" fmla="*/ 39 w 320"/>
                    <a:gd name="T75" fmla="*/ 74 h 324"/>
                    <a:gd name="T76" fmla="*/ 50 w 320"/>
                    <a:gd name="T77" fmla="*/ 88 h 324"/>
                    <a:gd name="T78" fmla="*/ 42 w 320"/>
                    <a:gd name="T79" fmla="*/ 67 h 324"/>
                    <a:gd name="T80" fmla="*/ 46 w 320"/>
                    <a:gd name="T81" fmla="*/ 32 h 324"/>
                    <a:gd name="T82" fmla="*/ 69 w 320"/>
                    <a:gd name="T83" fmla="*/ 34 h 324"/>
                    <a:gd name="T84" fmla="*/ 87 w 320"/>
                    <a:gd name="T85" fmla="*/ 55 h 324"/>
                    <a:gd name="T86" fmla="*/ 86 w 320"/>
                    <a:gd name="T87" fmla="*/ 70 h 324"/>
                    <a:gd name="T88" fmla="*/ 91 w 320"/>
                    <a:gd name="T89" fmla="*/ 75 h 324"/>
                    <a:gd name="T90" fmla="*/ 111 w 320"/>
                    <a:gd name="T91" fmla="*/ 83 h 324"/>
                    <a:gd name="T92" fmla="*/ 61 w 320"/>
                    <a:gd name="T93" fmla="*/ 32 h 324"/>
                    <a:gd name="T94" fmla="*/ 54 w 320"/>
                    <a:gd name="T95" fmla="*/ 28 h 324"/>
                    <a:gd name="T96" fmla="*/ 61 w 320"/>
                    <a:gd name="T97" fmla="*/ 29 h 324"/>
                    <a:gd name="T98" fmla="*/ 13 w 320"/>
                    <a:gd name="T99" fmla="*/ 23 h 324"/>
                    <a:gd name="T100" fmla="*/ 0 w 320"/>
                    <a:gd name="T101" fmla="*/ 20 h 324"/>
                    <a:gd name="T102" fmla="*/ 10 w 320"/>
                    <a:gd name="T103" fmla="*/ 18 h 324"/>
                    <a:gd name="T104" fmla="*/ 44 w 320"/>
                    <a:gd name="T105" fmla="*/ 9 h 324"/>
                    <a:gd name="T106" fmla="*/ 46 w 320"/>
                    <a:gd name="T107" fmla="*/ 0 h 324"/>
                    <a:gd name="T108" fmla="*/ 51 w 320"/>
                    <a:gd name="T109" fmla="*/ 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0" h="324">
                      <a:moveTo>
                        <a:pt x="96" y="42"/>
                      </a:moveTo>
                      <a:lnTo>
                        <a:pt x="93" y="44"/>
                      </a:lnTo>
                      <a:lnTo>
                        <a:pt x="91" y="42"/>
                      </a:lnTo>
                      <a:lnTo>
                        <a:pt x="91" y="39"/>
                      </a:lnTo>
                      <a:lnTo>
                        <a:pt x="96" y="35"/>
                      </a:lnTo>
                      <a:lnTo>
                        <a:pt x="96" y="42"/>
                      </a:lnTo>
                      <a:close/>
                      <a:moveTo>
                        <a:pt x="120" y="78"/>
                      </a:moveTo>
                      <a:lnTo>
                        <a:pt x="141" y="76"/>
                      </a:lnTo>
                      <a:lnTo>
                        <a:pt x="154" y="75"/>
                      </a:lnTo>
                      <a:lnTo>
                        <a:pt x="171" y="75"/>
                      </a:lnTo>
                      <a:lnTo>
                        <a:pt x="190" y="73"/>
                      </a:lnTo>
                      <a:lnTo>
                        <a:pt x="198" y="71"/>
                      </a:lnTo>
                      <a:lnTo>
                        <a:pt x="209" y="73"/>
                      </a:lnTo>
                      <a:lnTo>
                        <a:pt x="215" y="74"/>
                      </a:lnTo>
                      <a:lnTo>
                        <a:pt x="221" y="76"/>
                      </a:lnTo>
                      <a:lnTo>
                        <a:pt x="246" y="93"/>
                      </a:lnTo>
                      <a:lnTo>
                        <a:pt x="253" y="95"/>
                      </a:lnTo>
                      <a:lnTo>
                        <a:pt x="258" y="99"/>
                      </a:lnTo>
                      <a:lnTo>
                        <a:pt x="266" y="108"/>
                      </a:lnTo>
                      <a:lnTo>
                        <a:pt x="271" y="112"/>
                      </a:lnTo>
                      <a:lnTo>
                        <a:pt x="276" y="112"/>
                      </a:lnTo>
                      <a:lnTo>
                        <a:pt x="285" y="104"/>
                      </a:lnTo>
                      <a:lnTo>
                        <a:pt x="289" y="101"/>
                      </a:lnTo>
                      <a:lnTo>
                        <a:pt x="300" y="97"/>
                      </a:lnTo>
                      <a:lnTo>
                        <a:pt x="309" y="94"/>
                      </a:lnTo>
                      <a:lnTo>
                        <a:pt x="314" y="95"/>
                      </a:lnTo>
                      <a:lnTo>
                        <a:pt x="316" y="99"/>
                      </a:lnTo>
                      <a:lnTo>
                        <a:pt x="318" y="100"/>
                      </a:lnTo>
                      <a:lnTo>
                        <a:pt x="320" y="117"/>
                      </a:lnTo>
                      <a:lnTo>
                        <a:pt x="320" y="120"/>
                      </a:lnTo>
                      <a:lnTo>
                        <a:pt x="319" y="135"/>
                      </a:lnTo>
                      <a:lnTo>
                        <a:pt x="316" y="139"/>
                      </a:lnTo>
                      <a:lnTo>
                        <a:pt x="313" y="140"/>
                      </a:lnTo>
                      <a:lnTo>
                        <a:pt x="309" y="140"/>
                      </a:lnTo>
                      <a:lnTo>
                        <a:pt x="304" y="143"/>
                      </a:lnTo>
                      <a:lnTo>
                        <a:pt x="300" y="147"/>
                      </a:lnTo>
                      <a:lnTo>
                        <a:pt x="297" y="152"/>
                      </a:lnTo>
                      <a:lnTo>
                        <a:pt x="294" y="159"/>
                      </a:lnTo>
                      <a:lnTo>
                        <a:pt x="291" y="163"/>
                      </a:lnTo>
                      <a:lnTo>
                        <a:pt x="287" y="170"/>
                      </a:lnTo>
                      <a:lnTo>
                        <a:pt x="284" y="173"/>
                      </a:lnTo>
                      <a:lnTo>
                        <a:pt x="275" y="173"/>
                      </a:lnTo>
                      <a:lnTo>
                        <a:pt x="267" y="179"/>
                      </a:lnTo>
                      <a:lnTo>
                        <a:pt x="262" y="180"/>
                      </a:lnTo>
                      <a:lnTo>
                        <a:pt x="259" y="184"/>
                      </a:lnTo>
                      <a:lnTo>
                        <a:pt x="255" y="189"/>
                      </a:lnTo>
                      <a:lnTo>
                        <a:pt x="254" y="198"/>
                      </a:lnTo>
                      <a:lnTo>
                        <a:pt x="252" y="202"/>
                      </a:lnTo>
                      <a:lnTo>
                        <a:pt x="247" y="207"/>
                      </a:lnTo>
                      <a:lnTo>
                        <a:pt x="244" y="212"/>
                      </a:lnTo>
                      <a:lnTo>
                        <a:pt x="244" y="218"/>
                      </a:lnTo>
                      <a:lnTo>
                        <a:pt x="244" y="223"/>
                      </a:lnTo>
                      <a:lnTo>
                        <a:pt x="245" y="229"/>
                      </a:lnTo>
                      <a:lnTo>
                        <a:pt x="240" y="229"/>
                      </a:lnTo>
                      <a:lnTo>
                        <a:pt x="231" y="226"/>
                      </a:lnTo>
                      <a:lnTo>
                        <a:pt x="221" y="225"/>
                      </a:lnTo>
                      <a:lnTo>
                        <a:pt x="209" y="211"/>
                      </a:lnTo>
                      <a:lnTo>
                        <a:pt x="202" y="208"/>
                      </a:lnTo>
                      <a:lnTo>
                        <a:pt x="192" y="222"/>
                      </a:lnTo>
                      <a:lnTo>
                        <a:pt x="176" y="233"/>
                      </a:lnTo>
                      <a:lnTo>
                        <a:pt x="165" y="244"/>
                      </a:lnTo>
                      <a:lnTo>
                        <a:pt x="156" y="239"/>
                      </a:lnTo>
                      <a:lnTo>
                        <a:pt x="157" y="249"/>
                      </a:lnTo>
                      <a:lnTo>
                        <a:pt x="164" y="256"/>
                      </a:lnTo>
                      <a:lnTo>
                        <a:pt x="170" y="272"/>
                      </a:lnTo>
                      <a:lnTo>
                        <a:pt x="187" y="301"/>
                      </a:lnTo>
                      <a:lnTo>
                        <a:pt x="194" y="309"/>
                      </a:lnTo>
                      <a:lnTo>
                        <a:pt x="192" y="319"/>
                      </a:lnTo>
                      <a:lnTo>
                        <a:pt x="187" y="322"/>
                      </a:lnTo>
                      <a:lnTo>
                        <a:pt x="187" y="324"/>
                      </a:lnTo>
                      <a:lnTo>
                        <a:pt x="146" y="317"/>
                      </a:lnTo>
                      <a:lnTo>
                        <a:pt x="129" y="310"/>
                      </a:lnTo>
                      <a:lnTo>
                        <a:pt x="117" y="304"/>
                      </a:lnTo>
                      <a:lnTo>
                        <a:pt x="111" y="298"/>
                      </a:lnTo>
                      <a:lnTo>
                        <a:pt x="104" y="289"/>
                      </a:lnTo>
                      <a:lnTo>
                        <a:pt x="75" y="264"/>
                      </a:lnTo>
                      <a:lnTo>
                        <a:pt x="71" y="260"/>
                      </a:lnTo>
                      <a:lnTo>
                        <a:pt x="71" y="257"/>
                      </a:lnTo>
                      <a:lnTo>
                        <a:pt x="77" y="250"/>
                      </a:lnTo>
                      <a:lnTo>
                        <a:pt x="79" y="247"/>
                      </a:lnTo>
                      <a:lnTo>
                        <a:pt x="79" y="240"/>
                      </a:lnTo>
                      <a:lnTo>
                        <a:pt x="77" y="234"/>
                      </a:lnTo>
                      <a:lnTo>
                        <a:pt x="72" y="228"/>
                      </a:lnTo>
                      <a:lnTo>
                        <a:pt x="67" y="225"/>
                      </a:lnTo>
                      <a:lnTo>
                        <a:pt x="50" y="220"/>
                      </a:lnTo>
                      <a:lnTo>
                        <a:pt x="36" y="214"/>
                      </a:lnTo>
                      <a:lnTo>
                        <a:pt x="31" y="208"/>
                      </a:lnTo>
                      <a:lnTo>
                        <a:pt x="27" y="203"/>
                      </a:lnTo>
                      <a:lnTo>
                        <a:pt x="26" y="199"/>
                      </a:lnTo>
                      <a:lnTo>
                        <a:pt x="24" y="194"/>
                      </a:lnTo>
                      <a:lnTo>
                        <a:pt x="11" y="174"/>
                      </a:lnTo>
                      <a:lnTo>
                        <a:pt x="9" y="169"/>
                      </a:lnTo>
                      <a:lnTo>
                        <a:pt x="7" y="164"/>
                      </a:lnTo>
                      <a:lnTo>
                        <a:pt x="10" y="159"/>
                      </a:lnTo>
                      <a:lnTo>
                        <a:pt x="22" y="145"/>
                      </a:lnTo>
                      <a:lnTo>
                        <a:pt x="29" y="142"/>
                      </a:lnTo>
                      <a:lnTo>
                        <a:pt x="30" y="139"/>
                      </a:lnTo>
                      <a:lnTo>
                        <a:pt x="32" y="152"/>
                      </a:lnTo>
                      <a:lnTo>
                        <a:pt x="35" y="157"/>
                      </a:lnTo>
                      <a:lnTo>
                        <a:pt x="40" y="160"/>
                      </a:lnTo>
                      <a:lnTo>
                        <a:pt x="45" y="163"/>
                      </a:lnTo>
                      <a:lnTo>
                        <a:pt x="41" y="145"/>
                      </a:lnTo>
                      <a:lnTo>
                        <a:pt x="44" y="130"/>
                      </a:lnTo>
                      <a:lnTo>
                        <a:pt x="49" y="122"/>
                      </a:lnTo>
                      <a:lnTo>
                        <a:pt x="54" y="115"/>
                      </a:lnTo>
                      <a:lnTo>
                        <a:pt x="50" y="110"/>
                      </a:lnTo>
                      <a:lnTo>
                        <a:pt x="52" y="107"/>
                      </a:lnTo>
                      <a:lnTo>
                        <a:pt x="31" y="93"/>
                      </a:lnTo>
                      <a:lnTo>
                        <a:pt x="24" y="84"/>
                      </a:lnTo>
                      <a:lnTo>
                        <a:pt x="20" y="79"/>
                      </a:lnTo>
                      <a:lnTo>
                        <a:pt x="24" y="73"/>
                      </a:lnTo>
                      <a:lnTo>
                        <a:pt x="26" y="67"/>
                      </a:lnTo>
                      <a:lnTo>
                        <a:pt x="32" y="65"/>
                      </a:lnTo>
                      <a:lnTo>
                        <a:pt x="39" y="74"/>
                      </a:lnTo>
                      <a:lnTo>
                        <a:pt x="41" y="79"/>
                      </a:lnTo>
                      <a:lnTo>
                        <a:pt x="44" y="85"/>
                      </a:lnTo>
                      <a:lnTo>
                        <a:pt x="50" y="88"/>
                      </a:lnTo>
                      <a:lnTo>
                        <a:pt x="54" y="85"/>
                      </a:lnTo>
                      <a:lnTo>
                        <a:pt x="51" y="78"/>
                      </a:lnTo>
                      <a:lnTo>
                        <a:pt x="42" y="67"/>
                      </a:lnTo>
                      <a:lnTo>
                        <a:pt x="40" y="50"/>
                      </a:lnTo>
                      <a:lnTo>
                        <a:pt x="46" y="42"/>
                      </a:lnTo>
                      <a:lnTo>
                        <a:pt x="46" y="32"/>
                      </a:lnTo>
                      <a:lnTo>
                        <a:pt x="52" y="38"/>
                      </a:lnTo>
                      <a:lnTo>
                        <a:pt x="59" y="40"/>
                      </a:lnTo>
                      <a:lnTo>
                        <a:pt x="69" y="34"/>
                      </a:lnTo>
                      <a:lnTo>
                        <a:pt x="81" y="42"/>
                      </a:lnTo>
                      <a:lnTo>
                        <a:pt x="90" y="52"/>
                      </a:lnTo>
                      <a:lnTo>
                        <a:pt x="87" y="55"/>
                      </a:lnTo>
                      <a:lnTo>
                        <a:pt x="82" y="62"/>
                      </a:lnTo>
                      <a:lnTo>
                        <a:pt x="81" y="67"/>
                      </a:lnTo>
                      <a:lnTo>
                        <a:pt x="86" y="70"/>
                      </a:lnTo>
                      <a:lnTo>
                        <a:pt x="90" y="65"/>
                      </a:lnTo>
                      <a:lnTo>
                        <a:pt x="91" y="70"/>
                      </a:lnTo>
                      <a:lnTo>
                        <a:pt x="91" y="75"/>
                      </a:lnTo>
                      <a:lnTo>
                        <a:pt x="95" y="79"/>
                      </a:lnTo>
                      <a:lnTo>
                        <a:pt x="100" y="82"/>
                      </a:lnTo>
                      <a:lnTo>
                        <a:pt x="111" y="83"/>
                      </a:lnTo>
                      <a:lnTo>
                        <a:pt x="116" y="82"/>
                      </a:lnTo>
                      <a:lnTo>
                        <a:pt x="120" y="78"/>
                      </a:lnTo>
                      <a:close/>
                      <a:moveTo>
                        <a:pt x="61" y="32"/>
                      </a:moveTo>
                      <a:lnTo>
                        <a:pt x="55" y="35"/>
                      </a:lnTo>
                      <a:lnTo>
                        <a:pt x="54" y="35"/>
                      </a:lnTo>
                      <a:lnTo>
                        <a:pt x="54" y="28"/>
                      </a:lnTo>
                      <a:lnTo>
                        <a:pt x="55" y="26"/>
                      </a:lnTo>
                      <a:lnTo>
                        <a:pt x="59" y="25"/>
                      </a:lnTo>
                      <a:lnTo>
                        <a:pt x="61" y="29"/>
                      </a:lnTo>
                      <a:lnTo>
                        <a:pt x="61" y="32"/>
                      </a:lnTo>
                      <a:close/>
                      <a:moveTo>
                        <a:pt x="10" y="18"/>
                      </a:moveTo>
                      <a:lnTo>
                        <a:pt x="13" y="23"/>
                      </a:lnTo>
                      <a:lnTo>
                        <a:pt x="8" y="26"/>
                      </a:lnTo>
                      <a:lnTo>
                        <a:pt x="3" y="23"/>
                      </a:lnTo>
                      <a:lnTo>
                        <a:pt x="0" y="20"/>
                      </a:lnTo>
                      <a:lnTo>
                        <a:pt x="1" y="18"/>
                      </a:lnTo>
                      <a:lnTo>
                        <a:pt x="5" y="18"/>
                      </a:lnTo>
                      <a:lnTo>
                        <a:pt x="10" y="18"/>
                      </a:lnTo>
                      <a:close/>
                      <a:moveTo>
                        <a:pt x="51" y="13"/>
                      </a:moveTo>
                      <a:lnTo>
                        <a:pt x="48" y="15"/>
                      </a:lnTo>
                      <a:lnTo>
                        <a:pt x="44" y="9"/>
                      </a:lnTo>
                      <a:lnTo>
                        <a:pt x="44" y="7"/>
                      </a:lnTo>
                      <a:lnTo>
                        <a:pt x="46" y="3"/>
                      </a:lnTo>
                      <a:lnTo>
                        <a:pt x="46" y="0"/>
                      </a:lnTo>
                      <a:lnTo>
                        <a:pt x="50" y="0"/>
                      </a:lnTo>
                      <a:lnTo>
                        <a:pt x="49" y="9"/>
                      </a:lnTo>
                      <a:lnTo>
                        <a:pt x="51" y="10"/>
                      </a:lnTo>
                      <a:lnTo>
                        <a:pt x="51" y="13"/>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49" name="Fukuoka" descr="{&quot;Key&quot;:&quot;fukuoka&quot;,&quot;Name&quot;:&quot;Fukuoka&quot;,&quot;Value&quot;:1.0,&quot;Formula&quot;:&quot;&quot;,&quot;Text&quot;:&quot;&quot;,&quot;OfficeApplication&quot;:1,&quot;HasValue&quot;:true}">
                  <a:extLst>
                    <a:ext uri="{FF2B5EF4-FFF2-40B4-BE49-F238E27FC236}">
                      <a16:creationId xmlns:a16="http://schemas.microsoft.com/office/drawing/2014/main" id="{E1D18866-BFBB-4D55-B1AB-958EE38B7DA6}"/>
                    </a:ext>
                  </a:extLst>
                </p:cNvPr>
                <p:cNvSpPr>
                  <a:spLocks noEditPoints="1"/>
                </p:cNvSpPr>
                <p:nvPr/>
              </p:nvSpPr>
              <p:spPr bwMode="auto">
                <a:xfrm>
                  <a:off x="4572000" y="4170363"/>
                  <a:ext cx="273050" cy="276225"/>
                </a:xfrm>
                <a:custGeom>
                  <a:avLst/>
                  <a:gdLst>
                    <a:gd name="T0" fmla="*/ 106 w 468"/>
                    <a:gd name="T1" fmla="*/ 158 h 475"/>
                    <a:gd name="T2" fmla="*/ 130 w 468"/>
                    <a:gd name="T3" fmla="*/ 96 h 475"/>
                    <a:gd name="T4" fmla="*/ 184 w 468"/>
                    <a:gd name="T5" fmla="*/ 32 h 475"/>
                    <a:gd name="T6" fmla="*/ 161 w 468"/>
                    <a:gd name="T7" fmla="*/ 32 h 475"/>
                    <a:gd name="T8" fmla="*/ 158 w 468"/>
                    <a:gd name="T9" fmla="*/ 25 h 475"/>
                    <a:gd name="T10" fmla="*/ 458 w 468"/>
                    <a:gd name="T11" fmla="*/ 185 h 475"/>
                    <a:gd name="T12" fmla="*/ 453 w 468"/>
                    <a:gd name="T13" fmla="*/ 220 h 475"/>
                    <a:gd name="T14" fmla="*/ 413 w 468"/>
                    <a:gd name="T15" fmla="*/ 226 h 475"/>
                    <a:gd name="T16" fmla="*/ 358 w 468"/>
                    <a:gd name="T17" fmla="*/ 242 h 475"/>
                    <a:gd name="T18" fmla="*/ 323 w 468"/>
                    <a:gd name="T19" fmla="*/ 297 h 475"/>
                    <a:gd name="T20" fmla="*/ 318 w 468"/>
                    <a:gd name="T21" fmla="*/ 353 h 475"/>
                    <a:gd name="T22" fmla="*/ 301 w 468"/>
                    <a:gd name="T23" fmla="*/ 417 h 475"/>
                    <a:gd name="T24" fmla="*/ 255 w 468"/>
                    <a:gd name="T25" fmla="*/ 401 h 475"/>
                    <a:gd name="T26" fmla="*/ 211 w 468"/>
                    <a:gd name="T27" fmla="*/ 422 h 475"/>
                    <a:gd name="T28" fmla="*/ 186 w 468"/>
                    <a:gd name="T29" fmla="*/ 458 h 475"/>
                    <a:gd name="T30" fmla="*/ 158 w 468"/>
                    <a:gd name="T31" fmla="*/ 475 h 475"/>
                    <a:gd name="T32" fmla="*/ 154 w 468"/>
                    <a:gd name="T33" fmla="*/ 423 h 475"/>
                    <a:gd name="T34" fmla="*/ 133 w 468"/>
                    <a:gd name="T35" fmla="*/ 405 h 475"/>
                    <a:gd name="T36" fmla="*/ 124 w 468"/>
                    <a:gd name="T37" fmla="*/ 386 h 475"/>
                    <a:gd name="T38" fmla="*/ 135 w 468"/>
                    <a:gd name="T39" fmla="*/ 357 h 475"/>
                    <a:gd name="T40" fmla="*/ 164 w 468"/>
                    <a:gd name="T41" fmla="*/ 341 h 475"/>
                    <a:gd name="T42" fmla="*/ 180 w 468"/>
                    <a:gd name="T43" fmla="*/ 315 h 475"/>
                    <a:gd name="T44" fmla="*/ 199 w 468"/>
                    <a:gd name="T45" fmla="*/ 303 h 475"/>
                    <a:gd name="T46" fmla="*/ 194 w 468"/>
                    <a:gd name="T47" fmla="*/ 263 h 475"/>
                    <a:gd name="T48" fmla="*/ 156 w 468"/>
                    <a:gd name="T49" fmla="*/ 280 h 475"/>
                    <a:gd name="T50" fmla="*/ 126 w 468"/>
                    <a:gd name="T51" fmla="*/ 261 h 475"/>
                    <a:gd name="T52" fmla="*/ 70 w 468"/>
                    <a:gd name="T53" fmla="*/ 241 h 475"/>
                    <a:gd name="T54" fmla="*/ 1 w 468"/>
                    <a:gd name="T55" fmla="*/ 243 h 475"/>
                    <a:gd name="T56" fmla="*/ 31 w 468"/>
                    <a:gd name="T57" fmla="*/ 221 h 475"/>
                    <a:gd name="T58" fmla="*/ 55 w 468"/>
                    <a:gd name="T59" fmla="*/ 202 h 475"/>
                    <a:gd name="T60" fmla="*/ 29 w 468"/>
                    <a:gd name="T61" fmla="*/ 196 h 475"/>
                    <a:gd name="T62" fmla="*/ 29 w 468"/>
                    <a:gd name="T63" fmla="*/ 182 h 475"/>
                    <a:gd name="T64" fmla="*/ 49 w 468"/>
                    <a:gd name="T65" fmla="*/ 163 h 475"/>
                    <a:gd name="T66" fmla="*/ 69 w 468"/>
                    <a:gd name="T67" fmla="*/ 146 h 475"/>
                    <a:gd name="T68" fmla="*/ 78 w 468"/>
                    <a:gd name="T69" fmla="*/ 168 h 475"/>
                    <a:gd name="T70" fmla="*/ 95 w 468"/>
                    <a:gd name="T71" fmla="*/ 186 h 475"/>
                    <a:gd name="T72" fmla="*/ 118 w 468"/>
                    <a:gd name="T73" fmla="*/ 178 h 475"/>
                    <a:gd name="T74" fmla="*/ 146 w 468"/>
                    <a:gd name="T75" fmla="*/ 162 h 475"/>
                    <a:gd name="T76" fmla="*/ 125 w 468"/>
                    <a:gd name="T77" fmla="*/ 157 h 475"/>
                    <a:gd name="T78" fmla="*/ 101 w 468"/>
                    <a:gd name="T79" fmla="*/ 137 h 475"/>
                    <a:gd name="T80" fmla="*/ 124 w 468"/>
                    <a:gd name="T81" fmla="*/ 147 h 475"/>
                    <a:gd name="T82" fmla="*/ 164 w 468"/>
                    <a:gd name="T83" fmla="*/ 120 h 475"/>
                    <a:gd name="T84" fmla="*/ 167 w 468"/>
                    <a:gd name="T85" fmla="*/ 90 h 475"/>
                    <a:gd name="T86" fmla="*/ 177 w 468"/>
                    <a:gd name="T87" fmla="*/ 68 h 475"/>
                    <a:gd name="T88" fmla="*/ 201 w 468"/>
                    <a:gd name="T89" fmla="*/ 47 h 475"/>
                    <a:gd name="T90" fmla="*/ 239 w 468"/>
                    <a:gd name="T91" fmla="*/ 41 h 475"/>
                    <a:gd name="T92" fmla="*/ 272 w 468"/>
                    <a:gd name="T93" fmla="*/ 13 h 475"/>
                    <a:gd name="T94" fmla="*/ 315 w 468"/>
                    <a:gd name="T95" fmla="*/ 22 h 475"/>
                    <a:gd name="T96" fmla="*/ 345 w 468"/>
                    <a:gd name="T97" fmla="*/ 37 h 475"/>
                    <a:gd name="T98" fmla="*/ 377 w 468"/>
                    <a:gd name="T99" fmla="*/ 5 h 475"/>
                    <a:gd name="T100" fmla="*/ 389 w 468"/>
                    <a:gd name="T101" fmla="*/ 23 h 475"/>
                    <a:gd name="T102" fmla="*/ 380 w 468"/>
                    <a:gd name="T103" fmla="*/ 45 h 475"/>
                    <a:gd name="T104" fmla="*/ 372 w 468"/>
                    <a:gd name="T105" fmla="*/ 75 h 475"/>
                    <a:gd name="T106" fmla="*/ 391 w 468"/>
                    <a:gd name="T107" fmla="*/ 106 h 475"/>
                    <a:gd name="T108" fmla="*/ 429 w 468"/>
                    <a:gd name="T109" fmla="*/ 166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8" h="475">
                      <a:moveTo>
                        <a:pt x="111" y="167"/>
                      </a:moveTo>
                      <a:lnTo>
                        <a:pt x="105" y="173"/>
                      </a:lnTo>
                      <a:lnTo>
                        <a:pt x="103" y="171"/>
                      </a:lnTo>
                      <a:lnTo>
                        <a:pt x="104" y="167"/>
                      </a:lnTo>
                      <a:lnTo>
                        <a:pt x="106" y="158"/>
                      </a:lnTo>
                      <a:lnTo>
                        <a:pt x="111" y="167"/>
                      </a:lnTo>
                      <a:close/>
                      <a:moveTo>
                        <a:pt x="138" y="100"/>
                      </a:moveTo>
                      <a:lnTo>
                        <a:pt x="133" y="101"/>
                      </a:lnTo>
                      <a:lnTo>
                        <a:pt x="130" y="102"/>
                      </a:lnTo>
                      <a:lnTo>
                        <a:pt x="130" y="96"/>
                      </a:lnTo>
                      <a:lnTo>
                        <a:pt x="134" y="96"/>
                      </a:lnTo>
                      <a:lnTo>
                        <a:pt x="138" y="100"/>
                      </a:lnTo>
                      <a:close/>
                      <a:moveTo>
                        <a:pt x="188" y="31"/>
                      </a:moveTo>
                      <a:lnTo>
                        <a:pt x="189" y="35"/>
                      </a:lnTo>
                      <a:lnTo>
                        <a:pt x="184" y="32"/>
                      </a:lnTo>
                      <a:lnTo>
                        <a:pt x="180" y="25"/>
                      </a:lnTo>
                      <a:lnTo>
                        <a:pt x="185" y="26"/>
                      </a:lnTo>
                      <a:lnTo>
                        <a:pt x="185" y="28"/>
                      </a:lnTo>
                      <a:lnTo>
                        <a:pt x="188" y="31"/>
                      </a:lnTo>
                      <a:close/>
                      <a:moveTo>
                        <a:pt x="161" y="32"/>
                      </a:moveTo>
                      <a:lnTo>
                        <a:pt x="155" y="37"/>
                      </a:lnTo>
                      <a:lnTo>
                        <a:pt x="150" y="33"/>
                      </a:lnTo>
                      <a:lnTo>
                        <a:pt x="149" y="27"/>
                      </a:lnTo>
                      <a:lnTo>
                        <a:pt x="151" y="26"/>
                      </a:lnTo>
                      <a:lnTo>
                        <a:pt x="158" y="25"/>
                      </a:lnTo>
                      <a:lnTo>
                        <a:pt x="163" y="26"/>
                      </a:lnTo>
                      <a:lnTo>
                        <a:pt x="161" y="32"/>
                      </a:lnTo>
                      <a:close/>
                      <a:moveTo>
                        <a:pt x="468" y="171"/>
                      </a:moveTo>
                      <a:lnTo>
                        <a:pt x="460" y="178"/>
                      </a:lnTo>
                      <a:lnTo>
                        <a:pt x="458" y="185"/>
                      </a:lnTo>
                      <a:lnTo>
                        <a:pt x="458" y="192"/>
                      </a:lnTo>
                      <a:lnTo>
                        <a:pt x="460" y="203"/>
                      </a:lnTo>
                      <a:lnTo>
                        <a:pt x="460" y="208"/>
                      </a:lnTo>
                      <a:lnTo>
                        <a:pt x="458" y="213"/>
                      </a:lnTo>
                      <a:lnTo>
                        <a:pt x="453" y="220"/>
                      </a:lnTo>
                      <a:lnTo>
                        <a:pt x="450" y="223"/>
                      </a:lnTo>
                      <a:lnTo>
                        <a:pt x="446" y="227"/>
                      </a:lnTo>
                      <a:lnTo>
                        <a:pt x="443" y="230"/>
                      </a:lnTo>
                      <a:lnTo>
                        <a:pt x="436" y="230"/>
                      </a:lnTo>
                      <a:lnTo>
                        <a:pt x="413" y="226"/>
                      </a:lnTo>
                      <a:lnTo>
                        <a:pt x="389" y="225"/>
                      </a:lnTo>
                      <a:lnTo>
                        <a:pt x="379" y="227"/>
                      </a:lnTo>
                      <a:lnTo>
                        <a:pt x="368" y="232"/>
                      </a:lnTo>
                      <a:lnTo>
                        <a:pt x="361" y="236"/>
                      </a:lnTo>
                      <a:lnTo>
                        <a:pt x="358" y="242"/>
                      </a:lnTo>
                      <a:lnTo>
                        <a:pt x="351" y="250"/>
                      </a:lnTo>
                      <a:lnTo>
                        <a:pt x="341" y="261"/>
                      </a:lnTo>
                      <a:lnTo>
                        <a:pt x="336" y="270"/>
                      </a:lnTo>
                      <a:lnTo>
                        <a:pt x="333" y="281"/>
                      </a:lnTo>
                      <a:lnTo>
                        <a:pt x="323" y="297"/>
                      </a:lnTo>
                      <a:lnTo>
                        <a:pt x="321" y="302"/>
                      </a:lnTo>
                      <a:lnTo>
                        <a:pt x="321" y="311"/>
                      </a:lnTo>
                      <a:lnTo>
                        <a:pt x="324" y="324"/>
                      </a:lnTo>
                      <a:lnTo>
                        <a:pt x="323" y="332"/>
                      </a:lnTo>
                      <a:lnTo>
                        <a:pt x="318" y="353"/>
                      </a:lnTo>
                      <a:lnTo>
                        <a:pt x="319" y="362"/>
                      </a:lnTo>
                      <a:lnTo>
                        <a:pt x="328" y="390"/>
                      </a:lnTo>
                      <a:lnTo>
                        <a:pt x="329" y="397"/>
                      </a:lnTo>
                      <a:lnTo>
                        <a:pt x="320" y="427"/>
                      </a:lnTo>
                      <a:lnTo>
                        <a:pt x="301" y="417"/>
                      </a:lnTo>
                      <a:lnTo>
                        <a:pt x="278" y="401"/>
                      </a:lnTo>
                      <a:lnTo>
                        <a:pt x="273" y="398"/>
                      </a:lnTo>
                      <a:lnTo>
                        <a:pt x="266" y="398"/>
                      </a:lnTo>
                      <a:lnTo>
                        <a:pt x="260" y="398"/>
                      </a:lnTo>
                      <a:lnTo>
                        <a:pt x="255" y="401"/>
                      </a:lnTo>
                      <a:lnTo>
                        <a:pt x="246" y="411"/>
                      </a:lnTo>
                      <a:lnTo>
                        <a:pt x="240" y="416"/>
                      </a:lnTo>
                      <a:lnTo>
                        <a:pt x="234" y="417"/>
                      </a:lnTo>
                      <a:lnTo>
                        <a:pt x="218" y="418"/>
                      </a:lnTo>
                      <a:lnTo>
                        <a:pt x="211" y="422"/>
                      </a:lnTo>
                      <a:lnTo>
                        <a:pt x="205" y="428"/>
                      </a:lnTo>
                      <a:lnTo>
                        <a:pt x="195" y="436"/>
                      </a:lnTo>
                      <a:lnTo>
                        <a:pt x="189" y="442"/>
                      </a:lnTo>
                      <a:lnTo>
                        <a:pt x="185" y="450"/>
                      </a:lnTo>
                      <a:lnTo>
                        <a:pt x="186" y="458"/>
                      </a:lnTo>
                      <a:lnTo>
                        <a:pt x="186" y="461"/>
                      </a:lnTo>
                      <a:lnTo>
                        <a:pt x="185" y="466"/>
                      </a:lnTo>
                      <a:lnTo>
                        <a:pt x="180" y="468"/>
                      </a:lnTo>
                      <a:lnTo>
                        <a:pt x="164" y="471"/>
                      </a:lnTo>
                      <a:lnTo>
                        <a:pt x="158" y="475"/>
                      </a:lnTo>
                      <a:lnTo>
                        <a:pt x="156" y="462"/>
                      </a:lnTo>
                      <a:lnTo>
                        <a:pt x="158" y="441"/>
                      </a:lnTo>
                      <a:lnTo>
                        <a:pt x="155" y="432"/>
                      </a:lnTo>
                      <a:lnTo>
                        <a:pt x="155" y="426"/>
                      </a:lnTo>
                      <a:lnTo>
                        <a:pt x="154" y="423"/>
                      </a:lnTo>
                      <a:lnTo>
                        <a:pt x="151" y="422"/>
                      </a:lnTo>
                      <a:lnTo>
                        <a:pt x="148" y="421"/>
                      </a:lnTo>
                      <a:lnTo>
                        <a:pt x="138" y="413"/>
                      </a:lnTo>
                      <a:lnTo>
                        <a:pt x="135" y="411"/>
                      </a:lnTo>
                      <a:lnTo>
                        <a:pt x="133" y="405"/>
                      </a:lnTo>
                      <a:lnTo>
                        <a:pt x="133" y="401"/>
                      </a:lnTo>
                      <a:lnTo>
                        <a:pt x="131" y="398"/>
                      </a:lnTo>
                      <a:lnTo>
                        <a:pt x="125" y="397"/>
                      </a:lnTo>
                      <a:lnTo>
                        <a:pt x="124" y="391"/>
                      </a:lnTo>
                      <a:lnTo>
                        <a:pt x="124" y="386"/>
                      </a:lnTo>
                      <a:lnTo>
                        <a:pt x="124" y="380"/>
                      </a:lnTo>
                      <a:lnTo>
                        <a:pt x="128" y="375"/>
                      </a:lnTo>
                      <a:lnTo>
                        <a:pt x="133" y="370"/>
                      </a:lnTo>
                      <a:lnTo>
                        <a:pt x="134" y="366"/>
                      </a:lnTo>
                      <a:lnTo>
                        <a:pt x="135" y="357"/>
                      </a:lnTo>
                      <a:lnTo>
                        <a:pt x="139" y="352"/>
                      </a:lnTo>
                      <a:lnTo>
                        <a:pt x="143" y="348"/>
                      </a:lnTo>
                      <a:lnTo>
                        <a:pt x="148" y="347"/>
                      </a:lnTo>
                      <a:lnTo>
                        <a:pt x="155" y="341"/>
                      </a:lnTo>
                      <a:lnTo>
                        <a:pt x="164" y="341"/>
                      </a:lnTo>
                      <a:lnTo>
                        <a:pt x="168" y="338"/>
                      </a:lnTo>
                      <a:lnTo>
                        <a:pt x="171" y="331"/>
                      </a:lnTo>
                      <a:lnTo>
                        <a:pt x="174" y="327"/>
                      </a:lnTo>
                      <a:lnTo>
                        <a:pt x="178" y="320"/>
                      </a:lnTo>
                      <a:lnTo>
                        <a:pt x="180" y="315"/>
                      </a:lnTo>
                      <a:lnTo>
                        <a:pt x="184" y="311"/>
                      </a:lnTo>
                      <a:lnTo>
                        <a:pt x="189" y="308"/>
                      </a:lnTo>
                      <a:lnTo>
                        <a:pt x="193" y="308"/>
                      </a:lnTo>
                      <a:lnTo>
                        <a:pt x="196" y="307"/>
                      </a:lnTo>
                      <a:lnTo>
                        <a:pt x="199" y="303"/>
                      </a:lnTo>
                      <a:lnTo>
                        <a:pt x="200" y="288"/>
                      </a:lnTo>
                      <a:lnTo>
                        <a:pt x="200" y="285"/>
                      </a:lnTo>
                      <a:lnTo>
                        <a:pt x="198" y="268"/>
                      </a:lnTo>
                      <a:lnTo>
                        <a:pt x="196" y="267"/>
                      </a:lnTo>
                      <a:lnTo>
                        <a:pt x="194" y="263"/>
                      </a:lnTo>
                      <a:lnTo>
                        <a:pt x="189" y="262"/>
                      </a:lnTo>
                      <a:lnTo>
                        <a:pt x="180" y="265"/>
                      </a:lnTo>
                      <a:lnTo>
                        <a:pt x="169" y="269"/>
                      </a:lnTo>
                      <a:lnTo>
                        <a:pt x="165" y="272"/>
                      </a:lnTo>
                      <a:lnTo>
                        <a:pt x="156" y="280"/>
                      </a:lnTo>
                      <a:lnTo>
                        <a:pt x="151" y="280"/>
                      </a:lnTo>
                      <a:lnTo>
                        <a:pt x="146" y="276"/>
                      </a:lnTo>
                      <a:lnTo>
                        <a:pt x="138" y="267"/>
                      </a:lnTo>
                      <a:lnTo>
                        <a:pt x="133" y="263"/>
                      </a:lnTo>
                      <a:lnTo>
                        <a:pt x="126" y="261"/>
                      </a:lnTo>
                      <a:lnTo>
                        <a:pt x="101" y="244"/>
                      </a:lnTo>
                      <a:lnTo>
                        <a:pt x="95" y="242"/>
                      </a:lnTo>
                      <a:lnTo>
                        <a:pt x="89" y="241"/>
                      </a:lnTo>
                      <a:lnTo>
                        <a:pt x="78" y="239"/>
                      </a:lnTo>
                      <a:lnTo>
                        <a:pt x="70" y="241"/>
                      </a:lnTo>
                      <a:lnTo>
                        <a:pt x="51" y="243"/>
                      </a:lnTo>
                      <a:lnTo>
                        <a:pt x="34" y="243"/>
                      </a:lnTo>
                      <a:lnTo>
                        <a:pt x="21" y="244"/>
                      </a:lnTo>
                      <a:lnTo>
                        <a:pt x="0" y="246"/>
                      </a:lnTo>
                      <a:lnTo>
                        <a:pt x="1" y="243"/>
                      </a:lnTo>
                      <a:lnTo>
                        <a:pt x="3" y="232"/>
                      </a:lnTo>
                      <a:lnTo>
                        <a:pt x="8" y="227"/>
                      </a:lnTo>
                      <a:lnTo>
                        <a:pt x="20" y="222"/>
                      </a:lnTo>
                      <a:lnTo>
                        <a:pt x="26" y="220"/>
                      </a:lnTo>
                      <a:lnTo>
                        <a:pt x="31" y="221"/>
                      </a:lnTo>
                      <a:lnTo>
                        <a:pt x="38" y="216"/>
                      </a:lnTo>
                      <a:lnTo>
                        <a:pt x="43" y="216"/>
                      </a:lnTo>
                      <a:lnTo>
                        <a:pt x="48" y="213"/>
                      </a:lnTo>
                      <a:lnTo>
                        <a:pt x="53" y="208"/>
                      </a:lnTo>
                      <a:lnTo>
                        <a:pt x="55" y="202"/>
                      </a:lnTo>
                      <a:lnTo>
                        <a:pt x="50" y="203"/>
                      </a:lnTo>
                      <a:lnTo>
                        <a:pt x="38" y="206"/>
                      </a:lnTo>
                      <a:lnTo>
                        <a:pt x="34" y="205"/>
                      </a:lnTo>
                      <a:lnTo>
                        <a:pt x="33" y="198"/>
                      </a:lnTo>
                      <a:lnTo>
                        <a:pt x="29" y="196"/>
                      </a:lnTo>
                      <a:lnTo>
                        <a:pt x="24" y="196"/>
                      </a:lnTo>
                      <a:lnTo>
                        <a:pt x="23" y="193"/>
                      </a:lnTo>
                      <a:lnTo>
                        <a:pt x="23" y="190"/>
                      </a:lnTo>
                      <a:lnTo>
                        <a:pt x="25" y="186"/>
                      </a:lnTo>
                      <a:lnTo>
                        <a:pt x="29" y="182"/>
                      </a:lnTo>
                      <a:lnTo>
                        <a:pt x="38" y="181"/>
                      </a:lnTo>
                      <a:lnTo>
                        <a:pt x="41" y="180"/>
                      </a:lnTo>
                      <a:lnTo>
                        <a:pt x="48" y="173"/>
                      </a:lnTo>
                      <a:lnTo>
                        <a:pt x="46" y="168"/>
                      </a:lnTo>
                      <a:lnTo>
                        <a:pt x="49" y="163"/>
                      </a:lnTo>
                      <a:lnTo>
                        <a:pt x="58" y="163"/>
                      </a:lnTo>
                      <a:lnTo>
                        <a:pt x="61" y="162"/>
                      </a:lnTo>
                      <a:lnTo>
                        <a:pt x="65" y="161"/>
                      </a:lnTo>
                      <a:lnTo>
                        <a:pt x="68" y="158"/>
                      </a:lnTo>
                      <a:lnTo>
                        <a:pt x="69" y="146"/>
                      </a:lnTo>
                      <a:lnTo>
                        <a:pt x="74" y="148"/>
                      </a:lnTo>
                      <a:lnTo>
                        <a:pt x="78" y="151"/>
                      </a:lnTo>
                      <a:lnTo>
                        <a:pt x="80" y="156"/>
                      </a:lnTo>
                      <a:lnTo>
                        <a:pt x="76" y="160"/>
                      </a:lnTo>
                      <a:lnTo>
                        <a:pt x="78" y="168"/>
                      </a:lnTo>
                      <a:lnTo>
                        <a:pt x="86" y="173"/>
                      </a:lnTo>
                      <a:lnTo>
                        <a:pt x="94" y="171"/>
                      </a:lnTo>
                      <a:lnTo>
                        <a:pt x="96" y="176"/>
                      </a:lnTo>
                      <a:lnTo>
                        <a:pt x="91" y="182"/>
                      </a:lnTo>
                      <a:lnTo>
                        <a:pt x="95" y="186"/>
                      </a:lnTo>
                      <a:lnTo>
                        <a:pt x="101" y="190"/>
                      </a:lnTo>
                      <a:lnTo>
                        <a:pt x="104" y="187"/>
                      </a:lnTo>
                      <a:lnTo>
                        <a:pt x="106" y="187"/>
                      </a:lnTo>
                      <a:lnTo>
                        <a:pt x="111" y="178"/>
                      </a:lnTo>
                      <a:lnTo>
                        <a:pt x="118" y="178"/>
                      </a:lnTo>
                      <a:lnTo>
                        <a:pt x="129" y="178"/>
                      </a:lnTo>
                      <a:lnTo>
                        <a:pt x="135" y="176"/>
                      </a:lnTo>
                      <a:lnTo>
                        <a:pt x="143" y="175"/>
                      </a:lnTo>
                      <a:lnTo>
                        <a:pt x="145" y="170"/>
                      </a:lnTo>
                      <a:lnTo>
                        <a:pt x="146" y="162"/>
                      </a:lnTo>
                      <a:lnTo>
                        <a:pt x="149" y="152"/>
                      </a:lnTo>
                      <a:lnTo>
                        <a:pt x="145" y="143"/>
                      </a:lnTo>
                      <a:lnTo>
                        <a:pt x="138" y="148"/>
                      </a:lnTo>
                      <a:lnTo>
                        <a:pt x="130" y="155"/>
                      </a:lnTo>
                      <a:lnTo>
                        <a:pt x="125" y="157"/>
                      </a:lnTo>
                      <a:lnTo>
                        <a:pt x="115" y="151"/>
                      </a:lnTo>
                      <a:lnTo>
                        <a:pt x="113" y="148"/>
                      </a:lnTo>
                      <a:lnTo>
                        <a:pt x="109" y="151"/>
                      </a:lnTo>
                      <a:lnTo>
                        <a:pt x="104" y="146"/>
                      </a:lnTo>
                      <a:lnTo>
                        <a:pt x="101" y="137"/>
                      </a:lnTo>
                      <a:lnTo>
                        <a:pt x="104" y="133"/>
                      </a:lnTo>
                      <a:lnTo>
                        <a:pt x="108" y="135"/>
                      </a:lnTo>
                      <a:lnTo>
                        <a:pt x="110" y="142"/>
                      </a:lnTo>
                      <a:lnTo>
                        <a:pt x="115" y="146"/>
                      </a:lnTo>
                      <a:lnTo>
                        <a:pt x="124" y="147"/>
                      </a:lnTo>
                      <a:lnTo>
                        <a:pt x="140" y="140"/>
                      </a:lnTo>
                      <a:lnTo>
                        <a:pt x="146" y="133"/>
                      </a:lnTo>
                      <a:lnTo>
                        <a:pt x="151" y="127"/>
                      </a:lnTo>
                      <a:lnTo>
                        <a:pt x="158" y="122"/>
                      </a:lnTo>
                      <a:lnTo>
                        <a:pt x="164" y="120"/>
                      </a:lnTo>
                      <a:lnTo>
                        <a:pt x="166" y="116"/>
                      </a:lnTo>
                      <a:lnTo>
                        <a:pt x="172" y="107"/>
                      </a:lnTo>
                      <a:lnTo>
                        <a:pt x="174" y="98"/>
                      </a:lnTo>
                      <a:lnTo>
                        <a:pt x="172" y="90"/>
                      </a:lnTo>
                      <a:lnTo>
                        <a:pt x="167" y="90"/>
                      </a:lnTo>
                      <a:lnTo>
                        <a:pt x="165" y="86"/>
                      </a:lnTo>
                      <a:lnTo>
                        <a:pt x="165" y="80"/>
                      </a:lnTo>
                      <a:lnTo>
                        <a:pt x="167" y="77"/>
                      </a:lnTo>
                      <a:lnTo>
                        <a:pt x="175" y="72"/>
                      </a:lnTo>
                      <a:lnTo>
                        <a:pt x="177" y="68"/>
                      </a:lnTo>
                      <a:lnTo>
                        <a:pt x="181" y="53"/>
                      </a:lnTo>
                      <a:lnTo>
                        <a:pt x="185" y="57"/>
                      </a:lnTo>
                      <a:lnTo>
                        <a:pt x="189" y="57"/>
                      </a:lnTo>
                      <a:lnTo>
                        <a:pt x="199" y="51"/>
                      </a:lnTo>
                      <a:lnTo>
                        <a:pt x="201" y="47"/>
                      </a:lnTo>
                      <a:lnTo>
                        <a:pt x="202" y="43"/>
                      </a:lnTo>
                      <a:lnTo>
                        <a:pt x="205" y="41"/>
                      </a:lnTo>
                      <a:lnTo>
                        <a:pt x="212" y="40"/>
                      </a:lnTo>
                      <a:lnTo>
                        <a:pt x="231" y="42"/>
                      </a:lnTo>
                      <a:lnTo>
                        <a:pt x="239" y="41"/>
                      </a:lnTo>
                      <a:lnTo>
                        <a:pt x="247" y="33"/>
                      </a:lnTo>
                      <a:lnTo>
                        <a:pt x="260" y="16"/>
                      </a:lnTo>
                      <a:lnTo>
                        <a:pt x="264" y="13"/>
                      </a:lnTo>
                      <a:lnTo>
                        <a:pt x="269" y="13"/>
                      </a:lnTo>
                      <a:lnTo>
                        <a:pt x="272" y="13"/>
                      </a:lnTo>
                      <a:lnTo>
                        <a:pt x="279" y="17"/>
                      </a:lnTo>
                      <a:lnTo>
                        <a:pt x="289" y="11"/>
                      </a:lnTo>
                      <a:lnTo>
                        <a:pt x="302" y="11"/>
                      </a:lnTo>
                      <a:lnTo>
                        <a:pt x="317" y="13"/>
                      </a:lnTo>
                      <a:lnTo>
                        <a:pt x="315" y="22"/>
                      </a:lnTo>
                      <a:lnTo>
                        <a:pt x="321" y="20"/>
                      </a:lnTo>
                      <a:lnTo>
                        <a:pt x="331" y="20"/>
                      </a:lnTo>
                      <a:lnTo>
                        <a:pt x="335" y="26"/>
                      </a:lnTo>
                      <a:lnTo>
                        <a:pt x="339" y="33"/>
                      </a:lnTo>
                      <a:lnTo>
                        <a:pt x="345" y="37"/>
                      </a:lnTo>
                      <a:lnTo>
                        <a:pt x="353" y="36"/>
                      </a:lnTo>
                      <a:lnTo>
                        <a:pt x="358" y="32"/>
                      </a:lnTo>
                      <a:lnTo>
                        <a:pt x="364" y="23"/>
                      </a:lnTo>
                      <a:lnTo>
                        <a:pt x="366" y="13"/>
                      </a:lnTo>
                      <a:lnTo>
                        <a:pt x="377" y="5"/>
                      </a:lnTo>
                      <a:lnTo>
                        <a:pt x="390" y="0"/>
                      </a:lnTo>
                      <a:lnTo>
                        <a:pt x="394" y="5"/>
                      </a:lnTo>
                      <a:lnTo>
                        <a:pt x="392" y="15"/>
                      </a:lnTo>
                      <a:lnTo>
                        <a:pt x="389" y="21"/>
                      </a:lnTo>
                      <a:lnTo>
                        <a:pt x="389" y="23"/>
                      </a:lnTo>
                      <a:lnTo>
                        <a:pt x="389" y="27"/>
                      </a:lnTo>
                      <a:lnTo>
                        <a:pt x="384" y="33"/>
                      </a:lnTo>
                      <a:lnTo>
                        <a:pt x="388" y="38"/>
                      </a:lnTo>
                      <a:lnTo>
                        <a:pt x="386" y="45"/>
                      </a:lnTo>
                      <a:lnTo>
                        <a:pt x="380" y="45"/>
                      </a:lnTo>
                      <a:lnTo>
                        <a:pt x="382" y="53"/>
                      </a:lnTo>
                      <a:lnTo>
                        <a:pt x="379" y="60"/>
                      </a:lnTo>
                      <a:lnTo>
                        <a:pt x="372" y="65"/>
                      </a:lnTo>
                      <a:lnTo>
                        <a:pt x="371" y="72"/>
                      </a:lnTo>
                      <a:lnTo>
                        <a:pt x="372" y="75"/>
                      </a:lnTo>
                      <a:lnTo>
                        <a:pt x="381" y="76"/>
                      </a:lnTo>
                      <a:lnTo>
                        <a:pt x="390" y="75"/>
                      </a:lnTo>
                      <a:lnTo>
                        <a:pt x="389" y="90"/>
                      </a:lnTo>
                      <a:lnTo>
                        <a:pt x="389" y="93"/>
                      </a:lnTo>
                      <a:lnTo>
                        <a:pt x="391" y="106"/>
                      </a:lnTo>
                      <a:lnTo>
                        <a:pt x="395" y="116"/>
                      </a:lnTo>
                      <a:lnTo>
                        <a:pt x="407" y="137"/>
                      </a:lnTo>
                      <a:lnTo>
                        <a:pt x="412" y="151"/>
                      </a:lnTo>
                      <a:lnTo>
                        <a:pt x="420" y="160"/>
                      </a:lnTo>
                      <a:lnTo>
                        <a:pt x="429" y="166"/>
                      </a:lnTo>
                      <a:lnTo>
                        <a:pt x="435" y="165"/>
                      </a:lnTo>
                      <a:lnTo>
                        <a:pt x="445" y="167"/>
                      </a:lnTo>
                      <a:lnTo>
                        <a:pt x="462" y="170"/>
                      </a:lnTo>
                      <a:lnTo>
                        <a:pt x="468" y="171"/>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0" name="Kumamoto" descr="{&quot;Key&quot;:&quot;kumamoto&quot;,&quot;Name&quot;:&quot;Kumamoto&quot;,&quot;Value&quot;:1.0,&quot;Formula&quot;:&quot;&quot;,&quot;Text&quot;:&quot;&quot;,&quot;OfficeApplication&quot;:1,&quot;HasValue&quot;:true}">
                  <a:extLst>
                    <a:ext uri="{FF2B5EF4-FFF2-40B4-BE49-F238E27FC236}">
                      <a16:creationId xmlns:a16="http://schemas.microsoft.com/office/drawing/2014/main" id="{D8EF5FD8-AF30-475E-8FE2-A24DCC747071}"/>
                    </a:ext>
                  </a:extLst>
                </p:cNvPr>
                <p:cNvSpPr>
                  <a:spLocks noEditPoints="1"/>
                </p:cNvSpPr>
                <p:nvPr/>
              </p:nvSpPr>
              <p:spPr bwMode="auto">
                <a:xfrm>
                  <a:off x="4552950" y="4391025"/>
                  <a:ext cx="320675" cy="304800"/>
                </a:xfrm>
                <a:custGeom>
                  <a:avLst/>
                  <a:gdLst>
                    <a:gd name="T0" fmla="*/ 25 w 550"/>
                    <a:gd name="T1" fmla="*/ 480 h 522"/>
                    <a:gd name="T2" fmla="*/ 71 w 550"/>
                    <a:gd name="T3" fmla="*/ 508 h 522"/>
                    <a:gd name="T4" fmla="*/ 66 w 550"/>
                    <a:gd name="T5" fmla="*/ 463 h 522"/>
                    <a:gd name="T6" fmla="*/ 87 w 550"/>
                    <a:gd name="T7" fmla="*/ 505 h 522"/>
                    <a:gd name="T8" fmla="*/ 95 w 550"/>
                    <a:gd name="T9" fmla="*/ 449 h 522"/>
                    <a:gd name="T10" fmla="*/ 85 w 550"/>
                    <a:gd name="T11" fmla="*/ 457 h 522"/>
                    <a:gd name="T12" fmla="*/ 92 w 550"/>
                    <a:gd name="T13" fmla="*/ 440 h 522"/>
                    <a:gd name="T14" fmla="*/ 102 w 550"/>
                    <a:gd name="T15" fmla="*/ 433 h 522"/>
                    <a:gd name="T16" fmla="*/ 124 w 550"/>
                    <a:gd name="T17" fmla="*/ 428 h 522"/>
                    <a:gd name="T18" fmla="*/ 138 w 550"/>
                    <a:gd name="T19" fmla="*/ 420 h 522"/>
                    <a:gd name="T20" fmla="*/ 160 w 550"/>
                    <a:gd name="T21" fmla="*/ 398 h 522"/>
                    <a:gd name="T22" fmla="*/ 146 w 550"/>
                    <a:gd name="T23" fmla="*/ 393 h 522"/>
                    <a:gd name="T24" fmla="*/ 142 w 550"/>
                    <a:gd name="T25" fmla="*/ 398 h 522"/>
                    <a:gd name="T26" fmla="*/ 188 w 550"/>
                    <a:gd name="T27" fmla="*/ 387 h 522"/>
                    <a:gd name="T28" fmla="*/ 187 w 550"/>
                    <a:gd name="T29" fmla="*/ 382 h 522"/>
                    <a:gd name="T30" fmla="*/ 206 w 550"/>
                    <a:gd name="T31" fmla="*/ 322 h 522"/>
                    <a:gd name="T32" fmla="*/ 160 w 550"/>
                    <a:gd name="T33" fmla="*/ 363 h 522"/>
                    <a:gd name="T34" fmla="*/ 102 w 550"/>
                    <a:gd name="T35" fmla="*/ 357 h 522"/>
                    <a:gd name="T36" fmla="*/ 133 w 550"/>
                    <a:gd name="T37" fmla="*/ 328 h 522"/>
                    <a:gd name="T38" fmla="*/ 93 w 550"/>
                    <a:gd name="T39" fmla="*/ 317 h 522"/>
                    <a:gd name="T40" fmla="*/ 93 w 550"/>
                    <a:gd name="T41" fmla="*/ 410 h 522"/>
                    <a:gd name="T42" fmla="*/ 56 w 550"/>
                    <a:gd name="T43" fmla="*/ 448 h 522"/>
                    <a:gd name="T44" fmla="*/ 21 w 550"/>
                    <a:gd name="T45" fmla="*/ 444 h 522"/>
                    <a:gd name="T46" fmla="*/ 16 w 550"/>
                    <a:gd name="T47" fmla="*/ 430 h 522"/>
                    <a:gd name="T48" fmla="*/ 30 w 550"/>
                    <a:gd name="T49" fmla="*/ 415 h 522"/>
                    <a:gd name="T50" fmla="*/ 12 w 550"/>
                    <a:gd name="T51" fmla="*/ 383 h 522"/>
                    <a:gd name="T52" fmla="*/ 27 w 550"/>
                    <a:gd name="T53" fmla="*/ 325 h 522"/>
                    <a:gd name="T54" fmla="*/ 58 w 550"/>
                    <a:gd name="T55" fmla="*/ 309 h 522"/>
                    <a:gd name="T56" fmla="*/ 202 w 550"/>
                    <a:gd name="T57" fmla="*/ 297 h 522"/>
                    <a:gd name="T58" fmla="*/ 222 w 550"/>
                    <a:gd name="T59" fmla="*/ 283 h 522"/>
                    <a:gd name="T60" fmla="*/ 213 w 550"/>
                    <a:gd name="T61" fmla="*/ 274 h 522"/>
                    <a:gd name="T62" fmla="*/ 200 w 550"/>
                    <a:gd name="T63" fmla="*/ 288 h 522"/>
                    <a:gd name="T64" fmla="*/ 181 w 550"/>
                    <a:gd name="T65" fmla="*/ 298 h 522"/>
                    <a:gd name="T66" fmla="*/ 190 w 550"/>
                    <a:gd name="T67" fmla="*/ 270 h 522"/>
                    <a:gd name="T68" fmla="*/ 516 w 550"/>
                    <a:gd name="T69" fmla="*/ 187 h 522"/>
                    <a:gd name="T70" fmla="*/ 478 w 550"/>
                    <a:gd name="T71" fmla="*/ 249 h 522"/>
                    <a:gd name="T72" fmla="*/ 448 w 550"/>
                    <a:gd name="T73" fmla="*/ 294 h 522"/>
                    <a:gd name="T74" fmla="*/ 418 w 550"/>
                    <a:gd name="T75" fmla="*/ 345 h 522"/>
                    <a:gd name="T76" fmla="*/ 447 w 550"/>
                    <a:gd name="T77" fmla="*/ 399 h 522"/>
                    <a:gd name="T78" fmla="*/ 440 w 550"/>
                    <a:gd name="T79" fmla="*/ 453 h 522"/>
                    <a:gd name="T80" fmla="*/ 440 w 550"/>
                    <a:gd name="T81" fmla="*/ 491 h 522"/>
                    <a:gd name="T82" fmla="*/ 382 w 550"/>
                    <a:gd name="T83" fmla="*/ 507 h 522"/>
                    <a:gd name="T84" fmla="*/ 315 w 550"/>
                    <a:gd name="T85" fmla="*/ 520 h 522"/>
                    <a:gd name="T86" fmla="*/ 233 w 550"/>
                    <a:gd name="T87" fmla="*/ 495 h 522"/>
                    <a:gd name="T88" fmla="*/ 171 w 550"/>
                    <a:gd name="T89" fmla="*/ 504 h 522"/>
                    <a:gd name="T90" fmla="*/ 161 w 550"/>
                    <a:gd name="T91" fmla="*/ 474 h 522"/>
                    <a:gd name="T92" fmla="*/ 202 w 550"/>
                    <a:gd name="T93" fmla="*/ 413 h 522"/>
                    <a:gd name="T94" fmla="*/ 222 w 550"/>
                    <a:gd name="T95" fmla="*/ 384 h 522"/>
                    <a:gd name="T96" fmla="*/ 242 w 550"/>
                    <a:gd name="T97" fmla="*/ 325 h 522"/>
                    <a:gd name="T98" fmla="*/ 275 w 550"/>
                    <a:gd name="T99" fmla="*/ 275 h 522"/>
                    <a:gd name="T100" fmla="*/ 201 w 550"/>
                    <a:gd name="T101" fmla="*/ 262 h 522"/>
                    <a:gd name="T102" fmla="*/ 268 w 550"/>
                    <a:gd name="T103" fmla="*/ 229 h 522"/>
                    <a:gd name="T104" fmla="*/ 257 w 550"/>
                    <a:gd name="T105" fmla="*/ 201 h 522"/>
                    <a:gd name="T106" fmla="*/ 206 w 550"/>
                    <a:gd name="T107" fmla="*/ 130 h 522"/>
                    <a:gd name="T108" fmla="*/ 218 w 550"/>
                    <a:gd name="T109" fmla="*/ 83 h 522"/>
                    <a:gd name="T110" fmla="*/ 250 w 550"/>
                    <a:gd name="T111" fmla="*/ 40 h 522"/>
                    <a:gd name="T112" fmla="*/ 305 w 550"/>
                    <a:gd name="T113" fmla="*/ 20 h 522"/>
                    <a:gd name="T114" fmla="*/ 416 w 550"/>
                    <a:gd name="T115" fmla="*/ 71 h 522"/>
                    <a:gd name="T116" fmla="*/ 408 w 550"/>
                    <a:gd name="T117" fmla="*/ 18 h 522"/>
                    <a:gd name="T118" fmla="*/ 456 w 550"/>
                    <a:gd name="T119" fmla="*/ 8 h 522"/>
                    <a:gd name="T120" fmla="*/ 507 w 550"/>
                    <a:gd name="T121" fmla="*/ 8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0" h="522">
                      <a:moveTo>
                        <a:pt x="35" y="482"/>
                      </a:moveTo>
                      <a:lnTo>
                        <a:pt x="36" y="487"/>
                      </a:lnTo>
                      <a:lnTo>
                        <a:pt x="35" y="490"/>
                      </a:lnTo>
                      <a:lnTo>
                        <a:pt x="30" y="483"/>
                      </a:lnTo>
                      <a:lnTo>
                        <a:pt x="26" y="488"/>
                      </a:lnTo>
                      <a:lnTo>
                        <a:pt x="25" y="488"/>
                      </a:lnTo>
                      <a:lnTo>
                        <a:pt x="25" y="480"/>
                      </a:lnTo>
                      <a:lnTo>
                        <a:pt x="26" y="475"/>
                      </a:lnTo>
                      <a:lnTo>
                        <a:pt x="28" y="474"/>
                      </a:lnTo>
                      <a:lnTo>
                        <a:pt x="33" y="479"/>
                      </a:lnTo>
                      <a:lnTo>
                        <a:pt x="35" y="482"/>
                      </a:lnTo>
                      <a:close/>
                      <a:moveTo>
                        <a:pt x="85" y="510"/>
                      </a:moveTo>
                      <a:lnTo>
                        <a:pt x="77" y="512"/>
                      </a:lnTo>
                      <a:lnTo>
                        <a:pt x="71" y="508"/>
                      </a:lnTo>
                      <a:lnTo>
                        <a:pt x="68" y="502"/>
                      </a:lnTo>
                      <a:lnTo>
                        <a:pt x="71" y="494"/>
                      </a:lnTo>
                      <a:lnTo>
                        <a:pt x="67" y="489"/>
                      </a:lnTo>
                      <a:lnTo>
                        <a:pt x="63" y="482"/>
                      </a:lnTo>
                      <a:lnTo>
                        <a:pt x="62" y="473"/>
                      </a:lnTo>
                      <a:lnTo>
                        <a:pt x="62" y="465"/>
                      </a:lnTo>
                      <a:lnTo>
                        <a:pt x="66" y="463"/>
                      </a:lnTo>
                      <a:lnTo>
                        <a:pt x="70" y="464"/>
                      </a:lnTo>
                      <a:lnTo>
                        <a:pt x="78" y="468"/>
                      </a:lnTo>
                      <a:lnTo>
                        <a:pt x="88" y="468"/>
                      </a:lnTo>
                      <a:lnTo>
                        <a:pt x="92" y="471"/>
                      </a:lnTo>
                      <a:lnTo>
                        <a:pt x="95" y="480"/>
                      </a:lnTo>
                      <a:lnTo>
                        <a:pt x="93" y="486"/>
                      </a:lnTo>
                      <a:lnTo>
                        <a:pt x="87" y="505"/>
                      </a:lnTo>
                      <a:lnTo>
                        <a:pt x="85" y="510"/>
                      </a:lnTo>
                      <a:close/>
                      <a:moveTo>
                        <a:pt x="102" y="460"/>
                      </a:moveTo>
                      <a:lnTo>
                        <a:pt x="98" y="468"/>
                      </a:lnTo>
                      <a:lnTo>
                        <a:pt x="93" y="459"/>
                      </a:lnTo>
                      <a:lnTo>
                        <a:pt x="95" y="456"/>
                      </a:lnTo>
                      <a:lnTo>
                        <a:pt x="95" y="453"/>
                      </a:lnTo>
                      <a:lnTo>
                        <a:pt x="95" y="449"/>
                      </a:lnTo>
                      <a:lnTo>
                        <a:pt x="97" y="449"/>
                      </a:lnTo>
                      <a:lnTo>
                        <a:pt x="98" y="452"/>
                      </a:lnTo>
                      <a:lnTo>
                        <a:pt x="102" y="457"/>
                      </a:lnTo>
                      <a:lnTo>
                        <a:pt x="101" y="458"/>
                      </a:lnTo>
                      <a:lnTo>
                        <a:pt x="102" y="460"/>
                      </a:lnTo>
                      <a:close/>
                      <a:moveTo>
                        <a:pt x="87" y="454"/>
                      </a:moveTo>
                      <a:lnTo>
                        <a:pt x="85" y="457"/>
                      </a:lnTo>
                      <a:lnTo>
                        <a:pt x="81" y="454"/>
                      </a:lnTo>
                      <a:lnTo>
                        <a:pt x="81" y="451"/>
                      </a:lnTo>
                      <a:lnTo>
                        <a:pt x="82" y="449"/>
                      </a:lnTo>
                      <a:lnTo>
                        <a:pt x="86" y="443"/>
                      </a:lnTo>
                      <a:lnTo>
                        <a:pt x="90" y="440"/>
                      </a:lnTo>
                      <a:lnTo>
                        <a:pt x="92" y="436"/>
                      </a:lnTo>
                      <a:lnTo>
                        <a:pt x="92" y="440"/>
                      </a:lnTo>
                      <a:lnTo>
                        <a:pt x="88" y="445"/>
                      </a:lnTo>
                      <a:lnTo>
                        <a:pt x="87" y="454"/>
                      </a:lnTo>
                      <a:close/>
                      <a:moveTo>
                        <a:pt x="107" y="443"/>
                      </a:moveTo>
                      <a:lnTo>
                        <a:pt x="103" y="444"/>
                      </a:lnTo>
                      <a:lnTo>
                        <a:pt x="102" y="443"/>
                      </a:lnTo>
                      <a:lnTo>
                        <a:pt x="102" y="438"/>
                      </a:lnTo>
                      <a:lnTo>
                        <a:pt x="102" y="433"/>
                      </a:lnTo>
                      <a:lnTo>
                        <a:pt x="105" y="428"/>
                      </a:lnTo>
                      <a:lnTo>
                        <a:pt x="107" y="425"/>
                      </a:lnTo>
                      <a:lnTo>
                        <a:pt x="108" y="425"/>
                      </a:lnTo>
                      <a:lnTo>
                        <a:pt x="111" y="423"/>
                      </a:lnTo>
                      <a:lnTo>
                        <a:pt x="115" y="421"/>
                      </a:lnTo>
                      <a:lnTo>
                        <a:pt x="122" y="424"/>
                      </a:lnTo>
                      <a:lnTo>
                        <a:pt x="124" y="428"/>
                      </a:lnTo>
                      <a:lnTo>
                        <a:pt x="123" y="430"/>
                      </a:lnTo>
                      <a:lnTo>
                        <a:pt x="118" y="435"/>
                      </a:lnTo>
                      <a:lnTo>
                        <a:pt x="114" y="439"/>
                      </a:lnTo>
                      <a:lnTo>
                        <a:pt x="111" y="441"/>
                      </a:lnTo>
                      <a:lnTo>
                        <a:pt x="107" y="443"/>
                      </a:lnTo>
                      <a:close/>
                      <a:moveTo>
                        <a:pt x="150" y="419"/>
                      </a:moveTo>
                      <a:lnTo>
                        <a:pt x="138" y="420"/>
                      </a:lnTo>
                      <a:lnTo>
                        <a:pt x="140" y="418"/>
                      </a:lnTo>
                      <a:lnTo>
                        <a:pt x="142" y="416"/>
                      </a:lnTo>
                      <a:lnTo>
                        <a:pt x="150" y="413"/>
                      </a:lnTo>
                      <a:lnTo>
                        <a:pt x="150" y="409"/>
                      </a:lnTo>
                      <a:lnTo>
                        <a:pt x="152" y="403"/>
                      </a:lnTo>
                      <a:lnTo>
                        <a:pt x="156" y="398"/>
                      </a:lnTo>
                      <a:lnTo>
                        <a:pt x="160" y="398"/>
                      </a:lnTo>
                      <a:lnTo>
                        <a:pt x="166" y="399"/>
                      </a:lnTo>
                      <a:lnTo>
                        <a:pt x="166" y="402"/>
                      </a:lnTo>
                      <a:lnTo>
                        <a:pt x="160" y="412"/>
                      </a:lnTo>
                      <a:lnTo>
                        <a:pt x="150" y="419"/>
                      </a:lnTo>
                      <a:close/>
                      <a:moveTo>
                        <a:pt x="145" y="389"/>
                      </a:moveTo>
                      <a:lnTo>
                        <a:pt x="146" y="389"/>
                      </a:lnTo>
                      <a:lnTo>
                        <a:pt x="146" y="393"/>
                      </a:lnTo>
                      <a:lnTo>
                        <a:pt x="151" y="394"/>
                      </a:lnTo>
                      <a:lnTo>
                        <a:pt x="151" y="395"/>
                      </a:lnTo>
                      <a:lnTo>
                        <a:pt x="153" y="397"/>
                      </a:lnTo>
                      <a:lnTo>
                        <a:pt x="148" y="399"/>
                      </a:lnTo>
                      <a:lnTo>
                        <a:pt x="145" y="403"/>
                      </a:lnTo>
                      <a:lnTo>
                        <a:pt x="142" y="403"/>
                      </a:lnTo>
                      <a:lnTo>
                        <a:pt x="142" y="398"/>
                      </a:lnTo>
                      <a:lnTo>
                        <a:pt x="137" y="395"/>
                      </a:lnTo>
                      <a:lnTo>
                        <a:pt x="140" y="392"/>
                      </a:lnTo>
                      <a:lnTo>
                        <a:pt x="142" y="393"/>
                      </a:lnTo>
                      <a:lnTo>
                        <a:pt x="145" y="389"/>
                      </a:lnTo>
                      <a:close/>
                      <a:moveTo>
                        <a:pt x="190" y="383"/>
                      </a:moveTo>
                      <a:lnTo>
                        <a:pt x="191" y="384"/>
                      </a:lnTo>
                      <a:lnTo>
                        <a:pt x="188" y="387"/>
                      </a:lnTo>
                      <a:lnTo>
                        <a:pt x="185" y="389"/>
                      </a:lnTo>
                      <a:lnTo>
                        <a:pt x="185" y="384"/>
                      </a:lnTo>
                      <a:lnTo>
                        <a:pt x="183" y="384"/>
                      </a:lnTo>
                      <a:lnTo>
                        <a:pt x="181" y="378"/>
                      </a:lnTo>
                      <a:lnTo>
                        <a:pt x="183" y="374"/>
                      </a:lnTo>
                      <a:lnTo>
                        <a:pt x="187" y="379"/>
                      </a:lnTo>
                      <a:lnTo>
                        <a:pt x="187" y="382"/>
                      </a:lnTo>
                      <a:lnTo>
                        <a:pt x="190" y="383"/>
                      </a:lnTo>
                      <a:close/>
                      <a:moveTo>
                        <a:pt x="171" y="322"/>
                      </a:moveTo>
                      <a:lnTo>
                        <a:pt x="175" y="323"/>
                      </a:lnTo>
                      <a:lnTo>
                        <a:pt x="182" y="322"/>
                      </a:lnTo>
                      <a:lnTo>
                        <a:pt x="193" y="315"/>
                      </a:lnTo>
                      <a:lnTo>
                        <a:pt x="201" y="314"/>
                      </a:lnTo>
                      <a:lnTo>
                        <a:pt x="206" y="322"/>
                      </a:lnTo>
                      <a:lnTo>
                        <a:pt x="192" y="330"/>
                      </a:lnTo>
                      <a:lnTo>
                        <a:pt x="175" y="375"/>
                      </a:lnTo>
                      <a:lnTo>
                        <a:pt x="162" y="387"/>
                      </a:lnTo>
                      <a:lnTo>
                        <a:pt x="161" y="384"/>
                      </a:lnTo>
                      <a:lnTo>
                        <a:pt x="161" y="378"/>
                      </a:lnTo>
                      <a:lnTo>
                        <a:pt x="161" y="368"/>
                      </a:lnTo>
                      <a:lnTo>
                        <a:pt x="160" y="363"/>
                      </a:lnTo>
                      <a:lnTo>
                        <a:pt x="155" y="364"/>
                      </a:lnTo>
                      <a:lnTo>
                        <a:pt x="147" y="369"/>
                      </a:lnTo>
                      <a:lnTo>
                        <a:pt x="131" y="370"/>
                      </a:lnTo>
                      <a:lnTo>
                        <a:pt x="123" y="373"/>
                      </a:lnTo>
                      <a:lnTo>
                        <a:pt x="115" y="377"/>
                      </a:lnTo>
                      <a:lnTo>
                        <a:pt x="106" y="364"/>
                      </a:lnTo>
                      <a:lnTo>
                        <a:pt x="102" y="357"/>
                      </a:lnTo>
                      <a:lnTo>
                        <a:pt x="103" y="350"/>
                      </a:lnTo>
                      <a:lnTo>
                        <a:pt x="105" y="348"/>
                      </a:lnTo>
                      <a:lnTo>
                        <a:pt x="107" y="347"/>
                      </a:lnTo>
                      <a:lnTo>
                        <a:pt x="113" y="345"/>
                      </a:lnTo>
                      <a:lnTo>
                        <a:pt x="117" y="344"/>
                      </a:lnTo>
                      <a:lnTo>
                        <a:pt x="125" y="334"/>
                      </a:lnTo>
                      <a:lnTo>
                        <a:pt x="133" y="328"/>
                      </a:lnTo>
                      <a:lnTo>
                        <a:pt x="140" y="324"/>
                      </a:lnTo>
                      <a:lnTo>
                        <a:pt x="155" y="320"/>
                      </a:lnTo>
                      <a:lnTo>
                        <a:pt x="163" y="314"/>
                      </a:lnTo>
                      <a:lnTo>
                        <a:pt x="166" y="314"/>
                      </a:lnTo>
                      <a:lnTo>
                        <a:pt x="168" y="315"/>
                      </a:lnTo>
                      <a:lnTo>
                        <a:pt x="171" y="322"/>
                      </a:lnTo>
                      <a:close/>
                      <a:moveTo>
                        <a:pt x="93" y="317"/>
                      </a:moveTo>
                      <a:lnTo>
                        <a:pt x="97" y="337"/>
                      </a:lnTo>
                      <a:lnTo>
                        <a:pt x="98" y="377"/>
                      </a:lnTo>
                      <a:lnTo>
                        <a:pt x="100" y="383"/>
                      </a:lnTo>
                      <a:lnTo>
                        <a:pt x="101" y="387"/>
                      </a:lnTo>
                      <a:lnTo>
                        <a:pt x="100" y="399"/>
                      </a:lnTo>
                      <a:lnTo>
                        <a:pt x="98" y="403"/>
                      </a:lnTo>
                      <a:lnTo>
                        <a:pt x="93" y="410"/>
                      </a:lnTo>
                      <a:lnTo>
                        <a:pt x="90" y="413"/>
                      </a:lnTo>
                      <a:lnTo>
                        <a:pt x="81" y="417"/>
                      </a:lnTo>
                      <a:lnTo>
                        <a:pt x="78" y="420"/>
                      </a:lnTo>
                      <a:lnTo>
                        <a:pt x="71" y="438"/>
                      </a:lnTo>
                      <a:lnTo>
                        <a:pt x="68" y="440"/>
                      </a:lnTo>
                      <a:lnTo>
                        <a:pt x="60" y="444"/>
                      </a:lnTo>
                      <a:lnTo>
                        <a:pt x="56" y="448"/>
                      </a:lnTo>
                      <a:lnTo>
                        <a:pt x="47" y="459"/>
                      </a:lnTo>
                      <a:lnTo>
                        <a:pt x="42" y="464"/>
                      </a:lnTo>
                      <a:lnTo>
                        <a:pt x="32" y="469"/>
                      </a:lnTo>
                      <a:lnTo>
                        <a:pt x="22" y="474"/>
                      </a:lnTo>
                      <a:lnTo>
                        <a:pt x="16" y="474"/>
                      </a:lnTo>
                      <a:lnTo>
                        <a:pt x="15" y="469"/>
                      </a:lnTo>
                      <a:lnTo>
                        <a:pt x="21" y="444"/>
                      </a:lnTo>
                      <a:lnTo>
                        <a:pt x="16" y="448"/>
                      </a:lnTo>
                      <a:lnTo>
                        <a:pt x="7" y="448"/>
                      </a:lnTo>
                      <a:lnTo>
                        <a:pt x="1" y="451"/>
                      </a:lnTo>
                      <a:lnTo>
                        <a:pt x="0" y="449"/>
                      </a:lnTo>
                      <a:lnTo>
                        <a:pt x="2" y="444"/>
                      </a:lnTo>
                      <a:lnTo>
                        <a:pt x="3" y="441"/>
                      </a:lnTo>
                      <a:lnTo>
                        <a:pt x="16" y="430"/>
                      </a:lnTo>
                      <a:lnTo>
                        <a:pt x="23" y="425"/>
                      </a:lnTo>
                      <a:lnTo>
                        <a:pt x="30" y="424"/>
                      </a:lnTo>
                      <a:lnTo>
                        <a:pt x="35" y="424"/>
                      </a:lnTo>
                      <a:lnTo>
                        <a:pt x="38" y="424"/>
                      </a:lnTo>
                      <a:lnTo>
                        <a:pt x="43" y="419"/>
                      </a:lnTo>
                      <a:lnTo>
                        <a:pt x="36" y="418"/>
                      </a:lnTo>
                      <a:lnTo>
                        <a:pt x="30" y="415"/>
                      </a:lnTo>
                      <a:lnTo>
                        <a:pt x="21" y="419"/>
                      </a:lnTo>
                      <a:lnTo>
                        <a:pt x="13" y="415"/>
                      </a:lnTo>
                      <a:lnTo>
                        <a:pt x="8" y="406"/>
                      </a:lnTo>
                      <a:lnTo>
                        <a:pt x="7" y="395"/>
                      </a:lnTo>
                      <a:lnTo>
                        <a:pt x="7" y="390"/>
                      </a:lnTo>
                      <a:lnTo>
                        <a:pt x="10" y="385"/>
                      </a:lnTo>
                      <a:lnTo>
                        <a:pt x="12" y="383"/>
                      </a:lnTo>
                      <a:lnTo>
                        <a:pt x="16" y="379"/>
                      </a:lnTo>
                      <a:lnTo>
                        <a:pt x="12" y="371"/>
                      </a:lnTo>
                      <a:lnTo>
                        <a:pt x="15" y="363"/>
                      </a:lnTo>
                      <a:lnTo>
                        <a:pt x="20" y="353"/>
                      </a:lnTo>
                      <a:lnTo>
                        <a:pt x="25" y="345"/>
                      </a:lnTo>
                      <a:lnTo>
                        <a:pt x="30" y="335"/>
                      </a:lnTo>
                      <a:lnTo>
                        <a:pt x="27" y="325"/>
                      </a:lnTo>
                      <a:lnTo>
                        <a:pt x="18" y="310"/>
                      </a:lnTo>
                      <a:lnTo>
                        <a:pt x="23" y="311"/>
                      </a:lnTo>
                      <a:lnTo>
                        <a:pt x="31" y="316"/>
                      </a:lnTo>
                      <a:lnTo>
                        <a:pt x="35" y="318"/>
                      </a:lnTo>
                      <a:lnTo>
                        <a:pt x="40" y="316"/>
                      </a:lnTo>
                      <a:lnTo>
                        <a:pt x="48" y="311"/>
                      </a:lnTo>
                      <a:lnTo>
                        <a:pt x="58" y="309"/>
                      </a:lnTo>
                      <a:lnTo>
                        <a:pt x="66" y="306"/>
                      </a:lnTo>
                      <a:lnTo>
                        <a:pt x="73" y="304"/>
                      </a:lnTo>
                      <a:lnTo>
                        <a:pt x="82" y="304"/>
                      </a:lnTo>
                      <a:lnTo>
                        <a:pt x="93" y="317"/>
                      </a:lnTo>
                      <a:close/>
                      <a:moveTo>
                        <a:pt x="205" y="305"/>
                      </a:moveTo>
                      <a:lnTo>
                        <a:pt x="203" y="307"/>
                      </a:lnTo>
                      <a:lnTo>
                        <a:pt x="202" y="297"/>
                      </a:lnTo>
                      <a:lnTo>
                        <a:pt x="202" y="290"/>
                      </a:lnTo>
                      <a:lnTo>
                        <a:pt x="205" y="287"/>
                      </a:lnTo>
                      <a:lnTo>
                        <a:pt x="208" y="287"/>
                      </a:lnTo>
                      <a:lnTo>
                        <a:pt x="211" y="292"/>
                      </a:lnTo>
                      <a:lnTo>
                        <a:pt x="211" y="298"/>
                      </a:lnTo>
                      <a:lnTo>
                        <a:pt x="205" y="305"/>
                      </a:lnTo>
                      <a:close/>
                      <a:moveTo>
                        <a:pt x="222" y="283"/>
                      </a:moveTo>
                      <a:lnTo>
                        <a:pt x="217" y="289"/>
                      </a:lnTo>
                      <a:lnTo>
                        <a:pt x="213" y="290"/>
                      </a:lnTo>
                      <a:lnTo>
                        <a:pt x="213" y="284"/>
                      </a:lnTo>
                      <a:lnTo>
                        <a:pt x="210" y="283"/>
                      </a:lnTo>
                      <a:lnTo>
                        <a:pt x="208" y="279"/>
                      </a:lnTo>
                      <a:lnTo>
                        <a:pt x="210" y="275"/>
                      </a:lnTo>
                      <a:lnTo>
                        <a:pt x="213" y="274"/>
                      </a:lnTo>
                      <a:lnTo>
                        <a:pt x="217" y="275"/>
                      </a:lnTo>
                      <a:lnTo>
                        <a:pt x="222" y="275"/>
                      </a:lnTo>
                      <a:lnTo>
                        <a:pt x="222" y="283"/>
                      </a:lnTo>
                      <a:close/>
                      <a:moveTo>
                        <a:pt x="200" y="274"/>
                      </a:moveTo>
                      <a:lnTo>
                        <a:pt x="197" y="280"/>
                      </a:lnTo>
                      <a:lnTo>
                        <a:pt x="198" y="283"/>
                      </a:lnTo>
                      <a:lnTo>
                        <a:pt x="200" y="288"/>
                      </a:lnTo>
                      <a:lnTo>
                        <a:pt x="198" y="297"/>
                      </a:lnTo>
                      <a:lnTo>
                        <a:pt x="196" y="302"/>
                      </a:lnTo>
                      <a:lnTo>
                        <a:pt x="191" y="303"/>
                      </a:lnTo>
                      <a:lnTo>
                        <a:pt x="187" y="304"/>
                      </a:lnTo>
                      <a:lnTo>
                        <a:pt x="188" y="309"/>
                      </a:lnTo>
                      <a:lnTo>
                        <a:pt x="182" y="303"/>
                      </a:lnTo>
                      <a:lnTo>
                        <a:pt x="181" y="298"/>
                      </a:lnTo>
                      <a:lnTo>
                        <a:pt x="182" y="292"/>
                      </a:lnTo>
                      <a:lnTo>
                        <a:pt x="181" y="288"/>
                      </a:lnTo>
                      <a:lnTo>
                        <a:pt x="177" y="285"/>
                      </a:lnTo>
                      <a:lnTo>
                        <a:pt x="177" y="282"/>
                      </a:lnTo>
                      <a:lnTo>
                        <a:pt x="183" y="273"/>
                      </a:lnTo>
                      <a:lnTo>
                        <a:pt x="186" y="273"/>
                      </a:lnTo>
                      <a:lnTo>
                        <a:pt x="190" y="270"/>
                      </a:lnTo>
                      <a:lnTo>
                        <a:pt x="192" y="269"/>
                      </a:lnTo>
                      <a:lnTo>
                        <a:pt x="196" y="272"/>
                      </a:lnTo>
                      <a:lnTo>
                        <a:pt x="200" y="274"/>
                      </a:lnTo>
                      <a:close/>
                      <a:moveTo>
                        <a:pt x="550" y="173"/>
                      </a:moveTo>
                      <a:lnTo>
                        <a:pt x="527" y="178"/>
                      </a:lnTo>
                      <a:lnTo>
                        <a:pt x="522" y="182"/>
                      </a:lnTo>
                      <a:lnTo>
                        <a:pt x="516" y="187"/>
                      </a:lnTo>
                      <a:lnTo>
                        <a:pt x="513" y="191"/>
                      </a:lnTo>
                      <a:lnTo>
                        <a:pt x="510" y="204"/>
                      </a:lnTo>
                      <a:lnTo>
                        <a:pt x="503" y="214"/>
                      </a:lnTo>
                      <a:lnTo>
                        <a:pt x="492" y="226"/>
                      </a:lnTo>
                      <a:lnTo>
                        <a:pt x="490" y="230"/>
                      </a:lnTo>
                      <a:lnTo>
                        <a:pt x="483" y="243"/>
                      </a:lnTo>
                      <a:lnTo>
                        <a:pt x="478" y="249"/>
                      </a:lnTo>
                      <a:lnTo>
                        <a:pt x="470" y="256"/>
                      </a:lnTo>
                      <a:lnTo>
                        <a:pt x="465" y="264"/>
                      </a:lnTo>
                      <a:lnTo>
                        <a:pt x="461" y="271"/>
                      </a:lnTo>
                      <a:lnTo>
                        <a:pt x="460" y="285"/>
                      </a:lnTo>
                      <a:lnTo>
                        <a:pt x="457" y="290"/>
                      </a:lnTo>
                      <a:lnTo>
                        <a:pt x="453" y="293"/>
                      </a:lnTo>
                      <a:lnTo>
                        <a:pt x="448" y="294"/>
                      </a:lnTo>
                      <a:lnTo>
                        <a:pt x="442" y="294"/>
                      </a:lnTo>
                      <a:lnTo>
                        <a:pt x="437" y="295"/>
                      </a:lnTo>
                      <a:lnTo>
                        <a:pt x="433" y="302"/>
                      </a:lnTo>
                      <a:lnTo>
                        <a:pt x="428" y="310"/>
                      </a:lnTo>
                      <a:lnTo>
                        <a:pt x="421" y="333"/>
                      </a:lnTo>
                      <a:lnTo>
                        <a:pt x="418" y="340"/>
                      </a:lnTo>
                      <a:lnTo>
                        <a:pt x="418" y="345"/>
                      </a:lnTo>
                      <a:lnTo>
                        <a:pt x="421" y="355"/>
                      </a:lnTo>
                      <a:lnTo>
                        <a:pt x="425" y="364"/>
                      </a:lnTo>
                      <a:lnTo>
                        <a:pt x="427" y="369"/>
                      </a:lnTo>
                      <a:lnTo>
                        <a:pt x="436" y="378"/>
                      </a:lnTo>
                      <a:lnTo>
                        <a:pt x="441" y="383"/>
                      </a:lnTo>
                      <a:lnTo>
                        <a:pt x="445" y="392"/>
                      </a:lnTo>
                      <a:lnTo>
                        <a:pt x="447" y="399"/>
                      </a:lnTo>
                      <a:lnTo>
                        <a:pt x="452" y="410"/>
                      </a:lnTo>
                      <a:lnTo>
                        <a:pt x="455" y="415"/>
                      </a:lnTo>
                      <a:lnTo>
                        <a:pt x="453" y="422"/>
                      </a:lnTo>
                      <a:lnTo>
                        <a:pt x="451" y="428"/>
                      </a:lnTo>
                      <a:lnTo>
                        <a:pt x="443" y="439"/>
                      </a:lnTo>
                      <a:lnTo>
                        <a:pt x="440" y="448"/>
                      </a:lnTo>
                      <a:lnTo>
                        <a:pt x="440" y="453"/>
                      </a:lnTo>
                      <a:lnTo>
                        <a:pt x="441" y="459"/>
                      </a:lnTo>
                      <a:lnTo>
                        <a:pt x="447" y="470"/>
                      </a:lnTo>
                      <a:lnTo>
                        <a:pt x="451" y="477"/>
                      </a:lnTo>
                      <a:lnTo>
                        <a:pt x="452" y="487"/>
                      </a:lnTo>
                      <a:lnTo>
                        <a:pt x="450" y="490"/>
                      </a:lnTo>
                      <a:lnTo>
                        <a:pt x="445" y="491"/>
                      </a:lnTo>
                      <a:lnTo>
                        <a:pt x="440" y="491"/>
                      </a:lnTo>
                      <a:lnTo>
                        <a:pt x="421" y="485"/>
                      </a:lnTo>
                      <a:lnTo>
                        <a:pt x="418" y="487"/>
                      </a:lnTo>
                      <a:lnTo>
                        <a:pt x="413" y="491"/>
                      </a:lnTo>
                      <a:lnTo>
                        <a:pt x="406" y="501"/>
                      </a:lnTo>
                      <a:lnTo>
                        <a:pt x="400" y="508"/>
                      </a:lnTo>
                      <a:lnTo>
                        <a:pt x="393" y="510"/>
                      </a:lnTo>
                      <a:lnTo>
                        <a:pt x="382" y="507"/>
                      </a:lnTo>
                      <a:lnTo>
                        <a:pt x="377" y="507"/>
                      </a:lnTo>
                      <a:lnTo>
                        <a:pt x="372" y="508"/>
                      </a:lnTo>
                      <a:lnTo>
                        <a:pt x="360" y="517"/>
                      </a:lnTo>
                      <a:lnTo>
                        <a:pt x="353" y="519"/>
                      </a:lnTo>
                      <a:lnTo>
                        <a:pt x="348" y="520"/>
                      </a:lnTo>
                      <a:lnTo>
                        <a:pt x="343" y="522"/>
                      </a:lnTo>
                      <a:lnTo>
                        <a:pt x="315" y="520"/>
                      </a:lnTo>
                      <a:lnTo>
                        <a:pt x="303" y="522"/>
                      </a:lnTo>
                      <a:lnTo>
                        <a:pt x="288" y="512"/>
                      </a:lnTo>
                      <a:lnTo>
                        <a:pt x="262" y="490"/>
                      </a:lnTo>
                      <a:lnTo>
                        <a:pt x="255" y="487"/>
                      </a:lnTo>
                      <a:lnTo>
                        <a:pt x="248" y="488"/>
                      </a:lnTo>
                      <a:lnTo>
                        <a:pt x="243" y="492"/>
                      </a:lnTo>
                      <a:lnTo>
                        <a:pt x="233" y="495"/>
                      </a:lnTo>
                      <a:lnTo>
                        <a:pt x="228" y="498"/>
                      </a:lnTo>
                      <a:lnTo>
                        <a:pt x="207" y="504"/>
                      </a:lnTo>
                      <a:lnTo>
                        <a:pt x="198" y="508"/>
                      </a:lnTo>
                      <a:lnTo>
                        <a:pt x="187" y="510"/>
                      </a:lnTo>
                      <a:lnTo>
                        <a:pt x="181" y="510"/>
                      </a:lnTo>
                      <a:lnTo>
                        <a:pt x="175" y="508"/>
                      </a:lnTo>
                      <a:lnTo>
                        <a:pt x="171" y="504"/>
                      </a:lnTo>
                      <a:lnTo>
                        <a:pt x="160" y="492"/>
                      </a:lnTo>
                      <a:lnTo>
                        <a:pt x="156" y="488"/>
                      </a:lnTo>
                      <a:lnTo>
                        <a:pt x="157" y="485"/>
                      </a:lnTo>
                      <a:lnTo>
                        <a:pt x="161" y="484"/>
                      </a:lnTo>
                      <a:lnTo>
                        <a:pt x="161" y="483"/>
                      </a:lnTo>
                      <a:lnTo>
                        <a:pt x="161" y="475"/>
                      </a:lnTo>
                      <a:lnTo>
                        <a:pt x="161" y="474"/>
                      </a:lnTo>
                      <a:lnTo>
                        <a:pt x="191" y="442"/>
                      </a:lnTo>
                      <a:lnTo>
                        <a:pt x="195" y="430"/>
                      </a:lnTo>
                      <a:lnTo>
                        <a:pt x="196" y="428"/>
                      </a:lnTo>
                      <a:lnTo>
                        <a:pt x="201" y="424"/>
                      </a:lnTo>
                      <a:lnTo>
                        <a:pt x="202" y="422"/>
                      </a:lnTo>
                      <a:lnTo>
                        <a:pt x="203" y="418"/>
                      </a:lnTo>
                      <a:lnTo>
                        <a:pt x="202" y="413"/>
                      </a:lnTo>
                      <a:lnTo>
                        <a:pt x="202" y="409"/>
                      </a:lnTo>
                      <a:lnTo>
                        <a:pt x="206" y="399"/>
                      </a:lnTo>
                      <a:lnTo>
                        <a:pt x="208" y="399"/>
                      </a:lnTo>
                      <a:lnTo>
                        <a:pt x="220" y="409"/>
                      </a:lnTo>
                      <a:lnTo>
                        <a:pt x="223" y="404"/>
                      </a:lnTo>
                      <a:lnTo>
                        <a:pt x="223" y="398"/>
                      </a:lnTo>
                      <a:lnTo>
                        <a:pt x="222" y="384"/>
                      </a:lnTo>
                      <a:lnTo>
                        <a:pt x="223" y="382"/>
                      </a:lnTo>
                      <a:lnTo>
                        <a:pt x="235" y="367"/>
                      </a:lnTo>
                      <a:lnTo>
                        <a:pt x="243" y="362"/>
                      </a:lnTo>
                      <a:lnTo>
                        <a:pt x="247" y="349"/>
                      </a:lnTo>
                      <a:lnTo>
                        <a:pt x="245" y="338"/>
                      </a:lnTo>
                      <a:lnTo>
                        <a:pt x="238" y="330"/>
                      </a:lnTo>
                      <a:lnTo>
                        <a:pt x="242" y="325"/>
                      </a:lnTo>
                      <a:lnTo>
                        <a:pt x="246" y="324"/>
                      </a:lnTo>
                      <a:lnTo>
                        <a:pt x="257" y="324"/>
                      </a:lnTo>
                      <a:lnTo>
                        <a:pt x="255" y="318"/>
                      </a:lnTo>
                      <a:lnTo>
                        <a:pt x="245" y="310"/>
                      </a:lnTo>
                      <a:lnTo>
                        <a:pt x="245" y="304"/>
                      </a:lnTo>
                      <a:lnTo>
                        <a:pt x="246" y="300"/>
                      </a:lnTo>
                      <a:lnTo>
                        <a:pt x="275" y="275"/>
                      </a:lnTo>
                      <a:lnTo>
                        <a:pt x="281" y="268"/>
                      </a:lnTo>
                      <a:lnTo>
                        <a:pt x="286" y="255"/>
                      </a:lnTo>
                      <a:lnTo>
                        <a:pt x="275" y="255"/>
                      </a:lnTo>
                      <a:lnTo>
                        <a:pt x="210" y="268"/>
                      </a:lnTo>
                      <a:lnTo>
                        <a:pt x="202" y="272"/>
                      </a:lnTo>
                      <a:lnTo>
                        <a:pt x="197" y="269"/>
                      </a:lnTo>
                      <a:lnTo>
                        <a:pt x="201" y="262"/>
                      </a:lnTo>
                      <a:lnTo>
                        <a:pt x="208" y="257"/>
                      </a:lnTo>
                      <a:lnTo>
                        <a:pt x="236" y="243"/>
                      </a:lnTo>
                      <a:lnTo>
                        <a:pt x="245" y="234"/>
                      </a:lnTo>
                      <a:lnTo>
                        <a:pt x="248" y="231"/>
                      </a:lnTo>
                      <a:lnTo>
                        <a:pt x="255" y="233"/>
                      </a:lnTo>
                      <a:lnTo>
                        <a:pt x="261" y="230"/>
                      </a:lnTo>
                      <a:lnTo>
                        <a:pt x="268" y="229"/>
                      </a:lnTo>
                      <a:lnTo>
                        <a:pt x="268" y="225"/>
                      </a:lnTo>
                      <a:lnTo>
                        <a:pt x="263" y="223"/>
                      </a:lnTo>
                      <a:lnTo>
                        <a:pt x="258" y="219"/>
                      </a:lnTo>
                      <a:lnTo>
                        <a:pt x="256" y="213"/>
                      </a:lnTo>
                      <a:lnTo>
                        <a:pt x="255" y="208"/>
                      </a:lnTo>
                      <a:lnTo>
                        <a:pt x="256" y="204"/>
                      </a:lnTo>
                      <a:lnTo>
                        <a:pt x="257" y="201"/>
                      </a:lnTo>
                      <a:lnTo>
                        <a:pt x="262" y="195"/>
                      </a:lnTo>
                      <a:lnTo>
                        <a:pt x="263" y="193"/>
                      </a:lnTo>
                      <a:lnTo>
                        <a:pt x="261" y="188"/>
                      </a:lnTo>
                      <a:lnTo>
                        <a:pt x="261" y="185"/>
                      </a:lnTo>
                      <a:lnTo>
                        <a:pt x="256" y="175"/>
                      </a:lnTo>
                      <a:lnTo>
                        <a:pt x="225" y="150"/>
                      </a:lnTo>
                      <a:lnTo>
                        <a:pt x="206" y="130"/>
                      </a:lnTo>
                      <a:lnTo>
                        <a:pt x="195" y="124"/>
                      </a:lnTo>
                      <a:lnTo>
                        <a:pt x="191" y="115"/>
                      </a:lnTo>
                      <a:lnTo>
                        <a:pt x="190" y="96"/>
                      </a:lnTo>
                      <a:lnTo>
                        <a:pt x="196" y="93"/>
                      </a:lnTo>
                      <a:lnTo>
                        <a:pt x="212" y="90"/>
                      </a:lnTo>
                      <a:lnTo>
                        <a:pt x="217" y="88"/>
                      </a:lnTo>
                      <a:lnTo>
                        <a:pt x="218" y="83"/>
                      </a:lnTo>
                      <a:lnTo>
                        <a:pt x="218" y="80"/>
                      </a:lnTo>
                      <a:lnTo>
                        <a:pt x="217" y="71"/>
                      </a:lnTo>
                      <a:lnTo>
                        <a:pt x="221" y="64"/>
                      </a:lnTo>
                      <a:lnTo>
                        <a:pt x="227" y="58"/>
                      </a:lnTo>
                      <a:lnTo>
                        <a:pt x="237" y="50"/>
                      </a:lnTo>
                      <a:lnTo>
                        <a:pt x="243" y="44"/>
                      </a:lnTo>
                      <a:lnTo>
                        <a:pt x="250" y="40"/>
                      </a:lnTo>
                      <a:lnTo>
                        <a:pt x="266" y="39"/>
                      </a:lnTo>
                      <a:lnTo>
                        <a:pt x="272" y="38"/>
                      </a:lnTo>
                      <a:lnTo>
                        <a:pt x="278" y="33"/>
                      </a:lnTo>
                      <a:lnTo>
                        <a:pt x="287" y="23"/>
                      </a:lnTo>
                      <a:lnTo>
                        <a:pt x="292" y="20"/>
                      </a:lnTo>
                      <a:lnTo>
                        <a:pt x="298" y="20"/>
                      </a:lnTo>
                      <a:lnTo>
                        <a:pt x="305" y="20"/>
                      </a:lnTo>
                      <a:lnTo>
                        <a:pt x="310" y="23"/>
                      </a:lnTo>
                      <a:lnTo>
                        <a:pt x="333" y="39"/>
                      </a:lnTo>
                      <a:lnTo>
                        <a:pt x="352" y="49"/>
                      </a:lnTo>
                      <a:lnTo>
                        <a:pt x="367" y="54"/>
                      </a:lnTo>
                      <a:lnTo>
                        <a:pt x="400" y="71"/>
                      </a:lnTo>
                      <a:lnTo>
                        <a:pt x="410" y="74"/>
                      </a:lnTo>
                      <a:lnTo>
                        <a:pt x="416" y="71"/>
                      </a:lnTo>
                      <a:lnTo>
                        <a:pt x="417" y="66"/>
                      </a:lnTo>
                      <a:lnTo>
                        <a:pt x="422" y="54"/>
                      </a:lnTo>
                      <a:lnTo>
                        <a:pt x="423" y="49"/>
                      </a:lnTo>
                      <a:lnTo>
                        <a:pt x="421" y="45"/>
                      </a:lnTo>
                      <a:lnTo>
                        <a:pt x="413" y="35"/>
                      </a:lnTo>
                      <a:lnTo>
                        <a:pt x="411" y="30"/>
                      </a:lnTo>
                      <a:lnTo>
                        <a:pt x="408" y="18"/>
                      </a:lnTo>
                      <a:lnTo>
                        <a:pt x="408" y="14"/>
                      </a:lnTo>
                      <a:lnTo>
                        <a:pt x="410" y="10"/>
                      </a:lnTo>
                      <a:lnTo>
                        <a:pt x="422" y="8"/>
                      </a:lnTo>
                      <a:lnTo>
                        <a:pt x="431" y="3"/>
                      </a:lnTo>
                      <a:lnTo>
                        <a:pt x="437" y="0"/>
                      </a:lnTo>
                      <a:lnTo>
                        <a:pt x="443" y="0"/>
                      </a:lnTo>
                      <a:lnTo>
                        <a:pt x="456" y="8"/>
                      </a:lnTo>
                      <a:lnTo>
                        <a:pt x="470" y="19"/>
                      </a:lnTo>
                      <a:lnTo>
                        <a:pt x="476" y="26"/>
                      </a:lnTo>
                      <a:lnTo>
                        <a:pt x="488" y="51"/>
                      </a:lnTo>
                      <a:lnTo>
                        <a:pt x="492" y="58"/>
                      </a:lnTo>
                      <a:lnTo>
                        <a:pt x="500" y="68"/>
                      </a:lnTo>
                      <a:lnTo>
                        <a:pt x="503" y="73"/>
                      </a:lnTo>
                      <a:lnTo>
                        <a:pt x="507" y="88"/>
                      </a:lnTo>
                      <a:lnTo>
                        <a:pt x="513" y="99"/>
                      </a:lnTo>
                      <a:lnTo>
                        <a:pt x="516" y="109"/>
                      </a:lnTo>
                      <a:lnTo>
                        <a:pt x="517" y="133"/>
                      </a:lnTo>
                      <a:lnTo>
                        <a:pt x="518" y="138"/>
                      </a:lnTo>
                      <a:lnTo>
                        <a:pt x="525" y="151"/>
                      </a:lnTo>
                      <a:lnTo>
                        <a:pt x="550" y="173"/>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1" name="Miyazaki" descr="{&quot;Key&quot;:&quot;miyazaki&quot;,&quot;Name&quot;:&quot;Miyazaki&quot;,&quot;Value&quot;:1.0,&quot;Formula&quot;:&quot;&quot;,&quot;Text&quot;:&quot;&quot;,&quot;OfficeApplication&quot;:1,&quot;HasValue&quot;:true}">
                  <a:extLst>
                    <a:ext uri="{FF2B5EF4-FFF2-40B4-BE49-F238E27FC236}">
                      <a16:creationId xmlns:a16="http://schemas.microsoft.com/office/drawing/2014/main" id="{E8D15917-7BAB-410D-B95A-1B6B2B5FA85E}"/>
                    </a:ext>
                  </a:extLst>
                </p:cNvPr>
                <p:cNvSpPr>
                  <a:spLocks noEditPoints="1"/>
                </p:cNvSpPr>
                <p:nvPr/>
              </p:nvSpPr>
              <p:spPr bwMode="auto">
                <a:xfrm>
                  <a:off x="4727575" y="4491038"/>
                  <a:ext cx="274638" cy="403225"/>
                </a:xfrm>
                <a:custGeom>
                  <a:avLst/>
                  <a:gdLst>
                    <a:gd name="T0" fmla="*/ 285 w 472"/>
                    <a:gd name="T1" fmla="*/ 607 h 690"/>
                    <a:gd name="T2" fmla="*/ 458 w 472"/>
                    <a:gd name="T3" fmla="*/ 74 h 690"/>
                    <a:gd name="T4" fmla="*/ 446 w 472"/>
                    <a:gd name="T5" fmla="*/ 72 h 690"/>
                    <a:gd name="T6" fmla="*/ 470 w 472"/>
                    <a:gd name="T7" fmla="*/ 45 h 690"/>
                    <a:gd name="T8" fmla="*/ 461 w 472"/>
                    <a:gd name="T9" fmla="*/ 67 h 690"/>
                    <a:gd name="T10" fmla="*/ 443 w 472"/>
                    <a:gd name="T11" fmla="*/ 67 h 690"/>
                    <a:gd name="T12" fmla="*/ 430 w 472"/>
                    <a:gd name="T13" fmla="*/ 91 h 690"/>
                    <a:gd name="T14" fmla="*/ 414 w 472"/>
                    <a:gd name="T15" fmla="*/ 114 h 690"/>
                    <a:gd name="T16" fmla="*/ 395 w 472"/>
                    <a:gd name="T17" fmla="*/ 137 h 690"/>
                    <a:gd name="T18" fmla="*/ 410 w 472"/>
                    <a:gd name="T19" fmla="*/ 150 h 690"/>
                    <a:gd name="T20" fmla="*/ 394 w 472"/>
                    <a:gd name="T21" fmla="*/ 166 h 690"/>
                    <a:gd name="T22" fmla="*/ 398 w 472"/>
                    <a:gd name="T23" fmla="*/ 191 h 690"/>
                    <a:gd name="T24" fmla="*/ 375 w 472"/>
                    <a:gd name="T25" fmla="*/ 204 h 690"/>
                    <a:gd name="T26" fmla="*/ 369 w 472"/>
                    <a:gd name="T27" fmla="*/ 234 h 690"/>
                    <a:gd name="T28" fmla="*/ 346 w 472"/>
                    <a:gd name="T29" fmla="*/ 287 h 690"/>
                    <a:gd name="T30" fmla="*/ 305 w 472"/>
                    <a:gd name="T31" fmla="*/ 436 h 690"/>
                    <a:gd name="T32" fmla="*/ 304 w 472"/>
                    <a:gd name="T33" fmla="*/ 476 h 690"/>
                    <a:gd name="T34" fmla="*/ 313 w 472"/>
                    <a:gd name="T35" fmla="*/ 500 h 690"/>
                    <a:gd name="T36" fmla="*/ 291 w 472"/>
                    <a:gd name="T37" fmla="*/ 581 h 690"/>
                    <a:gd name="T38" fmla="*/ 278 w 472"/>
                    <a:gd name="T39" fmla="*/ 605 h 690"/>
                    <a:gd name="T40" fmla="*/ 279 w 472"/>
                    <a:gd name="T41" fmla="*/ 632 h 690"/>
                    <a:gd name="T42" fmla="*/ 265 w 472"/>
                    <a:gd name="T43" fmla="*/ 670 h 690"/>
                    <a:gd name="T44" fmla="*/ 254 w 472"/>
                    <a:gd name="T45" fmla="*/ 690 h 690"/>
                    <a:gd name="T46" fmla="*/ 235 w 472"/>
                    <a:gd name="T47" fmla="*/ 684 h 690"/>
                    <a:gd name="T48" fmla="*/ 219 w 472"/>
                    <a:gd name="T49" fmla="*/ 668 h 690"/>
                    <a:gd name="T50" fmla="*/ 206 w 472"/>
                    <a:gd name="T51" fmla="*/ 649 h 690"/>
                    <a:gd name="T52" fmla="*/ 183 w 472"/>
                    <a:gd name="T53" fmla="*/ 637 h 690"/>
                    <a:gd name="T54" fmla="*/ 198 w 472"/>
                    <a:gd name="T55" fmla="*/ 597 h 690"/>
                    <a:gd name="T56" fmla="*/ 184 w 472"/>
                    <a:gd name="T57" fmla="*/ 575 h 690"/>
                    <a:gd name="T58" fmla="*/ 149 w 472"/>
                    <a:gd name="T59" fmla="*/ 565 h 690"/>
                    <a:gd name="T60" fmla="*/ 125 w 472"/>
                    <a:gd name="T61" fmla="*/ 540 h 690"/>
                    <a:gd name="T62" fmla="*/ 106 w 472"/>
                    <a:gd name="T63" fmla="*/ 505 h 690"/>
                    <a:gd name="T64" fmla="*/ 71 w 472"/>
                    <a:gd name="T65" fmla="*/ 475 h 690"/>
                    <a:gd name="T66" fmla="*/ 50 w 472"/>
                    <a:gd name="T67" fmla="*/ 430 h 690"/>
                    <a:gd name="T68" fmla="*/ 5 w 472"/>
                    <a:gd name="T69" fmla="*/ 367 h 690"/>
                    <a:gd name="T70" fmla="*/ 45 w 472"/>
                    <a:gd name="T71" fmla="*/ 349 h 690"/>
                    <a:gd name="T72" fmla="*/ 74 w 472"/>
                    <a:gd name="T73" fmla="*/ 335 h 690"/>
                    <a:gd name="T74" fmla="*/ 101 w 472"/>
                    <a:gd name="T75" fmla="*/ 335 h 690"/>
                    <a:gd name="T76" fmla="*/ 123 w 472"/>
                    <a:gd name="T77" fmla="*/ 312 h 690"/>
                    <a:gd name="T78" fmla="*/ 154 w 472"/>
                    <a:gd name="T79" fmla="*/ 314 h 690"/>
                    <a:gd name="T80" fmla="*/ 141 w 472"/>
                    <a:gd name="T81" fmla="*/ 280 h 690"/>
                    <a:gd name="T82" fmla="*/ 155 w 472"/>
                    <a:gd name="T83" fmla="*/ 249 h 690"/>
                    <a:gd name="T84" fmla="*/ 146 w 472"/>
                    <a:gd name="T85" fmla="*/ 219 h 690"/>
                    <a:gd name="T86" fmla="*/ 126 w 472"/>
                    <a:gd name="T87" fmla="*/ 191 h 690"/>
                    <a:gd name="T88" fmla="*/ 123 w 472"/>
                    <a:gd name="T89" fmla="*/ 160 h 690"/>
                    <a:gd name="T90" fmla="*/ 144 w 472"/>
                    <a:gd name="T91" fmla="*/ 121 h 690"/>
                    <a:gd name="T92" fmla="*/ 161 w 472"/>
                    <a:gd name="T93" fmla="*/ 112 h 690"/>
                    <a:gd name="T94" fmla="*/ 180 w 472"/>
                    <a:gd name="T95" fmla="*/ 76 h 690"/>
                    <a:gd name="T96" fmla="*/ 205 w 472"/>
                    <a:gd name="T97" fmla="*/ 41 h 690"/>
                    <a:gd name="T98" fmla="*/ 224 w 472"/>
                    <a:gd name="T99" fmla="*/ 9 h 690"/>
                    <a:gd name="T100" fmla="*/ 264 w 472"/>
                    <a:gd name="T101" fmla="*/ 9 h 690"/>
                    <a:gd name="T102" fmla="*/ 301 w 472"/>
                    <a:gd name="T103" fmla="*/ 2 h 690"/>
                    <a:gd name="T104" fmla="*/ 323 w 472"/>
                    <a:gd name="T105" fmla="*/ 14 h 690"/>
                    <a:gd name="T106" fmla="*/ 325 w 472"/>
                    <a:gd name="T107" fmla="*/ 34 h 690"/>
                    <a:gd name="T108" fmla="*/ 345 w 472"/>
                    <a:gd name="T109" fmla="*/ 35 h 690"/>
                    <a:gd name="T110" fmla="*/ 400 w 472"/>
                    <a:gd name="T111" fmla="*/ 26 h 690"/>
                    <a:gd name="T112" fmla="*/ 416 w 472"/>
                    <a:gd name="T113" fmla="*/ 1 h 690"/>
                    <a:gd name="T114" fmla="*/ 440 w 472"/>
                    <a:gd name="T115" fmla="*/ 3 h 690"/>
                    <a:gd name="T116" fmla="*/ 454 w 472"/>
                    <a:gd name="T117" fmla="*/ 34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690">
                      <a:moveTo>
                        <a:pt x="288" y="615"/>
                      </a:moveTo>
                      <a:lnTo>
                        <a:pt x="289" y="622"/>
                      </a:lnTo>
                      <a:lnTo>
                        <a:pt x="284" y="616"/>
                      </a:lnTo>
                      <a:lnTo>
                        <a:pt x="285" y="607"/>
                      </a:lnTo>
                      <a:lnTo>
                        <a:pt x="287" y="609"/>
                      </a:lnTo>
                      <a:lnTo>
                        <a:pt x="288" y="615"/>
                      </a:lnTo>
                      <a:close/>
                      <a:moveTo>
                        <a:pt x="453" y="72"/>
                      </a:moveTo>
                      <a:lnTo>
                        <a:pt x="458" y="74"/>
                      </a:lnTo>
                      <a:lnTo>
                        <a:pt x="451" y="80"/>
                      </a:lnTo>
                      <a:lnTo>
                        <a:pt x="448" y="79"/>
                      </a:lnTo>
                      <a:lnTo>
                        <a:pt x="446" y="76"/>
                      </a:lnTo>
                      <a:lnTo>
                        <a:pt x="446" y="72"/>
                      </a:lnTo>
                      <a:lnTo>
                        <a:pt x="449" y="71"/>
                      </a:lnTo>
                      <a:lnTo>
                        <a:pt x="453" y="72"/>
                      </a:lnTo>
                      <a:close/>
                      <a:moveTo>
                        <a:pt x="472" y="44"/>
                      </a:moveTo>
                      <a:lnTo>
                        <a:pt x="470" y="45"/>
                      </a:lnTo>
                      <a:lnTo>
                        <a:pt x="466" y="50"/>
                      </a:lnTo>
                      <a:lnTo>
                        <a:pt x="465" y="57"/>
                      </a:lnTo>
                      <a:lnTo>
                        <a:pt x="465" y="65"/>
                      </a:lnTo>
                      <a:lnTo>
                        <a:pt x="461" y="67"/>
                      </a:lnTo>
                      <a:lnTo>
                        <a:pt x="455" y="59"/>
                      </a:lnTo>
                      <a:lnTo>
                        <a:pt x="451" y="57"/>
                      </a:lnTo>
                      <a:lnTo>
                        <a:pt x="449" y="64"/>
                      </a:lnTo>
                      <a:lnTo>
                        <a:pt x="443" y="67"/>
                      </a:lnTo>
                      <a:lnTo>
                        <a:pt x="438" y="76"/>
                      </a:lnTo>
                      <a:lnTo>
                        <a:pt x="433" y="80"/>
                      </a:lnTo>
                      <a:lnTo>
                        <a:pt x="429" y="85"/>
                      </a:lnTo>
                      <a:lnTo>
                        <a:pt x="430" y="91"/>
                      </a:lnTo>
                      <a:lnTo>
                        <a:pt x="429" y="96"/>
                      </a:lnTo>
                      <a:lnTo>
                        <a:pt x="421" y="109"/>
                      </a:lnTo>
                      <a:lnTo>
                        <a:pt x="419" y="111"/>
                      </a:lnTo>
                      <a:lnTo>
                        <a:pt x="414" y="114"/>
                      </a:lnTo>
                      <a:lnTo>
                        <a:pt x="405" y="112"/>
                      </a:lnTo>
                      <a:lnTo>
                        <a:pt x="404" y="115"/>
                      </a:lnTo>
                      <a:lnTo>
                        <a:pt x="401" y="122"/>
                      </a:lnTo>
                      <a:lnTo>
                        <a:pt x="395" y="137"/>
                      </a:lnTo>
                      <a:lnTo>
                        <a:pt x="397" y="142"/>
                      </a:lnTo>
                      <a:lnTo>
                        <a:pt x="400" y="149"/>
                      </a:lnTo>
                      <a:lnTo>
                        <a:pt x="408" y="149"/>
                      </a:lnTo>
                      <a:lnTo>
                        <a:pt x="410" y="150"/>
                      </a:lnTo>
                      <a:lnTo>
                        <a:pt x="417" y="157"/>
                      </a:lnTo>
                      <a:lnTo>
                        <a:pt x="409" y="166"/>
                      </a:lnTo>
                      <a:lnTo>
                        <a:pt x="400" y="169"/>
                      </a:lnTo>
                      <a:lnTo>
                        <a:pt x="394" y="166"/>
                      </a:lnTo>
                      <a:lnTo>
                        <a:pt x="386" y="165"/>
                      </a:lnTo>
                      <a:lnTo>
                        <a:pt x="384" y="174"/>
                      </a:lnTo>
                      <a:lnTo>
                        <a:pt x="392" y="181"/>
                      </a:lnTo>
                      <a:lnTo>
                        <a:pt x="398" y="191"/>
                      </a:lnTo>
                      <a:lnTo>
                        <a:pt x="388" y="199"/>
                      </a:lnTo>
                      <a:lnTo>
                        <a:pt x="383" y="201"/>
                      </a:lnTo>
                      <a:lnTo>
                        <a:pt x="379" y="201"/>
                      </a:lnTo>
                      <a:lnTo>
                        <a:pt x="375" y="204"/>
                      </a:lnTo>
                      <a:lnTo>
                        <a:pt x="374" y="207"/>
                      </a:lnTo>
                      <a:lnTo>
                        <a:pt x="370" y="220"/>
                      </a:lnTo>
                      <a:lnTo>
                        <a:pt x="370" y="231"/>
                      </a:lnTo>
                      <a:lnTo>
                        <a:pt x="369" y="234"/>
                      </a:lnTo>
                      <a:lnTo>
                        <a:pt x="363" y="237"/>
                      </a:lnTo>
                      <a:lnTo>
                        <a:pt x="359" y="247"/>
                      </a:lnTo>
                      <a:lnTo>
                        <a:pt x="354" y="271"/>
                      </a:lnTo>
                      <a:lnTo>
                        <a:pt x="346" y="287"/>
                      </a:lnTo>
                      <a:lnTo>
                        <a:pt x="341" y="311"/>
                      </a:lnTo>
                      <a:lnTo>
                        <a:pt x="334" y="340"/>
                      </a:lnTo>
                      <a:lnTo>
                        <a:pt x="320" y="385"/>
                      </a:lnTo>
                      <a:lnTo>
                        <a:pt x="305" y="436"/>
                      </a:lnTo>
                      <a:lnTo>
                        <a:pt x="300" y="450"/>
                      </a:lnTo>
                      <a:lnTo>
                        <a:pt x="301" y="459"/>
                      </a:lnTo>
                      <a:lnTo>
                        <a:pt x="300" y="464"/>
                      </a:lnTo>
                      <a:lnTo>
                        <a:pt x="304" y="476"/>
                      </a:lnTo>
                      <a:lnTo>
                        <a:pt x="309" y="484"/>
                      </a:lnTo>
                      <a:lnTo>
                        <a:pt x="320" y="487"/>
                      </a:lnTo>
                      <a:lnTo>
                        <a:pt x="319" y="492"/>
                      </a:lnTo>
                      <a:lnTo>
                        <a:pt x="313" y="500"/>
                      </a:lnTo>
                      <a:lnTo>
                        <a:pt x="311" y="504"/>
                      </a:lnTo>
                      <a:lnTo>
                        <a:pt x="301" y="556"/>
                      </a:lnTo>
                      <a:lnTo>
                        <a:pt x="304" y="571"/>
                      </a:lnTo>
                      <a:lnTo>
                        <a:pt x="291" y="581"/>
                      </a:lnTo>
                      <a:lnTo>
                        <a:pt x="286" y="587"/>
                      </a:lnTo>
                      <a:lnTo>
                        <a:pt x="284" y="595"/>
                      </a:lnTo>
                      <a:lnTo>
                        <a:pt x="283" y="596"/>
                      </a:lnTo>
                      <a:lnTo>
                        <a:pt x="278" y="605"/>
                      </a:lnTo>
                      <a:lnTo>
                        <a:pt x="276" y="610"/>
                      </a:lnTo>
                      <a:lnTo>
                        <a:pt x="275" y="615"/>
                      </a:lnTo>
                      <a:lnTo>
                        <a:pt x="279" y="622"/>
                      </a:lnTo>
                      <a:lnTo>
                        <a:pt x="279" y="632"/>
                      </a:lnTo>
                      <a:lnTo>
                        <a:pt x="271" y="640"/>
                      </a:lnTo>
                      <a:lnTo>
                        <a:pt x="270" y="644"/>
                      </a:lnTo>
                      <a:lnTo>
                        <a:pt x="266" y="666"/>
                      </a:lnTo>
                      <a:lnTo>
                        <a:pt x="265" y="670"/>
                      </a:lnTo>
                      <a:lnTo>
                        <a:pt x="259" y="677"/>
                      </a:lnTo>
                      <a:lnTo>
                        <a:pt x="258" y="681"/>
                      </a:lnTo>
                      <a:lnTo>
                        <a:pt x="256" y="687"/>
                      </a:lnTo>
                      <a:lnTo>
                        <a:pt x="254" y="690"/>
                      </a:lnTo>
                      <a:lnTo>
                        <a:pt x="251" y="687"/>
                      </a:lnTo>
                      <a:lnTo>
                        <a:pt x="249" y="686"/>
                      </a:lnTo>
                      <a:lnTo>
                        <a:pt x="251" y="680"/>
                      </a:lnTo>
                      <a:lnTo>
                        <a:pt x="235" y="684"/>
                      </a:lnTo>
                      <a:lnTo>
                        <a:pt x="228" y="684"/>
                      </a:lnTo>
                      <a:lnTo>
                        <a:pt x="221" y="680"/>
                      </a:lnTo>
                      <a:lnTo>
                        <a:pt x="219" y="677"/>
                      </a:lnTo>
                      <a:lnTo>
                        <a:pt x="219" y="668"/>
                      </a:lnTo>
                      <a:lnTo>
                        <a:pt x="219" y="665"/>
                      </a:lnTo>
                      <a:lnTo>
                        <a:pt x="216" y="661"/>
                      </a:lnTo>
                      <a:lnTo>
                        <a:pt x="209" y="652"/>
                      </a:lnTo>
                      <a:lnTo>
                        <a:pt x="206" y="649"/>
                      </a:lnTo>
                      <a:lnTo>
                        <a:pt x="201" y="647"/>
                      </a:lnTo>
                      <a:lnTo>
                        <a:pt x="193" y="650"/>
                      </a:lnTo>
                      <a:lnTo>
                        <a:pt x="181" y="641"/>
                      </a:lnTo>
                      <a:lnTo>
                        <a:pt x="183" y="637"/>
                      </a:lnTo>
                      <a:lnTo>
                        <a:pt x="194" y="622"/>
                      </a:lnTo>
                      <a:lnTo>
                        <a:pt x="195" y="616"/>
                      </a:lnTo>
                      <a:lnTo>
                        <a:pt x="196" y="609"/>
                      </a:lnTo>
                      <a:lnTo>
                        <a:pt x="198" y="597"/>
                      </a:lnTo>
                      <a:lnTo>
                        <a:pt x="198" y="592"/>
                      </a:lnTo>
                      <a:lnTo>
                        <a:pt x="195" y="586"/>
                      </a:lnTo>
                      <a:lnTo>
                        <a:pt x="191" y="580"/>
                      </a:lnTo>
                      <a:lnTo>
                        <a:pt x="184" y="575"/>
                      </a:lnTo>
                      <a:lnTo>
                        <a:pt x="171" y="572"/>
                      </a:lnTo>
                      <a:lnTo>
                        <a:pt x="168" y="572"/>
                      </a:lnTo>
                      <a:lnTo>
                        <a:pt x="161" y="571"/>
                      </a:lnTo>
                      <a:lnTo>
                        <a:pt x="149" y="565"/>
                      </a:lnTo>
                      <a:lnTo>
                        <a:pt x="140" y="562"/>
                      </a:lnTo>
                      <a:lnTo>
                        <a:pt x="135" y="559"/>
                      </a:lnTo>
                      <a:lnTo>
                        <a:pt x="128" y="545"/>
                      </a:lnTo>
                      <a:lnTo>
                        <a:pt x="125" y="540"/>
                      </a:lnTo>
                      <a:lnTo>
                        <a:pt x="125" y="530"/>
                      </a:lnTo>
                      <a:lnTo>
                        <a:pt x="121" y="522"/>
                      </a:lnTo>
                      <a:lnTo>
                        <a:pt x="111" y="511"/>
                      </a:lnTo>
                      <a:lnTo>
                        <a:pt x="106" y="505"/>
                      </a:lnTo>
                      <a:lnTo>
                        <a:pt x="79" y="494"/>
                      </a:lnTo>
                      <a:lnTo>
                        <a:pt x="76" y="491"/>
                      </a:lnTo>
                      <a:lnTo>
                        <a:pt x="73" y="485"/>
                      </a:lnTo>
                      <a:lnTo>
                        <a:pt x="71" y="475"/>
                      </a:lnTo>
                      <a:lnTo>
                        <a:pt x="73" y="452"/>
                      </a:lnTo>
                      <a:lnTo>
                        <a:pt x="70" y="445"/>
                      </a:lnTo>
                      <a:lnTo>
                        <a:pt x="59" y="434"/>
                      </a:lnTo>
                      <a:lnTo>
                        <a:pt x="50" y="430"/>
                      </a:lnTo>
                      <a:lnTo>
                        <a:pt x="41" y="422"/>
                      </a:lnTo>
                      <a:lnTo>
                        <a:pt x="34" y="412"/>
                      </a:lnTo>
                      <a:lnTo>
                        <a:pt x="9" y="372"/>
                      </a:lnTo>
                      <a:lnTo>
                        <a:pt x="5" y="367"/>
                      </a:lnTo>
                      <a:lnTo>
                        <a:pt x="0" y="360"/>
                      </a:lnTo>
                      <a:lnTo>
                        <a:pt x="5" y="349"/>
                      </a:lnTo>
                      <a:lnTo>
                        <a:pt x="16" y="347"/>
                      </a:lnTo>
                      <a:lnTo>
                        <a:pt x="45" y="349"/>
                      </a:lnTo>
                      <a:lnTo>
                        <a:pt x="50" y="347"/>
                      </a:lnTo>
                      <a:lnTo>
                        <a:pt x="55" y="346"/>
                      </a:lnTo>
                      <a:lnTo>
                        <a:pt x="61" y="344"/>
                      </a:lnTo>
                      <a:lnTo>
                        <a:pt x="74" y="335"/>
                      </a:lnTo>
                      <a:lnTo>
                        <a:pt x="79" y="334"/>
                      </a:lnTo>
                      <a:lnTo>
                        <a:pt x="84" y="334"/>
                      </a:lnTo>
                      <a:lnTo>
                        <a:pt x="95" y="337"/>
                      </a:lnTo>
                      <a:lnTo>
                        <a:pt x="101" y="335"/>
                      </a:lnTo>
                      <a:lnTo>
                        <a:pt x="108" y="328"/>
                      </a:lnTo>
                      <a:lnTo>
                        <a:pt x="115" y="318"/>
                      </a:lnTo>
                      <a:lnTo>
                        <a:pt x="120" y="314"/>
                      </a:lnTo>
                      <a:lnTo>
                        <a:pt x="123" y="312"/>
                      </a:lnTo>
                      <a:lnTo>
                        <a:pt x="141" y="318"/>
                      </a:lnTo>
                      <a:lnTo>
                        <a:pt x="146" y="318"/>
                      </a:lnTo>
                      <a:lnTo>
                        <a:pt x="151" y="317"/>
                      </a:lnTo>
                      <a:lnTo>
                        <a:pt x="154" y="314"/>
                      </a:lnTo>
                      <a:lnTo>
                        <a:pt x="153" y="304"/>
                      </a:lnTo>
                      <a:lnTo>
                        <a:pt x="149" y="297"/>
                      </a:lnTo>
                      <a:lnTo>
                        <a:pt x="143" y="286"/>
                      </a:lnTo>
                      <a:lnTo>
                        <a:pt x="141" y="280"/>
                      </a:lnTo>
                      <a:lnTo>
                        <a:pt x="141" y="275"/>
                      </a:lnTo>
                      <a:lnTo>
                        <a:pt x="145" y="266"/>
                      </a:lnTo>
                      <a:lnTo>
                        <a:pt x="153" y="255"/>
                      </a:lnTo>
                      <a:lnTo>
                        <a:pt x="155" y="249"/>
                      </a:lnTo>
                      <a:lnTo>
                        <a:pt x="156" y="242"/>
                      </a:lnTo>
                      <a:lnTo>
                        <a:pt x="154" y="237"/>
                      </a:lnTo>
                      <a:lnTo>
                        <a:pt x="149" y="226"/>
                      </a:lnTo>
                      <a:lnTo>
                        <a:pt x="146" y="219"/>
                      </a:lnTo>
                      <a:lnTo>
                        <a:pt x="143" y="210"/>
                      </a:lnTo>
                      <a:lnTo>
                        <a:pt x="138" y="205"/>
                      </a:lnTo>
                      <a:lnTo>
                        <a:pt x="129" y="196"/>
                      </a:lnTo>
                      <a:lnTo>
                        <a:pt x="126" y="191"/>
                      </a:lnTo>
                      <a:lnTo>
                        <a:pt x="123" y="182"/>
                      </a:lnTo>
                      <a:lnTo>
                        <a:pt x="120" y="172"/>
                      </a:lnTo>
                      <a:lnTo>
                        <a:pt x="120" y="167"/>
                      </a:lnTo>
                      <a:lnTo>
                        <a:pt x="123" y="160"/>
                      </a:lnTo>
                      <a:lnTo>
                        <a:pt x="130" y="137"/>
                      </a:lnTo>
                      <a:lnTo>
                        <a:pt x="135" y="129"/>
                      </a:lnTo>
                      <a:lnTo>
                        <a:pt x="139" y="122"/>
                      </a:lnTo>
                      <a:lnTo>
                        <a:pt x="144" y="121"/>
                      </a:lnTo>
                      <a:lnTo>
                        <a:pt x="150" y="121"/>
                      </a:lnTo>
                      <a:lnTo>
                        <a:pt x="155" y="120"/>
                      </a:lnTo>
                      <a:lnTo>
                        <a:pt x="159" y="117"/>
                      </a:lnTo>
                      <a:lnTo>
                        <a:pt x="161" y="112"/>
                      </a:lnTo>
                      <a:lnTo>
                        <a:pt x="163" y="98"/>
                      </a:lnTo>
                      <a:lnTo>
                        <a:pt x="166" y="91"/>
                      </a:lnTo>
                      <a:lnTo>
                        <a:pt x="171" y="83"/>
                      </a:lnTo>
                      <a:lnTo>
                        <a:pt x="180" y="76"/>
                      </a:lnTo>
                      <a:lnTo>
                        <a:pt x="185" y="70"/>
                      </a:lnTo>
                      <a:lnTo>
                        <a:pt x="191" y="57"/>
                      </a:lnTo>
                      <a:lnTo>
                        <a:pt x="194" y="53"/>
                      </a:lnTo>
                      <a:lnTo>
                        <a:pt x="205" y="41"/>
                      </a:lnTo>
                      <a:lnTo>
                        <a:pt x="211" y="31"/>
                      </a:lnTo>
                      <a:lnTo>
                        <a:pt x="215" y="18"/>
                      </a:lnTo>
                      <a:lnTo>
                        <a:pt x="218" y="14"/>
                      </a:lnTo>
                      <a:lnTo>
                        <a:pt x="224" y="9"/>
                      </a:lnTo>
                      <a:lnTo>
                        <a:pt x="229" y="5"/>
                      </a:lnTo>
                      <a:lnTo>
                        <a:pt x="251" y="0"/>
                      </a:lnTo>
                      <a:lnTo>
                        <a:pt x="259" y="5"/>
                      </a:lnTo>
                      <a:lnTo>
                        <a:pt x="264" y="9"/>
                      </a:lnTo>
                      <a:lnTo>
                        <a:pt x="274" y="10"/>
                      </a:lnTo>
                      <a:lnTo>
                        <a:pt x="283" y="10"/>
                      </a:lnTo>
                      <a:lnTo>
                        <a:pt x="290" y="9"/>
                      </a:lnTo>
                      <a:lnTo>
                        <a:pt x="301" y="2"/>
                      </a:lnTo>
                      <a:lnTo>
                        <a:pt x="308" y="2"/>
                      </a:lnTo>
                      <a:lnTo>
                        <a:pt x="313" y="4"/>
                      </a:lnTo>
                      <a:lnTo>
                        <a:pt x="318" y="6"/>
                      </a:lnTo>
                      <a:lnTo>
                        <a:pt x="323" y="14"/>
                      </a:lnTo>
                      <a:lnTo>
                        <a:pt x="323" y="19"/>
                      </a:lnTo>
                      <a:lnTo>
                        <a:pt x="321" y="26"/>
                      </a:lnTo>
                      <a:lnTo>
                        <a:pt x="323" y="30"/>
                      </a:lnTo>
                      <a:lnTo>
                        <a:pt x="325" y="34"/>
                      </a:lnTo>
                      <a:lnTo>
                        <a:pt x="328" y="36"/>
                      </a:lnTo>
                      <a:lnTo>
                        <a:pt x="333" y="37"/>
                      </a:lnTo>
                      <a:lnTo>
                        <a:pt x="338" y="37"/>
                      </a:lnTo>
                      <a:lnTo>
                        <a:pt x="345" y="35"/>
                      </a:lnTo>
                      <a:lnTo>
                        <a:pt x="350" y="32"/>
                      </a:lnTo>
                      <a:lnTo>
                        <a:pt x="358" y="30"/>
                      </a:lnTo>
                      <a:lnTo>
                        <a:pt x="395" y="27"/>
                      </a:lnTo>
                      <a:lnTo>
                        <a:pt x="400" y="26"/>
                      </a:lnTo>
                      <a:lnTo>
                        <a:pt x="405" y="20"/>
                      </a:lnTo>
                      <a:lnTo>
                        <a:pt x="410" y="7"/>
                      </a:lnTo>
                      <a:lnTo>
                        <a:pt x="413" y="3"/>
                      </a:lnTo>
                      <a:lnTo>
                        <a:pt x="416" y="1"/>
                      </a:lnTo>
                      <a:lnTo>
                        <a:pt x="421" y="0"/>
                      </a:lnTo>
                      <a:lnTo>
                        <a:pt x="426" y="0"/>
                      </a:lnTo>
                      <a:lnTo>
                        <a:pt x="434" y="2"/>
                      </a:lnTo>
                      <a:lnTo>
                        <a:pt x="440" y="3"/>
                      </a:lnTo>
                      <a:lnTo>
                        <a:pt x="446" y="6"/>
                      </a:lnTo>
                      <a:lnTo>
                        <a:pt x="450" y="11"/>
                      </a:lnTo>
                      <a:lnTo>
                        <a:pt x="454" y="26"/>
                      </a:lnTo>
                      <a:lnTo>
                        <a:pt x="454" y="34"/>
                      </a:lnTo>
                      <a:lnTo>
                        <a:pt x="456" y="39"/>
                      </a:lnTo>
                      <a:lnTo>
                        <a:pt x="458" y="42"/>
                      </a:lnTo>
                      <a:lnTo>
                        <a:pt x="472" y="44"/>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2" name="Ehime" descr="{&quot;Key&quot;:&quot;ehime&quot;,&quot;Name&quot;:&quot;Ehime&quot;,&quot;Value&quot;:1.0,&quot;Formula&quot;:&quot;&quot;,&quot;Text&quot;:&quot;&quot;,&quot;OfficeApplication&quot;:1,&quot;HasValue&quot;:true}">
                  <a:extLst>
                    <a:ext uri="{FF2B5EF4-FFF2-40B4-BE49-F238E27FC236}">
                      <a16:creationId xmlns:a16="http://schemas.microsoft.com/office/drawing/2014/main" id="{52199DEA-8498-4836-A325-5ED396F1644A}"/>
                    </a:ext>
                  </a:extLst>
                </p:cNvPr>
                <p:cNvSpPr>
                  <a:spLocks noEditPoints="1"/>
                </p:cNvSpPr>
                <p:nvPr/>
              </p:nvSpPr>
              <p:spPr bwMode="auto">
                <a:xfrm>
                  <a:off x="5035550" y="4076700"/>
                  <a:ext cx="387350" cy="395287"/>
                </a:xfrm>
                <a:custGeom>
                  <a:avLst/>
                  <a:gdLst>
                    <a:gd name="T0" fmla="*/ 113 w 666"/>
                    <a:gd name="T1" fmla="*/ 541 h 678"/>
                    <a:gd name="T2" fmla="*/ 110 w 666"/>
                    <a:gd name="T3" fmla="*/ 546 h 678"/>
                    <a:gd name="T4" fmla="*/ 141 w 666"/>
                    <a:gd name="T5" fmla="*/ 532 h 678"/>
                    <a:gd name="T6" fmla="*/ 148 w 666"/>
                    <a:gd name="T7" fmla="*/ 521 h 678"/>
                    <a:gd name="T8" fmla="*/ 187 w 666"/>
                    <a:gd name="T9" fmla="*/ 497 h 678"/>
                    <a:gd name="T10" fmla="*/ 189 w 666"/>
                    <a:gd name="T11" fmla="*/ 272 h 678"/>
                    <a:gd name="T12" fmla="*/ 211 w 666"/>
                    <a:gd name="T13" fmla="*/ 217 h 678"/>
                    <a:gd name="T14" fmla="*/ 267 w 666"/>
                    <a:gd name="T15" fmla="*/ 205 h 678"/>
                    <a:gd name="T16" fmla="*/ 272 w 666"/>
                    <a:gd name="T17" fmla="*/ 181 h 678"/>
                    <a:gd name="T18" fmla="*/ 206 w 666"/>
                    <a:gd name="T19" fmla="*/ 175 h 678"/>
                    <a:gd name="T20" fmla="*/ 259 w 666"/>
                    <a:gd name="T21" fmla="*/ 158 h 678"/>
                    <a:gd name="T22" fmla="*/ 212 w 666"/>
                    <a:gd name="T23" fmla="*/ 155 h 678"/>
                    <a:gd name="T24" fmla="*/ 214 w 666"/>
                    <a:gd name="T25" fmla="*/ 160 h 678"/>
                    <a:gd name="T26" fmla="*/ 544 w 666"/>
                    <a:gd name="T27" fmla="*/ 147 h 678"/>
                    <a:gd name="T28" fmla="*/ 251 w 666"/>
                    <a:gd name="T29" fmla="*/ 140 h 678"/>
                    <a:gd name="T30" fmla="*/ 648 w 666"/>
                    <a:gd name="T31" fmla="*/ 135 h 678"/>
                    <a:gd name="T32" fmla="*/ 605 w 666"/>
                    <a:gd name="T33" fmla="*/ 222 h 678"/>
                    <a:gd name="T34" fmla="*/ 506 w 666"/>
                    <a:gd name="T35" fmla="*/ 238 h 678"/>
                    <a:gd name="T36" fmla="*/ 463 w 666"/>
                    <a:gd name="T37" fmla="*/ 263 h 678"/>
                    <a:gd name="T38" fmla="*/ 420 w 666"/>
                    <a:gd name="T39" fmla="*/ 342 h 678"/>
                    <a:gd name="T40" fmla="*/ 386 w 666"/>
                    <a:gd name="T41" fmla="*/ 407 h 678"/>
                    <a:gd name="T42" fmla="*/ 327 w 666"/>
                    <a:gd name="T43" fmla="*/ 443 h 678"/>
                    <a:gd name="T44" fmla="*/ 341 w 666"/>
                    <a:gd name="T45" fmla="*/ 486 h 678"/>
                    <a:gd name="T46" fmla="*/ 297 w 666"/>
                    <a:gd name="T47" fmla="*/ 538 h 678"/>
                    <a:gd name="T48" fmla="*/ 245 w 666"/>
                    <a:gd name="T49" fmla="*/ 552 h 678"/>
                    <a:gd name="T50" fmla="*/ 256 w 666"/>
                    <a:gd name="T51" fmla="*/ 603 h 678"/>
                    <a:gd name="T52" fmla="*/ 247 w 666"/>
                    <a:gd name="T53" fmla="*/ 671 h 678"/>
                    <a:gd name="T54" fmla="*/ 203 w 666"/>
                    <a:gd name="T55" fmla="*/ 669 h 678"/>
                    <a:gd name="T56" fmla="*/ 190 w 666"/>
                    <a:gd name="T57" fmla="*/ 639 h 678"/>
                    <a:gd name="T58" fmla="*/ 150 w 666"/>
                    <a:gd name="T59" fmla="*/ 616 h 678"/>
                    <a:gd name="T60" fmla="*/ 184 w 666"/>
                    <a:gd name="T61" fmla="*/ 586 h 678"/>
                    <a:gd name="T62" fmla="*/ 192 w 666"/>
                    <a:gd name="T63" fmla="*/ 562 h 678"/>
                    <a:gd name="T64" fmla="*/ 166 w 666"/>
                    <a:gd name="T65" fmla="*/ 529 h 678"/>
                    <a:gd name="T66" fmla="*/ 187 w 666"/>
                    <a:gd name="T67" fmla="*/ 538 h 678"/>
                    <a:gd name="T68" fmla="*/ 206 w 666"/>
                    <a:gd name="T69" fmla="*/ 506 h 678"/>
                    <a:gd name="T70" fmla="*/ 198 w 666"/>
                    <a:gd name="T71" fmla="*/ 479 h 678"/>
                    <a:gd name="T72" fmla="*/ 150 w 666"/>
                    <a:gd name="T73" fmla="*/ 467 h 678"/>
                    <a:gd name="T74" fmla="*/ 153 w 666"/>
                    <a:gd name="T75" fmla="*/ 434 h 678"/>
                    <a:gd name="T76" fmla="*/ 148 w 666"/>
                    <a:gd name="T77" fmla="*/ 402 h 678"/>
                    <a:gd name="T78" fmla="*/ 56 w 666"/>
                    <a:gd name="T79" fmla="*/ 438 h 678"/>
                    <a:gd name="T80" fmla="*/ 0 w 666"/>
                    <a:gd name="T81" fmla="*/ 458 h 678"/>
                    <a:gd name="T82" fmla="*/ 58 w 666"/>
                    <a:gd name="T83" fmla="*/ 416 h 678"/>
                    <a:gd name="T84" fmla="*/ 168 w 666"/>
                    <a:gd name="T85" fmla="*/ 362 h 678"/>
                    <a:gd name="T86" fmla="*/ 255 w 666"/>
                    <a:gd name="T87" fmla="*/ 293 h 678"/>
                    <a:gd name="T88" fmla="*/ 299 w 666"/>
                    <a:gd name="T89" fmla="*/ 187 h 678"/>
                    <a:gd name="T90" fmla="*/ 366 w 666"/>
                    <a:gd name="T91" fmla="*/ 102 h 678"/>
                    <a:gd name="T92" fmla="*/ 379 w 666"/>
                    <a:gd name="T93" fmla="*/ 82 h 678"/>
                    <a:gd name="T94" fmla="*/ 448 w 666"/>
                    <a:gd name="T95" fmla="*/ 176 h 678"/>
                    <a:gd name="T96" fmla="*/ 527 w 666"/>
                    <a:gd name="T97" fmla="*/ 148 h 678"/>
                    <a:gd name="T98" fmla="*/ 618 w 666"/>
                    <a:gd name="T99" fmla="*/ 153 h 678"/>
                    <a:gd name="T100" fmla="*/ 526 w 666"/>
                    <a:gd name="T101" fmla="*/ 56 h 678"/>
                    <a:gd name="T102" fmla="*/ 404 w 666"/>
                    <a:gd name="T103" fmla="*/ 86 h 678"/>
                    <a:gd name="T104" fmla="*/ 419 w 666"/>
                    <a:gd name="T105" fmla="*/ 50 h 678"/>
                    <a:gd name="T106" fmla="*/ 506 w 666"/>
                    <a:gd name="T107" fmla="*/ 47 h 678"/>
                    <a:gd name="T108" fmla="*/ 451 w 666"/>
                    <a:gd name="T109" fmla="*/ 38 h 678"/>
                    <a:gd name="T110" fmla="*/ 422 w 666"/>
                    <a:gd name="T111" fmla="*/ 36 h 678"/>
                    <a:gd name="T112" fmla="*/ 458 w 666"/>
                    <a:gd name="T113" fmla="*/ 30 h 678"/>
                    <a:gd name="T114" fmla="*/ 383 w 666"/>
                    <a:gd name="T115" fmla="*/ 51 h 678"/>
                    <a:gd name="T116" fmla="*/ 389 w 666"/>
                    <a:gd name="T117" fmla="*/ 21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6" h="678">
                      <a:moveTo>
                        <a:pt x="181" y="652"/>
                      </a:moveTo>
                      <a:lnTo>
                        <a:pt x="175" y="655"/>
                      </a:lnTo>
                      <a:lnTo>
                        <a:pt x="172" y="653"/>
                      </a:lnTo>
                      <a:lnTo>
                        <a:pt x="178" y="650"/>
                      </a:lnTo>
                      <a:lnTo>
                        <a:pt x="181" y="652"/>
                      </a:lnTo>
                      <a:close/>
                      <a:moveTo>
                        <a:pt x="105" y="541"/>
                      </a:moveTo>
                      <a:lnTo>
                        <a:pt x="107" y="542"/>
                      </a:lnTo>
                      <a:lnTo>
                        <a:pt x="113" y="541"/>
                      </a:lnTo>
                      <a:lnTo>
                        <a:pt x="112" y="546"/>
                      </a:lnTo>
                      <a:lnTo>
                        <a:pt x="113" y="548"/>
                      </a:lnTo>
                      <a:lnTo>
                        <a:pt x="117" y="548"/>
                      </a:lnTo>
                      <a:lnTo>
                        <a:pt x="120" y="547"/>
                      </a:lnTo>
                      <a:lnTo>
                        <a:pt x="120" y="552"/>
                      </a:lnTo>
                      <a:lnTo>
                        <a:pt x="121" y="555"/>
                      </a:lnTo>
                      <a:lnTo>
                        <a:pt x="112" y="551"/>
                      </a:lnTo>
                      <a:lnTo>
                        <a:pt x="110" y="546"/>
                      </a:lnTo>
                      <a:lnTo>
                        <a:pt x="108" y="545"/>
                      </a:lnTo>
                      <a:lnTo>
                        <a:pt x="102" y="545"/>
                      </a:lnTo>
                      <a:lnTo>
                        <a:pt x="101" y="541"/>
                      </a:lnTo>
                      <a:lnTo>
                        <a:pt x="102" y="538"/>
                      </a:lnTo>
                      <a:lnTo>
                        <a:pt x="105" y="541"/>
                      </a:lnTo>
                      <a:close/>
                      <a:moveTo>
                        <a:pt x="146" y="527"/>
                      </a:moveTo>
                      <a:lnTo>
                        <a:pt x="141" y="530"/>
                      </a:lnTo>
                      <a:lnTo>
                        <a:pt x="141" y="532"/>
                      </a:lnTo>
                      <a:lnTo>
                        <a:pt x="142" y="535"/>
                      </a:lnTo>
                      <a:lnTo>
                        <a:pt x="140" y="536"/>
                      </a:lnTo>
                      <a:lnTo>
                        <a:pt x="138" y="535"/>
                      </a:lnTo>
                      <a:lnTo>
                        <a:pt x="137" y="530"/>
                      </a:lnTo>
                      <a:lnTo>
                        <a:pt x="138" y="527"/>
                      </a:lnTo>
                      <a:lnTo>
                        <a:pt x="142" y="525"/>
                      </a:lnTo>
                      <a:lnTo>
                        <a:pt x="146" y="521"/>
                      </a:lnTo>
                      <a:lnTo>
                        <a:pt x="148" y="521"/>
                      </a:lnTo>
                      <a:lnTo>
                        <a:pt x="148" y="526"/>
                      </a:lnTo>
                      <a:lnTo>
                        <a:pt x="146" y="527"/>
                      </a:lnTo>
                      <a:close/>
                      <a:moveTo>
                        <a:pt x="186" y="500"/>
                      </a:moveTo>
                      <a:lnTo>
                        <a:pt x="184" y="503"/>
                      </a:lnTo>
                      <a:lnTo>
                        <a:pt x="182" y="502"/>
                      </a:lnTo>
                      <a:lnTo>
                        <a:pt x="184" y="498"/>
                      </a:lnTo>
                      <a:lnTo>
                        <a:pt x="183" y="493"/>
                      </a:lnTo>
                      <a:lnTo>
                        <a:pt x="187" y="497"/>
                      </a:lnTo>
                      <a:lnTo>
                        <a:pt x="186" y="500"/>
                      </a:lnTo>
                      <a:close/>
                      <a:moveTo>
                        <a:pt x="141" y="447"/>
                      </a:moveTo>
                      <a:lnTo>
                        <a:pt x="138" y="447"/>
                      </a:lnTo>
                      <a:lnTo>
                        <a:pt x="133" y="445"/>
                      </a:lnTo>
                      <a:lnTo>
                        <a:pt x="137" y="443"/>
                      </a:lnTo>
                      <a:lnTo>
                        <a:pt x="140" y="445"/>
                      </a:lnTo>
                      <a:lnTo>
                        <a:pt x="141" y="447"/>
                      </a:lnTo>
                      <a:close/>
                      <a:moveTo>
                        <a:pt x="189" y="272"/>
                      </a:moveTo>
                      <a:lnTo>
                        <a:pt x="188" y="270"/>
                      </a:lnTo>
                      <a:lnTo>
                        <a:pt x="192" y="270"/>
                      </a:lnTo>
                      <a:lnTo>
                        <a:pt x="193" y="271"/>
                      </a:lnTo>
                      <a:lnTo>
                        <a:pt x="189" y="272"/>
                      </a:lnTo>
                      <a:close/>
                      <a:moveTo>
                        <a:pt x="211" y="217"/>
                      </a:moveTo>
                      <a:lnTo>
                        <a:pt x="209" y="220"/>
                      </a:lnTo>
                      <a:lnTo>
                        <a:pt x="206" y="213"/>
                      </a:lnTo>
                      <a:lnTo>
                        <a:pt x="211" y="217"/>
                      </a:lnTo>
                      <a:close/>
                      <a:moveTo>
                        <a:pt x="274" y="185"/>
                      </a:moveTo>
                      <a:lnTo>
                        <a:pt x="274" y="191"/>
                      </a:lnTo>
                      <a:lnTo>
                        <a:pt x="270" y="191"/>
                      </a:lnTo>
                      <a:lnTo>
                        <a:pt x="267" y="197"/>
                      </a:lnTo>
                      <a:lnTo>
                        <a:pt x="270" y="202"/>
                      </a:lnTo>
                      <a:lnTo>
                        <a:pt x="272" y="203"/>
                      </a:lnTo>
                      <a:lnTo>
                        <a:pt x="271" y="205"/>
                      </a:lnTo>
                      <a:lnTo>
                        <a:pt x="267" y="205"/>
                      </a:lnTo>
                      <a:lnTo>
                        <a:pt x="263" y="207"/>
                      </a:lnTo>
                      <a:lnTo>
                        <a:pt x="262" y="205"/>
                      </a:lnTo>
                      <a:lnTo>
                        <a:pt x="263" y="192"/>
                      </a:lnTo>
                      <a:lnTo>
                        <a:pt x="261" y="188"/>
                      </a:lnTo>
                      <a:lnTo>
                        <a:pt x="262" y="187"/>
                      </a:lnTo>
                      <a:lnTo>
                        <a:pt x="267" y="187"/>
                      </a:lnTo>
                      <a:lnTo>
                        <a:pt x="269" y="181"/>
                      </a:lnTo>
                      <a:lnTo>
                        <a:pt x="272" y="181"/>
                      </a:lnTo>
                      <a:lnTo>
                        <a:pt x="273" y="179"/>
                      </a:lnTo>
                      <a:lnTo>
                        <a:pt x="277" y="178"/>
                      </a:lnTo>
                      <a:lnTo>
                        <a:pt x="274" y="185"/>
                      </a:lnTo>
                      <a:close/>
                      <a:moveTo>
                        <a:pt x="218" y="175"/>
                      </a:moveTo>
                      <a:lnTo>
                        <a:pt x="216" y="177"/>
                      </a:lnTo>
                      <a:lnTo>
                        <a:pt x="208" y="179"/>
                      </a:lnTo>
                      <a:lnTo>
                        <a:pt x="203" y="177"/>
                      </a:lnTo>
                      <a:lnTo>
                        <a:pt x="206" y="175"/>
                      </a:lnTo>
                      <a:lnTo>
                        <a:pt x="212" y="176"/>
                      </a:lnTo>
                      <a:lnTo>
                        <a:pt x="217" y="173"/>
                      </a:lnTo>
                      <a:lnTo>
                        <a:pt x="218" y="175"/>
                      </a:lnTo>
                      <a:close/>
                      <a:moveTo>
                        <a:pt x="266" y="165"/>
                      </a:moveTo>
                      <a:lnTo>
                        <a:pt x="263" y="165"/>
                      </a:lnTo>
                      <a:lnTo>
                        <a:pt x="259" y="167"/>
                      </a:lnTo>
                      <a:lnTo>
                        <a:pt x="257" y="165"/>
                      </a:lnTo>
                      <a:lnTo>
                        <a:pt x="259" y="158"/>
                      </a:lnTo>
                      <a:lnTo>
                        <a:pt x="262" y="156"/>
                      </a:lnTo>
                      <a:lnTo>
                        <a:pt x="263" y="157"/>
                      </a:lnTo>
                      <a:lnTo>
                        <a:pt x="266" y="160"/>
                      </a:lnTo>
                      <a:lnTo>
                        <a:pt x="266" y="165"/>
                      </a:lnTo>
                      <a:close/>
                      <a:moveTo>
                        <a:pt x="214" y="160"/>
                      </a:moveTo>
                      <a:lnTo>
                        <a:pt x="212" y="162"/>
                      </a:lnTo>
                      <a:lnTo>
                        <a:pt x="211" y="160"/>
                      </a:lnTo>
                      <a:lnTo>
                        <a:pt x="212" y="155"/>
                      </a:lnTo>
                      <a:lnTo>
                        <a:pt x="211" y="153"/>
                      </a:lnTo>
                      <a:lnTo>
                        <a:pt x="211" y="150"/>
                      </a:lnTo>
                      <a:lnTo>
                        <a:pt x="212" y="148"/>
                      </a:lnTo>
                      <a:lnTo>
                        <a:pt x="218" y="147"/>
                      </a:lnTo>
                      <a:lnTo>
                        <a:pt x="222" y="148"/>
                      </a:lnTo>
                      <a:lnTo>
                        <a:pt x="220" y="151"/>
                      </a:lnTo>
                      <a:lnTo>
                        <a:pt x="218" y="154"/>
                      </a:lnTo>
                      <a:lnTo>
                        <a:pt x="214" y="160"/>
                      </a:lnTo>
                      <a:close/>
                      <a:moveTo>
                        <a:pt x="544" y="147"/>
                      </a:moveTo>
                      <a:lnTo>
                        <a:pt x="542" y="148"/>
                      </a:lnTo>
                      <a:lnTo>
                        <a:pt x="538" y="146"/>
                      </a:lnTo>
                      <a:lnTo>
                        <a:pt x="538" y="143"/>
                      </a:lnTo>
                      <a:lnTo>
                        <a:pt x="541" y="141"/>
                      </a:lnTo>
                      <a:lnTo>
                        <a:pt x="544" y="140"/>
                      </a:lnTo>
                      <a:lnTo>
                        <a:pt x="546" y="146"/>
                      </a:lnTo>
                      <a:lnTo>
                        <a:pt x="544" y="147"/>
                      </a:lnTo>
                      <a:close/>
                      <a:moveTo>
                        <a:pt x="244" y="166"/>
                      </a:moveTo>
                      <a:lnTo>
                        <a:pt x="237" y="168"/>
                      </a:lnTo>
                      <a:lnTo>
                        <a:pt x="232" y="165"/>
                      </a:lnTo>
                      <a:lnTo>
                        <a:pt x="232" y="158"/>
                      </a:lnTo>
                      <a:lnTo>
                        <a:pt x="236" y="153"/>
                      </a:lnTo>
                      <a:lnTo>
                        <a:pt x="242" y="146"/>
                      </a:lnTo>
                      <a:lnTo>
                        <a:pt x="247" y="143"/>
                      </a:lnTo>
                      <a:lnTo>
                        <a:pt x="251" y="140"/>
                      </a:lnTo>
                      <a:lnTo>
                        <a:pt x="254" y="138"/>
                      </a:lnTo>
                      <a:lnTo>
                        <a:pt x="254" y="143"/>
                      </a:lnTo>
                      <a:lnTo>
                        <a:pt x="253" y="151"/>
                      </a:lnTo>
                      <a:lnTo>
                        <a:pt x="251" y="156"/>
                      </a:lnTo>
                      <a:lnTo>
                        <a:pt x="251" y="161"/>
                      </a:lnTo>
                      <a:lnTo>
                        <a:pt x="244" y="166"/>
                      </a:lnTo>
                      <a:close/>
                      <a:moveTo>
                        <a:pt x="636" y="132"/>
                      </a:moveTo>
                      <a:lnTo>
                        <a:pt x="648" y="135"/>
                      </a:lnTo>
                      <a:lnTo>
                        <a:pt x="657" y="137"/>
                      </a:lnTo>
                      <a:lnTo>
                        <a:pt x="663" y="145"/>
                      </a:lnTo>
                      <a:lnTo>
                        <a:pt x="666" y="178"/>
                      </a:lnTo>
                      <a:lnTo>
                        <a:pt x="666" y="191"/>
                      </a:lnTo>
                      <a:lnTo>
                        <a:pt x="661" y="205"/>
                      </a:lnTo>
                      <a:lnTo>
                        <a:pt x="658" y="213"/>
                      </a:lnTo>
                      <a:lnTo>
                        <a:pt x="622" y="215"/>
                      </a:lnTo>
                      <a:lnTo>
                        <a:pt x="605" y="222"/>
                      </a:lnTo>
                      <a:lnTo>
                        <a:pt x="596" y="228"/>
                      </a:lnTo>
                      <a:lnTo>
                        <a:pt x="586" y="231"/>
                      </a:lnTo>
                      <a:lnTo>
                        <a:pt x="570" y="232"/>
                      </a:lnTo>
                      <a:lnTo>
                        <a:pt x="552" y="235"/>
                      </a:lnTo>
                      <a:lnTo>
                        <a:pt x="532" y="235"/>
                      </a:lnTo>
                      <a:lnTo>
                        <a:pt x="518" y="238"/>
                      </a:lnTo>
                      <a:lnTo>
                        <a:pt x="512" y="237"/>
                      </a:lnTo>
                      <a:lnTo>
                        <a:pt x="506" y="238"/>
                      </a:lnTo>
                      <a:lnTo>
                        <a:pt x="501" y="241"/>
                      </a:lnTo>
                      <a:lnTo>
                        <a:pt x="492" y="251"/>
                      </a:lnTo>
                      <a:lnTo>
                        <a:pt x="487" y="253"/>
                      </a:lnTo>
                      <a:lnTo>
                        <a:pt x="482" y="253"/>
                      </a:lnTo>
                      <a:lnTo>
                        <a:pt x="473" y="252"/>
                      </a:lnTo>
                      <a:lnTo>
                        <a:pt x="470" y="255"/>
                      </a:lnTo>
                      <a:lnTo>
                        <a:pt x="466" y="258"/>
                      </a:lnTo>
                      <a:lnTo>
                        <a:pt x="463" y="263"/>
                      </a:lnTo>
                      <a:lnTo>
                        <a:pt x="457" y="275"/>
                      </a:lnTo>
                      <a:lnTo>
                        <a:pt x="445" y="302"/>
                      </a:lnTo>
                      <a:lnTo>
                        <a:pt x="441" y="308"/>
                      </a:lnTo>
                      <a:lnTo>
                        <a:pt x="436" y="315"/>
                      </a:lnTo>
                      <a:lnTo>
                        <a:pt x="428" y="322"/>
                      </a:lnTo>
                      <a:lnTo>
                        <a:pt x="425" y="328"/>
                      </a:lnTo>
                      <a:lnTo>
                        <a:pt x="421" y="336"/>
                      </a:lnTo>
                      <a:lnTo>
                        <a:pt x="420" y="342"/>
                      </a:lnTo>
                      <a:lnTo>
                        <a:pt x="416" y="355"/>
                      </a:lnTo>
                      <a:lnTo>
                        <a:pt x="414" y="360"/>
                      </a:lnTo>
                      <a:lnTo>
                        <a:pt x="416" y="368"/>
                      </a:lnTo>
                      <a:lnTo>
                        <a:pt x="414" y="373"/>
                      </a:lnTo>
                      <a:lnTo>
                        <a:pt x="412" y="379"/>
                      </a:lnTo>
                      <a:lnTo>
                        <a:pt x="398" y="397"/>
                      </a:lnTo>
                      <a:lnTo>
                        <a:pt x="392" y="403"/>
                      </a:lnTo>
                      <a:lnTo>
                        <a:pt x="386" y="407"/>
                      </a:lnTo>
                      <a:lnTo>
                        <a:pt x="377" y="409"/>
                      </a:lnTo>
                      <a:lnTo>
                        <a:pt x="326" y="409"/>
                      </a:lnTo>
                      <a:lnTo>
                        <a:pt x="321" y="412"/>
                      </a:lnTo>
                      <a:lnTo>
                        <a:pt x="318" y="416"/>
                      </a:lnTo>
                      <a:lnTo>
                        <a:pt x="321" y="427"/>
                      </a:lnTo>
                      <a:lnTo>
                        <a:pt x="322" y="433"/>
                      </a:lnTo>
                      <a:lnTo>
                        <a:pt x="323" y="438"/>
                      </a:lnTo>
                      <a:lnTo>
                        <a:pt x="327" y="443"/>
                      </a:lnTo>
                      <a:lnTo>
                        <a:pt x="333" y="451"/>
                      </a:lnTo>
                      <a:lnTo>
                        <a:pt x="336" y="456"/>
                      </a:lnTo>
                      <a:lnTo>
                        <a:pt x="340" y="461"/>
                      </a:lnTo>
                      <a:lnTo>
                        <a:pt x="345" y="464"/>
                      </a:lnTo>
                      <a:lnTo>
                        <a:pt x="348" y="468"/>
                      </a:lnTo>
                      <a:lnTo>
                        <a:pt x="350" y="473"/>
                      </a:lnTo>
                      <a:lnTo>
                        <a:pt x="348" y="481"/>
                      </a:lnTo>
                      <a:lnTo>
                        <a:pt x="341" y="486"/>
                      </a:lnTo>
                      <a:lnTo>
                        <a:pt x="318" y="499"/>
                      </a:lnTo>
                      <a:lnTo>
                        <a:pt x="311" y="506"/>
                      </a:lnTo>
                      <a:lnTo>
                        <a:pt x="307" y="511"/>
                      </a:lnTo>
                      <a:lnTo>
                        <a:pt x="304" y="516"/>
                      </a:lnTo>
                      <a:lnTo>
                        <a:pt x="303" y="522"/>
                      </a:lnTo>
                      <a:lnTo>
                        <a:pt x="302" y="527"/>
                      </a:lnTo>
                      <a:lnTo>
                        <a:pt x="301" y="536"/>
                      </a:lnTo>
                      <a:lnTo>
                        <a:pt x="297" y="538"/>
                      </a:lnTo>
                      <a:lnTo>
                        <a:pt x="287" y="544"/>
                      </a:lnTo>
                      <a:lnTo>
                        <a:pt x="282" y="551"/>
                      </a:lnTo>
                      <a:lnTo>
                        <a:pt x="276" y="563"/>
                      </a:lnTo>
                      <a:lnTo>
                        <a:pt x="271" y="566"/>
                      </a:lnTo>
                      <a:lnTo>
                        <a:pt x="266" y="567"/>
                      </a:lnTo>
                      <a:lnTo>
                        <a:pt x="261" y="563"/>
                      </a:lnTo>
                      <a:lnTo>
                        <a:pt x="249" y="552"/>
                      </a:lnTo>
                      <a:lnTo>
                        <a:pt x="245" y="552"/>
                      </a:lnTo>
                      <a:lnTo>
                        <a:pt x="242" y="556"/>
                      </a:lnTo>
                      <a:lnTo>
                        <a:pt x="242" y="561"/>
                      </a:lnTo>
                      <a:lnTo>
                        <a:pt x="243" y="566"/>
                      </a:lnTo>
                      <a:lnTo>
                        <a:pt x="251" y="582"/>
                      </a:lnTo>
                      <a:lnTo>
                        <a:pt x="255" y="587"/>
                      </a:lnTo>
                      <a:lnTo>
                        <a:pt x="256" y="592"/>
                      </a:lnTo>
                      <a:lnTo>
                        <a:pt x="256" y="598"/>
                      </a:lnTo>
                      <a:lnTo>
                        <a:pt x="256" y="603"/>
                      </a:lnTo>
                      <a:lnTo>
                        <a:pt x="258" y="609"/>
                      </a:lnTo>
                      <a:lnTo>
                        <a:pt x="266" y="624"/>
                      </a:lnTo>
                      <a:lnTo>
                        <a:pt x="266" y="634"/>
                      </a:lnTo>
                      <a:lnTo>
                        <a:pt x="267" y="643"/>
                      </a:lnTo>
                      <a:lnTo>
                        <a:pt x="266" y="648"/>
                      </a:lnTo>
                      <a:lnTo>
                        <a:pt x="265" y="653"/>
                      </a:lnTo>
                      <a:lnTo>
                        <a:pt x="255" y="669"/>
                      </a:lnTo>
                      <a:lnTo>
                        <a:pt x="247" y="671"/>
                      </a:lnTo>
                      <a:lnTo>
                        <a:pt x="245" y="671"/>
                      </a:lnTo>
                      <a:lnTo>
                        <a:pt x="227" y="658"/>
                      </a:lnTo>
                      <a:lnTo>
                        <a:pt x="221" y="656"/>
                      </a:lnTo>
                      <a:lnTo>
                        <a:pt x="226" y="662"/>
                      </a:lnTo>
                      <a:lnTo>
                        <a:pt x="218" y="662"/>
                      </a:lnTo>
                      <a:lnTo>
                        <a:pt x="211" y="658"/>
                      </a:lnTo>
                      <a:lnTo>
                        <a:pt x="206" y="659"/>
                      </a:lnTo>
                      <a:lnTo>
                        <a:pt x="203" y="669"/>
                      </a:lnTo>
                      <a:lnTo>
                        <a:pt x="206" y="671"/>
                      </a:lnTo>
                      <a:lnTo>
                        <a:pt x="212" y="676"/>
                      </a:lnTo>
                      <a:lnTo>
                        <a:pt x="205" y="678"/>
                      </a:lnTo>
                      <a:lnTo>
                        <a:pt x="198" y="677"/>
                      </a:lnTo>
                      <a:lnTo>
                        <a:pt x="193" y="673"/>
                      </a:lnTo>
                      <a:lnTo>
                        <a:pt x="186" y="657"/>
                      </a:lnTo>
                      <a:lnTo>
                        <a:pt x="195" y="649"/>
                      </a:lnTo>
                      <a:lnTo>
                        <a:pt x="190" y="639"/>
                      </a:lnTo>
                      <a:lnTo>
                        <a:pt x="195" y="632"/>
                      </a:lnTo>
                      <a:lnTo>
                        <a:pt x="197" y="628"/>
                      </a:lnTo>
                      <a:lnTo>
                        <a:pt x="189" y="614"/>
                      </a:lnTo>
                      <a:lnTo>
                        <a:pt x="184" y="606"/>
                      </a:lnTo>
                      <a:lnTo>
                        <a:pt x="173" y="604"/>
                      </a:lnTo>
                      <a:lnTo>
                        <a:pt x="165" y="601"/>
                      </a:lnTo>
                      <a:lnTo>
                        <a:pt x="155" y="617"/>
                      </a:lnTo>
                      <a:lnTo>
                        <a:pt x="150" y="616"/>
                      </a:lnTo>
                      <a:lnTo>
                        <a:pt x="157" y="604"/>
                      </a:lnTo>
                      <a:lnTo>
                        <a:pt x="155" y="598"/>
                      </a:lnTo>
                      <a:lnTo>
                        <a:pt x="160" y="592"/>
                      </a:lnTo>
                      <a:lnTo>
                        <a:pt x="177" y="601"/>
                      </a:lnTo>
                      <a:lnTo>
                        <a:pt x="185" y="598"/>
                      </a:lnTo>
                      <a:lnTo>
                        <a:pt x="190" y="593"/>
                      </a:lnTo>
                      <a:lnTo>
                        <a:pt x="182" y="593"/>
                      </a:lnTo>
                      <a:lnTo>
                        <a:pt x="184" y="586"/>
                      </a:lnTo>
                      <a:lnTo>
                        <a:pt x="184" y="579"/>
                      </a:lnTo>
                      <a:lnTo>
                        <a:pt x="182" y="574"/>
                      </a:lnTo>
                      <a:lnTo>
                        <a:pt x="176" y="573"/>
                      </a:lnTo>
                      <a:lnTo>
                        <a:pt x="176" y="571"/>
                      </a:lnTo>
                      <a:lnTo>
                        <a:pt x="184" y="571"/>
                      </a:lnTo>
                      <a:lnTo>
                        <a:pt x="187" y="571"/>
                      </a:lnTo>
                      <a:lnTo>
                        <a:pt x="192" y="566"/>
                      </a:lnTo>
                      <a:lnTo>
                        <a:pt x="192" y="562"/>
                      </a:lnTo>
                      <a:lnTo>
                        <a:pt x="188" y="561"/>
                      </a:lnTo>
                      <a:lnTo>
                        <a:pt x="177" y="559"/>
                      </a:lnTo>
                      <a:lnTo>
                        <a:pt x="173" y="557"/>
                      </a:lnTo>
                      <a:lnTo>
                        <a:pt x="171" y="551"/>
                      </a:lnTo>
                      <a:lnTo>
                        <a:pt x="172" y="544"/>
                      </a:lnTo>
                      <a:lnTo>
                        <a:pt x="180" y="542"/>
                      </a:lnTo>
                      <a:lnTo>
                        <a:pt x="176" y="537"/>
                      </a:lnTo>
                      <a:lnTo>
                        <a:pt x="166" y="529"/>
                      </a:lnTo>
                      <a:lnTo>
                        <a:pt x="162" y="534"/>
                      </a:lnTo>
                      <a:lnTo>
                        <a:pt x="156" y="536"/>
                      </a:lnTo>
                      <a:lnTo>
                        <a:pt x="154" y="528"/>
                      </a:lnTo>
                      <a:lnTo>
                        <a:pt x="164" y="524"/>
                      </a:lnTo>
                      <a:lnTo>
                        <a:pt x="174" y="527"/>
                      </a:lnTo>
                      <a:lnTo>
                        <a:pt x="181" y="527"/>
                      </a:lnTo>
                      <a:lnTo>
                        <a:pt x="181" y="533"/>
                      </a:lnTo>
                      <a:lnTo>
                        <a:pt x="187" y="538"/>
                      </a:lnTo>
                      <a:lnTo>
                        <a:pt x="191" y="544"/>
                      </a:lnTo>
                      <a:lnTo>
                        <a:pt x="198" y="538"/>
                      </a:lnTo>
                      <a:lnTo>
                        <a:pt x="197" y="531"/>
                      </a:lnTo>
                      <a:lnTo>
                        <a:pt x="202" y="523"/>
                      </a:lnTo>
                      <a:lnTo>
                        <a:pt x="211" y="521"/>
                      </a:lnTo>
                      <a:lnTo>
                        <a:pt x="216" y="517"/>
                      </a:lnTo>
                      <a:lnTo>
                        <a:pt x="211" y="509"/>
                      </a:lnTo>
                      <a:lnTo>
                        <a:pt x="206" y="506"/>
                      </a:lnTo>
                      <a:lnTo>
                        <a:pt x="213" y="499"/>
                      </a:lnTo>
                      <a:lnTo>
                        <a:pt x="206" y="499"/>
                      </a:lnTo>
                      <a:lnTo>
                        <a:pt x="199" y="502"/>
                      </a:lnTo>
                      <a:lnTo>
                        <a:pt x="197" y="497"/>
                      </a:lnTo>
                      <a:lnTo>
                        <a:pt x="193" y="496"/>
                      </a:lnTo>
                      <a:lnTo>
                        <a:pt x="191" y="493"/>
                      </a:lnTo>
                      <a:lnTo>
                        <a:pt x="191" y="486"/>
                      </a:lnTo>
                      <a:lnTo>
                        <a:pt x="198" y="479"/>
                      </a:lnTo>
                      <a:lnTo>
                        <a:pt x="206" y="478"/>
                      </a:lnTo>
                      <a:lnTo>
                        <a:pt x="207" y="474"/>
                      </a:lnTo>
                      <a:lnTo>
                        <a:pt x="191" y="473"/>
                      </a:lnTo>
                      <a:lnTo>
                        <a:pt x="165" y="479"/>
                      </a:lnTo>
                      <a:lnTo>
                        <a:pt x="157" y="477"/>
                      </a:lnTo>
                      <a:lnTo>
                        <a:pt x="152" y="473"/>
                      </a:lnTo>
                      <a:lnTo>
                        <a:pt x="148" y="472"/>
                      </a:lnTo>
                      <a:lnTo>
                        <a:pt x="150" y="467"/>
                      </a:lnTo>
                      <a:lnTo>
                        <a:pt x="153" y="464"/>
                      </a:lnTo>
                      <a:lnTo>
                        <a:pt x="160" y="464"/>
                      </a:lnTo>
                      <a:lnTo>
                        <a:pt x="162" y="462"/>
                      </a:lnTo>
                      <a:lnTo>
                        <a:pt x="163" y="458"/>
                      </a:lnTo>
                      <a:lnTo>
                        <a:pt x="165" y="446"/>
                      </a:lnTo>
                      <a:lnTo>
                        <a:pt x="157" y="451"/>
                      </a:lnTo>
                      <a:lnTo>
                        <a:pt x="152" y="446"/>
                      </a:lnTo>
                      <a:lnTo>
                        <a:pt x="153" y="434"/>
                      </a:lnTo>
                      <a:lnTo>
                        <a:pt x="160" y="426"/>
                      </a:lnTo>
                      <a:lnTo>
                        <a:pt x="160" y="422"/>
                      </a:lnTo>
                      <a:lnTo>
                        <a:pt x="155" y="422"/>
                      </a:lnTo>
                      <a:lnTo>
                        <a:pt x="156" y="418"/>
                      </a:lnTo>
                      <a:lnTo>
                        <a:pt x="158" y="416"/>
                      </a:lnTo>
                      <a:lnTo>
                        <a:pt x="161" y="413"/>
                      </a:lnTo>
                      <a:lnTo>
                        <a:pt x="165" y="412"/>
                      </a:lnTo>
                      <a:lnTo>
                        <a:pt x="148" y="402"/>
                      </a:lnTo>
                      <a:lnTo>
                        <a:pt x="142" y="401"/>
                      </a:lnTo>
                      <a:lnTo>
                        <a:pt x="135" y="401"/>
                      </a:lnTo>
                      <a:lnTo>
                        <a:pt x="125" y="406"/>
                      </a:lnTo>
                      <a:lnTo>
                        <a:pt x="120" y="402"/>
                      </a:lnTo>
                      <a:lnTo>
                        <a:pt x="107" y="411"/>
                      </a:lnTo>
                      <a:lnTo>
                        <a:pt x="97" y="413"/>
                      </a:lnTo>
                      <a:lnTo>
                        <a:pt x="68" y="429"/>
                      </a:lnTo>
                      <a:lnTo>
                        <a:pt x="56" y="438"/>
                      </a:lnTo>
                      <a:lnTo>
                        <a:pt x="52" y="446"/>
                      </a:lnTo>
                      <a:lnTo>
                        <a:pt x="48" y="451"/>
                      </a:lnTo>
                      <a:lnTo>
                        <a:pt x="42" y="451"/>
                      </a:lnTo>
                      <a:lnTo>
                        <a:pt x="37" y="448"/>
                      </a:lnTo>
                      <a:lnTo>
                        <a:pt x="40" y="439"/>
                      </a:lnTo>
                      <a:lnTo>
                        <a:pt x="25" y="449"/>
                      </a:lnTo>
                      <a:lnTo>
                        <a:pt x="6" y="459"/>
                      </a:lnTo>
                      <a:lnTo>
                        <a:pt x="0" y="458"/>
                      </a:lnTo>
                      <a:lnTo>
                        <a:pt x="7" y="449"/>
                      </a:lnTo>
                      <a:lnTo>
                        <a:pt x="16" y="444"/>
                      </a:lnTo>
                      <a:lnTo>
                        <a:pt x="33" y="429"/>
                      </a:lnTo>
                      <a:lnTo>
                        <a:pt x="50" y="423"/>
                      </a:lnTo>
                      <a:lnTo>
                        <a:pt x="57" y="426"/>
                      </a:lnTo>
                      <a:lnTo>
                        <a:pt x="62" y="423"/>
                      </a:lnTo>
                      <a:lnTo>
                        <a:pt x="58" y="419"/>
                      </a:lnTo>
                      <a:lnTo>
                        <a:pt x="58" y="416"/>
                      </a:lnTo>
                      <a:lnTo>
                        <a:pt x="65" y="412"/>
                      </a:lnTo>
                      <a:lnTo>
                        <a:pt x="76" y="407"/>
                      </a:lnTo>
                      <a:lnTo>
                        <a:pt x="85" y="407"/>
                      </a:lnTo>
                      <a:lnTo>
                        <a:pt x="92" y="402"/>
                      </a:lnTo>
                      <a:lnTo>
                        <a:pt x="102" y="402"/>
                      </a:lnTo>
                      <a:lnTo>
                        <a:pt x="113" y="392"/>
                      </a:lnTo>
                      <a:lnTo>
                        <a:pt x="161" y="368"/>
                      </a:lnTo>
                      <a:lnTo>
                        <a:pt x="168" y="362"/>
                      </a:lnTo>
                      <a:lnTo>
                        <a:pt x="171" y="354"/>
                      </a:lnTo>
                      <a:lnTo>
                        <a:pt x="173" y="349"/>
                      </a:lnTo>
                      <a:lnTo>
                        <a:pt x="185" y="336"/>
                      </a:lnTo>
                      <a:lnTo>
                        <a:pt x="188" y="333"/>
                      </a:lnTo>
                      <a:lnTo>
                        <a:pt x="197" y="324"/>
                      </a:lnTo>
                      <a:lnTo>
                        <a:pt x="237" y="308"/>
                      </a:lnTo>
                      <a:lnTo>
                        <a:pt x="245" y="301"/>
                      </a:lnTo>
                      <a:lnTo>
                        <a:pt x="255" y="293"/>
                      </a:lnTo>
                      <a:lnTo>
                        <a:pt x="267" y="281"/>
                      </a:lnTo>
                      <a:lnTo>
                        <a:pt x="276" y="261"/>
                      </a:lnTo>
                      <a:lnTo>
                        <a:pt x="275" y="247"/>
                      </a:lnTo>
                      <a:lnTo>
                        <a:pt x="273" y="233"/>
                      </a:lnTo>
                      <a:lnTo>
                        <a:pt x="277" y="216"/>
                      </a:lnTo>
                      <a:lnTo>
                        <a:pt x="280" y="203"/>
                      </a:lnTo>
                      <a:lnTo>
                        <a:pt x="282" y="189"/>
                      </a:lnTo>
                      <a:lnTo>
                        <a:pt x="299" y="187"/>
                      </a:lnTo>
                      <a:lnTo>
                        <a:pt x="299" y="174"/>
                      </a:lnTo>
                      <a:lnTo>
                        <a:pt x="306" y="164"/>
                      </a:lnTo>
                      <a:lnTo>
                        <a:pt x="304" y="146"/>
                      </a:lnTo>
                      <a:lnTo>
                        <a:pt x="317" y="137"/>
                      </a:lnTo>
                      <a:lnTo>
                        <a:pt x="336" y="124"/>
                      </a:lnTo>
                      <a:lnTo>
                        <a:pt x="342" y="116"/>
                      </a:lnTo>
                      <a:lnTo>
                        <a:pt x="364" y="111"/>
                      </a:lnTo>
                      <a:lnTo>
                        <a:pt x="366" y="102"/>
                      </a:lnTo>
                      <a:lnTo>
                        <a:pt x="370" y="98"/>
                      </a:lnTo>
                      <a:lnTo>
                        <a:pt x="368" y="89"/>
                      </a:lnTo>
                      <a:lnTo>
                        <a:pt x="356" y="88"/>
                      </a:lnTo>
                      <a:lnTo>
                        <a:pt x="356" y="84"/>
                      </a:lnTo>
                      <a:lnTo>
                        <a:pt x="363" y="84"/>
                      </a:lnTo>
                      <a:lnTo>
                        <a:pt x="368" y="86"/>
                      </a:lnTo>
                      <a:lnTo>
                        <a:pt x="374" y="74"/>
                      </a:lnTo>
                      <a:lnTo>
                        <a:pt x="379" y="82"/>
                      </a:lnTo>
                      <a:lnTo>
                        <a:pt x="382" y="84"/>
                      </a:lnTo>
                      <a:lnTo>
                        <a:pt x="383" y="88"/>
                      </a:lnTo>
                      <a:lnTo>
                        <a:pt x="388" y="91"/>
                      </a:lnTo>
                      <a:lnTo>
                        <a:pt x="411" y="118"/>
                      </a:lnTo>
                      <a:lnTo>
                        <a:pt x="422" y="147"/>
                      </a:lnTo>
                      <a:lnTo>
                        <a:pt x="428" y="163"/>
                      </a:lnTo>
                      <a:lnTo>
                        <a:pt x="432" y="168"/>
                      </a:lnTo>
                      <a:lnTo>
                        <a:pt x="448" y="176"/>
                      </a:lnTo>
                      <a:lnTo>
                        <a:pt x="456" y="177"/>
                      </a:lnTo>
                      <a:lnTo>
                        <a:pt x="467" y="172"/>
                      </a:lnTo>
                      <a:lnTo>
                        <a:pt x="481" y="169"/>
                      </a:lnTo>
                      <a:lnTo>
                        <a:pt x="496" y="164"/>
                      </a:lnTo>
                      <a:lnTo>
                        <a:pt x="497" y="156"/>
                      </a:lnTo>
                      <a:lnTo>
                        <a:pt x="510" y="152"/>
                      </a:lnTo>
                      <a:lnTo>
                        <a:pt x="518" y="153"/>
                      </a:lnTo>
                      <a:lnTo>
                        <a:pt x="527" y="148"/>
                      </a:lnTo>
                      <a:lnTo>
                        <a:pt x="535" y="148"/>
                      </a:lnTo>
                      <a:lnTo>
                        <a:pt x="542" y="152"/>
                      </a:lnTo>
                      <a:lnTo>
                        <a:pt x="565" y="151"/>
                      </a:lnTo>
                      <a:lnTo>
                        <a:pt x="573" y="152"/>
                      </a:lnTo>
                      <a:lnTo>
                        <a:pt x="593" y="159"/>
                      </a:lnTo>
                      <a:lnTo>
                        <a:pt x="603" y="161"/>
                      </a:lnTo>
                      <a:lnTo>
                        <a:pt x="611" y="157"/>
                      </a:lnTo>
                      <a:lnTo>
                        <a:pt x="618" y="153"/>
                      </a:lnTo>
                      <a:lnTo>
                        <a:pt x="623" y="147"/>
                      </a:lnTo>
                      <a:lnTo>
                        <a:pt x="627" y="141"/>
                      </a:lnTo>
                      <a:lnTo>
                        <a:pt x="636" y="132"/>
                      </a:lnTo>
                      <a:close/>
                      <a:moveTo>
                        <a:pt x="528" y="60"/>
                      </a:moveTo>
                      <a:lnTo>
                        <a:pt x="524" y="61"/>
                      </a:lnTo>
                      <a:lnTo>
                        <a:pt x="521" y="55"/>
                      </a:lnTo>
                      <a:lnTo>
                        <a:pt x="523" y="55"/>
                      </a:lnTo>
                      <a:lnTo>
                        <a:pt x="526" y="56"/>
                      </a:lnTo>
                      <a:lnTo>
                        <a:pt x="528" y="60"/>
                      </a:lnTo>
                      <a:close/>
                      <a:moveTo>
                        <a:pt x="431" y="58"/>
                      </a:moveTo>
                      <a:lnTo>
                        <a:pt x="437" y="58"/>
                      </a:lnTo>
                      <a:lnTo>
                        <a:pt x="438" y="61"/>
                      </a:lnTo>
                      <a:lnTo>
                        <a:pt x="436" y="66"/>
                      </a:lnTo>
                      <a:lnTo>
                        <a:pt x="416" y="86"/>
                      </a:lnTo>
                      <a:lnTo>
                        <a:pt x="408" y="90"/>
                      </a:lnTo>
                      <a:lnTo>
                        <a:pt x="404" y="86"/>
                      </a:lnTo>
                      <a:lnTo>
                        <a:pt x="404" y="77"/>
                      </a:lnTo>
                      <a:lnTo>
                        <a:pt x="406" y="71"/>
                      </a:lnTo>
                      <a:lnTo>
                        <a:pt x="408" y="68"/>
                      </a:lnTo>
                      <a:lnTo>
                        <a:pt x="412" y="70"/>
                      </a:lnTo>
                      <a:lnTo>
                        <a:pt x="411" y="65"/>
                      </a:lnTo>
                      <a:lnTo>
                        <a:pt x="408" y="58"/>
                      </a:lnTo>
                      <a:lnTo>
                        <a:pt x="411" y="52"/>
                      </a:lnTo>
                      <a:lnTo>
                        <a:pt x="419" y="50"/>
                      </a:lnTo>
                      <a:lnTo>
                        <a:pt x="426" y="52"/>
                      </a:lnTo>
                      <a:lnTo>
                        <a:pt x="428" y="56"/>
                      </a:lnTo>
                      <a:lnTo>
                        <a:pt x="431" y="58"/>
                      </a:lnTo>
                      <a:close/>
                      <a:moveTo>
                        <a:pt x="507" y="53"/>
                      </a:moveTo>
                      <a:lnTo>
                        <a:pt x="507" y="55"/>
                      </a:lnTo>
                      <a:lnTo>
                        <a:pt x="503" y="51"/>
                      </a:lnTo>
                      <a:lnTo>
                        <a:pt x="503" y="48"/>
                      </a:lnTo>
                      <a:lnTo>
                        <a:pt x="506" y="47"/>
                      </a:lnTo>
                      <a:lnTo>
                        <a:pt x="508" y="52"/>
                      </a:lnTo>
                      <a:lnTo>
                        <a:pt x="507" y="53"/>
                      </a:lnTo>
                      <a:close/>
                      <a:moveTo>
                        <a:pt x="441" y="28"/>
                      </a:moveTo>
                      <a:lnTo>
                        <a:pt x="441" y="32"/>
                      </a:lnTo>
                      <a:lnTo>
                        <a:pt x="443" y="36"/>
                      </a:lnTo>
                      <a:lnTo>
                        <a:pt x="444" y="37"/>
                      </a:lnTo>
                      <a:lnTo>
                        <a:pt x="449" y="37"/>
                      </a:lnTo>
                      <a:lnTo>
                        <a:pt x="451" y="38"/>
                      </a:lnTo>
                      <a:lnTo>
                        <a:pt x="447" y="42"/>
                      </a:lnTo>
                      <a:lnTo>
                        <a:pt x="443" y="50"/>
                      </a:lnTo>
                      <a:lnTo>
                        <a:pt x="441" y="50"/>
                      </a:lnTo>
                      <a:lnTo>
                        <a:pt x="438" y="46"/>
                      </a:lnTo>
                      <a:lnTo>
                        <a:pt x="429" y="47"/>
                      </a:lnTo>
                      <a:lnTo>
                        <a:pt x="423" y="42"/>
                      </a:lnTo>
                      <a:lnTo>
                        <a:pt x="419" y="41"/>
                      </a:lnTo>
                      <a:lnTo>
                        <a:pt x="422" y="36"/>
                      </a:lnTo>
                      <a:lnTo>
                        <a:pt x="422" y="32"/>
                      </a:lnTo>
                      <a:lnTo>
                        <a:pt x="423" y="30"/>
                      </a:lnTo>
                      <a:lnTo>
                        <a:pt x="424" y="30"/>
                      </a:lnTo>
                      <a:lnTo>
                        <a:pt x="428" y="30"/>
                      </a:lnTo>
                      <a:lnTo>
                        <a:pt x="438" y="27"/>
                      </a:lnTo>
                      <a:lnTo>
                        <a:pt x="441" y="28"/>
                      </a:lnTo>
                      <a:close/>
                      <a:moveTo>
                        <a:pt x="464" y="30"/>
                      </a:moveTo>
                      <a:lnTo>
                        <a:pt x="458" y="30"/>
                      </a:lnTo>
                      <a:lnTo>
                        <a:pt x="458" y="25"/>
                      </a:lnTo>
                      <a:lnTo>
                        <a:pt x="462" y="23"/>
                      </a:lnTo>
                      <a:lnTo>
                        <a:pt x="464" y="23"/>
                      </a:lnTo>
                      <a:lnTo>
                        <a:pt x="464" y="30"/>
                      </a:lnTo>
                      <a:close/>
                      <a:moveTo>
                        <a:pt x="418" y="36"/>
                      </a:moveTo>
                      <a:lnTo>
                        <a:pt x="412" y="43"/>
                      </a:lnTo>
                      <a:lnTo>
                        <a:pt x="397" y="42"/>
                      </a:lnTo>
                      <a:lnTo>
                        <a:pt x="383" y="51"/>
                      </a:lnTo>
                      <a:lnTo>
                        <a:pt x="379" y="47"/>
                      </a:lnTo>
                      <a:lnTo>
                        <a:pt x="382" y="37"/>
                      </a:lnTo>
                      <a:lnTo>
                        <a:pt x="386" y="36"/>
                      </a:lnTo>
                      <a:lnTo>
                        <a:pt x="392" y="33"/>
                      </a:lnTo>
                      <a:lnTo>
                        <a:pt x="393" y="31"/>
                      </a:lnTo>
                      <a:lnTo>
                        <a:pt x="394" y="26"/>
                      </a:lnTo>
                      <a:lnTo>
                        <a:pt x="392" y="22"/>
                      </a:lnTo>
                      <a:lnTo>
                        <a:pt x="389" y="21"/>
                      </a:lnTo>
                      <a:lnTo>
                        <a:pt x="386" y="21"/>
                      </a:lnTo>
                      <a:lnTo>
                        <a:pt x="393" y="11"/>
                      </a:lnTo>
                      <a:lnTo>
                        <a:pt x="402" y="2"/>
                      </a:lnTo>
                      <a:lnTo>
                        <a:pt x="409" y="0"/>
                      </a:lnTo>
                      <a:lnTo>
                        <a:pt x="416" y="11"/>
                      </a:lnTo>
                      <a:lnTo>
                        <a:pt x="420" y="26"/>
                      </a:lnTo>
                      <a:lnTo>
                        <a:pt x="418" y="36"/>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3" name="Kagawa" descr="{&quot;Key&quot;:&quot;kagawa&quot;,&quot;Name&quot;:&quot;Kagawa&quot;,&quot;Value&quot;:1.0,&quot;Formula&quot;:&quot;&quot;,&quot;Text&quot;:&quot;&quot;,&quot;OfficeApplication&quot;:1,&quot;HasValue&quot;:true}">
                  <a:extLst>
                    <a:ext uri="{FF2B5EF4-FFF2-40B4-BE49-F238E27FC236}">
                      <a16:creationId xmlns:a16="http://schemas.microsoft.com/office/drawing/2014/main" id="{686549BB-6B3C-49DA-83F9-542928CEAE04}"/>
                    </a:ext>
                  </a:extLst>
                </p:cNvPr>
                <p:cNvSpPr>
                  <a:spLocks noEditPoints="1"/>
                </p:cNvSpPr>
                <p:nvPr/>
              </p:nvSpPr>
              <p:spPr bwMode="auto">
                <a:xfrm>
                  <a:off x="5397500" y="4002088"/>
                  <a:ext cx="207963" cy="158750"/>
                </a:xfrm>
                <a:custGeom>
                  <a:avLst/>
                  <a:gdLst>
                    <a:gd name="T0" fmla="*/ 39 w 355"/>
                    <a:gd name="T1" fmla="*/ 134 h 272"/>
                    <a:gd name="T2" fmla="*/ 29 w 355"/>
                    <a:gd name="T3" fmla="*/ 143 h 272"/>
                    <a:gd name="T4" fmla="*/ 26 w 355"/>
                    <a:gd name="T5" fmla="*/ 135 h 272"/>
                    <a:gd name="T6" fmla="*/ 46 w 355"/>
                    <a:gd name="T7" fmla="*/ 123 h 272"/>
                    <a:gd name="T8" fmla="*/ 45 w 355"/>
                    <a:gd name="T9" fmla="*/ 113 h 272"/>
                    <a:gd name="T10" fmla="*/ 346 w 355"/>
                    <a:gd name="T11" fmla="*/ 192 h 272"/>
                    <a:gd name="T12" fmla="*/ 265 w 355"/>
                    <a:gd name="T13" fmla="*/ 192 h 272"/>
                    <a:gd name="T14" fmla="*/ 226 w 355"/>
                    <a:gd name="T15" fmla="*/ 210 h 272"/>
                    <a:gd name="T16" fmla="*/ 191 w 355"/>
                    <a:gd name="T17" fmla="*/ 224 h 272"/>
                    <a:gd name="T18" fmla="*/ 158 w 355"/>
                    <a:gd name="T19" fmla="*/ 235 h 272"/>
                    <a:gd name="T20" fmla="*/ 138 w 355"/>
                    <a:gd name="T21" fmla="*/ 222 h 272"/>
                    <a:gd name="T22" fmla="*/ 94 w 355"/>
                    <a:gd name="T23" fmla="*/ 239 h 272"/>
                    <a:gd name="T24" fmla="*/ 63 w 355"/>
                    <a:gd name="T25" fmla="*/ 255 h 272"/>
                    <a:gd name="T26" fmla="*/ 26 w 355"/>
                    <a:gd name="T27" fmla="*/ 262 h 272"/>
                    <a:gd name="T28" fmla="*/ 33 w 355"/>
                    <a:gd name="T29" fmla="*/ 232 h 272"/>
                    <a:gd name="T30" fmla="*/ 30 w 355"/>
                    <a:gd name="T31" fmla="*/ 174 h 272"/>
                    <a:gd name="T32" fmla="*/ 5 w 355"/>
                    <a:gd name="T33" fmla="*/ 153 h 272"/>
                    <a:gd name="T34" fmla="*/ 31 w 355"/>
                    <a:gd name="T35" fmla="*/ 157 h 272"/>
                    <a:gd name="T36" fmla="*/ 70 w 355"/>
                    <a:gd name="T37" fmla="*/ 149 h 272"/>
                    <a:gd name="T38" fmla="*/ 126 w 355"/>
                    <a:gd name="T39" fmla="*/ 112 h 272"/>
                    <a:gd name="T40" fmla="*/ 142 w 355"/>
                    <a:gd name="T41" fmla="*/ 92 h 272"/>
                    <a:gd name="T42" fmla="*/ 160 w 355"/>
                    <a:gd name="T43" fmla="*/ 89 h 272"/>
                    <a:gd name="T44" fmla="*/ 182 w 355"/>
                    <a:gd name="T45" fmla="*/ 102 h 272"/>
                    <a:gd name="T46" fmla="*/ 210 w 355"/>
                    <a:gd name="T47" fmla="*/ 102 h 272"/>
                    <a:gd name="T48" fmla="*/ 226 w 355"/>
                    <a:gd name="T49" fmla="*/ 93 h 272"/>
                    <a:gd name="T50" fmla="*/ 239 w 355"/>
                    <a:gd name="T51" fmla="*/ 83 h 272"/>
                    <a:gd name="T52" fmla="*/ 244 w 355"/>
                    <a:gd name="T53" fmla="*/ 113 h 272"/>
                    <a:gd name="T54" fmla="*/ 264 w 355"/>
                    <a:gd name="T55" fmla="*/ 98 h 272"/>
                    <a:gd name="T56" fmla="*/ 281 w 355"/>
                    <a:gd name="T57" fmla="*/ 128 h 272"/>
                    <a:gd name="T58" fmla="*/ 315 w 355"/>
                    <a:gd name="T59" fmla="*/ 149 h 272"/>
                    <a:gd name="T60" fmla="*/ 340 w 355"/>
                    <a:gd name="T61" fmla="*/ 157 h 272"/>
                    <a:gd name="T62" fmla="*/ 59 w 355"/>
                    <a:gd name="T63" fmla="*/ 98 h 272"/>
                    <a:gd name="T64" fmla="*/ 54 w 355"/>
                    <a:gd name="T65" fmla="*/ 87 h 272"/>
                    <a:gd name="T66" fmla="*/ 66 w 355"/>
                    <a:gd name="T67" fmla="*/ 84 h 272"/>
                    <a:gd name="T68" fmla="*/ 92 w 355"/>
                    <a:gd name="T69" fmla="*/ 78 h 272"/>
                    <a:gd name="T70" fmla="*/ 83 w 355"/>
                    <a:gd name="T71" fmla="*/ 92 h 272"/>
                    <a:gd name="T72" fmla="*/ 81 w 355"/>
                    <a:gd name="T73" fmla="*/ 80 h 272"/>
                    <a:gd name="T74" fmla="*/ 92 w 355"/>
                    <a:gd name="T75" fmla="*/ 78 h 272"/>
                    <a:gd name="T76" fmla="*/ 197 w 355"/>
                    <a:gd name="T77" fmla="*/ 72 h 272"/>
                    <a:gd name="T78" fmla="*/ 44 w 355"/>
                    <a:gd name="T79" fmla="*/ 72 h 272"/>
                    <a:gd name="T80" fmla="*/ 44 w 355"/>
                    <a:gd name="T81" fmla="*/ 85 h 272"/>
                    <a:gd name="T82" fmla="*/ 41 w 355"/>
                    <a:gd name="T83" fmla="*/ 73 h 272"/>
                    <a:gd name="T84" fmla="*/ 199 w 355"/>
                    <a:gd name="T85" fmla="*/ 63 h 272"/>
                    <a:gd name="T86" fmla="*/ 168 w 355"/>
                    <a:gd name="T87" fmla="*/ 40 h 272"/>
                    <a:gd name="T88" fmla="*/ 178 w 355"/>
                    <a:gd name="T89" fmla="*/ 55 h 272"/>
                    <a:gd name="T90" fmla="*/ 164 w 355"/>
                    <a:gd name="T91" fmla="*/ 38 h 272"/>
                    <a:gd name="T92" fmla="*/ 205 w 355"/>
                    <a:gd name="T93" fmla="*/ 44 h 272"/>
                    <a:gd name="T94" fmla="*/ 199 w 355"/>
                    <a:gd name="T95" fmla="*/ 33 h 272"/>
                    <a:gd name="T96" fmla="*/ 219 w 355"/>
                    <a:gd name="T97" fmla="*/ 31 h 272"/>
                    <a:gd name="T98" fmla="*/ 181 w 355"/>
                    <a:gd name="T99" fmla="*/ 31 h 272"/>
                    <a:gd name="T100" fmla="*/ 186 w 355"/>
                    <a:gd name="T101" fmla="*/ 31 h 272"/>
                    <a:gd name="T102" fmla="*/ 315 w 355"/>
                    <a:gd name="T103" fmla="*/ 57 h 272"/>
                    <a:gd name="T104" fmla="*/ 300 w 355"/>
                    <a:gd name="T105" fmla="*/ 52 h 272"/>
                    <a:gd name="T106" fmla="*/ 298 w 355"/>
                    <a:gd name="T107" fmla="*/ 44 h 272"/>
                    <a:gd name="T108" fmla="*/ 275 w 355"/>
                    <a:gd name="T109" fmla="*/ 68 h 272"/>
                    <a:gd name="T110" fmla="*/ 260 w 355"/>
                    <a:gd name="T111" fmla="*/ 42 h 272"/>
                    <a:gd name="T112" fmla="*/ 246 w 355"/>
                    <a:gd name="T113" fmla="*/ 34 h 272"/>
                    <a:gd name="T114" fmla="*/ 259 w 355"/>
                    <a:gd name="T115" fmla="*/ 22 h 272"/>
                    <a:gd name="T116" fmla="*/ 305 w 355"/>
                    <a:gd name="T117" fmla="*/ 4 h 272"/>
                    <a:gd name="T118" fmla="*/ 324 w 355"/>
                    <a:gd name="T119" fmla="*/ 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5" h="272">
                      <a:moveTo>
                        <a:pt x="29" y="132"/>
                      </a:moveTo>
                      <a:lnTo>
                        <a:pt x="31" y="138"/>
                      </a:lnTo>
                      <a:lnTo>
                        <a:pt x="34" y="135"/>
                      </a:lnTo>
                      <a:lnTo>
                        <a:pt x="39" y="134"/>
                      </a:lnTo>
                      <a:lnTo>
                        <a:pt x="37" y="137"/>
                      </a:lnTo>
                      <a:lnTo>
                        <a:pt x="39" y="139"/>
                      </a:lnTo>
                      <a:lnTo>
                        <a:pt x="32" y="139"/>
                      </a:lnTo>
                      <a:lnTo>
                        <a:pt x="29" y="143"/>
                      </a:lnTo>
                      <a:lnTo>
                        <a:pt x="25" y="147"/>
                      </a:lnTo>
                      <a:lnTo>
                        <a:pt x="24" y="142"/>
                      </a:lnTo>
                      <a:lnTo>
                        <a:pt x="27" y="137"/>
                      </a:lnTo>
                      <a:lnTo>
                        <a:pt x="26" y="135"/>
                      </a:lnTo>
                      <a:lnTo>
                        <a:pt x="26" y="132"/>
                      </a:lnTo>
                      <a:lnTo>
                        <a:pt x="29" y="132"/>
                      </a:lnTo>
                      <a:close/>
                      <a:moveTo>
                        <a:pt x="50" y="118"/>
                      </a:moveTo>
                      <a:lnTo>
                        <a:pt x="46" y="123"/>
                      </a:lnTo>
                      <a:lnTo>
                        <a:pt x="45" y="121"/>
                      </a:lnTo>
                      <a:lnTo>
                        <a:pt x="42" y="118"/>
                      </a:lnTo>
                      <a:lnTo>
                        <a:pt x="41" y="113"/>
                      </a:lnTo>
                      <a:lnTo>
                        <a:pt x="45" y="113"/>
                      </a:lnTo>
                      <a:lnTo>
                        <a:pt x="50" y="118"/>
                      </a:lnTo>
                      <a:close/>
                      <a:moveTo>
                        <a:pt x="355" y="169"/>
                      </a:moveTo>
                      <a:lnTo>
                        <a:pt x="355" y="170"/>
                      </a:lnTo>
                      <a:lnTo>
                        <a:pt x="346" y="192"/>
                      </a:lnTo>
                      <a:lnTo>
                        <a:pt x="341" y="194"/>
                      </a:lnTo>
                      <a:lnTo>
                        <a:pt x="336" y="195"/>
                      </a:lnTo>
                      <a:lnTo>
                        <a:pt x="323" y="190"/>
                      </a:lnTo>
                      <a:lnTo>
                        <a:pt x="265" y="192"/>
                      </a:lnTo>
                      <a:lnTo>
                        <a:pt x="246" y="194"/>
                      </a:lnTo>
                      <a:lnTo>
                        <a:pt x="238" y="197"/>
                      </a:lnTo>
                      <a:lnTo>
                        <a:pt x="233" y="200"/>
                      </a:lnTo>
                      <a:lnTo>
                        <a:pt x="226" y="210"/>
                      </a:lnTo>
                      <a:lnTo>
                        <a:pt x="220" y="217"/>
                      </a:lnTo>
                      <a:lnTo>
                        <a:pt x="214" y="219"/>
                      </a:lnTo>
                      <a:lnTo>
                        <a:pt x="196" y="223"/>
                      </a:lnTo>
                      <a:lnTo>
                        <a:pt x="191" y="224"/>
                      </a:lnTo>
                      <a:lnTo>
                        <a:pt x="178" y="232"/>
                      </a:lnTo>
                      <a:lnTo>
                        <a:pt x="171" y="234"/>
                      </a:lnTo>
                      <a:lnTo>
                        <a:pt x="164" y="235"/>
                      </a:lnTo>
                      <a:lnTo>
                        <a:pt x="158" y="235"/>
                      </a:lnTo>
                      <a:lnTo>
                        <a:pt x="154" y="233"/>
                      </a:lnTo>
                      <a:lnTo>
                        <a:pt x="149" y="228"/>
                      </a:lnTo>
                      <a:lnTo>
                        <a:pt x="145" y="224"/>
                      </a:lnTo>
                      <a:lnTo>
                        <a:pt x="138" y="222"/>
                      </a:lnTo>
                      <a:lnTo>
                        <a:pt x="109" y="225"/>
                      </a:lnTo>
                      <a:lnTo>
                        <a:pt x="104" y="228"/>
                      </a:lnTo>
                      <a:lnTo>
                        <a:pt x="99" y="235"/>
                      </a:lnTo>
                      <a:lnTo>
                        <a:pt x="94" y="239"/>
                      </a:lnTo>
                      <a:lnTo>
                        <a:pt x="80" y="242"/>
                      </a:lnTo>
                      <a:lnTo>
                        <a:pt x="75" y="245"/>
                      </a:lnTo>
                      <a:lnTo>
                        <a:pt x="71" y="249"/>
                      </a:lnTo>
                      <a:lnTo>
                        <a:pt x="63" y="255"/>
                      </a:lnTo>
                      <a:lnTo>
                        <a:pt x="59" y="260"/>
                      </a:lnTo>
                      <a:lnTo>
                        <a:pt x="41" y="272"/>
                      </a:lnTo>
                      <a:lnTo>
                        <a:pt x="35" y="264"/>
                      </a:lnTo>
                      <a:lnTo>
                        <a:pt x="26" y="262"/>
                      </a:lnTo>
                      <a:lnTo>
                        <a:pt x="14" y="259"/>
                      </a:lnTo>
                      <a:lnTo>
                        <a:pt x="25" y="248"/>
                      </a:lnTo>
                      <a:lnTo>
                        <a:pt x="30" y="242"/>
                      </a:lnTo>
                      <a:lnTo>
                        <a:pt x="33" y="232"/>
                      </a:lnTo>
                      <a:lnTo>
                        <a:pt x="36" y="210"/>
                      </a:lnTo>
                      <a:lnTo>
                        <a:pt x="35" y="189"/>
                      </a:lnTo>
                      <a:lnTo>
                        <a:pt x="33" y="180"/>
                      </a:lnTo>
                      <a:lnTo>
                        <a:pt x="30" y="174"/>
                      </a:lnTo>
                      <a:lnTo>
                        <a:pt x="25" y="168"/>
                      </a:lnTo>
                      <a:lnTo>
                        <a:pt x="18" y="162"/>
                      </a:lnTo>
                      <a:lnTo>
                        <a:pt x="11" y="158"/>
                      </a:lnTo>
                      <a:lnTo>
                        <a:pt x="5" y="153"/>
                      </a:lnTo>
                      <a:lnTo>
                        <a:pt x="0" y="144"/>
                      </a:lnTo>
                      <a:lnTo>
                        <a:pt x="9" y="149"/>
                      </a:lnTo>
                      <a:lnTo>
                        <a:pt x="20" y="154"/>
                      </a:lnTo>
                      <a:lnTo>
                        <a:pt x="31" y="157"/>
                      </a:lnTo>
                      <a:lnTo>
                        <a:pt x="39" y="154"/>
                      </a:lnTo>
                      <a:lnTo>
                        <a:pt x="46" y="162"/>
                      </a:lnTo>
                      <a:lnTo>
                        <a:pt x="58" y="158"/>
                      </a:lnTo>
                      <a:lnTo>
                        <a:pt x="70" y="149"/>
                      </a:lnTo>
                      <a:lnTo>
                        <a:pt x="79" y="139"/>
                      </a:lnTo>
                      <a:lnTo>
                        <a:pt x="90" y="130"/>
                      </a:lnTo>
                      <a:lnTo>
                        <a:pt x="114" y="119"/>
                      </a:lnTo>
                      <a:lnTo>
                        <a:pt x="126" y="112"/>
                      </a:lnTo>
                      <a:lnTo>
                        <a:pt x="130" y="107"/>
                      </a:lnTo>
                      <a:lnTo>
                        <a:pt x="134" y="99"/>
                      </a:lnTo>
                      <a:lnTo>
                        <a:pt x="138" y="94"/>
                      </a:lnTo>
                      <a:lnTo>
                        <a:pt x="142" y="92"/>
                      </a:lnTo>
                      <a:lnTo>
                        <a:pt x="145" y="90"/>
                      </a:lnTo>
                      <a:lnTo>
                        <a:pt x="153" y="88"/>
                      </a:lnTo>
                      <a:lnTo>
                        <a:pt x="156" y="88"/>
                      </a:lnTo>
                      <a:lnTo>
                        <a:pt x="160" y="89"/>
                      </a:lnTo>
                      <a:lnTo>
                        <a:pt x="165" y="93"/>
                      </a:lnTo>
                      <a:lnTo>
                        <a:pt x="173" y="95"/>
                      </a:lnTo>
                      <a:lnTo>
                        <a:pt x="178" y="99"/>
                      </a:lnTo>
                      <a:lnTo>
                        <a:pt x="182" y="102"/>
                      </a:lnTo>
                      <a:lnTo>
                        <a:pt x="186" y="100"/>
                      </a:lnTo>
                      <a:lnTo>
                        <a:pt x="192" y="98"/>
                      </a:lnTo>
                      <a:lnTo>
                        <a:pt x="196" y="98"/>
                      </a:lnTo>
                      <a:lnTo>
                        <a:pt x="210" y="102"/>
                      </a:lnTo>
                      <a:lnTo>
                        <a:pt x="213" y="98"/>
                      </a:lnTo>
                      <a:lnTo>
                        <a:pt x="217" y="88"/>
                      </a:lnTo>
                      <a:lnTo>
                        <a:pt x="224" y="95"/>
                      </a:lnTo>
                      <a:lnTo>
                        <a:pt x="226" y="93"/>
                      </a:lnTo>
                      <a:lnTo>
                        <a:pt x="228" y="85"/>
                      </a:lnTo>
                      <a:lnTo>
                        <a:pt x="229" y="82"/>
                      </a:lnTo>
                      <a:lnTo>
                        <a:pt x="235" y="80"/>
                      </a:lnTo>
                      <a:lnTo>
                        <a:pt x="239" y="83"/>
                      </a:lnTo>
                      <a:lnTo>
                        <a:pt x="241" y="88"/>
                      </a:lnTo>
                      <a:lnTo>
                        <a:pt x="243" y="94"/>
                      </a:lnTo>
                      <a:lnTo>
                        <a:pt x="243" y="108"/>
                      </a:lnTo>
                      <a:lnTo>
                        <a:pt x="244" y="113"/>
                      </a:lnTo>
                      <a:lnTo>
                        <a:pt x="250" y="114"/>
                      </a:lnTo>
                      <a:lnTo>
                        <a:pt x="254" y="113"/>
                      </a:lnTo>
                      <a:lnTo>
                        <a:pt x="263" y="102"/>
                      </a:lnTo>
                      <a:lnTo>
                        <a:pt x="264" y="98"/>
                      </a:lnTo>
                      <a:lnTo>
                        <a:pt x="273" y="105"/>
                      </a:lnTo>
                      <a:lnTo>
                        <a:pt x="281" y="108"/>
                      </a:lnTo>
                      <a:lnTo>
                        <a:pt x="286" y="114"/>
                      </a:lnTo>
                      <a:lnTo>
                        <a:pt x="281" y="128"/>
                      </a:lnTo>
                      <a:lnTo>
                        <a:pt x="296" y="137"/>
                      </a:lnTo>
                      <a:lnTo>
                        <a:pt x="301" y="138"/>
                      </a:lnTo>
                      <a:lnTo>
                        <a:pt x="306" y="140"/>
                      </a:lnTo>
                      <a:lnTo>
                        <a:pt x="315" y="149"/>
                      </a:lnTo>
                      <a:lnTo>
                        <a:pt x="321" y="150"/>
                      </a:lnTo>
                      <a:lnTo>
                        <a:pt x="331" y="149"/>
                      </a:lnTo>
                      <a:lnTo>
                        <a:pt x="336" y="149"/>
                      </a:lnTo>
                      <a:lnTo>
                        <a:pt x="340" y="157"/>
                      </a:lnTo>
                      <a:lnTo>
                        <a:pt x="344" y="162"/>
                      </a:lnTo>
                      <a:lnTo>
                        <a:pt x="354" y="169"/>
                      </a:lnTo>
                      <a:lnTo>
                        <a:pt x="355" y="169"/>
                      </a:lnTo>
                      <a:close/>
                      <a:moveTo>
                        <a:pt x="59" y="98"/>
                      </a:moveTo>
                      <a:lnTo>
                        <a:pt x="57" y="99"/>
                      </a:lnTo>
                      <a:lnTo>
                        <a:pt x="55" y="98"/>
                      </a:lnTo>
                      <a:lnTo>
                        <a:pt x="53" y="93"/>
                      </a:lnTo>
                      <a:lnTo>
                        <a:pt x="54" y="87"/>
                      </a:lnTo>
                      <a:lnTo>
                        <a:pt x="59" y="80"/>
                      </a:lnTo>
                      <a:lnTo>
                        <a:pt x="60" y="78"/>
                      </a:lnTo>
                      <a:lnTo>
                        <a:pt x="63" y="78"/>
                      </a:lnTo>
                      <a:lnTo>
                        <a:pt x="66" y="84"/>
                      </a:lnTo>
                      <a:lnTo>
                        <a:pt x="68" y="90"/>
                      </a:lnTo>
                      <a:lnTo>
                        <a:pt x="65" y="94"/>
                      </a:lnTo>
                      <a:lnTo>
                        <a:pt x="59" y="98"/>
                      </a:lnTo>
                      <a:close/>
                      <a:moveTo>
                        <a:pt x="92" y="78"/>
                      </a:moveTo>
                      <a:lnTo>
                        <a:pt x="94" y="82"/>
                      </a:lnTo>
                      <a:lnTo>
                        <a:pt x="94" y="83"/>
                      </a:lnTo>
                      <a:lnTo>
                        <a:pt x="88" y="85"/>
                      </a:lnTo>
                      <a:lnTo>
                        <a:pt x="83" y="92"/>
                      </a:lnTo>
                      <a:lnTo>
                        <a:pt x="80" y="92"/>
                      </a:lnTo>
                      <a:lnTo>
                        <a:pt x="80" y="85"/>
                      </a:lnTo>
                      <a:lnTo>
                        <a:pt x="78" y="77"/>
                      </a:lnTo>
                      <a:lnTo>
                        <a:pt x="81" y="80"/>
                      </a:lnTo>
                      <a:lnTo>
                        <a:pt x="83" y="80"/>
                      </a:lnTo>
                      <a:lnTo>
                        <a:pt x="86" y="78"/>
                      </a:lnTo>
                      <a:lnTo>
                        <a:pt x="88" y="75"/>
                      </a:lnTo>
                      <a:lnTo>
                        <a:pt x="92" y="78"/>
                      </a:lnTo>
                      <a:close/>
                      <a:moveTo>
                        <a:pt x="196" y="82"/>
                      </a:moveTo>
                      <a:lnTo>
                        <a:pt x="192" y="87"/>
                      </a:lnTo>
                      <a:lnTo>
                        <a:pt x="195" y="78"/>
                      </a:lnTo>
                      <a:lnTo>
                        <a:pt x="197" y="72"/>
                      </a:lnTo>
                      <a:lnTo>
                        <a:pt x="200" y="73"/>
                      </a:lnTo>
                      <a:lnTo>
                        <a:pt x="199" y="80"/>
                      </a:lnTo>
                      <a:lnTo>
                        <a:pt x="196" y="82"/>
                      </a:lnTo>
                      <a:close/>
                      <a:moveTo>
                        <a:pt x="44" y="72"/>
                      </a:moveTo>
                      <a:lnTo>
                        <a:pt x="46" y="73"/>
                      </a:lnTo>
                      <a:lnTo>
                        <a:pt x="46" y="77"/>
                      </a:lnTo>
                      <a:lnTo>
                        <a:pt x="48" y="78"/>
                      </a:lnTo>
                      <a:lnTo>
                        <a:pt x="44" y="85"/>
                      </a:lnTo>
                      <a:lnTo>
                        <a:pt x="41" y="80"/>
                      </a:lnTo>
                      <a:lnTo>
                        <a:pt x="40" y="77"/>
                      </a:lnTo>
                      <a:lnTo>
                        <a:pt x="38" y="72"/>
                      </a:lnTo>
                      <a:lnTo>
                        <a:pt x="41" y="73"/>
                      </a:lnTo>
                      <a:lnTo>
                        <a:pt x="44" y="72"/>
                      </a:lnTo>
                      <a:close/>
                      <a:moveTo>
                        <a:pt x="204" y="64"/>
                      </a:moveTo>
                      <a:lnTo>
                        <a:pt x="200" y="68"/>
                      </a:lnTo>
                      <a:lnTo>
                        <a:pt x="199" y="63"/>
                      </a:lnTo>
                      <a:lnTo>
                        <a:pt x="203" y="59"/>
                      </a:lnTo>
                      <a:lnTo>
                        <a:pt x="204" y="64"/>
                      </a:lnTo>
                      <a:close/>
                      <a:moveTo>
                        <a:pt x="164" y="38"/>
                      </a:moveTo>
                      <a:lnTo>
                        <a:pt x="168" y="40"/>
                      </a:lnTo>
                      <a:lnTo>
                        <a:pt x="170" y="39"/>
                      </a:lnTo>
                      <a:lnTo>
                        <a:pt x="178" y="49"/>
                      </a:lnTo>
                      <a:lnTo>
                        <a:pt x="183" y="51"/>
                      </a:lnTo>
                      <a:lnTo>
                        <a:pt x="178" y="55"/>
                      </a:lnTo>
                      <a:lnTo>
                        <a:pt x="173" y="54"/>
                      </a:lnTo>
                      <a:lnTo>
                        <a:pt x="169" y="53"/>
                      </a:lnTo>
                      <a:lnTo>
                        <a:pt x="164" y="40"/>
                      </a:lnTo>
                      <a:lnTo>
                        <a:pt x="164" y="38"/>
                      </a:lnTo>
                      <a:close/>
                      <a:moveTo>
                        <a:pt x="219" y="36"/>
                      </a:moveTo>
                      <a:lnTo>
                        <a:pt x="211" y="46"/>
                      </a:lnTo>
                      <a:lnTo>
                        <a:pt x="207" y="46"/>
                      </a:lnTo>
                      <a:lnTo>
                        <a:pt x="205" y="44"/>
                      </a:lnTo>
                      <a:lnTo>
                        <a:pt x="192" y="38"/>
                      </a:lnTo>
                      <a:lnTo>
                        <a:pt x="192" y="35"/>
                      </a:lnTo>
                      <a:lnTo>
                        <a:pt x="196" y="33"/>
                      </a:lnTo>
                      <a:lnTo>
                        <a:pt x="199" y="33"/>
                      </a:lnTo>
                      <a:lnTo>
                        <a:pt x="206" y="28"/>
                      </a:lnTo>
                      <a:lnTo>
                        <a:pt x="211" y="27"/>
                      </a:lnTo>
                      <a:lnTo>
                        <a:pt x="215" y="31"/>
                      </a:lnTo>
                      <a:lnTo>
                        <a:pt x="219" y="31"/>
                      </a:lnTo>
                      <a:lnTo>
                        <a:pt x="219" y="36"/>
                      </a:lnTo>
                      <a:close/>
                      <a:moveTo>
                        <a:pt x="186" y="31"/>
                      </a:moveTo>
                      <a:lnTo>
                        <a:pt x="185" y="38"/>
                      </a:lnTo>
                      <a:lnTo>
                        <a:pt x="181" y="31"/>
                      </a:lnTo>
                      <a:lnTo>
                        <a:pt x="181" y="28"/>
                      </a:lnTo>
                      <a:lnTo>
                        <a:pt x="185" y="24"/>
                      </a:lnTo>
                      <a:lnTo>
                        <a:pt x="186" y="26"/>
                      </a:lnTo>
                      <a:lnTo>
                        <a:pt x="186" y="31"/>
                      </a:lnTo>
                      <a:close/>
                      <a:moveTo>
                        <a:pt x="328" y="20"/>
                      </a:moveTo>
                      <a:lnTo>
                        <a:pt x="325" y="35"/>
                      </a:lnTo>
                      <a:lnTo>
                        <a:pt x="316" y="62"/>
                      </a:lnTo>
                      <a:lnTo>
                        <a:pt x="315" y="57"/>
                      </a:lnTo>
                      <a:lnTo>
                        <a:pt x="311" y="54"/>
                      </a:lnTo>
                      <a:lnTo>
                        <a:pt x="306" y="53"/>
                      </a:lnTo>
                      <a:lnTo>
                        <a:pt x="300" y="54"/>
                      </a:lnTo>
                      <a:lnTo>
                        <a:pt x="300" y="52"/>
                      </a:lnTo>
                      <a:lnTo>
                        <a:pt x="308" y="50"/>
                      </a:lnTo>
                      <a:lnTo>
                        <a:pt x="310" y="45"/>
                      </a:lnTo>
                      <a:lnTo>
                        <a:pt x="306" y="43"/>
                      </a:lnTo>
                      <a:lnTo>
                        <a:pt x="298" y="44"/>
                      </a:lnTo>
                      <a:lnTo>
                        <a:pt x="291" y="50"/>
                      </a:lnTo>
                      <a:lnTo>
                        <a:pt x="288" y="59"/>
                      </a:lnTo>
                      <a:lnTo>
                        <a:pt x="283" y="65"/>
                      </a:lnTo>
                      <a:lnTo>
                        <a:pt x="275" y="68"/>
                      </a:lnTo>
                      <a:lnTo>
                        <a:pt x="278" y="50"/>
                      </a:lnTo>
                      <a:lnTo>
                        <a:pt x="275" y="45"/>
                      </a:lnTo>
                      <a:lnTo>
                        <a:pt x="267" y="40"/>
                      </a:lnTo>
                      <a:lnTo>
                        <a:pt x="260" y="42"/>
                      </a:lnTo>
                      <a:lnTo>
                        <a:pt x="252" y="44"/>
                      </a:lnTo>
                      <a:lnTo>
                        <a:pt x="245" y="44"/>
                      </a:lnTo>
                      <a:lnTo>
                        <a:pt x="242" y="38"/>
                      </a:lnTo>
                      <a:lnTo>
                        <a:pt x="246" y="34"/>
                      </a:lnTo>
                      <a:lnTo>
                        <a:pt x="246" y="29"/>
                      </a:lnTo>
                      <a:lnTo>
                        <a:pt x="246" y="23"/>
                      </a:lnTo>
                      <a:lnTo>
                        <a:pt x="247" y="18"/>
                      </a:lnTo>
                      <a:lnTo>
                        <a:pt x="259" y="22"/>
                      </a:lnTo>
                      <a:lnTo>
                        <a:pt x="269" y="18"/>
                      </a:lnTo>
                      <a:lnTo>
                        <a:pt x="286" y="8"/>
                      </a:lnTo>
                      <a:lnTo>
                        <a:pt x="291" y="7"/>
                      </a:lnTo>
                      <a:lnTo>
                        <a:pt x="305" y="4"/>
                      </a:lnTo>
                      <a:lnTo>
                        <a:pt x="319" y="0"/>
                      </a:lnTo>
                      <a:lnTo>
                        <a:pt x="325" y="0"/>
                      </a:lnTo>
                      <a:lnTo>
                        <a:pt x="324" y="5"/>
                      </a:lnTo>
                      <a:lnTo>
                        <a:pt x="324" y="9"/>
                      </a:lnTo>
                      <a:lnTo>
                        <a:pt x="326" y="15"/>
                      </a:lnTo>
                      <a:lnTo>
                        <a:pt x="328" y="2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4" name="Kochi" descr="{&quot;Key&quot;:&quot;kochi&quot;,&quot;Name&quot;:&quot;Kochi&quot;,&quot;Value&quot;:1.0,&quot;Formula&quot;:&quot;&quot;,&quot;Text&quot;:&quot;&quot;,&quot;OfficeApplication&quot;:1,&quot;HasValue&quot;:true}">
                  <a:extLst>
                    <a:ext uri="{FF2B5EF4-FFF2-40B4-BE49-F238E27FC236}">
                      <a16:creationId xmlns:a16="http://schemas.microsoft.com/office/drawing/2014/main" id="{11379582-85B5-4842-B542-EE4E225EF5B0}"/>
                    </a:ext>
                  </a:extLst>
                </p:cNvPr>
                <p:cNvSpPr>
                  <a:spLocks noEditPoints="1"/>
                </p:cNvSpPr>
                <p:nvPr/>
              </p:nvSpPr>
              <p:spPr bwMode="auto">
                <a:xfrm>
                  <a:off x="5157788" y="4200525"/>
                  <a:ext cx="412750" cy="323850"/>
                </a:xfrm>
                <a:custGeom>
                  <a:avLst/>
                  <a:gdLst>
                    <a:gd name="T0" fmla="*/ 1 w 706"/>
                    <a:gd name="T1" fmla="*/ 545 h 554"/>
                    <a:gd name="T2" fmla="*/ 10 w 706"/>
                    <a:gd name="T3" fmla="*/ 537 h 554"/>
                    <a:gd name="T4" fmla="*/ 10 w 706"/>
                    <a:gd name="T5" fmla="*/ 552 h 554"/>
                    <a:gd name="T6" fmla="*/ 674 w 706"/>
                    <a:gd name="T7" fmla="*/ 232 h 554"/>
                    <a:gd name="T8" fmla="*/ 664 w 706"/>
                    <a:gd name="T9" fmla="*/ 293 h 554"/>
                    <a:gd name="T10" fmla="*/ 639 w 706"/>
                    <a:gd name="T11" fmla="*/ 274 h 554"/>
                    <a:gd name="T12" fmla="*/ 604 w 706"/>
                    <a:gd name="T13" fmla="*/ 228 h 554"/>
                    <a:gd name="T14" fmla="*/ 564 w 706"/>
                    <a:gd name="T15" fmla="*/ 192 h 554"/>
                    <a:gd name="T16" fmla="*/ 483 w 706"/>
                    <a:gd name="T17" fmla="*/ 154 h 554"/>
                    <a:gd name="T18" fmla="*/ 405 w 706"/>
                    <a:gd name="T19" fmla="*/ 179 h 554"/>
                    <a:gd name="T20" fmla="*/ 363 w 706"/>
                    <a:gd name="T21" fmla="*/ 219 h 554"/>
                    <a:gd name="T22" fmla="*/ 333 w 706"/>
                    <a:gd name="T23" fmla="*/ 227 h 554"/>
                    <a:gd name="T24" fmla="*/ 315 w 706"/>
                    <a:gd name="T25" fmla="*/ 244 h 554"/>
                    <a:gd name="T26" fmla="*/ 294 w 706"/>
                    <a:gd name="T27" fmla="*/ 247 h 554"/>
                    <a:gd name="T28" fmla="*/ 288 w 706"/>
                    <a:gd name="T29" fmla="*/ 275 h 554"/>
                    <a:gd name="T30" fmla="*/ 294 w 706"/>
                    <a:gd name="T31" fmla="*/ 292 h 554"/>
                    <a:gd name="T32" fmla="*/ 283 w 706"/>
                    <a:gd name="T33" fmla="*/ 314 h 554"/>
                    <a:gd name="T34" fmla="*/ 276 w 706"/>
                    <a:gd name="T35" fmla="*/ 337 h 554"/>
                    <a:gd name="T36" fmla="*/ 251 w 706"/>
                    <a:gd name="T37" fmla="*/ 346 h 554"/>
                    <a:gd name="T38" fmla="*/ 225 w 706"/>
                    <a:gd name="T39" fmla="*/ 396 h 554"/>
                    <a:gd name="T40" fmla="*/ 206 w 706"/>
                    <a:gd name="T41" fmla="*/ 394 h 554"/>
                    <a:gd name="T42" fmla="*/ 189 w 706"/>
                    <a:gd name="T43" fmla="*/ 459 h 554"/>
                    <a:gd name="T44" fmla="*/ 168 w 706"/>
                    <a:gd name="T45" fmla="*/ 483 h 554"/>
                    <a:gd name="T46" fmla="*/ 176 w 706"/>
                    <a:gd name="T47" fmla="*/ 510 h 554"/>
                    <a:gd name="T48" fmla="*/ 196 w 706"/>
                    <a:gd name="T49" fmla="*/ 538 h 554"/>
                    <a:gd name="T50" fmla="*/ 176 w 706"/>
                    <a:gd name="T51" fmla="*/ 544 h 554"/>
                    <a:gd name="T52" fmla="*/ 161 w 706"/>
                    <a:gd name="T53" fmla="*/ 523 h 554"/>
                    <a:gd name="T54" fmla="*/ 134 w 706"/>
                    <a:gd name="T55" fmla="*/ 523 h 554"/>
                    <a:gd name="T56" fmla="*/ 110 w 706"/>
                    <a:gd name="T57" fmla="*/ 536 h 554"/>
                    <a:gd name="T58" fmla="*/ 76 w 706"/>
                    <a:gd name="T59" fmla="*/ 520 h 554"/>
                    <a:gd name="T60" fmla="*/ 33 w 706"/>
                    <a:gd name="T61" fmla="*/ 521 h 554"/>
                    <a:gd name="T62" fmla="*/ 63 w 706"/>
                    <a:gd name="T63" fmla="*/ 468 h 554"/>
                    <a:gd name="T64" fmla="*/ 53 w 706"/>
                    <a:gd name="T65" fmla="*/ 440 h 554"/>
                    <a:gd name="T66" fmla="*/ 54 w 706"/>
                    <a:gd name="T67" fmla="*/ 411 h 554"/>
                    <a:gd name="T68" fmla="*/ 44 w 706"/>
                    <a:gd name="T69" fmla="*/ 379 h 554"/>
                    <a:gd name="T70" fmla="*/ 30 w 706"/>
                    <a:gd name="T71" fmla="*/ 348 h 554"/>
                    <a:gd name="T72" fmla="*/ 49 w 706"/>
                    <a:gd name="T73" fmla="*/ 350 h 554"/>
                    <a:gd name="T74" fmla="*/ 70 w 706"/>
                    <a:gd name="T75" fmla="*/ 338 h 554"/>
                    <a:gd name="T76" fmla="*/ 90 w 706"/>
                    <a:gd name="T77" fmla="*/ 314 h 554"/>
                    <a:gd name="T78" fmla="*/ 99 w 706"/>
                    <a:gd name="T79" fmla="*/ 293 h 554"/>
                    <a:gd name="T80" fmla="*/ 138 w 706"/>
                    <a:gd name="T81" fmla="*/ 260 h 554"/>
                    <a:gd name="T82" fmla="*/ 124 w 706"/>
                    <a:gd name="T83" fmla="*/ 243 h 554"/>
                    <a:gd name="T84" fmla="*/ 110 w 706"/>
                    <a:gd name="T85" fmla="*/ 220 h 554"/>
                    <a:gd name="T86" fmla="*/ 114 w 706"/>
                    <a:gd name="T87" fmla="*/ 196 h 554"/>
                    <a:gd name="T88" fmla="*/ 186 w 706"/>
                    <a:gd name="T89" fmla="*/ 184 h 554"/>
                    <a:gd name="T90" fmla="*/ 203 w 706"/>
                    <a:gd name="T91" fmla="*/ 147 h 554"/>
                    <a:gd name="T92" fmla="*/ 213 w 706"/>
                    <a:gd name="T93" fmla="*/ 115 h 554"/>
                    <a:gd name="T94" fmla="*/ 233 w 706"/>
                    <a:gd name="T95" fmla="*/ 89 h 554"/>
                    <a:gd name="T96" fmla="*/ 258 w 706"/>
                    <a:gd name="T97" fmla="*/ 42 h 554"/>
                    <a:gd name="T98" fmla="*/ 280 w 706"/>
                    <a:gd name="T99" fmla="*/ 38 h 554"/>
                    <a:gd name="T100" fmla="*/ 306 w 706"/>
                    <a:gd name="T101" fmla="*/ 25 h 554"/>
                    <a:gd name="T102" fmla="*/ 374 w 706"/>
                    <a:gd name="T103" fmla="*/ 18 h 554"/>
                    <a:gd name="T104" fmla="*/ 446 w 706"/>
                    <a:gd name="T105" fmla="*/ 0 h 554"/>
                    <a:gd name="T106" fmla="*/ 513 w 706"/>
                    <a:gd name="T107" fmla="*/ 17 h 554"/>
                    <a:gd name="T108" fmla="*/ 556 w 706"/>
                    <a:gd name="T109" fmla="*/ 34 h 554"/>
                    <a:gd name="T110" fmla="*/ 576 w 706"/>
                    <a:gd name="T111" fmla="*/ 19 h 554"/>
                    <a:gd name="T112" fmla="*/ 606 w 706"/>
                    <a:gd name="T113" fmla="*/ 47 h 554"/>
                    <a:gd name="T114" fmla="*/ 628 w 706"/>
                    <a:gd name="T115" fmla="*/ 87 h 554"/>
                    <a:gd name="T116" fmla="*/ 653 w 706"/>
                    <a:gd name="T117" fmla="*/ 108 h 554"/>
                    <a:gd name="T118" fmla="*/ 664 w 706"/>
                    <a:gd name="T119" fmla="*/ 148 h 554"/>
                    <a:gd name="T120" fmla="*/ 706 w 706"/>
                    <a:gd name="T121" fmla="*/ 158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6" h="554">
                      <a:moveTo>
                        <a:pt x="10" y="552"/>
                      </a:moveTo>
                      <a:lnTo>
                        <a:pt x="5" y="554"/>
                      </a:lnTo>
                      <a:lnTo>
                        <a:pt x="1" y="552"/>
                      </a:lnTo>
                      <a:lnTo>
                        <a:pt x="1" y="545"/>
                      </a:lnTo>
                      <a:lnTo>
                        <a:pt x="0" y="540"/>
                      </a:lnTo>
                      <a:lnTo>
                        <a:pt x="2" y="534"/>
                      </a:lnTo>
                      <a:lnTo>
                        <a:pt x="4" y="532"/>
                      </a:lnTo>
                      <a:lnTo>
                        <a:pt x="10" y="537"/>
                      </a:lnTo>
                      <a:lnTo>
                        <a:pt x="12" y="540"/>
                      </a:lnTo>
                      <a:lnTo>
                        <a:pt x="14" y="544"/>
                      </a:lnTo>
                      <a:lnTo>
                        <a:pt x="12" y="548"/>
                      </a:lnTo>
                      <a:lnTo>
                        <a:pt x="10" y="552"/>
                      </a:lnTo>
                      <a:close/>
                      <a:moveTo>
                        <a:pt x="706" y="158"/>
                      </a:moveTo>
                      <a:lnTo>
                        <a:pt x="698" y="168"/>
                      </a:lnTo>
                      <a:lnTo>
                        <a:pt x="685" y="192"/>
                      </a:lnTo>
                      <a:lnTo>
                        <a:pt x="674" y="232"/>
                      </a:lnTo>
                      <a:lnTo>
                        <a:pt x="671" y="250"/>
                      </a:lnTo>
                      <a:lnTo>
                        <a:pt x="668" y="264"/>
                      </a:lnTo>
                      <a:lnTo>
                        <a:pt x="664" y="283"/>
                      </a:lnTo>
                      <a:lnTo>
                        <a:pt x="664" y="293"/>
                      </a:lnTo>
                      <a:lnTo>
                        <a:pt x="658" y="299"/>
                      </a:lnTo>
                      <a:lnTo>
                        <a:pt x="651" y="283"/>
                      </a:lnTo>
                      <a:lnTo>
                        <a:pt x="644" y="273"/>
                      </a:lnTo>
                      <a:lnTo>
                        <a:pt x="639" y="274"/>
                      </a:lnTo>
                      <a:lnTo>
                        <a:pt x="630" y="272"/>
                      </a:lnTo>
                      <a:lnTo>
                        <a:pt x="630" y="262"/>
                      </a:lnTo>
                      <a:lnTo>
                        <a:pt x="619" y="250"/>
                      </a:lnTo>
                      <a:lnTo>
                        <a:pt x="604" y="228"/>
                      </a:lnTo>
                      <a:lnTo>
                        <a:pt x="598" y="213"/>
                      </a:lnTo>
                      <a:lnTo>
                        <a:pt x="586" y="209"/>
                      </a:lnTo>
                      <a:lnTo>
                        <a:pt x="575" y="203"/>
                      </a:lnTo>
                      <a:lnTo>
                        <a:pt x="564" y="192"/>
                      </a:lnTo>
                      <a:lnTo>
                        <a:pt x="558" y="175"/>
                      </a:lnTo>
                      <a:lnTo>
                        <a:pt x="529" y="173"/>
                      </a:lnTo>
                      <a:lnTo>
                        <a:pt x="493" y="163"/>
                      </a:lnTo>
                      <a:lnTo>
                        <a:pt x="483" y="154"/>
                      </a:lnTo>
                      <a:lnTo>
                        <a:pt x="455" y="158"/>
                      </a:lnTo>
                      <a:lnTo>
                        <a:pt x="430" y="164"/>
                      </a:lnTo>
                      <a:lnTo>
                        <a:pt x="423" y="172"/>
                      </a:lnTo>
                      <a:lnTo>
                        <a:pt x="405" y="179"/>
                      </a:lnTo>
                      <a:lnTo>
                        <a:pt x="373" y="194"/>
                      </a:lnTo>
                      <a:lnTo>
                        <a:pt x="366" y="205"/>
                      </a:lnTo>
                      <a:lnTo>
                        <a:pt x="369" y="213"/>
                      </a:lnTo>
                      <a:lnTo>
                        <a:pt x="363" y="219"/>
                      </a:lnTo>
                      <a:lnTo>
                        <a:pt x="353" y="224"/>
                      </a:lnTo>
                      <a:lnTo>
                        <a:pt x="343" y="225"/>
                      </a:lnTo>
                      <a:lnTo>
                        <a:pt x="336" y="225"/>
                      </a:lnTo>
                      <a:lnTo>
                        <a:pt x="333" y="227"/>
                      </a:lnTo>
                      <a:lnTo>
                        <a:pt x="329" y="229"/>
                      </a:lnTo>
                      <a:lnTo>
                        <a:pt x="325" y="233"/>
                      </a:lnTo>
                      <a:lnTo>
                        <a:pt x="318" y="243"/>
                      </a:lnTo>
                      <a:lnTo>
                        <a:pt x="315" y="244"/>
                      </a:lnTo>
                      <a:lnTo>
                        <a:pt x="316" y="235"/>
                      </a:lnTo>
                      <a:lnTo>
                        <a:pt x="311" y="233"/>
                      </a:lnTo>
                      <a:lnTo>
                        <a:pt x="303" y="238"/>
                      </a:lnTo>
                      <a:lnTo>
                        <a:pt x="294" y="247"/>
                      </a:lnTo>
                      <a:lnTo>
                        <a:pt x="288" y="255"/>
                      </a:lnTo>
                      <a:lnTo>
                        <a:pt x="289" y="265"/>
                      </a:lnTo>
                      <a:lnTo>
                        <a:pt x="286" y="272"/>
                      </a:lnTo>
                      <a:lnTo>
                        <a:pt x="288" y="275"/>
                      </a:lnTo>
                      <a:lnTo>
                        <a:pt x="290" y="278"/>
                      </a:lnTo>
                      <a:lnTo>
                        <a:pt x="293" y="284"/>
                      </a:lnTo>
                      <a:lnTo>
                        <a:pt x="294" y="288"/>
                      </a:lnTo>
                      <a:lnTo>
                        <a:pt x="294" y="292"/>
                      </a:lnTo>
                      <a:lnTo>
                        <a:pt x="290" y="294"/>
                      </a:lnTo>
                      <a:lnTo>
                        <a:pt x="289" y="297"/>
                      </a:lnTo>
                      <a:lnTo>
                        <a:pt x="288" y="308"/>
                      </a:lnTo>
                      <a:lnTo>
                        <a:pt x="283" y="314"/>
                      </a:lnTo>
                      <a:lnTo>
                        <a:pt x="276" y="319"/>
                      </a:lnTo>
                      <a:lnTo>
                        <a:pt x="273" y="323"/>
                      </a:lnTo>
                      <a:lnTo>
                        <a:pt x="273" y="333"/>
                      </a:lnTo>
                      <a:lnTo>
                        <a:pt x="276" y="337"/>
                      </a:lnTo>
                      <a:lnTo>
                        <a:pt x="270" y="340"/>
                      </a:lnTo>
                      <a:lnTo>
                        <a:pt x="268" y="334"/>
                      </a:lnTo>
                      <a:lnTo>
                        <a:pt x="261" y="334"/>
                      </a:lnTo>
                      <a:lnTo>
                        <a:pt x="251" y="346"/>
                      </a:lnTo>
                      <a:lnTo>
                        <a:pt x="239" y="370"/>
                      </a:lnTo>
                      <a:lnTo>
                        <a:pt x="229" y="383"/>
                      </a:lnTo>
                      <a:lnTo>
                        <a:pt x="225" y="389"/>
                      </a:lnTo>
                      <a:lnTo>
                        <a:pt x="225" y="396"/>
                      </a:lnTo>
                      <a:lnTo>
                        <a:pt x="225" y="401"/>
                      </a:lnTo>
                      <a:lnTo>
                        <a:pt x="221" y="403"/>
                      </a:lnTo>
                      <a:lnTo>
                        <a:pt x="215" y="399"/>
                      </a:lnTo>
                      <a:lnTo>
                        <a:pt x="206" y="394"/>
                      </a:lnTo>
                      <a:lnTo>
                        <a:pt x="193" y="402"/>
                      </a:lnTo>
                      <a:lnTo>
                        <a:pt x="186" y="419"/>
                      </a:lnTo>
                      <a:lnTo>
                        <a:pt x="184" y="437"/>
                      </a:lnTo>
                      <a:lnTo>
                        <a:pt x="189" y="459"/>
                      </a:lnTo>
                      <a:lnTo>
                        <a:pt x="186" y="475"/>
                      </a:lnTo>
                      <a:lnTo>
                        <a:pt x="181" y="478"/>
                      </a:lnTo>
                      <a:lnTo>
                        <a:pt x="170" y="478"/>
                      </a:lnTo>
                      <a:lnTo>
                        <a:pt x="168" y="483"/>
                      </a:lnTo>
                      <a:lnTo>
                        <a:pt x="169" y="491"/>
                      </a:lnTo>
                      <a:lnTo>
                        <a:pt x="168" y="501"/>
                      </a:lnTo>
                      <a:lnTo>
                        <a:pt x="174" y="505"/>
                      </a:lnTo>
                      <a:lnTo>
                        <a:pt x="176" y="510"/>
                      </a:lnTo>
                      <a:lnTo>
                        <a:pt x="179" y="514"/>
                      </a:lnTo>
                      <a:lnTo>
                        <a:pt x="188" y="521"/>
                      </a:lnTo>
                      <a:lnTo>
                        <a:pt x="193" y="529"/>
                      </a:lnTo>
                      <a:lnTo>
                        <a:pt x="196" y="538"/>
                      </a:lnTo>
                      <a:lnTo>
                        <a:pt x="196" y="546"/>
                      </a:lnTo>
                      <a:lnTo>
                        <a:pt x="186" y="550"/>
                      </a:lnTo>
                      <a:lnTo>
                        <a:pt x="179" y="546"/>
                      </a:lnTo>
                      <a:lnTo>
                        <a:pt x="176" y="544"/>
                      </a:lnTo>
                      <a:lnTo>
                        <a:pt x="174" y="541"/>
                      </a:lnTo>
                      <a:lnTo>
                        <a:pt x="170" y="531"/>
                      </a:lnTo>
                      <a:lnTo>
                        <a:pt x="168" y="528"/>
                      </a:lnTo>
                      <a:lnTo>
                        <a:pt x="161" y="523"/>
                      </a:lnTo>
                      <a:lnTo>
                        <a:pt x="151" y="519"/>
                      </a:lnTo>
                      <a:lnTo>
                        <a:pt x="143" y="520"/>
                      </a:lnTo>
                      <a:lnTo>
                        <a:pt x="138" y="532"/>
                      </a:lnTo>
                      <a:lnTo>
                        <a:pt x="134" y="523"/>
                      </a:lnTo>
                      <a:lnTo>
                        <a:pt x="129" y="523"/>
                      </a:lnTo>
                      <a:lnTo>
                        <a:pt x="123" y="526"/>
                      </a:lnTo>
                      <a:lnTo>
                        <a:pt x="118" y="533"/>
                      </a:lnTo>
                      <a:lnTo>
                        <a:pt x="110" y="536"/>
                      </a:lnTo>
                      <a:lnTo>
                        <a:pt x="101" y="536"/>
                      </a:lnTo>
                      <a:lnTo>
                        <a:pt x="94" y="534"/>
                      </a:lnTo>
                      <a:lnTo>
                        <a:pt x="88" y="531"/>
                      </a:lnTo>
                      <a:lnTo>
                        <a:pt x="76" y="520"/>
                      </a:lnTo>
                      <a:lnTo>
                        <a:pt x="70" y="513"/>
                      </a:lnTo>
                      <a:lnTo>
                        <a:pt x="51" y="519"/>
                      </a:lnTo>
                      <a:lnTo>
                        <a:pt x="36" y="531"/>
                      </a:lnTo>
                      <a:lnTo>
                        <a:pt x="33" y="521"/>
                      </a:lnTo>
                      <a:lnTo>
                        <a:pt x="34" y="509"/>
                      </a:lnTo>
                      <a:lnTo>
                        <a:pt x="44" y="496"/>
                      </a:lnTo>
                      <a:lnTo>
                        <a:pt x="50" y="481"/>
                      </a:lnTo>
                      <a:lnTo>
                        <a:pt x="63" y="468"/>
                      </a:lnTo>
                      <a:lnTo>
                        <a:pt x="68" y="461"/>
                      </a:lnTo>
                      <a:lnTo>
                        <a:pt x="69" y="456"/>
                      </a:lnTo>
                      <a:lnTo>
                        <a:pt x="43" y="456"/>
                      </a:lnTo>
                      <a:lnTo>
                        <a:pt x="53" y="440"/>
                      </a:lnTo>
                      <a:lnTo>
                        <a:pt x="54" y="435"/>
                      </a:lnTo>
                      <a:lnTo>
                        <a:pt x="55" y="430"/>
                      </a:lnTo>
                      <a:lnTo>
                        <a:pt x="54" y="421"/>
                      </a:lnTo>
                      <a:lnTo>
                        <a:pt x="54" y="411"/>
                      </a:lnTo>
                      <a:lnTo>
                        <a:pt x="46" y="396"/>
                      </a:lnTo>
                      <a:lnTo>
                        <a:pt x="44" y="390"/>
                      </a:lnTo>
                      <a:lnTo>
                        <a:pt x="44" y="385"/>
                      </a:lnTo>
                      <a:lnTo>
                        <a:pt x="44" y="379"/>
                      </a:lnTo>
                      <a:lnTo>
                        <a:pt x="43" y="374"/>
                      </a:lnTo>
                      <a:lnTo>
                        <a:pt x="39" y="369"/>
                      </a:lnTo>
                      <a:lnTo>
                        <a:pt x="31" y="353"/>
                      </a:lnTo>
                      <a:lnTo>
                        <a:pt x="30" y="348"/>
                      </a:lnTo>
                      <a:lnTo>
                        <a:pt x="30" y="343"/>
                      </a:lnTo>
                      <a:lnTo>
                        <a:pt x="33" y="339"/>
                      </a:lnTo>
                      <a:lnTo>
                        <a:pt x="38" y="339"/>
                      </a:lnTo>
                      <a:lnTo>
                        <a:pt x="49" y="350"/>
                      </a:lnTo>
                      <a:lnTo>
                        <a:pt x="54" y="354"/>
                      </a:lnTo>
                      <a:lnTo>
                        <a:pt x="59" y="353"/>
                      </a:lnTo>
                      <a:lnTo>
                        <a:pt x="64" y="350"/>
                      </a:lnTo>
                      <a:lnTo>
                        <a:pt x="70" y="338"/>
                      </a:lnTo>
                      <a:lnTo>
                        <a:pt x="75" y="331"/>
                      </a:lnTo>
                      <a:lnTo>
                        <a:pt x="85" y="325"/>
                      </a:lnTo>
                      <a:lnTo>
                        <a:pt x="89" y="323"/>
                      </a:lnTo>
                      <a:lnTo>
                        <a:pt x="90" y="314"/>
                      </a:lnTo>
                      <a:lnTo>
                        <a:pt x="91" y="309"/>
                      </a:lnTo>
                      <a:lnTo>
                        <a:pt x="93" y="303"/>
                      </a:lnTo>
                      <a:lnTo>
                        <a:pt x="95" y="298"/>
                      </a:lnTo>
                      <a:lnTo>
                        <a:pt x="99" y="293"/>
                      </a:lnTo>
                      <a:lnTo>
                        <a:pt x="106" y="286"/>
                      </a:lnTo>
                      <a:lnTo>
                        <a:pt x="129" y="273"/>
                      </a:lnTo>
                      <a:lnTo>
                        <a:pt x="136" y="268"/>
                      </a:lnTo>
                      <a:lnTo>
                        <a:pt x="138" y="260"/>
                      </a:lnTo>
                      <a:lnTo>
                        <a:pt x="136" y="255"/>
                      </a:lnTo>
                      <a:lnTo>
                        <a:pt x="133" y="251"/>
                      </a:lnTo>
                      <a:lnTo>
                        <a:pt x="128" y="248"/>
                      </a:lnTo>
                      <a:lnTo>
                        <a:pt x="124" y="243"/>
                      </a:lnTo>
                      <a:lnTo>
                        <a:pt x="121" y="238"/>
                      </a:lnTo>
                      <a:lnTo>
                        <a:pt x="115" y="230"/>
                      </a:lnTo>
                      <a:lnTo>
                        <a:pt x="111" y="225"/>
                      </a:lnTo>
                      <a:lnTo>
                        <a:pt x="110" y="220"/>
                      </a:lnTo>
                      <a:lnTo>
                        <a:pt x="109" y="214"/>
                      </a:lnTo>
                      <a:lnTo>
                        <a:pt x="106" y="203"/>
                      </a:lnTo>
                      <a:lnTo>
                        <a:pt x="109" y="199"/>
                      </a:lnTo>
                      <a:lnTo>
                        <a:pt x="114" y="196"/>
                      </a:lnTo>
                      <a:lnTo>
                        <a:pt x="165" y="196"/>
                      </a:lnTo>
                      <a:lnTo>
                        <a:pt x="174" y="194"/>
                      </a:lnTo>
                      <a:lnTo>
                        <a:pt x="180" y="190"/>
                      </a:lnTo>
                      <a:lnTo>
                        <a:pt x="186" y="184"/>
                      </a:lnTo>
                      <a:lnTo>
                        <a:pt x="200" y="166"/>
                      </a:lnTo>
                      <a:lnTo>
                        <a:pt x="203" y="160"/>
                      </a:lnTo>
                      <a:lnTo>
                        <a:pt x="204" y="155"/>
                      </a:lnTo>
                      <a:lnTo>
                        <a:pt x="203" y="147"/>
                      </a:lnTo>
                      <a:lnTo>
                        <a:pt x="204" y="142"/>
                      </a:lnTo>
                      <a:lnTo>
                        <a:pt x="208" y="129"/>
                      </a:lnTo>
                      <a:lnTo>
                        <a:pt x="209" y="123"/>
                      </a:lnTo>
                      <a:lnTo>
                        <a:pt x="213" y="115"/>
                      </a:lnTo>
                      <a:lnTo>
                        <a:pt x="216" y="109"/>
                      </a:lnTo>
                      <a:lnTo>
                        <a:pt x="224" y="102"/>
                      </a:lnTo>
                      <a:lnTo>
                        <a:pt x="229" y="95"/>
                      </a:lnTo>
                      <a:lnTo>
                        <a:pt x="233" y="89"/>
                      </a:lnTo>
                      <a:lnTo>
                        <a:pt x="245" y="62"/>
                      </a:lnTo>
                      <a:lnTo>
                        <a:pt x="251" y="50"/>
                      </a:lnTo>
                      <a:lnTo>
                        <a:pt x="254" y="45"/>
                      </a:lnTo>
                      <a:lnTo>
                        <a:pt x="258" y="42"/>
                      </a:lnTo>
                      <a:lnTo>
                        <a:pt x="261" y="39"/>
                      </a:lnTo>
                      <a:lnTo>
                        <a:pt x="270" y="40"/>
                      </a:lnTo>
                      <a:lnTo>
                        <a:pt x="275" y="40"/>
                      </a:lnTo>
                      <a:lnTo>
                        <a:pt x="280" y="38"/>
                      </a:lnTo>
                      <a:lnTo>
                        <a:pt x="289" y="28"/>
                      </a:lnTo>
                      <a:lnTo>
                        <a:pt x="294" y="25"/>
                      </a:lnTo>
                      <a:lnTo>
                        <a:pt x="300" y="24"/>
                      </a:lnTo>
                      <a:lnTo>
                        <a:pt x="306" y="25"/>
                      </a:lnTo>
                      <a:lnTo>
                        <a:pt x="320" y="22"/>
                      </a:lnTo>
                      <a:lnTo>
                        <a:pt x="340" y="22"/>
                      </a:lnTo>
                      <a:lnTo>
                        <a:pt x="358" y="19"/>
                      </a:lnTo>
                      <a:lnTo>
                        <a:pt x="374" y="18"/>
                      </a:lnTo>
                      <a:lnTo>
                        <a:pt x="384" y="15"/>
                      </a:lnTo>
                      <a:lnTo>
                        <a:pt x="393" y="9"/>
                      </a:lnTo>
                      <a:lnTo>
                        <a:pt x="410" y="2"/>
                      </a:lnTo>
                      <a:lnTo>
                        <a:pt x="446" y="0"/>
                      </a:lnTo>
                      <a:lnTo>
                        <a:pt x="484" y="14"/>
                      </a:lnTo>
                      <a:lnTo>
                        <a:pt x="500" y="17"/>
                      </a:lnTo>
                      <a:lnTo>
                        <a:pt x="505" y="15"/>
                      </a:lnTo>
                      <a:lnTo>
                        <a:pt x="513" y="17"/>
                      </a:lnTo>
                      <a:lnTo>
                        <a:pt x="520" y="19"/>
                      </a:lnTo>
                      <a:lnTo>
                        <a:pt x="541" y="32"/>
                      </a:lnTo>
                      <a:lnTo>
                        <a:pt x="550" y="34"/>
                      </a:lnTo>
                      <a:lnTo>
                        <a:pt x="556" y="34"/>
                      </a:lnTo>
                      <a:lnTo>
                        <a:pt x="560" y="29"/>
                      </a:lnTo>
                      <a:lnTo>
                        <a:pt x="564" y="25"/>
                      </a:lnTo>
                      <a:lnTo>
                        <a:pt x="569" y="22"/>
                      </a:lnTo>
                      <a:lnTo>
                        <a:pt x="576" y="19"/>
                      </a:lnTo>
                      <a:lnTo>
                        <a:pt x="594" y="22"/>
                      </a:lnTo>
                      <a:lnTo>
                        <a:pt x="599" y="25"/>
                      </a:lnTo>
                      <a:lnTo>
                        <a:pt x="603" y="35"/>
                      </a:lnTo>
                      <a:lnTo>
                        <a:pt x="606" y="47"/>
                      </a:lnTo>
                      <a:lnTo>
                        <a:pt x="609" y="53"/>
                      </a:lnTo>
                      <a:lnTo>
                        <a:pt x="611" y="85"/>
                      </a:lnTo>
                      <a:lnTo>
                        <a:pt x="614" y="88"/>
                      </a:lnTo>
                      <a:lnTo>
                        <a:pt x="628" y="87"/>
                      </a:lnTo>
                      <a:lnTo>
                        <a:pt x="640" y="89"/>
                      </a:lnTo>
                      <a:lnTo>
                        <a:pt x="648" y="93"/>
                      </a:lnTo>
                      <a:lnTo>
                        <a:pt x="651" y="97"/>
                      </a:lnTo>
                      <a:lnTo>
                        <a:pt x="653" y="108"/>
                      </a:lnTo>
                      <a:lnTo>
                        <a:pt x="653" y="112"/>
                      </a:lnTo>
                      <a:lnTo>
                        <a:pt x="650" y="119"/>
                      </a:lnTo>
                      <a:lnTo>
                        <a:pt x="660" y="142"/>
                      </a:lnTo>
                      <a:lnTo>
                        <a:pt x="664" y="148"/>
                      </a:lnTo>
                      <a:lnTo>
                        <a:pt x="675" y="152"/>
                      </a:lnTo>
                      <a:lnTo>
                        <a:pt x="681" y="153"/>
                      </a:lnTo>
                      <a:lnTo>
                        <a:pt x="688" y="152"/>
                      </a:lnTo>
                      <a:lnTo>
                        <a:pt x="706" y="158"/>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5" name="Oita" descr="{&quot;Key&quot;:&quot;oita&quot;,&quot;Name&quot;:&quot;Oita&quot;,&quot;Value&quot;:1.0,&quot;Formula&quot;:&quot;&quot;,&quot;Text&quot;:&quot;&quot;,&quot;OfficeApplication&quot;:1,&quot;HasValue&quot;:true}">
                  <a:extLst>
                    <a:ext uri="{FF2B5EF4-FFF2-40B4-BE49-F238E27FC236}">
                      <a16:creationId xmlns:a16="http://schemas.microsoft.com/office/drawing/2014/main" id="{A2221DE3-C109-4813-A85F-38CB6961A1D2}"/>
                    </a:ext>
                  </a:extLst>
                </p:cNvPr>
                <p:cNvSpPr>
                  <a:spLocks noEditPoints="1"/>
                </p:cNvSpPr>
                <p:nvPr/>
              </p:nvSpPr>
              <p:spPr bwMode="auto">
                <a:xfrm>
                  <a:off x="4757738" y="4233863"/>
                  <a:ext cx="293688" cy="287337"/>
                </a:xfrm>
                <a:custGeom>
                  <a:avLst/>
                  <a:gdLst>
                    <a:gd name="T0" fmla="*/ 443 w 504"/>
                    <a:gd name="T1" fmla="*/ 490 h 493"/>
                    <a:gd name="T2" fmla="*/ 436 w 504"/>
                    <a:gd name="T3" fmla="*/ 463 h 493"/>
                    <a:gd name="T4" fmla="*/ 497 w 504"/>
                    <a:gd name="T5" fmla="*/ 375 h 493"/>
                    <a:gd name="T6" fmla="*/ 443 w 504"/>
                    <a:gd name="T7" fmla="*/ 362 h 493"/>
                    <a:gd name="T8" fmla="*/ 439 w 504"/>
                    <a:gd name="T9" fmla="*/ 358 h 493"/>
                    <a:gd name="T10" fmla="*/ 444 w 504"/>
                    <a:gd name="T11" fmla="*/ 354 h 493"/>
                    <a:gd name="T12" fmla="*/ 477 w 504"/>
                    <a:gd name="T13" fmla="*/ 307 h 493"/>
                    <a:gd name="T14" fmla="*/ 453 w 504"/>
                    <a:gd name="T15" fmla="*/ 224 h 493"/>
                    <a:gd name="T16" fmla="*/ 453 w 504"/>
                    <a:gd name="T17" fmla="*/ 224 h 493"/>
                    <a:gd name="T18" fmla="*/ 402 w 504"/>
                    <a:gd name="T19" fmla="*/ 468 h 493"/>
                    <a:gd name="T20" fmla="*/ 374 w 504"/>
                    <a:gd name="T21" fmla="*/ 442 h 493"/>
                    <a:gd name="T22" fmla="*/ 353 w 504"/>
                    <a:gd name="T23" fmla="*/ 462 h 493"/>
                    <a:gd name="T24" fmla="*/ 293 w 504"/>
                    <a:gd name="T25" fmla="*/ 477 h 493"/>
                    <a:gd name="T26" fmla="*/ 271 w 504"/>
                    <a:gd name="T27" fmla="*/ 472 h 493"/>
                    <a:gd name="T28" fmla="*/ 261 w 504"/>
                    <a:gd name="T29" fmla="*/ 445 h 493"/>
                    <a:gd name="T30" fmla="*/ 222 w 504"/>
                    <a:gd name="T31" fmla="*/ 452 h 493"/>
                    <a:gd name="T32" fmla="*/ 168 w 504"/>
                    <a:gd name="T33" fmla="*/ 407 h 493"/>
                    <a:gd name="T34" fmla="*/ 153 w 504"/>
                    <a:gd name="T35" fmla="*/ 342 h 493"/>
                    <a:gd name="T36" fmla="*/ 120 w 504"/>
                    <a:gd name="T37" fmla="*/ 288 h 493"/>
                    <a:gd name="T38" fmla="*/ 72 w 504"/>
                    <a:gd name="T39" fmla="*/ 277 h 493"/>
                    <a:gd name="T40" fmla="*/ 63 w 504"/>
                    <a:gd name="T41" fmla="*/ 304 h 493"/>
                    <a:gd name="T42" fmla="*/ 66 w 504"/>
                    <a:gd name="T43" fmla="*/ 340 h 493"/>
                    <a:gd name="T44" fmla="*/ 11 w 504"/>
                    <a:gd name="T45" fmla="*/ 288 h 493"/>
                    <a:gd name="T46" fmla="*/ 6 w 504"/>
                    <a:gd name="T47" fmla="*/ 215 h 493"/>
                    <a:gd name="T48" fmla="*/ 18 w 504"/>
                    <a:gd name="T49" fmla="*/ 160 h 493"/>
                    <a:gd name="T50" fmla="*/ 50 w 504"/>
                    <a:gd name="T51" fmla="*/ 123 h 493"/>
                    <a:gd name="T52" fmla="*/ 124 w 504"/>
                    <a:gd name="T53" fmla="*/ 120 h 493"/>
                    <a:gd name="T54" fmla="*/ 142 w 504"/>
                    <a:gd name="T55" fmla="*/ 99 h 493"/>
                    <a:gd name="T56" fmla="*/ 149 w 504"/>
                    <a:gd name="T57" fmla="*/ 62 h 493"/>
                    <a:gd name="T58" fmla="*/ 217 w 504"/>
                    <a:gd name="T59" fmla="*/ 80 h 493"/>
                    <a:gd name="T60" fmla="*/ 263 w 504"/>
                    <a:gd name="T61" fmla="*/ 42 h 493"/>
                    <a:gd name="T62" fmla="*/ 306 w 504"/>
                    <a:gd name="T63" fmla="*/ 28 h 493"/>
                    <a:gd name="T64" fmla="*/ 346 w 504"/>
                    <a:gd name="T65" fmla="*/ 48 h 493"/>
                    <a:gd name="T66" fmla="*/ 365 w 504"/>
                    <a:gd name="T67" fmla="*/ 123 h 493"/>
                    <a:gd name="T68" fmla="*/ 333 w 504"/>
                    <a:gd name="T69" fmla="*/ 153 h 493"/>
                    <a:gd name="T70" fmla="*/ 313 w 504"/>
                    <a:gd name="T71" fmla="*/ 179 h 493"/>
                    <a:gd name="T72" fmla="*/ 288 w 504"/>
                    <a:gd name="T73" fmla="*/ 187 h 493"/>
                    <a:gd name="T74" fmla="*/ 281 w 504"/>
                    <a:gd name="T75" fmla="*/ 232 h 493"/>
                    <a:gd name="T76" fmla="*/ 354 w 504"/>
                    <a:gd name="T77" fmla="*/ 227 h 493"/>
                    <a:gd name="T78" fmla="*/ 432 w 504"/>
                    <a:gd name="T79" fmla="*/ 229 h 493"/>
                    <a:gd name="T80" fmla="*/ 409 w 504"/>
                    <a:gd name="T81" fmla="*/ 267 h 493"/>
                    <a:gd name="T82" fmla="*/ 418 w 504"/>
                    <a:gd name="T83" fmla="*/ 294 h 493"/>
                    <a:gd name="T84" fmla="*/ 416 w 504"/>
                    <a:gd name="T85" fmla="*/ 317 h 493"/>
                    <a:gd name="T86" fmla="*/ 442 w 504"/>
                    <a:gd name="T87" fmla="*/ 324 h 493"/>
                    <a:gd name="T88" fmla="*/ 453 w 504"/>
                    <a:gd name="T89" fmla="*/ 324 h 493"/>
                    <a:gd name="T90" fmla="*/ 470 w 504"/>
                    <a:gd name="T91" fmla="*/ 313 h 493"/>
                    <a:gd name="T92" fmla="*/ 442 w 504"/>
                    <a:gd name="T93" fmla="*/ 334 h 493"/>
                    <a:gd name="T94" fmla="*/ 444 w 504"/>
                    <a:gd name="T95" fmla="*/ 376 h 493"/>
                    <a:gd name="T96" fmla="*/ 467 w 504"/>
                    <a:gd name="T97" fmla="*/ 384 h 493"/>
                    <a:gd name="T98" fmla="*/ 479 w 504"/>
                    <a:gd name="T99" fmla="*/ 387 h 493"/>
                    <a:gd name="T100" fmla="*/ 488 w 504"/>
                    <a:gd name="T101" fmla="*/ 392 h 493"/>
                    <a:gd name="T102" fmla="*/ 469 w 504"/>
                    <a:gd name="T103" fmla="*/ 414 h 493"/>
                    <a:gd name="T104" fmla="*/ 453 w 504"/>
                    <a:gd name="T105" fmla="*/ 439 h 493"/>
                    <a:gd name="T106" fmla="*/ 463 w 504"/>
                    <a:gd name="T107" fmla="*/ 453 h 493"/>
                    <a:gd name="T108" fmla="*/ 419 w 504"/>
                    <a:gd name="T109" fmla="*/ 470 h 493"/>
                    <a:gd name="T110" fmla="*/ 323 w 504"/>
                    <a:gd name="T111" fmla="*/ 10 h 493"/>
                    <a:gd name="T112" fmla="*/ 342 w 504"/>
                    <a:gd name="T113"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4" h="493">
                      <a:moveTo>
                        <a:pt x="442" y="493"/>
                      </a:moveTo>
                      <a:lnTo>
                        <a:pt x="440" y="492"/>
                      </a:lnTo>
                      <a:lnTo>
                        <a:pt x="440" y="485"/>
                      </a:lnTo>
                      <a:lnTo>
                        <a:pt x="442" y="487"/>
                      </a:lnTo>
                      <a:lnTo>
                        <a:pt x="443" y="490"/>
                      </a:lnTo>
                      <a:lnTo>
                        <a:pt x="442" y="493"/>
                      </a:lnTo>
                      <a:close/>
                      <a:moveTo>
                        <a:pt x="441" y="465"/>
                      </a:moveTo>
                      <a:lnTo>
                        <a:pt x="438" y="468"/>
                      </a:lnTo>
                      <a:lnTo>
                        <a:pt x="434" y="467"/>
                      </a:lnTo>
                      <a:lnTo>
                        <a:pt x="436" y="463"/>
                      </a:lnTo>
                      <a:lnTo>
                        <a:pt x="438" y="463"/>
                      </a:lnTo>
                      <a:lnTo>
                        <a:pt x="441" y="465"/>
                      </a:lnTo>
                      <a:close/>
                      <a:moveTo>
                        <a:pt x="502" y="377"/>
                      </a:moveTo>
                      <a:lnTo>
                        <a:pt x="499" y="380"/>
                      </a:lnTo>
                      <a:lnTo>
                        <a:pt x="497" y="375"/>
                      </a:lnTo>
                      <a:lnTo>
                        <a:pt x="496" y="375"/>
                      </a:lnTo>
                      <a:lnTo>
                        <a:pt x="502" y="369"/>
                      </a:lnTo>
                      <a:lnTo>
                        <a:pt x="503" y="375"/>
                      </a:lnTo>
                      <a:lnTo>
                        <a:pt x="502" y="377"/>
                      </a:lnTo>
                      <a:close/>
                      <a:moveTo>
                        <a:pt x="443" y="362"/>
                      </a:moveTo>
                      <a:lnTo>
                        <a:pt x="439" y="365"/>
                      </a:lnTo>
                      <a:lnTo>
                        <a:pt x="437" y="365"/>
                      </a:lnTo>
                      <a:lnTo>
                        <a:pt x="436" y="364"/>
                      </a:lnTo>
                      <a:lnTo>
                        <a:pt x="436" y="359"/>
                      </a:lnTo>
                      <a:lnTo>
                        <a:pt x="439" y="358"/>
                      </a:lnTo>
                      <a:lnTo>
                        <a:pt x="439" y="355"/>
                      </a:lnTo>
                      <a:lnTo>
                        <a:pt x="441" y="352"/>
                      </a:lnTo>
                      <a:lnTo>
                        <a:pt x="443" y="348"/>
                      </a:lnTo>
                      <a:lnTo>
                        <a:pt x="448" y="349"/>
                      </a:lnTo>
                      <a:lnTo>
                        <a:pt x="444" y="354"/>
                      </a:lnTo>
                      <a:lnTo>
                        <a:pt x="443" y="357"/>
                      </a:lnTo>
                      <a:lnTo>
                        <a:pt x="446" y="357"/>
                      </a:lnTo>
                      <a:lnTo>
                        <a:pt x="449" y="359"/>
                      </a:lnTo>
                      <a:lnTo>
                        <a:pt x="443" y="362"/>
                      </a:lnTo>
                      <a:close/>
                      <a:moveTo>
                        <a:pt x="477" y="307"/>
                      </a:moveTo>
                      <a:lnTo>
                        <a:pt x="472" y="309"/>
                      </a:lnTo>
                      <a:lnTo>
                        <a:pt x="472" y="306"/>
                      </a:lnTo>
                      <a:lnTo>
                        <a:pt x="474" y="303"/>
                      </a:lnTo>
                      <a:lnTo>
                        <a:pt x="477" y="307"/>
                      </a:lnTo>
                      <a:close/>
                      <a:moveTo>
                        <a:pt x="453" y="224"/>
                      </a:moveTo>
                      <a:lnTo>
                        <a:pt x="449" y="225"/>
                      </a:lnTo>
                      <a:lnTo>
                        <a:pt x="446" y="222"/>
                      </a:lnTo>
                      <a:lnTo>
                        <a:pt x="447" y="220"/>
                      </a:lnTo>
                      <a:lnTo>
                        <a:pt x="453" y="222"/>
                      </a:lnTo>
                      <a:lnTo>
                        <a:pt x="453" y="224"/>
                      </a:lnTo>
                      <a:close/>
                      <a:moveTo>
                        <a:pt x="420" y="485"/>
                      </a:moveTo>
                      <a:lnTo>
                        <a:pt x="406" y="484"/>
                      </a:lnTo>
                      <a:lnTo>
                        <a:pt x="404" y="480"/>
                      </a:lnTo>
                      <a:lnTo>
                        <a:pt x="402" y="475"/>
                      </a:lnTo>
                      <a:lnTo>
                        <a:pt x="402" y="468"/>
                      </a:lnTo>
                      <a:lnTo>
                        <a:pt x="398" y="453"/>
                      </a:lnTo>
                      <a:lnTo>
                        <a:pt x="394" y="448"/>
                      </a:lnTo>
                      <a:lnTo>
                        <a:pt x="388" y="445"/>
                      </a:lnTo>
                      <a:lnTo>
                        <a:pt x="382" y="444"/>
                      </a:lnTo>
                      <a:lnTo>
                        <a:pt x="374" y="442"/>
                      </a:lnTo>
                      <a:lnTo>
                        <a:pt x="369" y="442"/>
                      </a:lnTo>
                      <a:lnTo>
                        <a:pt x="364" y="443"/>
                      </a:lnTo>
                      <a:lnTo>
                        <a:pt x="361" y="445"/>
                      </a:lnTo>
                      <a:lnTo>
                        <a:pt x="358" y="449"/>
                      </a:lnTo>
                      <a:lnTo>
                        <a:pt x="353" y="462"/>
                      </a:lnTo>
                      <a:lnTo>
                        <a:pt x="348" y="468"/>
                      </a:lnTo>
                      <a:lnTo>
                        <a:pt x="343" y="469"/>
                      </a:lnTo>
                      <a:lnTo>
                        <a:pt x="306" y="472"/>
                      </a:lnTo>
                      <a:lnTo>
                        <a:pt x="298" y="474"/>
                      </a:lnTo>
                      <a:lnTo>
                        <a:pt x="293" y="477"/>
                      </a:lnTo>
                      <a:lnTo>
                        <a:pt x="286" y="479"/>
                      </a:lnTo>
                      <a:lnTo>
                        <a:pt x="281" y="479"/>
                      </a:lnTo>
                      <a:lnTo>
                        <a:pt x="276" y="478"/>
                      </a:lnTo>
                      <a:lnTo>
                        <a:pt x="273" y="475"/>
                      </a:lnTo>
                      <a:lnTo>
                        <a:pt x="271" y="472"/>
                      </a:lnTo>
                      <a:lnTo>
                        <a:pt x="270" y="468"/>
                      </a:lnTo>
                      <a:lnTo>
                        <a:pt x="271" y="460"/>
                      </a:lnTo>
                      <a:lnTo>
                        <a:pt x="271" y="456"/>
                      </a:lnTo>
                      <a:lnTo>
                        <a:pt x="266" y="448"/>
                      </a:lnTo>
                      <a:lnTo>
                        <a:pt x="261" y="445"/>
                      </a:lnTo>
                      <a:lnTo>
                        <a:pt x="256" y="444"/>
                      </a:lnTo>
                      <a:lnTo>
                        <a:pt x="250" y="444"/>
                      </a:lnTo>
                      <a:lnTo>
                        <a:pt x="238" y="450"/>
                      </a:lnTo>
                      <a:lnTo>
                        <a:pt x="231" y="452"/>
                      </a:lnTo>
                      <a:lnTo>
                        <a:pt x="222" y="452"/>
                      </a:lnTo>
                      <a:lnTo>
                        <a:pt x="212" y="450"/>
                      </a:lnTo>
                      <a:lnTo>
                        <a:pt x="207" y="447"/>
                      </a:lnTo>
                      <a:lnTo>
                        <a:pt x="200" y="442"/>
                      </a:lnTo>
                      <a:lnTo>
                        <a:pt x="175" y="420"/>
                      </a:lnTo>
                      <a:lnTo>
                        <a:pt x="168" y="407"/>
                      </a:lnTo>
                      <a:lnTo>
                        <a:pt x="167" y="402"/>
                      </a:lnTo>
                      <a:lnTo>
                        <a:pt x="166" y="378"/>
                      </a:lnTo>
                      <a:lnTo>
                        <a:pt x="163" y="368"/>
                      </a:lnTo>
                      <a:lnTo>
                        <a:pt x="157" y="357"/>
                      </a:lnTo>
                      <a:lnTo>
                        <a:pt x="153" y="342"/>
                      </a:lnTo>
                      <a:lnTo>
                        <a:pt x="150" y="337"/>
                      </a:lnTo>
                      <a:lnTo>
                        <a:pt x="142" y="327"/>
                      </a:lnTo>
                      <a:lnTo>
                        <a:pt x="138" y="321"/>
                      </a:lnTo>
                      <a:lnTo>
                        <a:pt x="126" y="296"/>
                      </a:lnTo>
                      <a:lnTo>
                        <a:pt x="120" y="288"/>
                      </a:lnTo>
                      <a:lnTo>
                        <a:pt x="106" y="277"/>
                      </a:lnTo>
                      <a:lnTo>
                        <a:pt x="93" y="269"/>
                      </a:lnTo>
                      <a:lnTo>
                        <a:pt x="87" y="269"/>
                      </a:lnTo>
                      <a:lnTo>
                        <a:pt x="81" y="272"/>
                      </a:lnTo>
                      <a:lnTo>
                        <a:pt x="72" y="277"/>
                      </a:lnTo>
                      <a:lnTo>
                        <a:pt x="60" y="279"/>
                      </a:lnTo>
                      <a:lnTo>
                        <a:pt x="58" y="283"/>
                      </a:lnTo>
                      <a:lnTo>
                        <a:pt x="58" y="287"/>
                      </a:lnTo>
                      <a:lnTo>
                        <a:pt x="61" y="299"/>
                      </a:lnTo>
                      <a:lnTo>
                        <a:pt x="63" y="304"/>
                      </a:lnTo>
                      <a:lnTo>
                        <a:pt x="71" y="314"/>
                      </a:lnTo>
                      <a:lnTo>
                        <a:pt x="73" y="318"/>
                      </a:lnTo>
                      <a:lnTo>
                        <a:pt x="72" y="323"/>
                      </a:lnTo>
                      <a:lnTo>
                        <a:pt x="67" y="335"/>
                      </a:lnTo>
                      <a:lnTo>
                        <a:pt x="66" y="340"/>
                      </a:lnTo>
                      <a:lnTo>
                        <a:pt x="59" y="343"/>
                      </a:lnTo>
                      <a:lnTo>
                        <a:pt x="49" y="340"/>
                      </a:lnTo>
                      <a:lnTo>
                        <a:pt x="17" y="323"/>
                      </a:lnTo>
                      <a:lnTo>
                        <a:pt x="2" y="318"/>
                      </a:lnTo>
                      <a:lnTo>
                        <a:pt x="11" y="288"/>
                      </a:lnTo>
                      <a:lnTo>
                        <a:pt x="9" y="280"/>
                      </a:lnTo>
                      <a:lnTo>
                        <a:pt x="1" y="253"/>
                      </a:lnTo>
                      <a:lnTo>
                        <a:pt x="0" y="244"/>
                      </a:lnTo>
                      <a:lnTo>
                        <a:pt x="5" y="223"/>
                      </a:lnTo>
                      <a:lnTo>
                        <a:pt x="6" y="215"/>
                      </a:lnTo>
                      <a:lnTo>
                        <a:pt x="3" y="202"/>
                      </a:lnTo>
                      <a:lnTo>
                        <a:pt x="3" y="193"/>
                      </a:lnTo>
                      <a:lnTo>
                        <a:pt x="5" y="188"/>
                      </a:lnTo>
                      <a:lnTo>
                        <a:pt x="15" y="172"/>
                      </a:lnTo>
                      <a:lnTo>
                        <a:pt x="18" y="160"/>
                      </a:lnTo>
                      <a:lnTo>
                        <a:pt x="23" y="152"/>
                      </a:lnTo>
                      <a:lnTo>
                        <a:pt x="33" y="140"/>
                      </a:lnTo>
                      <a:lnTo>
                        <a:pt x="40" y="133"/>
                      </a:lnTo>
                      <a:lnTo>
                        <a:pt x="43" y="127"/>
                      </a:lnTo>
                      <a:lnTo>
                        <a:pt x="50" y="123"/>
                      </a:lnTo>
                      <a:lnTo>
                        <a:pt x="61" y="118"/>
                      </a:lnTo>
                      <a:lnTo>
                        <a:pt x="71" y="115"/>
                      </a:lnTo>
                      <a:lnTo>
                        <a:pt x="95" y="117"/>
                      </a:lnTo>
                      <a:lnTo>
                        <a:pt x="118" y="120"/>
                      </a:lnTo>
                      <a:lnTo>
                        <a:pt x="124" y="120"/>
                      </a:lnTo>
                      <a:lnTo>
                        <a:pt x="128" y="118"/>
                      </a:lnTo>
                      <a:lnTo>
                        <a:pt x="132" y="114"/>
                      </a:lnTo>
                      <a:lnTo>
                        <a:pt x="134" y="110"/>
                      </a:lnTo>
                      <a:lnTo>
                        <a:pt x="139" y="104"/>
                      </a:lnTo>
                      <a:lnTo>
                        <a:pt x="142" y="99"/>
                      </a:lnTo>
                      <a:lnTo>
                        <a:pt x="142" y="94"/>
                      </a:lnTo>
                      <a:lnTo>
                        <a:pt x="139" y="83"/>
                      </a:lnTo>
                      <a:lnTo>
                        <a:pt x="139" y="75"/>
                      </a:lnTo>
                      <a:lnTo>
                        <a:pt x="142" y="69"/>
                      </a:lnTo>
                      <a:lnTo>
                        <a:pt x="149" y="62"/>
                      </a:lnTo>
                      <a:lnTo>
                        <a:pt x="157" y="64"/>
                      </a:lnTo>
                      <a:lnTo>
                        <a:pt x="172" y="65"/>
                      </a:lnTo>
                      <a:lnTo>
                        <a:pt x="183" y="77"/>
                      </a:lnTo>
                      <a:lnTo>
                        <a:pt x="198" y="77"/>
                      </a:lnTo>
                      <a:lnTo>
                        <a:pt x="217" y="80"/>
                      </a:lnTo>
                      <a:lnTo>
                        <a:pt x="237" y="77"/>
                      </a:lnTo>
                      <a:lnTo>
                        <a:pt x="238" y="73"/>
                      </a:lnTo>
                      <a:lnTo>
                        <a:pt x="253" y="60"/>
                      </a:lnTo>
                      <a:lnTo>
                        <a:pt x="259" y="53"/>
                      </a:lnTo>
                      <a:lnTo>
                        <a:pt x="263" y="42"/>
                      </a:lnTo>
                      <a:lnTo>
                        <a:pt x="270" y="35"/>
                      </a:lnTo>
                      <a:lnTo>
                        <a:pt x="278" y="30"/>
                      </a:lnTo>
                      <a:lnTo>
                        <a:pt x="291" y="29"/>
                      </a:lnTo>
                      <a:lnTo>
                        <a:pt x="299" y="29"/>
                      </a:lnTo>
                      <a:lnTo>
                        <a:pt x="306" y="28"/>
                      </a:lnTo>
                      <a:lnTo>
                        <a:pt x="313" y="30"/>
                      </a:lnTo>
                      <a:lnTo>
                        <a:pt x="321" y="35"/>
                      </a:lnTo>
                      <a:lnTo>
                        <a:pt x="328" y="34"/>
                      </a:lnTo>
                      <a:lnTo>
                        <a:pt x="337" y="35"/>
                      </a:lnTo>
                      <a:lnTo>
                        <a:pt x="346" y="48"/>
                      </a:lnTo>
                      <a:lnTo>
                        <a:pt x="362" y="78"/>
                      </a:lnTo>
                      <a:lnTo>
                        <a:pt x="365" y="87"/>
                      </a:lnTo>
                      <a:lnTo>
                        <a:pt x="366" y="97"/>
                      </a:lnTo>
                      <a:lnTo>
                        <a:pt x="362" y="110"/>
                      </a:lnTo>
                      <a:lnTo>
                        <a:pt x="365" y="123"/>
                      </a:lnTo>
                      <a:lnTo>
                        <a:pt x="361" y="134"/>
                      </a:lnTo>
                      <a:lnTo>
                        <a:pt x="353" y="149"/>
                      </a:lnTo>
                      <a:lnTo>
                        <a:pt x="352" y="159"/>
                      </a:lnTo>
                      <a:lnTo>
                        <a:pt x="349" y="162"/>
                      </a:lnTo>
                      <a:lnTo>
                        <a:pt x="333" y="153"/>
                      </a:lnTo>
                      <a:lnTo>
                        <a:pt x="326" y="157"/>
                      </a:lnTo>
                      <a:lnTo>
                        <a:pt x="324" y="163"/>
                      </a:lnTo>
                      <a:lnTo>
                        <a:pt x="326" y="170"/>
                      </a:lnTo>
                      <a:lnTo>
                        <a:pt x="323" y="177"/>
                      </a:lnTo>
                      <a:lnTo>
                        <a:pt x="313" y="179"/>
                      </a:lnTo>
                      <a:lnTo>
                        <a:pt x="311" y="182"/>
                      </a:lnTo>
                      <a:lnTo>
                        <a:pt x="308" y="189"/>
                      </a:lnTo>
                      <a:lnTo>
                        <a:pt x="301" y="190"/>
                      </a:lnTo>
                      <a:lnTo>
                        <a:pt x="292" y="190"/>
                      </a:lnTo>
                      <a:lnTo>
                        <a:pt x="288" y="187"/>
                      </a:lnTo>
                      <a:lnTo>
                        <a:pt x="283" y="180"/>
                      </a:lnTo>
                      <a:lnTo>
                        <a:pt x="272" y="182"/>
                      </a:lnTo>
                      <a:lnTo>
                        <a:pt x="270" y="193"/>
                      </a:lnTo>
                      <a:lnTo>
                        <a:pt x="273" y="225"/>
                      </a:lnTo>
                      <a:lnTo>
                        <a:pt x="281" y="232"/>
                      </a:lnTo>
                      <a:lnTo>
                        <a:pt x="290" y="234"/>
                      </a:lnTo>
                      <a:lnTo>
                        <a:pt x="315" y="235"/>
                      </a:lnTo>
                      <a:lnTo>
                        <a:pt x="332" y="227"/>
                      </a:lnTo>
                      <a:lnTo>
                        <a:pt x="349" y="234"/>
                      </a:lnTo>
                      <a:lnTo>
                        <a:pt x="354" y="227"/>
                      </a:lnTo>
                      <a:lnTo>
                        <a:pt x="374" y="234"/>
                      </a:lnTo>
                      <a:lnTo>
                        <a:pt x="399" y="239"/>
                      </a:lnTo>
                      <a:lnTo>
                        <a:pt x="411" y="235"/>
                      </a:lnTo>
                      <a:lnTo>
                        <a:pt x="424" y="228"/>
                      </a:lnTo>
                      <a:lnTo>
                        <a:pt x="432" y="229"/>
                      </a:lnTo>
                      <a:lnTo>
                        <a:pt x="423" y="243"/>
                      </a:lnTo>
                      <a:lnTo>
                        <a:pt x="420" y="253"/>
                      </a:lnTo>
                      <a:lnTo>
                        <a:pt x="420" y="260"/>
                      </a:lnTo>
                      <a:lnTo>
                        <a:pt x="416" y="264"/>
                      </a:lnTo>
                      <a:lnTo>
                        <a:pt x="409" y="267"/>
                      </a:lnTo>
                      <a:lnTo>
                        <a:pt x="403" y="275"/>
                      </a:lnTo>
                      <a:lnTo>
                        <a:pt x="401" y="283"/>
                      </a:lnTo>
                      <a:lnTo>
                        <a:pt x="395" y="295"/>
                      </a:lnTo>
                      <a:lnTo>
                        <a:pt x="407" y="302"/>
                      </a:lnTo>
                      <a:lnTo>
                        <a:pt x="418" y="294"/>
                      </a:lnTo>
                      <a:lnTo>
                        <a:pt x="431" y="294"/>
                      </a:lnTo>
                      <a:lnTo>
                        <a:pt x="434" y="297"/>
                      </a:lnTo>
                      <a:lnTo>
                        <a:pt x="424" y="304"/>
                      </a:lnTo>
                      <a:lnTo>
                        <a:pt x="418" y="312"/>
                      </a:lnTo>
                      <a:lnTo>
                        <a:pt x="416" y="317"/>
                      </a:lnTo>
                      <a:lnTo>
                        <a:pt x="422" y="320"/>
                      </a:lnTo>
                      <a:lnTo>
                        <a:pt x="427" y="318"/>
                      </a:lnTo>
                      <a:lnTo>
                        <a:pt x="433" y="319"/>
                      </a:lnTo>
                      <a:lnTo>
                        <a:pt x="437" y="323"/>
                      </a:lnTo>
                      <a:lnTo>
                        <a:pt x="442" y="324"/>
                      </a:lnTo>
                      <a:lnTo>
                        <a:pt x="443" y="318"/>
                      </a:lnTo>
                      <a:lnTo>
                        <a:pt x="445" y="313"/>
                      </a:lnTo>
                      <a:lnTo>
                        <a:pt x="447" y="312"/>
                      </a:lnTo>
                      <a:lnTo>
                        <a:pt x="451" y="320"/>
                      </a:lnTo>
                      <a:lnTo>
                        <a:pt x="453" y="324"/>
                      </a:lnTo>
                      <a:lnTo>
                        <a:pt x="457" y="327"/>
                      </a:lnTo>
                      <a:lnTo>
                        <a:pt x="461" y="328"/>
                      </a:lnTo>
                      <a:lnTo>
                        <a:pt x="465" y="327"/>
                      </a:lnTo>
                      <a:lnTo>
                        <a:pt x="467" y="323"/>
                      </a:lnTo>
                      <a:lnTo>
                        <a:pt x="470" y="313"/>
                      </a:lnTo>
                      <a:lnTo>
                        <a:pt x="476" y="326"/>
                      </a:lnTo>
                      <a:lnTo>
                        <a:pt x="474" y="332"/>
                      </a:lnTo>
                      <a:lnTo>
                        <a:pt x="464" y="334"/>
                      </a:lnTo>
                      <a:lnTo>
                        <a:pt x="448" y="334"/>
                      </a:lnTo>
                      <a:lnTo>
                        <a:pt x="442" y="334"/>
                      </a:lnTo>
                      <a:lnTo>
                        <a:pt x="439" y="343"/>
                      </a:lnTo>
                      <a:lnTo>
                        <a:pt x="433" y="351"/>
                      </a:lnTo>
                      <a:lnTo>
                        <a:pt x="432" y="364"/>
                      </a:lnTo>
                      <a:lnTo>
                        <a:pt x="436" y="368"/>
                      </a:lnTo>
                      <a:lnTo>
                        <a:pt x="444" y="376"/>
                      </a:lnTo>
                      <a:lnTo>
                        <a:pt x="451" y="376"/>
                      </a:lnTo>
                      <a:lnTo>
                        <a:pt x="454" y="383"/>
                      </a:lnTo>
                      <a:lnTo>
                        <a:pt x="462" y="381"/>
                      </a:lnTo>
                      <a:lnTo>
                        <a:pt x="464" y="382"/>
                      </a:lnTo>
                      <a:lnTo>
                        <a:pt x="467" y="384"/>
                      </a:lnTo>
                      <a:lnTo>
                        <a:pt x="469" y="386"/>
                      </a:lnTo>
                      <a:lnTo>
                        <a:pt x="474" y="383"/>
                      </a:lnTo>
                      <a:lnTo>
                        <a:pt x="474" y="386"/>
                      </a:lnTo>
                      <a:lnTo>
                        <a:pt x="476" y="388"/>
                      </a:lnTo>
                      <a:lnTo>
                        <a:pt x="479" y="387"/>
                      </a:lnTo>
                      <a:lnTo>
                        <a:pt x="484" y="379"/>
                      </a:lnTo>
                      <a:lnTo>
                        <a:pt x="503" y="384"/>
                      </a:lnTo>
                      <a:lnTo>
                        <a:pt x="504" y="388"/>
                      </a:lnTo>
                      <a:lnTo>
                        <a:pt x="497" y="387"/>
                      </a:lnTo>
                      <a:lnTo>
                        <a:pt x="488" y="392"/>
                      </a:lnTo>
                      <a:lnTo>
                        <a:pt x="481" y="393"/>
                      </a:lnTo>
                      <a:lnTo>
                        <a:pt x="468" y="403"/>
                      </a:lnTo>
                      <a:lnTo>
                        <a:pt x="463" y="409"/>
                      </a:lnTo>
                      <a:lnTo>
                        <a:pt x="466" y="413"/>
                      </a:lnTo>
                      <a:lnTo>
                        <a:pt x="469" y="414"/>
                      </a:lnTo>
                      <a:lnTo>
                        <a:pt x="471" y="418"/>
                      </a:lnTo>
                      <a:lnTo>
                        <a:pt x="467" y="426"/>
                      </a:lnTo>
                      <a:lnTo>
                        <a:pt x="463" y="429"/>
                      </a:lnTo>
                      <a:lnTo>
                        <a:pt x="456" y="433"/>
                      </a:lnTo>
                      <a:lnTo>
                        <a:pt x="453" y="439"/>
                      </a:lnTo>
                      <a:lnTo>
                        <a:pt x="458" y="439"/>
                      </a:lnTo>
                      <a:lnTo>
                        <a:pt x="469" y="438"/>
                      </a:lnTo>
                      <a:lnTo>
                        <a:pt x="472" y="440"/>
                      </a:lnTo>
                      <a:lnTo>
                        <a:pt x="469" y="447"/>
                      </a:lnTo>
                      <a:lnTo>
                        <a:pt x="463" y="453"/>
                      </a:lnTo>
                      <a:lnTo>
                        <a:pt x="456" y="456"/>
                      </a:lnTo>
                      <a:lnTo>
                        <a:pt x="449" y="456"/>
                      </a:lnTo>
                      <a:lnTo>
                        <a:pt x="442" y="463"/>
                      </a:lnTo>
                      <a:lnTo>
                        <a:pt x="423" y="460"/>
                      </a:lnTo>
                      <a:lnTo>
                        <a:pt x="419" y="470"/>
                      </a:lnTo>
                      <a:lnTo>
                        <a:pt x="419" y="483"/>
                      </a:lnTo>
                      <a:lnTo>
                        <a:pt x="420" y="485"/>
                      </a:lnTo>
                      <a:close/>
                      <a:moveTo>
                        <a:pt x="338" y="10"/>
                      </a:moveTo>
                      <a:lnTo>
                        <a:pt x="331" y="12"/>
                      </a:lnTo>
                      <a:lnTo>
                        <a:pt x="323" y="10"/>
                      </a:lnTo>
                      <a:lnTo>
                        <a:pt x="323" y="8"/>
                      </a:lnTo>
                      <a:lnTo>
                        <a:pt x="328" y="5"/>
                      </a:lnTo>
                      <a:lnTo>
                        <a:pt x="332" y="4"/>
                      </a:lnTo>
                      <a:lnTo>
                        <a:pt x="336" y="0"/>
                      </a:lnTo>
                      <a:lnTo>
                        <a:pt x="342" y="2"/>
                      </a:lnTo>
                      <a:lnTo>
                        <a:pt x="344" y="4"/>
                      </a:lnTo>
                      <a:lnTo>
                        <a:pt x="343" y="7"/>
                      </a:lnTo>
                      <a:lnTo>
                        <a:pt x="338" y="1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6" name="Tokushima" descr="{&quot;Key&quot;:&quot;tokushima&quot;,&quot;Name&quot;:&quot;Tokushima&quot;,&quot;Value&quot;:1.0,&quot;Formula&quot;:&quot;&quot;,&quot;Text&quot;:&quot;&quot;,&quot;OfficeApplication&quot;:1,&quot;HasValue&quot;:true}">
                  <a:extLst>
                    <a:ext uri="{FF2B5EF4-FFF2-40B4-BE49-F238E27FC236}">
                      <a16:creationId xmlns:a16="http://schemas.microsoft.com/office/drawing/2014/main" id="{6DE13C30-0879-48A6-9C6F-99DD895F3B55}"/>
                    </a:ext>
                  </a:extLst>
                </p:cNvPr>
                <p:cNvSpPr>
                  <a:spLocks noEditPoints="1"/>
                </p:cNvSpPr>
                <p:nvPr/>
              </p:nvSpPr>
              <p:spPr bwMode="auto">
                <a:xfrm>
                  <a:off x="5419725" y="4089400"/>
                  <a:ext cx="273050" cy="203200"/>
                </a:xfrm>
                <a:custGeom>
                  <a:avLst/>
                  <a:gdLst>
                    <a:gd name="T0" fmla="*/ 468 w 470"/>
                    <a:gd name="T1" fmla="*/ 199 h 349"/>
                    <a:gd name="T2" fmla="*/ 469 w 470"/>
                    <a:gd name="T3" fmla="*/ 191 h 349"/>
                    <a:gd name="T4" fmla="*/ 242 w 470"/>
                    <a:gd name="T5" fmla="*/ 343 h 349"/>
                    <a:gd name="T6" fmla="*/ 218 w 470"/>
                    <a:gd name="T7" fmla="*/ 339 h 349"/>
                    <a:gd name="T8" fmla="*/ 206 w 470"/>
                    <a:gd name="T9" fmla="*/ 303 h 349"/>
                    <a:gd name="T10" fmla="*/ 201 w 470"/>
                    <a:gd name="T11" fmla="*/ 284 h 349"/>
                    <a:gd name="T12" fmla="*/ 168 w 470"/>
                    <a:gd name="T13" fmla="*/ 279 h 349"/>
                    <a:gd name="T14" fmla="*/ 160 w 470"/>
                    <a:gd name="T15" fmla="*/ 238 h 349"/>
                    <a:gd name="T16" fmla="*/ 148 w 470"/>
                    <a:gd name="T17" fmla="*/ 213 h 349"/>
                    <a:gd name="T18" fmla="*/ 118 w 470"/>
                    <a:gd name="T19" fmla="*/ 216 h 349"/>
                    <a:gd name="T20" fmla="*/ 104 w 470"/>
                    <a:gd name="T21" fmla="*/ 225 h 349"/>
                    <a:gd name="T22" fmla="*/ 66 w 470"/>
                    <a:gd name="T23" fmla="*/ 208 h 349"/>
                    <a:gd name="T24" fmla="*/ 38 w 470"/>
                    <a:gd name="T25" fmla="*/ 205 h 349"/>
                    <a:gd name="T26" fmla="*/ 8 w 470"/>
                    <a:gd name="T27" fmla="*/ 169 h 349"/>
                    <a:gd name="T28" fmla="*/ 23 w 470"/>
                    <a:gd name="T29" fmla="*/ 111 h 349"/>
                    <a:gd name="T30" fmla="*/ 39 w 470"/>
                    <a:gd name="T31" fmla="*/ 96 h 349"/>
                    <a:gd name="T32" fmla="*/ 63 w 470"/>
                    <a:gd name="T33" fmla="*/ 86 h 349"/>
                    <a:gd name="T34" fmla="*/ 101 w 470"/>
                    <a:gd name="T35" fmla="*/ 73 h 349"/>
                    <a:gd name="T36" fmla="*/ 118 w 470"/>
                    <a:gd name="T37" fmla="*/ 84 h 349"/>
                    <a:gd name="T38" fmla="*/ 135 w 470"/>
                    <a:gd name="T39" fmla="*/ 85 h 349"/>
                    <a:gd name="T40" fmla="*/ 160 w 470"/>
                    <a:gd name="T41" fmla="*/ 74 h 349"/>
                    <a:gd name="T42" fmla="*/ 190 w 470"/>
                    <a:gd name="T43" fmla="*/ 61 h 349"/>
                    <a:gd name="T44" fmla="*/ 210 w 470"/>
                    <a:gd name="T45" fmla="*/ 45 h 349"/>
                    <a:gd name="T46" fmla="*/ 300 w 470"/>
                    <a:gd name="T47" fmla="*/ 46 h 349"/>
                    <a:gd name="T48" fmla="*/ 319 w 470"/>
                    <a:gd name="T49" fmla="*/ 21 h 349"/>
                    <a:gd name="T50" fmla="*/ 340 w 470"/>
                    <a:gd name="T51" fmla="*/ 12 h 349"/>
                    <a:gd name="T52" fmla="*/ 380 w 470"/>
                    <a:gd name="T53" fmla="*/ 9 h 349"/>
                    <a:gd name="T54" fmla="*/ 383 w 470"/>
                    <a:gd name="T55" fmla="*/ 11 h 349"/>
                    <a:gd name="T56" fmla="*/ 394 w 470"/>
                    <a:gd name="T57" fmla="*/ 9 h 349"/>
                    <a:gd name="T58" fmla="*/ 393 w 470"/>
                    <a:gd name="T59" fmla="*/ 20 h 349"/>
                    <a:gd name="T60" fmla="*/ 385 w 470"/>
                    <a:gd name="T61" fmla="*/ 32 h 349"/>
                    <a:gd name="T62" fmla="*/ 399 w 470"/>
                    <a:gd name="T63" fmla="*/ 35 h 349"/>
                    <a:gd name="T64" fmla="*/ 390 w 470"/>
                    <a:gd name="T65" fmla="*/ 54 h 349"/>
                    <a:gd name="T66" fmla="*/ 384 w 470"/>
                    <a:gd name="T67" fmla="*/ 80 h 349"/>
                    <a:gd name="T68" fmla="*/ 380 w 470"/>
                    <a:gd name="T69" fmla="*/ 99 h 349"/>
                    <a:gd name="T70" fmla="*/ 384 w 470"/>
                    <a:gd name="T71" fmla="*/ 121 h 349"/>
                    <a:gd name="T72" fmla="*/ 393 w 470"/>
                    <a:gd name="T73" fmla="*/ 117 h 349"/>
                    <a:gd name="T74" fmla="*/ 408 w 470"/>
                    <a:gd name="T75" fmla="*/ 136 h 349"/>
                    <a:gd name="T76" fmla="*/ 424 w 470"/>
                    <a:gd name="T77" fmla="*/ 151 h 349"/>
                    <a:gd name="T78" fmla="*/ 419 w 470"/>
                    <a:gd name="T79" fmla="*/ 172 h 349"/>
                    <a:gd name="T80" fmla="*/ 408 w 470"/>
                    <a:gd name="T81" fmla="*/ 181 h 349"/>
                    <a:gd name="T82" fmla="*/ 429 w 470"/>
                    <a:gd name="T83" fmla="*/ 195 h 349"/>
                    <a:gd name="T84" fmla="*/ 421 w 470"/>
                    <a:gd name="T85" fmla="*/ 201 h 349"/>
                    <a:gd name="T86" fmla="*/ 431 w 470"/>
                    <a:gd name="T87" fmla="*/ 201 h 349"/>
                    <a:gd name="T88" fmla="*/ 435 w 470"/>
                    <a:gd name="T89" fmla="*/ 206 h 349"/>
                    <a:gd name="T90" fmla="*/ 389 w 470"/>
                    <a:gd name="T91" fmla="*/ 226 h 349"/>
                    <a:gd name="T92" fmla="*/ 370 w 470"/>
                    <a:gd name="T93" fmla="*/ 249 h 349"/>
                    <a:gd name="T94" fmla="*/ 325 w 470"/>
                    <a:gd name="T95" fmla="*/ 281 h 349"/>
                    <a:gd name="T96" fmla="*/ 298 w 470"/>
                    <a:gd name="T97" fmla="*/ 304 h 349"/>
                    <a:gd name="T98" fmla="*/ 283 w 470"/>
                    <a:gd name="T99" fmla="*/ 324 h 349"/>
                    <a:gd name="T100" fmla="*/ 266 w 470"/>
                    <a:gd name="T101" fmla="*/ 329 h 349"/>
                    <a:gd name="T102" fmla="*/ 260 w 470"/>
                    <a:gd name="T103" fmla="*/ 34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0" h="349">
                      <a:moveTo>
                        <a:pt x="470" y="191"/>
                      </a:moveTo>
                      <a:lnTo>
                        <a:pt x="470" y="195"/>
                      </a:lnTo>
                      <a:lnTo>
                        <a:pt x="468" y="199"/>
                      </a:lnTo>
                      <a:lnTo>
                        <a:pt x="465" y="200"/>
                      </a:lnTo>
                      <a:lnTo>
                        <a:pt x="465" y="196"/>
                      </a:lnTo>
                      <a:lnTo>
                        <a:pt x="469" y="191"/>
                      </a:lnTo>
                      <a:lnTo>
                        <a:pt x="470" y="191"/>
                      </a:lnTo>
                      <a:close/>
                      <a:moveTo>
                        <a:pt x="260" y="349"/>
                      </a:moveTo>
                      <a:lnTo>
                        <a:pt x="242" y="343"/>
                      </a:lnTo>
                      <a:lnTo>
                        <a:pt x="235" y="344"/>
                      </a:lnTo>
                      <a:lnTo>
                        <a:pt x="229" y="343"/>
                      </a:lnTo>
                      <a:lnTo>
                        <a:pt x="218" y="339"/>
                      </a:lnTo>
                      <a:lnTo>
                        <a:pt x="214" y="333"/>
                      </a:lnTo>
                      <a:lnTo>
                        <a:pt x="204" y="310"/>
                      </a:lnTo>
                      <a:lnTo>
                        <a:pt x="206" y="303"/>
                      </a:lnTo>
                      <a:lnTo>
                        <a:pt x="206" y="299"/>
                      </a:lnTo>
                      <a:lnTo>
                        <a:pt x="205" y="288"/>
                      </a:lnTo>
                      <a:lnTo>
                        <a:pt x="201" y="284"/>
                      </a:lnTo>
                      <a:lnTo>
                        <a:pt x="194" y="280"/>
                      </a:lnTo>
                      <a:lnTo>
                        <a:pt x="181" y="278"/>
                      </a:lnTo>
                      <a:lnTo>
                        <a:pt x="168" y="279"/>
                      </a:lnTo>
                      <a:lnTo>
                        <a:pt x="165" y="276"/>
                      </a:lnTo>
                      <a:lnTo>
                        <a:pt x="163" y="244"/>
                      </a:lnTo>
                      <a:lnTo>
                        <a:pt x="160" y="238"/>
                      </a:lnTo>
                      <a:lnTo>
                        <a:pt x="156" y="226"/>
                      </a:lnTo>
                      <a:lnTo>
                        <a:pt x="153" y="216"/>
                      </a:lnTo>
                      <a:lnTo>
                        <a:pt x="148" y="213"/>
                      </a:lnTo>
                      <a:lnTo>
                        <a:pt x="130" y="210"/>
                      </a:lnTo>
                      <a:lnTo>
                        <a:pt x="123" y="213"/>
                      </a:lnTo>
                      <a:lnTo>
                        <a:pt x="118" y="216"/>
                      </a:lnTo>
                      <a:lnTo>
                        <a:pt x="114" y="220"/>
                      </a:lnTo>
                      <a:lnTo>
                        <a:pt x="110" y="225"/>
                      </a:lnTo>
                      <a:lnTo>
                        <a:pt x="104" y="225"/>
                      </a:lnTo>
                      <a:lnTo>
                        <a:pt x="95" y="223"/>
                      </a:lnTo>
                      <a:lnTo>
                        <a:pt x="74" y="210"/>
                      </a:lnTo>
                      <a:lnTo>
                        <a:pt x="66" y="208"/>
                      </a:lnTo>
                      <a:lnTo>
                        <a:pt x="59" y="206"/>
                      </a:lnTo>
                      <a:lnTo>
                        <a:pt x="54" y="208"/>
                      </a:lnTo>
                      <a:lnTo>
                        <a:pt x="38" y="205"/>
                      </a:lnTo>
                      <a:lnTo>
                        <a:pt x="0" y="191"/>
                      </a:lnTo>
                      <a:lnTo>
                        <a:pt x="3" y="183"/>
                      </a:lnTo>
                      <a:lnTo>
                        <a:pt x="8" y="169"/>
                      </a:lnTo>
                      <a:lnTo>
                        <a:pt x="8" y="156"/>
                      </a:lnTo>
                      <a:lnTo>
                        <a:pt x="5" y="123"/>
                      </a:lnTo>
                      <a:lnTo>
                        <a:pt x="23" y="111"/>
                      </a:lnTo>
                      <a:lnTo>
                        <a:pt x="26" y="106"/>
                      </a:lnTo>
                      <a:lnTo>
                        <a:pt x="35" y="100"/>
                      </a:lnTo>
                      <a:lnTo>
                        <a:pt x="39" y="96"/>
                      </a:lnTo>
                      <a:lnTo>
                        <a:pt x="44" y="93"/>
                      </a:lnTo>
                      <a:lnTo>
                        <a:pt x="58" y="90"/>
                      </a:lnTo>
                      <a:lnTo>
                        <a:pt x="63" y="86"/>
                      </a:lnTo>
                      <a:lnTo>
                        <a:pt x="68" y="79"/>
                      </a:lnTo>
                      <a:lnTo>
                        <a:pt x="73" y="76"/>
                      </a:lnTo>
                      <a:lnTo>
                        <a:pt x="101" y="73"/>
                      </a:lnTo>
                      <a:lnTo>
                        <a:pt x="109" y="75"/>
                      </a:lnTo>
                      <a:lnTo>
                        <a:pt x="113" y="79"/>
                      </a:lnTo>
                      <a:lnTo>
                        <a:pt x="118" y="84"/>
                      </a:lnTo>
                      <a:lnTo>
                        <a:pt x="121" y="86"/>
                      </a:lnTo>
                      <a:lnTo>
                        <a:pt x="128" y="86"/>
                      </a:lnTo>
                      <a:lnTo>
                        <a:pt x="135" y="85"/>
                      </a:lnTo>
                      <a:lnTo>
                        <a:pt x="141" y="82"/>
                      </a:lnTo>
                      <a:lnTo>
                        <a:pt x="155" y="75"/>
                      </a:lnTo>
                      <a:lnTo>
                        <a:pt x="160" y="74"/>
                      </a:lnTo>
                      <a:lnTo>
                        <a:pt x="178" y="70"/>
                      </a:lnTo>
                      <a:lnTo>
                        <a:pt x="184" y="67"/>
                      </a:lnTo>
                      <a:lnTo>
                        <a:pt x="190" y="61"/>
                      </a:lnTo>
                      <a:lnTo>
                        <a:pt x="196" y="51"/>
                      </a:lnTo>
                      <a:lnTo>
                        <a:pt x="201" y="47"/>
                      </a:lnTo>
                      <a:lnTo>
                        <a:pt x="210" y="45"/>
                      </a:lnTo>
                      <a:lnTo>
                        <a:pt x="229" y="42"/>
                      </a:lnTo>
                      <a:lnTo>
                        <a:pt x="286" y="41"/>
                      </a:lnTo>
                      <a:lnTo>
                        <a:pt x="300" y="46"/>
                      </a:lnTo>
                      <a:lnTo>
                        <a:pt x="305" y="45"/>
                      </a:lnTo>
                      <a:lnTo>
                        <a:pt x="310" y="42"/>
                      </a:lnTo>
                      <a:lnTo>
                        <a:pt x="319" y="21"/>
                      </a:lnTo>
                      <a:lnTo>
                        <a:pt x="319" y="20"/>
                      </a:lnTo>
                      <a:lnTo>
                        <a:pt x="329" y="21"/>
                      </a:lnTo>
                      <a:lnTo>
                        <a:pt x="340" y="12"/>
                      </a:lnTo>
                      <a:lnTo>
                        <a:pt x="366" y="14"/>
                      </a:lnTo>
                      <a:lnTo>
                        <a:pt x="375" y="10"/>
                      </a:lnTo>
                      <a:lnTo>
                        <a:pt x="380" y="9"/>
                      </a:lnTo>
                      <a:lnTo>
                        <a:pt x="385" y="0"/>
                      </a:lnTo>
                      <a:lnTo>
                        <a:pt x="386" y="5"/>
                      </a:lnTo>
                      <a:lnTo>
                        <a:pt x="383" y="11"/>
                      </a:lnTo>
                      <a:lnTo>
                        <a:pt x="380" y="17"/>
                      </a:lnTo>
                      <a:lnTo>
                        <a:pt x="386" y="16"/>
                      </a:lnTo>
                      <a:lnTo>
                        <a:pt x="394" y="9"/>
                      </a:lnTo>
                      <a:lnTo>
                        <a:pt x="401" y="5"/>
                      </a:lnTo>
                      <a:lnTo>
                        <a:pt x="399" y="12"/>
                      </a:lnTo>
                      <a:lnTo>
                        <a:pt x="393" y="20"/>
                      </a:lnTo>
                      <a:lnTo>
                        <a:pt x="393" y="27"/>
                      </a:lnTo>
                      <a:lnTo>
                        <a:pt x="393" y="30"/>
                      </a:lnTo>
                      <a:lnTo>
                        <a:pt x="385" y="32"/>
                      </a:lnTo>
                      <a:lnTo>
                        <a:pt x="390" y="32"/>
                      </a:lnTo>
                      <a:lnTo>
                        <a:pt x="394" y="35"/>
                      </a:lnTo>
                      <a:lnTo>
                        <a:pt x="399" y="35"/>
                      </a:lnTo>
                      <a:lnTo>
                        <a:pt x="396" y="41"/>
                      </a:lnTo>
                      <a:lnTo>
                        <a:pt x="391" y="49"/>
                      </a:lnTo>
                      <a:lnTo>
                        <a:pt x="390" y="54"/>
                      </a:lnTo>
                      <a:lnTo>
                        <a:pt x="391" y="56"/>
                      </a:lnTo>
                      <a:lnTo>
                        <a:pt x="384" y="67"/>
                      </a:lnTo>
                      <a:lnTo>
                        <a:pt x="384" y="80"/>
                      </a:lnTo>
                      <a:lnTo>
                        <a:pt x="385" y="89"/>
                      </a:lnTo>
                      <a:lnTo>
                        <a:pt x="383" y="90"/>
                      </a:lnTo>
                      <a:lnTo>
                        <a:pt x="380" y="99"/>
                      </a:lnTo>
                      <a:lnTo>
                        <a:pt x="380" y="107"/>
                      </a:lnTo>
                      <a:lnTo>
                        <a:pt x="383" y="116"/>
                      </a:lnTo>
                      <a:lnTo>
                        <a:pt x="384" y="121"/>
                      </a:lnTo>
                      <a:lnTo>
                        <a:pt x="386" y="122"/>
                      </a:lnTo>
                      <a:lnTo>
                        <a:pt x="391" y="122"/>
                      </a:lnTo>
                      <a:lnTo>
                        <a:pt x="393" y="117"/>
                      </a:lnTo>
                      <a:lnTo>
                        <a:pt x="398" y="116"/>
                      </a:lnTo>
                      <a:lnTo>
                        <a:pt x="403" y="129"/>
                      </a:lnTo>
                      <a:lnTo>
                        <a:pt x="408" y="136"/>
                      </a:lnTo>
                      <a:lnTo>
                        <a:pt x="420" y="145"/>
                      </a:lnTo>
                      <a:lnTo>
                        <a:pt x="419" y="149"/>
                      </a:lnTo>
                      <a:lnTo>
                        <a:pt x="424" y="151"/>
                      </a:lnTo>
                      <a:lnTo>
                        <a:pt x="423" y="160"/>
                      </a:lnTo>
                      <a:lnTo>
                        <a:pt x="424" y="166"/>
                      </a:lnTo>
                      <a:lnTo>
                        <a:pt x="419" y="172"/>
                      </a:lnTo>
                      <a:lnTo>
                        <a:pt x="418" y="176"/>
                      </a:lnTo>
                      <a:lnTo>
                        <a:pt x="411" y="179"/>
                      </a:lnTo>
                      <a:lnTo>
                        <a:pt x="408" y="181"/>
                      </a:lnTo>
                      <a:lnTo>
                        <a:pt x="400" y="192"/>
                      </a:lnTo>
                      <a:lnTo>
                        <a:pt x="406" y="196"/>
                      </a:lnTo>
                      <a:lnTo>
                        <a:pt x="429" y="195"/>
                      </a:lnTo>
                      <a:lnTo>
                        <a:pt x="429" y="197"/>
                      </a:lnTo>
                      <a:lnTo>
                        <a:pt x="425" y="199"/>
                      </a:lnTo>
                      <a:lnTo>
                        <a:pt x="421" y="201"/>
                      </a:lnTo>
                      <a:lnTo>
                        <a:pt x="418" y="201"/>
                      </a:lnTo>
                      <a:lnTo>
                        <a:pt x="418" y="205"/>
                      </a:lnTo>
                      <a:lnTo>
                        <a:pt x="431" y="201"/>
                      </a:lnTo>
                      <a:lnTo>
                        <a:pt x="439" y="199"/>
                      </a:lnTo>
                      <a:lnTo>
                        <a:pt x="443" y="201"/>
                      </a:lnTo>
                      <a:lnTo>
                        <a:pt x="435" y="206"/>
                      </a:lnTo>
                      <a:lnTo>
                        <a:pt x="408" y="219"/>
                      </a:lnTo>
                      <a:lnTo>
                        <a:pt x="403" y="225"/>
                      </a:lnTo>
                      <a:lnTo>
                        <a:pt x="389" y="226"/>
                      </a:lnTo>
                      <a:lnTo>
                        <a:pt x="385" y="235"/>
                      </a:lnTo>
                      <a:lnTo>
                        <a:pt x="374" y="236"/>
                      </a:lnTo>
                      <a:lnTo>
                        <a:pt x="370" y="249"/>
                      </a:lnTo>
                      <a:lnTo>
                        <a:pt x="360" y="251"/>
                      </a:lnTo>
                      <a:lnTo>
                        <a:pt x="358" y="259"/>
                      </a:lnTo>
                      <a:lnTo>
                        <a:pt x="325" y="281"/>
                      </a:lnTo>
                      <a:lnTo>
                        <a:pt x="304" y="289"/>
                      </a:lnTo>
                      <a:lnTo>
                        <a:pt x="293" y="297"/>
                      </a:lnTo>
                      <a:lnTo>
                        <a:pt x="298" y="304"/>
                      </a:lnTo>
                      <a:lnTo>
                        <a:pt x="288" y="315"/>
                      </a:lnTo>
                      <a:lnTo>
                        <a:pt x="286" y="320"/>
                      </a:lnTo>
                      <a:lnTo>
                        <a:pt x="283" y="324"/>
                      </a:lnTo>
                      <a:lnTo>
                        <a:pt x="278" y="326"/>
                      </a:lnTo>
                      <a:lnTo>
                        <a:pt x="273" y="325"/>
                      </a:lnTo>
                      <a:lnTo>
                        <a:pt x="266" y="329"/>
                      </a:lnTo>
                      <a:lnTo>
                        <a:pt x="268" y="336"/>
                      </a:lnTo>
                      <a:lnTo>
                        <a:pt x="268" y="342"/>
                      </a:lnTo>
                      <a:lnTo>
                        <a:pt x="260" y="349"/>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7" name="Aichi" descr="{&quot;Key&quot;:&quot;aichi&quot;,&quot;Name&quot;:&quot;Aichi&quot;,&quot;Value&quot;:1.0,&quot;Formula&quot;:&quot;&quot;,&quot;Text&quot;:&quot;&quot;,&quot;OfficeApplication&quot;:1,&quot;HasValue&quot;:true}">
                  <a:extLst>
                    <a:ext uri="{FF2B5EF4-FFF2-40B4-BE49-F238E27FC236}">
                      <a16:creationId xmlns:a16="http://schemas.microsoft.com/office/drawing/2014/main" id="{C8FC17E4-470E-422A-B576-D98C4FCAD9CA}"/>
                    </a:ext>
                  </a:extLst>
                </p:cNvPr>
                <p:cNvSpPr>
                  <a:spLocks noEditPoints="1"/>
                </p:cNvSpPr>
                <p:nvPr/>
              </p:nvSpPr>
              <p:spPr bwMode="auto">
                <a:xfrm>
                  <a:off x="6127750" y="3765550"/>
                  <a:ext cx="266700" cy="241300"/>
                </a:xfrm>
                <a:custGeom>
                  <a:avLst/>
                  <a:gdLst>
                    <a:gd name="T0" fmla="*/ 125 w 455"/>
                    <a:gd name="T1" fmla="*/ 409 h 415"/>
                    <a:gd name="T2" fmla="*/ 54 w 455"/>
                    <a:gd name="T3" fmla="*/ 268 h 415"/>
                    <a:gd name="T4" fmla="*/ 62 w 455"/>
                    <a:gd name="T5" fmla="*/ 263 h 415"/>
                    <a:gd name="T6" fmla="*/ 348 w 455"/>
                    <a:gd name="T7" fmla="*/ 73 h 415"/>
                    <a:gd name="T8" fmla="*/ 368 w 455"/>
                    <a:gd name="T9" fmla="*/ 96 h 415"/>
                    <a:gd name="T10" fmla="*/ 398 w 455"/>
                    <a:gd name="T11" fmla="*/ 86 h 415"/>
                    <a:gd name="T12" fmla="*/ 453 w 455"/>
                    <a:gd name="T13" fmla="*/ 109 h 415"/>
                    <a:gd name="T14" fmla="*/ 434 w 455"/>
                    <a:gd name="T15" fmla="*/ 158 h 415"/>
                    <a:gd name="T16" fmla="*/ 402 w 455"/>
                    <a:gd name="T17" fmla="*/ 215 h 415"/>
                    <a:gd name="T18" fmla="*/ 377 w 455"/>
                    <a:gd name="T19" fmla="*/ 253 h 415"/>
                    <a:gd name="T20" fmla="*/ 331 w 455"/>
                    <a:gd name="T21" fmla="*/ 278 h 415"/>
                    <a:gd name="T22" fmla="*/ 318 w 455"/>
                    <a:gd name="T23" fmla="*/ 324 h 415"/>
                    <a:gd name="T24" fmla="*/ 304 w 455"/>
                    <a:gd name="T25" fmla="*/ 351 h 415"/>
                    <a:gd name="T26" fmla="*/ 149 w 455"/>
                    <a:gd name="T27" fmla="*/ 394 h 415"/>
                    <a:gd name="T28" fmla="*/ 149 w 455"/>
                    <a:gd name="T29" fmla="*/ 376 h 415"/>
                    <a:gd name="T30" fmla="*/ 174 w 455"/>
                    <a:gd name="T31" fmla="*/ 369 h 415"/>
                    <a:gd name="T32" fmla="*/ 199 w 455"/>
                    <a:gd name="T33" fmla="*/ 356 h 415"/>
                    <a:gd name="T34" fmla="*/ 245 w 455"/>
                    <a:gd name="T35" fmla="*/ 320 h 415"/>
                    <a:gd name="T36" fmla="*/ 254 w 455"/>
                    <a:gd name="T37" fmla="*/ 341 h 415"/>
                    <a:gd name="T38" fmla="*/ 269 w 455"/>
                    <a:gd name="T39" fmla="*/ 323 h 415"/>
                    <a:gd name="T40" fmla="*/ 260 w 455"/>
                    <a:gd name="T41" fmla="*/ 300 h 415"/>
                    <a:gd name="T42" fmla="*/ 222 w 455"/>
                    <a:gd name="T43" fmla="*/ 279 h 415"/>
                    <a:gd name="T44" fmla="*/ 208 w 455"/>
                    <a:gd name="T45" fmla="*/ 301 h 415"/>
                    <a:gd name="T46" fmla="*/ 188 w 455"/>
                    <a:gd name="T47" fmla="*/ 293 h 415"/>
                    <a:gd name="T48" fmla="*/ 160 w 455"/>
                    <a:gd name="T49" fmla="*/ 294 h 415"/>
                    <a:gd name="T50" fmla="*/ 133 w 455"/>
                    <a:gd name="T51" fmla="*/ 285 h 415"/>
                    <a:gd name="T52" fmla="*/ 124 w 455"/>
                    <a:gd name="T53" fmla="*/ 239 h 415"/>
                    <a:gd name="T54" fmla="*/ 107 w 455"/>
                    <a:gd name="T55" fmla="*/ 256 h 415"/>
                    <a:gd name="T56" fmla="*/ 102 w 455"/>
                    <a:gd name="T57" fmla="*/ 305 h 415"/>
                    <a:gd name="T58" fmla="*/ 120 w 455"/>
                    <a:gd name="T59" fmla="*/ 338 h 415"/>
                    <a:gd name="T60" fmla="*/ 69 w 455"/>
                    <a:gd name="T61" fmla="*/ 310 h 415"/>
                    <a:gd name="T62" fmla="*/ 78 w 455"/>
                    <a:gd name="T63" fmla="*/ 276 h 415"/>
                    <a:gd name="T64" fmla="*/ 63 w 455"/>
                    <a:gd name="T65" fmla="*/ 251 h 415"/>
                    <a:gd name="T66" fmla="*/ 69 w 455"/>
                    <a:gd name="T67" fmla="*/ 194 h 415"/>
                    <a:gd name="T68" fmla="*/ 84 w 455"/>
                    <a:gd name="T69" fmla="*/ 154 h 415"/>
                    <a:gd name="T70" fmla="*/ 72 w 455"/>
                    <a:gd name="T71" fmla="*/ 169 h 415"/>
                    <a:gd name="T72" fmla="*/ 67 w 455"/>
                    <a:gd name="T73" fmla="*/ 173 h 415"/>
                    <a:gd name="T74" fmla="*/ 50 w 455"/>
                    <a:gd name="T75" fmla="*/ 176 h 415"/>
                    <a:gd name="T76" fmla="*/ 22 w 455"/>
                    <a:gd name="T77" fmla="*/ 160 h 415"/>
                    <a:gd name="T78" fmla="*/ 0 w 455"/>
                    <a:gd name="T79" fmla="*/ 120 h 415"/>
                    <a:gd name="T80" fmla="*/ 33 w 455"/>
                    <a:gd name="T81" fmla="*/ 23 h 415"/>
                    <a:gd name="T82" fmla="*/ 48 w 455"/>
                    <a:gd name="T83" fmla="*/ 21 h 415"/>
                    <a:gd name="T84" fmla="*/ 95 w 455"/>
                    <a:gd name="T85" fmla="*/ 6 h 415"/>
                    <a:gd name="T86" fmla="*/ 129 w 455"/>
                    <a:gd name="T87" fmla="*/ 10 h 415"/>
                    <a:gd name="T88" fmla="*/ 144 w 455"/>
                    <a:gd name="T89" fmla="*/ 29 h 415"/>
                    <a:gd name="T90" fmla="*/ 160 w 455"/>
                    <a:gd name="T91" fmla="*/ 49 h 415"/>
                    <a:gd name="T92" fmla="*/ 178 w 455"/>
                    <a:gd name="T93" fmla="*/ 55 h 415"/>
                    <a:gd name="T94" fmla="*/ 204 w 455"/>
                    <a:gd name="T95" fmla="*/ 70 h 415"/>
                    <a:gd name="T96" fmla="*/ 249 w 455"/>
                    <a:gd name="T97" fmla="*/ 58 h 415"/>
                    <a:gd name="T98" fmla="*/ 289 w 455"/>
                    <a:gd name="T99" fmla="*/ 80 h 415"/>
                    <a:gd name="T100" fmla="*/ 329 w 455"/>
                    <a:gd name="T101" fmla="*/ 68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5" h="415">
                      <a:moveTo>
                        <a:pt x="127" y="413"/>
                      </a:moveTo>
                      <a:lnTo>
                        <a:pt x="124" y="415"/>
                      </a:lnTo>
                      <a:lnTo>
                        <a:pt x="122" y="411"/>
                      </a:lnTo>
                      <a:lnTo>
                        <a:pt x="125" y="409"/>
                      </a:lnTo>
                      <a:lnTo>
                        <a:pt x="128" y="409"/>
                      </a:lnTo>
                      <a:lnTo>
                        <a:pt x="127" y="413"/>
                      </a:lnTo>
                      <a:close/>
                      <a:moveTo>
                        <a:pt x="58" y="268"/>
                      </a:moveTo>
                      <a:lnTo>
                        <a:pt x="54" y="268"/>
                      </a:lnTo>
                      <a:lnTo>
                        <a:pt x="50" y="249"/>
                      </a:lnTo>
                      <a:lnTo>
                        <a:pt x="55" y="249"/>
                      </a:lnTo>
                      <a:lnTo>
                        <a:pt x="60" y="256"/>
                      </a:lnTo>
                      <a:lnTo>
                        <a:pt x="62" y="263"/>
                      </a:lnTo>
                      <a:lnTo>
                        <a:pt x="58" y="264"/>
                      </a:lnTo>
                      <a:lnTo>
                        <a:pt x="58" y="268"/>
                      </a:lnTo>
                      <a:close/>
                      <a:moveTo>
                        <a:pt x="352" y="56"/>
                      </a:moveTo>
                      <a:lnTo>
                        <a:pt x="348" y="73"/>
                      </a:lnTo>
                      <a:lnTo>
                        <a:pt x="355" y="90"/>
                      </a:lnTo>
                      <a:lnTo>
                        <a:pt x="359" y="94"/>
                      </a:lnTo>
                      <a:lnTo>
                        <a:pt x="363" y="96"/>
                      </a:lnTo>
                      <a:lnTo>
                        <a:pt x="368" y="96"/>
                      </a:lnTo>
                      <a:lnTo>
                        <a:pt x="379" y="94"/>
                      </a:lnTo>
                      <a:lnTo>
                        <a:pt x="384" y="91"/>
                      </a:lnTo>
                      <a:lnTo>
                        <a:pt x="390" y="88"/>
                      </a:lnTo>
                      <a:lnTo>
                        <a:pt x="398" y="86"/>
                      </a:lnTo>
                      <a:lnTo>
                        <a:pt x="405" y="86"/>
                      </a:lnTo>
                      <a:lnTo>
                        <a:pt x="434" y="93"/>
                      </a:lnTo>
                      <a:lnTo>
                        <a:pt x="455" y="93"/>
                      </a:lnTo>
                      <a:lnTo>
                        <a:pt x="453" y="109"/>
                      </a:lnTo>
                      <a:lnTo>
                        <a:pt x="452" y="121"/>
                      </a:lnTo>
                      <a:lnTo>
                        <a:pt x="448" y="133"/>
                      </a:lnTo>
                      <a:lnTo>
                        <a:pt x="442" y="149"/>
                      </a:lnTo>
                      <a:lnTo>
                        <a:pt x="434" y="158"/>
                      </a:lnTo>
                      <a:lnTo>
                        <a:pt x="412" y="180"/>
                      </a:lnTo>
                      <a:lnTo>
                        <a:pt x="407" y="188"/>
                      </a:lnTo>
                      <a:lnTo>
                        <a:pt x="403" y="208"/>
                      </a:lnTo>
                      <a:lnTo>
                        <a:pt x="402" y="215"/>
                      </a:lnTo>
                      <a:lnTo>
                        <a:pt x="387" y="233"/>
                      </a:lnTo>
                      <a:lnTo>
                        <a:pt x="383" y="239"/>
                      </a:lnTo>
                      <a:lnTo>
                        <a:pt x="380" y="248"/>
                      </a:lnTo>
                      <a:lnTo>
                        <a:pt x="377" y="253"/>
                      </a:lnTo>
                      <a:lnTo>
                        <a:pt x="364" y="265"/>
                      </a:lnTo>
                      <a:lnTo>
                        <a:pt x="358" y="269"/>
                      </a:lnTo>
                      <a:lnTo>
                        <a:pt x="338" y="274"/>
                      </a:lnTo>
                      <a:lnTo>
                        <a:pt x="331" y="278"/>
                      </a:lnTo>
                      <a:lnTo>
                        <a:pt x="328" y="283"/>
                      </a:lnTo>
                      <a:lnTo>
                        <a:pt x="321" y="301"/>
                      </a:lnTo>
                      <a:lnTo>
                        <a:pt x="319" y="310"/>
                      </a:lnTo>
                      <a:lnTo>
                        <a:pt x="318" y="324"/>
                      </a:lnTo>
                      <a:lnTo>
                        <a:pt x="318" y="333"/>
                      </a:lnTo>
                      <a:lnTo>
                        <a:pt x="320" y="343"/>
                      </a:lnTo>
                      <a:lnTo>
                        <a:pt x="319" y="350"/>
                      </a:lnTo>
                      <a:lnTo>
                        <a:pt x="304" y="351"/>
                      </a:lnTo>
                      <a:lnTo>
                        <a:pt x="268" y="361"/>
                      </a:lnTo>
                      <a:lnTo>
                        <a:pt x="188" y="390"/>
                      </a:lnTo>
                      <a:lnTo>
                        <a:pt x="170" y="388"/>
                      </a:lnTo>
                      <a:lnTo>
                        <a:pt x="149" y="394"/>
                      </a:lnTo>
                      <a:lnTo>
                        <a:pt x="138" y="395"/>
                      </a:lnTo>
                      <a:lnTo>
                        <a:pt x="142" y="389"/>
                      </a:lnTo>
                      <a:lnTo>
                        <a:pt x="144" y="385"/>
                      </a:lnTo>
                      <a:lnTo>
                        <a:pt x="149" y="376"/>
                      </a:lnTo>
                      <a:lnTo>
                        <a:pt x="153" y="361"/>
                      </a:lnTo>
                      <a:lnTo>
                        <a:pt x="160" y="353"/>
                      </a:lnTo>
                      <a:lnTo>
                        <a:pt x="173" y="365"/>
                      </a:lnTo>
                      <a:lnTo>
                        <a:pt x="174" y="369"/>
                      </a:lnTo>
                      <a:lnTo>
                        <a:pt x="177" y="373"/>
                      </a:lnTo>
                      <a:lnTo>
                        <a:pt x="180" y="366"/>
                      </a:lnTo>
                      <a:lnTo>
                        <a:pt x="187" y="363"/>
                      </a:lnTo>
                      <a:lnTo>
                        <a:pt x="199" y="356"/>
                      </a:lnTo>
                      <a:lnTo>
                        <a:pt x="212" y="349"/>
                      </a:lnTo>
                      <a:lnTo>
                        <a:pt x="229" y="338"/>
                      </a:lnTo>
                      <a:lnTo>
                        <a:pt x="237" y="334"/>
                      </a:lnTo>
                      <a:lnTo>
                        <a:pt x="245" y="320"/>
                      </a:lnTo>
                      <a:lnTo>
                        <a:pt x="252" y="321"/>
                      </a:lnTo>
                      <a:lnTo>
                        <a:pt x="252" y="333"/>
                      </a:lnTo>
                      <a:lnTo>
                        <a:pt x="250" y="340"/>
                      </a:lnTo>
                      <a:lnTo>
                        <a:pt x="254" y="341"/>
                      </a:lnTo>
                      <a:lnTo>
                        <a:pt x="257" y="333"/>
                      </a:lnTo>
                      <a:lnTo>
                        <a:pt x="255" y="323"/>
                      </a:lnTo>
                      <a:lnTo>
                        <a:pt x="265" y="326"/>
                      </a:lnTo>
                      <a:lnTo>
                        <a:pt x="269" y="323"/>
                      </a:lnTo>
                      <a:lnTo>
                        <a:pt x="257" y="318"/>
                      </a:lnTo>
                      <a:lnTo>
                        <a:pt x="260" y="309"/>
                      </a:lnTo>
                      <a:lnTo>
                        <a:pt x="262" y="303"/>
                      </a:lnTo>
                      <a:lnTo>
                        <a:pt x="260" y="300"/>
                      </a:lnTo>
                      <a:lnTo>
                        <a:pt x="252" y="288"/>
                      </a:lnTo>
                      <a:lnTo>
                        <a:pt x="244" y="283"/>
                      </a:lnTo>
                      <a:lnTo>
                        <a:pt x="239" y="285"/>
                      </a:lnTo>
                      <a:lnTo>
                        <a:pt x="222" y="279"/>
                      </a:lnTo>
                      <a:lnTo>
                        <a:pt x="215" y="285"/>
                      </a:lnTo>
                      <a:lnTo>
                        <a:pt x="210" y="284"/>
                      </a:lnTo>
                      <a:lnTo>
                        <a:pt x="208" y="293"/>
                      </a:lnTo>
                      <a:lnTo>
                        <a:pt x="208" y="301"/>
                      </a:lnTo>
                      <a:lnTo>
                        <a:pt x="200" y="304"/>
                      </a:lnTo>
                      <a:lnTo>
                        <a:pt x="200" y="295"/>
                      </a:lnTo>
                      <a:lnTo>
                        <a:pt x="195" y="296"/>
                      </a:lnTo>
                      <a:lnTo>
                        <a:pt x="188" y="293"/>
                      </a:lnTo>
                      <a:lnTo>
                        <a:pt x="180" y="293"/>
                      </a:lnTo>
                      <a:lnTo>
                        <a:pt x="173" y="294"/>
                      </a:lnTo>
                      <a:lnTo>
                        <a:pt x="167" y="299"/>
                      </a:lnTo>
                      <a:lnTo>
                        <a:pt x="160" y="294"/>
                      </a:lnTo>
                      <a:lnTo>
                        <a:pt x="152" y="298"/>
                      </a:lnTo>
                      <a:lnTo>
                        <a:pt x="143" y="296"/>
                      </a:lnTo>
                      <a:lnTo>
                        <a:pt x="139" y="295"/>
                      </a:lnTo>
                      <a:lnTo>
                        <a:pt x="133" y="285"/>
                      </a:lnTo>
                      <a:lnTo>
                        <a:pt x="123" y="274"/>
                      </a:lnTo>
                      <a:lnTo>
                        <a:pt x="115" y="271"/>
                      </a:lnTo>
                      <a:lnTo>
                        <a:pt x="117" y="259"/>
                      </a:lnTo>
                      <a:lnTo>
                        <a:pt x="124" y="239"/>
                      </a:lnTo>
                      <a:lnTo>
                        <a:pt x="123" y="226"/>
                      </a:lnTo>
                      <a:lnTo>
                        <a:pt x="119" y="233"/>
                      </a:lnTo>
                      <a:lnTo>
                        <a:pt x="114" y="245"/>
                      </a:lnTo>
                      <a:lnTo>
                        <a:pt x="107" y="256"/>
                      </a:lnTo>
                      <a:lnTo>
                        <a:pt x="104" y="264"/>
                      </a:lnTo>
                      <a:lnTo>
                        <a:pt x="102" y="273"/>
                      </a:lnTo>
                      <a:lnTo>
                        <a:pt x="98" y="299"/>
                      </a:lnTo>
                      <a:lnTo>
                        <a:pt x="102" y="305"/>
                      </a:lnTo>
                      <a:lnTo>
                        <a:pt x="107" y="313"/>
                      </a:lnTo>
                      <a:lnTo>
                        <a:pt x="117" y="319"/>
                      </a:lnTo>
                      <a:lnTo>
                        <a:pt x="120" y="329"/>
                      </a:lnTo>
                      <a:lnTo>
                        <a:pt x="120" y="338"/>
                      </a:lnTo>
                      <a:lnTo>
                        <a:pt x="110" y="336"/>
                      </a:lnTo>
                      <a:lnTo>
                        <a:pt x="97" y="330"/>
                      </a:lnTo>
                      <a:lnTo>
                        <a:pt x="74" y="316"/>
                      </a:lnTo>
                      <a:lnTo>
                        <a:pt x="69" y="310"/>
                      </a:lnTo>
                      <a:lnTo>
                        <a:pt x="69" y="301"/>
                      </a:lnTo>
                      <a:lnTo>
                        <a:pt x="73" y="293"/>
                      </a:lnTo>
                      <a:lnTo>
                        <a:pt x="74" y="284"/>
                      </a:lnTo>
                      <a:lnTo>
                        <a:pt x="78" y="276"/>
                      </a:lnTo>
                      <a:lnTo>
                        <a:pt x="77" y="269"/>
                      </a:lnTo>
                      <a:lnTo>
                        <a:pt x="74" y="259"/>
                      </a:lnTo>
                      <a:lnTo>
                        <a:pt x="69" y="251"/>
                      </a:lnTo>
                      <a:lnTo>
                        <a:pt x="63" y="251"/>
                      </a:lnTo>
                      <a:lnTo>
                        <a:pt x="60" y="240"/>
                      </a:lnTo>
                      <a:lnTo>
                        <a:pt x="60" y="228"/>
                      </a:lnTo>
                      <a:lnTo>
                        <a:pt x="60" y="211"/>
                      </a:lnTo>
                      <a:lnTo>
                        <a:pt x="69" y="194"/>
                      </a:lnTo>
                      <a:lnTo>
                        <a:pt x="74" y="185"/>
                      </a:lnTo>
                      <a:lnTo>
                        <a:pt x="78" y="176"/>
                      </a:lnTo>
                      <a:lnTo>
                        <a:pt x="83" y="168"/>
                      </a:lnTo>
                      <a:lnTo>
                        <a:pt x="84" y="154"/>
                      </a:lnTo>
                      <a:lnTo>
                        <a:pt x="85" y="145"/>
                      </a:lnTo>
                      <a:lnTo>
                        <a:pt x="80" y="143"/>
                      </a:lnTo>
                      <a:lnTo>
                        <a:pt x="74" y="159"/>
                      </a:lnTo>
                      <a:lnTo>
                        <a:pt x="72" y="169"/>
                      </a:lnTo>
                      <a:lnTo>
                        <a:pt x="69" y="159"/>
                      </a:lnTo>
                      <a:lnTo>
                        <a:pt x="69" y="151"/>
                      </a:lnTo>
                      <a:lnTo>
                        <a:pt x="63" y="150"/>
                      </a:lnTo>
                      <a:lnTo>
                        <a:pt x="67" y="173"/>
                      </a:lnTo>
                      <a:lnTo>
                        <a:pt x="57" y="175"/>
                      </a:lnTo>
                      <a:lnTo>
                        <a:pt x="55" y="165"/>
                      </a:lnTo>
                      <a:lnTo>
                        <a:pt x="52" y="165"/>
                      </a:lnTo>
                      <a:lnTo>
                        <a:pt x="50" y="176"/>
                      </a:lnTo>
                      <a:lnTo>
                        <a:pt x="43" y="179"/>
                      </a:lnTo>
                      <a:lnTo>
                        <a:pt x="32" y="176"/>
                      </a:lnTo>
                      <a:lnTo>
                        <a:pt x="25" y="169"/>
                      </a:lnTo>
                      <a:lnTo>
                        <a:pt x="22" y="160"/>
                      </a:lnTo>
                      <a:lnTo>
                        <a:pt x="15" y="144"/>
                      </a:lnTo>
                      <a:lnTo>
                        <a:pt x="10" y="136"/>
                      </a:lnTo>
                      <a:lnTo>
                        <a:pt x="5" y="129"/>
                      </a:lnTo>
                      <a:lnTo>
                        <a:pt x="0" y="120"/>
                      </a:lnTo>
                      <a:lnTo>
                        <a:pt x="2" y="83"/>
                      </a:lnTo>
                      <a:lnTo>
                        <a:pt x="3" y="73"/>
                      </a:lnTo>
                      <a:lnTo>
                        <a:pt x="22" y="45"/>
                      </a:lnTo>
                      <a:lnTo>
                        <a:pt x="33" y="23"/>
                      </a:lnTo>
                      <a:lnTo>
                        <a:pt x="35" y="18"/>
                      </a:lnTo>
                      <a:lnTo>
                        <a:pt x="39" y="15"/>
                      </a:lnTo>
                      <a:lnTo>
                        <a:pt x="42" y="18"/>
                      </a:lnTo>
                      <a:lnTo>
                        <a:pt x="48" y="21"/>
                      </a:lnTo>
                      <a:lnTo>
                        <a:pt x="54" y="20"/>
                      </a:lnTo>
                      <a:lnTo>
                        <a:pt x="63" y="15"/>
                      </a:lnTo>
                      <a:lnTo>
                        <a:pt x="70" y="11"/>
                      </a:lnTo>
                      <a:lnTo>
                        <a:pt x="95" y="6"/>
                      </a:lnTo>
                      <a:lnTo>
                        <a:pt x="104" y="1"/>
                      </a:lnTo>
                      <a:lnTo>
                        <a:pt x="113" y="0"/>
                      </a:lnTo>
                      <a:lnTo>
                        <a:pt x="118" y="1"/>
                      </a:lnTo>
                      <a:lnTo>
                        <a:pt x="129" y="10"/>
                      </a:lnTo>
                      <a:lnTo>
                        <a:pt x="137" y="14"/>
                      </a:lnTo>
                      <a:lnTo>
                        <a:pt x="140" y="18"/>
                      </a:lnTo>
                      <a:lnTo>
                        <a:pt x="143" y="23"/>
                      </a:lnTo>
                      <a:lnTo>
                        <a:pt x="144" y="29"/>
                      </a:lnTo>
                      <a:lnTo>
                        <a:pt x="148" y="33"/>
                      </a:lnTo>
                      <a:lnTo>
                        <a:pt x="152" y="35"/>
                      </a:lnTo>
                      <a:lnTo>
                        <a:pt x="155" y="39"/>
                      </a:lnTo>
                      <a:lnTo>
                        <a:pt x="160" y="49"/>
                      </a:lnTo>
                      <a:lnTo>
                        <a:pt x="163" y="51"/>
                      </a:lnTo>
                      <a:lnTo>
                        <a:pt x="167" y="53"/>
                      </a:lnTo>
                      <a:lnTo>
                        <a:pt x="173" y="53"/>
                      </a:lnTo>
                      <a:lnTo>
                        <a:pt x="178" y="55"/>
                      </a:lnTo>
                      <a:lnTo>
                        <a:pt x="183" y="58"/>
                      </a:lnTo>
                      <a:lnTo>
                        <a:pt x="195" y="68"/>
                      </a:lnTo>
                      <a:lnTo>
                        <a:pt x="199" y="70"/>
                      </a:lnTo>
                      <a:lnTo>
                        <a:pt x="204" y="70"/>
                      </a:lnTo>
                      <a:lnTo>
                        <a:pt x="212" y="70"/>
                      </a:lnTo>
                      <a:lnTo>
                        <a:pt x="238" y="58"/>
                      </a:lnTo>
                      <a:lnTo>
                        <a:pt x="244" y="56"/>
                      </a:lnTo>
                      <a:lnTo>
                        <a:pt x="249" y="58"/>
                      </a:lnTo>
                      <a:lnTo>
                        <a:pt x="267" y="66"/>
                      </a:lnTo>
                      <a:lnTo>
                        <a:pt x="274" y="69"/>
                      </a:lnTo>
                      <a:lnTo>
                        <a:pt x="280" y="73"/>
                      </a:lnTo>
                      <a:lnTo>
                        <a:pt x="289" y="80"/>
                      </a:lnTo>
                      <a:lnTo>
                        <a:pt x="295" y="83"/>
                      </a:lnTo>
                      <a:lnTo>
                        <a:pt x="302" y="83"/>
                      </a:lnTo>
                      <a:lnTo>
                        <a:pt x="319" y="75"/>
                      </a:lnTo>
                      <a:lnTo>
                        <a:pt x="329" y="68"/>
                      </a:lnTo>
                      <a:lnTo>
                        <a:pt x="333" y="64"/>
                      </a:lnTo>
                      <a:lnTo>
                        <a:pt x="352" y="56"/>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8" name="Gifu" descr="{&quot;Key&quot;:&quot;gifu&quot;,&quot;Name&quot;:&quot;Gifu&quot;,&quot;Value&quot;:1.0,&quot;Formula&quot;:&quot;&quot;,&quot;Text&quot;:&quot;&quot;,&quot;OfficeApplication&quot;:1,&quot;HasValue&quot;:true}">
                  <a:extLst>
                    <a:ext uri="{FF2B5EF4-FFF2-40B4-BE49-F238E27FC236}">
                      <a16:creationId xmlns:a16="http://schemas.microsoft.com/office/drawing/2014/main" id="{BF8D987B-6C10-4442-A550-4B87E200A7EA}"/>
                    </a:ext>
                  </a:extLst>
                </p:cNvPr>
                <p:cNvSpPr>
                  <a:spLocks/>
                </p:cNvSpPr>
                <p:nvPr/>
              </p:nvSpPr>
              <p:spPr bwMode="auto">
                <a:xfrm>
                  <a:off x="6030913" y="3455988"/>
                  <a:ext cx="320675" cy="379412"/>
                </a:xfrm>
                <a:custGeom>
                  <a:avLst/>
                  <a:gdLst>
                    <a:gd name="T0" fmla="*/ 550 w 550"/>
                    <a:gd name="T1" fmla="*/ 68 h 650"/>
                    <a:gd name="T2" fmla="*/ 538 w 550"/>
                    <a:gd name="T3" fmla="*/ 100 h 650"/>
                    <a:gd name="T4" fmla="*/ 526 w 550"/>
                    <a:gd name="T5" fmla="*/ 138 h 650"/>
                    <a:gd name="T6" fmla="*/ 517 w 550"/>
                    <a:gd name="T7" fmla="*/ 175 h 650"/>
                    <a:gd name="T8" fmla="*/ 532 w 550"/>
                    <a:gd name="T9" fmla="*/ 203 h 650"/>
                    <a:gd name="T10" fmla="*/ 493 w 550"/>
                    <a:gd name="T11" fmla="*/ 266 h 650"/>
                    <a:gd name="T12" fmla="*/ 471 w 550"/>
                    <a:gd name="T13" fmla="*/ 281 h 650"/>
                    <a:gd name="T14" fmla="*/ 435 w 550"/>
                    <a:gd name="T15" fmla="*/ 313 h 650"/>
                    <a:gd name="T16" fmla="*/ 442 w 550"/>
                    <a:gd name="T17" fmla="*/ 334 h 650"/>
                    <a:gd name="T18" fmla="*/ 457 w 550"/>
                    <a:gd name="T19" fmla="*/ 346 h 650"/>
                    <a:gd name="T20" fmla="*/ 488 w 550"/>
                    <a:gd name="T21" fmla="*/ 382 h 650"/>
                    <a:gd name="T22" fmla="*/ 505 w 550"/>
                    <a:gd name="T23" fmla="*/ 412 h 650"/>
                    <a:gd name="T24" fmla="*/ 516 w 550"/>
                    <a:gd name="T25" fmla="*/ 459 h 650"/>
                    <a:gd name="T26" fmla="*/ 537 w 550"/>
                    <a:gd name="T27" fmla="*/ 495 h 650"/>
                    <a:gd name="T28" fmla="*/ 541 w 550"/>
                    <a:gd name="T29" fmla="*/ 530 h 650"/>
                    <a:gd name="T30" fmla="*/ 526 w 550"/>
                    <a:gd name="T31" fmla="*/ 536 h 650"/>
                    <a:gd name="T32" fmla="*/ 525 w 550"/>
                    <a:gd name="T33" fmla="*/ 570 h 650"/>
                    <a:gd name="T34" fmla="*/ 486 w 550"/>
                    <a:gd name="T35" fmla="*/ 605 h 650"/>
                    <a:gd name="T36" fmla="*/ 447 w 550"/>
                    <a:gd name="T37" fmla="*/ 603 h 650"/>
                    <a:gd name="T38" fmla="*/ 411 w 550"/>
                    <a:gd name="T39" fmla="*/ 586 h 650"/>
                    <a:gd name="T40" fmla="*/ 366 w 550"/>
                    <a:gd name="T41" fmla="*/ 600 h 650"/>
                    <a:gd name="T42" fmla="*/ 340 w 550"/>
                    <a:gd name="T43" fmla="*/ 583 h 650"/>
                    <a:gd name="T44" fmla="*/ 322 w 550"/>
                    <a:gd name="T45" fmla="*/ 569 h 650"/>
                    <a:gd name="T46" fmla="*/ 310 w 550"/>
                    <a:gd name="T47" fmla="*/ 553 h 650"/>
                    <a:gd name="T48" fmla="*/ 285 w 550"/>
                    <a:gd name="T49" fmla="*/ 531 h 650"/>
                    <a:gd name="T50" fmla="*/ 237 w 550"/>
                    <a:gd name="T51" fmla="*/ 541 h 650"/>
                    <a:gd name="T52" fmla="*/ 208 w 550"/>
                    <a:gd name="T53" fmla="*/ 547 h 650"/>
                    <a:gd name="T54" fmla="*/ 188 w 550"/>
                    <a:gd name="T55" fmla="*/ 575 h 650"/>
                    <a:gd name="T56" fmla="*/ 145 w 550"/>
                    <a:gd name="T57" fmla="*/ 641 h 650"/>
                    <a:gd name="T58" fmla="*/ 113 w 550"/>
                    <a:gd name="T59" fmla="*/ 609 h 650"/>
                    <a:gd name="T60" fmla="*/ 48 w 550"/>
                    <a:gd name="T61" fmla="*/ 605 h 650"/>
                    <a:gd name="T62" fmla="*/ 58 w 550"/>
                    <a:gd name="T63" fmla="*/ 542 h 650"/>
                    <a:gd name="T64" fmla="*/ 45 w 550"/>
                    <a:gd name="T65" fmla="*/ 463 h 650"/>
                    <a:gd name="T66" fmla="*/ 27 w 550"/>
                    <a:gd name="T67" fmla="*/ 456 h 650"/>
                    <a:gd name="T68" fmla="*/ 13 w 550"/>
                    <a:gd name="T69" fmla="*/ 423 h 650"/>
                    <a:gd name="T70" fmla="*/ 22 w 550"/>
                    <a:gd name="T71" fmla="*/ 346 h 650"/>
                    <a:gd name="T72" fmla="*/ 43 w 550"/>
                    <a:gd name="T73" fmla="*/ 341 h 650"/>
                    <a:gd name="T74" fmla="*/ 75 w 550"/>
                    <a:gd name="T75" fmla="*/ 346 h 650"/>
                    <a:gd name="T76" fmla="*/ 96 w 550"/>
                    <a:gd name="T77" fmla="*/ 346 h 650"/>
                    <a:gd name="T78" fmla="*/ 166 w 550"/>
                    <a:gd name="T79" fmla="*/ 338 h 650"/>
                    <a:gd name="T80" fmla="*/ 201 w 550"/>
                    <a:gd name="T81" fmla="*/ 332 h 650"/>
                    <a:gd name="T82" fmla="*/ 220 w 550"/>
                    <a:gd name="T83" fmla="*/ 306 h 650"/>
                    <a:gd name="T84" fmla="*/ 205 w 550"/>
                    <a:gd name="T85" fmla="*/ 275 h 650"/>
                    <a:gd name="T86" fmla="*/ 181 w 550"/>
                    <a:gd name="T87" fmla="*/ 264 h 650"/>
                    <a:gd name="T88" fmla="*/ 180 w 550"/>
                    <a:gd name="T89" fmla="*/ 239 h 650"/>
                    <a:gd name="T90" fmla="*/ 187 w 550"/>
                    <a:gd name="T91" fmla="*/ 195 h 650"/>
                    <a:gd name="T92" fmla="*/ 203 w 550"/>
                    <a:gd name="T93" fmla="*/ 145 h 650"/>
                    <a:gd name="T94" fmla="*/ 215 w 550"/>
                    <a:gd name="T95" fmla="*/ 93 h 650"/>
                    <a:gd name="T96" fmla="*/ 221 w 550"/>
                    <a:gd name="T97" fmla="*/ 81 h 650"/>
                    <a:gd name="T98" fmla="*/ 230 w 550"/>
                    <a:gd name="T99" fmla="*/ 61 h 650"/>
                    <a:gd name="T100" fmla="*/ 258 w 550"/>
                    <a:gd name="T101" fmla="*/ 56 h 650"/>
                    <a:gd name="T102" fmla="*/ 278 w 550"/>
                    <a:gd name="T103" fmla="*/ 70 h 650"/>
                    <a:gd name="T104" fmla="*/ 282 w 550"/>
                    <a:gd name="T105" fmla="*/ 89 h 650"/>
                    <a:gd name="T106" fmla="*/ 305 w 550"/>
                    <a:gd name="T107" fmla="*/ 69 h 650"/>
                    <a:gd name="T108" fmla="*/ 317 w 550"/>
                    <a:gd name="T109" fmla="*/ 48 h 650"/>
                    <a:gd name="T110" fmla="*/ 352 w 550"/>
                    <a:gd name="T111" fmla="*/ 13 h 650"/>
                    <a:gd name="T112" fmla="*/ 373 w 550"/>
                    <a:gd name="T113" fmla="*/ 11 h 650"/>
                    <a:gd name="T114" fmla="*/ 413 w 550"/>
                    <a:gd name="T115" fmla="*/ 0 h 650"/>
                    <a:gd name="T116" fmla="*/ 417 w 550"/>
                    <a:gd name="T117" fmla="*/ 15 h 650"/>
                    <a:gd name="T118" fmla="*/ 436 w 550"/>
                    <a:gd name="T119" fmla="*/ 6 h 650"/>
                    <a:gd name="T120" fmla="*/ 491 w 550"/>
                    <a:gd name="T121" fmla="*/ 23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0" h="650">
                      <a:moveTo>
                        <a:pt x="526" y="38"/>
                      </a:moveTo>
                      <a:lnTo>
                        <a:pt x="544" y="53"/>
                      </a:lnTo>
                      <a:lnTo>
                        <a:pt x="547" y="60"/>
                      </a:lnTo>
                      <a:lnTo>
                        <a:pt x="550" y="68"/>
                      </a:lnTo>
                      <a:lnTo>
                        <a:pt x="548" y="75"/>
                      </a:lnTo>
                      <a:lnTo>
                        <a:pt x="545" y="90"/>
                      </a:lnTo>
                      <a:lnTo>
                        <a:pt x="542" y="95"/>
                      </a:lnTo>
                      <a:lnTo>
                        <a:pt x="538" y="100"/>
                      </a:lnTo>
                      <a:lnTo>
                        <a:pt x="528" y="113"/>
                      </a:lnTo>
                      <a:lnTo>
                        <a:pt x="525" y="120"/>
                      </a:lnTo>
                      <a:lnTo>
                        <a:pt x="525" y="126"/>
                      </a:lnTo>
                      <a:lnTo>
                        <a:pt x="526" y="138"/>
                      </a:lnTo>
                      <a:lnTo>
                        <a:pt x="525" y="142"/>
                      </a:lnTo>
                      <a:lnTo>
                        <a:pt x="518" y="156"/>
                      </a:lnTo>
                      <a:lnTo>
                        <a:pt x="515" y="166"/>
                      </a:lnTo>
                      <a:lnTo>
                        <a:pt x="517" y="175"/>
                      </a:lnTo>
                      <a:lnTo>
                        <a:pt x="522" y="183"/>
                      </a:lnTo>
                      <a:lnTo>
                        <a:pt x="528" y="189"/>
                      </a:lnTo>
                      <a:lnTo>
                        <a:pt x="532" y="196"/>
                      </a:lnTo>
                      <a:lnTo>
                        <a:pt x="532" y="203"/>
                      </a:lnTo>
                      <a:lnTo>
                        <a:pt x="531" y="209"/>
                      </a:lnTo>
                      <a:lnTo>
                        <a:pt x="523" y="224"/>
                      </a:lnTo>
                      <a:lnTo>
                        <a:pt x="507" y="249"/>
                      </a:lnTo>
                      <a:lnTo>
                        <a:pt x="493" y="266"/>
                      </a:lnTo>
                      <a:lnTo>
                        <a:pt x="488" y="274"/>
                      </a:lnTo>
                      <a:lnTo>
                        <a:pt x="485" y="280"/>
                      </a:lnTo>
                      <a:lnTo>
                        <a:pt x="478" y="283"/>
                      </a:lnTo>
                      <a:lnTo>
                        <a:pt x="471" y="281"/>
                      </a:lnTo>
                      <a:lnTo>
                        <a:pt x="463" y="281"/>
                      </a:lnTo>
                      <a:lnTo>
                        <a:pt x="456" y="284"/>
                      </a:lnTo>
                      <a:lnTo>
                        <a:pt x="450" y="290"/>
                      </a:lnTo>
                      <a:lnTo>
                        <a:pt x="435" y="313"/>
                      </a:lnTo>
                      <a:lnTo>
                        <a:pt x="428" y="324"/>
                      </a:lnTo>
                      <a:lnTo>
                        <a:pt x="430" y="329"/>
                      </a:lnTo>
                      <a:lnTo>
                        <a:pt x="432" y="332"/>
                      </a:lnTo>
                      <a:lnTo>
                        <a:pt x="442" y="334"/>
                      </a:lnTo>
                      <a:lnTo>
                        <a:pt x="447" y="335"/>
                      </a:lnTo>
                      <a:lnTo>
                        <a:pt x="450" y="339"/>
                      </a:lnTo>
                      <a:lnTo>
                        <a:pt x="453" y="344"/>
                      </a:lnTo>
                      <a:lnTo>
                        <a:pt x="457" y="346"/>
                      </a:lnTo>
                      <a:lnTo>
                        <a:pt x="468" y="350"/>
                      </a:lnTo>
                      <a:lnTo>
                        <a:pt x="473" y="353"/>
                      </a:lnTo>
                      <a:lnTo>
                        <a:pt x="477" y="357"/>
                      </a:lnTo>
                      <a:lnTo>
                        <a:pt x="488" y="382"/>
                      </a:lnTo>
                      <a:lnTo>
                        <a:pt x="492" y="389"/>
                      </a:lnTo>
                      <a:lnTo>
                        <a:pt x="501" y="400"/>
                      </a:lnTo>
                      <a:lnTo>
                        <a:pt x="503" y="406"/>
                      </a:lnTo>
                      <a:lnTo>
                        <a:pt x="505" y="412"/>
                      </a:lnTo>
                      <a:lnTo>
                        <a:pt x="503" y="427"/>
                      </a:lnTo>
                      <a:lnTo>
                        <a:pt x="511" y="452"/>
                      </a:lnTo>
                      <a:lnTo>
                        <a:pt x="513" y="457"/>
                      </a:lnTo>
                      <a:lnTo>
                        <a:pt x="516" y="459"/>
                      </a:lnTo>
                      <a:lnTo>
                        <a:pt x="523" y="464"/>
                      </a:lnTo>
                      <a:lnTo>
                        <a:pt x="533" y="475"/>
                      </a:lnTo>
                      <a:lnTo>
                        <a:pt x="537" y="487"/>
                      </a:lnTo>
                      <a:lnTo>
                        <a:pt x="537" y="495"/>
                      </a:lnTo>
                      <a:lnTo>
                        <a:pt x="536" y="504"/>
                      </a:lnTo>
                      <a:lnTo>
                        <a:pt x="537" y="510"/>
                      </a:lnTo>
                      <a:lnTo>
                        <a:pt x="542" y="525"/>
                      </a:lnTo>
                      <a:lnTo>
                        <a:pt x="541" y="530"/>
                      </a:lnTo>
                      <a:lnTo>
                        <a:pt x="538" y="531"/>
                      </a:lnTo>
                      <a:lnTo>
                        <a:pt x="530" y="531"/>
                      </a:lnTo>
                      <a:lnTo>
                        <a:pt x="527" y="532"/>
                      </a:lnTo>
                      <a:lnTo>
                        <a:pt x="526" y="536"/>
                      </a:lnTo>
                      <a:lnTo>
                        <a:pt x="530" y="549"/>
                      </a:lnTo>
                      <a:lnTo>
                        <a:pt x="531" y="557"/>
                      </a:lnTo>
                      <a:lnTo>
                        <a:pt x="528" y="565"/>
                      </a:lnTo>
                      <a:lnTo>
                        <a:pt x="525" y="570"/>
                      </a:lnTo>
                      <a:lnTo>
                        <a:pt x="518" y="586"/>
                      </a:lnTo>
                      <a:lnTo>
                        <a:pt x="500" y="594"/>
                      </a:lnTo>
                      <a:lnTo>
                        <a:pt x="496" y="597"/>
                      </a:lnTo>
                      <a:lnTo>
                        <a:pt x="486" y="605"/>
                      </a:lnTo>
                      <a:lnTo>
                        <a:pt x="468" y="613"/>
                      </a:lnTo>
                      <a:lnTo>
                        <a:pt x="462" y="613"/>
                      </a:lnTo>
                      <a:lnTo>
                        <a:pt x="456" y="610"/>
                      </a:lnTo>
                      <a:lnTo>
                        <a:pt x="447" y="603"/>
                      </a:lnTo>
                      <a:lnTo>
                        <a:pt x="441" y="599"/>
                      </a:lnTo>
                      <a:lnTo>
                        <a:pt x="433" y="596"/>
                      </a:lnTo>
                      <a:lnTo>
                        <a:pt x="416" y="588"/>
                      </a:lnTo>
                      <a:lnTo>
                        <a:pt x="411" y="586"/>
                      </a:lnTo>
                      <a:lnTo>
                        <a:pt x="405" y="588"/>
                      </a:lnTo>
                      <a:lnTo>
                        <a:pt x="378" y="600"/>
                      </a:lnTo>
                      <a:lnTo>
                        <a:pt x="371" y="600"/>
                      </a:lnTo>
                      <a:lnTo>
                        <a:pt x="366" y="600"/>
                      </a:lnTo>
                      <a:lnTo>
                        <a:pt x="362" y="598"/>
                      </a:lnTo>
                      <a:lnTo>
                        <a:pt x="350" y="588"/>
                      </a:lnTo>
                      <a:lnTo>
                        <a:pt x="345" y="585"/>
                      </a:lnTo>
                      <a:lnTo>
                        <a:pt x="340" y="583"/>
                      </a:lnTo>
                      <a:lnTo>
                        <a:pt x="333" y="583"/>
                      </a:lnTo>
                      <a:lnTo>
                        <a:pt x="330" y="581"/>
                      </a:lnTo>
                      <a:lnTo>
                        <a:pt x="327" y="579"/>
                      </a:lnTo>
                      <a:lnTo>
                        <a:pt x="322" y="569"/>
                      </a:lnTo>
                      <a:lnTo>
                        <a:pt x="318" y="565"/>
                      </a:lnTo>
                      <a:lnTo>
                        <a:pt x="315" y="563"/>
                      </a:lnTo>
                      <a:lnTo>
                        <a:pt x="311" y="559"/>
                      </a:lnTo>
                      <a:lnTo>
                        <a:pt x="310" y="553"/>
                      </a:lnTo>
                      <a:lnTo>
                        <a:pt x="307" y="548"/>
                      </a:lnTo>
                      <a:lnTo>
                        <a:pt x="303" y="544"/>
                      </a:lnTo>
                      <a:lnTo>
                        <a:pt x="296" y="540"/>
                      </a:lnTo>
                      <a:lnTo>
                        <a:pt x="285" y="531"/>
                      </a:lnTo>
                      <a:lnTo>
                        <a:pt x="280" y="530"/>
                      </a:lnTo>
                      <a:lnTo>
                        <a:pt x="271" y="531"/>
                      </a:lnTo>
                      <a:lnTo>
                        <a:pt x="262" y="536"/>
                      </a:lnTo>
                      <a:lnTo>
                        <a:pt x="237" y="541"/>
                      </a:lnTo>
                      <a:lnTo>
                        <a:pt x="230" y="545"/>
                      </a:lnTo>
                      <a:lnTo>
                        <a:pt x="221" y="550"/>
                      </a:lnTo>
                      <a:lnTo>
                        <a:pt x="215" y="551"/>
                      </a:lnTo>
                      <a:lnTo>
                        <a:pt x="208" y="547"/>
                      </a:lnTo>
                      <a:lnTo>
                        <a:pt x="206" y="545"/>
                      </a:lnTo>
                      <a:lnTo>
                        <a:pt x="202" y="547"/>
                      </a:lnTo>
                      <a:lnTo>
                        <a:pt x="200" y="552"/>
                      </a:lnTo>
                      <a:lnTo>
                        <a:pt x="188" y="575"/>
                      </a:lnTo>
                      <a:lnTo>
                        <a:pt x="170" y="602"/>
                      </a:lnTo>
                      <a:lnTo>
                        <a:pt x="168" y="612"/>
                      </a:lnTo>
                      <a:lnTo>
                        <a:pt x="167" y="650"/>
                      </a:lnTo>
                      <a:lnTo>
                        <a:pt x="145" y="641"/>
                      </a:lnTo>
                      <a:lnTo>
                        <a:pt x="132" y="632"/>
                      </a:lnTo>
                      <a:lnTo>
                        <a:pt x="121" y="624"/>
                      </a:lnTo>
                      <a:lnTo>
                        <a:pt x="117" y="619"/>
                      </a:lnTo>
                      <a:lnTo>
                        <a:pt x="113" y="609"/>
                      </a:lnTo>
                      <a:lnTo>
                        <a:pt x="108" y="606"/>
                      </a:lnTo>
                      <a:lnTo>
                        <a:pt x="103" y="605"/>
                      </a:lnTo>
                      <a:lnTo>
                        <a:pt x="57" y="619"/>
                      </a:lnTo>
                      <a:lnTo>
                        <a:pt x="48" y="605"/>
                      </a:lnTo>
                      <a:lnTo>
                        <a:pt x="47" y="588"/>
                      </a:lnTo>
                      <a:lnTo>
                        <a:pt x="55" y="563"/>
                      </a:lnTo>
                      <a:lnTo>
                        <a:pt x="57" y="550"/>
                      </a:lnTo>
                      <a:lnTo>
                        <a:pt x="58" y="542"/>
                      </a:lnTo>
                      <a:lnTo>
                        <a:pt x="61" y="525"/>
                      </a:lnTo>
                      <a:lnTo>
                        <a:pt x="56" y="496"/>
                      </a:lnTo>
                      <a:lnTo>
                        <a:pt x="50" y="473"/>
                      </a:lnTo>
                      <a:lnTo>
                        <a:pt x="45" y="463"/>
                      </a:lnTo>
                      <a:lnTo>
                        <a:pt x="41" y="456"/>
                      </a:lnTo>
                      <a:lnTo>
                        <a:pt x="36" y="455"/>
                      </a:lnTo>
                      <a:lnTo>
                        <a:pt x="32" y="456"/>
                      </a:lnTo>
                      <a:lnTo>
                        <a:pt x="27" y="456"/>
                      </a:lnTo>
                      <a:lnTo>
                        <a:pt x="22" y="453"/>
                      </a:lnTo>
                      <a:lnTo>
                        <a:pt x="16" y="441"/>
                      </a:lnTo>
                      <a:lnTo>
                        <a:pt x="15" y="433"/>
                      </a:lnTo>
                      <a:lnTo>
                        <a:pt x="13" y="423"/>
                      </a:lnTo>
                      <a:lnTo>
                        <a:pt x="0" y="400"/>
                      </a:lnTo>
                      <a:lnTo>
                        <a:pt x="13" y="376"/>
                      </a:lnTo>
                      <a:lnTo>
                        <a:pt x="18" y="351"/>
                      </a:lnTo>
                      <a:lnTo>
                        <a:pt x="22" y="346"/>
                      </a:lnTo>
                      <a:lnTo>
                        <a:pt x="27" y="343"/>
                      </a:lnTo>
                      <a:lnTo>
                        <a:pt x="32" y="341"/>
                      </a:lnTo>
                      <a:lnTo>
                        <a:pt x="37" y="340"/>
                      </a:lnTo>
                      <a:lnTo>
                        <a:pt x="43" y="341"/>
                      </a:lnTo>
                      <a:lnTo>
                        <a:pt x="57" y="346"/>
                      </a:lnTo>
                      <a:lnTo>
                        <a:pt x="63" y="348"/>
                      </a:lnTo>
                      <a:lnTo>
                        <a:pt x="70" y="346"/>
                      </a:lnTo>
                      <a:lnTo>
                        <a:pt x="75" y="346"/>
                      </a:lnTo>
                      <a:lnTo>
                        <a:pt x="80" y="348"/>
                      </a:lnTo>
                      <a:lnTo>
                        <a:pt x="88" y="354"/>
                      </a:lnTo>
                      <a:lnTo>
                        <a:pt x="91" y="354"/>
                      </a:lnTo>
                      <a:lnTo>
                        <a:pt x="96" y="346"/>
                      </a:lnTo>
                      <a:lnTo>
                        <a:pt x="101" y="342"/>
                      </a:lnTo>
                      <a:lnTo>
                        <a:pt x="142" y="334"/>
                      </a:lnTo>
                      <a:lnTo>
                        <a:pt x="152" y="334"/>
                      </a:lnTo>
                      <a:lnTo>
                        <a:pt x="166" y="338"/>
                      </a:lnTo>
                      <a:lnTo>
                        <a:pt x="173" y="336"/>
                      </a:lnTo>
                      <a:lnTo>
                        <a:pt x="182" y="334"/>
                      </a:lnTo>
                      <a:lnTo>
                        <a:pt x="188" y="332"/>
                      </a:lnTo>
                      <a:lnTo>
                        <a:pt x="201" y="332"/>
                      </a:lnTo>
                      <a:lnTo>
                        <a:pt x="206" y="329"/>
                      </a:lnTo>
                      <a:lnTo>
                        <a:pt x="211" y="317"/>
                      </a:lnTo>
                      <a:lnTo>
                        <a:pt x="216" y="313"/>
                      </a:lnTo>
                      <a:lnTo>
                        <a:pt x="220" y="306"/>
                      </a:lnTo>
                      <a:lnTo>
                        <a:pt x="218" y="299"/>
                      </a:lnTo>
                      <a:lnTo>
                        <a:pt x="215" y="290"/>
                      </a:lnTo>
                      <a:lnTo>
                        <a:pt x="210" y="281"/>
                      </a:lnTo>
                      <a:lnTo>
                        <a:pt x="205" y="275"/>
                      </a:lnTo>
                      <a:lnTo>
                        <a:pt x="200" y="273"/>
                      </a:lnTo>
                      <a:lnTo>
                        <a:pt x="190" y="270"/>
                      </a:lnTo>
                      <a:lnTo>
                        <a:pt x="185" y="268"/>
                      </a:lnTo>
                      <a:lnTo>
                        <a:pt x="181" y="264"/>
                      </a:lnTo>
                      <a:lnTo>
                        <a:pt x="178" y="259"/>
                      </a:lnTo>
                      <a:lnTo>
                        <a:pt x="177" y="253"/>
                      </a:lnTo>
                      <a:lnTo>
                        <a:pt x="177" y="246"/>
                      </a:lnTo>
                      <a:lnTo>
                        <a:pt x="180" y="239"/>
                      </a:lnTo>
                      <a:lnTo>
                        <a:pt x="181" y="218"/>
                      </a:lnTo>
                      <a:lnTo>
                        <a:pt x="185" y="205"/>
                      </a:lnTo>
                      <a:lnTo>
                        <a:pt x="187" y="199"/>
                      </a:lnTo>
                      <a:lnTo>
                        <a:pt x="187" y="195"/>
                      </a:lnTo>
                      <a:lnTo>
                        <a:pt x="186" y="188"/>
                      </a:lnTo>
                      <a:lnTo>
                        <a:pt x="196" y="173"/>
                      </a:lnTo>
                      <a:lnTo>
                        <a:pt x="200" y="151"/>
                      </a:lnTo>
                      <a:lnTo>
                        <a:pt x="203" y="145"/>
                      </a:lnTo>
                      <a:lnTo>
                        <a:pt x="223" y="115"/>
                      </a:lnTo>
                      <a:lnTo>
                        <a:pt x="225" y="108"/>
                      </a:lnTo>
                      <a:lnTo>
                        <a:pt x="223" y="103"/>
                      </a:lnTo>
                      <a:lnTo>
                        <a:pt x="215" y="93"/>
                      </a:lnTo>
                      <a:lnTo>
                        <a:pt x="212" y="89"/>
                      </a:lnTo>
                      <a:lnTo>
                        <a:pt x="207" y="80"/>
                      </a:lnTo>
                      <a:lnTo>
                        <a:pt x="217" y="81"/>
                      </a:lnTo>
                      <a:lnTo>
                        <a:pt x="221" y="81"/>
                      </a:lnTo>
                      <a:lnTo>
                        <a:pt x="223" y="79"/>
                      </a:lnTo>
                      <a:lnTo>
                        <a:pt x="226" y="74"/>
                      </a:lnTo>
                      <a:lnTo>
                        <a:pt x="227" y="68"/>
                      </a:lnTo>
                      <a:lnTo>
                        <a:pt x="230" y="61"/>
                      </a:lnTo>
                      <a:lnTo>
                        <a:pt x="233" y="56"/>
                      </a:lnTo>
                      <a:lnTo>
                        <a:pt x="238" y="54"/>
                      </a:lnTo>
                      <a:lnTo>
                        <a:pt x="251" y="56"/>
                      </a:lnTo>
                      <a:lnTo>
                        <a:pt x="258" y="56"/>
                      </a:lnTo>
                      <a:lnTo>
                        <a:pt x="267" y="59"/>
                      </a:lnTo>
                      <a:lnTo>
                        <a:pt x="272" y="63"/>
                      </a:lnTo>
                      <a:lnTo>
                        <a:pt x="276" y="66"/>
                      </a:lnTo>
                      <a:lnTo>
                        <a:pt x="278" y="70"/>
                      </a:lnTo>
                      <a:lnTo>
                        <a:pt x="278" y="74"/>
                      </a:lnTo>
                      <a:lnTo>
                        <a:pt x="276" y="84"/>
                      </a:lnTo>
                      <a:lnTo>
                        <a:pt x="277" y="88"/>
                      </a:lnTo>
                      <a:lnTo>
                        <a:pt x="282" y="89"/>
                      </a:lnTo>
                      <a:lnTo>
                        <a:pt x="290" y="84"/>
                      </a:lnTo>
                      <a:lnTo>
                        <a:pt x="298" y="74"/>
                      </a:lnTo>
                      <a:lnTo>
                        <a:pt x="301" y="71"/>
                      </a:lnTo>
                      <a:lnTo>
                        <a:pt x="305" y="69"/>
                      </a:lnTo>
                      <a:lnTo>
                        <a:pt x="310" y="66"/>
                      </a:lnTo>
                      <a:lnTo>
                        <a:pt x="312" y="60"/>
                      </a:lnTo>
                      <a:lnTo>
                        <a:pt x="315" y="50"/>
                      </a:lnTo>
                      <a:lnTo>
                        <a:pt x="317" y="48"/>
                      </a:lnTo>
                      <a:lnTo>
                        <a:pt x="320" y="44"/>
                      </a:lnTo>
                      <a:lnTo>
                        <a:pt x="326" y="41"/>
                      </a:lnTo>
                      <a:lnTo>
                        <a:pt x="331" y="36"/>
                      </a:lnTo>
                      <a:lnTo>
                        <a:pt x="352" y="13"/>
                      </a:lnTo>
                      <a:lnTo>
                        <a:pt x="357" y="9"/>
                      </a:lnTo>
                      <a:lnTo>
                        <a:pt x="363" y="8"/>
                      </a:lnTo>
                      <a:lnTo>
                        <a:pt x="370" y="10"/>
                      </a:lnTo>
                      <a:lnTo>
                        <a:pt x="373" y="11"/>
                      </a:lnTo>
                      <a:lnTo>
                        <a:pt x="378" y="11"/>
                      </a:lnTo>
                      <a:lnTo>
                        <a:pt x="405" y="0"/>
                      </a:lnTo>
                      <a:lnTo>
                        <a:pt x="410" y="0"/>
                      </a:lnTo>
                      <a:lnTo>
                        <a:pt x="413" y="0"/>
                      </a:lnTo>
                      <a:lnTo>
                        <a:pt x="415" y="4"/>
                      </a:lnTo>
                      <a:lnTo>
                        <a:pt x="413" y="10"/>
                      </a:lnTo>
                      <a:lnTo>
                        <a:pt x="413" y="13"/>
                      </a:lnTo>
                      <a:lnTo>
                        <a:pt x="417" y="15"/>
                      </a:lnTo>
                      <a:lnTo>
                        <a:pt x="422" y="14"/>
                      </a:lnTo>
                      <a:lnTo>
                        <a:pt x="427" y="11"/>
                      </a:lnTo>
                      <a:lnTo>
                        <a:pt x="431" y="8"/>
                      </a:lnTo>
                      <a:lnTo>
                        <a:pt x="436" y="6"/>
                      </a:lnTo>
                      <a:lnTo>
                        <a:pt x="442" y="8"/>
                      </a:lnTo>
                      <a:lnTo>
                        <a:pt x="455" y="14"/>
                      </a:lnTo>
                      <a:lnTo>
                        <a:pt x="465" y="19"/>
                      </a:lnTo>
                      <a:lnTo>
                        <a:pt x="491" y="23"/>
                      </a:lnTo>
                      <a:lnTo>
                        <a:pt x="510" y="31"/>
                      </a:lnTo>
                      <a:lnTo>
                        <a:pt x="526" y="38"/>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59" name="Ishikawa" descr="{&quot;Key&quot;:&quot;ishikawa&quot;,&quot;Name&quot;:&quot;Ishikawa&quot;,&quot;Value&quot;:1.0,&quot;Formula&quot;:&quot;&quot;,&quot;Text&quot;:&quot;&quot;,&quot;OfficeApplication&quot;:1,&quot;HasValue&quot;:true}">
                  <a:extLst>
                    <a:ext uri="{FF2B5EF4-FFF2-40B4-BE49-F238E27FC236}">
                      <a16:creationId xmlns:a16="http://schemas.microsoft.com/office/drawing/2014/main" id="{0C724E0C-B165-46B8-A7DA-6D1701979BFC}"/>
                    </a:ext>
                  </a:extLst>
                </p:cNvPr>
                <p:cNvSpPr>
                  <a:spLocks noEditPoints="1"/>
                </p:cNvSpPr>
                <p:nvPr/>
              </p:nvSpPr>
              <p:spPr bwMode="auto">
                <a:xfrm>
                  <a:off x="6024563" y="3138488"/>
                  <a:ext cx="265113" cy="430212"/>
                </a:xfrm>
                <a:custGeom>
                  <a:avLst/>
                  <a:gdLst>
                    <a:gd name="T0" fmla="*/ 326 w 453"/>
                    <a:gd name="T1" fmla="*/ 208 h 738"/>
                    <a:gd name="T2" fmla="*/ 298 w 453"/>
                    <a:gd name="T3" fmla="*/ 218 h 738"/>
                    <a:gd name="T4" fmla="*/ 283 w 453"/>
                    <a:gd name="T5" fmla="*/ 214 h 738"/>
                    <a:gd name="T6" fmla="*/ 277 w 453"/>
                    <a:gd name="T7" fmla="*/ 194 h 738"/>
                    <a:gd name="T8" fmla="*/ 289 w 453"/>
                    <a:gd name="T9" fmla="*/ 195 h 738"/>
                    <a:gd name="T10" fmla="*/ 302 w 453"/>
                    <a:gd name="T11" fmla="*/ 193 h 738"/>
                    <a:gd name="T12" fmla="*/ 321 w 453"/>
                    <a:gd name="T13" fmla="*/ 190 h 738"/>
                    <a:gd name="T14" fmla="*/ 327 w 453"/>
                    <a:gd name="T15" fmla="*/ 290 h 738"/>
                    <a:gd name="T16" fmla="*/ 290 w 453"/>
                    <a:gd name="T17" fmla="*/ 299 h 738"/>
                    <a:gd name="T18" fmla="*/ 271 w 453"/>
                    <a:gd name="T19" fmla="*/ 303 h 738"/>
                    <a:gd name="T20" fmla="*/ 242 w 453"/>
                    <a:gd name="T21" fmla="*/ 354 h 738"/>
                    <a:gd name="T22" fmla="*/ 231 w 453"/>
                    <a:gd name="T23" fmla="*/ 398 h 738"/>
                    <a:gd name="T24" fmla="*/ 222 w 453"/>
                    <a:gd name="T25" fmla="*/ 422 h 738"/>
                    <a:gd name="T26" fmla="*/ 217 w 453"/>
                    <a:gd name="T27" fmla="*/ 459 h 738"/>
                    <a:gd name="T28" fmla="*/ 223 w 453"/>
                    <a:gd name="T29" fmla="*/ 498 h 738"/>
                    <a:gd name="T30" fmla="*/ 212 w 453"/>
                    <a:gd name="T31" fmla="*/ 549 h 738"/>
                    <a:gd name="T32" fmla="*/ 218 w 453"/>
                    <a:gd name="T33" fmla="*/ 581 h 738"/>
                    <a:gd name="T34" fmla="*/ 218 w 453"/>
                    <a:gd name="T35" fmla="*/ 624 h 738"/>
                    <a:gd name="T36" fmla="*/ 236 w 453"/>
                    <a:gd name="T37" fmla="*/ 651 h 738"/>
                    <a:gd name="T38" fmla="*/ 207 w 453"/>
                    <a:gd name="T39" fmla="*/ 716 h 738"/>
                    <a:gd name="T40" fmla="*/ 158 w 453"/>
                    <a:gd name="T41" fmla="*/ 731 h 738"/>
                    <a:gd name="T42" fmla="*/ 107 w 453"/>
                    <a:gd name="T43" fmla="*/ 696 h 738"/>
                    <a:gd name="T44" fmla="*/ 76 w 453"/>
                    <a:gd name="T45" fmla="*/ 699 h 738"/>
                    <a:gd name="T46" fmla="*/ 37 w 453"/>
                    <a:gd name="T47" fmla="*/ 686 h 738"/>
                    <a:gd name="T48" fmla="*/ 26 w 453"/>
                    <a:gd name="T49" fmla="*/ 656 h 738"/>
                    <a:gd name="T50" fmla="*/ 0 w 453"/>
                    <a:gd name="T51" fmla="*/ 626 h 738"/>
                    <a:gd name="T52" fmla="*/ 62 w 453"/>
                    <a:gd name="T53" fmla="*/ 574 h 738"/>
                    <a:gd name="T54" fmla="*/ 213 w 453"/>
                    <a:gd name="T55" fmla="*/ 334 h 738"/>
                    <a:gd name="T56" fmla="*/ 210 w 453"/>
                    <a:gd name="T57" fmla="*/ 301 h 738"/>
                    <a:gd name="T58" fmla="*/ 206 w 453"/>
                    <a:gd name="T59" fmla="*/ 261 h 738"/>
                    <a:gd name="T60" fmla="*/ 200 w 453"/>
                    <a:gd name="T61" fmla="*/ 205 h 738"/>
                    <a:gd name="T62" fmla="*/ 187 w 453"/>
                    <a:gd name="T63" fmla="*/ 200 h 738"/>
                    <a:gd name="T64" fmla="*/ 182 w 453"/>
                    <a:gd name="T65" fmla="*/ 169 h 738"/>
                    <a:gd name="T66" fmla="*/ 195 w 453"/>
                    <a:gd name="T67" fmla="*/ 143 h 738"/>
                    <a:gd name="T68" fmla="*/ 198 w 453"/>
                    <a:gd name="T69" fmla="*/ 104 h 738"/>
                    <a:gd name="T70" fmla="*/ 262 w 453"/>
                    <a:gd name="T71" fmla="*/ 63 h 738"/>
                    <a:gd name="T72" fmla="*/ 338 w 453"/>
                    <a:gd name="T73" fmla="*/ 40 h 738"/>
                    <a:gd name="T74" fmla="*/ 428 w 453"/>
                    <a:gd name="T75" fmla="*/ 0 h 738"/>
                    <a:gd name="T76" fmla="*/ 448 w 453"/>
                    <a:gd name="T77" fmla="*/ 29 h 738"/>
                    <a:gd name="T78" fmla="*/ 441 w 453"/>
                    <a:gd name="T79" fmla="*/ 46 h 738"/>
                    <a:gd name="T80" fmla="*/ 412 w 453"/>
                    <a:gd name="T81" fmla="*/ 51 h 738"/>
                    <a:gd name="T82" fmla="*/ 417 w 453"/>
                    <a:gd name="T83" fmla="*/ 89 h 738"/>
                    <a:gd name="T84" fmla="*/ 402 w 453"/>
                    <a:gd name="T85" fmla="*/ 121 h 738"/>
                    <a:gd name="T86" fmla="*/ 347 w 453"/>
                    <a:gd name="T87" fmla="*/ 136 h 738"/>
                    <a:gd name="T88" fmla="*/ 323 w 453"/>
                    <a:gd name="T89" fmla="*/ 165 h 738"/>
                    <a:gd name="T90" fmla="*/ 293 w 453"/>
                    <a:gd name="T91" fmla="*/ 164 h 738"/>
                    <a:gd name="T92" fmla="*/ 290 w 453"/>
                    <a:gd name="T93" fmla="*/ 150 h 738"/>
                    <a:gd name="T94" fmla="*/ 276 w 453"/>
                    <a:gd name="T95" fmla="*/ 169 h 738"/>
                    <a:gd name="T96" fmla="*/ 267 w 453"/>
                    <a:gd name="T97" fmla="*/ 209 h 738"/>
                    <a:gd name="T98" fmla="*/ 253 w 453"/>
                    <a:gd name="T99" fmla="*/ 230 h 738"/>
                    <a:gd name="T100" fmla="*/ 283 w 453"/>
                    <a:gd name="T101" fmla="*/ 229 h 738"/>
                    <a:gd name="T102" fmla="*/ 320 w 453"/>
                    <a:gd name="T103" fmla="*/ 220 h 738"/>
                    <a:gd name="T104" fmla="*/ 330 w 453"/>
                    <a:gd name="T105" fmla="*/ 25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738">
                      <a:moveTo>
                        <a:pt x="328" y="195"/>
                      </a:moveTo>
                      <a:lnTo>
                        <a:pt x="327" y="200"/>
                      </a:lnTo>
                      <a:lnTo>
                        <a:pt x="328" y="204"/>
                      </a:lnTo>
                      <a:lnTo>
                        <a:pt x="326" y="208"/>
                      </a:lnTo>
                      <a:lnTo>
                        <a:pt x="318" y="212"/>
                      </a:lnTo>
                      <a:lnTo>
                        <a:pt x="311" y="212"/>
                      </a:lnTo>
                      <a:lnTo>
                        <a:pt x="305" y="214"/>
                      </a:lnTo>
                      <a:lnTo>
                        <a:pt x="298" y="218"/>
                      </a:lnTo>
                      <a:lnTo>
                        <a:pt x="294" y="218"/>
                      </a:lnTo>
                      <a:lnTo>
                        <a:pt x="288" y="220"/>
                      </a:lnTo>
                      <a:lnTo>
                        <a:pt x="287" y="220"/>
                      </a:lnTo>
                      <a:lnTo>
                        <a:pt x="283" y="214"/>
                      </a:lnTo>
                      <a:lnTo>
                        <a:pt x="276" y="204"/>
                      </a:lnTo>
                      <a:lnTo>
                        <a:pt x="272" y="197"/>
                      </a:lnTo>
                      <a:lnTo>
                        <a:pt x="274" y="193"/>
                      </a:lnTo>
                      <a:lnTo>
                        <a:pt x="277" y="194"/>
                      </a:lnTo>
                      <a:lnTo>
                        <a:pt x="279" y="198"/>
                      </a:lnTo>
                      <a:lnTo>
                        <a:pt x="281" y="199"/>
                      </a:lnTo>
                      <a:lnTo>
                        <a:pt x="286" y="197"/>
                      </a:lnTo>
                      <a:lnTo>
                        <a:pt x="289" y="195"/>
                      </a:lnTo>
                      <a:lnTo>
                        <a:pt x="293" y="194"/>
                      </a:lnTo>
                      <a:lnTo>
                        <a:pt x="296" y="193"/>
                      </a:lnTo>
                      <a:lnTo>
                        <a:pt x="299" y="191"/>
                      </a:lnTo>
                      <a:lnTo>
                        <a:pt x="302" y="193"/>
                      </a:lnTo>
                      <a:lnTo>
                        <a:pt x="309" y="199"/>
                      </a:lnTo>
                      <a:lnTo>
                        <a:pt x="313" y="198"/>
                      </a:lnTo>
                      <a:lnTo>
                        <a:pt x="316" y="195"/>
                      </a:lnTo>
                      <a:lnTo>
                        <a:pt x="321" y="190"/>
                      </a:lnTo>
                      <a:lnTo>
                        <a:pt x="327" y="188"/>
                      </a:lnTo>
                      <a:lnTo>
                        <a:pt x="329" y="192"/>
                      </a:lnTo>
                      <a:lnTo>
                        <a:pt x="328" y="195"/>
                      </a:lnTo>
                      <a:close/>
                      <a:moveTo>
                        <a:pt x="327" y="290"/>
                      </a:moveTo>
                      <a:lnTo>
                        <a:pt x="313" y="293"/>
                      </a:lnTo>
                      <a:lnTo>
                        <a:pt x="306" y="293"/>
                      </a:lnTo>
                      <a:lnTo>
                        <a:pt x="301" y="293"/>
                      </a:lnTo>
                      <a:lnTo>
                        <a:pt x="290" y="299"/>
                      </a:lnTo>
                      <a:lnTo>
                        <a:pt x="285" y="300"/>
                      </a:lnTo>
                      <a:lnTo>
                        <a:pt x="281" y="300"/>
                      </a:lnTo>
                      <a:lnTo>
                        <a:pt x="276" y="300"/>
                      </a:lnTo>
                      <a:lnTo>
                        <a:pt x="271" y="303"/>
                      </a:lnTo>
                      <a:lnTo>
                        <a:pt x="267" y="307"/>
                      </a:lnTo>
                      <a:lnTo>
                        <a:pt x="258" y="318"/>
                      </a:lnTo>
                      <a:lnTo>
                        <a:pt x="253" y="325"/>
                      </a:lnTo>
                      <a:lnTo>
                        <a:pt x="242" y="354"/>
                      </a:lnTo>
                      <a:lnTo>
                        <a:pt x="241" y="363"/>
                      </a:lnTo>
                      <a:lnTo>
                        <a:pt x="240" y="374"/>
                      </a:lnTo>
                      <a:lnTo>
                        <a:pt x="235" y="393"/>
                      </a:lnTo>
                      <a:lnTo>
                        <a:pt x="231" y="398"/>
                      </a:lnTo>
                      <a:lnTo>
                        <a:pt x="223" y="405"/>
                      </a:lnTo>
                      <a:lnTo>
                        <a:pt x="220" y="410"/>
                      </a:lnTo>
                      <a:lnTo>
                        <a:pt x="221" y="417"/>
                      </a:lnTo>
                      <a:lnTo>
                        <a:pt x="222" y="422"/>
                      </a:lnTo>
                      <a:lnTo>
                        <a:pt x="223" y="426"/>
                      </a:lnTo>
                      <a:lnTo>
                        <a:pt x="225" y="431"/>
                      </a:lnTo>
                      <a:lnTo>
                        <a:pt x="225" y="438"/>
                      </a:lnTo>
                      <a:lnTo>
                        <a:pt x="217" y="459"/>
                      </a:lnTo>
                      <a:lnTo>
                        <a:pt x="217" y="468"/>
                      </a:lnTo>
                      <a:lnTo>
                        <a:pt x="218" y="475"/>
                      </a:lnTo>
                      <a:lnTo>
                        <a:pt x="222" y="491"/>
                      </a:lnTo>
                      <a:lnTo>
                        <a:pt x="223" y="498"/>
                      </a:lnTo>
                      <a:lnTo>
                        <a:pt x="221" y="508"/>
                      </a:lnTo>
                      <a:lnTo>
                        <a:pt x="218" y="513"/>
                      </a:lnTo>
                      <a:lnTo>
                        <a:pt x="217" y="521"/>
                      </a:lnTo>
                      <a:lnTo>
                        <a:pt x="212" y="549"/>
                      </a:lnTo>
                      <a:lnTo>
                        <a:pt x="212" y="560"/>
                      </a:lnTo>
                      <a:lnTo>
                        <a:pt x="215" y="568"/>
                      </a:lnTo>
                      <a:lnTo>
                        <a:pt x="217" y="574"/>
                      </a:lnTo>
                      <a:lnTo>
                        <a:pt x="218" y="581"/>
                      </a:lnTo>
                      <a:lnTo>
                        <a:pt x="218" y="590"/>
                      </a:lnTo>
                      <a:lnTo>
                        <a:pt x="216" y="603"/>
                      </a:lnTo>
                      <a:lnTo>
                        <a:pt x="215" y="609"/>
                      </a:lnTo>
                      <a:lnTo>
                        <a:pt x="218" y="624"/>
                      </a:lnTo>
                      <a:lnTo>
                        <a:pt x="223" y="633"/>
                      </a:lnTo>
                      <a:lnTo>
                        <a:pt x="226" y="636"/>
                      </a:lnTo>
                      <a:lnTo>
                        <a:pt x="235" y="646"/>
                      </a:lnTo>
                      <a:lnTo>
                        <a:pt x="236" y="651"/>
                      </a:lnTo>
                      <a:lnTo>
                        <a:pt x="235" y="659"/>
                      </a:lnTo>
                      <a:lnTo>
                        <a:pt x="215" y="689"/>
                      </a:lnTo>
                      <a:lnTo>
                        <a:pt x="211" y="695"/>
                      </a:lnTo>
                      <a:lnTo>
                        <a:pt x="207" y="716"/>
                      </a:lnTo>
                      <a:lnTo>
                        <a:pt x="197" y="731"/>
                      </a:lnTo>
                      <a:lnTo>
                        <a:pt x="172" y="738"/>
                      </a:lnTo>
                      <a:lnTo>
                        <a:pt x="163" y="736"/>
                      </a:lnTo>
                      <a:lnTo>
                        <a:pt x="158" y="731"/>
                      </a:lnTo>
                      <a:lnTo>
                        <a:pt x="143" y="715"/>
                      </a:lnTo>
                      <a:lnTo>
                        <a:pt x="136" y="708"/>
                      </a:lnTo>
                      <a:lnTo>
                        <a:pt x="122" y="699"/>
                      </a:lnTo>
                      <a:lnTo>
                        <a:pt x="107" y="696"/>
                      </a:lnTo>
                      <a:lnTo>
                        <a:pt x="93" y="695"/>
                      </a:lnTo>
                      <a:lnTo>
                        <a:pt x="88" y="696"/>
                      </a:lnTo>
                      <a:lnTo>
                        <a:pt x="83" y="699"/>
                      </a:lnTo>
                      <a:lnTo>
                        <a:pt x="76" y="699"/>
                      </a:lnTo>
                      <a:lnTo>
                        <a:pt x="60" y="691"/>
                      </a:lnTo>
                      <a:lnTo>
                        <a:pt x="52" y="689"/>
                      </a:lnTo>
                      <a:lnTo>
                        <a:pt x="43" y="688"/>
                      </a:lnTo>
                      <a:lnTo>
                        <a:pt x="37" y="686"/>
                      </a:lnTo>
                      <a:lnTo>
                        <a:pt x="33" y="683"/>
                      </a:lnTo>
                      <a:lnTo>
                        <a:pt x="31" y="678"/>
                      </a:lnTo>
                      <a:lnTo>
                        <a:pt x="28" y="671"/>
                      </a:lnTo>
                      <a:lnTo>
                        <a:pt x="26" y="656"/>
                      </a:lnTo>
                      <a:lnTo>
                        <a:pt x="23" y="648"/>
                      </a:lnTo>
                      <a:lnTo>
                        <a:pt x="18" y="644"/>
                      </a:lnTo>
                      <a:lnTo>
                        <a:pt x="6" y="634"/>
                      </a:lnTo>
                      <a:lnTo>
                        <a:pt x="0" y="626"/>
                      </a:lnTo>
                      <a:lnTo>
                        <a:pt x="20" y="608"/>
                      </a:lnTo>
                      <a:lnTo>
                        <a:pt x="28" y="596"/>
                      </a:lnTo>
                      <a:lnTo>
                        <a:pt x="47" y="586"/>
                      </a:lnTo>
                      <a:lnTo>
                        <a:pt x="62" y="574"/>
                      </a:lnTo>
                      <a:lnTo>
                        <a:pt x="81" y="553"/>
                      </a:lnTo>
                      <a:lnTo>
                        <a:pt x="165" y="438"/>
                      </a:lnTo>
                      <a:lnTo>
                        <a:pt x="185" y="404"/>
                      </a:lnTo>
                      <a:lnTo>
                        <a:pt x="213" y="334"/>
                      </a:lnTo>
                      <a:lnTo>
                        <a:pt x="216" y="324"/>
                      </a:lnTo>
                      <a:lnTo>
                        <a:pt x="216" y="313"/>
                      </a:lnTo>
                      <a:lnTo>
                        <a:pt x="210" y="306"/>
                      </a:lnTo>
                      <a:lnTo>
                        <a:pt x="210" y="301"/>
                      </a:lnTo>
                      <a:lnTo>
                        <a:pt x="213" y="293"/>
                      </a:lnTo>
                      <a:lnTo>
                        <a:pt x="216" y="278"/>
                      </a:lnTo>
                      <a:lnTo>
                        <a:pt x="213" y="269"/>
                      </a:lnTo>
                      <a:lnTo>
                        <a:pt x="206" y="261"/>
                      </a:lnTo>
                      <a:lnTo>
                        <a:pt x="202" y="245"/>
                      </a:lnTo>
                      <a:lnTo>
                        <a:pt x="197" y="241"/>
                      </a:lnTo>
                      <a:lnTo>
                        <a:pt x="197" y="230"/>
                      </a:lnTo>
                      <a:lnTo>
                        <a:pt x="200" y="205"/>
                      </a:lnTo>
                      <a:lnTo>
                        <a:pt x="197" y="198"/>
                      </a:lnTo>
                      <a:lnTo>
                        <a:pt x="192" y="193"/>
                      </a:lnTo>
                      <a:lnTo>
                        <a:pt x="188" y="194"/>
                      </a:lnTo>
                      <a:lnTo>
                        <a:pt x="187" y="200"/>
                      </a:lnTo>
                      <a:lnTo>
                        <a:pt x="180" y="199"/>
                      </a:lnTo>
                      <a:lnTo>
                        <a:pt x="177" y="193"/>
                      </a:lnTo>
                      <a:lnTo>
                        <a:pt x="178" y="180"/>
                      </a:lnTo>
                      <a:lnTo>
                        <a:pt x="182" y="169"/>
                      </a:lnTo>
                      <a:lnTo>
                        <a:pt x="186" y="160"/>
                      </a:lnTo>
                      <a:lnTo>
                        <a:pt x="191" y="154"/>
                      </a:lnTo>
                      <a:lnTo>
                        <a:pt x="188" y="148"/>
                      </a:lnTo>
                      <a:lnTo>
                        <a:pt x="195" y="143"/>
                      </a:lnTo>
                      <a:lnTo>
                        <a:pt x="200" y="133"/>
                      </a:lnTo>
                      <a:lnTo>
                        <a:pt x="202" y="125"/>
                      </a:lnTo>
                      <a:lnTo>
                        <a:pt x="200" y="119"/>
                      </a:lnTo>
                      <a:lnTo>
                        <a:pt x="198" y="104"/>
                      </a:lnTo>
                      <a:lnTo>
                        <a:pt x="208" y="88"/>
                      </a:lnTo>
                      <a:lnTo>
                        <a:pt x="223" y="80"/>
                      </a:lnTo>
                      <a:lnTo>
                        <a:pt x="246" y="66"/>
                      </a:lnTo>
                      <a:lnTo>
                        <a:pt x="262" y="63"/>
                      </a:lnTo>
                      <a:lnTo>
                        <a:pt x="271" y="68"/>
                      </a:lnTo>
                      <a:lnTo>
                        <a:pt x="283" y="66"/>
                      </a:lnTo>
                      <a:lnTo>
                        <a:pt x="328" y="43"/>
                      </a:lnTo>
                      <a:lnTo>
                        <a:pt x="338" y="40"/>
                      </a:lnTo>
                      <a:lnTo>
                        <a:pt x="346" y="30"/>
                      </a:lnTo>
                      <a:lnTo>
                        <a:pt x="356" y="23"/>
                      </a:lnTo>
                      <a:lnTo>
                        <a:pt x="412" y="4"/>
                      </a:lnTo>
                      <a:lnTo>
                        <a:pt x="428" y="0"/>
                      </a:lnTo>
                      <a:lnTo>
                        <a:pt x="447" y="8"/>
                      </a:lnTo>
                      <a:lnTo>
                        <a:pt x="451" y="13"/>
                      </a:lnTo>
                      <a:lnTo>
                        <a:pt x="448" y="23"/>
                      </a:lnTo>
                      <a:lnTo>
                        <a:pt x="448" y="29"/>
                      </a:lnTo>
                      <a:lnTo>
                        <a:pt x="453" y="33"/>
                      </a:lnTo>
                      <a:lnTo>
                        <a:pt x="453" y="40"/>
                      </a:lnTo>
                      <a:lnTo>
                        <a:pt x="451" y="44"/>
                      </a:lnTo>
                      <a:lnTo>
                        <a:pt x="441" y="46"/>
                      </a:lnTo>
                      <a:lnTo>
                        <a:pt x="433" y="46"/>
                      </a:lnTo>
                      <a:lnTo>
                        <a:pt x="425" y="45"/>
                      </a:lnTo>
                      <a:lnTo>
                        <a:pt x="417" y="48"/>
                      </a:lnTo>
                      <a:lnTo>
                        <a:pt x="412" y="51"/>
                      </a:lnTo>
                      <a:lnTo>
                        <a:pt x="408" y="60"/>
                      </a:lnTo>
                      <a:lnTo>
                        <a:pt x="405" y="76"/>
                      </a:lnTo>
                      <a:lnTo>
                        <a:pt x="410" y="89"/>
                      </a:lnTo>
                      <a:lnTo>
                        <a:pt x="417" y="89"/>
                      </a:lnTo>
                      <a:lnTo>
                        <a:pt x="415" y="104"/>
                      </a:lnTo>
                      <a:lnTo>
                        <a:pt x="412" y="110"/>
                      </a:lnTo>
                      <a:lnTo>
                        <a:pt x="405" y="116"/>
                      </a:lnTo>
                      <a:lnTo>
                        <a:pt x="402" y="121"/>
                      </a:lnTo>
                      <a:lnTo>
                        <a:pt x="393" y="121"/>
                      </a:lnTo>
                      <a:lnTo>
                        <a:pt x="376" y="116"/>
                      </a:lnTo>
                      <a:lnTo>
                        <a:pt x="353" y="125"/>
                      </a:lnTo>
                      <a:lnTo>
                        <a:pt x="347" y="136"/>
                      </a:lnTo>
                      <a:lnTo>
                        <a:pt x="338" y="149"/>
                      </a:lnTo>
                      <a:lnTo>
                        <a:pt x="338" y="159"/>
                      </a:lnTo>
                      <a:lnTo>
                        <a:pt x="332" y="163"/>
                      </a:lnTo>
                      <a:lnTo>
                        <a:pt x="323" y="165"/>
                      </a:lnTo>
                      <a:lnTo>
                        <a:pt x="321" y="173"/>
                      </a:lnTo>
                      <a:lnTo>
                        <a:pt x="316" y="175"/>
                      </a:lnTo>
                      <a:lnTo>
                        <a:pt x="302" y="170"/>
                      </a:lnTo>
                      <a:lnTo>
                        <a:pt x="293" y="164"/>
                      </a:lnTo>
                      <a:lnTo>
                        <a:pt x="288" y="159"/>
                      </a:lnTo>
                      <a:lnTo>
                        <a:pt x="292" y="154"/>
                      </a:lnTo>
                      <a:lnTo>
                        <a:pt x="293" y="150"/>
                      </a:lnTo>
                      <a:lnTo>
                        <a:pt x="290" y="150"/>
                      </a:lnTo>
                      <a:lnTo>
                        <a:pt x="286" y="155"/>
                      </a:lnTo>
                      <a:lnTo>
                        <a:pt x="282" y="156"/>
                      </a:lnTo>
                      <a:lnTo>
                        <a:pt x="280" y="161"/>
                      </a:lnTo>
                      <a:lnTo>
                        <a:pt x="276" y="169"/>
                      </a:lnTo>
                      <a:lnTo>
                        <a:pt x="267" y="181"/>
                      </a:lnTo>
                      <a:lnTo>
                        <a:pt x="262" y="196"/>
                      </a:lnTo>
                      <a:lnTo>
                        <a:pt x="268" y="199"/>
                      </a:lnTo>
                      <a:lnTo>
                        <a:pt x="267" y="209"/>
                      </a:lnTo>
                      <a:lnTo>
                        <a:pt x="265" y="213"/>
                      </a:lnTo>
                      <a:lnTo>
                        <a:pt x="257" y="213"/>
                      </a:lnTo>
                      <a:lnTo>
                        <a:pt x="257" y="224"/>
                      </a:lnTo>
                      <a:lnTo>
                        <a:pt x="253" y="230"/>
                      </a:lnTo>
                      <a:lnTo>
                        <a:pt x="260" y="234"/>
                      </a:lnTo>
                      <a:lnTo>
                        <a:pt x="267" y="231"/>
                      </a:lnTo>
                      <a:lnTo>
                        <a:pt x="276" y="228"/>
                      </a:lnTo>
                      <a:lnTo>
                        <a:pt x="283" y="229"/>
                      </a:lnTo>
                      <a:lnTo>
                        <a:pt x="295" y="243"/>
                      </a:lnTo>
                      <a:lnTo>
                        <a:pt x="302" y="245"/>
                      </a:lnTo>
                      <a:lnTo>
                        <a:pt x="311" y="240"/>
                      </a:lnTo>
                      <a:lnTo>
                        <a:pt x="320" y="220"/>
                      </a:lnTo>
                      <a:lnTo>
                        <a:pt x="326" y="216"/>
                      </a:lnTo>
                      <a:lnTo>
                        <a:pt x="328" y="219"/>
                      </a:lnTo>
                      <a:lnTo>
                        <a:pt x="331" y="229"/>
                      </a:lnTo>
                      <a:lnTo>
                        <a:pt x="330" y="258"/>
                      </a:lnTo>
                      <a:lnTo>
                        <a:pt x="332" y="285"/>
                      </a:lnTo>
                      <a:lnTo>
                        <a:pt x="327" y="29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0" name="Mie" descr="{&quot;Key&quot;:&quot;mie&quot;,&quot;Name&quot;:&quot;Mie&quot;,&quot;Value&quot;:1.0,&quot;Formula&quot;:&quot;&quot;,&quot;Text&quot;:&quot;&quot;,&quot;OfficeApplication&quot;:1,&quot;HasValue&quot;:true}">
                  <a:extLst>
                    <a:ext uri="{FF2B5EF4-FFF2-40B4-BE49-F238E27FC236}">
                      <a16:creationId xmlns:a16="http://schemas.microsoft.com/office/drawing/2014/main" id="{0B38904D-06D4-4C84-823B-480F17320F3E}"/>
                    </a:ext>
                  </a:extLst>
                </p:cNvPr>
                <p:cNvSpPr>
                  <a:spLocks noEditPoints="1"/>
                </p:cNvSpPr>
                <p:nvPr/>
              </p:nvSpPr>
              <p:spPr bwMode="auto">
                <a:xfrm>
                  <a:off x="5934075" y="3808413"/>
                  <a:ext cx="254000" cy="441325"/>
                </a:xfrm>
                <a:custGeom>
                  <a:avLst/>
                  <a:gdLst>
                    <a:gd name="T0" fmla="*/ 424 w 433"/>
                    <a:gd name="T1" fmla="*/ 356 h 754"/>
                    <a:gd name="T2" fmla="*/ 414 w 433"/>
                    <a:gd name="T3" fmla="*/ 351 h 754"/>
                    <a:gd name="T4" fmla="*/ 427 w 433"/>
                    <a:gd name="T5" fmla="*/ 339 h 754"/>
                    <a:gd name="T6" fmla="*/ 364 w 433"/>
                    <a:gd name="T7" fmla="*/ 101 h 754"/>
                    <a:gd name="T8" fmla="*/ 324 w 433"/>
                    <a:gd name="T9" fmla="*/ 129 h 754"/>
                    <a:gd name="T10" fmla="*/ 327 w 433"/>
                    <a:gd name="T11" fmla="*/ 143 h 754"/>
                    <a:gd name="T12" fmla="*/ 289 w 433"/>
                    <a:gd name="T13" fmla="*/ 211 h 754"/>
                    <a:gd name="T14" fmla="*/ 271 w 433"/>
                    <a:gd name="T15" fmla="*/ 273 h 754"/>
                    <a:gd name="T16" fmla="*/ 278 w 433"/>
                    <a:gd name="T17" fmla="*/ 301 h 754"/>
                    <a:gd name="T18" fmla="*/ 322 w 433"/>
                    <a:gd name="T19" fmla="*/ 319 h 754"/>
                    <a:gd name="T20" fmla="*/ 388 w 433"/>
                    <a:gd name="T21" fmla="*/ 365 h 754"/>
                    <a:gd name="T22" fmla="*/ 411 w 433"/>
                    <a:gd name="T23" fmla="*/ 374 h 754"/>
                    <a:gd name="T24" fmla="*/ 430 w 433"/>
                    <a:gd name="T25" fmla="*/ 390 h 754"/>
                    <a:gd name="T26" fmla="*/ 421 w 433"/>
                    <a:gd name="T27" fmla="*/ 415 h 754"/>
                    <a:gd name="T28" fmla="*/ 422 w 433"/>
                    <a:gd name="T29" fmla="*/ 430 h 754"/>
                    <a:gd name="T30" fmla="*/ 422 w 433"/>
                    <a:gd name="T31" fmla="*/ 455 h 754"/>
                    <a:gd name="T32" fmla="*/ 397 w 433"/>
                    <a:gd name="T33" fmla="*/ 481 h 754"/>
                    <a:gd name="T34" fmla="*/ 378 w 433"/>
                    <a:gd name="T35" fmla="*/ 466 h 754"/>
                    <a:gd name="T36" fmla="*/ 402 w 433"/>
                    <a:gd name="T37" fmla="*/ 469 h 754"/>
                    <a:gd name="T38" fmla="*/ 387 w 433"/>
                    <a:gd name="T39" fmla="*/ 455 h 754"/>
                    <a:gd name="T40" fmla="*/ 345 w 433"/>
                    <a:gd name="T41" fmla="*/ 458 h 754"/>
                    <a:gd name="T42" fmla="*/ 323 w 433"/>
                    <a:gd name="T43" fmla="*/ 449 h 754"/>
                    <a:gd name="T44" fmla="*/ 306 w 433"/>
                    <a:gd name="T45" fmla="*/ 472 h 754"/>
                    <a:gd name="T46" fmla="*/ 276 w 433"/>
                    <a:gd name="T47" fmla="*/ 470 h 754"/>
                    <a:gd name="T48" fmla="*/ 268 w 433"/>
                    <a:gd name="T49" fmla="*/ 490 h 754"/>
                    <a:gd name="T50" fmla="*/ 216 w 433"/>
                    <a:gd name="T51" fmla="*/ 502 h 754"/>
                    <a:gd name="T52" fmla="*/ 188 w 433"/>
                    <a:gd name="T53" fmla="*/ 546 h 754"/>
                    <a:gd name="T54" fmla="*/ 176 w 433"/>
                    <a:gd name="T55" fmla="*/ 562 h 754"/>
                    <a:gd name="T56" fmla="*/ 155 w 433"/>
                    <a:gd name="T57" fmla="*/ 561 h 754"/>
                    <a:gd name="T58" fmla="*/ 162 w 433"/>
                    <a:gd name="T59" fmla="*/ 574 h 754"/>
                    <a:gd name="T60" fmla="*/ 172 w 433"/>
                    <a:gd name="T61" fmla="*/ 611 h 754"/>
                    <a:gd name="T62" fmla="*/ 155 w 433"/>
                    <a:gd name="T63" fmla="*/ 605 h 754"/>
                    <a:gd name="T64" fmla="*/ 156 w 433"/>
                    <a:gd name="T65" fmla="*/ 626 h 754"/>
                    <a:gd name="T66" fmla="*/ 128 w 433"/>
                    <a:gd name="T67" fmla="*/ 643 h 754"/>
                    <a:gd name="T68" fmla="*/ 104 w 433"/>
                    <a:gd name="T69" fmla="*/ 654 h 754"/>
                    <a:gd name="T70" fmla="*/ 42 w 433"/>
                    <a:gd name="T71" fmla="*/ 745 h 754"/>
                    <a:gd name="T72" fmla="*/ 7 w 433"/>
                    <a:gd name="T73" fmla="*/ 705 h 754"/>
                    <a:gd name="T74" fmla="*/ 15 w 433"/>
                    <a:gd name="T75" fmla="*/ 667 h 754"/>
                    <a:gd name="T76" fmla="*/ 32 w 433"/>
                    <a:gd name="T77" fmla="*/ 649 h 754"/>
                    <a:gd name="T78" fmla="*/ 63 w 433"/>
                    <a:gd name="T79" fmla="*/ 605 h 754"/>
                    <a:gd name="T80" fmla="*/ 102 w 433"/>
                    <a:gd name="T81" fmla="*/ 592 h 754"/>
                    <a:gd name="T82" fmla="*/ 105 w 433"/>
                    <a:gd name="T83" fmla="*/ 510 h 754"/>
                    <a:gd name="T84" fmla="*/ 102 w 433"/>
                    <a:gd name="T85" fmla="*/ 464 h 754"/>
                    <a:gd name="T86" fmla="*/ 90 w 433"/>
                    <a:gd name="T87" fmla="*/ 419 h 754"/>
                    <a:gd name="T88" fmla="*/ 125 w 433"/>
                    <a:gd name="T89" fmla="*/ 391 h 754"/>
                    <a:gd name="T90" fmla="*/ 145 w 433"/>
                    <a:gd name="T91" fmla="*/ 360 h 754"/>
                    <a:gd name="T92" fmla="*/ 123 w 433"/>
                    <a:gd name="T93" fmla="*/ 341 h 754"/>
                    <a:gd name="T94" fmla="*/ 92 w 433"/>
                    <a:gd name="T95" fmla="*/ 333 h 754"/>
                    <a:gd name="T96" fmla="*/ 85 w 433"/>
                    <a:gd name="T97" fmla="*/ 300 h 754"/>
                    <a:gd name="T98" fmla="*/ 91 w 433"/>
                    <a:gd name="T99" fmla="*/ 283 h 754"/>
                    <a:gd name="T100" fmla="*/ 82 w 433"/>
                    <a:gd name="T101" fmla="*/ 255 h 754"/>
                    <a:gd name="T102" fmla="*/ 107 w 433"/>
                    <a:gd name="T103" fmla="*/ 195 h 754"/>
                    <a:gd name="T104" fmla="*/ 135 w 433"/>
                    <a:gd name="T105" fmla="*/ 181 h 754"/>
                    <a:gd name="T106" fmla="*/ 211 w 433"/>
                    <a:gd name="T107" fmla="*/ 155 h 754"/>
                    <a:gd name="T108" fmla="*/ 227 w 433"/>
                    <a:gd name="T109" fmla="*/ 123 h 754"/>
                    <a:gd name="T110" fmla="*/ 237 w 433"/>
                    <a:gd name="T111" fmla="*/ 40 h 754"/>
                    <a:gd name="T112" fmla="*/ 278 w 433"/>
                    <a:gd name="T113" fmla="*/ 4 h 754"/>
                    <a:gd name="T114" fmla="*/ 332 w 433"/>
                    <a:gd name="T115" fmla="*/ 45 h 754"/>
                    <a:gd name="T116" fmla="*/ 357 w 433"/>
                    <a:gd name="T117" fmla="*/ 9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3" h="754">
                      <a:moveTo>
                        <a:pt x="420" y="369"/>
                      </a:moveTo>
                      <a:lnTo>
                        <a:pt x="417" y="370"/>
                      </a:lnTo>
                      <a:lnTo>
                        <a:pt x="412" y="363"/>
                      </a:lnTo>
                      <a:lnTo>
                        <a:pt x="420" y="360"/>
                      </a:lnTo>
                      <a:lnTo>
                        <a:pt x="424" y="356"/>
                      </a:lnTo>
                      <a:lnTo>
                        <a:pt x="427" y="358"/>
                      </a:lnTo>
                      <a:lnTo>
                        <a:pt x="426" y="361"/>
                      </a:lnTo>
                      <a:lnTo>
                        <a:pt x="425" y="365"/>
                      </a:lnTo>
                      <a:lnTo>
                        <a:pt x="420" y="369"/>
                      </a:lnTo>
                      <a:close/>
                      <a:moveTo>
                        <a:pt x="414" y="351"/>
                      </a:moveTo>
                      <a:lnTo>
                        <a:pt x="406" y="354"/>
                      </a:lnTo>
                      <a:lnTo>
                        <a:pt x="404" y="351"/>
                      </a:lnTo>
                      <a:lnTo>
                        <a:pt x="420" y="343"/>
                      </a:lnTo>
                      <a:lnTo>
                        <a:pt x="422" y="340"/>
                      </a:lnTo>
                      <a:lnTo>
                        <a:pt x="427" y="339"/>
                      </a:lnTo>
                      <a:lnTo>
                        <a:pt x="425" y="343"/>
                      </a:lnTo>
                      <a:lnTo>
                        <a:pt x="425" y="346"/>
                      </a:lnTo>
                      <a:lnTo>
                        <a:pt x="419" y="348"/>
                      </a:lnTo>
                      <a:lnTo>
                        <a:pt x="414" y="351"/>
                      </a:lnTo>
                      <a:close/>
                      <a:moveTo>
                        <a:pt x="364" y="101"/>
                      </a:moveTo>
                      <a:lnTo>
                        <a:pt x="361" y="103"/>
                      </a:lnTo>
                      <a:lnTo>
                        <a:pt x="354" y="100"/>
                      </a:lnTo>
                      <a:lnTo>
                        <a:pt x="336" y="114"/>
                      </a:lnTo>
                      <a:lnTo>
                        <a:pt x="327" y="121"/>
                      </a:lnTo>
                      <a:lnTo>
                        <a:pt x="324" y="129"/>
                      </a:lnTo>
                      <a:lnTo>
                        <a:pt x="322" y="133"/>
                      </a:lnTo>
                      <a:lnTo>
                        <a:pt x="321" y="136"/>
                      </a:lnTo>
                      <a:lnTo>
                        <a:pt x="320" y="139"/>
                      </a:lnTo>
                      <a:lnTo>
                        <a:pt x="321" y="143"/>
                      </a:lnTo>
                      <a:lnTo>
                        <a:pt x="327" y="143"/>
                      </a:lnTo>
                      <a:lnTo>
                        <a:pt x="321" y="148"/>
                      </a:lnTo>
                      <a:lnTo>
                        <a:pt x="322" y="158"/>
                      </a:lnTo>
                      <a:lnTo>
                        <a:pt x="319" y="168"/>
                      </a:lnTo>
                      <a:lnTo>
                        <a:pt x="310" y="185"/>
                      </a:lnTo>
                      <a:lnTo>
                        <a:pt x="289" y="211"/>
                      </a:lnTo>
                      <a:lnTo>
                        <a:pt x="277" y="229"/>
                      </a:lnTo>
                      <a:lnTo>
                        <a:pt x="274" y="250"/>
                      </a:lnTo>
                      <a:lnTo>
                        <a:pt x="271" y="260"/>
                      </a:lnTo>
                      <a:lnTo>
                        <a:pt x="271" y="270"/>
                      </a:lnTo>
                      <a:lnTo>
                        <a:pt x="271" y="273"/>
                      </a:lnTo>
                      <a:lnTo>
                        <a:pt x="276" y="280"/>
                      </a:lnTo>
                      <a:lnTo>
                        <a:pt x="281" y="284"/>
                      </a:lnTo>
                      <a:lnTo>
                        <a:pt x="281" y="290"/>
                      </a:lnTo>
                      <a:lnTo>
                        <a:pt x="280" y="296"/>
                      </a:lnTo>
                      <a:lnTo>
                        <a:pt x="278" y="301"/>
                      </a:lnTo>
                      <a:lnTo>
                        <a:pt x="283" y="309"/>
                      </a:lnTo>
                      <a:lnTo>
                        <a:pt x="290" y="311"/>
                      </a:lnTo>
                      <a:lnTo>
                        <a:pt x="307" y="311"/>
                      </a:lnTo>
                      <a:lnTo>
                        <a:pt x="316" y="314"/>
                      </a:lnTo>
                      <a:lnTo>
                        <a:pt x="322" y="319"/>
                      </a:lnTo>
                      <a:lnTo>
                        <a:pt x="328" y="326"/>
                      </a:lnTo>
                      <a:lnTo>
                        <a:pt x="333" y="331"/>
                      </a:lnTo>
                      <a:lnTo>
                        <a:pt x="363" y="351"/>
                      </a:lnTo>
                      <a:lnTo>
                        <a:pt x="385" y="360"/>
                      </a:lnTo>
                      <a:lnTo>
                        <a:pt x="388" y="365"/>
                      </a:lnTo>
                      <a:lnTo>
                        <a:pt x="393" y="364"/>
                      </a:lnTo>
                      <a:lnTo>
                        <a:pt x="398" y="364"/>
                      </a:lnTo>
                      <a:lnTo>
                        <a:pt x="405" y="365"/>
                      </a:lnTo>
                      <a:lnTo>
                        <a:pt x="408" y="369"/>
                      </a:lnTo>
                      <a:lnTo>
                        <a:pt x="411" y="374"/>
                      </a:lnTo>
                      <a:lnTo>
                        <a:pt x="412" y="384"/>
                      </a:lnTo>
                      <a:lnTo>
                        <a:pt x="417" y="389"/>
                      </a:lnTo>
                      <a:lnTo>
                        <a:pt x="422" y="391"/>
                      </a:lnTo>
                      <a:lnTo>
                        <a:pt x="426" y="390"/>
                      </a:lnTo>
                      <a:lnTo>
                        <a:pt x="430" y="390"/>
                      </a:lnTo>
                      <a:lnTo>
                        <a:pt x="433" y="395"/>
                      </a:lnTo>
                      <a:lnTo>
                        <a:pt x="433" y="401"/>
                      </a:lnTo>
                      <a:lnTo>
                        <a:pt x="430" y="419"/>
                      </a:lnTo>
                      <a:lnTo>
                        <a:pt x="425" y="416"/>
                      </a:lnTo>
                      <a:lnTo>
                        <a:pt x="421" y="415"/>
                      </a:lnTo>
                      <a:lnTo>
                        <a:pt x="417" y="418"/>
                      </a:lnTo>
                      <a:lnTo>
                        <a:pt x="413" y="423"/>
                      </a:lnTo>
                      <a:lnTo>
                        <a:pt x="415" y="425"/>
                      </a:lnTo>
                      <a:lnTo>
                        <a:pt x="418" y="427"/>
                      </a:lnTo>
                      <a:lnTo>
                        <a:pt x="422" y="430"/>
                      </a:lnTo>
                      <a:lnTo>
                        <a:pt x="427" y="429"/>
                      </a:lnTo>
                      <a:lnTo>
                        <a:pt x="421" y="435"/>
                      </a:lnTo>
                      <a:lnTo>
                        <a:pt x="417" y="442"/>
                      </a:lnTo>
                      <a:lnTo>
                        <a:pt x="420" y="447"/>
                      </a:lnTo>
                      <a:lnTo>
                        <a:pt x="422" y="455"/>
                      </a:lnTo>
                      <a:lnTo>
                        <a:pt x="423" y="464"/>
                      </a:lnTo>
                      <a:lnTo>
                        <a:pt x="422" y="471"/>
                      </a:lnTo>
                      <a:lnTo>
                        <a:pt x="417" y="475"/>
                      </a:lnTo>
                      <a:lnTo>
                        <a:pt x="403" y="480"/>
                      </a:lnTo>
                      <a:lnTo>
                        <a:pt x="397" y="481"/>
                      </a:lnTo>
                      <a:lnTo>
                        <a:pt x="391" y="481"/>
                      </a:lnTo>
                      <a:lnTo>
                        <a:pt x="381" y="479"/>
                      </a:lnTo>
                      <a:lnTo>
                        <a:pt x="373" y="474"/>
                      </a:lnTo>
                      <a:lnTo>
                        <a:pt x="372" y="469"/>
                      </a:lnTo>
                      <a:lnTo>
                        <a:pt x="378" y="466"/>
                      </a:lnTo>
                      <a:lnTo>
                        <a:pt x="387" y="469"/>
                      </a:lnTo>
                      <a:lnTo>
                        <a:pt x="395" y="473"/>
                      </a:lnTo>
                      <a:lnTo>
                        <a:pt x="400" y="475"/>
                      </a:lnTo>
                      <a:lnTo>
                        <a:pt x="398" y="468"/>
                      </a:lnTo>
                      <a:lnTo>
                        <a:pt x="402" y="469"/>
                      </a:lnTo>
                      <a:lnTo>
                        <a:pt x="406" y="459"/>
                      </a:lnTo>
                      <a:lnTo>
                        <a:pt x="402" y="453"/>
                      </a:lnTo>
                      <a:lnTo>
                        <a:pt x="395" y="450"/>
                      </a:lnTo>
                      <a:lnTo>
                        <a:pt x="386" y="453"/>
                      </a:lnTo>
                      <a:lnTo>
                        <a:pt x="387" y="455"/>
                      </a:lnTo>
                      <a:lnTo>
                        <a:pt x="386" y="461"/>
                      </a:lnTo>
                      <a:lnTo>
                        <a:pt x="372" y="453"/>
                      </a:lnTo>
                      <a:lnTo>
                        <a:pt x="366" y="458"/>
                      </a:lnTo>
                      <a:lnTo>
                        <a:pt x="353" y="460"/>
                      </a:lnTo>
                      <a:lnTo>
                        <a:pt x="345" y="458"/>
                      </a:lnTo>
                      <a:lnTo>
                        <a:pt x="346" y="450"/>
                      </a:lnTo>
                      <a:lnTo>
                        <a:pt x="352" y="440"/>
                      </a:lnTo>
                      <a:lnTo>
                        <a:pt x="346" y="439"/>
                      </a:lnTo>
                      <a:lnTo>
                        <a:pt x="333" y="442"/>
                      </a:lnTo>
                      <a:lnTo>
                        <a:pt x="323" y="449"/>
                      </a:lnTo>
                      <a:lnTo>
                        <a:pt x="330" y="451"/>
                      </a:lnTo>
                      <a:lnTo>
                        <a:pt x="330" y="456"/>
                      </a:lnTo>
                      <a:lnTo>
                        <a:pt x="325" y="462"/>
                      </a:lnTo>
                      <a:lnTo>
                        <a:pt x="312" y="467"/>
                      </a:lnTo>
                      <a:lnTo>
                        <a:pt x="306" y="472"/>
                      </a:lnTo>
                      <a:lnTo>
                        <a:pt x="300" y="474"/>
                      </a:lnTo>
                      <a:lnTo>
                        <a:pt x="292" y="465"/>
                      </a:lnTo>
                      <a:lnTo>
                        <a:pt x="287" y="471"/>
                      </a:lnTo>
                      <a:lnTo>
                        <a:pt x="287" y="475"/>
                      </a:lnTo>
                      <a:lnTo>
                        <a:pt x="276" y="470"/>
                      </a:lnTo>
                      <a:lnTo>
                        <a:pt x="272" y="469"/>
                      </a:lnTo>
                      <a:lnTo>
                        <a:pt x="270" y="475"/>
                      </a:lnTo>
                      <a:lnTo>
                        <a:pt x="267" y="479"/>
                      </a:lnTo>
                      <a:lnTo>
                        <a:pt x="265" y="481"/>
                      </a:lnTo>
                      <a:lnTo>
                        <a:pt x="268" y="490"/>
                      </a:lnTo>
                      <a:lnTo>
                        <a:pt x="263" y="490"/>
                      </a:lnTo>
                      <a:lnTo>
                        <a:pt x="251" y="485"/>
                      </a:lnTo>
                      <a:lnTo>
                        <a:pt x="233" y="497"/>
                      </a:lnTo>
                      <a:lnTo>
                        <a:pt x="230" y="502"/>
                      </a:lnTo>
                      <a:lnTo>
                        <a:pt x="216" y="502"/>
                      </a:lnTo>
                      <a:lnTo>
                        <a:pt x="197" y="512"/>
                      </a:lnTo>
                      <a:lnTo>
                        <a:pt x="182" y="526"/>
                      </a:lnTo>
                      <a:lnTo>
                        <a:pt x="181" y="540"/>
                      </a:lnTo>
                      <a:lnTo>
                        <a:pt x="186" y="544"/>
                      </a:lnTo>
                      <a:lnTo>
                        <a:pt x="188" y="546"/>
                      </a:lnTo>
                      <a:lnTo>
                        <a:pt x="190" y="549"/>
                      </a:lnTo>
                      <a:lnTo>
                        <a:pt x="187" y="555"/>
                      </a:lnTo>
                      <a:lnTo>
                        <a:pt x="186" y="557"/>
                      </a:lnTo>
                      <a:lnTo>
                        <a:pt x="182" y="560"/>
                      </a:lnTo>
                      <a:lnTo>
                        <a:pt x="176" y="562"/>
                      </a:lnTo>
                      <a:lnTo>
                        <a:pt x="171" y="560"/>
                      </a:lnTo>
                      <a:lnTo>
                        <a:pt x="166" y="550"/>
                      </a:lnTo>
                      <a:lnTo>
                        <a:pt x="163" y="549"/>
                      </a:lnTo>
                      <a:lnTo>
                        <a:pt x="161" y="551"/>
                      </a:lnTo>
                      <a:lnTo>
                        <a:pt x="155" y="561"/>
                      </a:lnTo>
                      <a:lnTo>
                        <a:pt x="150" y="565"/>
                      </a:lnTo>
                      <a:lnTo>
                        <a:pt x="150" y="569"/>
                      </a:lnTo>
                      <a:lnTo>
                        <a:pt x="156" y="569"/>
                      </a:lnTo>
                      <a:lnTo>
                        <a:pt x="160" y="570"/>
                      </a:lnTo>
                      <a:lnTo>
                        <a:pt x="162" y="574"/>
                      </a:lnTo>
                      <a:lnTo>
                        <a:pt x="163" y="580"/>
                      </a:lnTo>
                      <a:lnTo>
                        <a:pt x="171" y="587"/>
                      </a:lnTo>
                      <a:lnTo>
                        <a:pt x="175" y="592"/>
                      </a:lnTo>
                      <a:lnTo>
                        <a:pt x="172" y="599"/>
                      </a:lnTo>
                      <a:lnTo>
                        <a:pt x="172" y="611"/>
                      </a:lnTo>
                      <a:lnTo>
                        <a:pt x="171" y="615"/>
                      </a:lnTo>
                      <a:lnTo>
                        <a:pt x="166" y="617"/>
                      </a:lnTo>
                      <a:lnTo>
                        <a:pt x="161" y="615"/>
                      </a:lnTo>
                      <a:lnTo>
                        <a:pt x="157" y="610"/>
                      </a:lnTo>
                      <a:lnTo>
                        <a:pt x="155" y="605"/>
                      </a:lnTo>
                      <a:lnTo>
                        <a:pt x="150" y="610"/>
                      </a:lnTo>
                      <a:lnTo>
                        <a:pt x="143" y="615"/>
                      </a:lnTo>
                      <a:lnTo>
                        <a:pt x="143" y="619"/>
                      </a:lnTo>
                      <a:lnTo>
                        <a:pt x="153" y="620"/>
                      </a:lnTo>
                      <a:lnTo>
                        <a:pt x="156" y="626"/>
                      </a:lnTo>
                      <a:lnTo>
                        <a:pt x="153" y="631"/>
                      </a:lnTo>
                      <a:lnTo>
                        <a:pt x="147" y="629"/>
                      </a:lnTo>
                      <a:lnTo>
                        <a:pt x="145" y="636"/>
                      </a:lnTo>
                      <a:lnTo>
                        <a:pt x="142" y="640"/>
                      </a:lnTo>
                      <a:lnTo>
                        <a:pt x="128" y="643"/>
                      </a:lnTo>
                      <a:lnTo>
                        <a:pt x="123" y="646"/>
                      </a:lnTo>
                      <a:lnTo>
                        <a:pt x="119" y="653"/>
                      </a:lnTo>
                      <a:lnTo>
                        <a:pt x="117" y="655"/>
                      </a:lnTo>
                      <a:lnTo>
                        <a:pt x="112" y="655"/>
                      </a:lnTo>
                      <a:lnTo>
                        <a:pt x="104" y="654"/>
                      </a:lnTo>
                      <a:lnTo>
                        <a:pt x="90" y="675"/>
                      </a:lnTo>
                      <a:lnTo>
                        <a:pt x="69" y="730"/>
                      </a:lnTo>
                      <a:lnTo>
                        <a:pt x="60" y="754"/>
                      </a:lnTo>
                      <a:lnTo>
                        <a:pt x="49" y="747"/>
                      </a:lnTo>
                      <a:lnTo>
                        <a:pt x="42" y="745"/>
                      </a:lnTo>
                      <a:lnTo>
                        <a:pt x="37" y="740"/>
                      </a:lnTo>
                      <a:lnTo>
                        <a:pt x="34" y="735"/>
                      </a:lnTo>
                      <a:lnTo>
                        <a:pt x="30" y="730"/>
                      </a:lnTo>
                      <a:lnTo>
                        <a:pt x="22" y="724"/>
                      </a:lnTo>
                      <a:lnTo>
                        <a:pt x="7" y="705"/>
                      </a:lnTo>
                      <a:lnTo>
                        <a:pt x="2" y="698"/>
                      </a:lnTo>
                      <a:lnTo>
                        <a:pt x="0" y="690"/>
                      </a:lnTo>
                      <a:lnTo>
                        <a:pt x="1" y="680"/>
                      </a:lnTo>
                      <a:lnTo>
                        <a:pt x="12" y="674"/>
                      </a:lnTo>
                      <a:lnTo>
                        <a:pt x="15" y="667"/>
                      </a:lnTo>
                      <a:lnTo>
                        <a:pt x="19" y="659"/>
                      </a:lnTo>
                      <a:lnTo>
                        <a:pt x="22" y="655"/>
                      </a:lnTo>
                      <a:lnTo>
                        <a:pt x="27" y="655"/>
                      </a:lnTo>
                      <a:lnTo>
                        <a:pt x="30" y="652"/>
                      </a:lnTo>
                      <a:lnTo>
                        <a:pt x="32" y="649"/>
                      </a:lnTo>
                      <a:lnTo>
                        <a:pt x="45" y="641"/>
                      </a:lnTo>
                      <a:lnTo>
                        <a:pt x="51" y="632"/>
                      </a:lnTo>
                      <a:lnTo>
                        <a:pt x="56" y="624"/>
                      </a:lnTo>
                      <a:lnTo>
                        <a:pt x="59" y="616"/>
                      </a:lnTo>
                      <a:lnTo>
                        <a:pt x="63" y="605"/>
                      </a:lnTo>
                      <a:lnTo>
                        <a:pt x="68" y="599"/>
                      </a:lnTo>
                      <a:lnTo>
                        <a:pt x="76" y="596"/>
                      </a:lnTo>
                      <a:lnTo>
                        <a:pt x="97" y="596"/>
                      </a:lnTo>
                      <a:lnTo>
                        <a:pt x="101" y="596"/>
                      </a:lnTo>
                      <a:lnTo>
                        <a:pt x="102" y="592"/>
                      </a:lnTo>
                      <a:lnTo>
                        <a:pt x="98" y="584"/>
                      </a:lnTo>
                      <a:lnTo>
                        <a:pt x="96" y="577"/>
                      </a:lnTo>
                      <a:lnTo>
                        <a:pt x="106" y="540"/>
                      </a:lnTo>
                      <a:lnTo>
                        <a:pt x="106" y="534"/>
                      </a:lnTo>
                      <a:lnTo>
                        <a:pt x="105" y="510"/>
                      </a:lnTo>
                      <a:lnTo>
                        <a:pt x="110" y="490"/>
                      </a:lnTo>
                      <a:lnTo>
                        <a:pt x="110" y="484"/>
                      </a:lnTo>
                      <a:lnTo>
                        <a:pt x="107" y="477"/>
                      </a:lnTo>
                      <a:lnTo>
                        <a:pt x="103" y="471"/>
                      </a:lnTo>
                      <a:lnTo>
                        <a:pt x="102" y="464"/>
                      </a:lnTo>
                      <a:lnTo>
                        <a:pt x="105" y="460"/>
                      </a:lnTo>
                      <a:lnTo>
                        <a:pt x="105" y="455"/>
                      </a:lnTo>
                      <a:lnTo>
                        <a:pt x="95" y="431"/>
                      </a:lnTo>
                      <a:lnTo>
                        <a:pt x="91" y="425"/>
                      </a:lnTo>
                      <a:lnTo>
                        <a:pt x="90" y="419"/>
                      </a:lnTo>
                      <a:lnTo>
                        <a:pt x="91" y="410"/>
                      </a:lnTo>
                      <a:lnTo>
                        <a:pt x="95" y="402"/>
                      </a:lnTo>
                      <a:lnTo>
                        <a:pt x="100" y="398"/>
                      </a:lnTo>
                      <a:lnTo>
                        <a:pt x="107" y="395"/>
                      </a:lnTo>
                      <a:lnTo>
                        <a:pt x="125" y="391"/>
                      </a:lnTo>
                      <a:lnTo>
                        <a:pt x="133" y="389"/>
                      </a:lnTo>
                      <a:lnTo>
                        <a:pt x="143" y="379"/>
                      </a:lnTo>
                      <a:lnTo>
                        <a:pt x="146" y="371"/>
                      </a:lnTo>
                      <a:lnTo>
                        <a:pt x="147" y="365"/>
                      </a:lnTo>
                      <a:lnTo>
                        <a:pt x="145" y="360"/>
                      </a:lnTo>
                      <a:lnTo>
                        <a:pt x="143" y="358"/>
                      </a:lnTo>
                      <a:lnTo>
                        <a:pt x="135" y="356"/>
                      </a:lnTo>
                      <a:lnTo>
                        <a:pt x="131" y="354"/>
                      </a:lnTo>
                      <a:lnTo>
                        <a:pt x="127" y="345"/>
                      </a:lnTo>
                      <a:lnTo>
                        <a:pt x="123" y="341"/>
                      </a:lnTo>
                      <a:lnTo>
                        <a:pt x="118" y="341"/>
                      </a:lnTo>
                      <a:lnTo>
                        <a:pt x="113" y="341"/>
                      </a:lnTo>
                      <a:lnTo>
                        <a:pt x="107" y="340"/>
                      </a:lnTo>
                      <a:lnTo>
                        <a:pt x="101" y="337"/>
                      </a:lnTo>
                      <a:lnTo>
                        <a:pt x="92" y="333"/>
                      </a:lnTo>
                      <a:lnTo>
                        <a:pt x="86" y="328"/>
                      </a:lnTo>
                      <a:lnTo>
                        <a:pt x="83" y="321"/>
                      </a:lnTo>
                      <a:lnTo>
                        <a:pt x="83" y="315"/>
                      </a:lnTo>
                      <a:lnTo>
                        <a:pt x="86" y="306"/>
                      </a:lnTo>
                      <a:lnTo>
                        <a:pt x="85" y="300"/>
                      </a:lnTo>
                      <a:lnTo>
                        <a:pt x="83" y="296"/>
                      </a:lnTo>
                      <a:lnTo>
                        <a:pt x="78" y="293"/>
                      </a:lnTo>
                      <a:lnTo>
                        <a:pt x="77" y="289"/>
                      </a:lnTo>
                      <a:lnTo>
                        <a:pt x="87" y="286"/>
                      </a:lnTo>
                      <a:lnTo>
                        <a:pt x="91" y="283"/>
                      </a:lnTo>
                      <a:lnTo>
                        <a:pt x="87" y="271"/>
                      </a:lnTo>
                      <a:lnTo>
                        <a:pt x="87" y="265"/>
                      </a:lnTo>
                      <a:lnTo>
                        <a:pt x="86" y="259"/>
                      </a:lnTo>
                      <a:lnTo>
                        <a:pt x="83" y="256"/>
                      </a:lnTo>
                      <a:lnTo>
                        <a:pt x="82" y="255"/>
                      </a:lnTo>
                      <a:lnTo>
                        <a:pt x="76" y="253"/>
                      </a:lnTo>
                      <a:lnTo>
                        <a:pt x="63" y="225"/>
                      </a:lnTo>
                      <a:lnTo>
                        <a:pt x="95" y="211"/>
                      </a:lnTo>
                      <a:lnTo>
                        <a:pt x="102" y="203"/>
                      </a:lnTo>
                      <a:lnTo>
                        <a:pt x="107" y="195"/>
                      </a:lnTo>
                      <a:lnTo>
                        <a:pt x="102" y="185"/>
                      </a:lnTo>
                      <a:lnTo>
                        <a:pt x="102" y="180"/>
                      </a:lnTo>
                      <a:lnTo>
                        <a:pt x="107" y="176"/>
                      </a:lnTo>
                      <a:lnTo>
                        <a:pt x="112" y="176"/>
                      </a:lnTo>
                      <a:lnTo>
                        <a:pt x="135" y="181"/>
                      </a:lnTo>
                      <a:lnTo>
                        <a:pt x="158" y="181"/>
                      </a:lnTo>
                      <a:lnTo>
                        <a:pt x="187" y="173"/>
                      </a:lnTo>
                      <a:lnTo>
                        <a:pt x="200" y="166"/>
                      </a:lnTo>
                      <a:lnTo>
                        <a:pt x="207" y="160"/>
                      </a:lnTo>
                      <a:lnTo>
                        <a:pt x="211" y="155"/>
                      </a:lnTo>
                      <a:lnTo>
                        <a:pt x="215" y="150"/>
                      </a:lnTo>
                      <a:lnTo>
                        <a:pt x="220" y="144"/>
                      </a:lnTo>
                      <a:lnTo>
                        <a:pt x="222" y="139"/>
                      </a:lnTo>
                      <a:lnTo>
                        <a:pt x="226" y="130"/>
                      </a:lnTo>
                      <a:lnTo>
                        <a:pt x="227" y="123"/>
                      </a:lnTo>
                      <a:lnTo>
                        <a:pt x="230" y="103"/>
                      </a:lnTo>
                      <a:lnTo>
                        <a:pt x="236" y="84"/>
                      </a:lnTo>
                      <a:lnTo>
                        <a:pt x="240" y="49"/>
                      </a:lnTo>
                      <a:lnTo>
                        <a:pt x="240" y="44"/>
                      </a:lnTo>
                      <a:lnTo>
                        <a:pt x="237" y="40"/>
                      </a:lnTo>
                      <a:lnTo>
                        <a:pt x="225" y="24"/>
                      </a:lnTo>
                      <a:lnTo>
                        <a:pt x="222" y="14"/>
                      </a:lnTo>
                      <a:lnTo>
                        <a:pt x="268" y="0"/>
                      </a:lnTo>
                      <a:lnTo>
                        <a:pt x="273" y="1"/>
                      </a:lnTo>
                      <a:lnTo>
                        <a:pt x="278" y="4"/>
                      </a:lnTo>
                      <a:lnTo>
                        <a:pt x="282" y="14"/>
                      </a:lnTo>
                      <a:lnTo>
                        <a:pt x="286" y="19"/>
                      </a:lnTo>
                      <a:lnTo>
                        <a:pt x="297" y="27"/>
                      </a:lnTo>
                      <a:lnTo>
                        <a:pt x="310" y="36"/>
                      </a:lnTo>
                      <a:lnTo>
                        <a:pt x="332" y="45"/>
                      </a:lnTo>
                      <a:lnTo>
                        <a:pt x="337" y="54"/>
                      </a:lnTo>
                      <a:lnTo>
                        <a:pt x="342" y="61"/>
                      </a:lnTo>
                      <a:lnTo>
                        <a:pt x="347" y="69"/>
                      </a:lnTo>
                      <a:lnTo>
                        <a:pt x="353" y="85"/>
                      </a:lnTo>
                      <a:lnTo>
                        <a:pt x="357" y="94"/>
                      </a:lnTo>
                      <a:lnTo>
                        <a:pt x="364" y="101"/>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1" name="Nagano" descr="{&quot;Key&quot;:&quot;nagano&quot;,&quot;Name&quot;:&quot;Nagano&quot;,&quot;Value&quot;:1.0,&quot;Formula&quot;:&quot;&quot;,&quot;Text&quot;:&quot;&quot;,&quot;OfficeApplication&quot;:1,&quot;HasValue&quot;:true}">
                  <a:extLst>
                    <a:ext uri="{FF2B5EF4-FFF2-40B4-BE49-F238E27FC236}">
                      <a16:creationId xmlns:a16="http://schemas.microsoft.com/office/drawing/2014/main" id="{26837C08-ED03-46D8-9A36-8D33D6F5C02F}"/>
                    </a:ext>
                  </a:extLst>
                </p:cNvPr>
                <p:cNvSpPr>
                  <a:spLocks/>
                </p:cNvSpPr>
                <p:nvPr/>
              </p:nvSpPr>
              <p:spPr bwMode="auto">
                <a:xfrm>
                  <a:off x="6281738" y="3290888"/>
                  <a:ext cx="327025" cy="530225"/>
                </a:xfrm>
                <a:custGeom>
                  <a:avLst/>
                  <a:gdLst>
                    <a:gd name="T0" fmla="*/ 515 w 560"/>
                    <a:gd name="T1" fmla="*/ 156 h 909"/>
                    <a:gd name="T2" fmla="*/ 472 w 560"/>
                    <a:gd name="T3" fmla="*/ 168 h 909"/>
                    <a:gd name="T4" fmla="*/ 451 w 560"/>
                    <a:gd name="T5" fmla="*/ 193 h 909"/>
                    <a:gd name="T6" fmla="*/ 434 w 560"/>
                    <a:gd name="T7" fmla="*/ 223 h 909"/>
                    <a:gd name="T8" fmla="*/ 425 w 560"/>
                    <a:gd name="T9" fmla="*/ 284 h 909"/>
                    <a:gd name="T10" fmla="*/ 458 w 560"/>
                    <a:gd name="T11" fmla="*/ 309 h 909"/>
                    <a:gd name="T12" fmla="*/ 495 w 560"/>
                    <a:gd name="T13" fmla="*/ 299 h 909"/>
                    <a:gd name="T14" fmla="*/ 522 w 560"/>
                    <a:gd name="T15" fmla="*/ 317 h 909"/>
                    <a:gd name="T16" fmla="*/ 517 w 560"/>
                    <a:gd name="T17" fmla="*/ 363 h 909"/>
                    <a:gd name="T18" fmla="*/ 515 w 560"/>
                    <a:gd name="T19" fmla="*/ 406 h 909"/>
                    <a:gd name="T20" fmla="*/ 500 w 560"/>
                    <a:gd name="T21" fmla="*/ 426 h 909"/>
                    <a:gd name="T22" fmla="*/ 518 w 560"/>
                    <a:gd name="T23" fmla="*/ 451 h 909"/>
                    <a:gd name="T24" fmla="*/ 517 w 560"/>
                    <a:gd name="T25" fmla="*/ 487 h 909"/>
                    <a:gd name="T26" fmla="*/ 560 w 560"/>
                    <a:gd name="T27" fmla="*/ 559 h 909"/>
                    <a:gd name="T28" fmla="*/ 518 w 560"/>
                    <a:gd name="T29" fmla="*/ 578 h 909"/>
                    <a:gd name="T30" fmla="*/ 502 w 560"/>
                    <a:gd name="T31" fmla="*/ 560 h 909"/>
                    <a:gd name="T32" fmla="*/ 453 w 560"/>
                    <a:gd name="T33" fmla="*/ 562 h 909"/>
                    <a:gd name="T34" fmla="*/ 443 w 560"/>
                    <a:gd name="T35" fmla="*/ 538 h 909"/>
                    <a:gd name="T36" fmla="*/ 407 w 560"/>
                    <a:gd name="T37" fmla="*/ 538 h 909"/>
                    <a:gd name="T38" fmla="*/ 366 w 560"/>
                    <a:gd name="T39" fmla="*/ 578 h 909"/>
                    <a:gd name="T40" fmla="*/ 346 w 560"/>
                    <a:gd name="T41" fmla="*/ 624 h 909"/>
                    <a:gd name="T42" fmla="*/ 339 w 560"/>
                    <a:gd name="T43" fmla="*/ 657 h 909"/>
                    <a:gd name="T44" fmla="*/ 344 w 560"/>
                    <a:gd name="T45" fmla="*/ 713 h 909"/>
                    <a:gd name="T46" fmla="*/ 326 w 560"/>
                    <a:gd name="T47" fmla="*/ 732 h 909"/>
                    <a:gd name="T48" fmla="*/ 328 w 560"/>
                    <a:gd name="T49" fmla="*/ 770 h 909"/>
                    <a:gd name="T50" fmla="*/ 316 w 560"/>
                    <a:gd name="T51" fmla="*/ 798 h 909"/>
                    <a:gd name="T52" fmla="*/ 317 w 560"/>
                    <a:gd name="T53" fmla="*/ 825 h 909"/>
                    <a:gd name="T54" fmla="*/ 277 w 560"/>
                    <a:gd name="T55" fmla="*/ 850 h 909"/>
                    <a:gd name="T56" fmla="*/ 247 w 560"/>
                    <a:gd name="T57" fmla="*/ 868 h 909"/>
                    <a:gd name="T58" fmla="*/ 172 w 560"/>
                    <a:gd name="T59" fmla="*/ 905 h 909"/>
                    <a:gd name="T60" fmla="*/ 117 w 560"/>
                    <a:gd name="T61" fmla="*/ 907 h 909"/>
                    <a:gd name="T62" fmla="*/ 86 w 560"/>
                    <a:gd name="T63" fmla="*/ 885 h 909"/>
                    <a:gd name="T64" fmla="*/ 101 w 560"/>
                    <a:gd name="T65" fmla="*/ 832 h 909"/>
                    <a:gd name="T66" fmla="*/ 112 w 560"/>
                    <a:gd name="T67" fmla="*/ 813 h 909"/>
                    <a:gd name="T68" fmla="*/ 108 w 560"/>
                    <a:gd name="T69" fmla="*/ 770 h 909"/>
                    <a:gd name="T70" fmla="*/ 82 w 560"/>
                    <a:gd name="T71" fmla="*/ 735 h 909"/>
                    <a:gd name="T72" fmla="*/ 63 w 560"/>
                    <a:gd name="T73" fmla="*/ 672 h 909"/>
                    <a:gd name="T74" fmla="*/ 28 w 560"/>
                    <a:gd name="T75" fmla="*/ 629 h 909"/>
                    <a:gd name="T76" fmla="*/ 3 w 560"/>
                    <a:gd name="T77" fmla="*/ 615 h 909"/>
                    <a:gd name="T78" fmla="*/ 27 w 560"/>
                    <a:gd name="T79" fmla="*/ 567 h 909"/>
                    <a:gd name="T80" fmla="*/ 60 w 560"/>
                    <a:gd name="T81" fmla="*/ 557 h 909"/>
                    <a:gd name="T82" fmla="*/ 103 w 560"/>
                    <a:gd name="T83" fmla="*/ 485 h 909"/>
                    <a:gd name="T84" fmla="*/ 86 w 560"/>
                    <a:gd name="T85" fmla="*/ 449 h 909"/>
                    <a:gd name="T86" fmla="*/ 96 w 560"/>
                    <a:gd name="T87" fmla="*/ 403 h 909"/>
                    <a:gd name="T88" fmla="*/ 120 w 560"/>
                    <a:gd name="T89" fmla="*/ 358 h 909"/>
                    <a:gd name="T90" fmla="*/ 103 w 560"/>
                    <a:gd name="T91" fmla="*/ 310 h 909"/>
                    <a:gd name="T92" fmla="*/ 133 w 560"/>
                    <a:gd name="T93" fmla="*/ 263 h 909"/>
                    <a:gd name="T94" fmla="*/ 141 w 560"/>
                    <a:gd name="T95" fmla="*/ 234 h 909"/>
                    <a:gd name="T96" fmla="*/ 162 w 560"/>
                    <a:gd name="T97" fmla="*/ 198 h 909"/>
                    <a:gd name="T98" fmla="*/ 186 w 560"/>
                    <a:gd name="T99" fmla="*/ 112 h 909"/>
                    <a:gd name="T100" fmla="*/ 211 w 560"/>
                    <a:gd name="T101" fmla="*/ 62 h 909"/>
                    <a:gd name="T102" fmla="*/ 225 w 560"/>
                    <a:gd name="T103" fmla="*/ 47 h 909"/>
                    <a:gd name="T104" fmla="*/ 255 w 560"/>
                    <a:gd name="T105" fmla="*/ 56 h 909"/>
                    <a:gd name="T106" fmla="*/ 275 w 560"/>
                    <a:gd name="T107" fmla="*/ 71 h 909"/>
                    <a:gd name="T108" fmla="*/ 290 w 560"/>
                    <a:gd name="T109" fmla="*/ 104 h 909"/>
                    <a:gd name="T110" fmla="*/ 330 w 560"/>
                    <a:gd name="T111" fmla="*/ 89 h 909"/>
                    <a:gd name="T112" fmla="*/ 366 w 560"/>
                    <a:gd name="T113" fmla="*/ 80 h 909"/>
                    <a:gd name="T114" fmla="*/ 383 w 560"/>
                    <a:gd name="T115" fmla="*/ 60 h 909"/>
                    <a:gd name="T116" fmla="*/ 418 w 560"/>
                    <a:gd name="T117" fmla="*/ 19 h 909"/>
                    <a:gd name="T118" fmla="*/ 480 w 560"/>
                    <a:gd name="T119" fmla="*/ 0 h 909"/>
                    <a:gd name="T120" fmla="*/ 505 w 560"/>
                    <a:gd name="T121" fmla="*/ 54 h 909"/>
                    <a:gd name="T122" fmla="*/ 541 w 560"/>
                    <a:gd name="T123" fmla="*/ 97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0" h="909">
                      <a:moveTo>
                        <a:pt x="545" y="143"/>
                      </a:moveTo>
                      <a:lnTo>
                        <a:pt x="537" y="147"/>
                      </a:lnTo>
                      <a:lnTo>
                        <a:pt x="525" y="149"/>
                      </a:lnTo>
                      <a:lnTo>
                        <a:pt x="518" y="152"/>
                      </a:lnTo>
                      <a:lnTo>
                        <a:pt x="515" y="156"/>
                      </a:lnTo>
                      <a:lnTo>
                        <a:pt x="504" y="158"/>
                      </a:lnTo>
                      <a:lnTo>
                        <a:pt x="490" y="159"/>
                      </a:lnTo>
                      <a:lnTo>
                        <a:pt x="479" y="162"/>
                      </a:lnTo>
                      <a:lnTo>
                        <a:pt x="476" y="164"/>
                      </a:lnTo>
                      <a:lnTo>
                        <a:pt x="472" y="168"/>
                      </a:lnTo>
                      <a:lnTo>
                        <a:pt x="471" y="173"/>
                      </a:lnTo>
                      <a:lnTo>
                        <a:pt x="472" y="181"/>
                      </a:lnTo>
                      <a:lnTo>
                        <a:pt x="469" y="186"/>
                      </a:lnTo>
                      <a:lnTo>
                        <a:pt x="466" y="189"/>
                      </a:lnTo>
                      <a:lnTo>
                        <a:pt x="451" y="193"/>
                      </a:lnTo>
                      <a:lnTo>
                        <a:pt x="447" y="196"/>
                      </a:lnTo>
                      <a:lnTo>
                        <a:pt x="444" y="199"/>
                      </a:lnTo>
                      <a:lnTo>
                        <a:pt x="443" y="204"/>
                      </a:lnTo>
                      <a:lnTo>
                        <a:pt x="439" y="213"/>
                      </a:lnTo>
                      <a:lnTo>
                        <a:pt x="434" y="223"/>
                      </a:lnTo>
                      <a:lnTo>
                        <a:pt x="432" y="236"/>
                      </a:lnTo>
                      <a:lnTo>
                        <a:pt x="426" y="257"/>
                      </a:lnTo>
                      <a:lnTo>
                        <a:pt x="423" y="267"/>
                      </a:lnTo>
                      <a:lnTo>
                        <a:pt x="423" y="274"/>
                      </a:lnTo>
                      <a:lnTo>
                        <a:pt x="425" y="284"/>
                      </a:lnTo>
                      <a:lnTo>
                        <a:pt x="428" y="292"/>
                      </a:lnTo>
                      <a:lnTo>
                        <a:pt x="436" y="299"/>
                      </a:lnTo>
                      <a:lnTo>
                        <a:pt x="447" y="308"/>
                      </a:lnTo>
                      <a:lnTo>
                        <a:pt x="452" y="309"/>
                      </a:lnTo>
                      <a:lnTo>
                        <a:pt x="458" y="309"/>
                      </a:lnTo>
                      <a:lnTo>
                        <a:pt x="465" y="307"/>
                      </a:lnTo>
                      <a:lnTo>
                        <a:pt x="472" y="308"/>
                      </a:lnTo>
                      <a:lnTo>
                        <a:pt x="478" y="307"/>
                      </a:lnTo>
                      <a:lnTo>
                        <a:pt x="488" y="302"/>
                      </a:lnTo>
                      <a:lnTo>
                        <a:pt x="495" y="299"/>
                      </a:lnTo>
                      <a:lnTo>
                        <a:pt x="500" y="299"/>
                      </a:lnTo>
                      <a:lnTo>
                        <a:pt x="506" y="301"/>
                      </a:lnTo>
                      <a:lnTo>
                        <a:pt x="513" y="303"/>
                      </a:lnTo>
                      <a:lnTo>
                        <a:pt x="518" y="308"/>
                      </a:lnTo>
                      <a:lnTo>
                        <a:pt x="522" y="317"/>
                      </a:lnTo>
                      <a:lnTo>
                        <a:pt x="523" y="339"/>
                      </a:lnTo>
                      <a:lnTo>
                        <a:pt x="526" y="347"/>
                      </a:lnTo>
                      <a:lnTo>
                        <a:pt x="525" y="353"/>
                      </a:lnTo>
                      <a:lnTo>
                        <a:pt x="522" y="358"/>
                      </a:lnTo>
                      <a:lnTo>
                        <a:pt x="517" y="363"/>
                      </a:lnTo>
                      <a:lnTo>
                        <a:pt x="510" y="369"/>
                      </a:lnTo>
                      <a:lnTo>
                        <a:pt x="507" y="373"/>
                      </a:lnTo>
                      <a:lnTo>
                        <a:pt x="508" y="381"/>
                      </a:lnTo>
                      <a:lnTo>
                        <a:pt x="511" y="394"/>
                      </a:lnTo>
                      <a:lnTo>
                        <a:pt x="515" y="406"/>
                      </a:lnTo>
                      <a:lnTo>
                        <a:pt x="515" y="416"/>
                      </a:lnTo>
                      <a:lnTo>
                        <a:pt x="512" y="421"/>
                      </a:lnTo>
                      <a:lnTo>
                        <a:pt x="510" y="423"/>
                      </a:lnTo>
                      <a:lnTo>
                        <a:pt x="503" y="423"/>
                      </a:lnTo>
                      <a:lnTo>
                        <a:pt x="500" y="426"/>
                      </a:lnTo>
                      <a:lnTo>
                        <a:pt x="501" y="432"/>
                      </a:lnTo>
                      <a:lnTo>
                        <a:pt x="502" y="437"/>
                      </a:lnTo>
                      <a:lnTo>
                        <a:pt x="508" y="442"/>
                      </a:lnTo>
                      <a:lnTo>
                        <a:pt x="513" y="446"/>
                      </a:lnTo>
                      <a:lnTo>
                        <a:pt x="518" y="451"/>
                      </a:lnTo>
                      <a:lnTo>
                        <a:pt x="518" y="456"/>
                      </a:lnTo>
                      <a:lnTo>
                        <a:pt x="517" y="466"/>
                      </a:lnTo>
                      <a:lnTo>
                        <a:pt x="518" y="477"/>
                      </a:lnTo>
                      <a:lnTo>
                        <a:pt x="518" y="482"/>
                      </a:lnTo>
                      <a:lnTo>
                        <a:pt x="517" y="487"/>
                      </a:lnTo>
                      <a:lnTo>
                        <a:pt x="518" y="493"/>
                      </a:lnTo>
                      <a:lnTo>
                        <a:pt x="523" y="499"/>
                      </a:lnTo>
                      <a:lnTo>
                        <a:pt x="553" y="523"/>
                      </a:lnTo>
                      <a:lnTo>
                        <a:pt x="552" y="533"/>
                      </a:lnTo>
                      <a:lnTo>
                        <a:pt x="560" y="559"/>
                      </a:lnTo>
                      <a:lnTo>
                        <a:pt x="538" y="578"/>
                      </a:lnTo>
                      <a:lnTo>
                        <a:pt x="531" y="580"/>
                      </a:lnTo>
                      <a:lnTo>
                        <a:pt x="526" y="580"/>
                      </a:lnTo>
                      <a:lnTo>
                        <a:pt x="522" y="580"/>
                      </a:lnTo>
                      <a:lnTo>
                        <a:pt x="518" y="578"/>
                      </a:lnTo>
                      <a:lnTo>
                        <a:pt x="515" y="574"/>
                      </a:lnTo>
                      <a:lnTo>
                        <a:pt x="512" y="568"/>
                      </a:lnTo>
                      <a:lnTo>
                        <a:pt x="511" y="564"/>
                      </a:lnTo>
                      <a:lnTo>
                        <a:pt x="507" y="562"/>
                      </a:lnTo>
                      <a:lnTo>
                        <a:pt x="502" y="560"/>
                      </a:lnTo>
                      <a:lnTo>
                        <a:pt x="496" y="559"/>
                      </a:lnTo>
                      <a:lnTo>
                        <a:pt x="486" y="558"/>
                      </a:lnTo>
                      <a:lnTo>
                        <a:pt x="479" y="558"/>
                      </a:lnTo>
                      <a:lnTo>
                        <a:pt x="458" y="563"/>
                      </a:lnTo>
                      <a:lnTo>
                        <a:pt x="453" y="562"/>
                      </a:lnTo>
                      <a:lnTo>
                        <a:pt x="450" y="558"/>
                      </a:lnTo>
                      <a:lnTo>
                        <a:pt x="448" y="554"/>
                      </a:lnTo>
                      <a:lnTo>
                        <a:pt x="448" y="545"/>
                      </a:lnTo>
                      <a:lnTo>
                        <a:pt x="447" y="542"/>
                      </a:lnTo>
                      <a:lnTo>
                        <a:pt x="443" y="538"/>
                      </a:lnTo>
                      <a:lnTo>
                        <a:pt x="432" y="532"/>
                      </a:lnTo>
                      <a:lnTo>
                        <a:pt x="421" y="529"/>
                      </a:lnTo>
                      <a:lnTo>
                        <a:pt x="416" y="529"/>
                      </a:lnTo>
                      <a:lnTo>
                        <a:pt x="412" y="532"/>
                      </a:lnTo>
                      <a:lnTo>
                        <a:pt x="407" y="538"/>
                      </a:lnTo>
                      <a:lnTo>
                        <a:pt x="387" y="575"/>
                      </a:lnTo>
                      <a:lnTo>
                        <a:pt x="383" y="579"/>
                      </a:lnTo>
                      <a:lnTo>
                        <a:pt x="379" y="583"/>
                      </a:lnTo>
                      <a:lnTo>
                        <a:pt x="375" y="583"/>
                      </a:lnTo>
                      <a:lnTo>
                        <a:pt x="366" y="578"/>
                      </a:lnTo>
                      <a:lnTo>
                        <a:pt x="362" y="578"/>
                      </a:lnTo>
                      <a:lnTo>
                        <a:pt x="358" y="582"/>
                      </a:lnTo>
                      <a:lnTo>
                        <a:pt x="343" y="614"/>
                      </a:lnTo>
                      <a:lnTo>
                        <a:pt x="343" y="618"/>
                      </a:lnTo>
                      <a:lnTo>
                        <a:pt x="346" y="624"/>
                      </a:lnTo>
                      <a:lnTo>
                        <a:pt x="351" y="628"/>
                      </a:lnTo>
                      <a:lnTo>
                        <a:pt x="353" y="633"/>
                      </a:lnTo>
                      <a:lnTo>
                        <a:pt x="351" y="638"/>
                      </a:lnTo>
                      <a:lnTo>
                        <a:pt x="341" y="650"/>
                      </a:lnTo>
                      <a:lnTo>
                        <a:pt x="339" y="657"/>
                      </a:lnTo>
                      <a:lnTo>
                        <a:pt x="341" y="669"/>
                      </a:lnTo>
                      <a:lnTo>
                        <a:pt x="344" y="683"/>
                      </a:lnTo>
                      <a:lnTo>
                        <a:pt x="351" y="692"/>
                      </a:lnTo>
                      <a:lnTo>
                        <a:pt x="347" y="703"/>
                      </a:lnTo>
                      <a:lnTo>
                        <a:pt x="344" y="713"/>
                      </a:lnTo>
                      <a:lnTo>
                        <a:pt x="342" y="717"/>
                      </a:lnTo>
                      <a:lnTo>
                        <a:pt x="340" y="720"/>
                      </a:lnTo>
                      <a:lnTo>
                        <a:pt x="333" y="723"/>
                      </a:lnTo>
                      <a:lnTo>
                        <a:pt x="329" y="725"/>
                      </a:lnTo>
                      <a:lnTo>
                        <a:pt x="326" y="732"/>
                      </a:lnTo>
                      <a:lnTo>
                        <a:pt x="327" y="738"/>
                      </a:lnTo>
                      <a:lnTo>
                        <a:pt x="327" y="744"/>
                      </a:lnTo>
                      <a:lnTo>
                        <a:pt x="327" y="750"/>
                      </a:lnTo>
                      <a:lnTo>
                        <a:pt x="325" y="759"/>
                      </a:lnTo>
                      <a:lnTo>
                        <a:pt x="328" y="770"/>
                      </a:lnTo>
                      <a:lnTo>
                        <a:pt x="327" y="775"/>
                      </a:lnTo>
                      <a:lnTo>
                        <a:pt x="323" y="782"/>
                      </a:lnTo>
                      <a:lnTo>
                        <a:pt x="317" y="788"/>
                      </a:lnTo>
                      <a:lnTo>
                        <a:pt x="316" y="793"/>
                      </a:lnTo>
                      <a:lnTo>
                        <a:pt x="316" y="798"/>
                      </a:lnTo>
                      <a:lnTo>
                        <a:pt x="319" y="803"/>
                      </a:lnTo>
                      <a:lnTo>
                        <a:pt x="321" y="808"/>
                      </a:lnTo>
                      <a:lnTo>
                        <a:pt x="322" y="813"/>
                      </a:lnTo>
                      <a:lnTo>
                        <a:pt x="321" y="819"/>
                      </a:lnTo>
                      <a:lnTo>
                        <a:pt x="317" y="825"/>
                      </a:lnTo>
                      <a:lnTo>
                        <a:pt x="306" y="835"/>
                      </a:lnTo>
                      <a:lnTo>
                        <a:pt x="298" y="839"/>
                      </a:lnTo>
                      <a:lnTo>
                        <a:pt x="287" y="842"/>
                      </a:lnTo>
                      <a:lnTo>
                        <a:pt x="282" y="844"/>
                      </a:lnTo>
                      <a:lnTo>
                        <a:pt x="277" y="850"/>
                      </a:lnTo>
                      <a:lnTo>
                        <a:pt x="273" y="855"/>
                      </a:lnTo>
                      <a:lnTo>
                        <a:pt x="270" y="858"/>
                      </a:lnTo>
                      <a:lnTo>
                        <a:pt x="266" y="860"/>
                      </a:lnTo>
                      <a:lnTo>
                        <a:pt x="255" y="863"/>
                      </a:lnTo>
                      <a:lnTo>
                        <a:pt x="247" y="868"/>
                      </a:lnTo>
                      <a:lnTo>
                        <a:pt x="230" y="882"/>
                      </a:lnTo>
                      <a:lnTo>
                        <a:pt x="221" y="885"/>
                      </a:lnTo>
                      <a:lnTo>
                        <a:pt x="206" y="900"/>
                      </a:lnTo>
                      <a:lnTo>
                        <a:pt x="193" y="905"/>
                      </a:lnTo>
                      <a:lnTo>
                        <a:pt x="172" y="905"/>
                      </a:lnTo>
                      <a:lnTo>
                        <a:pt x="143" y="899"/>
                      </a:lnTo>
                      <a:lnTo>
                        <a:pt x="136" y="899"/>
                      </a:lnTo>
                      <a:lnTo>
                        <a:pt x="128" y="900"/>
                      </a:lnTo>
                      <a:lnTo>
                        <a:pt x="122" y="904"/>
                      </a:lnTo>
                      <a:lnTo>
                        <a:pt x="117" y="907"/>
                      </a:lnTo>
                      <a:lnTo>
                        <a:pt x="106" y="909"/>
                      </a:lnTo>
                      <a:lnTo>
                        <a:pt x="101" y="909"/>
                      </a:lnTo>
                      <a:lnTo>
                        <a:pt x="97" y="907"/>
                      </a:lnTo>
                      <a:lnTo>
                        <a:pt x="93" y="903"/>
                      </a:lnTo>
                      <a:lnTo>
                        <a:pt x="86" y="885"/>
                      </a:lnTo>
                      <a:lnTo>
                        <a:pt x="90" y="869"/>
                      </a:lnTo>
                      <a:lnTo>
                        <a:pt x="96" y="853"/>
                      </a:lnTo>
                      <a:lnTo>
                        <a:pt x="100" y="848"/>
                      </a:lnTo>
                      <a:lnTo>
                        <a:pt x="102" y="840"/>
                      </a:lnTo>
                      <a:lnTo>
                        <a:pt x="101" y="832"/>
                      </a:lnTo>
                      <a:lnTo>
                        <a:pt x="97" y="819"/>
                      </a:lnTo>
                      <a:lnTo>
                        <a:pt x="98" y="815"/>
                      </a:lnTo>
                      <a:lnTo>
                        <a:pt x="101" y="814"/>
                      </a:lnTo>
                      <a:lnTo>
                        <a:pt x="110" y="814"/>
                      </a:lnTo>
                      <a:lnTo>
                        <a:pt x="112" y="813"/>
                      </a:lnTo>
                      <a:lnTo>
                        <a:pt x="113" y="808"/>
                      </a:lnTo>
                      <a:lnTo>
                        <a:pt x="108" y="793"/>
                      </a:lnTo>
                      <a:lnTo>
                        <a:pt x="107" y="787"/>
                      </a:lnTo>
                      <a:lnTo>
                        <a:pt x="108" y="778"/>
                      </a:lnTo>
                      <a:lnTo>
                        <a:pt x="108" y="770"/>
                      </a:lnTo>
                      <a:lnTo>
                        <a:pt x="105" y="758"/>
                      </a:lnTo>
                      <a:lnTo>
                        <a:pt x="95" y="747"/>
                      </a:lnTo>
                      <a:lnTo>
                        <a:pt x="87" y="742"/>
                      </a:lnTo>
                      <a:lnTo>
                        <a:pt x="85" y="740"/>
                      </a:lnTo>
                      <a:lnTo>
                        <a:pt x="82" y="735"/>
                      </a:lnTo>
                      <a:lnTo>
                        <a:pt x="75" y="710"/>
                      </a:lnTo>
                      <a:lnTo>
                        <a:pt x="76" y="695"/>
                      </a:lnTo>
                      <a:lnTo>
                        <a:pt x="75" y="689"/>
                      </a:lnTo>
                      <a:lnTo>
                        <a:pt x="72" y="683"/>
                      </a:lnTo>
                      <a:lnTo>
                        <a:pt x="63" y="672"/>
                      </a:lnTo>
                      <a:lnTo>
                        <a:pt x="60" y="665"/>
                      </a:lnTo>
                      <a:lnTo>
                        <a:pt x="48" y="640"/>
                      </a:lnTo>
                      <a:lnTo>
                        <a:pt x="45" y="635"/>
                      </a:lnTo>
                      <a:lnTo>
                        <a:pt x="40" y="633"/>
                      </a:lnTo>
                      <a:lnTo>
                        <a:pt x="28" y="629"/>
                      </a:lnTo>
                      <a:lnTo>
                        <a:pt x="25" y="627"/>
                      </a:lnTo>
                      <a:lnTo>
                        <a:pt x="21" y="622"/>
                      </a:lnTo>
                      <a:lnTo>
                        <a:pt x="18" y="618"/>
                      </a:lnTo>
                      <a:lnTo>
                        <a:pt x="13" y="617"/>
                      </a:lnTo>
                      <a:lnTo>
                        <a:pt x="3" y="615"/>
                      </a:lnTo>
                      <a:lnTo>
                        <a:pt x="1" y="612"/>
                      </a:lnTo>
                      <a:lnTo>
                        <a:pt x="0" y="607"/>
                      </a:lnTo>
                      <a:lnTo>
                        <a:pt x="6" y="595"/>
                      </a:lnTo>
                      <a:lnTo>
                        <a:pt x="21" y="573"/>
                      </a:lnTo>
                      <a:lnTo>
                        <a:pt x="27" y="567"/>
                      </a:lnTo>
                      <a:lnTo>
                        <a:pt x="35" y="564"/>
                      </a:lnTo>
                      <a:lnTo>
                        <a:pt x="42" y="564"/>
                      </a:lnTo>
                      <a:lnTo>
                        <a:pt x="50" y="565"/>
                      </a:lnTo>
                      <a:lnTo>
                        <a:pt x="56" y="563"/>
                      </a:lnTo>
                      <a:lnTo>
                        <a:pt x="60" y="557"/>
                      </a:lnTo>
                      <a:lnTo>
                        <a:pt x="65" y="549"/>
                      </a:lnTo>
                      <a:lnTo>
                        <a:pt x="78" y="532"/>
                      </a:lnTo>
                      <a:lnTo>
                        <a:pt x="95" y="507"/>
                      </a:lnTo>
                      <a:lnTo>
                        <a:pt x="102" y="492"/>
                      </a:lnTo>
                      <a:lnTo>
                        <a:pt x="103" y="485"/>
                      </a:lnTo>
                      <a:lnTo>
                        <a:pt x="103" y="479"/>
                      </a:lnTo>
                      <a:lnTo>
                        <a:pt x="100" y="472"/>
                      </a:lnTo>
                      <a:lnTo>
                        <a:pt x="93" y="465"/>
                      </a:lnTo>
                      <a:lnTo>
                        <a:pt x="88" y="458"/>
                      </a:lnTo>
                      <a:lnTo>
                        <a:pt x="86" y="449"/>
                      </a:lnTo>
                      <a:lnTo>
                        <a:pt x="90" y="439"/>
                      </a:lnTo>
                      <a:lnTo>
                        <a:pt x="96" y="425"/>
                      </a:lnTo>
                      <a:lnTo>
                        <a:pt x="97" y="420"/>
                      </a:lnTo>
                      <a:lnTo>
                        <a:pt x="96" y="409"/>
                      </a:lnTo>
                      <a:lnTo>
                        <a:pt x="96" y="403"/>
                      </a:lnTo>
                      <a:lnTo>
                        <a:pt x="100" y="395"/>
                      </a:lnTo>
                      <a:lnTo>
                        <a:pt x="110" y="383"/>
                      </a:lnTo>
                      <a:lnTo>
                        <a:pt x="113" y="378"/>
                      </a:lnTo>
                      <a:lnTo>
                        <a:pt x="116" y="373"/>
                      </a:lnTo>
                      <a:lnTo>
                        <a:pt x="120" y="358"/>
                      </a:lnTo>
                      <a:lnTo>
                        <a:pt x="121" y="350"/>
                      </a:lnTo>
                      <a:lnTo>
                        <a:pt x="118" y="343"/>
                      </a:lnTo>
                      <a:lnTo>
                        <a:pt x="115" y="335"/>
                      </a:lnTo>
                      <a:lnTo>
                        <a:pt x="97" y="320"/>
                      </a:lnTo>
                      <a:lnTo>
                        <a:pt x="103" y="310"/>
                      </a:lnTo>
                      <a:lnTo>
                        <a:pt x="115" y="302"/>
                      </a:lnTo>
                      <a:lnTo>
                        <a:pt x="120" y="297"/>
                      </a:lnTo>
                      <a:lnTo>
                        <a:pt x="122" y="292"/>
                      </a:lnTo>
                      <a:lnTo>
                        <a:pt x="128" y="274"/>
                      </a:lnTo>
                      <a:lnTo>
                        <a:pt x="133" y="263"/>
                      </a:lnTo>
                      <a:lnTo>
                        <a:pt x="140" y="255"/>
                      </a:lnTo>
                      <a:lnTo>
                        <a:pt x="142" y="249"/>
                      </a:lnTo>
                      <a:lnTo>
                        <a:pt x="141" y="244"/>
                      </a:lnTo>
                      <a:lnTo>
                        <a:pt x="140" y="239"/>
                      </a:lnTo>
                      <a:lnTo>
                        <a:pt x="141" y="234"/>
                      </a:lnTo>
                      <a:lnTo>
                        <a:pt x="146" y="229"/>
                      </a:lnTo>
                      <a:lnTo>
                        <a:pt x="152" y="223"/>
                      </a:lnTo>
                      <a:lnTo>
                        <a:pt x="158" y="214"/>
                      </a:lnTo>
                      <a:lnTo>
                        <a:pt x="161" y="207"/>
                      </a:lnTo>
                      <a:lnTo>
                        <a:pt x="162" y="198"/>
                      </a:lnTo>
                      <a:lnTo>
                        <a:pt x="163" y="187"/>
                      </a:lnTo>
                      <a:lnTo>
                        <a:pt x="165" y="174"/>
                      </a:lnTo>
                      <a:lnTo>
                        <a:pt x="165" y="120"/>
                      </a:lnTo>
                      <a:lnTo>
                        <a:pt x="181" y="114"/>
                      </a:lnTo>
                      <a:lnTo>
                        <a:pt x="186" y="112"/>
                      </a:lnTo>
                      <a:lnTo>
                        <a:pt x="192" y="107"/>
                      </a:lnTo>
                      <a:lnTo>
                        <a:pt x="206" y="84"/>
                      </a:lnTo>
                      <a:lnTo>
                        <a:pt x="210" y="78"/>
                      </a:lnTo>
                      <a:lnTo>
                        <a:pt x="211" y="72"/>
                      </a:lnTo>
                      <a:lnTo>
                        <a:pt x="211" y="62"/>
                      </a:lnTo>
                      <a:lnTo>
                        <a:pt x="211" y="58"/>
                      </a:lnTo>
                      <a:lnTo>
                        <a:pt x="212" y="53"/>
                      </a:lnTo>
                      <a:lnTo>
                        <a:pt x="216" y="50"/>
                      </a:lnTo>
                      <a:lnTo>
                        <a:pt x="218" y="48"/>
                      </a:lnTo>
                      <a:lnTo>
                        <a:pt x="225" y="47"/>
                      </a:lnTo>
                      <a:lnTo>
                        <a:pt x="231" y="48"/>
                      </a:lnTo>
                      <a:lnTo>
                        <a:pt x="236" y="49"/>
                      </a:lnTo>
                      <a:lnTo>
                        <a:pt x="243" y="53"/>
                      </a:lnTo>
                      <a:lnTo>
                        <a:pt x="248" y="54"/>
                      </a:lnTo>
                      <a:lnTo>
                        <a:pt x="255" y="56"/>
                      </a:lnTo>
                      <a:lnTo>
                        <a:pt x="261" y="57"/>
                      </a:lnTo>
                      <a:lnTo>
                        <a:pt x="267" y="59"/>
                      </a:lnTo>
                      <a:lnTo>
                        <a:pt x="271" y="63"/>
                      </a:lnTo>
                      <a:lnTo>
                        <a:pt x="273" y="67"/>
                      </a:lnTo>
                      <a:lnTo>
                        <a:pt x="275" y="71"/>
                      </a:lnTo>
                      <a:lnTo>
                        <a:pt x="276" y="77"/>
                      </a:lnTo>
                      <a:lnTo>
                        <a:pt x="273" y="89"/>
                      </a:lnTo>
                      <a:lnTo>
                        <a:pt x="275" y="93"/>
                      </a:lnTo>
                      <a:lnTo>
                        <a:pt x="276" y="96"/>
                      </a:lnTo>
                      <a:lnTo>
                        <a:pt x="290" y="104"/>
                      </a:lnTo>
                      <a:lnTo>
                        <a:pt x="295" y="103"/>
                      </a:lnTo>
                      <a:lnTo>
                        <a:pt x="301" y="96"/>
                      </a:lnTo>
                      <a:lnTo>
                        <a:pt x="306" y="92"/>
                      </a:lnTo>
                      <a:lnTo>
                        <a:pt x="312" y="90"/>
                      </a:lnTo>
                      <a:lnTo>
                        <a:pt x="330" y="89"/>
                      </a:lnTo>
                      <a:lnTo>
                        <a:pt x="337" y="88"/>
                      </a:lnTo>
                      <a:lnTo>
                        <a:pt x="343" y="85"/>
                      </a:lnTo>
                      <a:lnTo>
                        <a:pt x="355" y="79"/>
                      </a:lnTo>
                      <a:lnTo>
                        <a:pt x="358" y="78"/>
                      </a:lnTo>
                      <a:lnTo>
                        <a:pt x="366" y="80"/>
                      </a:lnTo>
                      <a:lnTo>
                        <a:pt x="373" y="84"/>
                      </a:lnTo>
                      <a:lnTo>
                        <a:pt x="377" y="83"/>
                      </a:lnTo>
                      <a:lnTo>
                        <a:pt x="381" y="79"/>
                      </a:lnTo>
                      <a:lnTo>
                        <a:pt x="382" y="65"/>
                      </a:lnTo>
                      <a:lnTo>
                        <a:pt x="383" y="60"/>
                      </a:lnTo>
                      <a:lnTo>
                        <a:pt x="387" y="54"/>
                      </a:lnTo>
                      <a:lnTo>
                        <a:pt x="391" y="50"/>
                      </a:lnTo>
                      <a:lnTo>
                        <a:pt x="402" y="45"/>
                      </a:lnTo>
                      <a:lnTo>
                        <a:pt x="413" y="24"/>
                      </a:lnTo>
                      <a:lnTo>
                        <a:pt x="418" y="19"/>
                      </a:lnTo>
                      <a:lnTo>
                        <a:pt x="425" y="14"/>
                      </a:lnTo>
                      <a:lnTo>
                        <a:pt x="442" y="7"/>
                      </a:lnTo>
                      <a:lnTo>
                        <a:pt x="465" y="0"/>
                      </a:lnTo>
                      <a:lnTo>
                        <a:pt x="472" y="0"/>
                      </a:lnTo>
                      <a:lnTo>
                        <a:pt x="480" y="0"/>
                      </a:lnTo>
                      <a:lnTo>
                        <a:pt x="487" y="3"/>
                      </a:lnTo>
                      <a:lnTo>
                        <a:pt x="495" y="8"/>
                      </a:lnTo>
                      <a:lnTo>
                        <a:pt x="496" y="13"/>
                      </a:lnTo>
                      <a:lnTo>
                        <a:pt x="502" y="47"/>
                      </a:lnTo>
                      <a:lnTo>
                        <a:pt x="505" y="54"/>
                      </a:lnTo>
                      <a:lnTo>
                        <a:pt x="515" y="64"/>
                      </a:lnTo>
                      <a:lnTo>
                        <a:pt x="532" y="79"/>
                      </a:lnTo>
                      <a:lnTo>
                        <a:pt x="536" y="83"/>
                      </a:lnTo>
                      <a:lnTo>
                        <a:pt x="540" y="90"/>
                      </a:lnTo>
                      <a:lnTo>
                        <a:pt x="541" y="97"/>
                      </a:lnTo>
                      <a:lnTo>
                        <a:pt x="540" y="127"/>
                      </a:lnTo>
                      <a:lnTo>
                        <a:pt x="545" y="143"/>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2" name="Shizuoka" descr="{&quot;Key&quot;:&quot;shizuoka&quot;,&quot;Name&quot;:&quot;Shizuoka&quot;,&quot;Value&quot;:1.0,&quot;Formula&quot;:&quot;&quot;,&quot;Text&quot;:&quot;&quot;,&quot;OfficeApplication&quot;:1,&quot;HasValue&quot;:true}">
                  <a:extLst>
                    <a:ext uri="{FF2B5EF4-FFF2-40B4-BE49-F238E27FC236}">
                      <a16:creationId xmlns:a16="http://schemas.microsoft.com/office/drawing/2014/main" id="{73F91981-CA83-46CB-B69C-27CB486C0515}"/>
                    </a:ext>
                  </a:extLst>
                </p:cNvPr>
                <p:cNvSpPr>
                  <a:spLocks/>
                </p:cNvSpPr>
                <p:nvPr/>
              </p:nvSpPr>
              <p:spPr bwMode="auto">
                <a:xfrm>
                  <a:off x="6313488" y="3694113"/>
                  <a:ext cx="395288" cy="296862"/>
                </a:xfrm>
                <a:custGeom>
                  <a:avLst/>
                  <a:gdLst>
                    <a:gd name="T0" fmla="*/ 612 w 677"/>
                    <a:gd name="T1" fmla="*/ 122 h 509"/>
                    <a:gd name="T2" fmla="*/ 615 w 677"/>
                    <a:gd name="T3" fmla="*/ 146 h 509"/>
                    <a:gd name="T4" fmla="*/ 615 w 677"/>
                    <a:gd name="T5" fmla="*/ 174 h 509"/>
                    <a:gd name="T6" fmla="*/ 606 w 677"/>
                    <a:gd name="T7" fmla="*/ 209 h 509"/>
                    <a:gd name="T8" fmla="*/ 628 w 677"/>
                    <a:gd name="T9" fmla="*/ 244 h 509"/>
                    <a:gd name="T10" fmla="*/ 652 w 677"/>
                    <a:gd name="T11" fmla="*/ 256 h 509"/>
                    <a:gd name="T12" fmla="*/ 656 w 677"/>
                    <a:gd name="T13" fmla="*/ 303 h 509"/>
                    <a:gd name="T14" fmla="*/ 675 w 677"/>
                    <a:gd name="T15" fmla="*/ 338 h 509"/>
                    <a:gd name="T16" fmla="*/ 657 w 677"/>
                    <a:gd name="T17" fmla="*/ 380 h 509"/>
                    <a:gd name="T18" fmla="*/ 641 w 677"/>
                    <a:gd name="T19" fmla="*/ 411 h 509"/>
                    <a:gd name="T20" fmla="*/ 625 w 677"/>
                    <a:gd name="T21" fmla="*/ 430 h 509"/>
                    <a:gd name="T22" fmla="*/ 612 w 677"/>
                    <a:gd name="T23" fmla="*/ 456 h 509"/>
                    <a:gd name="T24" fmla="*/ 610 w 677"/>
                    <a:gd name="T25" fmla="*/ 483 h 509"/>
                    <a:gd name="T26" fmla="*/ 576 w 677"/>
                    <a:gd name="T27" fmla="*/ 491 h 509"/>
                    <a:gd name="T28" fmla="*/ 540 w 677"/>
                    <a:gd name="T29" fmla="*/ 498 h 509"/>
                    <a:gd name="T30" fmla="*/ 526 w 677"/>
                    <a:gd name="T31" fmla="*/ 471 h 509"/>
                    <a:gd name="T32" fmla="*/ 515 w 677"/>
                    <a:gd name="T33" fmla="*/ 452 h 509"/>
                    <a:gd name="T34" fmla="*/ 526 w 677"/>
                    <a:gd name="T35" fmla="*/ 431 h 509"/>
                    <a:gd name="T36" fmla="*/ 522 w 677"/>
                    <a:gd name="T37" fmla="*/ 385 h 509"/>
                    <a:gd name="T38" fmla="*/ 522 w 677"/>
                    <a:gd name="T39" fmla="*/ 361 h 509"/>
                    <a:gd name="T40" fmla="*/ 522 w 677"/>
                    <a:gd name="T41" fmla="*/ 331 h 509"/>
                    <a:gd name="T42" fmla="*/ 547 w 677"/>
                    <a:gd name="T43" fmla="*/ 298 h 509"/>
                    <a:gd name="T44" fmla="*/ 580 w 677"/>
                    <a:gd name="T45" fmla="*/ 295 h 509"/>
                    <a:gd name="T46" fmla="*/ 515 w 677"/>
                    <a:gd name="T47" fmla="*/ 244 h 509"/>
                    <a:gd name="T48" fmla="*/ 451 w 677"/>
                    <a:gd name="T49" fmla="*/ 254 h 509"/>
                    <a:gd name="T50" fmla="*/ 415 w 677"/>
                    <a:gd name="T51" fmla="*/ 310 h 509"/>
                    <a:gd name="T52" fmla="*/ 429 w 677"/>
                    <a:gd name="T53" fmla="*/ 301 h 509"/>
                    <a:gd name="T54" fmla="*/ 376 w 677"/>
                    <a:gd name="T55" fmla="*/ 342 h 509"/>
                    <a:gd name="T56" fmla="*/ 351 w 677"/>
                    <a:gd name="T57" fmla="*/ 371 h 509"/>
                    <a:gd name="T58" fmla="*/ 346 w 677"/>
                    <a:gd name="T59" fmla="*/ 404 h 509"/>
                    <a:gd name="T60" fmla="*/ 302 w 677"/>
                    <a:gd name="T61" fmla="*/ 451 h 509"/>
                    <a:gd name="T62" fmla="*/ 306 w 677"/>
                    <a:gd name="T63" fmla="*/ 497 h 509"/>
                    <a:gd name="T64" fmla="*/ 235 w 677"/>
                    <a:gd name="T65" fmla="*/ 479 h 509"/>
                    <a:gd name="T66" fmla="*/ 89 w 677"/>
                    <a:gd name="T67" fmla="*/ 471 h 509"/>
                    <a:gd name="T68" fmla="*/ 2 w 677"/>
                    <a:gd name="T69" fmla="*/ 464 h 509"/>
                    <a:gd name="T70" fmla="*/ 4 w 677"/>
                    <a:gd name="T71" fmla="*/ 422 h 509"/>
                    <a:gd name="T72" fmla="*/ 40 w 677"/>
                    <a:gd name="T73" fmla="*/ 390 h 509"/>
                    <a:gd name="T74" fmla="*/ 65 w 677"/>
                    <a:gd name="T75" fmla="*/ 360 h 509"/>
                    <a:gd name="T76" fmla="*/ 89 w 677"/>
                    <a:gd name="T77" fmla="*/ 309 h 509"/>
                    <a:gd name="T78" fmla="*/ 130 w 677"/>
                    <a:gd name="T79" fmla="*/ 254 h 509"/>
                    <a:gd name="T80" fmla="*/ 150 w 677"/>
                    <a:gd name="T81" fmla="*/ 209 h 509"/>
                    <a:gd name="T82" fmla="*/ 199 w 677"/>
                    <a:gd name="T83" fmla="*/ 171 h 509"/>
                    <a:gd name="T84" fmla="*/ 221 w 677"/>
                    <a:gd name="T85" fmla="*/ 159 h 509"/>
                    <a:gd name="T86" fmla="*/ 250 w 677"/>
                    <a:gd name="T87" fmla="*/ 144 h 509"/>
                    <a:gd name="T88" fmla="*/ 265 w 677"/>
                    <a:gd name="T89" fmla="*/ 116 h 509"/>
                    <a:gd name="T90" fmla="*/ 261 w 677"/>
                    <a:gd name="T91" fmla="*/ 96 h 509"/>
                    <a:gd name="T92" fmla="*/ 269 w 677"/>
                    <a:gd name="T93" fmla="*/ 67 h 509"/>
                    <a:gd name="T94" fmla="*/ 270 w 677"/>
                    <a:gd name="T95" fmla="*/ 40 h 509"/>
                    <a:gd name="T96" fmla="*/ 286 w 677"/>
                    <a:gd name="T97" fmla="*/ 25 h 509"/>
                    <a:gd name="T98" fmla="*/ 301 w 677"/>
                    <a:gd name="T99" fmla="*/ 9 h 509"/>
                    <a:gd name="T100" fmla="*/ 312 w 677"/>
                    <a:gd name="T101" fmla="*/ 55 h 509"/>
                    <a:gd name="T102" fmla="*/ 310 w 677"/>
                    <a:gd name="T103" fmla="*/ 96 h 509"/>
                    <a:gd name="T104" fmla="*/ 306 w 677"/>
                    <a:gd name="T105" fmla="*/ 135 h 509"/>
                    <a:gd name="T106" fmla="*/ 310 w 677"/>
                    <a:gd name="T107" fmla="*/ 160 h 509"/>
                    <a:gd name="T108" fmla="*/ 337 w 677"/>
                    <a:gd name="T109" fmla="*/ 161 h 509"/>
                    <a:gd name="T110" fmla="*/ 364 w 677"/>
                    <a:gd name="T111" fmla="*/ 202 h 509"/>
                    <a:gd name="T112" fmla="*/ 384 w 677"/>
                    <a:gd name="T113" fmla="*/ 229 h 509"/>
                    <a:gd name="T114" fmla="*/ 405 w 677"/>
                    <a:gd name="T115" fmla="*/ 230 h 509"/>
                    <a:gd name="T116" fmla="*/ 421 w 677"/>
                    <a:gd name="T117" fmla="*/ 207 h 509"/>
                    <a:gd name="T118" fmla="*/ 419 w 677"/>
                    <a:gd name="T119" fmla="*/ 165 h 509"/>
                    <a:gd name="T120" fmla="*/ 430 w 677"/>
                    <a:gd name="T121" fmla="*/ 109 h 509"/>
                    <a:gd name="T122" fmla="*/ 461 w 677"/>
                    <a:gd name="T123" fmla="*/ 121 h 509"/>
                    <a:gd name="T124" fmla="*/ 486 w 677"/>
                    <a:gd name="T125" fmla="*/ 13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7" h="509">
                      <a:moveTo>
                        <a:pt x="577" y="122"/>
                      </a:moveTo>
                      <a:lnTo>
                        <a:pt x="604" y="119"/>
                      </a:lnTo>
                      <a:lnTo>
                        <a:pt x="607" y="120"/>
                      </a:lnTo>
                      <a:lnTo>
                        <a:pt x="612" y="122"/>
                      </a:lnTo>
                      <a:lnTo>
                        <a:pt x="612" y="126"/>
                      </a:lnTo>
                      <a:lnTo>
                        <a:pt x="612" y="135"/>
                      </a:lnTo>
                      <a:lnTo>
                        <a:pt x="612" y="139"/>
                      </a:lnTo>
                      <a:lnTo>
                        <a:pt x="615" y="146"/>
                      </a:lnTo>
                      <a:lnTo>
                        <a:pt x="617" y="156"/>
                      </a:lnTo>
                      <a:lnTo>
                        <a:pt x="617" y="161"/>
                      </a:lnTo>
                      <a:lnTo>
                        <a:pt x="617" y="167"/>
                      </a:lnTo>
                      <a:lnTo>
                        <a:pt x="615" y="174"/>
                      </a:lnTo>
                      <a:lnTo>
                        <a:pt x="609" y="181"/>
                      </a:lnTo>
                      <a:lnTo>
                        <a:pt x="606" y="187"/>
                      </a:lnTo>
                      <a:lnTo>
                        <a:pt x="605" y="196"/>
                      </a:lnTo>
                      <a:lnTo>
                        <a:pt x="606" y="209"/>
                      </a:lnTo>
                      <a:lnTo>
                        <a:pt x="611" y="220"/>
                      </a:lnTo>
                      <a:lnTo>
                        <a:pt x="619" y="232"/>
                      </a:lnTo>
                      <a:lnTo>
                        <a:pt x="622" y="237"/>
                      </a:lnTo>
                      <a:lnTo>
                        <a:pt x="628" y="244"/>
                      </a:lnTo>
                      <a:lnTo>
                        <a:pt x="638" y="246"/>
                      </a:lnTo>
                      <a:lnTo>
                        <a:pt x="646" y="248"/>
                      </a:lnTo>
                      <a:lnTo>
                        <a:pt x="655" y="252"/>
                      </a:lnTo>
                      <a:lnTo>
                        <a:pt x="652" y="256"/>
                      </a:lnTo>
                      <a:lnTo>
                        <a:pt x="648" y="272"/>
                      </a:lnTo>
                      <a:lnTo>
                        <a:pt x="647" y="283"/>
                      </a:lnTo>
                      <a:lnTo>
                        <a:pt x="660" y="286"/>
                      </a:lnTo>
                      <a:lnTo>
                        <a:pt x="656" y="303"/>
                      </a:lnTo>
                      <a:lnTo>
                        <a:pt x="652" y="311"/>
                      </a:lnTo>
                      <a:lnTo>
                        <a:pt x="657" y="322"/>
                      </a:lnTo>
                      <a:lnTo>
                        <a:pt x="670" y="327"/>
                      </a:lnTo>
                      <a:lnTo>
                        <a:pt x="675" y="338"/>
                      </a:lnTo>
                      <a:lnTo>
                        <a:pt x="677" y="356"/>
                      </a:lnTo>
                      <a:lnTo>
                        <a:pt x="674" y="373"/>
                      </a:lnTo>
                      <a:lnTo>
                        <a:pt x="665" y="375"/>
                      </a:lnTo>
                      <a:lnTo>
                        <a:pt x="657" y="380"/>
                      </a:lnTo>
                      <a:lnTo>
                        <a:pt x="652" y="387"/>
                      </a:lnTo>
                      <a:lnTo>
                        <a:pt x="651" y="393"/>
                      </a:lnTo>
                      <a:lnTo>
                        <a:pt x="647" y="403"/>
                      </a:lnTo>
                      <a:lnTo>
                        <a:pt x="641" y="411"/>
                      </a:lnTo>
                      <a:lnTo>
                        <a:pt x="639" y="418"/>
                      </a:lnTo>
                      <a:lnTo>
                        <a:pt x="635" y="423"/>
                      </a:lnTo>
                      <a:lnTo>
                        <a:pt x="627" y="425"/>
                      </a:lnTo>
                      <a:lnTo>
                        <a:pt x="625" y="430"/>
                      </a:lnTo>
                      <a:lnTo>
                        <a:pt x="617" y="440"/>
                      </a:lnTo>
                      <a:lnTo>
                        <a:pt x="619" y="446"/>
                      </a:lnTo>
                      <a:lnTo>
                        <a:pt x="616" y="450"/>
                      </a:lnTo>
                      <a:lnTo>
                        <a:pt x="612" y="456"/>
                      </a:lnTo>
                      <a:lnTo>
                        <a:pt x="611" y="465"/>
                      </a:lnTo>
                      <a:lnTo>
                        <a:pt x="612" y="473"/>
                      </a:lnTo>
                      <a:lnTo>
                        <a:pt x="615" y="481"/>
                      </a:lnTo>
                      <a:lnTo>
                        <a:pt x="610" y="483"/>
                      </a:lnTo>
                      <a:lnTo>
                        <a:pt x="606" y="483"/>
                      </a:lnTo>
                      <a:lnTo>
                        <a:pt x="604" y="480"/>
                      </a:lnTo>
                      <a:lnTo>
                        <a:pt x="594" y="476"/>
                      </a:lnTo>
                      <a:lnTo>
                        <a:pt x="576" y="491"/>
                      </a:lnTo>
                      <a:lnTo>
                        <a:pt x="561" y="498"/>
                      </a:lnTo>
                      <a:lnTo>
                        <a:pt x="551" y="507"/>
                      </a:lnTo>
                      <a:lnTo>
                        <a:pt x="545" y="505"/>
                      </a:lnTo>
                      <a:lnTo>
                        <a:pt x="540" y="498"/>
                      </a:lnTo>
                      <a:lnTo>
                        <a:pt x="535" y="492"/>
                      </a:lnTo>
                      <a:lnTo>
                        <a:pt x="525" y="482"/>
                      </a:lnTo>
                      <a:lnTo>
                        <a:pt x="529" y="475"/>
                      </a:lnTo>
                      <a:lnTo>
                        <a:pt x="526" y="471"/>
                      </a:lnTo>
                      <a:lnTo>
                        <a:pt x="524" y="468"/>
                      </a:lnTo>
                      <a:lnTo>
                        <a:pt x="517" y="465"/>
                      </a:lnTo>
                      <a:lnTo>
                        <a:pt x="516" y="461"/>
                      </a:lnTo>
                      <a:lnTo>
                        <a:pt x="515" y="452"/>
                      </a:lnTo>
                      <a:lnTo>
                        <a:pt x="515" y="442"/>
                      </a:lnTo>
                      <a:lnTo>
                        <a:pt x="520" y="438"/>
                      </a:lnTo>
                      <a:lnTo>
                        <a:pt x="521" y="433"/>
                      </a:lnTo>
                      <a:lnTo>
                        <a:pt x="526" y="431"/>
                      </a:lnTo>
                      <a:lnTo>
                        <a:pt x="520" y="416"/>
                      </a:lnTo>
                      <a:lnTo>
                        <a:pt x="516" y="401"/>
                      </a:lnTo>
                      <a:lnTo>
                        <a:pt x="520" y="393"/>
                      </a:lnTo>
                      <a:lnTo>
                        <a:pt x="522" y="385"/>
                      </a:lnTo>
                      <a:lnTo>
                        <a:pt x="521" y="383"/>
                      </a:lnTo>
                      <a:lnTo>
                        <a:pt x="521" y="373"/>
                      </a:lnTo>
                      <a:lnTo>
                        <a:pt x="519" y="368"/>
                      </a:lnTo>
                      <a:lnTo>
                        <a:pt x="522" y="361"/>
                      </a:lnTo>
                      <a:lnTo>
                        <a:pt x="527" y="356"/>
                      </a:lnTo>
                      <a:lnTo>
                        <a:pt x="532" y="355"/>
                      </a:lnTo>
                      <a:lnTo>
                        <a:pt x="529" y="348"/>
                      </a:lnTo>
                      <a:lnTo>
                        <a:pt x="522" y="331"/>
                      </a:lnTo>
                      <a:lnTo>
                        <a:pt x="521" y="320"/>
                      </a:lnTo>
                      <a:lnTo>
                        <a:pt x="527" y="308"/>
                      </a:lnTo>
                      <a:lnTo>
                        <a:pt x="531" y="297"/>
                      </a:lnTo>
                      <a:lnTo>
                        <a:pt x="547" y="298"/>
                      </a:lnTo>
                      <a:lnTo>
                        <a:pt x="559" y="300"/>
                      </a:lnTo>
                      <a:lnTo>
                        <a:pt x="567" y="300"/>
                      </a:lnTo>
                      <a:lnTo>
                        <a:pt x="575" y="300"/>
                      </a:lnTo>
                      <a:lnTo>
                        <a:pt x="580" y="295"/>
                      </a:lnTo>
                      <a:lnTo>
                        <a:pt x="559" y="271"/>
                      </a:lnTo>
                      <a:lnTo>
                        <a:pt x="552" y="261"/>
                      </a:lnTo>
                      <a:lnTo>
                        <a:pt x="539" y="250"/>
                      </a:lnTo>
                      <a:lnTo>
                        <a:pt x="515" y="244"/>
                      </a:lnTo>
                      <a:lnTo>
                        <a:pt x="495" y="241"/>
                      </a:lnTo>
                      <a:lnTo>
                        <a:pt x="482" y="247"/>
                      </a:lnTo>
                      <a:lnTo>
                        <a:pt x="471" y="252"/>
                      </a:lnTo>
                      <a:lnTo>
                        <a:pt x="451" y="254"/>
                      </a:lnTo>
                      <a:lnTo>
                        <a:pt x="439" y="262"/>
                      </a:lnTo>
                      <a:lnTo>
                        <a:pt x="427" y="285"/>
                      </a:lnTo>
                      <a:lnTo>
                        <a:pt x="416" y="294"/>
                      </a:lnTo>
                      <a:lnTo>
                        <a:pt x="415" y="310"/>
                      </a:lnTo>
                      <a:lnTo>
                        <a:pt x="420" y="314"/>
                      </a:lnTo>
                      <a:lnTo>
                        <a:pt x="420" y="304"/>
                      </a:lnTo>
                      <a:lnTo>
                        <a:pt x="425" y="300"/>
                      </a:lnTo>
                      <a:lnTo>
                        <a:pt x="429" y="301"/>
                      </a:lnTo>
                      <a:lnTo>
                        <a:pt x="422" y="320"/>
                      </a:lnTo>
                      <a:lnTo>
                        <a:pt x="404" y="330"/>
                      </a:lnTo>
                      <a:lnTo>
                        <a:pt x="389" y="337"/>
                      </a:lnTo>
                      <a:lnTo>
                        <a:pt x="376" y="342"/>
                      </a:lnTo>
                      <a:lnTo>
                        <a:pt x="364" y="350"/>
                      </a:lnTo>
                      <a:lnTo>
                        <a:pt x="357" y="357"/>
                      </a:lnTo>
                      <a:lnTo>
                        <a:pt x="355" y="365"/>
                      </a:lnTo>
                      <a:lnTo>
                        <a:pt x="351" y="371"/>
                      </a:lnTo>
                      <a:lnTo>
                        <a:pt x="347" y="381"/>
                      </a:lnTo>
                      <a:lnTo>
                        <a:pt x="349" y="386"/>
                      </a:lnTo>
                      <a:lnTo>
                        <a:pt x="352" y="395"/>
                      </a:lnTo>
                      <a:lnTo>
                        <a:pt x="346" y="404"/>
                      </a:lnTo>
                      <a:lnTo>
                        <a:pt x="342" y="409"/>
                      </a:lnTo>
                      <a:lnTo>
                        <a:pt x="334" y="425"/>
                      </a:lnTo>
                      <a:lnTo>
                        <a:pt x="316" y="437"/>
                      </a:lnTo>
                      <a:lnTo>
                        <a:pt x="302" y="451"/>
                      </a:lnTo>
                      <a:lnTo>
                        <a:pt x="296" y="476"/>
                      </a:lnTo>
                      <a:lnTo>
                        <a:pt x="294" y="485"/>
                      </a:lnTo>
                      <a:lnTo>
                        <a:pt x="296" y="495"/>
                      </a:lnTo>
                      <a:lnTo>
                        <a:pt x="306" y="497"/>
                      </a:lnTo>
                      <a:lnTo>
                        <a:pt x="312" y="505"/>
                      </a:lnTo>
                      <a:lnTo>
                        <a:pt x="310" y="509"/>
                      </a:lnTo>
                      <a:lnTo>
                        <a:pt x="292" y="505"/>
                      </a:lnTo>
                      <a:lnTo>
                        <a:pt x="235" y="479"/>
                      </a:lnTo>
                      <a:lnTo>
                        <a:pt x="202" y="474"/>
                      </a:lnTo>
                      <a:lnTo>
                        <a:pt x="172" y="472"/>
                      </a:lnTo>
                      <a:lnTo>
                        <a:pt x="132" y="486"/>
                      </a:lnTo>
                      <a:lnTo>
                        <a:pt x="89" y="471"/>
                      </a:lnTo>
                      <a:lnTo>
                        <a:pt x="52" y="467"/>
                      </a:lnTo>
                      <a:lnTo>
                        <a:pt x="34" y="467"/>
                      </a:lnTo>
                      <a:lnTo>
                        <a:pt x="1" y="471"/>
                      </a:lnTo>
                      <a:lnTo>
                        <a:pt x="2" y="464"/>
                      </a:lnTo>
                      <a:lnTo>
                        <a:pt x="0" y="454"/>
                      </a:lnTo>
                      <a:lnTo>
                        <a:pt x="0" y="445"/>
                      </a:lnTo>
                      <a:lnTo>
                        <a:pt x="1" y="431"/>
                      </a:lnTo>
                      <a:lnTo>
                        <a:pt x="4" y="422"/>
                      </a:lnTo>
                      <a:lnTo>
                        <a:pt x="10" y="404"/>
                      </a:lnTo>
                      <a:lnTo>
                        <a:pt x="14" y="399"/>
                      </a:lnTo>
                      <a:lnTo>
                        <a:pt x="20" y="395"/>
                      </a:lnTo>
                      <a:lnTo>
                        <a:pt x="40" y="390"/>
                      </a:lnTo>
                      <a:lnTo>
                        <a:pt x="46" y="386"/>
                      </a:lnTo>
                      <a:lnTo>
                        <a:pt x="59" y="374"/>
                      </a:lnTo>
                      <a:lnTo>
                        <a:pt x="62" y="369"/>
                      </a:lnTo>
                      <a:lnTo>
                        <a:pt x="65" y="360"/>
                      </a:lnTo>
                      <a:lnTo>
                        <a:pt x="69" y="354"/>
                      </a:lnTo>
                      <a:lnTo>
                        <a:pt x="84" y="336"/>
                      </a:lnTo>
                      <a:lnTo>
                        <a:pt x="85" y="329"/>
                      </a:lnTo>
                      <a:lnTo>
                        <a:pt x="89" y="309"/>
                      </a:lnTo>
                      <a:lnTo>
                        <a:pt x="94" y="301"/>
                      </a:lnTo>
                      <a:lnTo>
                        <a:pt x="116" y="279"/>
                      </a:lnTo>
                      <a:lnTo>
                        <a:pt x="124" y="270"/>
                      </a:lnTo>
                      <a:lnTo>
                        <a:pt x="130" y="254"/>
                      </a:lnTo>
                      <a:lnTo>
                        <a:pt x="134" y="242"/>
                      </a:lnTo>
                      <a:lnTo>
                        <a:pt x="135" y="230"/>
                      </a:lnTo>
                      <a:lnTo>
                        <a:pt x="137" y="214"/>
                      </a:lnTo>
                      <a:lnTo>
                        <a:pt x="150" y="209"/>
                      </a:lnTo>
                      <a:lnTo>
                        <a:pt x="165" y="194"/>
                      </a:lnTo>
                      <a:lnTo>
                        <a:pt x="174" y="190"/>
                      </a:lnTo>
                      <a:lnTo>
                        <a:pt x="191" y="176"/>
                      </a:lnTo>
                      <a:lnTo>
                        <a:pt x="199" y="171"/>
                      </a:lnTo>
                      <a:lnTo>
                        <a:pt x="210" y="169"/>
                      </a:lnTo>
                      <a:lnTo>
                        <a:pt x="214" y="166"/>
                      </a:lnTo>
                      <a:lnTo>
                        <a:pt x="217" y="164"/>
                      </a:lnTo>
                      <a:lnTo>
                        <a:pt x="221" y="159"/>
                      </a:lnTo>
                      <a:lnTo>
                        <a:pt x="226" y="152"/>
                      </a:lnTo>
                      <a:lnTo>
                        <a:pt x="231" y="150"/>
                      </a:lnTo>
                      <a:lnTo>
                        <a:pt x="242" y="147"/>
                      </a:lnTo>
                      <a:lnTo>
                        <a:pt x="250" y="144"/>
                      </a:lnTo>
                      <a:lnTo>
                        <a:pt x="261" y="134"/>
                      </a:lnTo>
                      <a:lnTo>
                        <a:pt x="265" y="127"/>
                      </a:lnTo>
                      <a:lnTo>
                        <a:pt x="266" y="121"/>
                      </a:lnTo>
                      <a:lnTo>
                        <a:pt x="265" y="116"/>
                      </a:lnTo>
                      <a:lnTo>
                        <a:pt x="264" y="111"/>
                      </a:lnTo>
                      <a:lnTo>
                        <a:pt x="260" y="106"/>
                      </a:lnTo>
                      <a:lnTo>
                        <a:pt x="260" y="101"/>
                      </a:lnTo>
                      <a:lnTo>
                        <a:pt x="261" y="96"/>
                      </a:lnTo>
                      <a:lnTo>
                        <a:pt x="267" y="90"/>
                      </a:lnTo>
                      <a:lnTo>
                        <a:pt x="271" y="84"/>
                      </a:lnTo>
                      <a:lnTo>
                        <a:pt x="272" y="79"/>
                      </a:lnTo>
                      <a:lnTo>
                        <a:pt x="269" y="67"/>
                      </a:lnTo>
                      <a:lnTo>
                        <a:pt x="271" y="59"/>
                      </a:lnTo>
                      <a:lnTo>
                        <a:pt x="271" y="52"/>
                      </a:lnTo>
                      <a:lnTo>
                        <a:pt x="271" y="46"/>
                      </a:lnTo>
                      <a:lnTo>
                        <a:pt x="270" y="40"/>
                      </a:lnTo>
                      <a:lnTo>
                        <a:pt x="274" y="34"/>
                      </a:lnTo>
                      <a:lnTo>
                        <a:pt x="277" y="31"/>
                      </a:lnTo>
                      <a:lnTo>
                        <a:pt x="284" y="29"/>
                      </a:lnTo>
                      <a:lnTo>
                        <a:pt x="286" y="25"/>
                      </a:lnTo>
                      <a:lnTo>
                        <a:pt x="289" y="21"/>
                      </a:lnTo>
                      <a:lnTo>
                        <a:pt x="291" y="11"/>
                      </a:lnTo>
                      <a:lnTo>
                        <a:pt x="295" y="0"/>
                      </a:lnTo>
                      <a:lnTo>
                        <a:pt x="301" y="9"/>
                      </a:lnTo>
                      <a:lnTo>
                        <a:pt x="302" y="14"/>
                      </a:lnTo>
                      <a:lnTo>
                        <a:pt x="305" y="27"/>
                      </a:lnTo>
                      <a:lnTo>
                        <a:pt x="311" y="46"/>
                      </a:lnTo>
                      <a:lnTo>
                        <a:pt x="312" y="55"/>
                      </a:lnTo>
                      <a:lnTo>
                        <a:pt x="314" y="76"/>
                      </a:lnTo>
                      <a:lnTo>
                        <a:pt x="312" y="81"/>
                      </a:lnTo>
                      <a:lnTo>
                        <a:pt x="310" y="91"/>
                      </a:lnTo>
                      <a:lnTo>
                        <a:pt x="310" y="96"/>
                      </a:lnTo>
                      <a:lnTo>
                        <a:pt x="311" y="109"/>
                      </a:lnTo>
                      <a:lnTo>
                        <a:pt x="310" y="116"/>
                      </a:lnTo>
                      <a:lnTo>
                        <a:pt x="306" y="129"/>
                      </a:lnTo>
                      <a:lnTo>
                        <a:pt x="306" y="135"/>
                      </a:lnTo>
                      <a:lnTo>
                        <a:pt x="309" y="140"/>
                      </a:lnTo>
                      <a:lnTo>
                        <a:pt x="309" y="146"/>
                      </a:lnTo>
                      <a:lnTo>
                        <a:pt x="309" y="155"/>
                      </a:lnTo>
                      <a:lnTo>
                        <a:pt x="310" y="160"/>
                      </a:lnTo>
                      <a:lnTo>
                        <a:pt x="315" y="164"/>
                      </a:lnTo>
                      <a:lnTo>
                        <a:pt x="321" y="165"/>
                      </a:lnTo>
                      <a:lnTo>
                        <a:pt x="330" y="162"/>
                      </a:lnTo>
                      <a:lnTo>
                        <a:pt x="337" y="161"/>
                      </a:lnTo>
                      <a:lnTo>
                        <a:pt x="347" y="162"/>
                      </a:lnTo>
                      <a:lnTo>
                        <a:pt x="354" y="166"/>
                      </a:lnTo>
                      <a:lnTo>
                        <a:pt x="357" y="172"/>
                      </a:lnTo>
                      <a:lnTo>
                        <a:pt x="364" y="202"/>
                      </a:lnTo>
                      <a:lnTo>
                        <a:pt x="366" y="210"/>
                      </a:lnTo>
                      <a:lnTo>
                        <a:pt x="370" y="216"/>
                      </a:lnTo>
                      <a:lnTo>
                        <a:pt x="376" y="221"/>
                      </a:lnTo>
                      <a:lnTo>
                        <a:pt x="384" y="229"/>
                      </a:lnTo>
                      <a:lnTo>
                        <a:pt x="389" y="231"/>
                      </a:lnTo>
                      <a:lnTo>
                        <a:pt x="394" y="232"/>
                      </a:lnTo>
                      <a:lnTo>
                        <a:pt x="400" y="232"/>
                      </a:lnTo>
                      <a:lnTo>
                        <a:pt x="405" y="230"/>
                      </a:lnTo>
                      <a:lnTo>
                        <a:pt x="411" y="225"/>
                      </a:lnTo>
                      <a:lnTo>
                        <a:pt x="416" y="221"/>
                      </a:lnTo>
                      <a:lnTo>
                        <a:pt x="420" y="215"/>
                      </a:lnTo>
                      <a:lnTo>
                        <a:pt x="421" y="207"/>
                      </a:lnTo>
                      <a:lnTo>
                        <a:pt x="420" y="202"/>
                      </a:lnTo>
                      <a:lnTo>
                        <a:pt x="420" y="196"/>
                      </a:lnTo>
                      <a:lnTo>
                        <a:pt x="419" y="184"/>
                      </a:lnTo>
                      <a:lnTo>
                        <a:pt x="419" y="165"/>
                      </a:lnTo>
                      <a:lnTo>
                        <a:pt x="422" y="147"/>
                      </a:lnTo>
                      <a:lnTo>
                        <a:pt x="426" y="122"/>
                      </a:lnTo>
                      <a:lnTo>
                        <a:pt x="427" y="115"/>
                      </a:lnTo>
                      <a:lnTo>
                        <a:pt x="430" y="109"/>
                      </a:lnTo>
                      <a:lnTo>
                        <a:pt x="434" y="105"/>
                      </a:lnTo>
                      <a:lnTo>
                        <a:pt x="439" y="105"/>
                      </a:lnTo>
                      <a:lnTo>
                        <a:pt x="454" y="117"/>
                      </a:lnTo>
                      <a:lnTo>
                        <a:pt x="461" y="121"/>
                      </a:lnTo>
                      <a:lnTo>
                        <a:pt x="471" y="122"/>
                      </a:lnTo>
                      <a:lnTo>
                        <a:pt x="476" y="126"/>
                      </a:lnTo>
                      <a:lnTo>
                        <a:pt x="480" y="130"/>
                      </a:lnTo>
                      <a:lnTo>
                        <a:pt x="486" y="135"/>
                      </a:lnTo>
                      <a:lnTo>
                        <a:pt x="496" y="137"/>
                      </a:lnTo>
                      <a:lnTo>
                        <a:pt x="549" y="130"/>
                      </a:lnTo>
                      <a:lnTo>
                        <a:pt x="577" y="122"/>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3" name="Toyama" descr="{&quot;Key&quot;:&quot;toyama&quot;,&quot;Name&quot;:&quot;Toyama&quot;,&quot;Value&quot;:1.0,&quot;Formula&quot;:&quot;&quot;,&quot;Text&quot;:&quot;&quot;,&quot;OfficeApplication&quot;:1,&quot;HasValue&quot;:true}">
                  <a:extLst>
                    <a:ext uri="{FF2B5EF4-FFF2-40B4-BE49-F238E27FC236}">
                      <a16:creationId xmlns:a16="http://schemas.microsoft.com/office/drawing/2014/main" id="{4DD4A8E3-AD8B-4859-9593-AE0C59B2E018}"/>
                    </a:ext>
                  </a:extLst>
                </p:cNvPr>
                <p:cNvSpPr>
                  <a:spLocks/>
                </p:cNvSpPr>
                <p:nvPr/>
              </p:nvSpPr>
              <p:spPr bwMode="auto">
                <a:xfrm>
                  <a:off x="6148388" y="3302000"/>
                  <a:ext cx="228600" cy="204787"/>
                </a:xfrm>
                <a:custGeom>
                  <a:avLst/>
                  <a:gdLst>
                    <a:gd name="T0" fmla="*/ 391 w 393"/>
                    <a:gd name="T1" fmla="*/ 167 h 352"/>
                    <a:gd name="T2" fmla="*/ 386 w 393"/>
                    <a:gd name="T3" fmla="*/ 194 h 352"/>
                    <a:gd name="T4" fmla="*/ 369 w 393"/>
                    <a:gd name="T5" fmla="*/ 214 h 352"/>
                    <a:gd name="T6" fmla="*/ 370 w 393"/>
                    <a:gd name="T7" fmla="*/ 229 h 352"/>
                    <a:gd name="T8" fmla="*/ 356 w 393"/>
                    <a:gd name="T9" fmla="*/ 254 h 352"/>
                    <a:gd name="T10" fmla="*/ 343 w 393"/>
                    <a:gd name="T11" fmla="*/ 282 h 352"/>
                    <a:gd name="T12" fmla="*/ 309 w 393"/>
                    <a:gd name="T13" fmla="*/ 294 h 352"/>
                    <a:gd name="T14" fmla="*/ 254 w 393"/>
                    <a:gd name="T15" fmla="*/ 277 h 352"/>
                    <a:gd name="T16" fmla="*/ 230 w 393"/>
                    <a:gd name="T17" fmla="*/ 270 h 352"/>
                    <a:gd name="T18" fmla="*/ 216 w 393"/>
                    <a:gd name="T19" fmla="*/ 278 h 352"/>
                    <a:gd name="T20" fmla="*/ 214 w 393"/>
                    <a:gd name="T21" fmla="*/ 267 h 352"/>
                    <a:gd name="T22" fmla="*/ 204 w 393"/>
                    <a:gd name="T23" fmla="*/ 263 h 352"/>
                    <a:gd name="T24" fmla="*/ 169 w 393"/>
                    <a:gd name="T25" fmla="*/ 273 h 352"/>
                    <a:gd name="T26" fmla="*/ 151 w 393"/>
                    <a:gd name="T27" fmla="*/ 275 h 352"/>
                    <a:gd name="T28" fmla="*/ 119 w 393"/>
                    <a:gd name="T29" fmla="*/ 307 h 352"/>
                    <a:gd name="T30" fmla="*/ 111 w 393"/>
                    <a:gd name="T31" fmla="*/ 323 h 352"/>
                    <a:gd name="T32" fmla="*/ 100 w 393"/>
                    <a:gd name="T33" fmla="*/ 334 h 352"/>
                    <a:gd name="T34" fmla="*/ 81 w 393"/>
                    <a:gd name="T35" fmla="*/ 352 h 352"/>
                    <a:gd name="T36" fmla="*/ 78 w 393"/>
                    <a:gd name="T37" fmla="*/ 337 h 352"/>
                    <a:gd name="T38" fmla="*/ 71 w 393"/>
                    <a:gd name="T39" fmla="*/ 325 h 352"/>
                    <a:gd name="T40" fmla="*/ 50 w 393"/>
                    <a:gd name="T41" fmla="*/ 319 h 352"/>
                    <a:gd name="T42" fmla="*/ 29 w 393"/>
                    <a:gd name="T43" fmla="*/ 324 h 352"/>
                    <a:gd name="T44" fmla="*/ 23 w 393"/>
                    <a:gd name="T45" fmla="*/ 342 h 352"/>
                    <a:gd name="T46" fmla="*/ 6 w 393"/>
                    <a:gd name="T47" fmla="*/ 343 h 352"/>
                    <a:gd name="T48" fmla="*/ 6 w 393"/>
                    <a:gd name="T49" fmla="*/ 309 h 352"/>
                    <a:gd name="T50" fmla="*/ 3 w 393"/>
                    <a:gd name="T51" fmla="*/ 287 h 352"/>
                    <a:gd name="T52" fmla="*/ 5 w 393"/>
                    <a:gd name="T53" fmla="*/ 240 h 352"/>
                    <a:gd name="T54" fmla="*/ 11 w 393"/>
                    <a:gd name="T55" fmla="*/ 217 h 352"/>
                    <a:gd name="T56" fmla="*/ 5 w 393"/>
                    <a:gd name="T57" fmla="*/ 187 h 352"/>
                    <a:gd name="T58" fmla="*/ 13 w 393"/>
                    <a:gd name="T59" fmla="*/ 150 h 352"/>
                    <a:gd name="T60" fmla="*/ 9 w 393"/>
                    <a:gd name="T61" fmla="*/ 135 h 352"/>
                    <a:gd name="T62" fmla="*/ 19 w 393"/>
                    <a:gd name="T63" fmla="*/ 117 h 352"/>
                    <a:gd name="T64" fmla="*/ 29 w 393"/>
                    <a:gd name="T65" fmla="*/ 82 h 352"/>
                    <a:gd name="T66" fmla="*/ 46 w 393"/>
                    <a:gd name="T67" fmla="*/ 37 h 352"/>
                    <a:gd name="T68" fmla="*/ 64 w 393"/>
                    <a:gd name="T69" fmla="*/ 19 h 352"/>
                    <a:gd name="T70" fmla="*/ 78 w 393"/>
                    <a:gd name="T71" fmla="*/ 18 h 352"/>
                    <a:gd name="T72" fmla="*/ 101 w 393"/>
                    <a:gd name="T73" fmla="*/ 12 h 352"/>
                    <a:gd name="T74" fmla="*/ 108 w 393"/>
                    <a:gd name="T75" fmla="*/ 30 h 352"/>
                    <a:gd name="T76" fmla="*/ 119 w 393"/>
                    <a:gd name="T77" fmla="*/ 83 h 352"/>
                    <a:gd name="T78" fmla="*/ 161 w 393"/>
                    <a:gd name="T79" fmla="*/ 108 h 352"/>
                    <a:gd name="T80" fmla="*/ 218 w 393"/>
                    <a:gd name="T81" fmla="*/ 109 h 352"/>
                    <a:gd name="T82" fmla="*/ 251 w 393"/>
                    <a:gd name="T83" fmla="*/ 88 h 352"/>
                    <a:gd name="T84" fmla="*/ 264 w 393"/>
                    <a:gd name="T85" fmla="*/ 57 h 352"/>
                    <a:gd name="T86" fmla="*/ 269 w 393"/>
                    <a:gd name="T87" fmla="*/ 27 h 352"/>
                    <a:gd name="T88" fmla="*/ 334 w 393"/>
                    <a:gd name="T89" fmla="*/ 3 h 352"/>
                    <a:gd name="T90" fmla="*/ 354 w 393"/>
                    <a:gd name="T91" fmla="*/ 13 h 352"/>
                    <a:gd name="T92" fmla="*/ 376 w 393"/>
                    <a:gd name="T93" fmla="*/ 3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3" h="352">
                      <a:moveTo>
                        <a:pt x="393" y="101"/>
                      </a:moveTo>
                      <a:lnTo>
                        <a:pt x="393" y="154"/>
                      </a:lnTo>
                      <a:lnTo>
                        <a:pt x="391" y="167"/>
                      </a:lnTo>
                      <a:lnTo>
                        <a:pt x="390" y="178"/>
                      </a:lnTo>
                      <a:lnTo>
                        <a:pt x="389" y="187"/>
                      </a:lnTo>
                      <a:lnTo>
                        <a:pt x="386" y="194"/>
                      </a:lnTo>
                      <a:lnTo>
                        <a:pt x="380" y="203"/>
                      </a:lnTo>
                      <a:lnTo>
                        <a:pt x="374" y="209"/>
                      </a:lnTo>
                      <a:lnTo>
                        <a:pt x="369" y="214"/>
                      </a:lnTo>
                      <a:lnTo>
                        <a:pt x="368" y="219"/>
                      </a:lnTo>
                      <a:lnTo>
                        <a:pt x="369" y="224"/>
                      </a:lnTo>
                      <a:lnTo>
                        <a:pt x="370" y="229"/>
                      </a:lnTo>
                      <a:lnTo>
                        <a:pt x="368" y="235"/>
                      </a:lnTo>
                      <a:lnTo>
                        <a:pt x="361" y="243"/>
                      </a:lnTo>
                      <a:lnTo>
                        <a:pt x="356" y="254"/>
                      </a:lnTo>
                      <a:lnTo>
                        <a:pt x="350" y="272"/>
                      </a:lnTo>
                      <a:lnTo>
                        <a:pt x="348" y="277"/>
                      </a:lnTo>
                      <a:lnTo>
                        <a:pt x="343" y="282"/>
                      </a:lnTo>
                      <a:lnTo>
                        <a:pt x="331" y="290"/>
                      </a:lnTo>
                      <a:lnTo>
                        <a:pt x="325" y="300"/>
                      </a:lnTo>
                      <a:lnTo>
                        <a:pt x="309" y="294"/>
                      </a:lnTo>
                      <a:lnTo>
                        <a:pt x="290" y="285"/>
                      </a:lnTo>
                      <a:lnTo>
                        <a:pt x="264" y="282"/>
                      </a:lnTo>
                      <a:lnTo>
                        <a:pt x="254" y="277"/>
                      </a:lnTo>
                      <a:lnTo>
                        <a:pt x="241" y="270"/>
                      </a:lnTo>
                      <a:lnTo>
                        <a:pt x="235" y="269"/>
                      </a:lnTo>
                      <a:lnTo>
                        <a:pt x="230" y="270"/>
                      </a:lnTo>
                      <a:lnTo>
                        <a:pt x="226" y="274"/>
                      </a:lnTo>
                      <a:lnTo>
                        <a:pt x="221" y="277"/>
                      </a:lnTo>
                      <a:lnTo>
                        <a:pt x="216" y="278"/>
                      </a:lnTo>
                      <a:lnTo>
                        <a:pt x="213" y="275"/>
                      </a:lnTo>
                      <a:lnTo>
                        <a:pt x="213" y="273"/>
                      </a:lnTo>
                      <a:lnTo>
                        <a:pt x="214" y="267"/>
                      </a:lnTo>
                      <a:lnTo>
                        <a:pt x="213" y="263"/>
                      </a:lnTo>
                      <a:lnTo>
                        <a:pt x="209" y="263"/>
                      </a:lnTo>
                      <a:lnTo>
                        <a:pt x="204" y="263"/>
                      </a:lnTo>
                      <a:lnTo>
                        <a:pt x="178" y="274"/>
                      </a:lnTo>
                      <a:lnTo>
                        <a:pt x="173" y="274"/>
                      </a:lnTo>
                      <a:lnTo>
                        <a:pt x="169" y="273"/>
                      </a:lnTo>
                      <a:lnTo>
                        <a:pt x="163" y="270"/>
                      </a:lnTo>
                      <a:lnTo>
                        <a:pt x="156" y="272"/>
                      </a:lnTo>
                      <a:lnTo>
                        <a:pt x="151" y="275"/>
                      </a:lnTo>
                      <a:lnTo>
                        <a:pt x="130" y="299"/>
                      </a:lnTo>
                      <a:lnTo>
                        <a:pt x="125" y="304"/>
                      </a:lnTo>
                      <a:lnTo>
                        <a:pt x="119" y="307"/>
                      </a:lnTo>
                      <a:lnTo>
                        <a:pt x="116" y="310"/>
                      </a:lnTo>
                      <a:lnTo>
                        <a:pt x="114" y="313"/>
                      </a:lnTo>
                      <a:lnTo>
                        <a:pt x="111" y="323"/>
                      </a:lnTo>
                      <a:lnTo>
                        <a:pt x="109" y="329"/>
                      </a:lnTo>
                      <a:lnTo>
                        <a:pt x="104" y="332"/>
                      </a:lnTo>
                      <a:lnTo>
                        <a:pt x="100" y="334"/>
                      </a:lnTo>
                      <a:lnTo>
                        <a:pt x="98" y="337"/>
                      </a:lnTo>
                      <a:lnTo>
                        <a:pt x="89" y="347"/>
                      </a:lnTo>
                      <a:lnTo>
                        <a:pt x="81" y="352"/>
                      </a:lnTo>
                      <a:lnTo>
                        <a:pt x="76" y="350"/>
                      </a:lnTo>
                      <a:lnTo>
                        <a:pt x="75" y="347"/>
                      </a:lnTo>
                      <a:lnTo>
                        <a:pt x="78" y="337"/>
                      </a:lnTo>
                      <a:lnTo>
                        <a:pt x="78" y="333"/>
                      </a:lnTo>
                      <a:lnTo>
                        <a:pt x="75" y="329"/>
                      </a:lnTo>
                      <a:lnTo>
                        <a:pt x="71" y="325"/>
                      </a:lnTo>
                      <a:lnTo>
                        <a:pt x="66" y="322"/>
                      </a:lnTo>
                      <a:lnTo>
                        <a:pt x="58" y="319"/>
                      </a:lnTo>
                      <a:lnTo>
                        <a:pt x="50" y="319"/>
                      </a:lnTo>
                      <a:lnTo>
                        <a:pt x="38" y="317"/>
                      </a:lnTo>
                      <a:lnTo>
                        <a:pt x="33" y="319"/>
                      </a:lnTo>
                      <a:lnTo>
                        <a:pt x="29" y="324"/>
                      </a:lnTo>
                      <a:lnTo>
                        <a:pt x="26" y="330"/>
                      </a:lnTo>
                      <a:lnTo>
                        <a:pt x="25" y="337"/>
                      </a:lnTo>
                      <a:lnTo>
                        <a:pt x="23" y="342"/>
                      </a:lnTo>
                      <a:lnTo>
                        <a:pt x="20" y="344"/>
                      </a:lnTo>
                      <a:lnTo>
                        <a:pt x="16" y="344"/>
                      </a:lnTo>
                      <a:lnTo>
                        <a:pt x="6" y="343"/>
                      </a:lnTo>
                      <a:lnTo>
                        <a:pt x="3" y="328"/>
                      </a:lnTo>
                      <a:lnTo>
                        <a:pt x="4" y="322"/>
                      </a:lnTo>
                      <a:lnTo>
                        <a:pt x="6" y="309"/>
                      </a:lnTo>
                      <a:lnTo>
                        <a:pt x="6" y="300"/>
                      </a:lnTo>
                      <a:lnTo>
                        <a:pt x="5" y="293"/>
                      </a:lnTo>
                      <a:lnTo>
                        <a:pt x="3" y="287"/>
                      </a:lnTo>
                      <a:lnTo>
                        <a:pt x="0" y="279"/>
                      </a:lnTo>
                      <a:lnTo>
                        <a:pt x="0" y="268"/>
                      </a:lnTo>
                      <a:lnTo>
                        <a:pt x="5" y="240"/>
                      </a:lnTo>
                      <a:lnTo>
                        <a:pt x="6" y="232"/>
                      </a:lnTo>
                      <a:lnTo>
                        <a:pt x="9" y="227"/>
                      </a:lnTo>
                      <a:lnTo>
                        <a:pt x="11" y="217"/>
                      </a:lnTo>
                      <a:lnTo>
                        <a:pt x="10" y="210"/>
                      </a:lnTo>
                      <a:lnTo>
                        <a:pt x="6" y="194"/>
                      </a:lnTo>
                      <a:lnTo>
                        <a:pt x="5" y="187"/>
                      </a:lnTo>
                      <a:lnTo>
                        <a:pt x="5" y="178"/>
                      </a:lnTo>
                      <a:lnTo>
                        <a:pt x="13" y="157"/>
                      </a:lnTo>
                      <a:lnTo>
                        <a:pt x="13" y="150"/>
                      </a:lnTo>
                      <a:lnTo>
                        <a:pt x="11" y="145"/>
                      </a:lnTo>
                      <a:lnTo>
                        <a:pt x="10" y="140"/>
                      </a:lnTo>
                      <a:lnTo>
                        <a:pt x="9" y="135"/>
                      </a:lnTo>
                      <a:lnTo>
                        <a:pt x="8" y="129"/>
                      </a:lnTo>
                      <a:lnTo>
                        <a:pt x="11" y="124"/>
                      </a:lnTo>
                      <a:lnTo>
                        <a:pt x="19" y="117"/>
                      </a:lnTo>
                      <a:lnTo>
                        <a:pt x="23" y="112"/>
                      </a:lnTo>
                      <a:lnTo>
                        <a:pt x="28" y="93"/>
                      </a:lnTo>
                      <a:lnTo>
                        <a:pt x="29" y="82"/>
                      </a:lnTo>
                      <a:lnTo>
                        <a:pt x="30" y="73"/>
                      </a:lnTo>
                      <a:lnTo>
                        <a:pt x="41" y="44"/>
                      </a:lnTo>
                      <a:lnTo>
                        <a:pt x="46" y="37"/>
                      </a:lnTo>
                      <a:lnTo>
                        <a:pt x="55" y="25"/>
                      </a:lnTo>
                      <a:lnTo>
                        <a:pt x="59" y="22"/>
                      </a:lnTo>
                      <a:lnTo>
                        <a:pt x="64" y="19"/>
                      </a:lnTo>
                      <a:lnTo>
                        <a:pt x="69" y="19"/>
                      </a:lnTo>
                      <a:lnTo>
                        <a:pt x="73" y="19"/>
                      </a:lnTo>
                      <a:lnTo>
                        <a:pt x="78" y="18"/>
                      </a:lnTo>
                      <a:lnTo>
                        <a:pt x="89" y="12"/>
                      </a:lnTo>
                      <a:lnTo>
                        <a:pt x="94" y="12"/>
                      </a:lnTo>
                      <a:lnTo>
                        <a:pt x="101" y="12"/>
                      </a:lnTo>
                      <a:lnTo>
                        <a:pt x="115" y="9"/>
                      </a:lnTo>
                      <a:lnTo>
                        <a:pt x="109" y="18"/>
                      </a:lnTo>
                      <a:lnTo>
                        <a:pt x="108" y="30"/>
                      </a:lnTo>
                      <a:lnTo>
                        <a:pt x="93" y="53"/>
                      </a:lnTo>
                      <a:lnTo>
                        <a:pt x="100" y="70"/>
                      </a:lnTo>
                      <a:lnTo>
                        <a:pt x="119" y="83"/>
                      </a:lnTo>
                      <a:lnTo>
                        <a:pt x="130" y="93"/>
                      </a:lnTo>
                      <a:lnTo>
                        <a:pt x="149" y="100"/>
                      </a:lnTo>
                      <a:lnTo>
                        <a:pt x="161" y="108"/>
                      </a:lnTo>
                      <a:lnTo>
                        <a:pt x="178" y="109"/>
                      </a:lnTo>
                      <a:lnTo>
                        <a:pt x="195" y="105"/>
                      </a:lnTo>
                      <a:lnTo>
                        <a:pt x="218" y="109"/>
                      </a:lnTo>
                      <a:lnTo>
                        <a:pt x="231" y="107"/>
                      </a:lnTo>
                      <a:lnTo>
                        <a:pt x="239" y="97"/>
                      </a:lnTo>
                      <a:lnTo>
                        <a:pt x="251" y="88"/>
                      </a:lnTo>
                      <a:lnTo>
                        <a:pt x="256" y="74"/>
                      </a:lnTo>
                      <a:lnTo>
                        <a:pt x="261" y="65"/>
                      </a:lnTo>
                      <a:lnTo>
                        <a:pt x="264" y="57"/>
                      </a:lnTo>
                      <a:lnTo>
                        <a:pt x="266" y="49"/>
                      </a:lnTo>
                      <a:lnTo>
                        <a:pt x="264" y="39"/>
                      </a:lnTo>
                      <a:lnTo>
                        <a:pt x="269" y="27"/>
                      </a:lnTo>
                      <a:lnTo>
                        <a:pt x="278" y="22"/>
                      </a:lnTo>
                      <a:lnTo>
                        <a:pt x="299" y="10"/>
                      </a:lnTo>
                      <a:lnTo>
                        <a:pt x="334" y="3"/>
                      </a:lnTo>
                      <a:lnTo>
                        <a:pt x="345" y="0"/>
                      </a:lnTo>
                      <a:lnTo>
                        <a:pt x="345" y="3"/>
                      </a:lnTo>
                      <a:lnTo>
                        <a:pt x="354" y="13"/>
                      </a:lnTo>
                      <a:lnTo>
                        <a:pt x="368" y="20"/>
                      </a:lnTo>
                      <a:lnTo>
                        <a:pt x="372" y="25"/>
                      </a:lnTo>
                      <a:lnTo>
                        <a:pt x="376" y="32"/>
                      </a:lnTo>
                      <a:lnTo>
                        <a:pt x="393" y="101"/>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4" name="Hokkaido" descr="{&quot;Key&quot;:&quot;hokkaido&quot;,&quot;Name&quot;:&quot;Hokkaido&quot;,&quot;Value&quot;:1.0,&quot;Formula&quot;:&quot;&quot;,&quot;Text&quot;:&quot;&quot;,&quot;OfficeApplication&quot;:1,&quot;HasValue&quot;:true}">
                  <a:extLst>
                    <a:ext uri="{FF2B5EF4-FFF2-40B4-BE49-F238E27FC236}">
                      <a16:creationId xmlns:a16="http://schemas.microsoft.com/office/drawing/2014/main" id="{B3B1AE99-0086-4638-ADDC-DC896B341F6F}"/>
                    </a:ext>
                  </a:extLst>
                </p:cNvPr>
                <p:cNvSpPr>
                  <a:spLocks noEditPoints="1"/>
                </p:cNvSpPr>
                <p:nvPr/>
              </p:nvSpPr>
              <p:spPr bwMode="auto">
                <a:xfrm>
                  <a:off x="6753225" y="627063"/>
                  <a:ext cx="1522413" cy="1349375"/>
                </a:xfrm>
                <a:custGeom>
                  <a:avLst/>
                  <a:gdLst>
                    <a:gd name="T0" fmla="*/ 18 w 2608"/>
                    <a:gd name="T1" fmla="*/ 2220 h 2309"/>
                    <a:gd name="T2" fmla="*/ 40 w 2608"/>
                    <a:gd name="T3" fmla="*/ 1927 h 2309"/>
                    <a:gd name="T4" fmla="*/ 47 w 2608"/>
                    <a:gd name="T5" fmla="*/ 1844 h 2309"/>
                    <a:gd name="T6" fmla="*/ 70 w 2608"/>
                    <a:gd name="T7" fmla="*/ 1907 h 2309"/>
                    <a:gd name="T8" fmla="*/ 2414 w 2608"/>
                    <a:gd name="T9" fmla="*/ 1098 h 2309"/>
                    <a:gd name="T10" fmla="*/ 1809 w 2608"/>
                    <a:gd name="T11" fmla="*/ 763 h 2309"/>
                    <a:gd name="T12" fmla="*/ 800 w 2608"/>
                    <a:gd name="T13" fmla="*/ 612 h 2309"/>
                    <a:gd name="T14" fmla="*/ 842 w 2608"/>
                    <a:gd name="T15" fmla="*/ 615 h 2309"/>
                    <a:gd name="T16" fmla="*/ 750 w 2608"/>
                    <a:gd name="T17" fmla="*/ 155 h 2309"/>
                    <a:gd name="T18" fmla="*/ 677 w 2608"/>
                    <a:gd name="T19" fmla="*/ 47 h 2309"/>
                    <a:gd name="T20" fmla="*/ 668 w 2608"/>
                    <a:gd name="T21" fmla="*/ 98 h 2309"/>
                    <a:gd name="T22" fmla="*/ 1109 w 2608"/>
                    <a:gd name="T23" fmla="*/ 85 h 2309"/>
                    <a:gd name="T24" fmla="*/ 1520 w 2608"/>
                    <a:gd name="T25" fmla="*/ 583 h 2309"/>
                    <a:gd name="T26" fmla="*/ 1694 w 2608"/>
                    <a:gd name="T27" fmla="*/ 720 h 2309"/>
                    <a:gd name="T28" fmla="*/ 1788 w 2608"/>
                    <a:gd name="T29" fmla="*/ 805 h 2309"/>
                    <a:gd name="T30" fmla="*/ 1925 w 2608"/>
                    <a:gd name="T31" fmla="*/ 817 h 2309"/>
                    <a:gd name="T32" fmla="*/ 1977 w 2608"/>
                    <a:gd name="T33" fmla="*/ 817 h 2309"/>
                    <a:gd name="T34" fmla="*/ 2172 w 2608"/>
                    <a:gd name="T35" fmla="*/ 909 h 2309"/>
                    <a:gd name="T36" fmla="*/ 2400 w 2608"/>
                    <a:gd name="T37" fmla="*/ 684 h 2309"/>
                    <a:gd name="T38" fmla="*/ 2384 w 2608"/>
                    <a:gd name="T39" fmla="*/ 814 h 2309"/>
                    <a:gd name="T40" fmla="*/ 2305 w 2608"/>
                    <a:gd name="T41" fmla="*/ 994 h 2309"/>
                    <a:gd name="T42" fmla="*/ 2383 w 2608"/>
                    <a:gd name="T43" fmla="*/ 1145 h 2309"/>
                    <a:gd name="T44" fmla="*/ 2395 w 2608"/>
                    <a:gd name="T45" fmla="*/ 1245 h 2309"/>
                    <a:gd name="T46" fmla="*/ 2478 w 2608"/>
                    <a:gd name="T47" fmla="*/ 1274 h 2309"/>
                    <a:gd name="T48" fmla="*/ 2548 w 2608"/>
                    <a:gd name="T49" fmla="*/ 1205 h 2309"/>
                    <a:gd name="T50" fmla="*/ 2593 w 2608"/>
                    <a:gd name="T51" fmla="*/ 1217 h 2309"/>
                    <a:gd name="T52" fmla="*/ 2520 w 2608"/>
                    <a:gd name="T53" fmla="*/ 1259 h 2309"/>
                    <a:gd name="T54" fmla="*/ 2458 w 2608"/>
                    <a:gd name="T55" fmla="*/ 1314 h 2309"/>
                    <a:gd name="T56" fmla="*/ 2330 w 2608"/>
                    <a:gd name="T57" fmla="*/ 1369 h 2309"/>
                    <a:gd name="T58" fmla="*/ 2287 w 2608"/>
                    <a:gd name="T59" fmla="*/ 1410 h 2309"/>
                    <a:gd name="T60" fmla="*/ 2195 w 2608"/>
                    <a:gd name="T61" fmla="*/ 1390 h 2309"/>
                    <a:gd name="T62" fmla="*/ 2173 w 2608"/>
                    <a:gd name="T63" fmla="*/ 1457 h 2309"/>
                    <a:gd name="T64" fmla="*/ 2004 w 2608"/>
                    <a:gd name="T65" fmla="*/ 1414 h 2309"/>
                    <a:gd name="T66" fmla="*/ 1608 w 2608"/>
                    <a:gd name="T67" fmla="*/ 1879 h 2309"/>
                    <a:gd name="T68" fmla="*/ 1538 w 2608"/>
                    <a:gd name="T69" fmla="*/ 1966 h 2309"/>
                    <a:gd name="T70" fmla="*/ 1042 w 2608"/>
                    <a:gd name="T71" fmla="*/ 1657 h 2309"/>
                    <a:gd name="T72" fmla="*/ 745 w 2608"/>
                    <a:gd name="T73" fmla="*/ 1722 h 2309"/>
                    <a:gd name="T74" fmla="*/ 644 w 2608"/>
                    <a:gd name="T75" fmla="*/ 1788 h 2309"/>
                    <a:gd name="T76" fmla="*/ 562 w 2608"/>
                    <a:gd name="T77" fmla="*/ 1654 h 2309"/>
                    <a:gd name="T78" fmla="*/ 380 w 2608"/>
                    <a:gd name="T79" fmla="*/ 1795 h 2309"/>
                    <a:gd name="T80" fmla="*/ 578 w 2608"/>
                    <a:gd name="T81" fmla="*/ 1905 h 2309"/>
                    <a:gd name="T82" fmla="*/ 712 w 2608"/>
                    <a:gd name="T83" fmla="*/ 2030 h 2309"/>
                    <a:gd name="T84" fmla="*/ 579 w 2608"/>
                    <a:gd name="T85" fmla="*/ 2084 h 2309"/>
                    <a:gd name="T86" fmla="*/ 520 w 2608"/>
                    <a:gd name="T87" fmla="*/ 2071 h 2309"/>
                    <a:gd name="T88" fmla="*/ 378 w 2608"/>
                    <a:gd name="T89" fmla="*/ 2239 h 2309"/>
                    <a:gd name="T90" fmla="*/ 293 w 2608"/>
                    <a:gd name="T91" fmla="*/ 2267 h 2309"/>
                    <a:gd name="T92" fmla="*/ 303 w 2608"/>
                    <a:gd name="T93" fmla="*/ 2066 h 2309"/>
                    <a:gd name="T94" fmla="*/ 327 w 2608"/>
                    <a:gd name="T95" fmla="*/ 2011 h 2309"/>
                    <a:gd name="T96" fmla="*/ 228 w 2608"/>
                    <a:gd name="T97" fmla="*/ 1872 h 2309"/>
                    <a:gd name="T98" fmla="*/ 207 w 2608"/>
                    <a:gd name="T99" fmla="*/ 1706 h 2309"/>
                    <a:gd name="T100" fmla="*/ 318 w 2608"/>
                    <a:gd name="T101" fmla="*/ 1557 h 2309"/>
                    <a:gd name="T102" fmla="*/ 393 w 2608"/>
                    <a:gd name="T103" fmla="*/ 1517 h 2309"/>
                    <a:gd name="T104" fmla="*/ 465 w 2608"/>
                    <a:gd name="T105" fmla="*/ 1378 h 2309"/>
                    <a:gd name="T106" fmla="*/ 454 w 2608"/>
                    <a:gd name="T107" fmla="*/ 1213 h 2309"/>
                    <a:gd name="T108" fmla="*/ 577 w 2608"/>
                    <a:gd name="T109" fmla="*/ 1297 h 2309"/>
                    <a:gd name="T110" fmla="*/ 697 w 2608"/>
                    <a:gd name="T111" fmla="*/ 1323 h 2309"/>
                    <a:gd name="T112" fmla="*/ 845 w 2608"/>
                    <a:gd name="T113" fmla="*/ 1217 h 2309"/>
                    <a:gd name="T114" fmla="*/ 804 w 2608"/>
                    <a:gd name="T115" fmla="*/ 1022 h 2309"/>
                    <a:gd name="T116" fmla="*/ 927 w 2608"/>
                    <a:gd name="T117" fmla="*/ 895 h 2309"/>
                    <a:gd name="T118" fmla="*/ 904 w 2608"/>
                    <a:gd name="T119" fmla="*/ 204 h 2309"/>
                    <a:gd name="T120" fmla="*/ 925 w 2608"/>
                    <a:gd name="T121" fmla="*/ 58 h 2309"/>
                    <a:gd name="T122" fmla="*/ 1014 w 2608"/>
                    <a:gd name="T123" fmla="*/ 47 h 2309"/>
                    <a:gd name="T124" fmla="*/ 1072 w 2608"/>
                    <a:gd name="T125" fmla="*/ 33 h 2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08" h="2309">
                      <a:moveTo>
                        <a:pt x="188" y="2302"/>
                      </a:moveTo>
                      <a:lnTo>
                        <a:pt x="193" y="2303"/>
                      </a:lnTo>
                      <a:lnTo>
                        <a:pt x="193" y="2307"/>
                      </a:lnTo>
                      <a:lnTo>
                        <a:pt x="189" y="2309"/>
                      </a:lnTo>
                      <a:lnTo>
                        <a:pt x="187" y="2309"/>
                      </a:lnTo>
                      <a:lnTo>
                        <a:pt x="184" y="2305"/>
                      </a:lnTo>
                      <a:lnTo>
                        <a:pt x="185" y="2304"/>
                      </a:lnTo>
                      <a:lnTo>
                        <a:pt x="188" y="2302"/>
                      </a:lnTo>
                      <a:close/>
                      <a:moveTo>
                        <a:pt x="5" y="2217"/>
                      </a:moveTo>
                      <a:lnTo>
                        <a:pt x="8" y="2218"/>
                      </a:lnTo>
                      <a:lnTo>
                        <a:pt x="15" y="2218"/>
                      </a:lnTo>
                      <a:lnTo>
                        <a:pt x="18" y="2220"/>
                      </a:lnTo>
                      <a:lnTo>
                        <a:pt x="19" y="2223"/>
                      </a:lnTo>
                      <a:lnTo>
                        <a:pt x="15" y="2228"/>
                      </a:lnTo>
                      <a:lnTo>
                        <a:pt x="4" y="2234"/>
                      </a:lnTo>
                      <a:lnTo>
                        <a:pt x="3" y="2232"/>
                      </a:lnTo>
                      <a:lnTo>
                        <a:pt x="0" y="2224"/>
                      </a:lnTo>
                      <a:lnTo>
                        <a:pt x="0" y="2220"/>
                      </a:lnTo>
                      <a:lnTo>
                        <a:pt x="2" y="2218"/>
                      </a:lnTo>
                      <a:lnTo>
                        <a:pt x="5" y="2217"/>
                      </a:lnTo>
                      <a:close/>
                      <a:moveTo>
                        <a:pt x="64" y="1918"/>
                      </a:moveTo>
                      <a:lnTo>
                        <a:pt x="48" y="1933"/>
                      </a:lnTo>
                      <a:lnTo>
                        <a:pt x="44" y="1932"/>
                      </a:lnTo>
                      <a:lnTo>
                        <a:pt x="40" y="1927"/>
                      </a:lnTo>
                      <a:lnTo>
                        <a:pt x="38" y="1920"/>
                      </a:lnTo>
                      <a:lnTo>
                        <a:pt x="39" y="1914"/>
                      </a:lnTo>
                      <a:lnTo>
                        <a:pt x="37" y="1910"/>
                      </a:lnTo>
                      <a:lnTo>
                        <a:pt x="37" y="1905"/>
                      </a:lnTo>
                      <a:lnTo>
                        <a:pt x="37" y="1894"/>
                      </a:lnTo>
                      <a:lnTo>
                        <a:pt x="35" y="1889"/>
                      </a:lnTo>
                      <a:lnTo>
                        <a:pt x="32" y="1883"/>
                      </a:lnTo>
                      <a:lnTo>
                        <a:pt x="30" y="1878"/>
                      </a:lnTo>
                      <a:lnTo>
                        <a:pt x="32" y="1868"/>
                      </a:lnTo>
                      <a:lnTo>
                        <a:pt x="35" y="1857"/>
                      </a:lnTo>
                      <a:lnTo>
                        <a:pt x="40" y="1848"/>
                      </a:lnTo>
                      <a:lnTo>
                        <a:pt x="47" y="1844"/>
                      </a:lnTo>
                      <a:lnTo>
                        <a:pt x="52" y="1844"/>
                      </a:lnTo>
                      <a:lnTo>
                        <a:pt x="60" y="1840"/>
                      </a:lnTo>
                      <a:lnTo>
                        <a:pt x="65" y="1840"/>
                      </a:lnTo>
                      <a:lnTo>
                        <a:pt x="70" y="1838"/>
                      </a:lnTo>
                      <a:lnTo>
                        <a:pt x="82" y="1830"/>
                      </a:lnTo>
                      <a:lnTo>
                        <a:pt x="85" y="1829"/>
                      </a:lnTo>
                      <a:lnTo>
                        <a:pt x="92" y="1835"/>
                      </a:lnTo>
                      <a:lnTo>
                        <a:pt x="88" y="1847"/>
                      </a:lnTo>
                      <a:lnTo>
                        <a:pt x="74" y="1867"/>
                      </a:lnTo>
                      <a:lnTo>
                        <a:pt x="71" y="1880"/>
                      </a:lnTo>
                      <a:lnTo>
                        <a:pt x="71" y="1894"/>
                      </a:lnTo>
                      <a:lnTo>
                        <a:pt x="70" y="1907"/>
                      </a:lnTo>
                      <a:lnTo>
                        <a:pt x="64" y="1918"/>
                      </a:lnTo>
                      <a:close/>
                      <a:moveTo>
                        <a:pt x="2395" y="1127"/>
                      </a:moveTo>
                      <a:lnTo>
                        <a:pt x="2390" y="1129"/>
                      </a:lnTo>
                      <a:lnTo>
                        <a:pt x="2385" y="1127"/>
                      </a:lnTo>
                      <a:lnTo>
                        <a:pt x="2388" y="1118"/>
                      </a:lnTo>
                      <a:lnTo>
                        <a:pt x="2392" y="1113"/>
                      </a:lnTo>
                      <a:lnTo>
                        <a:pt x="2404" y="1108"/>
                      </a:lnTo>
                      <a:lnTo>
                        <a:pt x="2409" y="1103"/>
                      </a:lnTo>
                      <a:lnTo>
                        <a:pt x="2358" y="1077"/>
                      </a:lnTo>
                      <a:lnTo>
                        <a:pt x="2392" y="1083"/>
                      </a:lnTo>
                      <a:lnTo>
                        <a:pt x="2402" y="1088"/>
                      </a:lnTo>
                      <a:lnTo>
                        <a:pt x="2414" y="1098"/>
                      </a:lnTo>
                      <a:lnTo>
                        <a:pt x="2420" y="1104"/>
                      </a:lnTo>
                      <a:lnTo>
                        <a:pt x="2422" y="1109"/>
                      </a:lnTo>
                      <a:lnTo>
                        <a:pt x="2417" y="1112"/>
                      </a:lnTo>
                      <a:lnTo>
                        <a:pt x="2402" y="1117"/>
                      </a:lnTo>
                      <a:lnTo>
                        <a:pt x="2398" y="1120"/>
                      </a:lnTo>
                      <a:lnTo>
                        <a:pt x="2395" y="1127"/>
                      </a:lnTo>
                      <a:close/>
                      <a:moveTo>
                        <a:pt x="1864" y="778"/>
                      </a:moveTo>
                      <a:lnTo>
                        <a:pt x="1850" y="783"/>
                      </a:lnTo>
                      <a:lnTo>
                        <a:pt x="1833" y="779"/>
                      </a:lnTo>
                      <a:lnTo>
                        <a:pt x="1799" y="767"/>
                      </a:lnTo>
                      <a:lnTo>
                        <a:pt x="1802" y="763"/>
                      </a:lnTo>
                      <a:lnTo>
                        <a:pt x="1809" y="763"/>
                      </a:lnTo>
                      <a:lnTo>
                        <a:pt x="1818" y="764"/>
                      </a:lnTo>
                      <a:lnTo>
                        <a:pt x="1827" y="768"/>
                      </a:lnTo>
                      <a:lnTo>
                        <a:pt x="1833" y="773"/>
                      </a:lnTo>
                      <a:lnTo>
                        <a:pt x="1839" y="777"/>
                      </a:lnTo>
                      <a:lnTo>
                        <a:pt x="1857" y="777"/>
                      </a:lnTo>
                      <a:lnTo>
                        <a:pt x="1864" y="778"/>
                      </a:lnTo>
                      <a:close/>
                      <a:moveTo>
                        <a:pt x="792" y="629"/>
                      </a:moveTo>
                      <a:lnTo>
                        <a:pt x="787" y="629"/>
                      </a:lnTo>
                      <a:lnTo>
                        <a:pt x="788" y="624"/>
                      </a:lnTo>
                      <a:lnTo>
                        <a:pt x="793" y="620"/>
                      </a:lnTo>
                      <a:lnTo>
                        <a:pt x="794" y="618"/>
                      </a:lnTo>
                      <a:lnTo>
                        <a:pt x="800" y="612"/>
                      </a:lnTo>
                      <a:lnTo>
                        <a:pt x="800" y="614"/>
                      </a:lnTo>
                      <a:lnTo>
                        <a:pt x="804" y="619"/>
                      </a:lnTo>
                      <a:lnTo>
                        <a:pt x="799" y="627"/>
                      </a:lnTo>
                      <a:lnTo>
                        <a:pt x="792" y="629"/>
                      </a:lnTo>
                      <a:close/>
                      <a:moveTo>
                        <a:pt x="842" y="615"/>
                      </a:moveTo>
                      <a:lnTo>
                        <a:pt x="837" y="622"/>
                      </a:lnTo>
                      <a:lnTo>
                        <a:pt x="829" y="620"/>
                      </a:lnTo>
                      <a:lnTo>
                        <a:pt x="827" y="615"/>
                      </a:lnTo>
                      <a:lnTo>
                        <a:pt x="832" y="614"/>
                      </a:lnTo>
                      <a:lnTo>
                        <a:pt x="834" y="612"/>
                      </a:lnTo>
                      <a:lnTo>
                        <a:pt x="838" y="612"/>
                      </a:lnTo>
                      <a:lnTo>
                        <a:pt x="842" y="615"/>
                      </a:lnTo>
                      <a:close/>
                      <a:moveTo>
                        <a:pt x="777" y="240"/>
                      </a:moveTo>
                      <a:lnTo>
                        <a:pt x="770" y="242"/>
                      </a:lnTo>
                      <a:lnTo>
                        <a:pt x="764" y="239"/>
                      </a:lnTo>
                      <a:lnTo>
                        <a:pt x="742" y="225"/>
                      </a:lnTo>
                      <a:lnTo>
                        <a:pt x="729" y="214"/>
                      </a:lnTo>
                      <a:lnTo>
                        <a:pt x="722" y="200"/>
                      </a:lnTo>
                      <a:lnTo>
                        <a:pt x="728" y="189"/>
                      </a:lnTo>
                      <a:lnTo>
                        <a:pt x="723" y="180"/>
                      </a:lnTo>
                      <a:lnTo>
                        <a:pt x="722" y="178"/>
                      </a:lnTo>
                      <a:lnTo>
                        <a:pt x="737" y="160"/>
                      </a:lnTo>
                      <a:lnTo>
                        <a:pt x="742" y="158"/>
                      </a:lnTo>
                      <a:lnTo>
                        <a:pt x="750" y="155"/>
                      </a:lnTo>
                      <a:lnTo>
                        <a:pt x="763" y="160"/>
                      </a:lnTo>
                      <a:lnTo>
                        <a:pt x="777" y="169"/>
                      </a:lnTo>
                      <a:lnTo>
                        <a:pt x="787" y="180"/>
                      </a:lnTo>
                      <a:lnTo>
                        <a:pt x="800" y="199"/>
                      </a:lnTo>
                      <a:lnTo>
                        <a:pt x="804" y="208"/>
                      </a:lnTo>
                      <a:lnTo>
                        <a:pt x="800" y="214"/>
                      </a:lnTo>
                      <a:lnTo>
                        <a:pt x="797" y="219"/>
                      </a:lnTo>
                      <a:lnTo>
                        <a:pt x="794" y="227"/>
                      </a:lnTo>
                      <a:lnTo>
                        <a:pt x="792" y="229"/>
                      </a:lnTo>
                      <a:lnTo>
                        <a:pt x="777" y="240"/>
                      </a:lnTo>
                      <a:close/>
                      <a:moveTo>
                        <a:pt x="672" y="47"/>
                      </a:moveTo>
                      <a:lnTo>
                        <a:pt x="677" y="47"/>
                      </a:lnTo>
                      <a:lnTo>
                        <a:pt x="683" y="43"/>
                      </a:lnTo>
                      <a:lnTo>
                        <a:pt x="690" y="40"/>
                      </a:lnTo>
                      <a:lnTo>
                        <a:pt x="697" y="45"/>
                      </a:lnTo>
                      <a:lnTo>
                        <a:pt x="699" y="55"/>
                      </a:lnTo>
                      <a:lnTo>
                        <a:pt x="693" y="114"/>
                      </a:lnTo>
                      <a:lnTo>
                        <a:pt x="689" y="130"/>
                      </a:lnTo>
                      <a:lnTo>
                        <a:pt x="683" y="147"/>
                      </a:lnTo>
                      <a:lnTo>
                        <a:pt x="680" y="139"/>
                      </a:lnTo>
                      <a:lnTo>
                        <a:pt x="680" y="135"/>
                      </a:lnTo>
                      <a:lnTo>
                        <a:pt x="683" y="132"/>
                      </a:lnTo>
                      <a:lnTo>
                        <a:pt x="673" y="110"/>
                      </a:lnTo>
                      <a:lnTo>
                        <a:pt x="668" y="98"/>
                      </a:lnTo>
                      <a:lnTo>
                        <a:pt x="667" y="85"/>
                      </a:lnTo>
                      <a:lnTo>
                        <a:pt x="669" y="58"/>
                      </a:lnTo>
                      <a:lnTo>
                        <a:pt x="668" y="52"/>
                      </a:lnTo>
                      <a:lnTo>
                        <a:pt x="655" y="33"/>
                      </a:lnTo>
                      <a:lnTo>
                        <a:pt x="659" y="30"/>
                      </a:lnTo>
                      <a:lnTo>
                        <a:pt x="662" y="30"/>
                      </a:lnTo>
                      <a:lnTo>
                        <a:pt x="663" y="30"/>
                      </a:lnTo>
                      <a:lnTo>
                        <a:pt x="667" y="35"/>
                      </a:lnTo>
                      <a:lnTo>
                        <a:pt x="672" y="47"/>
                      </a:lnTo>
                      <a:close/>
                      <a:moveTo>
                        <a:pt x="1078" y="38"/>
                      </a:moveTo>
                      <a:lnTo>
                        <a:pt x="1094" y="68"/>
                      </a:lnTo>
                      <a:lnTo>
                        <a:pt x="1109" y="85"/>
                      </a:lnTo>
                      <a:lnTo>
                        <a:pt x="1144" y="112"/>
                      </a:lnTo>
                      <a:lnTo>
                        <a:pt x="1159" y="127"/>
                      </a:lnTo>
                      <a:lnTo>
                        <a:pt x="1288" y="287"/>
                      </a:lnTo>
                      <a:lnTo>
                        <a:pt x="1318" y="352"/>
                      </a:lnTo>
                      <a:lnTo>
                        <a:pt x="1324" y="364"/>
                      </a:lnTo>
                      <a:lnTo>
                        <a:pt x="1338" y="373"/>
                      </a:lnTo>
                      <a:lnTo>
                        <a:pt x="1358" y="408"/>
                      </a:lnTo>
                      <a:lnTo>
                        <a:pt x="1435" y="498"/>
                      </a:lnTo>
                      <a:lnTo>
                        <a:pt x="1448" y="504"/>
                      </a:lnTo>
                      <a:lnTo>
                        <a:pt x="1465" y="532"/>
                      </a:lnTo>
                      <a:lnTo>
                        <a:pt x="1489" y="549"/>
                      </a:lnTo>
                      <a:lnTo>
                        <a:pt x="1520" y="583"/>
                      </a:lnTo>
                      <a:lnTo>
                        <a:pt x="1554" y="610"/>
                      </a:lnTo>
                      <a:lnTo>
                        <a:pt x="1563" y="613"/>
                      </a:lnTo>
                      <a:lnTo>
                        <a:pt x="1569" y="617"/>
                      </a:lnTo>
                      <a:lnTo>
                        <a:pt x="1584" y="633"/>
                      </a:lnTo>
                      <a:lnTo>
                        <a:pt x="1592" y="640"/>
                      </a:lnTo>
                      <a:lnTo>
                        <a:pt x="1609" y="644"/>
                      </a:lnTo>
                      <a:lnTo>
                        <a:pt x="1614" y="648"/>
                      </a:lnTo>
                      <a:lnTo>
                        <a:pt x="1620" y="664"/>
                      </a:lnTo>
                      <a:lnTo>
                        <a:pt x="1620" y="667"/>
                      </a:lnTo>
                      <a:lnTo>
                        <a:pt x="1632" y="680"/>
                      </a:lnTo>
                      <a:lnTo>
                        <a:pt x="1635" y="683"/>
                      </a:lnTo>
                      <a:lnTo>
                        <a:pt x="1694" y="720"/>
                      </a:lnTo>
                      <a:lnTo>
                        <a:pt x="1784" y="755"/>
                      </a:lnTo>
                      <a:lnTo>
                        <a:pt x="1784" y="759"/>
                      </a:lnTo>
                      <a:lnTo>
                        <a:pt x="1752" y="755"/>
                      </a:lnTo>
                      <a:lnTo>
                        <a:pt x="1745" y="759"/>
                      </a:lnTo>
                      <a:lnTo>
                        <a:pt x="1748" y="763"/>
                      </a:lnTo>
                      <a:lnTo>
                        <a:pt x="1758" y="773"/>
                      </a:lnTo>
                      <a:lnTo>
                        <a:pt x="1759" y="777"/>
                      </a:lnTo>
                      <a:lnTo>
                        <a:pt x="1765" y="798"/>
                      </a:lnTo>
                      <a:lnTo>
                        <a:pt x="1770" y="794"/>
                      </a:lnTo>
                      <a:lnTo>
                        <a:pt x="1777" y="799"/>
                      </a:lnTo>
                      <a:lnTo>
                        <a:pt x="1782" y="803"/>
                      </a:lnTo>
                      <a:lnTo>
                        <a:pt x="1788" y="805"/>
                      </a:lnTo>
                      <a:lnTo>
                        <a:pt x="1847" y="805"/>
                      </a:lnTo>
                      <a:lnTo>
                        <a:pt x="1849" y="808"/>
                      </a:lnTo>
                      <a:lnTo>
                        <a:pt x="1860" y="794"/>
                      </a:lnTo>
                      <a:lnTo>
                        <a:pt x="1868" y="789"/>
                      </a:lnTo>
                      <a:lnTo>
                        <a:pt x="1874" y="787"/>
                      </a:lnTo>
                      <a:lnTo>
                        <a:pt x="1923" y="789"/>
                      </a:lnTo>
                      <a:lnTo>
                        <a:pt x="1935" y="795"/>
                      </a:lnTo>
                      <a:lnTo>
                        <a:pt x="1943" y="802"/>
                      </a:lnTo>
                      <a:lnTo>
                        <a:pt x="1943" y="804"/>
                      </a:lnTo>
                      <a:lnTo>
                        <a:pt x="1938" y="805"/>
                      </a:lnTo>
                      <a:lnTo>
                        <a:pt x="1930" y="809"/>
                      </a:lnTo>
                      <a:lnTo>
                        <a:pt x="1925" y="817"/>
                      </a:lnTo>
                      <a:lnTo>
                        <a:pt x="1917" y="844"/>
                      </a:lnTo>
                      <a:lnTo>
                        <a:pt x="1930" y="849"/>
                      </a:lnTo>
                      <a:lnTo>
                        <a:pt x="1935" y="850"/>
                      </a:lnTo>
                      <a:lnTo>
                        <a:pt x="1942" y="847"/>
                      </a:lnTo>
                      <a:lnTo>
                        <a:pt x="1945" y="842"/>
                      </a:lnTo>
                      <a:lnTo>
                        <a:pt x="1950" y="833"/>
                      </a:lnTo>
                      <a:lnTo>
                        <a:pt x="1954" y="824"/>
                      </a:lnTo>
                      <a:lnTo>
                        <a:pt x="1955" y="815"/>
                      </a:lnTo>
                      <a:lnTo>
                        <a:pt x="1960" y="799"/>
                      </a:lnTo>
                      <a:lnTo>
                        <a:pt x="1972" y="794"/>
                      </a:lnTo>
                      <a:lnTo>
                        <a:pt x="1980" y="800"/>
                      </a:lnTo>
                      <a:lnTo>
                        <a:pt x="1977" y="817"/>
                      </a:lnTo>
                      <a:lnTo>
                        <a:pt x="1982" y="834"/>
                      </a:lnTo>
                      <a:lnTo>
                        <a:pt x="1987" y="840"/>
                      </a:lnTo>
                      <a:lnTo>
                        <a:pt x="1993" y="844"/>
                      </a:lnTo>
                      <a:lnTo>
                        <a:pt x="1995" y="848"/>
                      </a:lnTo>
                      <a:lnTo>
                        <a:pt x="2003" y="867"/>
                      </a:lnTo>
                      <a:lnTo>
                        <a:pt x="2007" y="870"/>
                      </a:lnTo>
                      <a:lnTo>
                        <a:pt x="2009" y="873"/>
                      </a:lnTo>
                      <a:lnTo>
                        <a:pt x="2027" y="885"/>
                      </a:lnTo>
                      <a:lnTo>
                        <a:pt x="2033" y="889"/>
                      </a:lnTo>
                      <a:lnTo>
                        <a:pt x="2048" y="893"/>
                      </a:lnTo>
                      <a:lnTo>
                        <a:pt x="2104" y="903"/>
                      </a:lnTo>
                      <a:lnTo>
                        <a:pt x="2172" y="909"/>
                      </a:lnTo>
                      <a:lnTo>
                        <a:pt x="2192" y="905"/>
                      </a:lnTo>
                      <a:lnTo>
                        <a:pt x="2208" y="894"/>
                      </a:lnTo>
                      <a:lnTo>
                        <a:pt x="2255" y="842"/>
                      </a:lnTo>
                      <a:lnTo>
                        <a:pt x="2292" y="799"/>
                      </a:lnTo>
                      <a:lnTo>
                        <a:pt x="2295" y="793"/>
                      </a:lnTo>
                      <a:lnTo>
                        <a:pt x="2324" y="775"/>
                      </a:lnTo>
                      <a:lnTo>
                        <a:pt x="2343" y="754"/>
                      </a:lnTo>
                      <a:lnTo>
                        <a:pt x="2350" y="752"/>
                      </a:lnTo>
                      <a:lnTo>
                        <a:pt x="2357" y="747"/>
                      </a:lnTo>
                      <a:lnTo>
                        <a:pt x="2377" y="709"/>
                      </a:lnTo>
                      <a:lnTo>
                        <a:pt x="2393" y="694"/>
                      </a:lnTo>
                      <a:lnTo>
                        <a:pt x="2400" y="684"/>
                      </a:lnTo>
                      <a:lnTo>
                        <a:pt x="2404" y="673"/>
                      </a:lnTo>
                      <a:lnTo>
                        <a:pt x="2405" y="669"/>
                      </a:lnTo>
                      <a:lnTo>
                        <a:pt x="2409" y="667"/>
                      </a:lnTo>
                      <a:lnTo>
                        <a:pt x="2413" y="668"/>
                      </a:lnTo>
                      <a:lnTo>
                        <a:pt x="2416" y="679"/>
                      </a:lnTo>
                      <a:lnTo>
                        <a:pt x="2424" y="692"/>
                      </a:lnTo>
                      <a:lnTo>
                        <a:pt x="2427" y="698"/>
                      </a:lnTo>
                      <a:lnTo>
                        <a:pt x="2425" y="722"/>
                      </a:lnTo>
                      <a:lnTo>
                        <a:pt x="2416" y="743"/>
                      </a:lnTo>
                      <a:lnTo>
                        <a:pt x="2393" y="775"/>
                      </a:lnTo>
                      <a:lnTo>
                        <a:pt x="2388" y="787"/>
                      </a:lnTo>
                      <a:lnTo>
                        <a:pt x="2384" y="814"/>
                      </a:lnTo>
                      <a:lnTo>
                        <a:pt x="2380" y="823"/>
                      </a:lnTo>
                      <a:lnTo>
                        <a:pt x="2344" y="869"/>
                      </a:lnTo>
                      <a:lnTo>
                        <a:pt x="2334" y="888"/>
                      </a:lnTo>
                      <a:lnTo>
                        <a:pt x="2325" y="908"/>
                      </a:lnTo>
                      <a:lnTo>
                        <a:pt x="2319" y="928"/>
                      </a:lnTo>
                      <a:lnTo>
                        <a:pt x="2323" y="938"/>
                      </a:lnTo>
                      <a:lnTo>
                        <a:pt x="2320" y="949"/>
                      </a:lnTo>
                      <a:lnTo>
                        <a:pt x="2315" y="960"/>
                      </a:lnTo>
                      <a:lnTo>
                        <a:pt x="2312" y="973"/>
                      </a:lnTo>
                      <a:lnTo>
                        <a:pt x="2307" y="980"/>
                      </a:lnTo>
                      <a:lnTo>
                        <a:pt x="2305" y="987"/>
                      </a:lnTo>
                      <a:lnTo>
                        <a:pt x="2305" y="994"/>
                      </a:lnTo>
                      <a:lnTo>
                        <a:pt x="2307" y="999"/>
                      </a:lnTo>
                      <a:lnTo>
                        <a:pt x="2323" y="1035"/>
                      </a:lnTo>
                      <a:lnTo>
                        <a:pt x="2328" y="1044"/>
                      </a:lnTo>
                      <a:lnTo>
                        <a:pt x="2354" y="1073"/>
                      </a:lnTo>
                      <a:lnTo>
                        <a:pt x="2359" y="1080"/>
                      </a:lnTo>
                      <a:lnTo>
                        <a:pt x="2364" y="1090"/>
                      </a:lnTo>
                      <a:lnTo>
                        <a:pt x="2367" y="1100"/>
                      </a:lnTo>
                      <a:lnTo>
                        <a:pt x="2368" y="1113"/>
                      </a:lnTo>
                      <a:lnTo>
                        <a:pt x="2369" y="1118"/>
                      </a:lnTo>
                      <a:lnTo>
                        <a:pt x="2375" y="1123"/>
                      </a:lnTo>
                      <a:lnTo>
                        <a:pt x="2378" y="1132"/>
                      </a:lnTo>
                      <a:lnTo>
                        <a:pt x="2383" y="1145"/>
                      </a:lnTo>
                      <a:lnTo>
                        <a:pt x="2393" y="1192"/>
                      </a:lnTo>
                      <a:lnTo>
                        <a:pt x="2402" y="1213"/>
                      </a:lnTo>
                      <a:lnTo>
                        <a:pt x="2415" y="1232"/>
                      </a:lnTo>
                      <a:lnTo>
                        <a:pt x="2434" y="1247"/>
                      </a:lnTo>
                      <a:lnTo>
                        <a:pt x="2422" y="1249"/>
                      </a:lnTo>
                      <a:lnTo>
                        <a:pt x="2397" y="1228"/>
                      </a:lnTo>
                      <a:lnTo>
                        <a:pt x="2384" y="1224"/>
                      </a:lnTo>
                      <a:lnTo>
                        <a:pt x="2380" y="1229"/>
                      </a:lnTo>
                      <a:lnTo>
                        <a:pt x="2380" y="1235"/>
                      </a:lnTo>
                      <a:lnTo>
                        <a:pt x="2383" y="1240"/>
                      </a:lnTo>
                      <a:lnTo>
                        <a:pt x="2389" y="1243"/>
                      </a:lnTo>
                      <a:lnTo>
                        <a:pt x="2395" y="1245"/>
                      </a:lnTo>
                      <a:lnTo>
                        <a:pt x="2403" y="1249"/>
                      </a:lnTo>
                      <a:lnTo>
                        <a:pt x="2405" y="1253"/>
                      </a:lnTo>
                      <a:lnTo>
                        <a:pt x="2398" y="1254"/>
                      </a:lnTo>
                      <a:lnTo>
                        <a:pt x="2405" y="1263"/>
                      </a:lnTo>
                      <a:lnTo>
                        <a:pt x="2417" y="1269"/>
                      </a:lnTo>
                      <a:lnTo>
                        <a:pt x="2430" y="1273"/>
                      </a:lnTo>
                      <a:lnTo>
                        <a:pt x="2464" y="1277"/>
                      </a:lnTo>
                      <a:lnTo>
                        <a:pt x="2474" y="1280"/>
                      </a:lnTo>
                      <a:lnTo>
                        <a:pt x="2484" y="1289"/>
                      </a:lnTo>
                      <a:lnTo>
                        <a:pt x="2485" y="1283"/>
                      </a:lnTo>
                      <a:lnTo>
                        <a:pt x="2483" y="1278"/>
                      </a:lnTo>
                      <a:lnTo>
                        <a:pt x="2478" y="1274"/>
                      </a:lnTo>
                      <a:lnTo>
                        <a:pt x="2475" y="1267"/>
                      </a:lnTo>
                      <a:lnTo>
                        <a:pt x="2478" y="1263"/>
                      </a:lnTo>
                      <a:lnTo>
                        <a:pt x="2493" y="1249"/>
                      </a:lnTo>
                      <a:lnTo>
                        <a:pt x="2510" y="1230"/>
                      </a:lnTo>
                      <a:lnTo>
                        <a:pt x="2515" y="1227"/>
                      </a:lnTo>
                      <a:lnTo>
                        <a:pt x="2525" y="1224"/>
                      </a:lnTo>
                      <a:lnTo>
                        <a:pt x="2530" y="1220"/>
                      </a:lnTo>
                      <a:lnTo>
                        <a:pt x="2533" y="1217"/>
                      </a:lnTo>
                      <a:lnTo>
                        <a:pt x="2535" y="1213"/>
                      </a:lnTo>
                      <a:lnTo>
                        <a:pt x="2537" y="1209"/>
                      </a:lnTo>
                      <a:lnTo>
                        <a:pt x="2542" y="1207"/>
                      </a:lnTo>
                      <a:lnTo>
                        <a:pt x="2548" y="1205"/>
                      </a:lnTo>
                      <a:lnTo>
                        <a:pt x="2567" y="1207"/>
                      </a:lnTo>
                      <a:lnTo>
                        <a:pt x="2570" y="1205"/>
                      </a:lnTo>
                      <a:lnTo>
                        <a:pt x="2575" y="1199"/>
                      </a:lnTo>
                      <a:lnTo>
                        <a:pt x="2578" y="1198"/>
                      </a:lnTo>
                      <a:lnTo>
                        <a:pt x="2580" y="1199"/>
                      </a:lnTo>
                      <a:lnTo>
                        <a:pt x="2584" y="1202"/>
                      </a:lnTo>
                      <a:lnTo>
                        <a:pt x="2589" y="1203"/>
                      </a:lnTo>
                      <a:lnTo>
                        <a:pt x="2603" y="1207"/>
                      </a:lnTo>
                      <a:lnTo>
                        <a:pt x="2608" y="1209"/>
                      </a:lnTo>
                      <a:lnTo>
                        <a:pt x="2605" y="1214"/>
                      </a:lnTo>
                      <a:lnTo>
                        <a:pt x="2602" y="1217"/>
                      </a:lnTo>
                      <a:lnTo>
                        <a:pt x="2593" y="1217"/>
                      </a:lnTo>
                      <a:lnTo>
                        <a:pt x="2589" y="1219"/>
                      </a:lnTo>
                      <a:lnTo>
                        <a:pt x="2582" y="1229"/>
                      </a:lnTo>
                      <a:lnTo>
                        <a:pt x="2577" y="1232"/>
                      </a:lnTo>
                      <a:lnTo>
                        <a:pt x="2560" y="1235"/>
                      </a:lnTo>
                      <a:lnTo>
                        <a:pt x="2557" y="1238"/>
                      </a:lnTo>
                      <a:lnTo>
                        <a:pt x="2552" y="1244"/>
                      </a:lnTo>
                      <a:lnTo>
                        <a:pt x="2547" y="1245"/>
                      </a:lnTo>
                      <a:lnTo>
                        <a:pt x="2535" y="1243"/>
                      </a:lnTo>
                      <a:lnTo>
                        <a:pt x="2529" y="1245"/>
                      </a:lnTo>
                      <a:lnTo>
                        <a:pt x="2525" y="1248"/>
                      </a:lnTo>
                      <a:lnTo>
                        <a:pt x="2523" y="1253"/>
                      </a:lnTo>
                      <a:lnTo>
                        <a:pt x="2520" y="1259"/>
                      </a:lnTo>
                      <a:lnTo>
                        <a:pt x="2509" y="1269"/>
                      </a:lnTo>
                      <a:lnTo>
                        <a:pt x="2507" y="1274"/>
                      </a:lnTo>
                      <a:lnTo>
                        <a:pt x="2504" y="1281"/>
                      </a:lnTo>
                      <a:lnTo>
                        <a:pt x="2500" y="1294"/>
                      </a:lnTo>
                      <a:lnTo>
                        <a:pt x="2498" y="1300"/>
                      </a:lnTo>
                      <a:lnTo>
                        <a:pt x="2495" y="1304"/>
                      </a:lnTo>
                      <a:lnTo>
                        <a:pt x="2484" y="1319"/>
                      </a:lnTo>
                      <a:lnTo>
                        <a:pt x="2489" y="1323"/>
                      </a:lnTo>
                      <a:lnTo>
                        <a:pt x="2484" y="1324"/>
                      </a:lnTo>
                      <a:lnTo>
                        <a:pt x="2477" y="1323"/>
                      </a:lnTo>
                      <a:lnTo>
                        <a:pt x="2468" y="1320"/>
                      </a:lnTo>
                      <a:lnTo>
                        <a:pt x="2458" y="1314"/>
                      </a:lnTo>
                      <a:lnTo>
                        <a:pt x="2452" y="1315"/>
                      </a:lnTo>
                      <a:lnTo>
                        <a:pt x="2439" y="1319"/>
                      </a:lnTo>
                      <a:lnTo>
                        <a:pt x="2398" y="1320"/>
                      </a:lnTo>
                      <a:lnTo>
                        <a:pt x="2389" y="1324"/>
                      </a:lnTo>
                      <a:lnTo>
                        <a:pt x="2380" y="1333"/>
                      </a:lnTo>
                      <a:lnTo>
                        <a:pt x="2369" y="1338"/>
                      </a:lnTo>
                      <a:lnTo>
                        <a:pt x="2338" y="1343"/>
                      </a:lnTo>
                      <a:lnTo>
                        <a:pt x="2332" y="1345"/>
                      </a:lnTo>
                      <a:lnTo>
                        <a:pt x="2327" y="1349"/>
                      </a:lnTo>
                      <a:lnTo>
                        <a:pt x="2324" y="1357"/>
                      </a:lnTo>
                      <a:lnTo>
                        <a:pt x="2325" y="1367"/>
                      </a:lnTo>
                      <a:lnTo>
                        <a:pt x="2330" y="1369"/>
                      </a:lnTo>
                      <a:lnTo>
                        <a:pt x="2338" y="1369"/>
                      </a:lnTo>
                      <a:lnTo>
                        <a:pt x="2344" y="1372"/>
                      </a:lnTo>
                      <a:lnTo>
                        <a:pt x="2340" y="1377"/>
                      </a:lnTo>
                      <a:lnTo>
                        <a:pt x="2337" y="1379"/>
                      </a:lnTo>
                      <a:lnTo>
                        <a:pt x="2320" y="1380"/>
                      </a:lnTo>
                      <a:lnTo>
                        <a:pt x="2319" y="1387"/>
                      </a:lnTo>
                      <a:lnTo>
                        <a:pt x="2317" y="1390"/>
                      </a:lnTo>
                      <a:lnTo>
                        <a:pt x="2307" y="1397"/>
                      </a:lnTo>
                      <a:lnTo>
                        <a:pt x="2297" y="1398"/>
                      </a:lnTo>
                      <a:lnTo>
                        <a:pt x="2278" y="1390"/>
                      </a:lnTo>
                      <a:lnTo>
                        <a:pt x="2285" y="1404"/>
                      </a:lnTo>
                      <a:lnTo>
                        <a:pt x="2287" y="1410"/>
                      </a:lnTo>
                      <a:lnTo>
                        <a:pt x="2285" y="1418"/>
                      </a:lnTo>
                      <a:lnTo>
                        <a:pt x="2282" y="1422"/>
                      </a:lnTo>
                      <a:lnTo>
                        <a:pt x="2277" y="1423"/>
                      </a:lnTo>
                      <a:lnTo>
                        <a:pt x="2249" y="1428"/>
                      </a:lnTo>
                      <a:lnTo>
                        <a:pt x="2235" y="1427"/>
                      </a:lnTo>
                      <a:lnTo>
                        <a:pt x="2223" y="1422"/>
                      </a:lnTo>
                      <a:lnTo>
                        <a:pt x="2213" y="1412"/>
                      </a:lnTo>
                      <a:lnTo>
                        <a:pt x="2212" y="1407"/>
                      </a:lnTo>
                      <a:lnTo>
                        <a:pt x="2213" y="1399"/>
                      </a:lnTo>
                      <a:lnTo>
                        <a:pt x="2212" y="1393"/>
                      </a:lnTo>
                      <a:lnTo>
                        <a:pt x="2204" y="1390"/>
                      </a:lnTo>
                      <a:lnTo>
                        <a:pt x="2195" y="1390"/>
                      </a:lnTo>
                      <a:lnTo>
                        <a:pt x="2192" y="1390"/>
                      </a:lnTo>
                      <a:lnTo>
                        <a:pt x="2189" y="1393"/>
                      </a:lnTo>
                      <a:lnTo>
                        <a:pt x="2185" y="1400"/>
                      </a:lnTo>
                      <a:lnTo>
                        <a:pt x="2179" y="1405"/>
                      </a:lnTo>
                      <a:lnTo>
                        <a:pt x="2174" y="1412"/>
                      </a:lnTo>
                      <a:lnTo>
                        <a:pt x="2172" y="1420"/>
                      </a:lnTo>
                      <a:lnTo>
                        <a:pt x="2170" y="1427"/>
                      </a:lnTo>
                      <a:lnTo>
                        <a:pt x="2173" y="1434"/>
                      </a:lnTo>
                      <a:lnTo>
                        <a:pt x="2178" y="1440"/>
                      </a:lnTo>
                      <a:lnTo>
                        <a:pt x="2184" y="1445"/>
                      </a:lnTo>
                      <a:lnTo>
                        <a:pt x="2189" y="1452"/>
                      </a:lnTo>
                      <a:lnTo>
                        <a:pt x="2173" y="1457"/>
                      </a:lnTo>
                      <a:lnTo>
                        <a:pt x="2115" y="1443"/>
                      </a:lnTo>
                      <a:lnTo>
                        <a:pt x="2084" y="1447"/>
                      </a:lnTo>
                      <a:lnTo>
                        <a:pt x="2074" y="1452"/>
                      </a:lnTo>
                      <a:lnTo>
                        <a:pt x="2062" y="1450"/>
                      </a:lnTo>
                      <a:lnTo>
                        <a:pt x="2032" y="1439"/>
                      </a:lnTo>
                      <a:lnTo>
                        <a:pt x="2028" y="1437"/>
                      </a:lnTo>
                      <a:lnTo>
                        <a:pt x="2024" y="1432"/>
                      </a:lnTo>
                      <a:lnTo>
                        <a:pt x="2023" y="1428"/>
                      </a:lnTo>
                      <a:lnTo>
                        <a:pt x="2020" y="1422"/>
                      </a:lnTo>
                      <a:lnTo>
                        <a:pt x="2018" y="1415"/>
                      </a:lnTo>
                      <a:lnTo>
                        <a:pt x="2013" y="1413"/>
                      </a:lnTo>
                      <a:lnTo>
                        <a:pt x="2004" y="1414"/>
                      </a:lnTo>
                      <a:lnTo>
                        <a:pt x="1948" y="1428"/>
                      </a:lnTo>
                      <a:lnTo>
                        <a:pt x="1892" y="1455"/>
                      </a:lnTo>
                      <a:lnTo>
                        <a:pt x="1829" y="1502"/>
                      </a:lnTo>
                      <a:lnTo>
                        <a:pt x="1790" y="1549"/>
                      </a:lnTo>
                      <a:lnTo>
                        <a:pt x="1729" y="1602"/>
                      </a:lnTo>
                      <a:lnTo>
                        <a:pt x="1704" y="1633"/>
                      </a:lnTo>
                      <a:lnTo>
                        <a:pt x="1653" y="1714"/>
                      </a:lnTo>
                      <a:lnTo>
                        <a:pt x="1613" y="1788"/>
                      </a:lnTo>
                      <a:lnTo>
                        <a:pt x="1605" y="1810"/>
                      </a:lnTo>
                      <a:lnTo>
                        <a:pt x="1603" y="1837"/>
                      </a:lnTo>
                      <a:lnTo>
                        <a:pt x="1608" y="1867"/>
                      </a:lnTo>
                      <a:lnTo>
                        <a:pt x="1608" y="1879"/>
                      </a:lnTo>
                      <a:lnTo>
                        <a:pt x="1608" y="1890"/>
                      </a:lnTo>
                      <a:lnTo>
                        <a:pt x="1605" y="1903"/>
                      </a:lnTo>
                      <a:lnTo>
                        <a:pt x="1594" y="1947"/>
                      </a:lnTo>
                      <a:lnTo>
                        <a:pt x="1590" y="1958"/>
                      </a:lnTo>
                      <a:lnTo>
                        <a:pt x="1579" y="1968"/>
                      </a:lnTo>
                      <a:lnTo>
                        <a:pt x="1574" y="1992"/>
                      </a:lnTo>
                      <a:lnTo>
                        <a:pt x="1569" y="1999"/>
                      </a:lnTo>
                      <a:lnTo>
                        <a:pt x="1563" y="1998"/>
                      </a:lnTo>
                      <a:lnTo>
                        <a:pt x="1554" y="1991"/>
                      </a:lnTo>
                      <a:lnTo>
                        <a:pt x="1545" y="1982"/>
                      </a:lnTo>
                      <a:lnTo>
                        <a:pt x="1542" y="1976"/>
                      </a:lnTo>
                      <a:lnTo>
                        <a:pt x="1538" y="1966"/>
                      </a:lnTo>
                      <a:lnTo>
                        <a:pt x="1529" y="1956"/>
                      </a:lnTo>
                      <a:lnTo>
                        <a:pt x="1519" y="1946"/>
                      </a:lnTo>
                      <a:lnTo>
                        <a:pt x="1457" y="1904"/>
                      </a:lnTo>
                      <a:lnTo>
                        <a:pt x="1375" y="1875"/>
                      </a:lnTo>
                      <a:lnTo>
                        <a:pt x="1290" y="1825"/>
                      </a:lnTo>
                      <a:lnTo>
                        <a:pt x="1255" y="1814"/>
                      </a:lnTo>
                      <a:lnTo>
                        <a:pt x="1184" y="1762"/>
                      </a:lnTo>
                      <a:lnTo>
                        <a:pt x="1160" y="1738"/>
                      </a:lnTo>
                      <a:lnTo>
                        <a:pt x="1138" y="1712"/>
                      </a:lnTo>
                      <a:lnTo>
                        <a:pt x="1095" y="1705"/>
                      </a:lnTo>
                      <a:lnTo>
                        <a:pt x="1063" y="1684"/>
                      </a:lnTo>
                      <a:lnTo>
                        <a:pt x="1042" y="1657"/>
                      </a:lnTo>
                      <a:lnTo>
                        <a:pt x="1034" y="1653"/>
                      </a:lnTo>
                      <a:lnTo>
                        <a:pt x="1025" y="1652"/>
                      </a:lnTo>
                      <a:lnTo>
                        <a:pt x="998" y="1635"/>
                      </a:lnTo>
                      <a:lnTo>
                        <a:pt x="960" y="1625"/>
                      </a:lnTo>
                      <a:lnTo>
                        <a:pt x="924" y="1625"/>
                      </a:lnTo>
                      <a:lnTo>
                        <a:pt x="890" y="1634"/>
                      </a:lnTo>
                      <a:lnTo>
                        <a:pt x="840" y="1654"/>
                      </a:lnTo>
                      <a:lnTo>
                        <a:pt x="774" y="1707"/>
                      </a:lnTo>
                      <a:lnTo>
                        <a:pt x="763" y="1712"/>
                      </a:lnTo>
                      <a:lnTo>
                        <a:pt x="755" y="1719"/>
                      </a:lnTo>
                      <a:lnTo>
                        <a:pt x="750" y="1722"/>
                      </a:lnTo>
                      <a:lnTo>
                        <a:pt x="745" y="1722"/>
                      </a:lnTo>
                      <a:lnTo>
                        <a:pt x="742" y="1723"/>
                      </a:lnTo>
                      <a:lnTo>
                        <a:pt x="737" y="1725"/>
                      </a:lnTo>
                      <a:lnTo>
                        <a:pt x="705" y="1748"/>
                      </a:lnTo>
                      <a:lnTo>
                        <a:pt x="698" y="1757"/>
                      </a:lnTo>
                      <a:lnTo>
                        <a:pt x="675" y="1789"/>
                      </a:lnTo>
                      <a:lnTo>
                        <a:pt x="669" y="1795"/>
                      </a:lnTo>
                      <a:lnTo>
                        <a:pt x="665" y="1798"/>
                      </a:lnTo>
                      <a:lnTo>
                        <a:pt x="660" y="1798"/>
                      </a:lnTo>
                      <a:lnTo>
                        <a:pt x="655" y="1798"/>
                      </a:lnTo>
                      <a:lnTo>
                        <a:pt x="650" y="1795"/>
                      </a:lnTo>
                      <a:lnTo>
                        <a:pt x="647" y="1793"/>
                      </a:lnTo>
                      <a:lnTo>
                        <a:pt x="644" y="1788"/>
                      </a:lnTo>
                      <a:lnTo>
                        <a:pt x="642" y="1783"/>
                      </a:lnTo>
                      <a:lnTo>
                        <a:pt x="643" y="1780"/>
                      </a:lnTo>
                      <a:lnTo>
                        <a:pt x="659" y="1784"/>
                      </a:lnTo>
                      <a:lnTo>
                        <a:pt x="663" y="1783"/>
                      </a:lnTo>
                      <a:lnTo>
                        <a:pt x="664" y="1777"/>
                      </a:lnTo>
                      <a:lnTo>
                        <a:pt x="659" y="1773"/>
                      </a:lnTo>
                      <a:lnTo>
                        <a:pt x="648" y="1769"/>
                      </a:lnTo>
                      <a:lnTo>
                        <a:pt x="639" y="1763"/>
                      </a:lnTo>
                      <a:lnTo>
                        <a:pt x="635" y="1759"/>
                      </a:lnTo>
                      <a:lnTo>
                        <a:pt x="634" y="1754"/>
                      </a:lnTo>
                      <a:lnTo>
                        <a:pt x="629" y="1733"/>
                      </a:lnTo>
                      <a:lnTo>
                        <a:pt x="562" y="1654"/>
                      </a:lnTo>
                      <a:lnTo>
                        <a:pt x="543" y="1645"/>
                      </a:lnTo>
                      <a:lnTo>
                        <a:pt x="534" y="1645"/>
                      </a:lnTo>
                      <a:lnTo>
                        <a:pt x="507" y="1650"/>
                      </a:lnTo>
                      <a:lnTo>
                        <a:pt x="478" y="1645"/>
                      </a:lnTo>
                      <a:lnTo>
                        <a:pt x="468" y="1645"/>
                      </a:lnTo>
                      <a:lnTo>
                        <a:pt x="450" y="1654"/>
                      </a:lnTo>
                      <a:lnTo>
                        <a:pt x="434" y="1668"/>
                      </a:lnTo>
                      <a:lnTo>
                        <a:pt x="420" y="1687"/>
                      </a:lnTo>
                      <a:lnTo>
                        <a:pt x="398" y="1725"/>
                      </a:lnTo>
                      <a:lnTo>
                        <a:pt x="389" y="1748"/>
                      </a:lnTo>
                      <a:lnTo>
                        <a:pt x="383" y="1770"/>
                      </a:lnTo>
                      <a:lnTo>
                        <a:pt x="380" y="1795"/>
                      </a:lnTo>
                      <a:lnTo>
                        <a:pt x="384" y="1820"/>
                      </a:lnTo>
                      <a:lnTo>
                        <a:pt x="397" y="1834"/>
                      </a:lnTo>
                      <a:lnTo>
                        <a:pt x="438" y="1857"/>
                      </a:lnTo>
                      <a:lnTo>
                        <a:pt x="450" y="1867"/>
                      </a:lnTo>
                      <a:lnTo>
                        <a:pt x="480" y="1900"/>
                      </a:lnTo>
                      <a:lnTo>
                        <a:pt x="488" y="1904"/>
                      </a:lnTo>
                      <a:lnTo>
                        <a:pt x="497" y="1903"/>
                      </a:lnTo>
                      <a:lnTo>
                        <a:pt x="513" y="1897"/>
                      </a:lnTo>
                      <a:lnTo>
                        <a:pt x="538" y="1894"/>
                      </a:lnTo>
                      <a:lnTo>
                        <a:pt x="545" y="1893"/>
                      </a:lnTo>
                      <a:lnTo>
                        <a:pt x="554" y="1888"/>
                      </a:lnTo>
                      <a:lnTo>
                        <a:pt x="578" y="1905"/>
                      </a:lnTo>
                      <a:lnTo>
                        <a:pt x="584" y="1920"/>
                      </a:lnTo>
                      <a:lnTo>
                        <a:pt x="603" y="1948"/>
                      </a:lnTo>
                      <a:lnTo>
                        <a:pt x="610" y="1954"/>
                      </a:lnTo>
                      <a:lnTo>
                        <a:pt x="625" y="1965"/>
                      </a:lnTo>
                      <a:lnTo>
                        <a:pt x="632" y="1972"/>
                      </a:lnTo>
                      <a:lnTo>
                        <a:pt x="659" y="2008"/>
                      </a:lnTo>
                      <a:lnTo>
                        <a:pt x="665" y="2014"/>
                      </a:lnTo>
                      <a:lnTo>
                        <a:pt x="674" y="2018"/>
                      </a:lnTo>
                      <a:lnTo>
                        <a:pt x="683" y="2020"/>
                      </a:lnTo>
                      <a:lnTo>
                        <a:pt x="693" y="2022"/>
                      </a:lnTo>
                      <a:lnTo>
                        <a:pt x="703" y="2024"/>
                      </a:lnTo>
                      <a:lnTo>
                        <a:pt x="712" y="2030"/>
                      </a:lnTo>
                      <a:lnTo>
                        <a:pt x="743" y="2059"/>
                      </a:lnTo>
                      <a:lnTo>
                        <a:pt x="749" y="2069"/>
                      </a:lnTo>
                      <a:lnTo>
                        <a:pt x="745" y="2074"/>
                      </a:lnTo>
                      <a:lnTo>
                        <a:pt x="727" y="2077"/>
                      </a:lnTo>
                      <a:lnTo>
                        <a:pt x="718" y="2080"/>
                      </a:lnTo>
                      <a:lnTo>
                        <a:pt x="710" y="2084"/>
                      </a:lnTo>
                      <a:lnTo>
                        <a:pt x="687" y="2110"/>
                      </a:lnTo>
                      <a:lnTo>
                        <a:pt x="672" y="2117"/>
                      </a:lnTo>
                      <a:lnTo>
                        <a:pt x="653" y="2110"/>
                      </a:lnTo>
                      <a:lnTo>
                        <a:pt x="618" y="2092"/>
                      </a:lnTo>
                      <a:lnTo>
                        <a:pt x="598" y="2084"/>
                      </a:lnTo>
                      <a:lnTo>
                        <a:pt x="579" y="2084"/>
                      </a:lnTo>
                      <a:lnTo>
                        <a:pt x="560" y="2095"/>
                      </a:lnTo>
                      <a:lnTo>
                        <a:pt x="552" y="2098"/>
                      </a:lnTo>
                      <a:lnTo>
                        <a:pt x="548" y="2090"/>
                      </a:lnTo>
                      <a:lnTo>
                        <a:pt x="552" y="2083"/>
                      </a:lnTo>
                      <a:lnTo>
                        <a:pt x="558" y="2078"/>
                      </a:lnTo>
                      <a:lnTo>
                        <a:pt x="562" y="2072"/>
                      </a:lnTo>
                      <a:lnTo>
                        <a:pt x="559" y="2063"/>
                      </a:lnTo>
                      <a:lnTo>
                        <a:pt x="552" y="2055"/>
                      </a:lnTo>
                      <a:lnTo>
                        <a:pt x="543" y="2053"/>
                      </a:lnTo>
                      <a:lnTo>
                        <a:pt x="533" y="2054"/>
                      </a:lnTo>
                      <a:lnTo>
                        <a:pt x="525" y="2061"/>
                      </a:lnTo>
                      <a:lnTo>
                        <a:pt x="520" y="2071"/>
                      </a:lnTo>
                      <a:lnTo>
                        <a:pt x="514" y="2093"/>
                      </a:lnTo>
                      <a:lnTo>
                        <a:pt x="510" y="2103"/>
                      </a:lnTo>
                      <a:lnTo>
                        <a:pt x="487" y="2116"/>
                      </a:lnTo>
                      <a:lnTo>
                        <a:pt x="482" y="2121"/>
                      </a:lnTo>
                      <a:lnTo>
                        <a:pt x="478" y="2123"/>
                      </a:lnTo>
                      <a:lnTo>
                        <a:pt x="457" y="2129"/>
                      </a:lnTo>
                      <a:lnTo>
                        <a:pt x="449" y="2133"/>
                      </a:lnTo>
                      <a:lnTo>
                        <a:pt x="442" y="2153"/>
                      </a:lnTo>
                      <a:lnTo>
                        <a:pt x="445" y="2196"/>
                      </a:lnTo>
                      <a:lnTo>
                        <a:pt x="440" y="2214"/>
                      </a:lnTo>
                      <a:lnTo>
                        <a:pt x="428" y="2223"/>
                      </a:lnTo>
                      <a:lnTo>
                        <a:pt x="378" y="2239"/>
                      </a:lnTo>
                      <a:lnTo>
                        <a:pt x="372" y="2246"/>
                      </a:lnTo>
                      <a:lnTo>
                        <a:pt x="364" y="2253"/>
                      </a:lnTo>
                      <a:lnTo>
                        <a:pt x="358" y="2263"/>
                      </a:lnTo>
                      <a:lnTo>
                        <a:pt x="355" y="2274"/>
                      </a:lnTo>
                      <a:lnTo>
                        <a:pt x="352" y="2283"/>
                      </a:lnTo>
                      <a:lnTo>
                        <a:pt x="342" y="2282"/>
                      </a:lnTo>
                      <a:lnTo>
                        <a:pt x="323" y="2273"/>
                      </a:lnTo>
                      <a:lnTo>
                        <a:pt x="318" y="2273"/>
                      </a:lnTo>
                      <a:lnTo>
                        <a:pt x="312" y="2276"/>
                      </a:lnTo>
                      <a:lnTo>
                        <a:pt x="308" y="2277"/>
                      </a:lnTo>
                      <a:lnTo>
                        <a:pt x="303" y="2276"/>
                      </a:lnTo>
                      <a:lnTo>
                        <a:pt x="293" y="2267"/>
                      </a:lnTo>
                      <a:lnTo>
                        <a:pt x="288" y="2266"/>
                      </a:lnTo>
                      <a:lnTo>
                        <a:pt x="283" y="2261"/>
                      </a:lnTo>
                      <a:lnTo>
                        <a:pt x="278" y="2251"/>
                      </a:lnTo>
                      <a:lnTo>
                        <a:pt x="273" y="2229"/>
                      </a:lnTo>
                      <a:lnTo>
                        <a:pt x="260" y="2198"/>
                      </a:lnTo>
                      <a:lnTo>
                        <a:pt x="259" y="2187"/>
                      </a:lnTo>
                      <a:lnTo>
                        <a:pt x="260" y="2174"/>
                      </a:lnTo>
                      <a:lnTo>
                        <a:pt x="269" y="2158"/>
                      </a:lnTo>
                      <a:lnTo>
                        <a:pt x="275" y="2124"/>
                      </a:lnTo>
                      <a:lnTo>
                        <a:pt x="295" y="2091"/>
                      </a:lnTo>
                      <a:lnTo>
                        <a:pt x="300" y="2068"/>
                      </a:lnTo>
                      <a:lnTo>
                        <a:pt x="303" y="2066"/>
                      </a:lnTo>
                      <a:lnTo>
                        <a:pt x="312" y="2067"/>
                      </a:lnTo>
                      <a:lnTo>
                        <a:pt x="314" y="2067"/>
                      </a:lnTo>
                      <a:lnTo>
                        <a:pt x="318" y="2062"/>
                      </a:lnTo>
                      <a:lnTo>
                        <a:pt x="319" y="2057"/>
                      </a:lnTo>
                      <a:lnTo>
                        <a:pt x="320" y="2044"/>
                      </a:lnTo>
                      <a:lnTo>
                        <a:pt x="319" y="2041"/>
                      </a:lnTo>
                      <a:lnTo>
                        <a:pt x="317" y="2037"/>
                      </a:lnTo>
                      <a:lnTo>
                        <a:pt x="317" y="2033"/>
                      </a:lnTo>
                      <a:lnTo>
                        <a:pt x="318" y="2031"/>
                      </a:lnTo>
                      <a:lnTo>
                        <a:pt x="325" y="2026"/>
                      </a:lnTo>
                      <a:lnTo>
                        <a:pt x="327" y="2019"/>
                      </a:lnTo>
                      <a:lnTo>
                        <a:pt x="327" y="2011"/>
                      </a:lnTo>
                      <a:lnTo>
                        <a:pt x="328" y="2008"/>
                      </a:lnTo>
                      <a:lnTo>
                        <a:pt x="325" y="1999"/>
                      </a:lnTo>
                      <a:lnTo>
                        <a:pt x="323" y="1988"/>
                      </a:lnTo>
                      <a:lnTo>
                        <a:pt x="323" y="1978"/>
                      </a:lnTo>
                      <a:lnTo>
                        <a:pt x="325" y="1971"/>
                      </a:lnTo>
                      <a:lnTo>
                        <a:pt x="312" y="1954"/>
                      </a:lnTo>
                      <a:lnTo>
                        <a:pt x="292" y="1918"/>
                      </a:lnTo>
                      <a:lnTo>
                        <a:pt x="278" y="1904"/>
                      </a:lnTo>
                      <a:lnTo>
                        <a:pt x="238" y="1886"/>
                      </a:lnTo>
                      <a:lnTo>
                        <a:pt x="230" y="1876"/>
                      </a:lnTo>
                      <a:lnTo>
                        <a:pt x="230" y="1874"/>
                      </a:lnTo>
                      <a:lnTo>
                        <a:pt x="228" y="1872"/>
                      </a:lnTo>
                      <a:lnTo>
                        <a:pt x="220" y="1856"/>
                      </a:lnTo>
                      <a:lnTo>
                        <a:pt x="217" y="1853"/>
                      </a:lnTo>
                      <a:lnTo>
                        <a:pt x="204" y="1848"/>
                      </a:lnTo>
                      <a:lnTo>
                        <a:pt x="187" y="1833"/>
                      </a:lnTo>
                      <a:lnTo>
                        <a:pt x="182" y="1827"/>
                      </a:lnTo>
                      <a:lnTo>
                        <a:pt x="178" y="1814"/>
                      </a:lnTo>
                      <a:lnTo>
                        <a:pt x="174" y="1792"/>
                      </a:lnTo>
                      <a:lnTo>
                        <a:pt x="175" y="1782"/>
                      </a:lnTo>
                      <a:lnTo>
                        <a:pt x="180" y="1771"/>
                      </a:lnTo>
                      <a:lnTo>
                        <a:pt x="198" y="1743"/>
                      </a:lnTo>
                      <a:lnTo>
                        <a:pt x="202" y="1731"/>
                      </a:lnTo>
                      <a:lnTo>
                        <a:pt x="207" y="1706"/>
                      </a:lnTo>
                      <a:lnTo>
                        <a:pt x="207" y="1682"/>
                      </a:lnTo>
                      <a:lnTo>
                        <a:pt x="200" y="1640"/>
                      </a:lnTo>
                      <a:lnTo>
                        <a:pt x="204" y="1621"/>
                      </a:lnTo>
                      <a:lnTo>
                        <a:pt x="218" y="1601"/>
                      </a:lnTo>
                      <a:lnTo>
                        <a:pt x="234" y="1593"/>
                      </a:lnTo>
                      <a:lnTo>
                        <a:pt x="273" y="1591"/>
                      </a:lnTo>
                      <a:lnTo>
                        <a:pt x="283" y="1588"/>
                      </a:lnTo>
                      <a:lnTo>
                        <a:pt x="289" y="1583"/>
                      </a:lnTo>
                      <a:lnTo>
                        <a:pt x="305" y="1562"/>
                      </a:lnTo>
                      <a:lnTo>
                        <a:pt x="309" y="1559"/>
                      </a:lnTo>
                      <a:lnTo>
                        <a:pt x="314" y="1557"/>
                      </a:lnTo>
                      <a:lnTo>
                        <a:pt x="318" y="1557"/>
                      </a:lnTo>
                      <a:lnTo>
                        <a:pt x="322" y="1554"/>
                      </a:lnTo>
                      <a:lnTo>
                        <a:pt x="325" y="1549"/>
                      </a:lnTo>
                      <a:lnTo>
                        <a:pt x="335" y="1528"/>
                      </a:lnTo>
                      <a:lnTo>
                        <a:pt x="340" y="1519"/>
                      </a:lnTo>
                      <a:lnTo>
                        <a:pt x="348" y="1518"/>
                      </a:lnTo>
                      <a:lnTo>
                        <a:pt x="357" y="1524"/>
                      </a:lnTo>
                      <a:lnTo>
                        <a:pt x="365" y="1541"/>
                      </a:lnTo>
                      <a:lnTo>
                        <a:pt x="372" y="1547"/>
                      </a:lnTo>
                      <a:lnTo>
                        <a:pt x="380" y="1549"/>
                      </a:lnTo>
                      <a:lnTo>
                        <a:pt x="389" y="1542"/>
                      </a:lnTo>
                      <a:lnTo>
                        <a:pt x="392" y="1529"/>
                      </a:lnTo>
                      <a:lnTo>
                        <a:pt x="393" y="1517"/>
                      </a:lnTo>
                      <a:lnTo>
                        <a:pt x="395" y="1511"/>
                      </a:lnTo>
                      <a:lnTo>
                        <a:pt x="403" y="1507"/>
                      </a:lnTo>
                      <a:lnTo>
                        <a:pt x="409" y="1497"/>
                      </a:lnTo>
                      <a:lnTo>
                        <a:pt x="419" y="1474"/>
                      </a:lnTo>
                      <a:lnTo>
                        <a:pt x="425" y="1466"/>
                      </a:lnTo>
                      <a:lnTo>
                        <a:pt x="453" y="1438"/>
                      </a:lnTo>
                      <a:lnTo>
                        <a:pt x="469" y="1427"/>
                      </a:lnTo>
                      <a:lnTo>
                        <a:pt x="477" y="1418"/>
                      </a:lnTo>
                      <a:lnTo>
                        <a:pt x="479" y="1407"/>
                      </a:lnTo>
                      <a:lnTo>
                        <a:pt x="475" y="1399"/>
                      </a:lnTo>
                      <a:lnTo>
                        <a:pt x="469" y="1391"/>
                      </a:lnTo>
                      <a:lnTo>
                        <a:pt x="465" y="1378"/>
                      </a:lnTo>
                      <a:lnTo>
                        <a:pt x="463" y="1371"/>
                      </a:lnTo>
                      <a:lnTo>
                        <a:pt x="444" y="1342"/>
                      </a:lnTo>
                      <a:lnTo>
                        <a:pt x="430" y="1328"/>
                      </a:lnTo>
                      <a:lnTo>
                        <a:pt x="415" y="1314"/>
                      </a:lnTo>
                      <a:lnTo>
                        <a:pt x="403" y="1299"/>
                      </a:lnTo>
                      <a:lnTo>
                        <a:pt x="399" y="1278"/>
                      </a:lnTo>
                      <a:lnTo>
                        <a:pt x="412" y="1237"/>
                      </a:lnTo>
                      <a:lnTo>
                        <a:pt x="432" y="1237"/>
                      </a:lnTo>
                      <a:lnTo>
                        <a:pt x="442" y="1234"/>
                      </a:lnTo>
                      <a:lnTo>
                        <a:pt x="449" y="1229"/>
                      </a:lnTo>
                      <a:lnTo>
                        <a:pt x="452" y="1224"/>
                      </a:lnTo>
                      <a:lnTo>
                        <a:pt x="454" y="1213"/>
                      </a:lnTo>
                      <a:lnTo>
                        <a:pt x="458" y="1209"/>
                      </a:lnTo>
                      <a:lnTo>
                        <a:pt x="463" y="1211"/>
                      </a:lnTo>
                      <a:lnTo>
                        <a:pt x="468" y="1214"/>
                      </a:lnTo>
                      <a:lnTo>
                        <a:pt x="472" y="1219"/>
                      </a:lnTo>
                      <a:lnTo>
                        <a:pt x="475" y="1221"/>
                      </a:lnTo>
                      <a:lnTo>
                        <a:pt x="482" y="1224"/>
                      </a:lnTo>
                      <a:lnTo>
                        <a:pt x="517" y="1249"/>
                      </a:lnTo>
                      <a:lnTo>
                        <a:pt x="524" y="1257"/>
                      </a:lnTo>
                      <a:lnTo>
                        <a:pt x="535" y="1272"/>
                      </a:lnTo>
                      <a:lnTo>
                        <a:pt x="544" y="1279"/>
                      </a:lnTo>
                      <a:lnTo>
                        <a:pt x="573" y="1293"/>
                      </a:lnTo>
                      <a:lnTo>
                        <a:pt x="577" y="1297"/>
                      </a:lnTo>
                      <a:lnTo>
                        <a:pt x="583" y="1305"/>
                      </a:lnTo>
                      <a:lnTo>
                        <a:pt x="587" y="1308"/>
                      </a:lnTo>
                      <a:lnTo>
                        <a:pt x="593" y="1309"/>
                      </a:lnTo>
                      <a:lnTo>
                        <a:pt x="634" y="1303"/>
                      </a:lnTo>
                      <a:lnTo>
                        <a:pt x="664" y="1290"/>
                      </a:lnTo>
                      <a:lnTo>
                        <a:pt x="673" y="1289"/>
                      </a:lnTo>
                      <a:lnTo>
                        <a:pt x="678" y="1292"/>
                      </a:lnTo>
                      <a:lnTo>
                        <a:pt x="674" y="1299"/>
                      </a:lnTo>
                      <a:lnTo>
                        <a:pt x="670" y="1309"/>
                      </a:lnTo>
                      <a:lnTo>
                        <a:pt x="678" y="1319"/>
                      </a:lnTo>
                      <a:lnTo>
                        <a:pt x="682" y="1320"/>
                      </a:lnTo>
                      <a:lnTo>
                        <a:pt x="697" y="1323"/>
                      </a:lnTo>
                      <a:lnTo>
                        <a:pt x="713" y="1329"/>
                      </a:lnTo>
                      <a:lnTo>
                        <a:pt x="723" y="1332"/>
                      </a:lnTo>
                      <a:lnTo>
                        <a:pt x="732" y="1337"/>
                      </a:lnTo>
                      <a:lnTo>
                        <a:pt x="737" y="1338"/>
                      </a:lnTo>
                      <a:lnTo>
                        <a:pt x="744" y="1338"/>
                      </a:lnTo>
                      <a:lnTo>
                        <a:pt x="749" y="1337"/>
                      </a:lnTo>
                      <a:lnTo>
                        <a:pt x="760" y="1330"/>
                      </a:lnTo>
                      <a:lnTo>
                        <a:pt x="792" y="1307"/>
                      </a:lnTo>
                      <a:lnTo>
                        <a:pt x="818" y="1278"/>
                      </a:lnTo>
                      <a:lnTo>
                        <a:pt x="829" y="1262"/>
                      </a:lnTo>
                      <a:lnTo>
                        <a:pt x="839" y="1240"/>
                      </a:lnTo>
                      <a:lnTo>
                        <a:pt x="845" y="1217"/>
                      </a:lnTo>
                      <a:lnTo>
                        <a:pt x="845" y="1190"/>
                      </a:lnTo>
                      <a:lnTo>
                        <a:pt x="840" y="1175"/>
                      </a:lnTo>
                      <a:lnTo>
                        <a:pt x="818" y="1142"/>
                      </a:lnTo>
                      <a:lnTo>
                        <a:pt x="814" y="1127"/>
                      </a:lnTo>
                      <a:lnTo>
                        <a:pt x="814" y="1115"/>
                      </a:lnTo>
                      <a:lnTo>
                        <a:pt x="819" y="1105"/>
                      </a:lnTo>
                      <a:lnTo>
                        <a:pt x="827" y="1095"/>
                      </a:lnTo>
                      <a:lnTo>
                        <a:pt x="819" y="1074"/>
                      </a:lnTo>
                      <a:lnTo>
                        <a:pt x="815" y="1069"/>
                      </a:lnTo>
                      <a:lnTo>
                        <a:pt x="817" y="1058"/>
                      </a:lnTo>
                      <a:lnTo>
                        <a:pt x="807" y="1034"/>
                      </a:lnTo>
                      <a:lnTo>
                        <a:pt x="804" y="1022"/>
                      </a:lnTo>
                      <a:lnTo>
                        <a:pt x="807" y="1010"/>
                      </a:lnTo>
                      <a:lnTo>
                        <a:pt x="813" y="998"/>
                      </a:lnTo>
                      <a:lnTo>
                        <a:pt x="824" y="978"/>
                      </a:lnTo>
                      <a:lnTo>
                        <a:pt x="830" y="970"/>
                      </a:lnTo>
                      <a:lnTo>
                        <a:pt x="839" y="964"/>
                      </a:lnTo>
                      <a:lnTo>
                        <a:pt x="849" y="960"/>
                      </a:lnTo>
                      <a:lnTo>
                        <a:pt x="867" y="958"/>
                      </a:lnTo>
                      <a:lnTo>
                        <a:pt x="874" y="954"/>
                      </a:lnTo>
                      <a:lnTo>
                        <a:pt x="882" y="950"/>
                      </a:lnTo>
                      <a:lnTo>
                        <a:pt x="904" y="930"/>
                      </a:lnTo>
                      <a:lnTo>
                        <a:pt x="917" y="915"/>
                      </a:lnTo>
                      <a:lnTo>
                        <a:pt x="927" y="895"/>
                      </a:lnTo>
                      <a:lnTo>
                        <a:pt x="934" y="870"/>
                      </a:lnTo>
                      <a:lnTo>
                        <a:pt x="937" y="847"/>
                      </a:lnTo>
                      <a:lnTo>
                        <a:pt x="938" y="824"/>
                      </a:lnTo>
                      <a:lnTo>
                        <a:pt x="933" y="707"/>
                      </a:lnTo>
                      <a:lnTo>
                        <a:pt x="937" y="687"/>
                      </a:lnTo>
                      <a:lnTo>
                        <a:pt x="969" y="623"/>
                      </a:lnTo>
                      <a:lnTo>
                        <a:pt x="987" y="525"/>
                      </a:lnTo>
                      <a:lnTo>
                        <a:pt x="989" y="500"/>
                      </a:lnTo>
                      <a:lnTo>
                        <a:pt x="984" y="430"/>
                      </a:lnTo>
                      <a:lnTo>
                        <a:pt x="972" y="363"/>
                      </a:lnTo>
                      <a:lnTo>
                        <a:pt x="959" y="323"/>
                      </a:lnTo>
                      <a:lnTo>
                        <a:pt x="904" y="204"/>
                      </a:lnTo>
                      <a:lnTo>
                        <a:pt x="900" y="180"/>
                      </a:lnTo>
                      <a:lnTo>
                        <a:pt x="904" y="154"/>
                      </a:lnTo>
                      <a:lnTo>
                        <a:pt x="905" y="150"/>
                      </a:lnTo>
                      <a:lnTo>
                        <a:pt x="914" y="140"/>
                      </a:lnTo>
                      <a:lnTo>
                        <a:pt x="917" y="135"/>
                      </a:lnTo>
                      <a:lnTo>
                        <a:pt x="919" y="129"/>
                      </a:lnTo>
                      <a:lnTo>
                        <a:pt x="922" y="118"/>
                      </a:lnTo>
                      <a:lnTo>
                        <a:pt x="930" y="103"/>
                      </a:lnTo>
                      <a:lnTo>
                        <a:pt x="930" y="94"/>
                      </a:lnTo>
                      <a:lnTo>
                        <a:pt x="925" y="75"/>
                      </a:lnTo>
                      <a:lnTo>
                        <a:pt x="925" y="67"/>
                      </a:lnTo>
                      <a:lnTo>
                        <a:pt x="925" y="58"/>
                      </a:lnTo>
                      <a:lnTo>
                        <a:pt x="929" y="48"/>
                      </a:lnTo>
                      <a:lnTo>
                        <a:pt x="937" y="40"/>
                      </a:lnTo>
                      <a:lnTo>
                        <a:pt x="942" y="44"/>
                      </a:lnTo>
                      <a:lnTo>
                        <a:pt x="944" y="49"/>
                      </a:lnTo>
                      <a:lnTo>
                        <a:pt x="944" y="55"/>
                      </a:lnTo>
                      <a:lnTo>
                        <a:pt x="945" y="63"/>
                      </a:lnTo>
                      <a:lnTo>
                        <a:pt x="947" y="68"/>
                      </a:lnTo>
                      <a:lnTo>
                        <a:pt x="952" y="68"/>
                      </a:lnTo>
                      <a:lnTo>
                        <a:pt x="962" y="64"/>
                      </a:lnTo>
                      <a:lnTo>
                        <a:pt x="980" y="62"/>
                      </a:lnTo>
                      <a:lnTo>
                        <a:pt x="999" y="57"/>
                      </a:lnTo>
                      <a:lnTo>
                        <a:pt x="1014" y="47"/>
                      </a:lnTo>
                      <a:lnTo>
                        <a:pt x="1018" y="45"/>
                      </a:lnTo>
                      <a:lnTo>
                        <a:pt x="1020" y="42"/>
                      </a:lnTo>
                      <a:lnTo>
                        <a:pt x="1022" y="35"/>
                      </a:lnTo>
                      <a:lnTo>
                        <a:pt x="1022" y="27"/>
                      </a:lnTo>
                      <a:lnTo>
                        <a:pt x="1022" y="22"/>
                      </a:lnTo>
                      <a:lnTo>
                        <a:pt x="1028" y="12"/>
                      </a:lnTo>
                      <a:lnTo>
                        <a:pt x="1038" y="3"/>
                      </a:lnTo>
                      <a:lnTo>
                        <a:pt x="1049" y="0"/>
                      </a:lnTo>
                      <a:lnTo>
                        <a:pt x="1055" y="7"/>
                      </a:lnTo>
                      <a:lnTo>
                        <a:pt x="1062" y="23"/>
                      </a:lnTo>
                      <a:lnTo>
                        <a:pt x="1065" y="30"/>
                      </a:lnTo>
                      <a:lnTo>
                        <a:pt x="1072" y="33"/>
                      </a:lnTo>
                      <a:lnTo>
                        <a:pt x="1078" y="38"/>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5" name="Fukui" descr="{&quot;Key&quot;:&quot;fukui&quot;,&quot;Name&quot;:&quot;Fukui&quot;,&quot;Value&quot;:1.0,&quot;Formula&quot;:&quot;&quot;,&quot;Text&quot;:&quot;&quot;,&quot;OfficeApplication&quot;:1,&quot;HasValue&quot;:true}">
                  <a:extLst>
                    <a:ext uri="{FF2B5EF4-FFF2-40B4-BE49-F238E27FC236}">
                      <a16:creationId xmlns:a16="http://schemas.microsoft.com/office/drawing/2014/main" id="{00589C54-54DD-4E7C-ADA3-E29627E6BD44}"/>
                    </a:ext>
                  </a:extLst>
                </p:cNvPr>
                <p:cNvSpPr>
                  <a:spLocks/>
                </p:cNvSpPr>
                <p:nvPr/>
              </p:nvSpPr>
              <p:spPr bwMode="auto">
                <a:xfrm>
                  <a:off x="5838825" y="3503613"/>
                  <a:ext cx="320675" cy="276225"/>
                </a:xfrm>
                <a:custGeom>
                  <a:avLst/>
                  <a:gdLst>
                    <a:gd name="T0" fmla="*/ 514 w 549"/>
                    <a:gd name="T1" fmla="*/ 123 h 474"/>
                    <a:gd name="T2" fmla="*/ 506 w 549"/>
                    <a:gd name="T3" fmla="*/ 171 h 474"/>
                    <a:gd name="T4" fmla="*/ 519 w 549"/>
                    <a:gd name="T5" fmla="*/ 188 h 474"/>
                    <a:gd name="T6" fmla="*/ 544 w 549"/>
                    <a:gd name="T7" fmla="*/ 208 h 474"/>
                    <a:gd name="T8" fmla="*/ 540 w 549"/>
                    <a:gd name="T9" fmla="*/ 235 h 474"/>
                    <a:gd name="T10" fmla="*/ 511 w 549"/>
                    <a:gd name="T11" fmla="*/ 252 h 474"/>
                    <a:gd name="T12" fmla="*/ 471 w 549"/>
                    <a:gd name="T13" fmla="*/ 252 h 474"/>
                    <a:gd name="T14" fmla="*/ 418 w 549"/>
                    <a:gd name="T15" fmla="*/ 272 h 474"/>
                    <a:gd name="T16" fmla="*/ 393 w 549"/>
                    <a:gd name="T17" fmla="*/ 266 h 474"/>
                    <a:gd name="T18" fmla="*/ 361 w 549"/>
                    <a:gd name="T19" fmla="*/ 259 h 474"/>
                    <a:gd name="T20" fmla="*/ 343 w 549"/>
                    <a:gd name="T21" fmla="*/ 294 h 474"/>
                    <a:gd name="T22" fmla="*/ 278 w 549"/>
                    <a:gd name="T23" fmla="*/ 309 h 474"/>
                    <a:gd name="T24" fmla="*/ 280 w 549"/>
                    <a:gd name="T25" fmla="*/ 335 h 474"/>
                    <a:gd name="T26" fmla="*/ 280 w 549"/>
                    <a:gd name="T27" fmla="*/ 362 h 474"/>
                    <a:gd name="T28" fmla="*/ 263 w 549"/>
                    <a:gd name="T29" fmla="*/ 365 h 474"/>
                    <a:gd name="T30" fmla="*/ 259 w 549"/>
                    <a:gd name="T31" fmla="*/ 383 h 474"/>
                    <a:gd name="T32" fmla="*/ 233 w 549"/>
                    <a:gd name="T33" fmla="*/ 389 h 474"/>
                    <a:gd name="T34" fmla="*/ 208 w 549"/>
                    <a:gd name="T35" fmla="*/ 397 h 474"/>
                    <a:gd name="T36" fmla="*/ 196 w 549"/>
                    <a:gd name="T37" fmla="*/ 392 h 474"/>
                    <a:gd name="T38" fmla="*/ 180 w 549"/>
                    <a:gd name="T39" fmla="*/ 444 h 474"/>
                    <a:gd name="T40" fmla="*/ 163 w 549"/>
                    <a:gd name="T41" fmla="*/ 447 h 474"/>
                    <a:gd name="T42" fmla="*/ 100 w 549"/>
                    <a:gd name="T43" fmla="*/ 474 h 474"/>
                    <a:gd name="T44" fmla="*/ 26 w 549"/>
                    <a:gd name="T45" fmla="*/ 443 h 474"/>
                    <a:gd name="T46" fmla="*/ 4 w 549"/>
                    <a:gd name="T47" fmla="*/ 409 h 474"/>
                    <a:gd name="T48" fmla="*/ 3 w 549"/>
                    <a:gd name="T49" fmla="*/ 390 h 474"/>
                    <a:gd name="T50" fmla="*/ 10 w 549"/>
                    <a:gd name="T51" fmla="*/ 374 h 474"/>
                    <a:gd name="T52" fmla="*/ 16 w 549"/>
                    <a:gd name="T53" fmla="*/ 379 h 474"/>
                    <a:gd name="T54" fmla="*/ 30 w 549"/>
                    <a:gd name="T55" fmla="*/ 367 h 474"/>
                    <a:gd name="T56" fmla="*/ 36 w 549"/>
                    <a:gd name="T57" fmla="*/ 394 h 474"/>
                    <a:gd name="T58" fmla="*/ 64 w 549"/>
                    <a:gd name="T59" fmla="*/ 388 h 474"/>
                    <a:gd name="T60" fmla="*/ 93 w 549"/>
                    <a:gd name="T61" fmla="*/ 373 h 474"/>
                    <a:gd name="T62" fmla="*/ 74 w 549"/>
                    <a:gd name="T63" fmla="*/ 397 h 474"/>
                    <a:gd name="T64" fmla="*/ 120 w 549"/>
                    <a:gd name="T65" fmla="*/ 390 h 474"/>
                    <a:gd name="T66" fmla="*/ 109 w 549"/>
                    <a:gd name="T67" fmla="*/ 370 h 474"/>
                    <a:gd name="T68" fmla="*/ 125 w 549"/>
                    <a:gd name="T69" fmla="*/ 359 h 474"/>
                    <a:gd name="T70" fmla="*/ 150 w 549"/>
                    <a:gd name="T71" fmla="*/ 377 h 474"/>
                    <a:gd name="T72" fmla="*/ 146 w 549"/>
                    <a:gd name="T73" fmla="*/ 357 h 474"/>
                    <a:gd name="T74" fmla="*/ 161 w 549"/>
                    <a:gd name="T75" fmla="*/ 354 h 474"/>
                    <a:gd name="T76" fmla="*/ 160 w 549"/>
                    <a:gd name="T77" fmla="*/ 342 h 474"/>
                    <a:gd name="T78" fmla="*/ 155 w 549"/>
                    <a:gd name="T79" fmla="*/ 319 h 474"/>
                    <a:gd name="T80" fmla="*/ 190 w 549"/>
                    <a:gd name="T81" fmla="*/ 334 h 474"/>
                    <a:gd name="T82" fmla="*/ 214 w 549"/>
                    <a:gd name="T83" fmla="*/ 328 h 474"/>
                    <a:gd name="T84" fmla="*/ 215 w 549"/>
                    <a:gd name="T85" fmla="*/ 303 h 474"/>
                    <a:gd name="T86" fmla="*/ 209 w 549"/>
                    <a:gd name="T87" fmla="*/ 278 h 474"/>
                    <a:gd name="T88" fmla="*/ 239 w 549"/>
                    <a:gd name="T89" fmla="*/ 273 h 474"/>
                    <a:gd name="T90" fmla="*/ 239 w 549"/>
                    <a:gd name="T91" fmla="*/ 296 h 474"/>
                    <a:gd name="T92" fmla="*/ 254 w 549"/>
                    <a:gd name="T93" fmla="*/ 310 h 474"/>
                    <a:gd name="T94" fmla="*/ 259 w 549"/>
                    <a:gd name="T95" fmla="*/ 289 h 474"/>
                    <a:gd name="T96" fmla="*/ 266 w 549"/>
                    <a:gd name="T97" fmla="*/ 254 h 474"/>
                    <a:gd name="T98" fmla="*/ 245 w 549"/>
                    <a:gd name="T99" fmla="*/ 223 h 474"/>
                    <a:gd name="T100" fmla="*/ 224 w 549"/>
                    <a:gd name="T101" fmla="*/ 174 h 474"/>
                    <a:gd name="T102" fmla="*/ 226 w 549"/>
                    <a:gd name="T103" fmla="*/ 130 h 474"/>
                    <a:gd name="T104" fmla="*/ 263 w 549"/>
                    <a:gd name="T105" fmla="*/ 63 h 474"/>
                    <a:gd name="T106" fmla="*/ 274 w 549"/>
                    <a:gd name="T107" fmla="*/ 20 h 474"/>
                    <a:gd name="T108" fmla="*/ 305 w 549"/>
                    <a:gd name="T109" fmla="*/ 12 h 474"/>
                    <a:gd name="T110" fmla="*/ 341 w 549"/>
                    <a:gd name="T111" fmla="*/ 22 h 474"/>
                    <a:gd name="T112" fmla="*/ 351 w 549"/>
                    <a:gd name="T113" fmla="*/ 57 h 474"/>
                    <a:gd name="T114" fmla="*/ 378 w 549"/>
                    <a:gd name="T115" fmla="*/ 65 h 474"/>
                    <a:gd name="T116" fmla="*/ 411 w 549"/>
                    <a:gd name="T117" fmla="*/ 69 h 474"/>
                    <a:gd name="T118" fmla="*/ 461 w 549"/>
                    <a:gd name="T119" fmla="*/ 89 h 474"/>
                    <a:gd name="T120" fmla="*/ 515 w 549"/>
                    <a:gd name="T121" fmla="*/ 106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9" h="474">
                      <a:moveTo>
                        <a:pt x="515" y="106"/>
                      </a:moveTo>
                      <a:lnTo>
                        <a:pt x="516" y="113"/>
                      </a:lnTo>
                      <a:lnTo>
                        <a:pt x="516" y="117"/>
                      </a:lnTo>
                      <a:lnTo>
                        <a:pt x="514" y="123"/>
                      </a:lnTo>
                      <a:lnTo>
                        <a:pt x="510" y="136"/>
                      </a:lnTo>
                      <a:lnTo>
                        <a:pt x="509" y="157"/>
                      </a:lnTo>
                      <a:lnTo>
                        <a:pt x="506" y="164"/>
                      </a:lnTo>
                      <a:lnTo>
                        <a:pt x="506" y="171"/>
                      </a:lnTo>
                      <a:lnTo>
                        <a:pt x="508" y="177"/>
                      </a:lnTo>
                      <a:lnTo>
                        <a:pt x="510" y="182"/>
                      </a:lnTo>
                      <a:lnTo>
                        <a:pt x="514" y="186"/>
                      </a:lnTo>
                      <a:lnTo>
                        <a:pt x="519" y="188"/>
                      </a:lnTo>
                      <a:lnTo>
                        <a:pt x="529" y="191"/>
                      </a:lnTo>
                      <a:lnTo>
                        <a:pt x="534" y="193"/>
                      </a:lnTo>
                      <a:lnTo>
                        <a:pt x="539" y="199"/>
                      </a:lnTo>
                      <a:lnTo>
                        <a:pt x="544" y="208"/>
                      </a:lnTo>
                      <a:lnTo>
                        <a:pt x="548" y="217"/>
                      </a:lnTo>
                      <a:lnTo>
                        <a:pt x="549" y="224"/>
                      </a:lnTo>
                      <a:lnTo>
                        <a:pt x="545" y="231"/>
                      </a:lnTo>
                      <a:lnTo>
                        <a:pt x="540" y="235"/>
                      </a:lnTo>
                      <a:lnTo>
                        <a:pt x="535" y="247"/>
                      </a:lnTo>
                      <a:lnTo>
                        <a:pt x="530" y="250"/>
                      </a:lnTo>
                      <a:lnTo>
                        <a:pt x="518" y="250"/>
                      </a:lnTo>
                      <a:lnTo>
                        <a:pt x="511" y="252"/>
                      </a:lnTo>
                      <a:lnTo>
                        <a:pt x="503" y="254"/>
                      </a:lnTo>
                      <a:lnTo>
                        <a:pt x="495" y="256"/>
                      </a:lnTo>
                      <a:lnTo>
                        <a:pt x="481" y="252"/>
                      </a:lnTo>
                      <a:lnTo>
                        <a:pt x="471" y="252"/>
                      </a:lnTo>
                      <a:lnTo>
                        <a:pt x="430" y="260"/>
                      </a:lnTo>
                      <a:lnTo>
                        <a:pt x="425" y="264"/>
                      </a:lnTo>
                      <a:lnTo>
                        <a:pt x="420" y="272"/>
                      </a:lnTo>
                      <a:lnTo>
                        <a:pt x="418" y="272"/>
                      </a:lnTo>
                      <a:lnTo>
                        <a:pt x="409" y="266"/>
                      </a:lnTo>
                      <a:lnTo>
                        <a:pt x="404" y="264"/>
                      </a:lnTo>
                      <a:lnTo>
                        <a:pt x="399" y="264"/>
                      </a:lnTo>
                      <a:lnTo>
                        <a:pt x="393" y="266"/>
                      </a:lnTo>
                      <a:lnTo>
                        <a:pt x="386" y="264"/>
                      </a:lnTo>
                      <a:lnTo>
                        <a:pt x="373" y="259"/>
                      </a:lnTo>
                      <a:lnTo>
                        <a:pt x="366" y="258"/>
                      </a:lnTo>
                      <a:lnTo>
                        <a:pt x="361" y="259"/>
                      </a:lnTo>
                      <a:lnTo>
                        <a:pt x="356" y="261"/>
                      </a:lnTo>
                      <a:lnTo>
                        <a:pt x="351" y="264"/>
                      </a:lnTo>
                      <a:lnTo>
                        <a:pt x="348" y="269"/>
                      </a:lnTo>
                      <a:lnTo>
                        <a:pt x="343" y="294"/>
                      </a:lnTo>
                      <a:lnTo>
                        <a:pt x="329" y="318"/>
                      </a:lnTo>
                      <a:lnTo>
                        <a:pt x="293" y="304"/>
                      </a:lnTo>
                      <a:lnTo>
                        <a:pt x="285" y="306"/>
                      </a:lnTo>
                      <a:lnTo>
                        <a:pt x="278" y="309"/>
                      </a:lnTo>
                      <a:lnTo>
                        <a:pt x="275" y="314"/>
                      </a:lnTo>
                      <a:lnTo>
                        <a:pt x="276" y="317"/>
                      </a:lnTo>
                      <a:lnTo>
                        <a:pt x="279" y="324"/>
                      </a:lnTo>
                      <a:lnTo>
                        <a:pt x="280" y="335"/>
                      </a:lnTo>
                      <a:lnTo>
                        <a:pt x="284" y="344"/>
                      </a:lnTo>
                      <a:lnTo>
                        <a:pt x="285" y="350"/>
                      </a:lnTo>
                      <a:lnTo>
                        <a:pt x="284" y="355"/>
                      </a:lnTo>
                      <a:lnTo>
                        <a:pt x="280" y="362"/>
                      </a:lnTo>
                      <a:lnTo>
                        <a:pt x="275" y="363"/>
                      </a:lnTo>
                      <a:lnTo>
                        <a:pt x="270" y="362"/>
                      </a:lnTo>
                      <a:lnTo>
                        <a:pt x="264" y="362"/>
                      </a:lnTo>
                      <a:lnTo>
                        <a:pt x="263" y="365"/>
                      </a:lnTo>
                      <a:lnTo>
                        <a:pt x="261" y="369"/>
                      </a:lnTo>
                      <a:lnTo>
                        <a:pt x="261" y="374"/>
                      </a:lnTo>
                      <a:lnTo>
                        <a:pt x="261" y="379"/>
                      </a:lnTo>
                      <a:lnTo>
                        <a:pt x="259" y="383"/>
                      </a:lnTo>
                      <a:lnTo>
                        <a:pt x="254" y="383"/>
                      </a:lnTo>
                      <a:lnTo>
                        <a:pt x="249" y="383"/>
                      </a:lnTo>
                      <a:lnTo>
                        <a:pt x="244" y="384"/>
                      </a:lnTo>
                      <a:lnTo>
                        <a:pt x="233" y="389"/>
                      </a:lnTo>
                      <a:lnTo>
                        <a:pt x="223" y="398"/>
                      </a:lnTo>
                      <a:lnTo>
                        <a:pt x="218" y="400"/>
                      </a:lnTo>
                      <a:lnTo>
                        <a:pt x="213" y="399"/>
                      </a:lnTo>
                      <a:lnTo>
                        <a:pt x="208" y="397"/>
                      </a:lnTo>
                      <a:lnTo>
                        <a:pt x="204" y="392"/>
                      </a:lnTo>
                      <a:lnTo>
                        <a:pt x="201" y="390"/>
                      </a:lnTo>
                      <a:lnTo>
                        <a:pt x="198" y="389"/>
                      </a:lnTo>
                      <a:lnTo>
                        <a:pt x="196" y="392"/>
                      </a:lnTo>
                      <a:lnTo>
                        <a:pt x="194" y="395"/>
                      </a:lnTo>
                      <a:lnTo>
                        <a:pt x="186" y="433"/>
                      </a:lnTo>
                      <a:lnTo>
                        <a:pt x="184" y="439"/>
                      </a:lnTo>
                      <a:lnTo>
                        <a:pt x="180" y="444"/>
                      </a:lnTo>
                      <a:lnTo>
                        <a:pt x="176" y="449"/>
                      </a:lnTo>
                      <a:lnTo>
                        <a:pt x="173" y="449"/>
                      </a:lnTo>
                      <a:lnTo>
                        <a:pt x="168" y="449"/>
                      </a:lnTo>
                      <a:lnTo>
                        <a:pt x="163" y="447"/>
                      </a:lnTo>
                      <a:lnTo>
                        <a:pt x="153" y="448"/>
                      </a:lnTo>
                      <a:lnTo>
                        <a:pt x="145" y="452"/>
                      </a:lnTo>
                      <a:lnTo>
                        <a:pt x="123" y="470"/>
                      </a:lnTo>
                      <a:lnTo>
                        <a:pt x="100" y="474"/>
                      </a:lnTo>
                      <a:lnTo>
                        <a:pt x="41" y="458"/>
                      </a:lnTo>
                      <a:lnTo>
                        <a:pt x="33" y="453"/>
                      </a:lnTo>
                      <a:lnTo>
                        <a:pt x="29" y="449"/>
                      </a:lnTo>
                      <a:lnTo>
                        <a:pt x="26" y="443"/>
                      </a:lnTo>
                      <a:lnTo>
                        <a:pt x="19" y="437"/>
                      </a:lnTo>
                      <a:lnTo>
                        <a:pt x="6" y="420"/>
                      </a:lnTo>
                      <a:lnTo>
                        <a:pt x="4" y="414"/>
                      </a:lnTo>
                      <a:lnTo>
                        <a:pt x="4" y="409"/>
                      </a:lnTo>
                      <a:lnTo>
                        <a:pt x="6" y="403"/>
                      </a:lnTo>
                      <a:lnTo>
                        <a:pt x="6" y="400"/>
                      </a:lnTo>
                      <a:lnTo>
                        <a:pt x="5" y="395"/>
                      </a:lnTo>
                      <a:lnTo>
                        <a:pt x="3" y="390"/>
                      </a:lnTo>
                      <a:lnTo>
                        <a:pt x="0" y="385"/>
                      </a:lnTo>
                      <a:lnTo>
                        <a:pt x="1" y="382"/>
                      </a:lnTo>
                      <a:lnTo>
                        <a:pt x="6" y="377"/>
                      </a:lnTo>
                      <a:lnTo>
                        <a:pt x="10" y="374"/>
                      </a:lnTo>
                      <a:lnTo>
                        <a:pt x="15" y="371"/>
                      </a:lnTo>
                      <a:lnTo>
                        <a:pt x="16" y="369"/>
                      </a:lnTo>
                      <a:lnTo>
                        <a:pt x="18" y="374"/>
                      </a:lnTo>
                      <a:lnTo>
                        <a:pt x="16" y="379"/>
                      </a:lnTo>
                      <a:lnTo>
                        <a:pt x="20" y="380"/>
                      </a:lnTo>
                      <a:lnTo>
                        <a:pt x="24" y="379"/>
                      </a:lnTo>
                      <a:lnTo>
                        <a:pt x="26" y="374"/>
                      </a:lnTo>
                      <a:lnTo>
                        <a:pt x="30" y="367"/>
                      </a:lnTo>
                      <a:lnTo>
                        <a:pt x="30" y="375"/>
                      </a:lnTo>
                      <a:lnTo>
                        <a:pt x="29" y="384"/>
                      </a:lnTo>
                      <a:lnTo>
                        <a:pt x="29" y="392"/>
                      </a:lnTo>
                      <a:lnTo>
                        <a:pt x="36" y="394"/>
                      </a:lnTo>
                      <a:lnTo>
                        <a:pt x="49" y="394"/>
                      </a:lnTo>
                      <a:lnTo>
                        <a:pt x="53" y="394"/>
                      </a:lnTo>
                      <a:lnTo>
                        <a:pt x="56" y="393"/>
                      </a:lnTo>
                      <a:lnTo>
                        <a:pt x="64" y="388"/>
                      </a:lnTo>
                      <a:lnTo>
                        <a:pt x="68" y="382"/>
                      </a:lnTo>
                      <a:lnTo>
                        <a:pt x="75" y="374"/>
                      </a:lnTo>
                      <a:lnTo>
                        <a:pt x="85" y="369"/>
                      </a:lnTo>
                      <a:lnTo>
                        <a:pt x="93" y="373"/>
                      </a:lnTo>
                      <a:lnTo>
                        <a:pt x="91" y="375"/>
                      </a:lnTo>
                      <a:lnTo>
                        <a:pt x="83" y="379"/>
                      </a:lnTo>
                      <a:lnTo>
                        <a:pt x="79" y="394"/>
                      </a:lnTo>
                      <a:lnTo>
                        <a:pt x="74" y="397"/>
                      </a:lnTo>
                      <a:lnTo>
                        <a:pt x="84" y="400"/>
                      </a:lnTo>
                      <a:lnTo>
                        <a:pt x="104" y="394"/>
                      </a:lnTo>
                      <a:lnTo>
                        <a:pt x="115" y="395"/>
                      </a:lnTo>
                      <a:lnTo>
                        <a:pt x="120" y="390"/>
                      </a:lnTo>
                      <a:lnTo>
                        <a:pt x="125" y="384"/>
                      </a:lnTo>
                      <a:lnTo>
                        <a:pt x="125" y="374"/>
                      </a:lnTo>
                      <a:lnTo>
                        <a:pt x="114" y="379"/>
                      </a:lnTo>
                      <a:lnTo>
                        <a:pt x="109" y="370"/>
                      </a:lnTo>
                      <a:lnTo>
                        <a:pt x="103" y="368"/>
                      </a:lnTo>
                      <a:lnTo>
                        <a:pt x="108" y="359"/>
                      </a:lnTo>
                      <a:lnTo>
                        <a:pt x="121" y="355"/>
                      </a:lnTo>
                      <a:lnTo>
                        <a:pt x="125" y="359"/>
                      </a:lnTo>
                      <a:lnTo>
                        <a:pt x="128" y="367"/>
                      </a:lnTo>
                      <a:lnTo>
                        <a:pt x="136" y="365"/>
                      </a:lnTo>
                      <a:lnTo>
                        <a:pt x="143" y="375"/>
                      </a:lnTo>
                      <a:lnTo>
                        <a:pt x="150" y="377"/>
                      </a:lnTo>
                      <a:lnTo>
                        <a:pt x="159" y="373"/>
                      </a:lnTo>
                      <a:lnTo>
                        <a:pt x="155" y="372"/>
                      </a:lnTo>
                      <a:lnTo>
                        <a:pt x="153" y="368"/>
                      </a:lnTo>
                      <a:lnTo>
                        <a:pt x="146" y="357"/>
                      </a:lnTo>
                      <a:lnTo>
                        <a:pt x="148" y="353"/>
                      </a:lnTo>
                      <a:lnTo>
                        <a:pt x="151" y="352"/>
                      </a:lnTo>
                      <a:lnTo>
                        <a:pt x="156" y="357"/>
                      </a:lnTo>
                      <a:lnTo>
                        <a:pt x="161" y="354"/>
                      </a:lnTo>
                      <a:lnTo>
                        <a:pt x="168" y="352"/>
                      </a:lnTo>
                      <a:lnTo>
                        <a:pt x="166" y="348"/>
                      </a:lnTo>
                      <a:lnTo>
                        <a:pt x="164" y="345"/>
                      </a:lnTo>
                      <a:lnTo>
                        <a:pt x="160" y="342"/>
                      </a:lnTo>
                      <a:lnTo>
                        <a:pt x="159" y="334"/>
                      </a:lnTo>
                      <a:lnTo>
                        <a:pt x="153" y="325"/>
                      </a:lnTo>
                      <a:lnTo>
                        <a:pt x="150" y="319"/>
                      </a:lnTo>
                      <a:lnTo>
                        <a:pt x="155" y="319"/>
                      </a:lnTo>
                      <a:lnTo>
                        <a:pt x="168" y="329"/>
                      </a:lnTo>
                      <a:lnTo>
                        <a:pt x="173" y="332"/>
                      </a:lnTo>
                      <a:lnTo>
                        <a:pt x="186" y="329"/>
                      </a:lnTo>
                      <a:lnTo>
                        <a:pt x="190" y="334"/>
                      </a:lnTo>
                      <a:lnTo>
                        <a:pt x="194" y="337"/>
                      </a:lnTo>
                      <a:lnTo>
                        <a:pt x="201" y="332"/>
                      </a:lnTo>
                      <a:lnTo>
                        <a:pt x="206" y="327"/>
                      </a:lnTo>
                      <a:lnTo>
                        <a:pt x="214" y="328"/>
                      </a:lnTo>
                      <a:lnTo>
                        <a:pt x="218" y="325"/>
                      </a:lnTo>
                      <a:lnTo>
                        <a:pt x="219" y="319"/>
                      </a:lnTo>
                      <a:lnTo>
                        <a:pt x="211" y="314"/>
                      </a:lnTo>
                      <a:lnTo>
                        <a:pt x="215" y="303"/>
                      </a:lnTo>
                      <a:lnTo>
                        <a:pt x="215" y="296"/>
                      </a:lnTo>
                      <a:lnTo>
                        <a:pt x="214" y="291"/>
                      </a:lnTo>
                      <a:lnTo>
                        <a:pt x="209" y="292"/>
                      </a:lnTo>
                      <a:lnTo>
                        <a:pt x="209" y="278"/>
                      </a:lnTo>
                      <a:lnTo>
                        <a:pt x="219" y="272"/>
                      </a:lnTo>
                      <a:lnTo>
                        <a:pt x="234" y="259"/>
                      </a:lnTo>
                      <a:lnTo>
                        <a:pt x="239" y="269"/>
                      </a:lnTo>
                      <a:lnTo>
                        <a:pt x="239" y="273"/>
                      </a:lnTo>
                      <a:lnTo>
                        <a:pt x="241" y="281"/>
                      </a:lnTo>
                      <a:lnTo>
                        <a:pt x="245" y="289"/>
                      </a:lnTo>
                      <a:lnTo>
                        <a:pt x="243" y="296"/>
                      </a:lnTo>
                      <a:lnTo>
                        <a:pt x="239" y="296"/>
                      </a:lnTo>
                      <a:lnTo>
                        <a:pt x="236" y="301"/>
                      </a:lnTo>
                      <a:lnTo>
                        <a:pt x="244" y="307"/>
                      </a:lnTo>
                      <a:lnTo>
                        <a:pt x="245" y="312"/>
                      </a:lnTo>
                      <a:lnTo>
                        <a:pt x="254" y="310"/>
                      </a:lnTo>
                      <a:lnTo>
                        <a:pt x="256" y="302"/>
                      </a:lnTo>
                      <a:lnTo>
                        <a:pt x="259" y="299"/>
                      </a:lnTo>
                      <a:lnTo>
                        <a:pt x="260" y="297"/>
                      </a:lnTo>
                      <a:lnTo>
                        <a:pt x="259" y="289"/>
                      </a:lnTo>
                      <a:lnTo>
                        <a:pt x="263" y="284"/>
                      </a:lnTo>
                      <a:lnTo>
                        <a:pt x="264" y="271"/>
                      </a:lnTo>
                      <a:lnTo>
                        <a:pt x="266" y="262"/>
                      </a:lnTo>
                      <a:lnTo>
                        <a:pt x="266" y="254"/>
                      </a:lnTo>
                      <a:lnTo>
                        <a:pt x="261" y="244"/>
                      </a:lnTo>
                      <a:lnTo>
                        <a:pt x="256" y="237"/>
                      </a:lnTo>
                      <a:lnTo>
                        <a:pt x="254" y="229"/>
                      </a:lnTo>
                      <a:lnTo>
                        <a:pt x="245" y="223"/>
                      </a:lnTo>
                      <a:lnTo>
                        <a:pt x="231" y="207"/>
                      </a:lnTo>
                      <a:lnTo>
                        <a:pt x="224" y="199"/>
                      </a:lnTo>
                      <a:lnTo>
                        <a:pt x="224" y="185"/>
                      </a:lnTo>
                      <a:lnTo>
                        <a:pt x="224" y="174"/>
                      </a:lnTo>
                      <a:lnTo>
                        <a:pt x="209" y="157"/>
                      </a:lnTo>
                      <a:lnTo>
                        <a:pt x="211" y="143"/>
                      </a:lnTo>
                      <a:lnTo>
                        <a:pt x="221" y="137"/>
                      </a:lnTo>
                      <a:lnTo>
                        <a:pt x="226" y="130"/>
                      </a:lnTo>
                      <a:lnTo>
                        <a:pt x="233" y="114"/>
                      </a:lnTo>
                      <a:lnTo>
                        <a:pt x="239" y="103"/>
                      </a:lnTo>
                      <a:lnTo>
                        <a:pt x="244" y="88"/>
                      </a:lnTo>
                      <a:lnTo>
                        <a:pt x="263" y="63"/>
                      </a:lnTo>
                      <a:lnTo>
                        <a:pt x="269" y="50"/>
                      </a:lnTo>
                      <a:lnTo>
                        <a:pt x="274" y="43"/>
                      </a:lnTo>
                      <a:lnTo>
                        <a:pt x="280" y="30"/>
                      </a:lnTo>
                      <a:lnTo>
                        <a:pt x="274" y="20"/>
                      </a:lnTo>
                      <a:lnTo>
                        <a:pt x="276" y="17"/>
                      </a:lnTo>
                      <a:lnTo>
                        <a:pt x="284" y="17"/>
                      </a:lnTo>
                      <a:lnTo>
                        <a:pt x="291" y="17"/>
                      </a:lnTo>
                      <a:lnTo>
                        <a:pt x="305" y="12"/>
                      </a:lnTo>
                      <a:lnTo>
                        <a:pt x="318" y="0"/>
                      </a:lnTo>
                      <a:lnTo>
                        <a:pt x="324" y="8"/>
                      </a:lnTo>
                      <a:lnTo>
                        <a:pt x="336" y="18"/>
                      </a:lnTo>
                      <a:lnTo>
                        <a:pt x="341" y="22"/>
                      </a:lnTo>
                      <a:lnTo>
                        <a:pt x="344" y="30"/>
                      </a:lnTo>
                      <a:lnTo>
                        <a:pt x="346" y="45"/>
                      </a:lnTo>
                      <a:lnTo>
                        <a:pt x="349" y="52"/>
                      </a:lnTo>
                      <a:lnTo>
                        <a:pt x="351" y="57"/>
                      </a:lnTo>
                      <a:lnTo>
                        <a:pt x="355" y="60"/>
                      </a:lnTo>
                      <a:lnTo>
                        <a:pt x="361" y="62"/>
                      </a:lnTo>
                      <a:lnTo>
                        <a:pt x="370" y="63"/>
                      </a:lnTo>
                      <a:lnTo>
                        <a:pt x="378" y="65"/>
                      </a:lnTo>
                      <a:lnTo>
                        <a:pt x="394" y="73"/>
                      </a:lnTo>
                      <a:lnTo>
                        <a:pt x="401" y="73"/>
                      </a:lnTo>
                      <a:lnTo>
                        <a:pt x="406" y="71"/>
                      </a:lnTo>
                      <a:lnTo>
                        <a:pt x="411" y="69"/>
                      </a:lnTo>
                      <a:lnTo>
                        <a:pt x="425" y="71"/>
                      </a:lnTo>
                      <a:lnTo>
                        <a:pt x="440" y="73"/>
                      </a:lnTo>
                      <a:lnTo>
                        <a:pt x="454" y="82"/>
                      </a:lnTo>
                      <a:lnTo>
                        <a:pt x="461" y="89"/>
                      </a:lnTo>
                      <a:lnTo>
                        <a:pt x="476" y="106"/>
                      </a:lnTo>
                      <a:lnTo>
                        <a:pt x="481" y="110"/>
                      </a:lnTo>
                      <a:lnTo>
                        <a:pt x="490" y="112"/>
                      </a:lnTo>
                      <a:lnTo>
                        <a:pt x="515" y="106"/>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6" name="Hyōgo" descr="{&quot;Key&quot;:&quot;hyōgo&quot;,&quot;Name&quot;:&quot;Hyōgo&quot;,&quot;Value&quot;:1.0,&quot;Formula&quot;:&quot;&quot;,&quot;Text&quot;:&quot;&quot;,&quot;OfficeApplication&quot;:1,&quot;HasValue&quot;:true}">
                  <a:extLst>
                    <a:ext uri="{FF2B5EF4-FFF2-40B4-BE49-F238E27FC236}">
                      <a16:creationId xmlns:a16="http://schemas.microsoft.com/office/drawing/2014/main" id="{DE5E6501-0529-4B5A-9D1F-200081428AB8}"/>
                    </a:ext>
                  </a:extLst>
                </p:cNvPr>
                <p:cNvSpPr>
                  <a:spLocks noEditPoints="1"/>
                </p:cNvSpPr>
                <p:nvPr/>
              </p:nvSpPr>
              <p:spPr bwMode="auto">
                <a:xfrm>
                  <a:off x="5561013" y="3681413"/>
                  <a:ext cx="279400" cy="434975"/>
                </a:xfrm>
                <a:custGeom>
                  <a:avLst/>
                  <a:gdLst>
                    <a:gd name="T0" fmla="*/ 228 w 479"/>
                    <a:gd name="T1" fmla="*/ 731 h 743"/>
                    <a:gd name="T2" fmla="*/ 266 w 479"/>
                    <a:gd name="T3" fmla="*/ 663 h 743"/>
                    <a:gd name="T4" fmla="*/ 263 w 479"/>
                    <a:gd name="T5" fmla="*/ 693 h 743"/>
                    <a:gd name="T6" fmla="*/ 199 w 479"/>
                    <a:gd name="T7" fmla="*/ 726 h 743"/>
                    <a:gd name="T8" fmla="*/ 184 w 479"/>
                    <a:gd name="T9" fmla="*/ 702 h 743"/>
                    <a:gd name="T10" fmla="*/ 166 w 479"/>
                    <a:gd name="T11" fmla="*/ 672 h 743"/>
                    <a:gd name="T12" fmla="*/ 229 w 479"/>
                    <a:gd name="T13" fmla="*/ 594 h 743"/>
                    <a:gd name="T14" fmla="*/ 253 w 479"/>
                    <a:gd name="T15" fmla="*/ 561 h 743"/>
                    <a:gd name="T16" fmla="*/ 310 w 479"/>
                    <a:gd name="T17" fmla="*/ 531 h 743"/>
                    <a:gd name="T18" fmla="*/ 293 w 479"/>
                    <a:gd name="T19" fmla="*/ 572 h 743"/>
                    <a:gd name="T20" fmla="*/ 259 w 479"/>
                    <a:gd name="T21" fmla="*/ 643 h 743"/>
                    <a:gd name="T22" fmla="*/ 98 w 479"/>
                    <a:gd name="T23" fmla="*/ 503 h 743"/>
                    <a:gd name="T24" fmla="*/ 85 w 479"/>
                    <a:gd name="T25" fmla="*/ 507 h 743"/>
                    <a:gd name="T26" fmla="*/ 91 w 479"/>
                    <a:gd name="T27" fmla="*/ 496 h 743"/>
                    <a:gd name="T28" fmla="*/ 125 w 479"/>
                    <a:gd name="T29" fmla="*/ 494 h 743"/>
                    <a:gd name="T30" fmla="*/ 130 w 479"/>
                    <a:gd name="T31" fmla="*/ 499 h 743"/>
                    <a:gd name="T32" fmla="*/ 112 w 479"/>
                    <a:gd name="T33" fmla="*/ 498 h 743"/>
                    <a:gd name="T34" fmla="*/ 114 w 479"/>
                    <a:gd name="T35" fmla="*/ 486 h 743"/>
                    <a:gd name="T36" fmla="*/ 245 w 479"/>
                    <a:gd name="T37" fmla="*/ 43 h 743"/>
                    <a:gd name="T38" fmla="*/ 273 w 479"/>
                    <a:gd name="T39" fmla="*/ 84 h 743"/>
                    <a:gd name="T40" fmla="*/ 309 w 479"/>
                    <a:gd name="T41" fmla="*/ 76 h 743"/>
                    <a:gd name="T42" fmla="*/ 319 w 479"/>
                    <a:gd name="T43" fmla="*/ 131 h 743"/>
                    <a:gd name="T44" fmla="*/ 300 w 479"/>
                    <a:gd name="T45" fmla="*/ 151 h 743"/>
                    <a:gd name="T46" fmla="*/ 275 w 479"/>
                    <a:gd name="T47" fmla="*/ 141 h 743"/>
                    <a:gd name="T48" fmla="*/ 268 w 479"/>
                    <a:gd name="T49" fmla="*/ 178 h 743"/>
                    <a:gd name="T50" fmla="*/ 300 w 479"/>
                    <a:gd name="T51" fmla="*/ 197 h 743"/>
                    <a:gd name="T52" fmla="*/ 338 w 479"/>
                    <a:gd name="T53" fmla="*/ 216 h 743"/>
                    <a:gd name="T54" fmla="*/ 368 w 479"/>
                    <a:gd name="T55" fmla="*/ 228 h 743"/>
                    <a:gd name="T56" fmla="*/ 404 w 479"/>
                    <a:gd name="T57" fmla="*/ 253 h 743"/>
                    <a:gd name="T58" fmla="*/ 433 w 479"/>
                    <a:gd name="T59" fmla="*/ 266 h 743"/>
                    <a:gd name="T60" fmla="*/ 460 w 479"/>
                    <a:gd name="T61" fmla="*/ 293 h 743"/>
                    <a:gd name="T62" fmla="*/ 435 w 479"/>
                    <a:gd name="T63" fmla="*/ 316 h 743"/>
                    <a:gd name="T64" fmla="*/ 459 w 479"/>
                    <a:gd name="T65" fmla="*/ 368 h 743"/>
                    <a:gd name="T66" fmla="*/ 475 w 479"/>
                    <a:gd name="T67" fmla="*/ 404 h 743"/>
                    <a:gd name="T68" fmla="*/ 479 w 479"/>
                    <a:gd name="T69" fmla="*/ 463 h 743"/>
                    <a:gd name="T70" fmla="*/ 452 w 479"/>
                    <a:gd name="T71" fmla="*/ 487 h 743"/>
                    <a:gd name="T72" fmla="*/ 401 w 479"/>
                    <a:gd name="T73" fmla="*/ 488 h 743"/>
                    <a:gd name="T74" fmla="*/ 381 w 479"/>
                    <a:gd name="T75" fmla="*/ 488 h 743"/>
                    <a:gd name="T76" fmla="*/ 317 w 479"/>
                    <a:gd name="T77" fmla="*/ 515 h 743"/>
                    <a:gd name="T78" fmla="*/ 262 w 479"/>
                    <a:gd name="T79" fmla="*/ 488 h 743"/>
                    <a:gd name="T80" fmla="*/ 196 w 479"/>
                    <a:gd name="T81" fmla="*/ 445 h 743"/>
                    <a:gd name="T82" fmla="*/ 111 w 479"/>
                    <a:gd name="T83" fmla="*/ 447 h 743"/>
                    <a:gd name="T84" fmla="*/ 95 w 479"/>
                    <a:gd name="T85" fmla="*/ 435 h 743"/>
                    <a:gd name="T86" fmla="*/ 81 w 479"/>
                    <a:gd name="T87" fmla="*/ 448 h 743"/>
                    <a:gd name="T88" fmla="*/ 54 w 479"/>
                    <a:gd name="T89" fmla="*/ 460 h 743"/>
                    <a:gd name="T90" fmla="*/ 40 w 479"/>
                    <a:gd name="T91" fmla="*/ 475 h 743"/>
                    <a:gd name="T92" fmla="*/ 24 w 479"/>
                    <a:gd name="T93" fmla="*/ 448 h 743"/>
                    <a:gd name="T94" fmla="*/ 1 w 479"/>
                    <a:gd name="T95" fmla="*/ 403 h 743"/>
                    <a:gd name="T96" fmla="*/ 4 w 479"/>
                    <a:gd name="T97" fmla="*/ 340 h 743"/>
                    <a:gd name="T98" fmla="*/ 47 w 479"/>
                    <a:gd name="T99" fmla="*/ 271 h 743"/>
                    <a:gd name="T100" fmla="*/ 54 w 479"/>
                    <a:gd name="T101" fmla="*/ 238 h 743"/>
                    <a:gd name="T102" fmla="*/ 72 w 479"/>
                    <a:gd name="T103" fmla="*/ 223 h 743"/>
                    <a:gd name="T104" fmla="*/ 102 w 479"/>
                    <a:gd name="T105" fmla="*/ 197 h 743"/>
                    <a:gd name="T106" fmla="*/ 87 w 479"/>
                    <a:gd name="T107" fmla="*/ 142 h 743"/>
                    <a:gd name="T108" fmla="*/ 44 w 479"/>
                    <a:gd name="T109" fmla="*/ 35 h 743"/>
                    <a:gd name="T110" fmla="*/ 112 w 479"/>
                    <a:gd name="T111" fmla="*/ 0 h 743"/>
                    <a:gd name="T112" fmla="*/ 217 w 479"/>
                    <a:gd name="T113" fmla="*/ 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9" h="743">
                      <a:moveTo>
                        <a:pt x="225" y="743"/>
                      </a:moveTo>
                      <a:lnTo>
                        <a:pt x="224" y="741"/>
                      </a:lnTo>
                      <a:lnTo>
                        <a:pt x="224" y="738"/>
                      </a:lnTo>
                      <a:lnTo>
                        <a:pt x="226" y="736"/>
                      </a:lnTo>
                      <a:lnTo>
                        <a:pt x="228" y="731"/>
                      </a:lnTo>
                      <a:lnTo>
                        <a:pt x="230" y="735"/>
                      </a:lnTo>
                      <a:lnTo>
                        <a:pt x="229" y="741"/>
                      </a:lnTo>
                      <a:lnTo>
                        <a:pt x="225" y="743"/>
                      </a:lnTo>
                      <a:close/>
                      <a:moveTo>
                        <a:pt x="265" y="654"/>
                      </a:moveTo>
                      <a:lnTo>
                        <a:pt x="266" y="663"/>
                      </a:lnTo>
                      <a:lnTo>
                        <a:pt x="269" y="668"/>
                      </a:lnTo>
                      <a:lnTo>
                        <a:pt x="279" y="678"/>
                      </a:lnTo>
                      <a:lnTo>
                        <a:pt x="283" y="687"/>
                      </a:lnTo>
                      <a:lnTo>
                        <a:pt x="274" y="691"/>
                      </a:lnTo>
                      <a:lnTo>
                        <a:pt x="263" y="693"/>
                      </a:lnTo>
                      <a:lnTo>
                        <a:pt x="253" y="699"/>
                      </a:lnTo>
                      <a:lnTo>
                        <a:pt x="241" y="703"/>
                      </a:lnTo>
                      <a:lnTo>
                        <a:pt x="233" y="708"/>
                      </a:lnTo>
                      <a:lnTo>
                        <a:pt x="219" y="721"/>
                      </a:lnTo>
                      <a:lnTo>
                        <a:pt x="199" y="726"/>
                      </a:lnTo>
                      <a:lnTo>
                        <a:pt x="190" y="726"/>
                      </a:lnTo>
                      <a:lnTo>
                        <a:pt x="189" y="717"/>
                      </a:lnTo>
                      <a:lnTo>
                        <a:pt x="180" y="712"/>
                      </a:lnTo>
                      <a:lnTo>
                        <a:pt x="179" y="711"/>
                      </a:lnTo>
                      <a:lnTo>
                        <a:pt x="184" y="702"/>
                      </a:lnTo>
                      <a:lnTo>
                        <a:pt x="188" y="696"/>
                      </a:lnTo>
                      <a:lnTo>
                        <a:pt x="174" y="701"/>
                      </a:lnTo>
                      <a:lnTo>
                        <a:pt x="165" y="689"/>
                      </a:lnTo>
                      <a:lnTo>
                        <a:pt x="161" y="678"/>
                      </a:lnTo>
                      <a:lnTo>
                        <a:pt x="166" y="672"/>
                      </a:lnTo>
                      <a:lnTo>
                        <a:pt x="171" y="659"/>
                      </a:lnTo>
                      <a:lnTo>
                        <a:pt x="180" y="662"/>
                      </a:lnTo>
                      <a:lnTo>
                        <a:pt x="186" y="658"/>
                      </a:lnTo>
                      <a:lnTo>
                        <a:pt x="219" y="601"/>
                      </a:lnTo>
                      <a:lnTo>
                        <a:pt x="229" y="594"/>
                      </a:lnTo>
                      <a:lnTo>
                        <a:pt x="236" y="589"/>
                      </a:lnTo>
                      <a:lnTo>
                        <a:pt x="239" y="587"/>
                      </a:lnTo>
                      <a:lnTo>
                        <a:pt x="241" y="583"/>
                      </a:lnTo>
                      <a:lnTo>
                        <a:pt x="245" y="574"/>
                      </a:lnTo>
                      <a:lnTo>
                        <a:pt x="253" y="561"/>
                      </a:lnTo>
                      <a:lnTo>
                        <a:pt x="268" y="553"/>
                      </a:lnTo>
                      <a:lnTo>
                        <a:pt x="274" y="551"/>
                      </a:lnTo>
                      <a:lnTo>
                        <a:pt x="291" y="526"/>
                      </a:lnTo>
                      <a:lnTo>
                        <a:pt x="300" y="522"/>
                      </a:lnTo>
                      <a:lnTo>
                        <a:pt x="310" y="531"/>
                      </a:lnTo>
                      <a:lnTo>
                        <a:pt x="311" y="537"/>
                      </a:lnTo>
                      <a:lnTo>
                        <a:pt x="306" y="543"/>
                      </a:lnTo>
                      <a:lnTo>
                        <a:pt x="300" y="549"/>
                      </a:lnTo>
                      <a:lnTo>
                        <a:pt x="298" y="561"/>
                      </a:lnTo>
                      <a:lnTo>
                        <a:pt x="293" y="572"/>
                      </a:lnTo>
                      <a:lnTo>
                        <a:pt x="281" y="583"/>
                      </a:lnTo>
                      <a:lnTo>
                        <a:pt x="273" y="598"/>
                      </a:lnTo>
                      <a:lnTo>
                        <a:pt x="260" y="614"/>
                      </a:lnTo>
                      <a:lnTo>
                        <a:pt x="258" y="637"/>
                      </a:lnTo>
                      <a:lnTo>
                        <a:pt x="259" y="643"/>
                      </a:lnTo>
                      <a:lnTo>
                        <a:pt x="259" y="648"/>
                      </a:lnTo>
                      <a:lnTo>
                        <a:pt x="265" y="654"/>
                      </a:lnTo>
                      <a:close/>
                      <a:moveTo>
                        <a:pt x="96" y="494"/>
                      </a:moveTo>
                      <a:lnTo>
                        <a:pt x="95" y="499"/>
                      </a:lnTo>
                      <a:lnTo>
                        <a:pt x="98" y="503"/>
                      </a:lnTo>
                      <a:lnTo>
                        <a:pt x="96" y="506"/>
                      </a:lnTo>
                      <a:lnTo>
                        <a:pt x="92" y="506"/>
                      </a:lnTo>
                      <a:lnTo>
                        <a:pt x="92" y="504"/>
                      </a:lnTo>
                      <a:lnTo>
                        <a:pt x="90" y="502"/>
                      </a:lnTo>
                      <a:lnTo>
                        <a:pt x="85" y="507"/>
                      </a:lnTo>
                      <a:lnTo>
                        <a:pt x="81" y="504"/>
                      </a:lnTo>
                      <a:lnTo>
                        <a:pt x="83" y="501"/>
                      </a:lnTo>
                      <a:lnTo>
                        <a:pt x="84" y="497"/>
                      </a:lnTo>
                      <a:lnTo>
                        <a:pt x="84" y="494"/>
                      </a:lnTo>
                      <a:lnTo>
                        <a:pt x="91" y="496"/>
                      </a:lnTo>
                      <a:lnTo>
                        <a:pt x="94" y="492"/>
                      </a:lnTo>
                      <a:lnTo>
                        <a:pt x="96" y="494"/>
                      </a:lnTo>
                      <a:close/>
                      <a:moveTo>
                        <a:pt x="130" y="499"/>
                      </a:moveTo>
                      <a:lnTo>
                        <a:pt x="129" y="502"/>
                      </a:lnTo>
                      <a:lnTo>
                        <a:pt x="125" y="494"/>
                      </a:lnTo>
                      <a:lnTo>
                        <a:pt x="125" y="492"/>
                      </a:lnTo>
                      <a:lnTo>
                        <a:pt x="127" y="489"/>
                      </a:lnTo>
                      <a:lnTo>
                        <a:pt x="134" y="492"/>
                      </a:lnTo>
                      <a:lnTo>
                        <a:pt x="134" y="497"/>
                      </a:lnTo>
                      <a:lnTo>
                        <a:pt x="130" y="499"/>
                      </a:lnTo>
                      <a:close/>
                      <a:moveTo>
                        <a:pt x="111" y="488"/>
                      </a:moveTo>
                      <a:lnTo>
                        <a:pt x="116" y="487"/>
                      </a:lnTo>
                      <a:lnTo>
                        <a:pt x="116" y="492"/>
                      </a:lnTo>
                      <a:lnTo>
                        <a:pt x="115" y="498"/>
                      </a:lnTo>
                      <a:lnTo>
                        <a:pt x="112" y="498"/>
                      </a:lnTo>
                      <a:lnTo>
                        <a:pt x="106" y="493"/>
                      </a:lnTo>
                      <a:lnTo>
                        <a:pt x="104" y="492"/>
                      </a:lnTo>
                      <a:lnTo>
                        <a:pt x="104" y="487"/>
                      </a:lnTo>
                      <a:lnTo>
                        <a:pt x="112" y="483"/>
                      </a:lnTo>
                      <a:lnTo>
                        <a:pt x="114" y="486"/>
                      </a:lnTo>
                      <a:lnTo>
                        <a:pt x="111" y="488"/>
                      </a:lnTo>
                      <a:close/>
                      <a:moveTo>
                        <a:pt x="244" y="6"/>
                      </a:moveTo>
                      <a:lnTo>
                        <a:pt x="246" y="24"/>
                      </a:lnTo>
                      <a:lnTo>
                        <a:pt x="245" y="34"/>
                      </a:lnTo>
                      <a:lnTo>
                        <a:pt x="245" y="43"/>
                      </a:lnTo>
                      <a:lnTo>
                        <a:pt x="246" y="49"/>
                      </a:lnTo>
                      <a:lnTo>
                        <a:pt x="248" y="56"/>
                      </a:lnTo>
                      <a:lnTo>
                        <a:pt x="253" y="63"/>
                      </a:lnTo>
                      <a:lnTo>
                        <a:pt x="264" y="78"/>
                      </a:lnTo>
                      <a:lnTo>
                        <a:pt x="273" y="84"/>
                      </a:lnTo>
                      <a:lnTo>
                        <a:pt x="280" y="86"/>
                      </a:lnTo>
                      <a:lnTo>
                        <a:pt x="288" y="84"/>
                      </a:lnTo>
                      <a:lnTo>
                        <a:pt x="300" y="77"/>
                      </a:lnTo>
                      <a:lnTo>
                        <a:pt x="304" y="76"/>
                      </a:lnTo>
                      <a:lnTo>
                        <a:pt x="309" y="76"/>
                      </a:lnTo>
                      <a:lnTo>
                        <a:pt x="313" y="78"/>
                      </a:lnTo>
                      <a:lnTo>
                        <a:pt x="316" y="83"/>
                      </a:lnTo>
                      <a:lnTo>
                        <a:pt x="318" y="93"/>
                      </a:lnTo>
                      <a:lnTo>
                        <a:pt x="319" y="126"/>
                      </a:lnTo>
                      <a:lnTo>
                        <a:pt x="319" y="131"/>
                      </a:lnTo>
                      <a:lnTo>
                        <a:pt x="318" y="136"/>
                      </a:lnTo>
                      <a:lnTo>
                        <a:pt x="314" y="141"/>
                      </a:lnTo>
                      <a:lnTo>
                        <a:pt x="309" y="148"/>
                      </a:lnTo>
                      <a:lnTo>
                        <a:pt x="305" y="151"/>
                      </a:lnTo>
                      <a:lnTo>
                        <a:pt x="300" y="151"/>
                      </a:lnTo>
                      <a:lnTo>
                        <a:pt x="298" y="151"/>
                      </a:lnTo>
                      <a:lnTo>
                        <a:pt x="293" y="148"/>
                      </a:lnTo>
                      <a:lnTo>
                        <a:pt x="284" y="143"/>
                      </a:lnTo>
                      <a:lnTo>
                        <a:pt x="279" y="141"/>
                      </a:lnTo>
                      <a:lnTo>
                        <a:pt x="275" y="141"/>
                      </a:lnTo>
                      <a:lnTo>
                        <a:pt x="271" y="144"/>
                      </a:lnTo>
                      <a:lnTo>
                        <a:pt x="269" y="149"/>
                      </a:lnTo>
                      <a:lnTo>
                        <a:pt x="269" y="154"/>
                      </a:lnTo>
                      <a:lnTo>
                        <a:pt x="268" y="174"/>
                      </a:lnTo>
                      <a:lnTo>
                        <a:pt x="268" y="178"/>
                      </a:lnTo>
                      <a:lnTo>
                        <a:pt x="270" y="182"/>
                      </a:lnTo>
                      <a:lnTo>
                        <a:pt x="274" y="186"/>
                      </a:lnTo>
                      <a:lnTo>
                        <a:pt x="281" y="189"/>
                      </a:lnTo>
                      <a:lnTo>
                        <a:pt x="295" y="194"/>
                      </a:lnTo>
                      <a:lnTo>
                        <a:pt x="300" y="197"/>
                      </a:lnTo>
                      <a:lnTo>
                        <a:pt x="305" y="201"/>
                      </a:lnTo>
                      <a:lnTo>
                        <a:pt x="310" y="207"/>
                      </a:lnTo>
                      <a:lnTo>
                        <a:pt x="325" y="212"/>
                      </a:lnTo>
                      <a:lnTo>
                        <a:pt x="330" y="216"/>
                      </a:lnTo>
                      <a:lnTo>
                        <a:pt x="338" y="216"/>
                      </a:lnTo>
                      <a:lnTo>
                        <a:pt x="346" y="209"/>
                      </a:lnTo>
                      <a:lnTo>
                        <a:pt x="350" y="208"/>
                      </a:lnTo>
                      <a:lnTo>
                        <a:pt x="358" y="209"/>
                      </a:lnTo>
                      <a:lnTo>
                        <a:pt x="363" y="213"/>
                      </a:lnTo>
                      <a:lnTo>
                        <a:pt x="368" y="228"/>
                      </a:lnTo>
                      <a:lnTo>
                        <a:pt x="375" y="239"/>
                      </a:lnTo>
                      <a:lnTo>
                        <a:pt x="380" y="247"/>
                      </a:lnTo>
                      <a:lnTo>
                        <a:pt x="389" y="253"/>
                      </a:lnTo>
                      <a:lnTo>
                        <a:pt x="398" y="253"/>
                      </a:lnTo>
                      <a:lnTo>
                        <a:pt x="404" y="253"/>
                      </a:lnTo>
                      <a:lnTo>
                        <a:pt x="409" y="256"/>
                      </a:lnTo>
                      <a:lnTo>
                        <a:pt x="414" y="259"/>
                      </a:lnTo>
                      <a:lnTo>
                        <a:pt x="418" y="266"/>
                      </a:lnTo>
                      <a:lnTo>
                        <a:pt x="421" y="267"/>
                      </a:lnTo>
                      <a:lnTo>
                        <a:pt x="433" y="266"/>
                      </a:lnTo>
                      <a:lnTo>
                        <a:pt x="437" y="267"/>
                      </a:lnTo>
                      <a:lnTo>
                        <a:pt x="451" y="278"/>
                      </a:lnTo>
                      <a:lnTo>
                        <a:pt x="455" y="282"/>
                      </a:lnTo>
                      <a:lnTo>
                        <a:pt x="459" y="287"/>
                      </a:lnTo>
                      <a:lnTo>
                        <a:pt x="460" y="293"/>
                      </a:lnTo>
                      <a:lnTo>
                        <a:pt x="459" y="299"/>
                      </a:lnTo>
                      <a:lnTo>
                        <a:pt x="451" y="307"/>
                      </a:lnTo>
                      <a:lnTo>
                        <a:pt x="444" y="312"/>
                      </a:lnTo>
                      <a:lnTo>
                        <a:pt x="439" y="313"/>
                      </a:lnTo>
                      <a:lnTo>
                        <a:pt x="435" y="316"/>
                      </a:lnTo>
                      <a:lnTo>
                        <a:pt x="435" y="319"/>
                      </a:lnTo>
                      <a:lnTo>
                        <a:pt x="436" y="323"/>
                      </a:lnTo>
                      <a:lnTo>
                        <a:pt x="445" y="332"/>
                      </a:lnTo>
                      <a:lnTo>
                        <a:pt x="446" y="353"/>
                      </a:lnTo>
                      <a:lnTo>
                        <a:pt x="459" y="368"/>
                      </a:lnTo>
                      <a:lnTo>
                        <a:pt x="473" y="374"/>
                      </a:lnTo>
                      <a:lnTo>
                        <a:pt x="476" y="378"/>
                      </a:lnTo>
                      <a:lnTo>
                        <a:pt x="475" y="384"/>
                      </a:lnTo>
                      <a:lnTo>
                        <a:pt x="476" y="397"/>
                      </a:lnTo>
                      <a:lnTo>
                        <a:pt x="475" y="404"/>
                      </a:lnTo>
                      <a:lnTo>
                        <a:pt x="474" y="412"/>
                      </a:lnTo>
                      <a:lnTo>
                        <a:pt x="473" y="421"/>
                      </a:lnTo>
                      <a:lnTo>
                        <a:pt x="473" y="432"/>
                      </a:lnTo>
                      <a:lnTo>
                        <a:pt x="477" y="448"/>
                      </a:lnTo>
                      <a:lnTo>
                        <a:pt x="479" y="463"/>
                      </a:lnTo>
                      <a:lnTo>
                        <a:pt x="477" y="468"/>
                      </a:lnTo>
                      <a:lnTo>
                        <a:pt x="473" y="474"/>
                      </a:lnTo>
                      <a:lnTo>
                        <a:pt x="465" y="482"/>
                      </a:lnTo>
                      <a:lnTo>
                        <a:pt x="459" y="484"/>
                      </a:lnTo>
                      <a:lnTo>
                        <a:pt x="452" y="487"/>
                      </a:lnTo>
                      <a:lnTo>
                        <a:pt x="445" y="483"/>
                      </a:lnTo>
                      <a:lnTo>
                        <a:pt x="436" y="473"/>
                      </a:lnTo>
                      <a:lnTo>
                        <a:pt x="414" y="474"/>
                      </a:lnTo>
                      <a:lnTo>
                        <a:pt x="415" y="487"/>
                      </a:lnTo>
                      <a:lnTo>
                        <a:pt x="401" y="488"/>
                      </a:lnTo>
                      <a:lnTo>
                        <a:pt x="401" y="477"/>
                      </a:lnTo>
                      <a:lnTo>
                        <a:pt x="387" y="482"/>
                      </a:lnTo>
                      <a:lnTo>
                        <a:pt x="396" y="502"/>
                      </a:lnTo>
                      <a:lnTo>
                        <a:pt x="384" y="499"/>
                      </a:lnTo>
                      <a:lnTo>
                        <a:pt x="381" y="488"/>
                      </a:lnTo>
                      <a:lnTo>
                        <a:pt x="374" y="490"/>
                      </a:lnTo>
                      <a:lnTo>
                        <a:pt x="372" y="502"/>
                      </a:lnTo>
                      <a:lnTo>
                        <a:pt x="344" y="507"/>
                      </a:lnTo>
                      <a:lnTo>
                        <a:pt x="331" y="513"/>
                      </a:lnTo>
                      <a:lnTo>
                        <a:pt x="317" y="515"/>
                      </a:lnTo>
                      <a:lnTo>
                        <a:pt x="306" y="506"/>
                      </a:lnTo>
                      <a:lnTo>
                        <a:pt x="291" y="507"/>
                      </a:lnTo>
                      <a:lnTo>
                        <a:pt x="282" y="506"/>
                      </a:lnTo>
                      <a:lnTo>
                        <a:pt x="274" y="493"/>
                      </a:lnTo>
                      <a:lnTo>
                        <a:pt x="262" y="488"/>
                      </a:lnTo>
                      <a:lnTo>
                        <a:pt x="254" y="482"/>
                      </a:lnTo>
                      <a:lnTo>
                        <a:pt x="232" y="467"/>
                      </a:lnTo>
                      <a:lnTo>
                        <a:pt x="219" y="462"/>
                      </a:lnTo>
                      <a:lnTo>
                        <a:pt x="204" y="450"/>
                      </a:lnTo>
                      <a:lnTo>
                        <a:pt x="196" y="445"/>
                      </a:lnTo>
                      <a:lnTo>
                        <a:pt x="177" y="441"/>
                      </a:lnTo>
                      <a:lnTo>
                        <a:pt x="125" y="445"/>
                      </a:lnTo>
                      <a:lnTo>
                        <a:pt x="122" y="445"/>
                      </a:lnTo>
                      <a:lnTo>
                        <a:pt x="117" y="442"/>
                      </a:lnTo>
                      <a:lnTo>
                        <a:pt x="111" y="447"/>
                      </a:lnTo>
                      <a:lnTo>
                        <a:pt x="106" y="448"/>
                      </a:lnTo>
                      <a:lnTo>
                        <a:pt x="100" y="448"/>
                      </a:lnTo>
                      <a:lnTo>
                        <a:pt x="96" y="446"/>
                      </a:lnTo>
                      <a:lnTo>
                        <a:pt x="94" y="442"/>
                      </a:lnTo>
                      <a:lnTo>
                        <a:pt x="95" y="435"/>
                      </a:lnTo>
                      <a:lnTo>
                        <a:pt x="89" y="437"/>
                      </a:lnTo>
                      <a:lnTo>
                        <a:pt x="87" y="440"/>
                      </a:lnTo>
                      <a:lnTo>
                        <a:pt x="86" y="447"/>
                      </a:lnTo>
                      <a:lnTo>
                        <a:pt x="82" y="447"/>
                      </a:lnTo>
                      <a:lnTo>
                        <a:pt x="81" y="448"/>
                      </a:lnTo>
                      <a:lnTo>
                        <a:pt x="70" y="463"/>
                      </a:lnTo>
                      <a:lnTo>
                        <a:pt x="67" y="465"/>
                      </a:lnTo>
                      <a:lnTo>
                        <a:pt x="61" y="465"/>
                      </a:lnTo>
                      <a:lnTo>
                        <a:pt x="57" y="462"/>
                      </a:lnTo>
                      <a:lnTo>
                        <a:pt x="54" y="460"/>
                      </a:lnTo>
                      <a:lnTo>
                        <a:pt x="50" y="458"/>
                      </a:lnTo>
                      <a:lnTo>
                        <a:pt x="45" y="460"/>
                      </a:lnTo>
                      <a:lnTo>
                        <a:pt x="41" y="465"/>
                      </a:lnTo>
                      <a:lnTo>
                        <a:pt x="39" y="470"/>
                      </a:lnTo>
                      <a:lnTo>
                        <a:pt x="40" y="475"/>
                      </a:lnTo>
                      <a:lnTo>
                        <a:pt x="29" y="476"/>
                      </a:lnTo>
                      <a:lnTo>
                        <a:pt x="20" y="473"/>
                      </a:lnTo>
                      <a:lnTo>
                        <a:pt x="24" y="462"/>
                      </a:lnTo>
                      <a:lnTo>
                        <a:pt x="24" y="456"/>
                      </a:lnTo>
                      <a:lnTo>
                        <a:pt x="24" y="448"/>
                      </a:lnTo>
                      <a:lnTo>
                        <a:pt x="20" y="440"/>
                      </a:lnTo>
                      <a:lnTo>
                        <a:pt x="14" y="430"/>
                      </a:lnTo>
                      <a:lnTo>
                        <a:pt x="1" y="418"/>
                      </a:lnTo>
                      <a:lnTo>
                        <a:pt x="0" y="411"/>
                      </a:lnTo>
                      <a:lnTo>
                        <a:pt x="1" y="403"/>
                      </a:lnTo>
                      <a:lnTo>
                        <a:pt x="4" y="393"/>
                      </a:lnTo>
                      <a:lnTo>
                        <a:pt x="2" y="381"/>
                      </a:lnTo>
                      <a:lnTo>
                        <a:pt x="1" y="362"/>
                      </a:lnTo>
                      <a:lnTo>
                        <a:pt x="4" y="347"/>
                      </a:lnTo>
                      <a:lnTo>
                        <a:pt x="4" y="340"/>
                      </a:lnTo>
                      <a:lnTo>
                        <a:pt x="2" y="331"/>
                      </a:lnTo>
                      <a:lnTo>
                        <a:pt x="4" y="330"/>
                      </a:lnTo>
                      <a:lnTo>
                        <a:pt x="22" y="311"/>
                      </a:lnTo>
                      <a:lnTo>
                        <a:pt x="42" y="276"/>
                      </a:lnTo>
                      <a:lnTo>
                        <a:pt x="47" y="271"/>
                      </a:lnTo>
                      <a:lnTo>
                        <a:pt x="52" y="266"/>
                      </a:lnTo>
                      <a:lnTo>
                        <a:pt x="55" y="262"/>
                      </a:lnTo>
                      <a:lnTo>
                        <a:pt x="56" y="256"/>
                      </a:lnTo>
                      <a:lnTo>
                        <a:pt x="55" y="247"/>
                      </a:lnTo>
                      <a:lnTo>
                        <a:pt x="54" y="238"/>
                      </a:lnTo>
                      <a:lnTo>
                        <a:pt x="56" y="225"/>
                      </a:lnTo>
                      <a:lnTo>
                        <a:pt x="56" y="218"/>
                      </a:lnTo>
                      <a:lnTo>
                        <a:pt x="64" y="220"/>
                      </a:lnTo>
                      <a:lnTo>
                        <a:pt x="67" y="222"/>
                      </a:lnTo>
                      <a:lnTo>
                        <a:pt x="72" y="223"/>
                      </a:lnTo>
                      <a:lnTo>
                        <a:pt x="77" y="223"/>
                      </a:lnTo>
                      <a:lnTo>
                        <a:pt x="82" y="220"/>
                      </a:lnTo>
                      <a:lnTo>
                        <a:pt x="95" y="211"/>
                      </a:lnTo>
                      <a:lnTo>
                        <a:pt x="100" y="203"/>
                      </a:lnTo>
                      <a:lnTo>
                        <a:pt x="102" y="197"/>
                      </a:lnTo>
                      <a:lnTo>
                        <a:pt x="102" y="188"/>
                      </a:lnTo>
                      <a:lnTo>
                        <a:pt x="100" y="172"/>
                      </a:lnTo>
                      <a:lnTo>
                        <a:pt x="99" y="167"/>
                      </a:lnTo>
                      <a:lnTo>
                        <a:pt x="90" y="153"/>
                      </a:lnTo>
                      <a:lnTo>
                        <a:pt x="87" y="142"/>
                      </a:lnTo>
                      <a:lnTo>
                        <a:pt x="85" y="133"/>
                      </a:lnTo>
                      <a:lnTo>
                        <a:pt x="76" y="115"/>
                      </a:lnTo>
                      <a:lnTo>
                        <a:pt x="65" y="63"/>
                      </a:lnTo>
                      <a:lnTo>
                        <a:pt x="57" y="46"/>
                      </a:lnTo>
                      <a:lnTo>
                        <a:pt x="44" y="35"/>
                      </a:lnTo>
                      <a:lnTo>
                        <a:pt x="49" y="30"/>
                      </a:lnTo>
                      <a:lnTo>
                        <a:pt x="64" y="25"/>
                      </a:lnTo>
                      <a:lnTo>
                        <a:pt x="85" y="17"/>
                      </a:lnTo>
                      <a:lnTo>
                        <a:pt x="97" y="8"/>
                      </a:lnTo>
                      <a:lnTo>
                        <a:pt x="112" y="0"/>
                      </a:lnTo>
                      <a:lnTo>
                        <a:pt x="134" y="6"/>
                      </a:lnTo>
                      <a:lnTo>
                        <a:pt x="157" y="3"/>
                      </a:lnTo>
                      <a:lnTo>
                        <a:pt x="175" y="3"/>
                      </a:lnTo>
                      <a:lnTo>
                        <a:pt x="205" y="2"/>
                      </a:lnTo>
                      <a:lnTo>
                        <a:pt x="217" y="2"/>
                      </a:lnTo>
                      <a:lnTo>
                        <a:pt x="232" y="7"/>
                      </a:lnTo>
                      <a:lnTo>
                        <a:pt x="236" y="13"/>
                      </a:lnTo>
                      <a:lnTo>
                        <a:pt x="244" y="6"/>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7" name="Kyoto" descr="{&quot;Key&quot;:&quot;kyoto&quot;,&quot;Name&quot;:&quot;Kyoto&quot;,&quot;Value&quot;:1.0,&quot;Formula&quot;:&quot;&quot;,&quot;Text&quot;:&quot;&quot;,&quot;OfficeApplication&quot;:1,&quot;HasValue&quot;:true}">
                  <a:extLst>
                    <a:ext uri="{FF2B5EF4-FFF2-40B4-BE49-F238E27FC236}">
                      <a16:creationId xmlns:a16="http://schemas.microsoft.com/office/drawing/2014/main" id="{C5DD8CAB-4677-4E7D-B2BF-B94A36A1CF4D}"/>
                    </a:ext>
                  </a:extLst>
                </p:cNvPr>
                <p:cNvSpPr>
                  <a:spLocks/>
                </p:cNvSpPr>
                <p:nvPr/>
              </p:nvSpPr>
              <p:spPr bwMode="auto">
                <a:xfrm>
                  <a:off x="5703888" y="3652838"/>
                  <a:ext cx="274638" cy="309562"/>
                </a:xfrm>
                <a:custGeom>
                  <a:avLst/>
                  <a:gdLst>
                    <a:gd name="T0" fmla="*/ 237 w 471"/>
                    <a:gd name="T1" fmla="*/ 121 h 530"/>
                    <a:gd name="T2" fmla="*/ 236 w 471"/>
                    <a:gd name="T3" fmla="*/ 140 h 530"/>
                    <a:gd name="T4" fmla="*/ 235 w 471"/>
                    <a:gd name="T5" fmla="*/ 158 h 530"/>
                    <a:gd name="T6" fmla="*/ 260 w 471"/>
                    <a:gd name="T7" fmla="*/ 193 h 530"/>
                    <a:gd name="T8" fmla="*/ 354 w 471"/>
                    <a:gd name="T9" fmla="*/ 214 h 530"/>
                    <a:gd name="T10" fmla="*/ 384 w 471"/>
                    <a:gd name="T11" fmla="*/ 276 h 530"/>
                    <a:gd name="T12" fmla="*/ 391 w 471"/>
                    <a:gd name="T13" fmla="*/ 321 h 530"/>
                    <a:gd name="T14" fmla="*/ 392 w 471"/>
                    <a:gd name="T15" fmla="*/ 400 h 530"/>
                    <a:gd name="T16" fmla="*/ 399 w 471"/>
                    <a:gd name="T17" fmla="*/ 435 h 530"/>
                    <a:gd name="T18" fmla="*/ 411 w 471"/>
                    <a:gd name="T19" fmla="*/ 447 h 530"/>
                    <a:gd name="T20" fmla="*/ 434 w 471"/>
                    <a:gd name="T21" fmla="*/ 460 h 530"/>
                    <a:gd name="T22" fmla="*/ 456 w 471"/>
                    <a:gd name="T23" fmla="*/ 477 h 530"/>
                    <a:gd name="T24" fmla="*/ 469 w 471"/>
                    <a:gd name="T25" fmla="*/ 526 h 530"/>
                    <a:gd name="T26" fmla="*/ 451 w 471"/>
                    <a:gd name="T27" fmla="*/ 526 h 530"/>
                    <a:gd name="T28" fmla="*/ 412 w 471"/>
                    <a:gd name="T29" fmla="*/ 520 h 530"/>
                    <a:gd name="T30" fmla="*/ 384 w 471"/>
                    <a:gd name="T31" fmla="*/ 526 h 530"/>
                    <a:gd name="T32" fmla="*/ 352 w 471"/>
                    <a:gd name="T33" fmla="*/ 511 h 530"/>
                    <a:gd name="T34" fmla="*/ 340 w 471"/>
                    <a:gd name="T35" fmla="*/ 473 h 530"/>
                    <a:gd name="T36" fmla="*/ 310 w 471"/>
                    <a:gd name="T37" fmla="*/ 425 h 530"/>
                    <a:gd name="T38" fmla="*/ 290 w 471"/>
                    <a:gd name="T39" fmla="*/ 407 h 530"/>
                    <a:gd name="T40" fmla="*/ 279 w 471"/>
                    <a:gd name="T41" fmla="*/ 413 h 530"/>
                    <a:gd name="T42" fmla="*/ 271 w 471"/>
                    <a:gd name="T43" fmla="*/ 425 h 530"/>
                    <a:gd name="T44" fmla="*/ 240 w 471"/>
                    <a:gd name="T45" fmla="*/ 393 h 530"/>
                    <a:gd name="T46" fmla="*/ 201 w 471"/>
                    <a:gd name="T47" fmla="*/ 382 h 530"/>
                    <a:gd name="T48" fmla="*/ 195 w 471"/>
                    <a:gd name="T49" fmla="*/ 363 h 530"/>
                    <a:gd name="T50" fmla="*/ 216 w 471"/>
                    <a:gd name="T51" fmla="*/ 343 h 530"/>
                    <a:gd name="T52" fmla="*/ 194 w 471"/>
                    <a:gd name="T53" fmla="*/ 317 h 530"/>
                    <a:gd name="T54" fmla="*/ 170 w 471"/>
                    <a:gd name="T55" fmla="*/ 310 h 530"/>
                    <a:gd name="T56" fmla="*/ 145 w 471"/>
                    <a:gd name="T57" fmla="*/ 303 h 530"/>
                    <a:gd name="T58" fmla="*/ 119 w 471"/>
                    <a:gd name="T59" fmla="*/ 263 h 530"/>
                    <a:gd name="T60" fmla="*/ 94 w 471"/>
                    <a:gd name="T61" fmla="*/ 266 h 530"/>
                    <a:gd name="T62" fmla="*/ 61 w 471"/>
                    <a:gd name="T63" fmla="*/ 251 h 530"/>
                    <a:gd name="T64" fmla="*/ 30 w 471"/>
                    <a:gd name="T65" fmla="*/ 236 h 530"/>
                    <a:gd name="T66" fmla="*/ 25 w 471"/>
                    <a:gd name="T67" fmla="*/ 204 h 530"/>
                    <a:gd name="T68" fmla="*/ 35 w 471"/>
                    <a:gd name="T69" fmla="*/ 191 h 530"/>
                    <a:gd name="T70" fmla="*/ 56 w 471"/>
                    <a:gd name="T71" fmla="*/ 201 h 530"/>
                    <a:gd name="T72" fmla="*/ 74 w 471"/>
                    <a:gd name="T73" fmla="*/ 186 h 530"/>
                    <a:gd name="T74" fmla="*/ 72 w 471"/>
                    <a:gd name="T75" fmla="*/ 133 h 530"/>
                    <a:gd name="T76" fmla="*/ 56 w 471"/>
                    <a:gd name="T77" fmla="*/ 127 h 530"/>
                    <a:gd name="T78" fmla="*/ 20 w 471"/>
                    <a:gd name="T79" fmla="*/ 128 h 530"/>
                    <a:gd name="T80" fmla="*/ 1 w 471"/>
                    <a:gd name="T81" fmla="*/ 93 h 530"/>
                    <a:gd name="T82" fmla="*/ 7 w 471"/>
                    <a:gd name="T83" fmla="*/ 57 h 530"/>
                    <a:gd name="T84" fmla="*/ 34 w 471"/>
                    <a:gd name="T85" fmla="*/ 58 h 530"/>
                    <a:gd name="T86" fmla="*/ 60 w 471"/>
                    <a:gd name="T87" fmla="*/ 40 h 530"/>
                    <a:gd name="T88" fmla="*/ 89 w 471"/>
                    <a:gd name="T89" fmla="*/ 16 h 530"/>
                    <a:gd name="T90" fmla="*/ 146 w 471"/>
                    <a:gd name="T91" fmla="*/ 0 h 530"/>
                    <a:gd name="T92" fmla="*/ 172 w 471"/>
                    <a:gd name="T93" fmla="*/ 30 h 530"/>
                    <a:gd name="T94" fmla="*/ 167 w 471"/>
                    <a:gd name="T95" fmla="*/ 51 h 530"/>
                    <a:gd name="T96" fmla="*/ 149 w 471"/>
                    <a:gd name="T97" fmla="*/ 78 h 530"/>
                    <a:gd name="T98" fmla="*/ 134 w 471"/>
                    <a:gd name="T99" fmla="*/ 115 h 530"/>
                    <a:gd name="T100" fmla="*/ 150 w 471"/>
                    <a:gd name="T101" fmla="*/ 93 h 530"/>
                    <a:gd name="T102" fmla="*/ 164 w 471"/>
                    <a:gd name="T103" fmla="*/ 103 h 530"/>
                    <a:gd name="T104" fmla="*/ 176 w 471"/>
                    <a:gd name="T105" fmla="*/ 128 h 530"/>
                    <a:gd name="T106" fmla="*/ 187 w 471"/>
                    <a:gd name="T107" fmla="*/ 137 h 530"/>
                    <a:gd name="T108" fmla="*/ 187 w 471"/>
                    <a:gd name="T109" fmla="*/ 157 h 530"/>
                    <a:gd name="T110" fmla="*/ 214 w 471"/>
                    <a:gd name="T111" fmla="*/ 146 h 530"/>
                    <a:gd name="T112" fmla="*/ 196 w 471"/>
                    <a:gd name="T113" fmla="*/ 130 h 530"/>
                    <a:gd name="T114" fmla="*/ 217 w 471"/>
                    <a:gd name="T115" fmla="*/ 106 h 530"/>
                    <a:gd name="T116" fmla="*/ 231 w 471"/>
                    <a:gd name="T117" fmla="*/ 90 h 530"/>
                    <a:gd name="T118" fmla="*/ 244 w 471"/>
                    <a:gd name="T119" fmla="*/ 102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1" h="530">
                      <a:moveTo>
                        <a:pt x="247" y="113"/>
                      </a:moveTo>
                      <a:lnTo>
                        <a:pt x="246" y="115"/>
                      </a:lnTo>
                      <a:lnTo>
                        <a:pt x="241" y="118"/>
                      </a:lnTo>
                      <a:lnTo>
                        <a:pt x="237" y="121"/>
                      </a:lnTo>
                      <a:lnTo>
                        <a:pt x="232" y="126"/>
                      </a:lnTo>
                      <a:lnTo>
                        <a:pt x="231" y="130"/>
                      </a:lnTo>
                      <a:lnTo>
                        <a:pt x="234" y="135"/>
                      </a:lnTo>
                      <a:lnTo>
                        <a:pt x="236" y="140"/>
                      </a:lnTo>
                      <a:lnTo>
                        <a:pt x="237" y="144"/>
                      </a:lnTo>
                      <a:lnTo>
                        <a:pt x="237" y="147"/>
                      </a:lnTo>
                      <a:lnTo>
                        <a:pt x="235" y="153"/>
                      </a:lnTo>
                      <a:lnTo>
                        <a:pt x="235" y="158"/>
                      </a:lnTo>
                      <a:lnTo>
                        <a:pt x="237" y="164"/>
                      </a:lnTo>
                      <a:lnTo>
                        <a:pt x="250" y="181"/>
                      </a:lnTo>
                      <a:lnTo>
                        <a:pt x="257" y="187"/>
                      </a:lnTo>
                      <a:lnTo>
                        <a:pt x="260" y="193"/>
                      </a:lnTo>
                      <a:lnTo>
                        <a:pt x="264" y="197"/>
                      </a:lnTo>
                      <a:lnTo>
                        <a:pt x="272" y="202"/>
                      </a:lnTo>
                      <a:lnTo>
                        <a:pt x="331" y="218"/>
                      </a:lnTo>
                      <a:lnTo>
                        <a:pt x="354" y="214"/>
                      </a:lnTo>
                      <a:lnTo>
                        <a:pt x="365" y="224"/>
                      </a:lnTo>
                      <a:lnTo>
                        <a:pt x="387" y="251"/>
                      </a:lnTo>
                      <a:lnTo>
                        <a:pt x="389" y="258"/>
                      </a:lnTo>
                      <a:lnTo>
                        <a:pt x="384" y="276"/>
                      </a:lnTo>
                      <a:lnTo>
                        <a:pt x="385" y="283"/>
                      </a:lnTo>
                      <a:lnTo>
                        <a:pt x="390" y="306"/>
                      </a:lnTo>
                      <a:lnTo>
                        <a:pt x="391" y="313"/>
                      </a:lnTo>
                      <a:lnTo>
                        <a:pt x="391" y="321"/>
                      </a:lnTo>
                      <a:lnTo>
                        <a:pt x="382" y="378"/>
                      </a:lnTo>
                      <a:lnTo>
                        <a:pt x="382" y="380"/>
                      </a:lnTo>
                      <a:lnTo>
                        <a:pt x="386" y="390"/>
                      </a:lnTo>
                      <a:lnTo>
                        <a:pt x="392" y="400"/>
                      </a:lnTo>
                      <a:lnTo>
                        <a:pt x="399" y="413"/>
                      </a:lnTo>
                      <a:lnTo>
                        <a:pt x="399" y="421"/>
                      </a:lnTo>
                      <a:lnTo>
                        <a:pt x="399" y="427"/>
                      </a:lnTo>
                      <a:lnTo>
                        <a:pt x="399" y="435"/>
                      </a:lnTo>
                      <a:lnTo>
                        <a:pt x="400" y="440"/>
                      </a:lnTo>
                      <a:lnTo>
                        <a:pt x="402" y="442"/>
                      </a:lnTo>
                      <a:lnTo>
                        <a:pt x="406" y="446"/>
                      </a:lnTo>
                      <a:lnTo>
                        <a:pt x="411" y="447"/>
                      </a:lnTo>
                      <a:lnTo>
                        <a:pt x="417" y="447"/>
                      </a:lnTo>
                      <a:lnTo>
                        <a:pt x="424" y="446"/>
                      </a:lnTo>
                      <a:lnTo>
                        <a:pt x="429" y="450"/>
                      </a:lnTo>
                      <a:lnTo>
                        <a:pt x="434" y="460"/>
                      </a:lnTo>
                      <a:lnTo>
                        <a:pt x="437" y="462"/>
                      </a:lnTo>
                      <a:lnTo>
                        <a:pt x="447" y="467"/>
                      </a:lnTo>
                      <a:lnTo>
                        <a:pt x="452" y="472"/>
                      </a:lnTo>
                      <a:lnTo>
                        <a:pt x="456" y="477"/>
                      </a:lnTo>
                      <a:lnTo>
                        <a:pt x="457" y="482"/>
                      </a:lnTo>
                      <a:lnTo>
                        <a:pt x="459" y="492"/>
                      </a:lnTo>
                      <a:lnTo>
                        <a:pt x="471" y="520"/>
                      </a:lnTo>
                      <a:lnTo>
                        <a:pt x="469" y="526"/>
                      </a:lnTo>
                      <a:lnTo>
                        <a:pt x="465" y="528"/>
                      </a:lnTo>
                      <a:lnTo>
                        <a:pt x="460" y="530"/>
                      </a:lnTo>
                      <a:lnTo>
                        <a:pt x="456" y="528"/>
                      </a:lnTo>
                      <a:lnTo>
                        <a:pt x="451" y="526"/>
                      </a:lnTo>
                      <a:lnTo>
                        <a:pt x="444" y="521"/>
                      </a:lnTo>
                      <a:lnTo>
                        <a:pt x="430" y="516"/>
                      </a:lnTo>
                      <a:lnTo>
                        <a:pt x="421" y="516"/>
                      </a:lnTo>
                      <a:lnTo>
                        <a:pt x="412" y="520"/>
                      </a:lnTo>
                      <a:lnTo>
                        <a:pt x="406" y="525"/>
                      </a:lnTo>
                      <a:lnTo>
                        <a:pt x="396" y="528"/>
                      </a:lnTo>
                      <a:lnTo>
                        <a:pt x="390" y="528"/>
                      </a:lnTo>
                      <a:lnTo>
                        <a:pt x="384" y="526"/>
                      </a:lnTo>
                      <a:lnTo>
                        <a:pt x="380" y="523"/>
                      </a:lnTo>
                      <a:lnTo>
                        <a:pt x="364" y="518"/>
                      </a:lnTo>
                      <a:lnTo>
                        <a:pt x="357" y="515"/>
                      </a:lnTo>
                      <a:lnTo>
                        <a:pt x="352" y="511"/>
                      </a:lnTo>
                      <a:lnTo>
                        <a:pt x="345" y="503"/>
                      </a:lnTo>
                      <a:lnTo>
                        <a:pt x="339" y="498"/>
                      </a:lnTo>
                      <a:lnTo>
                        <a:pt x="342" y="486"/>
                      </a:lnTo>
                      <a:lnTo>
                        <a:pt x="340" y="473"/>
                      </a:lnTo>
                      <a:lnTo>
                        <a:pt x="337" y="467"/>
                      </a:lnTo>
                      <a:lnTo>
                        <a:pt x="330" y="457"/>
                      </a:lnTo>
                      <a:lnTo>
                        <a:pt x="315" y="430"/>
                      </a:lnTo>
                      <a:lnTo>
                        <a:pt x="310" y="425"/>
                      </a:lnTo>
                      <a:lnTo>
                        <a:pt x="305" y="423"/>
                      </a:lnTo>
                      <a:lnTo>
                        <a:pt x="300" y="423"/>
                      </a:lnTo>
                      <a:lnTo>
                        <a:pt x="295" y="420"/>
                      </a:lnTo>
                      <a:lnTo>
                        <a:pt x="290" y="407"/>
                      </a:lnTo>
                      <a:lnTo>
                        <a:pt x="286" y="405"/>
                      </a:lnTo>
                      <a:lnTo>
                        <a:pt x="282" y="407"/>
                      </a:lnTo>
                      <a:lnTo>
                        <a:pt x="280" y="410"/>
                      </a:lnTo>
                      <a:lnTo>
                        <a:pt x="279" y="413"/>
                      </a:lnTo>
                      <a:lnTo>
                        <a:pt x="281" y="417"/>
                      </a:lnTo>
                      <a:lnTo>
                        <a:pt x="281" y="422"/>
                      </a:lnTo>
                      <a:lnTo>
                        <a:pt x="279" y="425"/>
                      </a:lnTo>
                      <a:lnTo>
                        <a:pt x="271" y="425"/>
                      </a:lnTo>
                      <a:lnTo>
                        <a:pt x="257" y="417"/>
                      </a:lnTo>
                      <a:lnTo>
                        <a:pt x="250" y="411"/>
                      </a:lnTo>
                      <a:lnTo>
                        <a:pt x="245" y="403"/>
                      </a:lnTo>
                      <a:lnTo>
                        <a:pt x="240" y="393"/>
                      </a:lnTo>
                      <a:lnTo>
                        <a:pt x="234" y="388"/>
                      </a:lnTo>
                      <a:lnTo>
                        <a:pt x="227" y="387"/>
                      </a:lnTo>
                      <a:lnTo>
                        <a:pt x="214" y="386"/>
                      </a:lnTo>
                      <a:lnTo>
                        <a:pt x="201" y="382"/>
                      </a:lnTo>
                      <a:lnTo>
                        <a:pt x="192" y="373"/>
                      </a:lnTo>
                      <a:lnTo>
                        <a:pt x="191" y="370"/>
                      </a:lnTo>
                      <a:lnTo>
                        <a:pt x="191" y="366"/>
                      </a:lnTo>
                      <a:lnTo>
                        <a:pt x="195" y="363"/>
                      </a:lnTo>
                      <a:lnTo>
                        <a:pt x="200" y="362"/>
                      </a:lnTo>
                      <a:lnTo>
                        <a:pt x="207" y="357"/>
                      </a:lnTo>
                      <a:lnTo>
                        <a:pt x="215" y="350"/>
                      </a:lnTo>
                      <a:lnTo>
                        <a:pt x="216" y="343"/>
                      </a:lnTo>
                      <a:lnTo>
                        <a:pt x="215" y="337"/>
                      </a:lnTo>
                      <a:lnTo>
                        <a:pt x="211" y="332"/>
                      </a:lnTo>
                      <a:lnTo>
                        <a:pt x="207" y="328"/>
                      </a:lnTo>
                      <a:lnTo>
                        <a:pt x="194" y="317"/>
                      </a:lnTo>
                      <a:lnTo>
                        <a:pt x="189" y="316"/>
                      </a:lnTo>
                      <a:lnTo>
                        <a:pt x="177" y="317"/>
                      </a:lnTo>
                      <a:lnTo>
                        <a:pt x="174" y="316"/>
                      </a:lnTo>
                      <a:lnTo>
                        <a:pt x="170" y="310"/>
                      </a:lnTo>
                      <a:lnTo>
                        <a:pt x="165" y="306"/>
                      </a:lnTo>
                      <a:lnTo>
                        <a:pt x="160" y="303"/>
                      </a:lnTo>
                      <a:lnTo>
                        <a:pt x="154" y="303"/>
                      </a:lnTo>
                      <a:lnTo>
                        <a:pt x="145" y="303"/>
                      </a:lnTo>
                      <a:lnTo>
                        <a:pt x="136" y="297"/>
                      </a:lnTo>
                      <a:lnTo>
                        <a:pt x="131" y="290"/>
                      </a:lnTo>
                      <a:lnTo>
                        <a:pt x="124" y="278"/>
                      </a:lnTo>
                      <a:lnTo>
                        <a:pt x="119" y="263"/>
                      </a:lnTo>
                      <a:lnTo>
                        <a:pt x="114" y="260"/>
                      </a:lnTo>
                      <a:lnTo>
                        <a:pt x="106" y="258"/>
                      </a:lnTo>
                      <a:lnTo>
                        <a:pt x="102" y="260"/>
                      </a:lnTo>
                      <a:lnTo>
                        <a:pt x="94" y="266"/>
                      </a:lnTo>
                      <a:lnTo>
                        <a:pt x="86" y="266"/>
                      </a:lnTo>
                      <a:lnTo>
                        <a:pt x="81" y="262"/>
                      </a:lnTo>
                      <a:lnTo>
                        <a:pt x="66" y="257"/>
                      </a:lnTo>
                      <a:lnTo>
                        <a:pt x="61" y="251"/>
                      </a:lnTo>
                      <a:lnTo>
                        <a:pt x="56" y="247"/>
                      </a:lnTo>
                      <a:lnTo>
                        <a:pt x="51" y="245"/>
                      </a:lnTo>
                      <a:lnTo>
                        <a:pt x="37" y="240"/>
                      </a:lnTo>
                      <a:lnTo>
                        <a:pt x="30" y="236"/>
                      </a:lnTo>
                      <a:lnTo>
                        <a:pt x="26" y="232"/>
                      </a:lnTo>
                      <a:lnTo>
                        <a:pt x="24" y="228"/>
                      </a:lnTo>
                      <a:lnTo>
                        <a:pt x="24" y="225"/>
                      </a:lnTo>
                      <a:lnTo>
                        <a:pt x="25" y="204"/>
                      </a:lnTo>
                      <a:lnTo>
                        <a:pt x="25" y="200"/>
                      </a:lnTo>
                      <a:lnTo>
                        <a:pt x="27" y="195"/>
                      </a:lnTo>
                      <a:lnTo>
                        <a:pt x="31" y="191"/>
                      </a:lnTo>
                      <a:lnTo>
                        <a:pt x="35" y="191"/>
                      </a:lnTo>
                      <a:lnTo>
                        <a:pt x="40" y="193"/>
                      </a:lnTo>
                      <a:lnTo>
                        <a:pt x="49" y="198"/>
                      </a:lnTo>
                      <a:lnTo>
                        <a:pt x="54" y="201"/>
                      </a:lnTo>
                      <a:lnTo>
                        <a:pt x="56" y="201"/>
                      </a:lnTo>
                      <a:lnTo>
                        <a:pt x="61" y="201"/>
                      </a:lnTo>
                      <a:lnTo>
                        <a:pt x="65" y="198"/>
                      </a:lnTo>
                      <a:lnTo>
                        <a:pt x="70" y="191"/>
                      </a:lnTo>
                      <a:lnTo>
                        <a:pt x="74" y="186"/>
                      </a:lnTo>
                      <a:lnTo>
                        <a:pt x="75" y="181"/>
                      </a:lnTo>
                      <a:lnTo>
                        <a:pt x="75" y="176"/>
                      </a:lnTo>
                      <a:lnTo>
                        <a:pt x="74" y="143"/>
                      </a:lnTo>
                      <a:lnTo>
                        <a:pt x="72" y="133"/>
                      </a:lnTo>
                      <a:lnTo>
                        <a:pt x="69" y="128"/>
                      </a:lnTo>
                      <a:lnTo>
                        <a:pt x="65" y="126"/>
                      </a:lnTo>
                      <a:lnTo>
                        <a:pt x="60" y="126"/>
                      </a:lnTo>
                      <a:lnTo>
                        <a:pt x="56" y="127"/>
                      </a:lnTo>
                      <a:lnTo>
                        <a:pt x="44" y="135"/>
                      </a:lnTo>
                      <a:lnTo>
                        <a:pt x="36" y="136"/>
                      </a:lnTo>
                      <a:lnTo>
                        <a:pt x="29" y="135"/>
                      </a:lnTo>
                      <a:lnTo>
                        <a:pt x="20" y="128"/>
                      </a:lnTo>
                      <a:lnTo>
                        <a:pt x="9" y="113"/>
                      </a:lnTo>
                      <a:lnTo>
                        <a:pt x="4" y="106"/>
                      </a:lnTo>
                      <a:lnTo>
                        <a:pt x="2" y="100"/>
                      </a:lnTo>
                      <a:lnTo>
                        <a:pt x="1" y="93"/>
                      </a:lnTo>
                      <a:lnTo>
                        <a:pt x="1" y="85"/>
                      </a:lnTo>
                      <a:lnTo>
                        <a:pt x="2" y="75"/>
                      </a:lnTo>
                      <a:lnTo>
                        <a:pt x="0" y="56"/>
                      </a:lnTo>
                      <a:lnTo>
                        <a:pt x="7" y="57"/>
                      </a:lnTo>
                      <a:lnTo>
                        <a:pt x="9" y="62"/>
                      </a:lnTo>
                      <a:lnTo>
                        <a:pt x="14" y="61"/>
                      </a:lnTo>
                      <a:lnTo>
                        <a:pt x="26" y="65"/>
                      </a:lnTo>
                      <a:lnTo>
                        <a:pt x="34" y="58"/>
                      </a:lnTo>
                      <a:lnTo>
                        <a:pt x="41" y="55"/>
                      </a:lnTo>
                      <a:lnTo>
                        <a:pt x="39" y="48"/>
                      </a:lnTo>
                      <a:lnTo>
                        <a:pt x="50" y="41"/>
                      </a:lnTo>
                      <a:lnTo>
                        <a:pt x="60" y="40"/>
                      </a:lnTo>
                      <a:lnTo>
                        <a:pt x="67" y="40"/>
                      </a:lnTo>
                      <a:lnTo>
                        <a:pt x="74" y="35"/>
                      </a:lnTo>
                      <a:lnTo>
                        <a:pt x="90" y="23"/>
                      </a:lnTo>
                      <a:lnTo>
                        <a:pt x="89" y="16"/>
                      </a:lnTo>
                      <a:lnTo>
                        <a:pt x="109" y="10"/>
                      </a:lnTo>
                      <a:lnTo>
                        <a:pt x="129" y="6"/>
                      </a:lnTo>
                      <a:lnTo>
                        <a:pt x="140" y="4"/>
                      </a:lnTo>
                      <a:lnTo>
                        <a:pt x="146" y="0"/>
                      </a:lnTo>
                      <a:lnTo>
                        <a:pt x="156" y="7"/>
                      </a:lnTo>
                      <a:lnTo>
                        <a:pt x="160" y="16"/>
                      </a:lnTo>
                      <a:lnTo>
                        <a:pt x="166" y="20"/>
                      </a:lnTo>
                      <a:lnTo>
                        <a:pt x="172" y="30"/>
                      </a:lnTo>
                      <a:lnTo>
                        <a:pt x="177" y="41"/>
                      </a:lnTo>
                      <a:lnTo>
                        <a:pt x="179" y="50"/>
                      </a:lnTo>
                      <a:lnTo>
                        <a:pt x="175" y="57"/>
                      </a:lnTo>
                      <a:lnTo>
                        <a:pt x="167" y="51"/>
                      </a:lnTo>
                      <a:lnTo>
                        <a:pt x="159" y="57"/>
                      </a:lnTo>
                      <a:lnTo>
                        <a:pt x="154" y="67"/>
                      </a:lnTo>
                      <a:lnTo>
                        <a:pt x="152" y="75"/>
                      </a:lnTo>
                      <a:lnTo>
                        <a:pt x="149" y="78"/>
                      </a:lnTo>
                      <a:lnTo>
                        <a:pt x="137" y="91"/>
                      </a:lnTo>
                      <a:lnTo>
                        <a:pt x="131" y="102"/>
                      </a:lnTo>
                      <a:lnTo>
                        <a:pt x="131" y="112"/>
                      </a:lnTo>
                      <a:lnTo>
                        <a:pt x="134" y="115"/>
                      </a:lnTo>
                      <a:lnTo>
                        <a:pt x="139" y="115"/>
                      </a:lnTo>
                      <a:lnTo>
                        <a:pt x="139" y="106"/>
                      </a:lnTo>
                      <a:lnTo>
                        <a:pt x="144" y="101"/>
                      </a:lnTo>
                      <a:lnTo>
                        <a:pt x="150" y="93"/>
                      </a:lnTo>
                      <a:lnTo>
                        <a:pt x="155" y="90"/>
                      </a:lnTo>
                      <a:lnTo>
                        <a:pt x="157" y="100"/>
                      </a:lnTo>
                      <a:lnTo>
                        <a:pt x="162" y="101"/>
                      </a:lnTo>
                      <a:lnTo>
                        <a:pt x="164" y="103"/>
                      </a:lnTo>
                      <a:lnTo>
                        <a:pt x="160" y="106"/>
                      </a:lnTo>
                      <a:lnTo>
                        <a:pt x="151" y="106"/>
                      </a:lnTo>
                      <a:lnTo>
                        <a:pt x="151" y="113"/>
                      </a:lnTo>
                      <a:lnTo>
                        <a:pt x="176" y="128"/>
                      </a:lnTo>
                      <a:lnTo>
                        <a:pt x="182" y="126"/>
                      </a:lnTo>
                      <a:lnTo>
                        <a:pt x="185" y="122"/>
                      </a:lnTo>
                      <a:lnTo>
                        <a:pt x="190" y="131"/>
                      </a:lnTo>
                      <a:lnTo>
                        <a:pt x="187" y="137"/>
                      </a:lnTo>
                      <a:lnTo>
                        <a:pt x="182" y="151"/>
                      </a:lnTo>
                      <a:lnTo>
                        <a:pt x="181" y="155"/>
                      </a:lnTo>
                      <a:lnTo>
                        <a:pt x="184" y="161"/>
                      </a:lnTo>
                      <a:lnTo>
                        <a:pt x="187" y="157"/>
                      </a:lnTo>
                      <a:lnTo>
                        <a:pt x="191" y="148"/>
                      </a:lnTo>
                      <a:lnTo>
                        <a:pt x="197" y="141"/>
                      </a:lnTo>
                      <a:lnTo>
                        <a:pt x="204" y="141"/>
                      </a:lnTo>
                      <a:lnTo>
                        <a:pt x="214" y="146"/>
                      </a:lnTo>
                      <a:lnTo>
                        <a:pt x="217" y="143"/>
                      </a:lnTo>
                      <a:lnTo>
                        <a:pt x="217" y="131"/>
                      </a:lnTo>
                      <a:lnTo>
                        <a:pt x="205" y="133"/>
                      </a:lnTo>
                      <a:lnTo>
                        <a:pt x="196" y="130"/>
                      </a:lnTo>
                      <a:lnTo>
                        <a:pt x="191" y="116"/>
                      </a:lnTo>
                      <a:lnTo>
                        <a:pt x="200" y="108"/>
                      </a:lnTo>
                      <a:lnTo>
                        <a:pt x="205" y="106"/>
                      </a:lnTo>
                      <a:lnTo>
                        <a:pt x="217" y="106"/>
                      </a:lnTo>
                      <a:lnTo>
                        <a:pt x="222" y="104"/>
                      </a:lnTo>
                      <a:lnTo>
                        <a:pt x="226" y="100"/>
                      </a:lnTo>
                      <a:lnTo>
                        <a:pt x="230" y="95"/>
                      </a:lnTo>
                      <a:lnTo>
                        <a:pt x="231" y="90"/>
                      </a:lnTo>
                      <a:lnTo>
                        <a:pt x="241" y="83"/>
                      </a:lnTo>
                      <a:lnTo>
                        <a:pt x="239" y="92"/>
                      </a:lnTo>
                      <a:lnTo>
                        <a:pt x="237" y="100"/>
                      </a:lnTo>
                      <a:lnTo>
                        <a:pt x="244" y="102"/>
                      </a:lnTo>
                      <a:lnTo>
                        <a:pt x="249" y="106"/>
                      </a:lnTo>
                      <a:lnTo>
                        <a:pt x="247" y="113"/>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8" name="Nara" descr="{&quot;Key&quot;:&quot;nara&quot;,&quot;Name&quot;:&quot;Nara&quot;,&quot;Value&quot;:1.0,&quot;Formula&quot;:&quot;&quot;,&quot;Text&quot;:&quot;&quot;,&quot;OfficeApplication&quot;:1,&quot;HasValue&quot;:true}">
                  <a:extLst>
                    <a:ext uri="{FF2B5EF4-FFF2-40B4-BE49-F238E27FC236}">
                      <a16:creationId xmlns:a16="http://schemas.microsoft.com/office/drawing/2014/main" id="{7DEF4A53-08E7-40E2-9064-5D6B08C79402}"/>
                    </a:ext>
                  </a:extLst>
                </p:cNvPr>
                <p:cNvSpPr>
                  <a:spLocks/>
                </p:cNvSpPr>
                <p:nvPr/>
              </p:nvSpPr>
              <p:spPr bwMode="auto">
                <a:xfrm>
                  <a:off x="5864225" y="3943350"/>
                  <a:ext cx="155575" cy="261937"/>
                </a:xfrm>
                <a:custGeom>
                  <a:avLst/>
                  <a:gdLst>
                    <a:gd name="T0" fmla="*/ 205 w 268"/>
                    <a:gd name="T1" fmla="*/ 25 h 449"/>
                    <a:gd name="T2" fmla="*/ 208 w 268"/>
                    <a:gd name="T3" fmla="*/ 40 h 449"/>
                    <a:gd name="T4" fmla="*/ 198 w 268"/>
                    <a:gd name="T5" fmla="*/ 58 h 449"/>
                    <a:gd name="T6" fmla="*/ 206 w 268"/>
                    <a:gd name="T7" fmla="*/ 69 h 449"/>
                    <a:gd name="T8" fmla="*/ 205 w 268"/>
                    <a:gd name="T9" fmla="*/ 90 h 449"/>
                    <a:gd name="T10" fmla="*/ 222 w 268"/>
                    <a:gd name="T11" fmla="*/ 106 h 449"/>
                    <a:gd name="T12" fmla="*/ 240 w 268"/>
                    <a:gd name="T13" fmla="*/ 110 h 449"/>
                    <a:gd name="T14" fmla="*/ 252 w 268"/>
                    <a:gd name="T15" fmla="*/ 123 h 449"/>
                    <a:gd name="T16" fmla="*/ 266 w 268"/>
                    <a:gd name="T17" fmla="*/ 129 h 449"/>
                    <a:gd name="T18" fmla="*/ 265 w 268"/>
                    <a:gd name="T19" fmla="*/ 148 h 449"/>
                    <a:gd name="T20" fmla="*/ 228 w 268"/>
                    <a:gd name="T21" fmla="*/ 164 h 449"/>
                    <a:gd name="T22" fmla="*/ 212 w 268"/>
                    <a:gd name="T23" fmla="*/ 179 h 449"/>
                    <a:gd name="T24" fmla="*/ 216 w 268"/>
                    <a:gd name="T25" fmla="*/ 200 h 449"/>
                    <a:gd name="T26" fmla="*/ 223 w 268"/>
                    <a:gd name="T27" fmla="*/ 233 h 449"/>
                    <a:gd name="T28" fmla="*/ 231 w 268"/>
                    <a:gd name="T29" fmla="*/ 253 h 449"/>
                    <a:gd name="T30" fmla="*/ 227 w 268"/>
                    <a:gd name="T31" fmla="*/ 303 h 449"/>
                    <a:gd name="T32" fmla="*/ 220 w 268"/>
                    <a:gd name="T33" fmla="*/ 353 h 449"/>
                    <a:gd name="T34" fmla="*/ 218 w 268"/>
                    <a:gd name="T35" fmla="*/ 365 h 449"/>
                    <a:gd name="T36" fmla="*/ 185 w 268"/>
                    <a:gd name="T37" fmla="*/ 374 h 449"/>
                    <a:gd name="T38" fmla="*/ 172 w 268"/>
                    <a:gd name="T39" fmla="*/ 401 h 449"/>
                    <a:gd name="T40" fmla="*/ 151 w 268"/>
                    <a:gd name="T41" fmla="*/ 421 h 449"/>
                    <a:gd name="T42" fmla="*/ 140 w 268"/>
                    <a:gd name="T43" fmla="*/ 428 h 449"/>
                    <a:gd name="T44" fmla="*/ 122 w 268"/>
                    <a:gd name="T45" fmla="*/ 449 h 449"/>
                    <a:gd name="T46" fmla="*/ 97 w 268"/>
                    <a:gd name="T47" fmla="*/ 429 h 449"/>
                    <a:gd name="T48" fmla="*/ 81 w 268"/>
                    <a:gd name="T49" fmla="*/ 434 h 449"/>
                    <a:gd name="T50" fmla="*/ 55 w 268"/>
                    <a:gd name="T51" fmla="*/ 429 h 449"/>
                    <a:gd name="T52" fmla="*/ 37 w 268"/>
                    <a:gd name="T53" fmla="*/ 439 h 449"/>
                    <a:gd name="T54" fmla="*/ 26 w 268"/>
                    <a:gd name="T55" fmla="*/ 437 h 449"/>
                    <a:gd name="T56" fmla="*/ 23 w 268"/>
                    <a:gd name="T57" fmla="*/ 412 h 449"/>
                    <a:gd name="T58" fmla="*/ 25 w 268"/>
                    <a:gd name="T59" fmla="*/ 382 h 449"/>
                    <a:gd name="T60" fmla="*/ 11 w 268"/>
                    <a:gd name="T61" fmla="*/ 357 h 449"/>
                    <a:gd name="T62" fmla="*/ 1 w 268"/>
                    <a:gd name="T63" fmla="*/ 345 h 449"/>
                    <a:gd name="T64" fmla="*/ 12 w 268"/>
                    <a:gd name="T65" fmla="*/ 317 h 449"/>
                    <a:gd name="T66" fmla="*/ 36 w 268"/>
                    <a:gd name="T67" fmla="*/ 280 h 449"/>
                    <a:gd name="T68" fmla="*/ 47 w 268"/>
                    <a:gd name="T69" fmla="*/ 271 h 449"/>
                    <a:gd name="T70" fmla="*/ 66 w 268"/>
                    <a:gd name="T71" fmla="*/ 261 h 449"/>
                    <a:gd name="T72" fmla="*/ 47 w 268"/>
                    <a:gd name="T73" fmla="*/ 231 h 449"/>
                    <a:gd name="T74" fmla="*/ 46 w 268"/>
                    <a:gd name="T75" fmla="*/ 188 h 449"/>
                    <a:gd name="T76" fmla="*/ 52 w 268"/>
                    <a:gd name="T77" fmla="*/ 160 h 449"/>
                    <a:gd name="T78" fmla="*/ 48 w 268"/>
                    <a:gd name="T79" fmla="*/ 130 h 449"/>
                    <a:gd name="T80" fmla="*/ 33 w 268"/>
                    <a:gd name="T81" fmla="*/ 109 h 449"/>
                    <a:gd name="T82" fmla="*/ 41 w 268"/>
                    <a:gd name="T83" fmla="*/ 78 h 449"/>
                    <a:gd name="T84" fmla="*/ 56 w 268"/>
                    <a:gd name="T85" fmla="*/ 27 h 449"/>
                    <a:gd name="T86" fmla="*/ 78 w 268"/>
                    <a:gd name="T87" fmla="*/ 13 h 449"/>
                    <a:gd name="T88" fmla="*/ 106 w 268"/>
                    <a:gd name="T89" fmla="*/ 25 h 449"/>
                    <a:gd name="T90" fmla="*/ 122 w 268"/>
                    <a:gd name="T91" fmla="*/ 30 h 449"/>
                    <a:gd name="T92" fmla="*/ 147 w 268"/>
                    <a:gd name="T93" fmla="*/ 18 h 449"/>
                    <a:gd name="T94" fmla="*/ 177 w 268"/>
                    <a:gd name="T95" fmla="*/ 28 h 449"/>
                    <a:gd name="T96" fmla="*/ 191 w 268"/>
                    <a:gd name="T97" fmla="*/ 3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8" h="449">
                      <a:moveTo>
                        <a:pt x="197" y="22"/>
                      </a:moveTo>
                      <a:lnTo>
                        <a:pt x="203" y="24"/>
                      </a:lnTo>
                      <a:lnTo>
                        <a:pt x="205" y="25"/>
                      </a:lnTo>
                      <a:lnTo>
                        <a:pt x="207" y="28"/>
                      </a:lnTo>
                      <a:lnTo>
                        <a:pt x="208" y="34"/>
                      </a:lnTo>
                      <a:lnTo>
                        <a:pt x="208" y="40"/>
                      </a:lnTo>
                      <a:lnTo>
                        <a:pt x="212" y="52"/>
                      </a:lnTo>
                      <a:lnTo>
                        <a:pt x="208" y="55"/>
                      </a:lnTo>
                      <a:lnTo>
                        <a:pt x="198" y="58"/>
                      </a:lnTo>
                      <a:lnTo>
                        <a:pt x="200" y="62"/>
                      </a:lnTo>
                      <a:lnTo>
                        <a:pt x="205" y="65"/>
                      </a:lnTo>
                      <a:lnTo>
                        <a:pt x="206" y="69"/>
                      </a:lnTo>
                      <a:lnTo>
                        <a:pt x="207" y="75"/>
                      </a:lnTo>
                      <a:lnTo>
                        <a:pt x="205" y="84"/>
                      </a:lnTo>
                      <a:lnTo>
                        <a:pt x="205" y="90"/>
                      </a:lnTo>
                      <a:lnTo>
                        <a:pt x="207" y="97"/>
                      </a:lnTo>
                      <a:lnTo>
                        <a:pt x="213" y="102"/>
                      </a:lnTo>
                      <a:lnTo>
                        <a:pt x="222" y="106"/>
                      </a:lnTo>
                      <a:lnTo>
                        <a:pt x="228" y="109"/>
                      </a:lnTo>
                      <a:lnTo>
                        <a:pt x="235" y="110"/>
                      </a:lnTo>
                      <a:lnTo>
                        <a:pt x="240" y="110"/>
                      </a:lnTo>
                      <a:lnTo>
                        <a:pt x="245" y="110"/>
                      </a:lnTo>
                      <a:lnTo>
                        <a:pt x="248" y="114"/>
                      </a:lnTo>
                      <a:lnTo>
                        <a:pt x="252" y="123"/>
                      </a:lnTo>
                      <a:lnTo>
                        <a:pt x="256" y="125"/>
                      </a:lnTo>
                      <a:lnTo>
                        <a:pt x="265" y="127"/>
                      </a:lnTo>
                      <a:lnTo>
                        <a:pt x="266" y="129"/>
                      </a:lnTo>
                      <a:lnTo>
                        <a:pt x="268" y="134"/>
                      </a:lnTo>
                      <a:lnTo>
                        <a:pt x="267" y="140"/>
                      </a:lnTo>
                      <a:lnTo>
                        <a:pt x="265" y="148"/>
                      </a:lnTo>
                      <a:lnTo>
                        <a:pt x="255" y="158"/>
                      </a:lnTo>
                      <a:lnTo>
                        <a:pt x="246" y="160"/>
                      </a:lnTo>
                      <a:lnTo>
                        <a:pt x="228" y="164"/>
                      </a:lnTo>
                      <a:lnTo>
                        <a:pt x="221" y="167"/>
                      </a:lnTo>
                      <a:lnTo>
                        <a:pt x="216" y="171"/>
                      </a:lnTo>
                      <a:lnTo>
                        <a:pt x="212" y="179"/>
                      </a:lnTo>
                      <a:lnTo>
                        <a:pt x="211" y="188"/>
                      </a:lnTo>
                      <a:lnTo>
                        <a:pt x="212" y="194"/>
                      </a:lnTo>
                      <a:lnTo>
                        <a:pt x="216" y="200"/>
                      </a:lnTo>
                      <a:lnTo>
                        <a:pt x="226" y="224"/>
                      </a:lnTo>
                      <a:lnTo>
                        <a:pt x="226" y="229"/>
                      </a:lnTo>
                      <a:lnTo>
                        <a:pt x="223" y="233"/>
                      </a:lnTo>
                      <a:lnTo>
                        <a:pt x="225" y="240"/>
                      </a:lnTo>
                      <a:lnTo>
                        <a:pt x="228" y="246"/>
                      </a:lnTo>
                      <a:lnTo>
                        <a:pt x="231" y="253"/>
                      </a:lnTo>
                      <a:lnTo>
                        <a:pt x="231" y="259"/>
                      </a:lnTo>
                      <a:lnTo>
                        <a:pt x="226" y="279"/>
                      </a:lnTo>
                      <a:lnTo>
                        <a:pt x="227" y="303"/>
                      </a:lnTo>
                      <a:lnTo>
                        <a:pt x="227" y="309"/>
                      </a:lnTo>
                      <a:lnTo>
                        <a:pt x="217" y="346"/>
                      </a:lnTo>
                      <a:lnTo>
                        <a:pt x="220" y="353"/>
                      </a:lnTo>
                      <a:lnTo>
                        <a:pt x="223" y="361"/>
                      </a:lnTo>
                      <a:lnTo>
                        <a:pt x="222" y="365"/>
                      </a:lnTo>
                      <a:lnTo>
                        <a:pt x="218" y="365"/>
                      </a:lnTo>
                      <a:lnTo>
                        <a:pt x="197" y="365"/>
                      </a:lnTo>
                      <a:lnTo>
                        <a:pt x="190" y="368"/>
                      </a:lnTo>
                      <a:lnTo>
                        <a:pt x="185" y="374"/>
                      </a:lnTo>
                      <a:lnTo>
                        <a:pt x="180" y="385"/>
                      </a:lnTo>
                      <a:lnTo>
                        <a:pt x="177" y="393"/>
                      </a:lnTo>
                      <a:lnTo>
                        <a:pt x="172" y="401"/>
                      </a:lnTo>
                      <a:lnTo>
                        <a:pt x="166" y="410"/>
                      </a:lnTo>
                      <a:lnTo>
                        <a:pt x="153" y="418"/>
                      </a:lnTo>
                      <a:lnTo>
                        <a:pt x="151" y="421"/>
                      </a:lnTo>
                      <a:lnTo>
                        <a:pt x="148" y="424"/>
                      </a:lnTo>
                      <a:lnTo>
                        <a:pt x="143" y="424"/>
                      </a:lnTo>
                      <a:lnTo>
                        <a:pt x="140" y="428"/>
                      </a:lnTo>
                      <a:lnTo>
                        <a:pt x="136" y="436"/>
                      </a:lnTo>
                      <a:lnTo>
                        <a:pt x="133" y="443"/>
                      </a:lnTo>
                      <a:lnTo>
                        <a:pt x="122" y="449"/>
                      </a:lnTo>
                      <a:lnTo>
                        <a:pt x="110" y="433"/>
                      </a:lnTo>
                      <a:lnTo>
                        <a:pt x="103" y="430"/>
                      </a:lnTo>
                      <a:lnTo>
                        <a:pt x="97" y="429"/>
                      </a:lnTo>
                      <a:lnTo>
                        <a:pt x="91" y="430"/>
                      </a:lnTo>
                      <a:lnTo>
                        <a:pt x="86" y="433"/>
                      </a:lnTo>
                      <a:lnTo>
                        <a:pt x="81" y="434"/>
                      </a:lnTo>
                      <a:lnTo>
                        <a:pt x="77" y="434"/>
                      </a:lnTo>
                      <a:lnTo>
                        <a:pt x="61" y="429"/>
                      </a:lnTo>
                      <a:lnTo>
                        <a:pt x="55" y="429"/>
                      </a:lnTo>
                      <a:lnTo>
                        <a:pt x="50" y="430"/>
                      </a:lnTo>
                      <a:lnTo>
                        <a:pt x="43" y="433"/>
                      </a:lnTo>
                      <a:lnTo>
                        <a:pt x="37" y="439"/>
                      </a:lnTo>
                      <a:lnTo>
                        <a:pt x="33" y="440"/>
                      </a:lnTo>
                      <a:lnTo>
                        <a:pt x="30" y="440"/>
                      </a:lnTo>
                      <a:lnTo>
                        <a:pt x="26" y="437"/>
                      </a:lnTo>
                      <a:lnTo>
                        <a:pt x="23" y="432"/>
                      </a:lnTo>
                      <a:lnTo>
                        <a:pt x="22" y="424"/>
                      </a:lnTo>
                      <a:lnTo>
                        <a:pt x="23" y="412"/>
                      </a:lnTo>
                      <a:lnTo>
                        <a:pt x="26" y="400"/>
                      </a:lnTo>
                      <a:lnTo>
                        <a:pt x="27" y="393"/>
                      </a:lnTo>
                      <a:lnTo>
                        <a:pt x="25" y="382"/>
                      </a:lnTo>
                      <a:lnTo>
                        <a:pt x="16" y="372"/>
                      </a:lnTo>
                      <a:lnTo>
                        <a:pt x="13" y="363"/>
                      </a:lnTo>
                      <a:lnTo>
                        <a:pt x="11" y="357"/>
                      </a:lnTo>
                      <a:lnTo>
                        <a:pt x="8" y="353"/>
                      </a:lnTo>
                      <a:lnTo>
                        <a:pt x="3" y="350"/>
                      </a:lnTo>
                      <a:lnTo>
                        <a:pt x="1" y="345"/>
                      </a:lnTo>
                      <a:lnTo>
                        <a:pt x="0" y="339"/>
                      </a:lnTo>
                      <a:lnTo>
                        <a:pt x="2" y="330"/>
                      </a:lnTo>
                      <a:lnTo>
                        <a:pt x="12" y="317"/>
                      </a:lnTo>
                      <a:lnTo>
                        <a:pt x="17" y="308"/>
                      </a:lnTo>
                      <a:lnTo>
                        <a:pt x="28" y="294"/>
                      </a:lnTo>
                      <a:lnTo>
                        <a:pt x="36" y="280"/>
                      </a:lnTo>
                      <a:lnTo>
                        <a:pt x="38" y="277"/>
                      </a:lnTo>
                      <a:lnTo>
                        <a:pt x="42" y="273"/>
                      </a:lnTo>
                      <a:lnTo>
                        <a:pt x="47" y="271"/>
                      </a:lnTo>
                      <a:lnTo>
                        <a:pt x="63" y="270"/>
                      </a:lnTo>
                      <a:lnTo>
                        <a:pt x="66" y="266"/>
                      </a:lnTo>
                      <a:lnTo>
                        <a:pt x="66" y="261"/>
                      </a:lnTo>
                      <a:lnTo>
                        <a:pt x="60" y="250"/>
                      </a:lnTo>
                      <a:lnTo>
                        <a:pt x="50" y="238"/>
                      </a:lnTo>
                      <a:lnTo>
                        <a:pt x="47" y="231"/>
                      </a:lnTo>
                      <a:lnTo>
                        <a:pt x="46" y="214"/>
                      </a:lnTo>
                      <a:lnTo>
                        <a:pt x="41" y="190"/>
                      </a:lnTo>
                      <a:lnTo>
                        <a:pt x="46" y="188"/>
                      </a:lnTo>
                      <a:lnTo>
                        <a:pt x="51" y="182"/>
                      </a:lnTo>
                      <a:lnTo>
                        <a:pt x="50" y="173"/>
                      </a:lnTo>
                      <a:lnTo>
                        <a:pt x="52" y="160"/>
                      </a:lnTo>
                      <a:lnTo>
                        <a:pt x="53" y="153"/>
                      </a:lnTo>
                      <a:lnTo>
                        <a:pt x="52" y="145"/>
                      </a:lnTo>
                      <a:lnTo>
                        <a:pt x="48" y="130"/>
                      </a:lnTo>
                      <a:lnTo>
                        <a:pt x="42" y="119"/>
                      </a:lnTo>
                      <a:lnTo>
                        <a:pt x="38" y="114"/>
                      </a:lnTo>
                      <a:lnTo>
                        <a:pt x="33" y="109"/>
                      </a:lnTo>
                      <a:lnTo>
                        <a:pt x="31" y="107"/>
                      </a:lnTo>
                      <a:lnTo>
                        <a:pt x="31" y="102"/>
                      </a:lnTo>
                      <a:lnTo>
                        <a:pt x="41" y="78"/>
                      </a:lnTo>
                      <a:lnTo>
                        <a:pt x="50" y="42"/>
                      </a:lnTo>
                      <a:lnTo>
                        <a:pt x="52" y="34"/>
                      </a:lnTo>
                      <a:lnTo>
                        <a:pt x="56" y="27"/>
                      </a:lnTo>
                      <a:lnTo>
                        <a:pt x="65" y="0"/>
                      </a:lnTo>
                      <a:lnTo>
                        <a:pt x="71" y="5"/>
                      </a:lnTo>
                      <a:lnTo>
                        <a:pt x="78" y="13"/>
                      </a:lnTo>
                      <a:lnTo>
                        <a:pt x="83" y="17"/>
                      </a:lnTo>
                      <a:lnTo>
                        <a:pt x="90" y="20"/>
                      </a:lnTo>
                      <a:lnTo>
                        <a:pt x="106" y="25"/>
                      </a:lnTo>
                      <a:lnTo>
                        <a:pt x="110" y="28"/>
                      </a:lnTo>
                      <a:lnTo>
                        <a:pt x="116" y="30"/>
                      </a:lnTo>
                      <a:lnTo>
                        <a:pt x="122" y="30"/>
                      </a:lnTo>
                      <a:lnTo>
                        <a:pt x="132" y="27"/>
                      </a:lnTo>
                      <a:lnTo>
                        <a:pt x="138" y="22"/>
                      </a:lnTo>
                      <a:lnTo>
                        <a:pt x="147" y="18"/>
                      </a:lnTo>
                      <a:lnTo>
                        <a:pt x="156" y="18"/>
                      </a:lnTo>
                      <a:lnTo>
                        <a:pt x="170" y="23"/>
                      </a:lnTo>
                      <a:lnTo>
                        <a:pt x="177" y="28"/>
                      </a:lnTo>
                      <a:lnTo>
                        <a:pt x="182" y="30"/>
                      </a:lnTo>
                      <a:lnTo>
                        <a:pt x="186" y="32"/>
                      </a:lnTo>
                      <a:lnTo>
                        <a:pt x="191" y="30"/>
                      </a:lnTo>
                      <a:lnTo>
                        <a:pt x="195" y="28"/>
                      </a:lnTo>
                      <a:lnTo>
                        <a:pt x="197" y="22"/>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69" name="Osaka" descr="{&quot;Key&quot;:&quot;osaka&quot;,&quot;Name&quot;:&quot;Osaka&quot;,&quot;Value&quot;:1.0,&quot;Formula&quot;:&quot;&quot;,&quot;Text&quot;:&quot;&quot;,&quot;OfficeApplication&quot;:1,&quot;HasValue&quot;:true}">
                  <a:extLst>
                    <a:ext uri="{FF2B5EF4-FFF2-40B4-BE49-F238E27FC236}">
                      <a16:creationId xmlns:a16="http://schemas.microsoft.com/office/drawing/2014/main" id="{0019C4B6-8BD4-47E7-A384-E8848E3CFB24}"/>
                    </a:ext>
                  </a:extLst>
                </p:cNvPr>
                <p:cNvSpPr>
                  <a:spLocks noEditPoints="1"/>
                </p:cNvSpPr>
                <p:nvPr/>
              </p:nvSpPr>
              <p:spPr bwMode="auto">
                <a:xfrm>
                  <a:off x="5756275" y="3876675"/>
                  <a:ext cx="147638" cy="206375"/>
                </a:xfrm>
                <a:custGeom>
                  <a:avLst/>
                  <a:gdLst>
                    <a:gd name="T0" fmla="*/ 55 w 252"/>
                    <a:gd name="T1" fmla="*/ 284 h 354"/>
                    <a:gd name="T2" fmla="*/ 47 w 252"/>
                    <a:gd name="T3" fmla="*/ 278 h 354"/>
                    <a:gd name="T4" fmla="*/ 69 w 252"/>
                    <a:gd name="T5" fmla="*/ 275 h 354"/>
                    <a:gd name="T6" fmla="*/ 240 w 252"/>
                    <a:gd name="T7" fmla="*/ 143 h 354"/>
                    <a:gd name="T8" fmla="*/ 234 w 252"/>
                    <a:gd name="T9" fmla="*/ 158 h 354"/>
                    <a:gd name="T10" fmla="*/ 215 w 252"/>
                    <a:gd name="T11" fmla="*/ 218 h 354"/>
                    <a:gd name="T12" fmla="*/ 217 w 252"/>
                    <a:gd name="T13" fmla="*/ 225 h 354"/>
                    <a:gd name="T14" fmla="*/ 226 w 252"/>
                    <a:gd name="T15" fmla="*/ 235 h 354"/>
                    <a:gd name="T16" fmla="*/ 236 w 252"/>
                    <a:gd name="T17" fmla="*/ 261 h 354"/>
                    <a:gd name="T18" fmla="*/ 236 w 252"/>
                    <a:gd name="T19" fmla="*/ 276 h 354"/>
                    <a:gd name="T20" fmla="*/ 235 w 252"/>
                    <a:gd name="T21" fmla="*/ 297 h 354"/>
                    <a:gd name="T22" fmla="*/ 225 w 252"/>
                    <a:gd name="T23" fmla="*/ 306 h 354"/>
                    <a:gd name="T24" fmla="*/ 176 w 252"/>
                    <a:gd name="T25" fmla="*/ 324 h 354"/>
                    <a:gd name="T26" fmla="*/ 164 w 252"/>
                    <a:gd name="T27" fmla="*/ 325 h 354"/>
                    <a:gd name="T28" fmla="*/ 149 w 252"/>
                    <a:gd name="T29" fmla="*/ 324 h 354"/>
                    <a:gd name="T30" fmla="*/ 91 w 252"/>
                    <a:gd name="T31" fmla="*/ 342 h 354"/>
                    <a:gd name="T32" fmla="*/ 14 w 252"/>
                    <a:gd name="T33" fmla="*/ 352 h 354"/>
                    <a:gd name="T34" fmla="*/ 0 w 252"/>
                    <a:gd name="T35" fmla="*/ 341 h 354"/>
                    <a:gd name="T36" fmla="*/ 49 w 252"/>
                    <a:gd name="T37" fmla="*/ 320 h 354"/>
                    <a:gd name="T38" fmla="*/ 79 w 252"/>
                    <a:gd name="T39" fmla="*/ 294 h 354"/>
                    <a:gd name="T40" fmla="*/ 107 w 252"/>
                    <a:gd name="T41" fmla="*/ 259 h 354"/>
                    <a:gd name="T42" fmla="*/ 116 w 252"/>
                    <a:gd name="T43" fmla="*/ 240 h 354"/>
                    <a:gd name="T44" fmla="*/ 122 w 252"/>
                    <a:gd name="T45" fmla="*/ 231 h 354"/>
                    <a:gd name="T46" fmla="*/ 129 w 252"/>
                    <a:gd name="T47" fmla="*/ 224 h 354"/>
                    <a:gd name="T48" fmla="*/ 132 w 252"/>
                    <a:gd name="T49" fmla="*/ 190 h 354"/>
                    <a:gd name="T50" fmla="*/ 127 w 252"/>
                    <a:gd name="T51" fmla="*/ 166 h 354"/>
                    <a:gd name="T52" fmla="*/ 139 w 252"/>
                    <a:gd name="T53" fmla="*/ 142 h 354"/>
                    <a:gd name="T54" fmla="*/ 145 w 252"/>
                    <a:gd name="T55" fmla="*/ 131 h 354"/>
                    <a:gd name="T56" fmla="*/ 139 w 252"/>
                    <a:gd name="T57" fmla="*/ 100 h 354"/>
                    <a:gd name="T58" fmla="*/ 140 w 252"/>
                    <a:gd name="T59" fmla="*/ 80 h 354"/>
                    <a:gd name="T60" fmla="*/ 142 w 252"/>
                    <a:gd name="T61" fmla="*/ 65 h 354"/>
                    <a:gd name="T62" fmla="*/ 142 w 252"/>
                    <a:gd name="T63" fmla="*/ 46 h 354"/>
                    <a:gd name="T64" fmla="*/ 125 w 252"/>
                    <a:gd name="T65" fmla="*/ 36 h 354"/>
                    <a:gd name="T66" fmla="*/ 111 w 252"/>
                    <a:gd name="T67" fmla="*/ 0 h 354"/>
                    <a:gd name="T68" fmla="*/ 137 w 252"/>
                    <a:gd name="T69" fmla="*/ 5 h 354"/>
                    <a:gd name="T70" fmla="*/ 150 w 252"/>
                    <a:gd name="T71" fmla="*/ 11 h 354"/>
                    <a:gd name="T72" fmla="*/ 160 w 252"/>
                    <a:gd name="T73" fmla="*/ 29 h 354"/>
                    <a:gd name="T74" fmla="*/ 181 w 252"/>
                    <a:gd name="T75" fmla="*/ 43 h 354"/>
                    <a:gd name="T76" fmla="*/ 191 w 252"/>
                    <a:gd name="T77" fmla="*/ 40 h 354"/>
                    <a:gd name="T78" fmla="*/ 189 w 252"/>
                    <a:gd name="T79" fmla="*/ 31 h 354"/>
                    <a:gd name="T80" fmla="*/ 192 w 252"/>
                    <a:gd name="T81" fmla="*/ 25 h 354"/>
                    <a:gd name="T82" fmla="*/ 200 w 252"/>
                    <a:gd name="T83" fmla="*/ 25 h 354"/>
                    <a:gd name="T84" fmla="*/ 210 w 252"/>
                    <a:gd name="T85" fmla="*/ 41 h 354"/>
                    <a:gd name="T86" fmla="*/ 220 w 252"/>
                    <a:gd name="T87" fmla="*/ 43 h 354"/>
                    <a:gd name="T88" fmla="*/ 240 w 252"/>
                    <a:gd name="T89" fmla="*/ 75 h 354"/>
                    <a:gd name="T90" fmla="*/ 250 w 252"/>
                    <a:gd name="T91" fmla="*/ 91 h 354"/>
                    <a:gd name="T92" fmla="*/ 249 w 252"/>
                    <a:gd name="T93" fmla="*/ 11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2" h="354">
                      <a:moveTo>
                        <a:pt x="69" y="275"/>
                      </a:moveTo>
                      <a:lnTo>
                        <a:pt x="55" y="284"/>
                      </a:lnTo>
                      <a:lnTo>
                        <a:pt x="50" y="281"/>
                      </a:lnTo>
                      <a:lnTo>
                        <a:pt x="47" y="278"/>
                      </a:lnTo>
                      <a:lnTo>
                        <a:pt x="62" y="265"/>
                      </a:lnTo>
                      <a:lnTo>
                        <a:pt x="69" y="275"/>
                      </a:lnTo>
                      <a:close/>
                      <a:moveTo>
                        <a:pt x="249" y="116"/>
                      </a:moveTo>
                      <a:lnTo>
                        <a:pt x="240" y="143"/>
                      </a:lnTo>
                      <a:lnTo>
                        <a:pt x="236" y="150"/>
                      </a:lnTo>
                      <a:lnTo>
                        <a:pt x="234" y="158"/>
                      </a:lnTo>
                      <a:lnTo>
                        <a:pt x="225" y="194"/>
                      </a:lnTo>
                      <a:lnTo>
                        <a:pt x="215" y="218"/>
                      </a:lnTo>
                      <a:lnTo>
                        <a:pt x="215" y="223"/>
                      </a:lnTo>
                      <a:lnTo>
                        <a:pt x="217" y="225"/>
                      </a:lnTo>
                      <a:lnTo>
                        <a:pt x="222" y="230"/>
                      </a:lnTo>
                      <a:lnTo>
                        <a:pt x="226" y="235"/>
                      </a:lnTo>
                      <a:lnTo>
                        <a:pt x="232" y="246"/>
                      </a:lnTo>
                      <a:lnTo>
                        <a:pt x="236" y="261"/>
                      </a:lnTo>
                      <a:lnTo>
                        <a:pt x="237" y="269"/>
                      </a:lnTo>
                      <a:lnTo>
                        <a:pt x="236" y="276"/>
                      </a:lnTo>
                      <a:lnTo>
                        <a:pt x="234" y="289"/>
                      </a:lnTo>
                      <a:lnTo>
                        <a:pt x="235" y="297"/>
                      </a:lnTo>
                      <a:lnTo>
                        <a:pt x="230" y="304"/>
                      </a:lnTo>
                      <a:lnTo>
                        <a:pt x="225" y="306"/>
                      </a:lnTo>
                      <a:lnTo>
                        <a:pt x="206" y="308"/>
                      </a:lnTo>
                      <a:lnTo>
                        <a:pt x="176" y="324"/>
                      </a:lnTo>
                      <a:lnTo>
                        <a:pt x="170" y="326"/>
                      </a:lnTo>
                      <a:lnTo>
                        <a:pt x="164" y="325"/>
                      </a:lnTo>
                      <a:lnTo>
                        <a:pt x="157" y="324"/>
                      </a:lnTo>
                      <a:lnTo>
                        <a:pt x="149" y="324"/>
                      </a:lnTo>
                      <a:lnTo>
                        <a:pt x="99" y="339"/>
                      </a:lnTo>
                      <a:lnTo>
                        <a:pt x="91" y="342"/>
                      </a:lnTo>
                      <a:lnTo>
                        <a:pt x="41" y="354"/>
                      </a:lnTo>
                      <a:lnTo>
                        <a:pt x="14" y="352"/>
                      </a:lnTo>
                      <a:lnTo>
                        <a:pt x="5" y="350"/>
                      </a:lnTo>
                      <a:lnTo>
                        <a:pt x="0" y="341"/>
                      </a:lnTo>
                      <a:lnTo>
                        <a:pt x="7" y="332"/>
                      </a:lnTo>
                      <a:lnTo>
                        <a:pt x="49" y="320"/>
                      </a:lnTo>
                      <a:lnTo>
                        <a:pt x="69" y="304"/>
                      </a:lnTo>
                      <a:lnTo>
                        <a:pt x="79" y="294"/>
                      </a:lnTo>
                      <a:lnTo>
                        <a:pt x="94" y="277"/>
                      </a:lnTo>
                      <a:lnTo>
                        <a:pt x="107" y="259"/>
                      </a:lnTo>
                      <a:lnTo>
                        <a:pt x="115" y="251"/>
                      </a:lnTo>
                      <a:lnTo>
                        <a:pt x="116" y="240"/>
                      </a:lnTo>
                      <a:lnTo>
                        <a:pt x="115" y="234"/>
                      </a:lnTo>
                      <a:lnTo>
                        <a:pt x="122" y="231"/>
                      </a:lnTo>
                      <a:lnTo>
                        <a:pt x="126" y="227"/>
                      </a:lnTo>
                      <a:lnTo>
                        <a:pt x="129" y="224"/>
                      </a:lnTo>
                      <a:lnTo>
                        <a:pt x="131" y="215"/>
                      </a:lnTo>
                      <a:lnTo>
                        <a:pt x="132" y="190"/>
                      </a:lnTo>
                      <a:lnTo>
                        <a:pt x="129" y="177"/>
                      </a:lnTo>
                      <a:lnTo>
                        <a:pt x="127" y="166"/>
                      </a:lnTo>
                      <a:lnTo>
                        <a:pt x="131" y="150"/>
                      </a:lnTo>
                      <a:lnTo>
                        <a:pt x="139" y="142"/>
                      </a:lnTo>
                      <a:lnTo>
                        <a:pt x="144" y="136"/>
                      </a:lnTo>
                      <a:lnTo>
                        <a:pt x="145" y="131"/>
                      </a:lnTo>
                      <a:lnTo>
                        <a:pt x="144" y="116"/>
                      </a:lnTo>
                      <a:lnTo>
                        <a:pt x="139" y="100"/>
                      </a:lnTo>
                      <a:lnTo>
                        <a:pt x="139" y="89"/>
                      </a:lnTo>
                      <a:lnTo>
                        <a:pt x="140" y="80"/>
                      </a:lnTo>
                      <a:lnTo>
                        <a:pt x="141" y="72"/>
                      </a:lnTo>
                      <a:lnTo>
                        <a:pt x="142" y="65"/>
                      </a:lnTo>
                      <a:lnTo>
                        <a:pt x="141" y="52"/>
                      </a:lnTo>
                      <a:lnTo>
                        <a:pt x="142" y="46"/>
                      </a:lnTo>
                      <a:lnTo>
                        <a:pt x="139" y="42"/>
                      </a:lnTo>
                      <a:lnTo>
                        <a:pt x="125" y="36"/>
                      </a:lnTo>
                      <a:lnTo>
                        <a:pt x="112" y="21"/>
                      </a:lnTo>
                      <a:lnTo>
                        <a:pt x="111" y="0"/>
                      </a:lnTo>
                      <a:lnTo>
                        <a:pt x="124" y="4"/>
                      </a:lnTo>
                      <a:lnTo>
                        <a:pt x="137" y="5"/>
                      </a:lnTo>
                      <a:lnTo>
                        <a:pt x="144" y="6"/>
                      </a:lnTo>
                      <a:lnTo>
                        <a:pt x="150" y="11"/>
                      </a:lnTo>
                      <a:lnTo>
                        <a:pt x="155" y="21"/>
                      </a:lnTo>
                      <a:lnTo>
                        <a:pt x="160" y="29"/>
                      </a:lnTo>
                      <a:lnTo>
                        <a:pt x="167" y="35"/>
                      </a:lnTo>
                      <a:lnTo>
                        <a:pt x="181" y="43"/>
                      </a:lnTo>
                      <a:lnTo>
                        <a:pt x="189" y="43"/>
                      </a:lnTo>
                      <a:lnTo>
                        <a:pt x="191" y="40"/>
                      </a:lnTo>
                      <a:lnTo>
                        <a:pt x="191" y="35"/>
                      </a:lnTo>
                      <a:lnTo>
                        <a:pt x="189" y="31"/>
                      </a:lnTo>
                      <a:lnTo>
                        <a:pt x="190" y="28"/>
                      </a:lnTo>
                      <a:lnTo>
                        <a:pt x="192" y="25"/>
                      </a:lnTo>
                      <a:lnTo>
                        <a:pt x="196" y="23"/>
                      </a:lnTo>
                      <a:lnTo>
                        <a:pt x="200" y="25"/>
                      </a:lnTo>
                      <a:lnTo>
                        <a:pt x="205" y="38"/>
                      </a:lnTo>
                      <a:lnTo>
                        <a:pt x="210" y="41"/>
                      </a:lnTo>
                      <a:lnTo>
                        <a:pt x="215" y="41"/>
                      </a:lnTo>
                      <a:lnTo>
                        <a:pt x="220" y="43"/>
                      </a:lnTo>
                      <a:lnTo>
                        <a:pt x="225" y="48"/>
                      </a:lnTo>
                      <a:lnTo>
                        <a:pt x="240" y="75"/>
                      </a:lnTo>
                      <a:lnTo>
                        <a:pt x="247" y="85"/>
                      </a:lnTo>
                      <a:lnTo>
                        <a:pt x="250" y="91"/>
                      </a:lnTo>
                      <a:lnTo>
                        <a:pt x="252" y="104"/>
                      </a:lnTo>
                      <a:lnTo>
                        <a:pt x="249" y="116"/>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0" name="Shiga" descr="{&quot;Key&quot;:&quot;shiga&quot;,&quot;Name&quot;:&quot;Shiga&quot;,&quot;Value&quot;:1.0,&quot;Formula&quot;:&quot;&quot;,&quot;Text&quot;:&quot;&quot;,&quot;OfficeApplication&quot;:1,&quot;HasValue&quot;:true}">
                  <a:extLst>
                    <a:ext uri="{FF2B5EF4-FFF2-40B4-BE49-F238E27FC236}">
                      <a16:creationId xmlns:a16="http://schemas.microsoft.com/office/drawing/2014/main" id="{3AE1C067-4DFE-4975-BFC6-3F927BAB4E7F}"/>
                    </a:ext>
                  </a:extLst>
                </p:cNvPr>
                <p:cNvSpPr>
                  <a:spLocks/>
                </p:cNvSpPr>
                <p:nvPr/>
              </p:nvSpPr>
              <p:spPr bwMode="auto">
                <a:xfrm>
                  <a:off x="5910263" y="3681413"/>
                  <a:ext cx="165100" cy="258762"/>
                </a:xfrm>
                <a:custGeom>
                  <a:avLst/>
                  <a:gdLst>
                    <a:gd name="T0" fmla="*/ 221 w 282"/>
                    <a:gd name="T1" fmla="*/ 37 h 444"/>
                    <a:gd name="T2" fmla="*/ 223 w 282"/>
                    <a:gd name="T3" fmla="*/ 55 h 444"/>
                    <a:gd name="T4" fmla="*/ 234 w 282"/>
                    <a:gd name="T5" fmla="*/ 70 h 444"/>
                    <a:gd name="T6" fmla="*/ 243 w 282"/>
                    <a:gd name="T7" fmla="*/ 69 h 444"/>
                    <a:gd name="T8" fmla="*/ 252 w 282"/>
                    <a:gd name="T9" fmla="*/ 77 h 444"/>
                    <a:gd name="T10" fmla="*/ 263 w 282"/>
                    <a:gd name="T11" fmla="*/ 110 h 444"/>
                    <a:gd name="T12" fmla="*/ 266 w 282"/>
                    <a:gd name="T13" fmla="*/ 156 h 444"/>
                    <a:gd name="T14" fmla="*/ 262 w 282"/>
                    <a:gd name="T15" fmla="*/ 177 h 444"/>
                    <a:gd name="T16" fmla="*/ 256 w 282"/>
                    <a:gd name="T17" fmla="*/ 219 h 444"/>
                    <a:gd name="T18" fmla="*/ 267 w 282"/>
                    <a:gd name="T19" fmla="*/ 243 h 444"/>
                    <a:gd name="T20" fmla="*/ 282 w 282"/>
                    <a:gd name="T21" fmla="*/ 263 h 444"/>
                    <a:gd name="T22" fmla="*/ 278 w 282"/>
                    <a:gd name="T23" fmla="*/ 303 h 444"/>
                    <a:gd name="T24" fmla="*/ 269 w 282"/>
                    <a:gd name="T25" fmla="*/ 342 h 444"/>
                    <a:gd name="T26" fmla="*/ 264 w 282"/>
                    <a:gd name="T27" fmla="*/ 358 h 444"/>
                    <a:gd name="T28" fmla="*/ 257 w 282"/>
                    <a:gd name="T29" fmla="*/ 369 h 444"/>
                    <a:gd name="T30" fmla="*/ 249 w 282"/>
                    <a:gd name="T31" fmla="*/ 379 h 444"/>
                    <a:gd name="T32" fmla="*/ 229 w 282"/>
                    <a:gd name="T33" fmla="*/ 392 h 444"/>
                    <a:gd name="T34" fmla="*/ 177 w 282"/>
                    <a:gd name="T35" fmla="*/ 400 h 444"/>
                    <a:gd name="T36" fmla="*/ 149 w 282"/>
                    <a:gd name="T37" fmla="*/ 395 h 444"/>
                    <a:gd name="T38" fmla="*/ 144 w 282"/>
                    <a:gd name="T39" fmla="*/ 404 h 444"/>
                    <a:gd name="T40" fmla="*/ 144 w 282"/>
                    <a:gd name="T41" fmla="*/ 422 h 444"/>
                    <a:gd name="T42" fmla="*/ 105 w 282"/>
                    <a:gd name="T43" fmla="*/ 444 h 444"/>
                    <a:gd name="T44" fmla="*/ 103 w 282"/>
                    <a:gd name="T45" fmla="*/ 429 h 444"/>
                    <a:gd name="T46" fmla="*/ 94 w 282"/>
                    <a:gd name="T47" fmla="*/ 419 h 444"/>
                    <a:gd name="T48" fmla="*/ 80 w 282"/>
                    <a:gd name="T49" fmla="*/ 412 h 444"/>
                    <a:gd name="T50" fmla="*/ 70 w 282"/>
                    <a:gd name="T51" fmla="*/ 398 h 444"/>
                    <a:gd name="T52" fmla="*/ 58 w 282"/>
                    <a:gd name="T53" fmla="*/ 399 h 444"/>
                    <a:gd name="T54" fmla="*/ 49 w 282"/>
                    <a:gd name="T55" fmla="*/ 394 h 444"/>
                    <a:gd name="T56" fmla="*/ 45 w 282"/>
                    <a:gd name="T57" fmla="*/ 387 h 444"/>
                    <a:gd name="T58" fmla="*/ 45 w 282"/>
                    <a:gd name="T59" fmla="*/ 373 h 444"/>
                    <a:gd name="T60" fmla="*/ 39 w 282"/>
                    <a:gd name="T61" fmla="*/ 352 h 444"/>
                    <a:gd name="T62" fmla="*/ 29 w 282"/>
                    <a:gd name="T63" fmla="*/ 332 h 444"/>
                    <a:gd name="T64" fmla="*/ 38 w 282"/>
                    <a:gd name="T65" fmla="*/ 273 h 444"/>
                    <a:gd name="T66" fmla="*/ 37 w 282"/>
                    <a:gd name="T67" fmla="*/ 258 h 444"/>
                    <a:gd name="T68" fmla="*/ 30 w 282"/>
                    <a:gd name="T69" fmla="*/ 228 h 444"/>
                    <a:gd name="T70" fmla="*/ 34 w 282"/>
                    <a:gd name="T71" fmla="*/ 203 h 444"/>
                    <a:gd name="T72" fmla="*/ 0 w 282"/>
                    <a:gd name="T73" fmla="*/ 166 h 444"/>
                    <a:gd name="T74" fmla="*/ 30 w 282"/>
                    <a:gd name="T75" fmla="*/ 144 h 444"/>
                    <a:gd name="T76" fmla="*/ 45 w 282"/>
                    <a:gd name="T77" fmla="*/ 145 h 444"/>
                    <a:gd name="T78" fmla="*/ 54 w 282"/>
                    <a:gd name="T79" fmla="*/ 145 h 444"/>
                    <a:gd name="T80" fmla="*/ 62 w 282"/>
                    <a:gd name="T81" fmla="*/ 135 h 444"/>
                    <a:gd name="T82" fmla="*/ 72 w 282"/>
                    <a:gd name="T83" fmla="*/ 91 h 444"/>
                    <a:gd name="T84" fmla="*/ 75 w 282"/>
                    <a:gd name="T85" fmla="*/ 85 h 444"/>
                    <a:gd name="T86" fmla="*/ 82 w 282"/>
                    <a:gd name="T87" fmla="*/ 88 h 444"/>
                    <a:gd name="T88" fmla="*/ 90 w 282"/>
                    <a:gd name="T89" fmla="*/ 95 h 444"/>
                    <a:gd name="T90" fmla="*/ 100 w 282"/>
                    <a:gd name="T91" fmla="*/ 94 h 444"/>
                    <a:gd name="T92" fmla="*/ 122 w 282"/>
                    <a:gd name="T93" fmla="*/ 80 h 444"/>
                    <a:gd name="T94" fmla="*/ 132 w 282"/>
                    <a:gd name="T95" fmla="*/ 79 h 444"/>
                    <a:gd name="T96" fmla="*/ 139 w 282"/>
                    <a:gd name="T97" fmla="*/ 75 h 444"/>
                    <a:gd name="T98" fmla="*/ 139 w 282"/>
                    <a:gd name="T99" fmla="*/ 65 h 444"/>
                    <a:gd name="T100" fmla="*/ 142 w 282"/>
                    <a:gd name="T101" fmla="*/ 58 h 444"/>
                    <a:gd name="T102" fmla="*/ 153 w 282"/>
                    <a:gd name="T103" fmla="*/ 59 h 444"/>
                    <a:gd name="T104" fmla="*/ 162 w 282"/>
                    <a:gd name="T105" fmla="*/ 51 h 444"/>
                    <a:gd name="T106" fmla="*/ 162 w 282"/>
                    <a:gd name="T107" fmla="*/ 40 h 444"/>
                    <a:gd name="T108" fmla="*/ 157 w 282"/>
                    <a:gd name="T109" fmla="*/ 20 h 444"/>
                    <a:gd name="T110" fmla="*/ 153 w 282"/>
                    <a:gd name="T111" fmla="*/ 10 h 444"/>
                    <a:gd name="T112" fmla="*/ 163 w 282"/>
                    <a:gd name="T113" fmla="*/ 2 h 444"/>
                    <a:gd name="T114" fmla="*/ 207 w 282"/>
                    <a:gd name="T115" fmla="*/ 1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2" h="444">
                      <a:moveTo>
                        <a:pt x="207" y="14"/>
                      </a:moveTo>
                      <a:lnTo>
                        <a:pt x="221" y="37"/>
                      </a:lnTo>
                      <a:lnTo>
                        <a:pt x="222" y="47"/>
                      </a:lnTo>
                      <a:lnTo>
                        <a:pt x="223" y="55"/>
                      </a:lnTo>
                      <a:lnTo>
                        <a:pt x="229" y="67"/>
                      </a:lnTo>
                      <a:lnTo>
                        <a:pt x="234" y="70"/>
                      </a:lnTo>
                      <a:lnTo>
                        <a:pt x="239" y="70"/>
                      </a:lnTo>
                      <a:lnTo>
                        <a:pt x="243" y="69"/>
                      </a:lnTo>
                      <a:lnTo>
                        <a:pt x="248" y="70"/>
                      </a:lnTo>
                      <a:lnTo>
                        <a:pt x="252" y="77"/>
                      </a:lnTo>
                      <a:lnTo>
                        <a:pt x="257" y="87"/>
                      </a:lnTo>
                      <a:lnTo>
                        <a:pt x="263" y="110"/>
                      </a:lnTo>
                      <a:lnTo>
                        <a:pt x="268" y="139"/>
                      </a:lnTo>
                      <a:lnTo>
                        <a:pt x="266" y="156"/>
                      </a:lnTo>
                      <a:lnTo>
                        <a:pt x="264" y="164"/>
                      </a:lnTo>
                      <a:lnTo>
                        <a:pt x="262" y="177"/>
                      </a:lnTo>
                      <a:lnTo>
                        <a:pt x="254" y="202"/>
                      </a:lnTo>
                      <a:lnTo>
                        <a:pt x="256" y="219"/>
                      </a:lnTo>
                      <a:lnTo>
                        <a:pt x="264" y="233"/>
                      </a:lnTo>
                      <a:lnTo>
                        <a:pt x="267" y="243"/>
                      </a:lnTo>
                      <a:lnTo>
                        <a:pt x="279" y="259"/>
                      </a:lnTo>
                      <a:lnTo>
                        <a:pt x="282" y="263"/>
                      </a:lnTo>
                      <a:lnTo>
                        <a:pt x="282" y="268"/>
                      </a:lnTo>
                      <a:lnTo>
                        <a:pt x="278" y="303"/>
                      </a:lnTo>
                      <a:lnTo>
                        <a:pt x="272" y="322"/>
                      </a:lnTo>
                      <a:lnTo>
                        <a:pt x="269" y="342"/>
                      </a:lnTo>
                      <a:lnTo>
                        <a:pt x="268" y="349"/>
                      </a:lnTo>
                      <a:lnTo>
                        <a:pt x="264" y="358"/>
                      </a:lnTo>
                      <a:lnTo>
                        <a:pt x="262" y="363"/>
                      </a:lnTo>
                      <a:lnTo>
                        <a:pt x="257" y="369"/>
                      </a:lnTo>
                      <a:lnTo>
                        <a:pt x="253" y="374"/>
                      </a:lnTo>
                      <a:lnTo>
                        <a:pt x="249" y="379"/>
                      </a:lnTo>
                      <a:lnTo>
                        <a:pt x="242" y="385"/>
                      </a:lnTo>
                      <a:lnTo>
                        <a:pt x="229" y="392"/>
                      </a:lnTo>
                      <a:lnTo>
                        <a:pt x="200" y="400"/>
                      </a:lnTo>
                      <a:lnTo>
                        <a:pt x="177" y="400"/>
                      </a:lnTo>
                      <a:lnTo>
                        <a:pt x="154" y="395"/>
                      </a:lnTo>
                      <a:lnTo>
                        <a:pt x="149" y="395"/>
                      </a:lnTo>
                      <a:lnTo>
                        <a:pt x="144" y="399"/>
                      </a:lnTo>
                      <a:lnTo>
                        <a:pt x="144" y="404"/>
                      </a:lnTo>
                      <a:lnTo>
                        <a:pt x="149" y="414"/>
                      </a:lnTo>
                      <a:lnTo>
                        <a:pt x="144" y="422"/>
                      </a:lnTo>
                      <a:lnTo>
                        <a:pt x="137" y="430"/>
                      </a:lnTo>
                      <a:lnTo>
                        <a:pt x="105" y="444"/>
                      </a:lnTo>
                      <a:lnTo>
                        <a:pt x="104" y="434"/>
                      </a:lnTo>
                      <a:lnTo>
                        <a:pt x="103" y="429"/>
                      </a:lnTo>
                      <a:lnTo>
                        <a:pt x="99" y="424"/>
                      </a:lnTo>
                      <a:lnTo>
                        <a:pt x="94" y="419"/>
                      </a:lnTo>
                      <a:lnTo>
                        <a:pt x="84" y="414"/>
                      </a:lnTo>
                      <a:lnTo>
                        <a:pt x="80" y="412"/>
                      </a:lnTo>
                      <a:lnTo>
                        <a:pt x="75" y="402"/>
                      </a:lnTo>
                      <a:lnTo>
                        <a:pt x="70" y="398"/>
                      </a:lnTo>
                      <a:lnTo>
                        <a:pt x="64" y="399"/>
                      </a:lnTo>
                      <a:lnTo>
                        <a:pt x="58" y="399"/>
                      </a:lnTo>
                      <a:lnTo>
                        <a:pt x="53" y="398"/>
                      </a:lnTo>
                      <a:lnTo>
                        <a:pt x="49" y="394"/>
                      </a:lnTo>
                      <a:lnTo>
                        <a:pt x="47" y="392"/>
                      </a:lnTo>
                      <a:lnTo>
                        <a:pt x="45" y="387"/>
                      </a:lnTo>
                      <a:lnTo>
                        <a:pt x="45" y="379"/>
                      </a:lnTo>
                      <a:lnTo>
                        <a:pt x="45" y="373"/>
                      </a:lnTo>
                      <a:lnTo>
                        <a:pt x="45" y="365"/>
                      </a:lnTo>
                      <a:lnTo>
                        <a:pt x="39" y="352"/>
                      </a:lnTo>
                      <a:lnTo>
                        <a:pt x="33" y="342"/>
                      </a:lnTo>
                      <a:lnTo>
                        <a:pt x="29" y="332"/>
                      </a:lnTo>
                      <a:lnTo>
                        <a:pt x="29" y="330"/>
                      </a:lnTo>
                      <a:lnTo>
                        <a:pt x="38" y="273"/>
                      </a:lnTo>
                      <a:lnTo>
                        <a:pt x="38" y="265"/>
                      </a:lnTo>
                      <a:lnTo>
                        <a:pt x="37" y="258"/>
                      </a:lnTo>
                      <a:lnTo>
                        <a:pt x="32" y="235"/>
                      </a:lnTo>
                      <a:lnTo>
                        <a:pt x="30" y="228"/>
                      </a:lnTo>
                      <a:lnTo>
                        <a:pt x="35" y="210"/>
                      </a:lnTo>
                      <a:lnTo>
                        <a:pt x="34" y="203"/>
                      </a:lnTo>
                      <a:lnTo>
                        <a:pt x="12" y="176"/>
                      </a:lnTo>
                      <a:lnTo>
                        <a:pt x="0" y="166"/>
                      </a:lnTo>
                      <a:lnTo>
                        <a:pt x="23" y="148"/>
                      </a:lnTo>
                      <a:lnTo>
                        <a:pt x="30" y="144"/>
                      </a:lnTo>
                      <a:lnTo>
                        <a:pt x="40" y="143"/>
                      </a:lnTo>
                      <a:lnTo>
                        <a:pt x="45" y="145"/>
                      </a:lnTo>
                      <a:lnTo>
                        <a:pt x="50" y="145"/>
                      </a:lnTo>
                      <a:lnTo>
                        <a:pt x="54" y="145"/>
                      </a:lnTo>
                      <a:lnTo>
                        <a:pt x="58" y="140"/>
                      </a:lnTo>
                      <a:lnTo>
                        <a:pt x="62" y="135"/>
                      </a:lnTo>
                      <a:lnTo>
                        <a:pt x="64" y="129"/>
                      </a:lnTo>
                      <a:lnTo>
                        <a:pt x="72" y="91"/>
                      </a:lnTo>
                      <a:lnTo>
                        <a:pt x="74" y="88"/>
                      </a:lnTo>
                      <a:lnTo>
                        <a:pt x="75" y="85"/>
                      </a:lnTo>
                      <a:lnTo>
                        <a:pt x="79" y="86"/>
                      </a:lnTo>
                      <a:lnTo>
                        <a:pt x="82" y="88"/>
                      </a:lnTo>
                      <a:lnTo>
                        <a:pt x="85" y="93"/>
                      </a:lnTo>
                      <a:lnTo>
                        <a:pt x="90" y="95"/>
                      </a:lnTo>
                      <a:lnTo>
                        <a:pt x="95" y="96"/>
                      </a:lnTo>
                      <a:lnTo>
                        <a:pt x="100" y="94"/>
                      </a:lnTo>
                      <a:lnTo>
                        <a:pt x="110" y="85"/>
                      </a:lnTo>
                      <a:lnTo>
                        <a:pt x="122" y="80"/>
                      </a:lnTo>
                      <a:lnTo>
                        <a:pt x="127" y="79"/>
                      </a:lnTo>
                      <a:lnTo>
                        <a:pt x="132" y="79"/>
                      </a:lnTo>
                      <a:lnTo>
                        <a:pt x="137" y="79"/>
                      </a:lnTo>
                      <a:lnTo>
                        <a:pt x="139" y="75"/>
                      </a:lnTo>
                      <a:lnTo>
                        <a:pt x="139" y="70"/>
                      </a:lnTo>
                      <a:lnTo>
                        <a:pt x="139" y="65"/>
                      </a:lnTo>
                      <a:lnTo>
                        <a:pt x="140" y="61"/>
                      </a:lnTo>
                      <a:lnTo>
                        <a:pt x="142" y="58"/>
                      </a:lnTo>
                      <a:lnTo>
                        <a:pt x="148" y="58"/>
                      </a:lnTo>
                      <a:lnTo>
                        <a:pt x="153" y="59"/>
                      </a:lnTo>
                      <a:lnTo>
                        <a:pt x="158" y="58"/>
                      </a:lnTo>
                      <a:lnTo>
                        <a:pt x="162" y="51"/>
                      </a:lnTo>
                      <a:lnTo>
                        <a:pt x="163" y="46"/>
                      </a:lnTo>
                      <a:lnTo>
                        <a:pt x="162" y="40"/>
                      </a:lnTo>
                      <a:lnTo>
                        <a:pt x="158" y="31"/>
                      </a:lnTo>
                      <a:lnTo>
                        <a:pt x="157" y="20"/>
                      </a:lnTo>
                      <a:lnTo>
                        <a:pt x="154" y="13"/>
                      </a:lnTo>
                      <a:lnTo>
                        <a:pt x="153" y="10"/>
                      </a:lnTo>
                      <a:lnTo>
                        <a:pt x="155" y="5"/>
                      </a:lnTo>
                      <a:lnTo>
                        <a:pt x="163" y="2"/>
                      </a:lnTo>
                      <a:lnTo>
                        <a:pt x="170" y="0"/>
                      </a:lnTo>
                      <a:lnTo>
                        <a:pt x="207" y="14"/>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1" name="Wakayama" descr="{&quot;Key&quot;:&quot;wakayama&quot;,&quot;Name&quot;:&quot;Wakayama&quot;,&quot;Value&quot;:1.0,&quot;Formula&quot;:&quot;&quot;,&quot;Text&quot;:&quot;&quot;,&quot;OfficeApplication&quot;:1,&quot;HasValue&quot;:true}">
                  <a:extLst>
                    <a:ext uri="{FF2B5EF4-FFF2-40B4-BE49-F238E27FC236}">
                      <a16:creationId xmlns:a16="http://schemas.microsoft.com/office/drawing/2014/main" id="{E723280B-6901-42CC-B279-5C403749C6F9}"/>
                    </a:ext>
                  </a:extLst>
                </p:cNvPr>
                <p:cNvSpPr>
                  <a:spLocks noEditPoints="1"/>
                </p:cNvSpPr>
                <p:nvPr/>
              </p:nvSpPr>
              <p:spPr bwMode="auto">
                <a:xfrm>
                  <a:off x="5749925" y="4054475"/>
                  <a:ext cx="219075" cy="265112"/>
                </a:xfrm>
                <a:custGeom>
                  <a:avLst/>
                  <a:gdLst>
                    <a:gd name="T0" fmla="*/ 311 w 377"/>
                    <a:gd name="T1" fmla="*/ 445 h 454"/>
                    <a:gd name="T2" fmla="*/ 302 w 377"/>
                    <a:gd name="T3" fmla="*/ 440 h 454"/>
                    <a:gd name="T4" fmla="*/ 303 w 377"/>
                    <a:gd name="T5" fmla="*/ 433 h 454"/>
                    <a:gd name="T6" fmla="*/ 321 w 377"/>
                    <a:gd name="T7" fmla="*/ 438 h 454"/>
                    <a:gd name="T8" fmla="*/ 243 w 377"/>
                    <a:gd name="T9" fmla="*/ 41 h 454"/>
                    <a:gd name="T10" fmla="*/ 262 w 377"/>
                    <a:gd name="T11" fmla="*/ 71 h 454"/>
                    <a:gd name="T12" fmla="*/ 243 w 377"/>
                    <a:gd name="T13" fmla="*/ 81 h 454"/>
                    <a:gd name="T14" fmla="*/ 232 w 377"/>
                    <a:gd name="T15" fmla="*/ 90 h 454"/>
                    <a:gd name="T16" fmla="*/ 208 w 377"/>
                    <a:gd name="T17" fmla="*/ 127 h 454"/>
                    <a:gd name="T18" fmla="*/ 197 w 377"/>
                    <a:gd name="T19" fmla="*/ 155 h 454"/>
                    <a:gd name="T20" fmla="*/ 207 w 377"/>
                    <a:gd name="T21" fmla="*/ 167 h 454"/>
                    <a:gd name="T22" fmla="*/ 221 w 377"/>
                    <a:gd name="T23" fmla="*/ 192 h 454"/>
                    <a:gd name="T24" fmla="*/ 219 w 377"/>
                    <a:gd name="T25" fmla="*/ 222 h 454"/>
                    <a:gd name="T26" fmla="*/ 222 w 377"/>
                    <a:gd name="T27" fmla="*/ 247 h 454"/>
                    <a:gd name="T28" fmla="*/ 233 w 377"/>
                    <a:gd name="T29" fmla="*/ 249 h 454"/>
                    <a:gd name="T30" fmla="*/ 251 w 377"/>
                    <a:gd name="T31" fmla="*/ 239 h 454"/>
                    <a:gd name="T32" fmla="*/ 277 w 377"/>
                    <a:gd name="T33" fmla="*/ 244 h 454"/>
                    <a:gd name="T34" fmla="*/ 293 w 377"/>
                    <a:gd name="T35" fmla="*/ 239 h 454"/>
                    <a:gd name="T36" fmla="*/ 318 w 377"/>
                    <a:gd name="T37" fmla="*/ 259 h 454"/>
                    <a:gd name="T38" fmla="*/ 324 w 377"/>
                    <a:gd name="T39" fmla="*/ 284 h 454"/>
                    <a:gd name="T40" fmla="*/ 350 w 377"/>
                    <a:gd name="T41" fmla="*/ 314 h 454"/>
                    <a:gd name="T42" fmla="*/ 365 w 377"/>
                    <a:gd name="T43" fmla="*/ 326 h 454"/>
                    <a:gd name="T44" fmla="*/ 370 w 377"/>
                    <a:gd name="T45" fmla="*/ 348 h 454"/>
                    <a:gd name="T46" fmla="*/ 353 w 377"/>
                    <a:gd name="T47" fmla="*/ 365 h 454"/>
                    <a:gd name="T48" fmla="*/ 357 w 377"/>
                    <a:gd name="T49" fmla="*/ 385 h 454"/>
                    <a:gd name="T50" fmla="*/ 333 w 377"/>
                    <a:gd name="T51" fmla="*/ 408 h 454"/>
                    <a:gd name="T52" fmla="*/ 298 w 377"/>
                    <a:gd name="T53" fmla="*/ 424 h 454"/>
                    <a:gd name="T54" fmla="*/ 294 w 377"/>
                    <a:gd name="T55" fmla="*/ 450 h 454"/>
                    <a:gd name="T56" fmla="*/ 280 w 377"/>
                    <a:gd name="T57" fmla="*/ 445 h 454"/>
                    <a:gd name="T58" fmla="*/ 245 w 377"/>
                    <a:gd name="T59" fmla="*/ 427 h 454"/>
                    <a:gd name="T60" fmla="*/ 155 w 377"/>
                    <a:gd name="T61" fmla="*/ 398 h 454"/>
                    <a:gd name="T62" fmla="*/ 133 w 377"/>
                    <a:gd name="T63" fmla="*/ 377 h 454"/>
                    <a:gd name="T64" fmla="*/ 130 w 377"/>
                    <a:gd name="T65" fmla="*/ 357 h 454"/>
                    <a:gd name="T66" fmla="*/ 120 w 377"/>
                    <a:gd name="T67" fmla="*/ 348 h 454"/>
                    <a:gd name="T68" fmla="*/ 114 w 377"/>
                    <a:gd name="T69" fmla="*/ 329 h 454"/>
                    <a:gd name="T70" fmla="*/ 114 w 377"/>
                    <a:gd name="T71" fmla="*/ 304 h 454"/>
                    <a:gd name="T72" fmla="*/ 95 w 377"/>
                    <a:gd name="T73" fmla="*/ 295 h 454"/>
                    <a:gd name="T74" fmla="*/ 69 w 377"/>
                    <a:gd name="T75" fmla="*/ 278 h 454"/>
                    <a:gd name="T76" fmla="*/ 38 w 377"/>
                    <a:gd name="T77" fmla="*/ 240 h 454"/>
                    <a:gd name="T78" fmla="*/ 3 w 377"/>
                    <a:gd name="T79" fmla="*/ 237 h 454"/>
                    <a:gd name="T80" fmla="*/ 0 w 377"/>
                    <a:gd name="T81" fmla="*/ 228 h 454"/>
                    <a:gd name="T82" fmla="*/ 8 w 377"/>
                    <a:gd name="T83" fmla="*/ 220 h 454"/>
                    <a:gd name="T84" fmla="*/ 15 w 377"/>
                    <a:gd name="T85" fmla="*/ 200 h 454"/>
                    <a:gd name="T86" fmla="*/ 14 w 377"/>
                    <a:gd name="T87" fmla="*/ 184 h 454"/>
                    <a:gd name="T88" fmla="*/ 38 w 377"/>
                    <a:gd name="T89" fmla="*/ 175 h 454"/>
                    <a:gd name="T90" fmla="*/ 38 w 377"/>
                    <a:gd name="T91" fmla="*/ 157 h 454"/>
                    <a:gd name="T92" fmla="*/ 15 w 377"/>
                    <a:gd name="T93" fmla="*/ 148 h 454"/>
                    <a:gd name="T94" fmla="*/ 29 w 377"/>
                    <a:gd name="T95" fmla="*/ 125 h 454"/>
                    <a:gd name="T96" fmla="*/ 37 w 377"/>
                    <a:gd name="T97" fmla="*/ 114 h 454"/>
                    <a:gd name="T98" fmla="*/ 44 w 377"/>
                    <a:gd name="T99" fmla="*/ 90 h 454"/>
                    <a:gd name="T100" fmla="*/ 25 w 377"/>
                    <a:gd name="T101" fmla="*/ 63 h 454"/>
                    <a:gd name="T102" fmla="*/ 5 w 377"/>
                    <a:gd name="T103" fmla="*/ 41 h 454"/>
                    <a:gd name="T104" fmla="*/ 25 w 377"/>
                    <a:gd name="T105" fmla="*/ 46 h 454"/>
                    <a:gd name="T106" fmla="*/ 110 w 377"/>
                    <a:gd name="T107" fmla="*/ 33 h 454"/>
                    <a:gd name="T108" fmla="*/ 175 w 377"/>
                    <a:gd name="T109" fmla="*/ 19 h 454"/>
                    <a:gd name="T110" fmla="*/ 218 w 377"/>
                    <a:gd name="T111" fmla="*/ 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7" h="454">
                      <a:moveTo>
                        <a:pt x="321" y="438"/>
                      </a:moveTo>
                      <a:lnTo>
                        <a:pt x="319" y="440"/>
                      </a:lnTo>
                      <a:lnTo>
                        <a:pt x="311" y="445"/>
                      </a:lnTo>
                      <a:lnTo>
                        <a:pt x="309" y="445"/>
                      </a:lnTo>
                      <a:lnTo>
                        <a:pt x="305" y="441"/>
                      </a:lnTo>
                      <a:lnTo>
                        <a:pt x="302" y="440"/>
                      </a:lnTo>
                      <a:lnTo>
                        <a:pt x="298" y="439"/>
                      </a:lnTo>
                      <a:lnTo>
                        <a:pt x="299" y="435"/>
                      </a:lnTo>
                      <a:lnTo>
                        <a:pt x="303" y="433"/>
                      </a:lnTo>
                      <a:lnTo>
                        <a:pt x="313" y="434"/>
                      </a:lnTo>
                      <a:lnTo>
                        <a:pt x="321" y="435"/>
                      </a:lnTo>
                      <a:lnTo>
                        <a:pt x="321" y="438"/>
                      </a:lnTo>
                      <a:close/>
                      <a:moveTo>
                        <a:pt x="237" y="0"/>
                      </a:moveTo>
                      <a:lnTo>
                        <a:pt x="242" y="24"/>
                      </a:lnTo>
                      <a:lnTo>
                        <a:pt x="243" y="41"/>
                      </a:lnTo>
                      <a:lnTo>
                        <a:pt x="246" y="48"/>
                      </a:lnTo>
                      <a:lnTo>
                        <a:pt x="256" y="60"/>
                      </a:lnTo>
                      <a:lnTo>
                        <a:pt x="262" y="71"/>
                      </a:lnTo>
                      <a:lnTo>
                        <a:pt x="262" y="76"/>
                      </a:lnTo>
                      <a:lnTo>
                        <a:pt x="259" y="80"/>
                      </a:lnTo>
                      <a:lnTo>
                        <a:pt x="243" y="81"/>
                      </a:lnTo>
                      <a:lnTo>
                        <a:pt x="238" y="83"/>
                      </a:lnTo>
                      <a:lnTo>
                        <a:pt x="234" y="87"/>
                      </a:lnTo>
                      <a:lnTo>
                        <a:pt x="232" y="90"/>
                      </a:lnTo>
                      <a:lnTo>
                        <a:pt x="224" y="104"/>
                      </a:lnTo>
                      <a:lnTo>
                        <a:pt x="213" y="118"/>
                      </a:lnTo>
                      <a:lnTo>
                        <a:pt x="208" y="127"/>
                      </a:lnTo>
                      <a:lnTo>
                        <a:pt x="198" y="140"/>
                      </a:lnTo>
                      <a:lnTo>
                        <a:pt x="196" y="149"/>
                      </a:lnTo>
                      <a:lnTo>
                        <a:pt x="197" y="155"/>
                      </a:lnTo>
                      <a:lnTo>
                        <a:pt x="199" y="160"/>
                      </a:lnTo>
                      <a:lnTo>
                        <a:pt x="204" y="163"/>
                      </a:lnTo>
                      <a:lnTo>
                        <a:pt x="207" y="167"/>
                      </a:lnTo>
                      <a:lnTo>
                        <a:pt x="209" y="173"/>
                      </a:lnTo>
                      <a:lnTo>
                        <a:pt x="212" y="182"/>
                      </a:lnTo>
                      <a:lnTo>
                        <a:pt x="221" y="192"/>
                      </a:lnTo>
                      <a:lnTo>
                        <a:pt x="223" y="203"/>
                      </a:lnTo>
                      <a:lnTo>
                        <a:pt x="222" y="210"/>
                      </a:lnTo>
                      <a:lnTo>
                        <a:pt x="219" y="222"/>
                      </a:lnTo>
                      <a:lnTo>
                        <a:pt x="218" y="234"/>
                      </a:lnTo>
                      <a:lnTo>
                        <a:pt x="219" y="242"/>
                      </a:lnTo>
                      <a:lnTo>
                        <a:pt x="222" y="247"/>
                      </a:lnTo>
                      <a:lnTo>
                        <a:pt x="226" y="250"/>
                      </a:lnTo>
                      <a:lnTo>
                        <a:pt x="229" y="250"/>
                      </a:lnTo>
                      <a:lnTo>
                        <a:pt x="233" y="249"/>
                      </a:lnTo>
                      <a:lnTo>
                        <a:pt x="239" y="243"/>
                      </a:lnTo>
                      <a:lnTo>
                        <a:pt x="246" y="240"/>
                      </a:lnTo>
                      <a:lnTo>
                        <a:pt x="251" y="239"/>
                      </a:lnTo>
                      <a:lnTo>
                        <a:pt x="257" y="239"/>
                      </a:lnTo>
                      <a:lnTo>
                        <a:pt x="273" y="244"/>
                      </a:lnTo>
                      <a:lnTo>
                        <a:pt x="277" y="244"/>
                      </a:lnTo>
                      <a:lnTo>
                        <a:pt x="282" y="243"/>
                      </a:lnTo>
                      <a:lnTo>
                        <a:pt x="287" y="240"/>
                      </a:lnTo>
                      <a:lnTo>
                        <a:pt x="293" y="239"/>
                      </a:lnTo>
                      <a:lnTo>
                        <a:pt x="299" y="240"/>
                      </a:lnTo>
                      <a:lnTo>
                        <a:pt x="305" y="243"/>
                      </a:lnTo>
                      <a:lnTo>
                        <a:pt x="318" y="259"/>
                      </a:lnTo>
                      <a:lnTo>
                        <a:pt x="317" y="269"/>
                      </a:lnTo>
                      <a:lnTo>
                        <a:pt x="319" y="277"/>
                      </a:lnTo>
                      <a:lnTo>
                        <a:pt x="324" y="284"/>
                      </a:lnTo>
                      <a:lnTo>
                        <a:pt x="339" y="303"/>
                      </a:lnTo>
                      <a:lnTo>
                        <a:pt x="347" y="309"/>
                      </a:lnTo>
                      <a:lnTo>
                        <a:pt x="350" y="314"/>
                      </a:lnTo>
                      <a:lnTo>
                        <a:pt x="354" y="319"/>
                      </a:lnTo>
                      <a:lnTo>
                        <a:pt x="359" y="324"/>
                      </a:lnTo>
                      <a:lnTo>
                        <a:pt x="365" y="326"/>
                      </a:lnTo>
                      <a:lnTo>
                        <a:pt x="377" y="333"/>
                      </a:lnTo>
                      <a:lnTo>
                        <a:pt x="375" y="334"/>
                      </a:lnTo>
                      <a:lnTo>
                        <a:pt x="370" y="348"/>
                      </a:lnTo>
                      <a:lnTo>
                        <a:pt x="363" y="354"/>
                      </a:lnTo>
                      <a:lnTo>
                        <a:pt x="362" y="362"/>
                      </a:lnTo>
                      <a:lnTo>
                        <a:pt x="353" y="365"/>
                      </a:lnTo>
                      <a:lnTo>
                        <a:pt x="354" y="372"/>
                      </a:lnTo>
                      <a:lnTo>
                        <a:pt x="363" y="378"/>
                      </a:lnTo>
                      <a:lnTo>
                        <a:pt x="357" y="385"/>
                      </a:lnTo>
                      <a:lnTo>
                        <a:pt x="344" y="399"/>
                      </a:lnTo>
                      <a:lnTo>
                        <a:pt x="337" y="402"/>
                      </a:lnTo>
                      <a:lnTo>
                        <a:pt x="333" y="408"/>
                      </a:lnTo>
                      <a:lnTo>
                        <a:pt x="309" y="415"/>
                      </a:lnTo>
                      <a:lnTo>
                        <a:pt x="302" y="420"/>
                      </a:lnTo>
                      <a:lnTo>
                        <a:pt x="298" y="424"/>
                      </a:lnTo>
                      <a:lnTo>
                        <a:pt x="292" y="435"/>
                      </a:lnTo>
                      <a:lnTo>
                        <a:pt x="294" y="445"/>
                      </a:lnTo>
                      <a:lnTo>
                        <a:pt x="294" y="450"/>
                      </a:lnTo>
                      <a:lnTo>
                        <a:pt x="287" y="449"/>
                      </a:lnTo>
                      <a:lnTo>
                        <a:pt x="283" y="454"/>
                      </a:lnTo>
                      <a:lnTo>
                        <a:pt x="280" y="445"/>
                      </a:lnTo>
                      <a:lnTo>
                        <a:pt x="287" y="438"/>
                      </a:lnTo>
                      <a:lnTo>
                        <a:pt x="284" y="431"/>
                      </a:lnTo>
                      <a:lnTo>
                        <a:pt x="245" y="427"/>
                      </a:lnTo>
                      <a:lnTo>
                        <a:pt x="233" y="425"/>
                      </a:lnTo>
                      <a:lnTo>
                        <a:pt x="174" y="403"/>
                      </a:lnTo>
                      <a:lnTo>
                        <a:pt x="155" y="398"/>
                      </a:lnTo>
                      <a:lnTo>
                        <a:pt x="142" y="387"/>
                      </a:lnTo>
                      <a:lnTo>
                        <a:pt x="137" y="383"/>
                      </a:lnTo>
                      <a:lnTo>
                        <a:pt x="133" y="377"/>
                      </a:lnTo>
                      <a:lnTo>
                        <a:pt x="133" y="370"/>
                      </a:lnTo>
                      <a:lnTo>
                        <a:pt x="134" y="365"/>
                      </a:lnTo>
                      <a:lnTo>
                        <a:pt x="130" y="357"/>
                      </a:lnTo>
                      <a:lnTo>
                        <a:pt x="128" y="353"/>
                      </a:lnTo>
                      <a:lnTo>
                        <a:pt x="125" y="353"/>
                      </a:lnTo>
                      <a:lnTo>
                        <a:pt x="120" y="348"/>
                      </a:lnTo>
                      <a:lnTo>
                        <a:pt x="114" y="347"/>
                      </a:lnTo>
                      <a:lnTo>
                        <a:pt x="109" y="339"/>
                      </a:lnTo>
                      <a:lnTo>
                        <a:pt x="114" y="329"/>
                      </a:lnTo>
                      <a:lnTo>
                        <a:pt x="139" y="325"/>
                      </a:lnTo>
                      <a:lnTo>
                        <a:pt x="134" y="319"/>
                      </a:lnTo>
                      <a:lnTo>
                        <a:pt x="114" y="304"/>
                      </a:lnTo>
                      <a:lnTo>
                        <a:pt x="107" y="300"/>
                      </a:lnTo>
                      <a:lnTo>
                        <a:pt x="103" y="294"/>
                      </a:lnTo>
                      <a:lnTo>
                        <a:pt x="95" y="295"/>
                      </a:lnTo>
                      <a:lnTo>
                        <a:pt x="83" y="287"/>
                      </a:lnTo>
                      <a:lnTo>
                        <a:pt x="70" y="287"/>
                      </a:lnTo>
                      <a:lnTo>
                        <a:pt x="69" y="278"/>
                      </a:lnTo>
                      <a:lnTo>
                        <a:pt x="55" y="270"/>
                      </a:lnTo>
                      <a:lnTo>
                        <a:pt x="47" y="259"/>
                      </a:lnTo>
                      <a:lnTo>
                        <a:pt x="38" y="240"/>
                      </a:lnTo>
                      <a:lnTo>
                        <a:pt x="24" y="233"/>
                      </a:lnTo>
                      <a:lnTo>
                        <a:pt x="17" y="234"/>
                      </a:lnTo>
                      <a:lnTo>
                        <a:pt x="3" y="237"/>
                      </a:lnTo>
                      <a:lnTo>
                        <a:pt x="2" y="234"/>
                      </a:lnTo>
                      <a:lnTo>
                        <a:pt x="4" y="230"/>
                      </a:lnTo>
                      <a:lnTo>
                        <a:pt x="0" y="228"/>
                      </a:lnTo>
                      <a:lnTo>
                        <a:pt x="3" y="227"/>
                      </a:lnTo>
                      <a:lnTo>
                        <a:pt x="9" y="227"/>
                      </a:lnTo>
                      <a:lnTo>
                        <a:pt x="8" y="220"/>
                      </a:lnTo>
                      <a:lnTo>
                        <a:pt x="5" y="214"/>
                      </a:lnTo>
                      <a:lnTo>
                        <a:pt x="18" y="203"/>
                      </a:lnTo>
                      <a:lnTo>
                        <a:pt x="15" y="200"/>
                      </a:lnTo>
                      <a:lnTo>
                        <a:pt x="8" y="200"/>
                      </a:lnTo>
                      <a:lnTo>
                        <a:pt x="8" y="192"/>
                      </a:lnTo>
                      <a:lnTo>
                        <a:pt x="14" y="184"/>
                      </a:lnTo>
                      <a:lnTo>
                        <a:pt x="23" y="184"/>
                      </a:lnTo>
                      <a:lnTo>
                        <a:pt x="28" y="182"/>
                      </a:lnTo>
                      <a:lnTo>
                        <a:pt x="38" y="175"/>
                      </a:lnTo>
                      <a:lnTo>
                        <a:pt x="42" y="168"/>
                      </a:lnTo>
                      <a:lnTo>
                        <a:pt x="43" y="162"/>
                      </a:lnTo>
                      <a:lnTo>
                        <a:pt x="38" y="157"/>
                      </a:lnTo>
                      <a:lnTo>
                        <a:pt x="30" y="153"/>
                      </a:lnTo>
                      <a:lnTo>
                        <a:pt x="22" y="149"/>
                      </a:lnTo>
                      <a:lnTo>
                        <a:pt x="15" y="148"/>
                      </a:lnTo>
                      <a:lnTo>
                        <a:pt x="23" y="131"/>
                      </a:lnTo>
                      <a:lnTo>
                        <a:pt x="28" y="129"/>
                      </a:lnTo>
                      <a:lnTo>
                        <a:pt x="29" y="125"/>
                      </a:lnTo>
                      <a:lnTo>
                        <a:pt x="29" y="121"/>
                      </a:lnTo>
                      <a:lnTo>
                        <a:pt x="27" y="114"/>
                      </a:lnTo>
                      <a:lnTo>
                        <a:pt x="37" y="114"/>
                      </a:lnTo>
                      <a:lnTo>
                        <a:pt x="52" y="114"/>
                      </a:lnTo>
                      <a:lnTo>
                        <a:pt x="53" y="108"/>
                      </a:lnTo>
                      <a:lnTo>
                        <a:pt x="44" y="90"/>
                      </a:lnTo>
                      <a:lnTo>
                        <a:pt x="37" y="90"/>
                      </a:lnTo>
                      <a:lnTo>
                        <a:pt x="32" y="70"/>
                      </a:lnTo>
                      <a:lnTo>
                        <a:pt x="25" y="63"/>
                      </a:lnTo>
                      <a:lnTo>
                        <a:pt x="14" y="54"/>
                      </a:lnTo>
                      <a:lnTo>
                        <a:pt x="2" y="50"/>
                      </a:lnTo>
                      <a:lnTo>
                        <a:pt x="5" y="41"/>
                      </a:lnTo>
                      <a:lnTo>
                        <a:pt x="12" y="35"/>
                      </a:lnTo>
                      <a:lnTo>
                        <a:pt x="17" y="44"/>
                      </a:lnTo>
                      <a:lnTo>
                        <a:pt x="25" y="46"/>
                      </a:lnTo>
                      <a:lnTo>
                        <a:pt x="53" y="48"/>
                      </a:lnTo>
                      <a:lnTo>
                        <a:pt x="103" y="36"/>
                      </a:lnTo>
                      <a:lnTo>
                        <a:pt x="110" y="33"/>
                      </a:lnTo>
                      <a:lnTo>
                        <a:pt x="160" y="18"/>
                      </a:lnTo>
                      <a:lnTo>
                        <a:pt x="169" y="18"/>
                      </a:lnTo>
                      <a:lnTo>
                        <a:pt x="175" y="19"/>
                      </a:lnTo>
                      <a:lnTo>
                        <a:pt x="182" y="20"/>
                      </a:lnTo>
                      <a:lnTo>
                        <a:pt x="188" y="18"/>
                      </a:lnTo>
                      <a:lnTo>
                        <a:pt x="218" y="2"/>
                      </a:lnTo>
                      <a:lnTo>
                        <a:pt x="237" y="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2" name="Chiba" descr="{&quot;Key&quot;:&quot;chiba&quot;,&quot;Name&quot;:&quot;Chiba&quot;,&quot;Value&quot;:1.0,&quot;Formula&quot;:&quot;&quot;,&quot;Text&quot;:&quot;&quot;,&quot;OfficeApplication&quot;:1,&quot;HasValue&quot;:true}">
                  <a:extLst>
                    <a:ext uri="{FF2B5EF4-FFF2-40B4-BE49-F238E27FC236}">
                      <a16:creationId xmlns:a16="http://schemas.microsoft.com/office/drawing/2014/main" id="{560BAB0C-F512-4EC2-AF3E-82DC279D9922}"/>
                    </a:ext>
                  </a:extLst>
                </p:cNvPr>
                <p:cNvSpPr>
                  <a:spLocks/>
                </p:cNvSpPr>
                <p:nvPr/>
              </p:nvSpPr>
              <p:spPr bwMode="auto">
                <a:xfrm>
                  <a:off x="6851650" y="3563938"/>
                  <a:ext cx="263525" cy="339725"/>
                </a:xfrm>
                <a:custGeom>
                  <a:avLst/>
                  <a:gdLst>
                    <a:gd name="T0" fmla="*/ 452 w 452"/>
                    <a:gd name="T1" fmla="*/ 179 h 582"/>
                    <a:gd name="T2" fmla="*/ 440 w 452"/>
                    <a:gd name="T3" fmla="*/ 191 h 582"/>
                    <a:gd name="T4" fmla="*/ 422 w 452"/>
                    <a:gd name="T5" fmla="*/ 184 h 582"/>
                    <a:gd name="T6" fmla="*/ 387 w 452"/>
                    <a:gd name="T7" fmla="*/ 189 h 582"/>
                    <a:gd name="T8" fmla="*/ 294 w 452"/>
                    <a:gd name="T9" fmla="*/ 255 h 582"/>
                    <a:gd name="T10" fmla="*/ 262 w 452"/>
                    <a:gd name="T11" fmla="*/ 372 h 582"/>
                    <a:gd name="T12" fmla="*/ 260 w 452"/>
                    <a:gd name="T13" fmla="*/ 425 h 582"/>
                    <a:gd name="T14" fmla="*/ 240 w 452"/>
                    <a:gd name="T15" fmla="*/ 445 h 582"/>
                    <a:gd name="T16" fmla="*/ 229 w 452"/>
                    <a:gd name="T17" fmla="*/ 470 h 582"/>
                    <a:gd name="T18" fmla="*/ 211 w 452"/>
                    <a:gd name="T19" fmla="*/ 469 h 582"/>
                    <a:gd name="T20" fmla="*/ 161 w 452"/>
                    <a:gd name="T21" fmla="*/ 476 h 582"/>
                    <a:gd name="T22" fmla="*/ 140 w 452"/>
                    <a:gd name="T23" fmla="*/ 496 h 582"/>
                    <a:gd name="T24" fmla="*/ 96 w 452"/>
                    <a:gd name="T25" fmla="*/ 524 h 582"/>
                    <a:gd name="T26" fmla="*/ 85 w 452"/>
                    <a:gd name="T27" fmla="*/ 545 h 582"/>
                    <a:gd name="T28" fmla="*/ 80 w 452"/>
                    <a:gd name="T29" fmla="*/ 569 h 582"/>
                    <a:gd name="T30" fmla="*/ 60 w 452"/>
                    <a:gd name="T31" fmla="*/ 581 h 582"/>
                    <a:gd name="T32" fmla="*/ 36 w 452"/>
                    <a:gd name="T33" fmla="*/ 582 h 582"/>
                    <a:gd name="T34" fmla="*/ 29 w 452"/>
                    <a:gd name="T35" fmla="*/ 572 h 582"/>
                    <a:gd name="T36" fmla="*/ 10 w 452"/>
                    <a:gd name="T37" fmla="*/ 556 h 582"/>
                    <a:gd name="T38" fmla="*/ 0 w 452"/>
                    <a:gd name="T39" fmla="*/ 545 h 582"/>
                    <a:gd name="T40" fmla="*/ 22 w 452"/>
                    <a:gd name="T41" fmla="*/ 545 h 582"/>
                    <a:gd name="T42" fmla="*/ 35 w 452"/>
                    <a:gd name="T43" fmla="*/ 537 h 582"/>
                    <a:gd name="T44" fmla="*/ 47 w 452"/>
                    <a:gd name="T45" fmla="*/ 534 h 582"/>
                    <a:gd name="T46" fmla="*/ 34 w 452"/>
                    <a:gd name="T47" fmla="*/ 520 h 582"/>
                    <a:gd name="T48" fmla="*/ 39 w 452"/>
                    <a:gd name="T49" fmla="*/ 505 h 582"/>
                    <a:gd name="T50" fmla="*/ 34 w 452"/>
                    <a:gd name="T51" fmla="*/ 485 h 582"/>
                    <a:gd name="T52" fmla="*/ 27 w 452"/>
                    <a:gd name="T53" fmla="*/ 450 h 582"/>
                    <a:gd name="T54" fmla="*/ 40 w 452"/>
                    <a:gd name="T55" fmla="*/ 429 h 582"/>
                    <a:gd name="T56" fmla="*/ 39 w 452"/>
                    <a:gd name="T57" fmla="*/ 400 h 582"/>
                    <a:gd name="T58" fmla="*/ 11 w 452"/>
                    <a:gd name="T59" fmla="*/ 379 h 582"/>
                    <a:gd name="T60" fmla="*/ 29 w 452"/>
                    <a:gd name="T61" fmla="*/ 372 h 582"/>
                    <a:gd name="T62" fmla="*/ 37 w 452"/>
                    <a:gd name="T63" fmla="*/ 349 h 582"/>
                    <a:gd name="T64" fmla="*/ 62 w 452"/>
                    <a:gd name="T65" fmla="*/ 341 h 582"/>
                    <a:gd name="T66" fmla="*/ 75 w 452"/>
                    <a:gd name="T67" fmla="*/ 316 h 582"/>
                    <a:gd name="T68" fmla="*/ 101 w 452"/>
                    <a:gd name="T69" fmla="*/ 300 h 582"/>
                    <a:gd name="T70" fmla="*/ 129 w 452"/>
                    <a:gd name="T71" fmla="*/ 266 h 582"/>
                    <a:gd name="T72" fmla="*/ 140 w 452"/>
                    <a:gd name="T73" fmla="*/ 254 h 582"/>
                    <a:gd name="T74" fmla="*/ 125 w 452"/>
                    <a:gd name="T75" fmla="*/ 230 h 582"/>
                    <a:gd name="T76" fmla="*/ 102 w 452"/>
                    <a:gd name="T77" fmla="*/ 209 h 582"/>
                    <a:gd name="T78" fmla="*/ 79 w 452"/>
                    <a:gd name="T79" fmla="*/ 202 h 582"/>
                    <a:gd name="T80" fmla="*/ 64 w 452"/>
                    <a:gd name="T81" fmla="*/ 226 h 582"/>
                    <a:gd name="T82" fmla="*/ 51 w 452"/>
                    <a:gd name="T83" fmla="*/ 226 h 582"/>
                    <a:gd name="T84" fmla="*/ 50 w 452"/>
                    <a:gd name="T85" fmla="*/ 207 h 582"/>
                    <a:gd name="T86" fmla="*/ 45 w 452"/>
                    <a:gd name="T87" fmla="*/ 150 h 582"/>
                    <a:gd name="T88" fmla="*/ 46 w 452"/>
                    <a:gd name="T89" fmla="*/ 95 h 582"/>
                    <a:gd name="T90" fmla="*/ 31 w 452"/>
                    <a:gd name="T91" fmla="*/ 71 h 582"/>
                    <a:gd name="T92" fmla="*/ 0 w 452"/>
                    <a:gd name="T93" fmla="*/ 0 h 582"/>
                    <a:gd name="T94" fmla="*/ 21 w 452"/>
                    <a:gd name="T95" fmla="*/ 1 h 582"/>
                    <a:gd name="T96" fmla="*/ 87 w 452"/>
                    <a:gd name="T97" fmla="*/ 82 h 582"/>
                    <a:gd name="T98" fmla="*/ 175 w 452"/>
                    <a:gd name="T99" fmla="*/ 117 h 582"/>
                    <a:gd name="T100" fmla="*/ 247 w 452"/>
                    <a:gd name="T101" fmla="*/ 100 h 582"/>
                    <a:gd name="T102" fmla="*/ 321 w 452"/>
                    <a:gd name="T103" fmla="*/ 95 h 582"/>
                    <a:gd name="T104" fmla="*/ 369 w 452"/>
                    <a:gd name="T105" fmla="*/ 119 h 582"/>
                    <a:gd name="T106" fmla="*/ 402 w 452"/>
                    <a:gd name="T107" fmla="*/ 152 h 582"/>
                    <a:gd name="T108" fmla="*/ 431 w 452"/>
                    <a:gd name="T109" fmla="*/ 17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582">
                      <a:moveTo>
                        <a:pt x="445" y="171"/>
                      </a:moveTo>
                      <a:lnTo>
                        <a:pt x="450" y="174"/>
                      </a:lnTo>
                      <a:lnTo>
                        <a:pt x="452" y="179"/>
                      </a:lnTo>
                      <a:lnTo>
                        <a:pt x="449" y="190"/>
                      </a:lnTo>
                      <a:lnTo>
                        <a:pt x="445" y="195"/>
                      </a:lnTo>
                      <a:lnTo>
                        <a:pt x="440" y="191"/>
                      </a:lnTo>
                      <a:lnTo>
                        <a:pt x="436" y="186"/>
                      </a:lnTo>
                      <a:lnTo>
                        <a:pt x="432" y="181"/>
                      </a:lnTo>
                      <a:lnTo>
                        <a:pt x="422" y="184"/>
                      </a:lnTo>
                      <a:lnTo>
                        <a:pt x="409" y="190"/>
                      </a:lnTo>
                      <a:lnTo>
                        <a:pt x="389" y="197"/>
                      </a:lnTo>
                      <a:lnTo>
                        <a:pt x="387" y="189"/>
                      </a:lnTo>
                      <a:lnTo>
                        <a:pt x="365" y="194"/>
                      </a:lnTo>
                      <a:lnTo>
                        <a:pt x="339" y="212"/>
                      </a:lnTo>
                      <a:lnTo>
                        <a:pt x="294" y="255"/>
                      </a:lnTo>
                      <a:lnTo>
                        <a:pt x="269" y="292"/>
                      </a:lnTo>
                      <a:lnTo>
                        <a:pt x="254" y="346"/>
                      </a:lnTo>
                      <a:lnTo>
                        <a:pt x="262" y="372"/>
                      </a:lnTo>
                      <a:lnTo>
                        <a:pt x="265" y="385"/>
                      </a:lnTo>
                      <a:lnTo>
                        <a:pt x="261" y="406"/>
                      </a:lnTo>
                      <a:lnTo>
                        <a:pt x="260" y="425"/>
                      </a:lnTo>
                      <a:lnTo>
                        <a:pt x="257" y="437"/>
                      </a:lnTo>
                      <a:lnTo>
                        <a:pt x="251" y="447"/>
                      </a:lnTo>
                      <a:lnTo>
                        <a:pt x="240" y="445"/>
                      </a:lnTo>
                      <a:lnTo>
                        <a:pt x="232" y="456"/>
                      </a:lnTo>
                      <a:lnTo>
                        <a:pt x="234" y="464"/>
                      </a:lnTo>
                      <a:lnTo>
                        <a:pt x="229" y="470"/>
                      </a:lnTo>
                      <a:lnTo>
                        <a:pt x="221" y="468"/>
                      </a:lnTo>
                      <a:lnTo>
                        <a:pt x="217" y="461"/>
                      </a:lnTo>
                      <a:lnTo>
                        <a:pt x="211" y="469"/>
                      </a:lnTo>
                      <a:lnTo>
                        <a:pt x="201" y="468"/>
                      </a:lnTo>
                      <a:lnTo>
                        <a:pt x="195" y="479"/>
                      </a:lnTo>
                      <a:lnTo>
                        <a:pt x="161" y="476"/>
                      </a:lnTo>
                      <a:lnTo>
                        <a:pt x="154" y="474"/>
                      </a:lnTo>
                      <a:lnTo>
                        <a:pt x="141" y="486"/>
                      </a:lnTo>
                      <a:lnTo>
                        <a:pt x="140" y="496"/>
                      </a:lnTo>
                      <a:lnTo>
                        <a:pt x="130" y="505"/>
                      </a:lnTo>
                      <a:lnTo>
                        <a:pt x="121" y="505"/>
                      </a:lnTo>
                      <a:lnTo>
                        <a:pt x="96" y="524"/>
                      </a:lnTo>
                      <a:lnTo>
                        <a:pt x="91" y="530"/>
                      </a:lnTo>
                      <a:lnTo>
                        <a:pt x="89" y="539"/>
                      </a:lnTo>
                      <a:lnTo>
                        <a:pt x="85" y="545"/>
                      </a:lnTo>
                      <a:lnTo>
                        <a:pt x="85" y="554"/>
                      </a:lnTo>
                      <a:lnTo>
                        <a:pt x="84" y="562"/>
                      </a:lnTo>
                      <a:lnTo>
                        <a:pt x="80" y="569"/>
                      </a:lnTo>
                      <a:lnTo>
                        <a:pt x="76" y="574"/>
                      </a:lnTo>
                      <a:lnTo>
                        <a:pt x="70" y="579"/>
                      </a:lnTo>
                      <a:lnTo>
                        <a:pt x="60" y="581"/>
                      </a:lnTo>
                      <a:lnTo>
                        <a:pt x="52" y="582"/>
                      </a:lnTo>
                      <a:lnTo>
                        <a:pt x="47" y="580"/>
                      </a:lnTo>
                      <a:lnTo>
                        <a:pt x="36" y="582"/>
                      </a:lnTo>
                      <a:lnTo>
                        <a:pt x="34" y="580"/>
                      </a:lnTo>
                      <a:lnTo>
                        <a:pt x="27" y="576"/>
                      </a:lnTo>
                      <a:lnTo>
                        <a:pt x="29" y="572"/>
                      </a:lnTo>
                      <a:lnTo>
                        <a:pt x="29" y="565"/>
                      </a:lnTo>
                      <a:lnTo>
                        <a:pt x="24" y="561"/>
                      </a:lnTo>
                      <a:lnTo>
                        <a:pt x="10" y="556"/>
                      </a:lnTo>
                      <a:lnTo>
                        <a:pt x="1" y="555"/>
                      </a:lnTo>
                      <a:lnTo>
                        <a:pt x="0" y="551"/>
                      </a:lnTo>
                      <a:lnTo>
                        <a:pt x="0" y="545"/>
                      </a:lnTo>
                      <a:lnTo>
                        <a:pt x="5" y="545"/>
                      </a:lnTo>
                      <a:lnTo>
                        <a:pt x="16" y="546"/>
                      </a:lnTo>
                      <a:lnTo>
                        <a:pt x="22" y="545"/>
                      </a:lnTo>
                      <a:lnTo>
                        <a:pt x="27" y="542"/>
                      </a:lnTo>
                      <a:lnTo>
                        <a:pt x="30" y="539"/>
                      </a:lnTo>
                      <a:lnTo>
                        <a:pt x="35" y="537"/>
                      </a:lnTo>
                      <a:lnTo>
                        <a:pt x="42" y="540"/>
                      </a:lnTo>
                      <a:lnTo>
                        <a:pt x="45" y="539"/>
                      </a:lnTo>
                      <a:lnTo>
                        <a:pt x="47" y="534"/>
                      </a:lnTo>
                      <a:lnTo>
                        <a:pt x="46" y="527"/>
                      </a:lnTo>
                      <a:lnTo>
                        <a:pt x="41" y="524"/>
                      </a:lnTo>
                      <a:lnTo>
                        <a:pt x="34" y="520"/>
                      </a:lnTo>
                      <a:lnTo>
                        <a:pt x="32" y="515"/>
                      </a:lnTo>
                      <a:lnTo>
                        <a:pt x="37" y="511"/>
                      </a:lnTo>
                      <a:lnTo>
                        <a:pt x="39" y="505"/>
                      </a:lnTo>
                      <a:lnTo>
                        <a:pt x="37" y="500"/>
                      </a:lnTo>
                      <a:lnTo>
                        <a:pt x="34" y="490"/>
                      </a:lnTo>
                      <a:lnTo>
                        <a:pt x="34" y="485"/>
                      </a:lnTo>
                      <a:lnTo>
                        <a:pt x="34" y="467"/>
                      </a:lnTo>
                      <a:lnTo>
                        <a:pt x="26" y="456"/>
                      </a:lnTo>
                      <a:lnTo>
                        <a:pt x="27" y="450"/>
                      </a:lnTo>
                      <a:lnTo>
                        <a:pt x="26" y="442"/>
                      </a:lnTo>
                      <a:lnTo>
                        <a:pt x="29" y="436"/>
                      </a:lnTo>
                      <a:lnTo>
                        <a:pt x="40" y="429"/>
                      </a:lnTo>
                      <a:lnTo>
                        <a:pt x="45" y="424"/>
                      </a:lnTo>
                      <a:lnTo>
                        <a:pt x="45" y="412"/>
                      </a:lnTo>
                      <a:lnTo>
                        <a:pt x="39" y="400"/>
                      </a:lnTo>
                      <a:lnTo>
                        <a:pt x="39" y="389"/>
                      </a:lnTo>
                      <a:lnTo>
                        <a:pt x="22" y="384"/>
                      </a:lnTo>
                      <a:lnTo>
                        <a:pt x="11" y="379"/>
                      </a:lnTo>
                      <a:lnTo>
                        <a:pt x="11" y="377"/>
                      </a:lnTo>
                      <a:lnTo>
                        <a:pt x="20" y="377"/>
                      </a:lnTo>
                      <a:lnTo>
                        <a:pt x="29" y="372"/>
                      </a:lnTo>
                      <a:lnTo>
                        <a:pt x="29" y="362"/>
                      </a:lnTo>
                      <a:lnTo>
                        <a:pt x="35" y="357"/>
                      </a:lnTo>
                      <a:lnTo>
                        <a:pt x="37" y="349"/>
                      </a:lnTo>
                      <a:lnTo>
                        <a:pt x="56" y="355"/>
                      </a:lnTo>
                      <a:lnTo>
                        <a:pt x="62" y="347"/>
                      </a:lnTo>
                      <a:lnTo>
                        <a:pt x="62" y="341"/>
                      </a:lnTo>
                      <a:lnTo>
                        <a:pt x="59" y="325"/>
                      </a:lnTo>
                      <a:lnTo>
                        <a:pt x="64" y="320"/>
                      </a:lnTo>
                      <a:lnTo>
                        <a:pt x="75" y="316"/>
                      </a:lnTo>
                      <a:lnTo>
                        <a:pt x="82" y="309"/>
                      </a:lnTo>
                      <a:lnTo>
                        <a:pt x="92" y="307"/>
                      </a:lnTo>
                      <a:lnTo>
                        <a:pt x="101" y="300"/>
                      </a:lnTo>
                      <a:lnTo>
                        <a:pt x="107" y="291"/>
                      </a:lnTo>
                      <a:lnTo>
                        <a:pt x="116" y="281"/>
                      </a:lnTo>
                      <a:lnTo>
                        <a:pt x="129" y="266"/>
                      </a:lnTo>
                      <a:lnTo>
                        <a:pt x="135" y="267"/>
                      </a:lnTo>
                      <a:lnTo>
                        <a:pt x="139" y="260"/>
                      </a:lnTo>
                      <a:lnTo>
                        <a:pt x="140" y="254"/>
                      </a:lnTo>
                      <a:lnTo>
                        <a:pt x="134" y="255"/>
                      </a:lnTo>
                      <a:lnTo>
                        <a:pt x="131" y="236"/>
                      </a:lnTo>
                      <a:lnTo>
                        <a:pt x="125" y="230"/>
                      </a:lnTo>
                      <a:lnTo>
                        <a:pt x="119" y="222"/>
                      </a:lnTo>
                      <a:lnTo>
                        <a:pt x="112" y="217"/>
                      </a:lnTo>
                      <a:lnTo>
                        <a:pt x="102" y="209"/>
                      </a:lnTo>
                      <a:lnTo>
                        <a:pt x="97" y="210"/>
                      </a:lnTo>
                      <a:lnTo>
                        <a:pt x="92" y="204"/>
                      </a:lnTo>
                      <a:lnTo>
                        <a:pt x="79" y="202"/>
                      </a:lnTo>
                      <a:lnTo>
                        <a:pt x="67" y="207"/>
                      </a:lnTo>
                      <a:lnTo>
                        <a:pt x="75" y="220"/>
                      </a:lnTo>
                      <a:lnTo>
                        <a:pt x="64" y="226"/>
                      </a:lnTo>
                      <a:lnTo>
                        <a:pt x="57" y="231"/>
                      </a:lnTo>
                      <a:lnTo>
                        <a:pt x="55" y="226"/>
                      </a:lnTo>
                      <a:lnTo>
                        <a:pt x="51" y="226"/>
                      </a:lnTo>
                      <a:lnTo>
                        <a:pt x="47" y="222"/>
                      </a:lnTo>
                      <a:lnTo>
                        <a:pt x="45" y="222"/>
                      </a:lnTo>
                      <a:lnTo>
                        <a:pt x="50" y="207"/>
                      </a:lnTo>
                      <a:lnTo>
                        <a:pt x="51" y="201"/>
                      </a:lnTo>
                      <a:lnTo>
                        <a:pt x="54" y="190"/>
                      </a:lnTo>
                      <a:lnTo>
                        <a:pt x="45" y="150"/>
                      </a:lnTo>
                      <a:lnTo>
                        <a:pt x="49" y="114"/>
                      </a:lnTo>
                      <a:lnTo>
                        <a:pt x="47" y="105"/>
                      </a:lnTo>
                      <a:lnTo>
                        <a:pt x="46" y="95"/>
                      </a:lnTo>
                      <a:lnTo>
                        <a:pt x="42" y="89"/>
                      </a:lnTo>
                      <a:lnTo>
                        <a:pt x="35" y="78"/>
                      </a:lnTo>
                      <a:lnTo>
                        <a:pt x="31" y="71"/>
                      </a:lnTo>
                      <a:lnTo>
                        <a:pt x="17" y="30"/>
                      </a:lnTo>
                      <a:lnTo>
                        <a:pt x="14" y="21"/>
                      </a:lnTo>
                      <a:lnTo>
                        <a:pt x="0" y="0"/>
                      </a:lnTo>
                      <a:lnTo>
                        <a:pt x="7" y="0"/>
                      </a:lnTo>
                      <a:lnTo>
                        <a:pt x="15" y="3"/>
                      </a:lnTo>
                      <a:lnTo>
                        <a:pt x="21" y="1"/>
                      </a:lnTo>
                      <a:lnTo>
                        <a:pt x="45" y="37"/>
                      </a:lnTo>
                      <a:lnTo>
                        <a:pt x="72" y="70"/>
                      </a:lnTo>
                      <a:lnTo>
                        <a:pt x="87" y="82"/>
                      </a:lnTo>
                      <a:lnTo>
                        <a:pt x="150" y="112"/>
                      </a:lnTo>
                      <a:lnTo>
                        <a:pt x="167" y="117"/>
                      </a:lnTo>
                      <a:lnTo>
                        <a:pt x="175" y="117"/>
                      </a:lnTo>
                      <a:lnTo>
                        <a:pt x="227" y="114"/>
                      </a:lnTo>
                      <a:lnTo>
                        <a:pt x="237" y="111"/>
                      </a:lnTo>
                      <a:lnTo>
                        <a:pt x="247" y="100"/>
                      </a:lnTo>
                      <a:lnTo>
                        <a:pt x="257" y="97"/>
                      </a:lnTo>
                      <a:lnTo>
                        <a:pt x="285" y="94"/>
                      </a:lnTo>
                      <a:lnTo>
                        <a:pt x="321" y="95"/>
                      </a:lnTo>
                      <a:lnTo>
                        <a:pt x="329" y="97"/>
                      </a:lnTo>
                      <a:lnTo>
                        <a:pt x="351" y="112"/>
                      </a:lnTo>
                      <a:lnTo>
                        <a:pt x="369" y="119"/>
                      </a:lnTo>
                      <a:lnTo>
                        <a:pt x="377" y="122"/>
                      </a:lnTo>
                      <a:lnTo>
                        <a:pt x="385" y="129"/>
                      </a:lnTo>
                      <a:lnTo>
                        <a:pt x="402" y="152"/>
                      </a:lnTo>
                      <a:lnTo>
                        <a:pt x="411" y="160"/>
                      </a:lnTo>
                      <a:lnTo>
                        <a:pt x="420" y="168"/>
                      </a:lnTo>
                      <a:lnTo>
                        <a:pt x="431" y="171"/>
                      </a:lnTo>
                      <a:lnTo>
                        <a:pt x="444" y="173"/>
                      </a:lnTo>
                      <a:lnTo>
                        <a:pt x="445" y="171"/>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3" name="Ibaraki" descr="{&quot;Key&quot;:&quot;ibaraki&quot;,&quot;Name&quot;:&quot;Ibaraki&quot;,&quot;Value&quot;:1.0,&quot;Formula&quot;:&quot;&quot;,&quot;Text&quot;:&quot;&quot;,&quot;OfficeApplication&quot;:1,&quot;HasValue&quot;:true}">
                  <a:extLst>
                    <a:ext uri="{FF2B5EF4-FFF2-40B4-BE49-F238E27FC236}">
                      <a16:creationId xmlns:a16="http://schemas.microsoft.com/office/drawing/2014/main" id="{646D6A23-A4E2-4B47-906B-040C07F5BBB7}"/>
                    </a:ext>
                  </a:extLst>
                </p:cNvPr>
                <p:cNvSpPr>
                  <a:spLocks/>
                </p:cNvSpPr>
                <p:nvPr/>
              </p:nvSpPr>
              <p:spPr bwMode="auto">
                <a:xfrm>
                  <a:off x="6827838" y="3316288"/>
                  <a:ext cx="282575" cy="347662"/>
                </a:xfrm>
                <a:custGeom>
                  <a:avLst/>
                  <a:gdLst>
                    <a:gd name="T0" fmla="*/ 441 w 485"/>
                    <a:gd name="T1" fmla="*/ 72 h 597"/>
                    <a:gd name="T2" fmla="*/ 396 w 485"/>
                    <a:gd name="T3" fmla="*/ 195 h 597"/>
                    <a:gd name="T4" fmla="*/ 385 w 485"/>
                    <a:gd name="T5" fmla="*/ 255 h 597"/>
                    <a:gd name="T6" fmla="*/ 387 w 485"/>
                    <a:gd name="T7" fmla="*/ 295 h 597"/>
                    <a:gd name="T8" fmla="*/ 366 w 485"/>
                    <a:gd name="T9" fmla="*/ 342 h 597"/>
                    <a:gd name="T10" fmla="*/ 398 w 485"/>
                    <a:gd name="T11" fmla="*/ 458 h 597"/>
                    <a:gd name="T12" fmla="*/ 477 w 485"/>
                    <a:gd name="T13" fmla="*/ 592 h 597"/>
                    <a:gd name="T14" fmla="*/ 471 w 485"/>
                    <a:gd name="T15" fmla="*/ 595 h 597"/>
                    <a:gd name="T16" fmla="*/ 442 w 485"/>
                    <a:gd name="T17" fmla="*/ 577 h 597"/>
                    <a:gd name="T18" fmla="*/ 408 w 485"/>
                    <a:gd name="T19" fmla="*/ 543 h 597"/>
                    <a:gd name="T20" fmla="*/ 361 w 485"/>
                    <a:gd name="T21" fmla="*/ 519 h 597"/>
                    <a:gd name="T22" fmla="*/ 287 w 485"/>
                    <a:gd name="T23" fmla="*/ 524 h 597"/>
                    <a:gd name="T24" fmla="*/ 215 w 485"/>
                    <a:gd name="T25" fmla="*/ 542 h 597"/>
                    <a:gd name="T26" fmla="*/ 127 w 485"/>
                    <a:gd name="T27" fmla="*/ 507 h 597"/>
                    <a:gd name="T28" fmla="*/ 61 w 485"/>
                    <a:gd name="T29" fmla="*/ 425 h 597"/>
                    <a:gd name="T30" fmla="*/ 40 w 485"/>
                    <a:gd name="T31" fmla="*/ 424 h 597"/>
                    <a:gd name="T32" fmla="*/ 22 w 485"/>
                    <a:gd name="T33" fmla="*/ 415 h 597"/>
                    <a:gd name="T34" fmla="*/ 0 w 485"/>
                    <a:gd name="T35" fmla="*/ 363 h 597"/>
                    <a:gd name="T36" fmla="*/ 37 w 485"/>
                    <a:gd name="T37" fmla="*/ 355 h 597"/>
                    <a:gd name="T38" fmla="*/ 61 w 485"/>
                    <a:gd name="T39" fmla="*/ 332 h 597"/>
                    <a:gd name="T40" fmla="*/ 82 w 485"/>
                    <a:gd name="T41" fmla="*/ 312 h 597"/>
                    <a:gd name="T42" fmla="*/ 97 w 485"/>
                    <a:gd name="T43" fmla="*/ 310 h 597"/>
                    <a:gd name="T44" fmla="*/ 125 w 485"/>
                    <a:gd name="T45" fmla="*/ 282 h 597"/>
                    <a:gd name="T46" fmla="*/ 145 w 485"/>
                    <a:gd name="T47" fmla="*/ 282 h 597"/>
                    <a:gd name="T48" fmla="*/ 173 w 485"/>
                    <a:gd name="T49" fmla="*/ 269 h 597"/>
                    <a:gd name="T50" fmla="*/ 202 w 485"/>
                    <a:gd name="T51" fmla="*/ 268 h 597"/>
                    <a:gd name="T52" fmla="*/ 220 w 485"/>
                    <a:gd name="T53" fmla="*/ 235 h 597"/>
                    <a:gd name="T54" fmla="*/ 233 w 485"/>
                    <a:gd name="T55" fmla="*/ 207 h 597"/>
                    <a:gd name="T56" fmla="*/ 228 w 485"/>
                    <a:gd name="T57" fmla="*/ 134 h 597"/>
                    <a:gd name="T58" fmla="*/ 236 w 485"/>
                    <a:gd name="T59" fmla="*/ 114 h 597"/>
                    <a:gd name="T60" fmla="*/ 241 w 485"/>
                    <a:gd name="T61" fmla="*/ 93 h 597"/>
                    <a:gd name="T62" fmla="*/ 238 w 485"/>
                    <a:gd name="T63" fmla="*/ 43 h 597"/>
                    <a:gd name="T64" fmla="*/ 236 w 485"/>
                    <a:gd name="T65" fmla="*/ 17 h 597"/>
                    <a:gd name="T66" fmla="*/ 262 w 485"/>
                    <a:gd name="T67" fmla="*/ 17 h 597"/>
                    <a:gd name="T68" fmla="*/ 291 w 485"/>
                    <a:gd name="T69" fmla="*/ 47 h 597"/>
                    <a:gd name="T70" fmla="*/ 327 w 485"/>
                    <a:gd name="T71" fmla="*/ 68 h 597"/>
                    <a:gd name="T72" fmla="*/ 342 w 485"/>
                    <a:gd name="T73" fmla="*/ 54 h 597"/>
                    <a:gd name="T74" fmla="*/ 366 w 485"/>
                    <a:gd name="T75" fmla="*/ 33 h 597"/>
                    <a:gd name="T76" fmla="*/ 365 w 485"/>
                    <a:gd name="T77" fmla="*/ 15 h 597"/>
                    <a:gd name="T78" fmla="*/ 368 w 485"/>
                    <a:gd name="T79" fmla="*/ 2 h 597"/>
                    <a:gd name="T80" fmla="*/ 375 w 485"/>
                    <a:gd name="T81" fmla="*/ 7 h 597"/>
                    <a:gd name="T82" fmla="*/ 415 w 485"/>
                    <a:gd name="T83" fmla="*/ 28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597">
                      <a:moveTo>
                        <a:pt x="460" y="42"/>
                      </a:moveTo>
                      <a:lnTo>
                        <a:pt x="457" y="45"/>
                      </a:lnTo>
                      <a:lnTo>
                        <a:pt x="441" y="72"/>
                      </a:lnTo>
                      <a:lnTo>
                        <a:pt x="437" y="80"/>
                      </a:lnTo>
                      <a:lnTo>
                        <a:pt x="417" y="155"/>
                      </a:lnTo>
                      <a:lnTo>
                        <a:pt x="396" y="195"/>
                      </a:lnTo>
                      <a:lnTo>
                        <a:pt x="390" y="212"/>
                      </a:lnTo>
                      <a:lnTo>
                        <a:pt x="385" y="248"/>
                      </a:lnTo>
                      <a:lnTo>
                        <a:pt x="385" y="255"/>
                      </a:lnTo>
                      <a:lnTo>
                        <a:pt x="390" y="275"/>
                      </a:lnTo>
                      <a:lnTo>
                        <a:pt x="390" y="283"/>
                      </a:lnTo>
                      <a:lnTo>
                        <a:pt x="387" y="295"/>
                      </a:lnTo>
                      <a:lnTo>
                        <a:pt x="372" y="312"/>
                      </a:lnTo>
                      <a:lnTo>
                        <a:pt x="366" y="323"/>
                      </a:lnTo>
                      <a:lnTo>
                        <a:pt x="366" y="342"/>
                      </a:lnTo>
                      <a:lnTo>
                        <a:pt x="371" y="384"/>
                      </a:lnTo>
                      <a:lnTo>
                        <a:pt x="383" y="417"/>
                      </a:lnTo>
                      <a:lnTo>
                        <a:pt x="398" y="458"/>
                      </a:lnTo>
                      <a:lnTo>
                        <a:pt x="456" y="559"/>
                      </a:lnTo>
                      <a:lnTo>
                        <a:pt x="472" y="583"/>
                      </a:lnTo>
                      <a:lnTo>
                        <a:pt x="477" y="592"/>
                      </a:lnTo>
                      <a:lnTo>
                        <a:pt x="485" y="595"/>
                      </a:lnTo>
                      <a:lnTo>
                        <a:pt x="483" y="597"/>
                      </a:lnTo>
                      <a:lnTo>
                        <a:pt x="471" y="595"/>
                      </a:lnTo>
                      <a:lnTo>
                        <a:pt x="460" y="592"/>
                      </a:lnTo>
                      <a:lnTo>
                        <a:pt x="451" y="584"/>
                      </a:lnTo>
                      <a:lnTo>
                        <a:pt x="442" y="577"/>
                      </a:lnTo>
                      <a:lnTo>
                        <a:pt x="425" y="553"/>
                      </a:lnTo>
                      <a:lnTo>
                        <a:pt x="417" y="547"/>
                      </a:lnTo>
                      <a:lnTo>
                        <a:pt x="408" y="543"/>
                      </a:lnTo>
                      <a:lnTo>
                        <a:pt x="391" y="537"/>
                      </a:lnTo>
                      <a:lnTo>
                        <a:pt x="368" y="522"/>
                      </a:lnTo>
                      <a:lnTo>
                        <a:pt x="361" y="519"/>
                      </a:lnTo>
                      <a:lnTo>
                        <a:pt x="325" y="518"/>
                      </a:lnTo>
                      <a:lnTo>
                        <a:pt x="297" y="522"/>
                      </a:lnTo>
                      <a:lnTo>
                        <a:pt x="287" y="524"/>
                      </a:lnTo>
                      <a:lnTo>
                        <a:pt x="277" y="535"/>
                      </a:lnTo>
                      <a:lnTo>
                        <a:pt x="267" y="538"/>
                      </a:lnTo>
                      <a:lnTo>
                        <a:pt x="215" y="542"/>
                      </a:lnTo>
                      <a:lnTo>
                        <a:pt x="207" y="542"/>
                      </a:lnTo>
                      <a:lnTo>
                        <a:pt x="190" y="537"/>
                      </a:lnTo>
                      <a:lnTo>
                        <a:pt x="127" y="507"/>
                      </a:lnTo>
                      <a:lnTo>
                        <a:pt x="112" y="494"/>
                      </a:lnTo>
                      <a:lnTo>
                        <a:pt x="85" y="462"/>
                      </a:lnTo>
                      <a:lnTo>
                        <a:pt x="61" y="425"/>
                      </a:lnTo>
                      <a:lnTo>
                        <a:pt x="55" y="427"/>
                      </a:lnTo>
                      <a:lnTo>
                        <a:pt x="47" y="424"/>
                      </a:lnTo>
                      <a:lnTo>
                        <a:pt x="40" y="424"/>
                      </a:lnTo>
                      <a:lnTo>
                        <a:pt x="32" y="422"/>
                      </a:lnTo>
                      <a:lnTo>
                        <a:pt x="28" y="419"/>
                      </a:lnTo>
                      <a:lnTo>
                        <a:pt x="22" y="415"/>
                      </a:lnTo>
                      <a:lnTo>
                        <a:pt x="12" y="402"/>
                      </a:lnTo>
                      <a:lnTo>
                        <a:pt x="8" y="388"/>
                      </a:lnTo>
                      <a:lnTo>
                        <a:pt x="0" y="363"/>
                      </a:lnTo>
                      <a:lnTo>
                        <a:pt x="8" y="364"/>
                      </a:lnTo>
                      <a:lnTo>
                        <a:pt x="20" y="362"/>
                      </a:lnTo>
                      <a:lnTo>
                        <a:pt x="37" y="355"/>
                      </a:lnTo>
                      <a:lnTo>
                        <a:pt x="51" y="348"/>
                      </a:lnTo>
                      <a:lnTo>
                        <a:pt x="55" y="344"/>
                      </a:lnTo>
                      <a:lnTo>
                        <a:pt x="61" y="332"/>
                      </a:lnTo>
                      <a:lnTo>
                        <a:pt x="66" y="324"/>
                      </a:lnTo>
                      <a:lnTo>
                        <a:pt x="75" y="314"/>
                      </a:lnTo>
                      <a:lnTo>
                        <a:pt x="82" y="312"/>
                      </a:lnTo>
                      <a:lnTo>
                        <a:pt x="88" y="313"/>
                      </a:lnTo>
                      <a:lnTo>
                        <a:pt x="92" y="312"/>
                      </a:lnTo>
                      <a:lnTo>
                        <a:pt x="97" y="310"/>
                      </a:lnTo>
                      <a:lnTo>
                        <a:pt x="102" y="302"/>
                      </a:lnTo>
                      <a:lnTo>
                        <a:pt x="120" y="284"/>
                      </a:lnTo>
                      <a:lnTo>
                        <a:pt x="125" y="282"/>
                      </a:lnTo>
                      <a:lnTo>
                        <a:pt x="130" y="280"/>
                      </a:lnTo>
                      <a:lnTo>
                        <a:pt x="137" y="282"/>
                      </a:lnTo>
                      <a:lnTo>
                        <a:pt x="145" y="282"/>
                      </a:lnTo>
                      <a:lnTo>
                        <a:pt x="155" y="278"/>
                      </a:lnTo>
                      <a:lnTo>
                        <a:pt x="161" y="273"/>
                      </a:lnTo>
                      <a:lnTo>
                        <a:pt x="173" y="269"/>
                      </a:lnTo>
                      <a:lnTo>
                        <a:pt x="185" y="267"/>
                      </a:lnTo>
                      <a:lnTo>
                        <a:pt x="197" y="269"/>
                      </a:lnTo>
                      <a:lnTo>
                        <a:pt x="202" y="268"/>
                      </a:lnTo>
                      <a:lnTo>
                        <a:pt x="207" y="264"/>
                      </a:lnTo>
                      <a:lnTo>
                        <a:pt x="212" y="257"/>
                      </a:lnTo>
                      <a:lnTo>
                        <a:pt x="220" y="235"/>
                      </a:lnTo>
                      <a:lnTo>
                        <a:pt x="223" y="227"/>
                      </a:lnTo>
                      <a:lnTo>
                        <a:pt x="231" y="215"/>
                      </a:lnTo>
                      <a:lnTo>
                        <a:pt x="233" y="207"/>
                      </a:lnTo>
                      <a:lnTo>
                        <a:pt x="235" y="194"/>
                      </a:lnTo>
                      <a:lnTo>
                        <a:pt x="231" y="153"/>
                      </a:lnTo>
                      <a:lnTo>
                        <a:pt x="228" y="134"/>
                      </a:lnTo>
                      <a:lnTo>
                        <a:pt x="227" y="125"/>
                      </a:lnTo>
                      <a:lnTo>
                        <a:pt x="231" y="120"/>
                      </a:lnTo>
                      <a:lnTo>
                        <a:pt x="236" y="114"/>
                      </a:lnTo>
                      <a:lnTo>
                        <a:pt x="243" y="110"/>
                      </a:lnTo>
                      <a:lnTo>
                        <a:pt x="246" y="105"/>
                      </a:lnTo>
                      <a:lnTo>
                        <a:pt x="241" y="93"/>
                      </a:lnTo>
                      <a:lnTo>
                        <a:pt x="240" y="84"/>
                      </a:lnTo>
                      <a:lnTo>
                        <a:pt x="240" y="59"/>
                      </a:lnTo>
                      <a:lnTo>
                        <a:pt x="238" y="43"/>
                      </a:lnTo>
                      <a:lnTo>
                        <a:pt x="238" y="34"/>
                      </a:lnTo>
                      <a:lnTo>
                        <a:pt x="237" y="27"/>
                      </a:lnTo>
                      <a:lnTo>
                        <a:pt x="236" y="17"/>
                      </a:lnTo>
                      <a:lnTo>
                        <a:pt x="235" y="2"/>
                      </a:lnTo>
                      <a:lnTo>
                        <a:pt x="253" y="12"/>
                      </a:lnTo>
                      <a:lnTo>
                        <a:pt x="262" y="17"/>
                      </a:lnTo>
                      <a:lnTo>
                        <a:pt x="271" y="27"/>
                      </a:lnTo>
                      <a:lnTo>
                        <a:pt x="281" y="35"/>
                      </a:lnTo>
                      <a:lnTo>
                        <a:pt x="291" y="47"/>
                      </a:lnTo>
                      <a:lnTo>
                        <a:pt x="302" y="57"/>
                      </a:lnTo>
                      <a:lnTo>
                        <a:pt x="320" y="67"/>
                      </a:lnTo>
                      <a:lnTo>
                        <a:pt x="327" y="68"/>
                      </a:lnTo>
                      <a:lnTo>
                        <a:pt x="332" y="65"/>
                      </a:lnTo>
                      <a:lnTo>
                        <a:pt x="338" y="58"/>
                      </a:lnTo>
                      <a:lnTo>
                        <a:pt x="342" y="54"/>
                      </a:lnTo>
                      <a:lnTo>
                        <a:pt x="346" y="49"/>
                      </a:lnTo>
                      <a:lnTo>
                        <a:pt x="353" y="42"/>
                      </a:lnTo>
                      <a:lnTo>
                        <a:pt x="366" y="33"/>
                      </a:lnTo>
                      <a:lnTo>
                        <a:pt x="368" y="29"/>
                      </a:lnTo>
                      <a:lnTo>
                        <a:pt x="367" y="23"/>
                      </a:lnTo>
                      <a:lnTo>
                        <a:pt x="365" y="15"/>
                      </a:lnTo>
                      <a:lnTo>
                        <a:pt x="363" y="10"/>
                      </a:lnTo>
                      <a:lnTo>
                        <a:pt x="365" y="5"/>
                      </a:lnTo>
                      <a:lnTo>
                        <a:pt x="368" y="2"/>
                      </a:lnTo>
                      <a:lnTo>
                        <a:pt x="370" y="0"/>
                      </a:lnTo>
                      <a:lnTo>
                        <a:pt x="373" y="3"/>
                      </a:lnTo>
                      <a:lnTo>
                        <a:pt x="375" y="7"/>
                      </a:lnTo>
                      <a:lnTo>
                        <a:pt x="380" y="12"/>
                      </a:lnTo>
                      <a:lnTo>
                        <a:pt x="386" y="17"/>
                      </a:lnTo>
                      <a:lnTo>
                        <a:pt x="415" y="28"/>
                      </a:lnTo>
                      <a:lnTo>
                        <a:pt x="420" y="30"/>
                      </a:lnTo>
                      <a:lnTo>
                        <a:pt x="460" y="42"/>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4" name="Kanagawa" descr="{&quot;Key&quot;:&quot;kanagawa&quot;,&quot;Name&quot;:&quot;Kanagawa&quot;,&quot;Value&quot;:1.0,&quot;Formula&quot;:&quot;&quot;,&quot;Text&quot;:&quot;&quot;,&quot;OfficeApplication&quot;:1,&quot;HasValue&quot;:true}">
                  <a:extLst>
                    <a:ext uri="{FF2B5EF4-FFF2-40B4-BE49-F238E27FC236}">
                      <a16:creationId xmlns:a16="http://schemas.microsoft.com/office/drawing/2014/main" id="{77526960-0349-4910-8981-527533685B81}"/>
                    </a:ext>
                  </a:extLst>
                </p:cNvPr>
                <p:cNvSpPr>
                  <a:spLocks/>
                </p:cNvSpPr>
                <p:nvPr/>
              </p:nvSpPr>
              <p:spPr bwMode="auto">
                <a:xfrm>
                  <a:off x="6651625" y="3686175"/>
                  <a:ext cx="207963" cy="155575"/>
                </a:xfrm>
                <a:custGeom>
                  <a:avLst/>
                  <a:gdLst>
                    <a:gd name="T0" fmla="*/ 339 w 357"/>
                    <a:gd name="T1" fmla="*/ 84 h 265"/>
                    <a:gd name="T2" fmla="*/ 308 w 357"/>
                    <a:gd name="T3" fmla="*/ 93 h 265"/>
                    <a:gd name="T4" fmla="*/ 307 w 357"/>
                    <a:gd name="T5" fmla="*/ 103 h 265"/>
                    <a:gd name="T6" fmla="*/ 314 w 357"/>
                    <a:gd name="T7" fmla="*/ 117 h 265"/>
                    <a:gd name="T8" fmla="*/ 302 w 357"/>
                    <a:gd name="T9" fmla="*/ 120 h 265"/>
                    <a:gd name="T10" fmla="*/ 304 w 357"/>
                    <a:gd name="T11" fmla="*/ 138 h 265"/>
                    <a:gd name="T12" fmla="*/ 302 w 357"/>
                    <a:gd name="T13" fmla="*/ 170 h 265"/>
                    <a:gd name="T14" fmla="*/ 308 w 357"/>
                    <a:gd name="T15" fmla="*/ 175 h 265"/>
                    <a:gd name="T16" fmla="*/ 335 w 357"/>
                    <a:gd name="T17" fmla="*/ 193 h 265"/>
                    <a:gd name="T18" fmla="*/ 334 w 357"/>
                    <a:gd name="T19" fmla="*/ 213 h 265"/>
                    <a:gd name="T20" fmla="*/ 308 w 357"/>
                    <a:gd name="T21" fmla="*/ 228 h 265"/>
                    <a:gd name="T22" fmla="*/ 314 w 357"/>
                    <a:gd name="T23" fmla="*/ 249 h 265"/>
                    <a:gd name="T24" fmla="*/ 308 w 357"/>
                    <a:gd name="T25" fmla="*/ 257 h 265"/>
                    <a:gd name="T26" fmla="*/ 288 w 357"/>
                    <a:gd name="T27" fmla="*/ 257 h 265"/>
                    <a:gd name="T28" fmla="*/ 287 w 357"/>
                    <a:gd name="T29" fmla="*/ 237 h 265"/>
                    <a:gd name="T30" fmla="*/ 289 w 357"/>
                    <a:gd name="T31" fmla="*/ 215 h 265"/>
                    <a:gd name="T32" fmla="*/ 269 w 357"/>
                    <a:gd name="T33" fmla="*/ 190 h 265"/>
                    <a:gd name="T34" fmla="*/ 259 w 357"/>
                    <a:gd name="T35" fmla="*/ 172 h 265"/>
                    <a:gd name="T36" fmla="*/ 235 w 357"/>
                    <a:gd name="T37" fmla="*/ 175 h 265"/>
                    <a:gd name="T38" fmla="*/ 154 w 357"/>
                    <a:gd name="T39" fmla="*/ 177 h 265"/>
                    <a:gd name="T40" fmla="*/ 99 w 357"/>
                    <a:gd name="T41" fmla="*/ 207 h 265"/>
                    <a:gd name="T42" fmla="*/ 89 w 357"/>
                    <a:gd name="T43" fmla="*/ 249 h 265"/>
                    <a:gd name="T44" fmla="*/ 61 w 357"/>
                    <a:gd name="T45" fmla="*/ 259 h 265"/>
                    <a:gd name="T46" fmla="*/ 41 w 357"/>
                    <a:gd name="T47" fmla="*/ 245 h 265"/>
                    <a:gd name="T48" fmla="*/ 28 w 357"/>
                    <a:gd name="T49" fmla="*/ 209 h 265"/>
                    <a:gd name="T50" fmla="*/ 38 w 357"/>
                    <a:gd name="T51" fmla="*/ 187 h 265"/>
                    <a:gd name="T52" fmla="*/ 40 w 357"/>
                    <a:gd name="T53" fmla="*/ 169 h 265"/>
                    <a:gd name="T54" fmla="*/ 35 w 357"/>
                    <a:gd name="T55" fmla="*/ 148 h 265"/>
                    <a:gd name="T56" fmla="*/ 30 w 357"/>
                    <a:gd name="T57" fmla="*/ 133 h 265"/>
                    <a:gd name="T58" fmla="*/ 3 w 357"/>
                    <a:gd name="T59" fmla="*/ 125 h 265"/>
                    <a:gd name="T60" fmla="*/ 28 w 357"/>
                    <a:gd name="T61" fmla="*/ 98 h 265"/>
                    <a:gd name="T62" fmla="*/ 76 w 357"/>
                    <a:gd name="T63" fmla="*/ 69 h 265"/>
                    <a:gd name="T64" fmla="*/ 86 w 357"/>
                    <a:gd name="T65" fmla="*/ 34 h 265"/>
                    <a:gd name="T66" fmla="*/ 89 w 357"/>
                    <a:gd name="T67" fmla="*/ 0 h 265"/>
                    <a:gd name="T68" fmla="*/ 121 w 357"/>
                    <a:gd name="T69" fmla="*/ 15 h 265"/>
                    <a:gd name="T70" fmla="*/ 160 w 357"/>
                    <a:gd name="T71" fmla="*/ 39 h 265"/>
                    <a:gd name="T72" fmla="*/ 200 w 357"/>
                    <a:gd name="T73" fmla="*/ 49 h 265"/>
                    <a:gd name="T74" fmla="*/ 224 w 357"/>
                    <a:gd name="T75" fmla="*/ 80 h 265"/>
                    <a:gd name="T76" fmla="*/ 230 w 357"/>
                    <a:gd name="T77" fmla="*/ 77 h 265"/>
                    <a:gd name="T78" fmla="*/ 232 w 357"/>
                    <a:gd name="T79" fmla="*/ 52 h 265"/>
                    <a:gd name="T80" fmla="*/ 235 w 357"/>
                    <a:gd name="T81" fmla="*/ 44 h 265"/>
                    <a:gd name="T82" fmla="*/ 223 w 357"/>
                    <a:gd name="T83" fmla="*/ 29 h 265"/>
                    <a:gd name="T84" fmla="*/ 236 w 357"/>
                    <a:gd name="T85" fmla="*/ 32 h 265"/>
                    <a:gd name="T86" fmla="*/ 246 w 357"/>
                    <a:gd name="T87" fmla="*/ 22 h 265"/>
                    <a:gd name="T88" fmla="*/ 303 w 357"/>
                    <a:gd name="T89" fmla="*/ 45 h 265"/>
                    <a:gd name="T90" fmla="*/ 355 w 357"/>
                    <a:gd name="T91" fmla="*/ 7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7" h="265">
                      <a:moveTo>
                        <a:pt x="357" y="70"/>
                      </a:moveTo>
                      <a:lnTo>
                        <a:pt x="353" y="75"/>
                      </a:lnTo>
                      <a:lnTo>
                        <a:pt x="339" y="84"/>
                      </a:lnTo>
                      <a:lnTo>
                        <a:pt x="328" y="94"/>
                      </a:lnTo>
                      <a:lnTo>
                        <a:pt x="317" y="95"/>
                      </a:lnTo>
                      <a:lnTo>
                        <a:pt x="308" y="93"/>
                      </a:lnTo>
                      <a:lnTo>
                        <a:pt x="302" y="94"/>
                      </a:lnTo>
                      <a:lnTo>
                        <a:pt x="298" y="99"/>
                      </a:lnTo>
                      <a:lnTo>
                        <a:pt x="307" y="103"/>
                      </a:lnTo>
                      <a:lnTo>
                        <a:pt x="314" y="107"/>
                      </a:lnTo>
                      <a:lnTo>
                        <a:pt x="317" y="110"/>
                      </a:lnTo>
                      <a:lnTo>
                        <a:pt x="314" y="117"/>
                      </a:lnTo>
                      <a:lnTo>
                        <a:pt x="317" y="125"/>
                      </a:lnTo>
                      <a:lnTo>
                        <a:pt x="312" y="125"/>
                      </a:lnTo>
                      <a:lnTo>
                        <a:pt x="302" y="120"/>
                      </a:lnTo>
                      <a:lnTo>
                        <a:pt x="295" y="125"/>
                      </a:lnTo>
                      <a:lnTo>
                        <a:pt x="298" y="132"/>
                      </a:lnTo>
                      <a:lnTo>
                        <a:pt x="304" y="138"/>
                      </a:lnTo>
                      <a:lnTo>
                        <a:pt x="303" y="155"/>
                      </a:lnTo>
                      <a:lnTo>
                        <a:pt x="302" y="162"/>
                      </a:lnTo>
                      <a:lnTo>
                        <a:pt x="302" y="170"/>
                      </a:lnTo>
                      <a:lnTo>
                        <a:pt x="300" y="177"/>
                      </a:lnTo>
                      <a:lnTo>
                        <a:pt x="304" y="182"/>
                      </a:lnTo>
                      <a:lnTo>
                        <a:pt x="308" y="175"/>
                      </a:lnTo>
                      <a:lnTo>
                        <a:pt x="313" y="179"/>
                      </a:lnTo>
                      <a:lnTo>
                        <a:pt x="319" y="190"/>
                      </a:lnTo>
                      <a:lnTo>
                        <a:pt x="335" y="193"/>
                      </a:lnTo>
                      <a:lnTo>
                        <a:pt x="340" y="200"/>
                      </a:lnTo>
                      <a:lnTo>
                        <a:pt x="332" y="208"/>
                      </a:lnTo>
                      <a:lnTo>
                        <a:pt x="334" y="213"/>
                      </a:lnTo>
                      <a:lnTo>
                        <a:pt x="333" y="220"/>
                      </a:lnTo>
                      <a:lnTo>
                        <a:pt x="317" y="220"/>
                      </a:lnTo>
                      <a:lnTo>
                        <a:pt x="308" y="228"/>
                      </a:lnTo>
                      <a:lnTo>
                        <a:pt x="305" y="235"/>
                      </a:lnTo>
                      <a:lnTo>
                        <a:pt x="310" y="244"/>
                      </a:lnTo>
                      <a:lnTo>
                        <a:pt x="314" y="249"/>
                      </a:lnTo>
                      <a:lnTo>
                        <a:pt x="315" y="254"/>
                      </a:lnTo>
                      <a:lnTo>
                        <a:pt x="312" y="255"/>
                      </a:lnTo>
                      <a:lnTo>
                        <a:pt x="308" y="257"/>
                      </a:lnTo>
                      <a:lnTo>
                        <a:pt x="298" y="254"/>
                      </a:lnTo>
                      <a:lnTo>
                        <a:pt x="292" y="258"/>
                      </a:lnTo>
                      <a:lnTo>
                        <a:pt x="288" y="257"/>
                      </a:lnTo>
                      <a:lnTo>
                        <a:pt x="287" y="253"/>
                      </a:lnTo>
                      <a:lnTo>
                        <a:pt x="288" y="248"/>
                      </a:lnTo>
                      <a:lnTo>
                        <a:pt x="287" y="237"/>
                      </a:lnTo>
                      <a:lnTo>
                        <a:pt x="282" y="224"/>
                      </a:lnTo>
                      <a:lnTo>
                        <a:pt x="292" y="219"/>
                      </a:lnTo>
                      <a:lnTo>
                        <a:pt x="289" y="215"/>
                      </a:lnTo>
                      <a:lnTo>
                        <a:pt x="283" y="213"/>
                      </a:lnTo>
                      <a:lnTo>
                        <a:pt x="280" y="205"/>
                      </a:lnTo>
                      <a:lnTo>
                        <a:pt x="269" y="190"/>
                      </a:lnTo>
                      <a:lnTo>
                        <a:pt x="265" y="182"/>
                      </a:lnTo>
                      <a:lnTo>
                        <a:pt x="260" y="182"/>
                      </a:lnTo>
                      <a:lnTo>
                        <a:pt x="259" y="172"/>
                      </a:lnTo>
                      <a:lnTo>
                        <a:pt x="252" y="174"/>
                      </a:lnTo>
                      <a:lnTo>
                        <a:pt x="244" y="173"/>
                      </a:lnTo>
                      <a:lnTo>
                        <a:pt x="235" y="175"/>
                      </a:lnTo>
                      <a:lnTo>
                        <a:pt x="228" y="169"/>
                      </a:lnTo>
                      <a:lnTo>
                        <a:pt x="206" y="165"/>
                      </a:lnTo>
                      <a:lnTo>
                        <a:pt x="154" y="177"/>
                      </a:lnTo>
                      <a:lnTo>
                        <a:pt x="134" y="183"/>
                      </a:lnTo>
                      <a:lnTo>
                        <a:pt x="114" y="193"/>
                      </a:lnTo>
                      <a:lnTo>
                        <a:pt x="99" y="207"/>
                      </a:lnTo>
                      <a:lnTo>
                        <a:pt x="98" y="233"/>
                      </a:lnTo>
                      <a:lnTo>
                        <a:pt x="104" y="255"/>
                      </a:lnTo>
                      <a:lnTo>
                        <a:pt x="89" y="249"/>
                      </a:lnTo>
                      <a:lnTo>
                        <a:pt x="78" y="265"/>
                      </a:lnTo>
                      <a:lnTo>
                        <a:pt x="69" y="262"/>
                      </a:lnTo>
                      <a:lnTo>
                        <a:pt x="61" y="259"/>
                      </a:lnTo>
                      <a:lnTo>
                        <a:pt x="51" y="257"/>
                      </a:lnTo>
                      <a:lnTo>
                        <a:pt x="45" y="250"/>
                      </a:lnTo>
                      <a:lnTo>
                        <a:pt x="41" y="245"/>
                      </a:lnTo>
                      <a:lnTo>
                        <a:pt x="34" y="233"/>
                      </a:lnTo>
                      <a:lnTo>
                        <a:pt x="29" y="222"/>
                      </a:lnTo>
                      <a:lnTo>
                        <a:pt x="28" y="209"/>
                      </a:lnTo>
                      <a:lnTo>
                        <a:pt x="29" y="200"/>
                      </a:lnTo>
                      <a:lnTo>
                        <a:pt x="31" y="194"/>
                      </a:lnTo>
                      <a:lnTo>
                        <a:pt x="38" y="187"/>
                      </a:lnTo>
                      <a:lnTo>
                        <a:pt x="40" y="180"/>
                      </a:lnTo>
                      <a:lnTo>
                        <a:pt x="40" y="174"/>
                      </a:lnTo>
                      <a:lnTo>
                        <a:pt x="40" y="169"/>
                      </a:lnTo>
                      <a:lnTo>
                        <a:pt x="38" y="159"/>
                      </a:lnTo>
                      <a:lnTo>
                        <a:pt x="35" y="152"/>
                      </a:lnTo>
                      <a:lnTo>
                        <a:pt x="35" y="148"/>
                      </a:lnTo>
                      <a:lnTo>
                        <a:pt x="35" y="139"/>
                      </a:lnTo>
                      <a:lnTo>
                        <a:pt x="35" y="135"/>
                      </a:lnTo>
                      <a:lnTo>
                        <a:pt x="30" y="133"/>
                      </a:lnTo>
                      <a:lnTo>
                        <a:pt x="26" y="132"/>
                      </a:lnTo>
                      <a:lnTo>
                        <a:pt x="0" y="135"/>
                      </a:lnTo>
                      <a:lnTo>
                        <a:pt x="3" y="125"/>
                      </a:lnTo>
                      <a:lnTo>
                        <a:pt x="14" y="108"/>
                      </a:lnTo>
                      <a:lnTo>
                        <a:pt x="21" y="102"/>
                      </a:lnTo>
                      <a:lnTo>
                        <a:pt x="28" y="98"/>
                      </a:lnTo>
                      <a:lnTo>
                        <a:pt x="36" y="94"/>
                      </a:lnTo>
                      <a:lnTo>
                        <a:pt x="73" y="74"/>
                      </a:lnTo>
                      <a:lnTo>
                        <a:pt x="76" y="69"/>
                      </a:lnTo>
                      <a:lnTo>
                        <a:pt x="80" y="64"/>
                      </a:lnTo>
                      <a:lnTo>
                        <a:pt x="83" y="57"/>
                      </a:lnTo>
                      <a:lnTo>
                        <a:pt x="86" y="34"/>
                      </a:lnTo>
                      <a:lnTo>
                        <a:pt x="88" y="28"/>
                      </a:lnTo>
                      <a:lnTo>
                        <a:pt x="86" y="12"/>
                      </a:lnTo>
                      <a:lnTo>
                        <a:pt x="89" y="0"/>
                      </a:lnTo>
                      <a:lnTo>
                        <a:pt x="99" y="3"/>
                      </a:lnTo>
                      <a:lnTo>
                        <a:pt x="114" y="12"/>
                      </a:lnTo>
                      <a:lnTo>
                        <a:pt x="121" y="15"/>
                      </a:lnTo>
                      <a:lnTo>
                        <a:pt x="139" y="32"/>
                      </a:lnTo>
                      <a:lnTo>
                        <a:pt x="148" y="37"/>
                      </a:lnTo>
                      <a:lnTo>
                        <a:pt x="160" y="39"/>
                      </a:lnTo>
                      <a:lnTo>
                        <a:pt x="178" y="40"/>
                      </a:lnTo>
                      <a:lnTo>
                        <a:pt x="191" y="44"/>
                      </a:lnTo>
                      <a:lnTo>
                        <a:pt x="200" y="49"/>
                      </a:lnTo>
                      <a:lnTo>
                        <a:pt x="208" y="57"/>
                      </a:lnTo>
                      <a:lnTo>
                        <a:pt x="211" y="63"/>
                      </a:lnTo>
                      <a:lnTo>
                        <a:pt x="224" y="80"/>
                      </a:lnTo>
                      <a:lnTo>
                        <a:pt x="226" y="82"/>
                      </a:lnTo>
                      <a:lnTo>
                        <a:pt x="229" y="82"/>
                      </a:lnTo>
                      <a:lnTo>
                        <a:pt x="230" y="77"/>
                      </a:lnTo>
                      <a:lnTo>
                        <a:pt x="232" y="73"/>
                      </a:lnTo>
                      <a:lnTo>
                        <a:pt x="230" y="55"/>
                      </a:lnTo>
                      <a:lnTo>
                        <a:pt x="232" y="52"/>
                      </a:lnTo>
                      <a:lnTo>
                        <a:pt x="235" y="52"/>
                      </a:lnTo>
                      <a:lnTo>
                        <a:pt x="237" y="48"/>
                      </a:lnTo>
                      <a:lnTo>
                        <a:pt x="235" y="44"/>
                      </a:lnTo>
                      <a:lnTo>
                        <a:pt x="225" y="34"/>
                      </a:lnTo>
                      <a:lnTo>
                        <a:pt x="223" y="32"/>
                      </a:lnTo>
                      <a:lnTo>
                        <a:pt x="223" y="29"/>
                      </a:lnTo>
                      <a:lnTo>
                        <a:pt x="226" y="28"/>
                      </a:lnTo>
                      <a:lnTo>
                        <a:pt x="233" y="32"/>
                      </a:lnTo>
                      <a:lnTo>
                        <a:pt x="236" y="32"/>
                      </a:lnTo>
                      <a:lnTo>
                        <a:pt x="239" y="25"/>
                      </a:lnTo>
                      <a:lnTo>
                        <a:pt x="243" y="23"/>
                      </a:lnTo>
                      <a:lnTo>
                        <a:pt x="246" y="22"/>
                      </a:lnTo>
                      <a:lnTo>
                        <a:pt x="251" y="20"/>
                      </a:lnTo>
                      <a:lnTo>
                        <a:pt x="256" y="20"/>
                      </a:lnTo>
                      <a:lnTo>
                        <a:pt x="303" y="45"/>
                      </a:lnTo>
                      <a:lnTo>
                        <a:pt x="309" y="49"/>
                      </a:lnTo>
                      <a:lnTo>
                        <a:pt x="320" y="58"/>
                      </a:lnTo>
                      <a:lnTo>
                        <a:pt x="355" y="70"/>
                      </a:lnTo>
                      <a:lnTo>
                        <a:pt x="357" y="7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5" name="Saitama" descr="{&quot;Key&quot;:&quot;saitama&quot;,&quot;Name&quot;:&quot;Saitama&quot;,&quot;Value&quot;:1.0,&quot;Formula&quot;:&quot;&quot;,&quot;Text&quot;:&quot;&quot;,&quot;OfficeApplication&quot;:1,&quot;HasValue&quot;:true}">
                  <a:extLst>
                    <a:ext uri="{FF2B5EF4-FFF2-40B4-BE49-F238E27FC236}">
                      <a16:creationId xmlns:a16="http://schemas.microsoft.com/office/drawing/2014/main" id="{3A3EA8C8-EE8B-4013-BCA2-E56CF7A24DEB}"/>
                    </a:ext>
                  </a:extLst>
                </p:cNvPr>
                <p:cNvSpPr>
                  <a:spLocks/>
                </p:cNvSpPr>
                <p:nvPr/>
              </p:nvSpPr>
              <p:spPr bwMode="auto">
                <a:xfrm>
                  <a:off x="6604000" y="3508375"/>
                  <a:ext cx="274638" cy="149225"/>
                </a:xfrm>
                <a:custGeom>
                  <a:avLst/>
                  <a:gdLst>
                    <a:gd name="T0" fmla="*/ 396 w 472"/>
                    <a:gd name="T1" fmla="*/ 73 h 257"/>
                    <a:gd name="T2" fmla="*/ 412 w 472"/>
                    <a:gd name="T3" fmla="*/ 90 h 257"/>
                    <a:gd name="T4" fmla="*/ 424 w 472"/>
                    <a:gd name="T5" fmla="*/ 95 h 257"/>
                    <a:gd name="T6" fmla="*/ 441 w 472"/>
                    <a:gd name="T7" fmla="*/ 125 h 257"/>
                    <a:gd name="T8" fmla="*/ 459 w 472"/>
                    <a:gd name="T9" fmla="*/ 173 h 257"/>
                    <a:gd name="T10" fmla="*/ 470 w 472"/>
                    <a:gd name="T11" fmla="*/ 190 h 257"/>
                    <a:gd name="T12" fmla="*/ 472 w 472"/>
                    <a:gd name="T13" fmla="*/ 209 h 257"/>
                    <a:gd name="T14" fmla="*/ 445 w 472"/>
                    <a:gd name="T15" fmla="*/ 239 h 257"/>
                    <a:gd name="T16" fmla="*/ 419 w 472"/>
                    <a:gd name="T17" fmla="*/ 239 h 257"/>
                    <a:gd name="T18" fmla="*/ 411 w 472"/>
                    <a:gd name="T19" fmla="*/ 245 h 257"/>
                    <a:gd name="T20" fmla="*/ 379 w 472"/>
                    <a:gd name="T21" fmla="*/ 245 h 257"/>
                    <a:gd name="T22" fmla="*/ 369 w 472"/>
                    <a:gd name="T23" fmla="*/ 250 h 257"/>
                    <a:gd name="T24" fmla="*/ 336 w 472"/>
                    <a:gd name="T25" fmla="*/ 257 h 257"/>
                    <a:gd name="T26" fmla="*/ 331 w 472"/>
                    <a:gd name="T27" fmla="*/ 246 h 257"/>
                    <a:gd name="T28" fmla="*/ 325 w 472"/>
                    <a:gd name="T29" fmla="*/ 245 h 257"/>
                    <a:gd name="T30" fmla="*/ 309 w 472"/>
                    <a:gd name="T31" fmla="*/ 254 h 257"/>
                    <a:gd name="T32" fmla="*/ 296 w 472"/>
                    <a:gd name="T33" fmla="*/ 257 h 257"/>
                    <a:gd name="T34" fmla="*/ 276 w 472"/>
                    <a:gd name="T35" fmla="*/ 256 h 257"/>
                    <a:gd name="T36" fmla="*/ 230 w 472"/>
                    <a:gd name="T37" fmla="*/ 230 h 257"/>
                    <a:gd name="T38" fmla="*/ 140 w 472"/>
                    <a:gd name="T39" fmla="*/ 205 h 257"/>
                    <a:gd name="T40" fmla="*/ 123 w 472"/>
                    <a:gd name="T41" fmla="*/ 195 h 257"/>
                    <a:gd name="T42" fmla="*/ 103 w 472"/>
                    <a:gd name="T43" fmla="*/ 205 h 257"/>
                    <a:gd name="T44" fmla="*/ 69 w 472"/>
                    <a:gd name="T45" fmla="*/ 215 h 257"/>
                    <a:gd name="T46" fmla="*/ 40 w 472"/>
                    <a:gd name="T47" fmla="*/ 206 h 257"/>
                    <a:gd name="T48" fmla="*/ 0 w 472"/>
                    <a:gd name="T49" fmla="*/ 160 h 257"/>
                    <a:gd name="T50" fmla="*/ 8 w 472"/>
                    <a:gd name="T51" fmla="*/ 144 h 257"/>
                    <a:gd name="T52" fmla="*/ 15 w 472"/>
                    <a:gd name="T53" fmla="*/ 129 h 257"/>
                    <a:gd name="T54" fmla="*/ 21 w 472"/>
                    <a:gd name="T55" fmla="*/ 121 h 257"/>
                    <a:gd name="T56" fmla="*/ 34 w 472"/>
                    <a:gd name="T57" fmla="*/ 117 h 257"/>
                    <a:gd name="T58" fmla="*/ 104 w 472"/>
                    <a:gd name="T59" fmla="*/ 80 h 257"/>
                    <a:gd name="T60" fmla="*/ 135 w 472"/>
                    <a:gd name="T61" fmla="*/ 66 h 257"/>
                    <a:gd name="T62" fmla="*/ 139 w 472"/>
                    <a:gd name="T63" fmla="*/ 52 h 257"/>
                    <a:gd name="T64" fmla="*/ 139 w 472"/>
                    <a:gd name="T65" fmla="*/ 42 h 257"/>
                    <a:gd name="T66" fmla="*/ 158 w 472"/>
                    <a:gd name="T67" fmla="*/ 11 h 257"/>
                    <a:gd name="T68" fmla="*/ 166 w 472"/>
                    <a:gd name="T69" fmla="*/ 0 h 257"/>
                    <a:gd name="T70" fmla="*/ 193 w 472"/>
                    <a:gd name="T71" fmla="*/ 6 h 257"/>
                    <a:gd name="T72" fmla="*/ 201 w 472"/>
                    <a:gd name="T73" fmla="*/ 9 h 257"/>
                    <a:gd name="T74" fmla="*/ 244 w 472"/>
                    <a:gd name="T75" fmla="*/ 21 h 257"/>
                    <a:gd name="T76" fmla="*/ 288 w 472"/>
                    <a:gd name="T77" fmla="*/ 30 h 257"/>
                    <a:gd name="T78" fmla="*/ 311 w 472"/>
                    <a:gd name="T79" fmla="*/ 46 h 257"/>
                    <a:gd name="T80" fmla="*/ 348 w 472"/>
                    <a:gd name="T81" fmla="*/ 40 h 257"/>
                    <a:gd name="T82" fmla="*/ 393 w 472"/>
                    <a:gd name="T83" fmla="*/ 5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2" h="257">
                      <a:moveTo>
                        <a:pt x="393" y="59"/>
                      </a:moveTo>
                      <a:lnTo>
                        <a:pt x="396" y="73"/>
                      </a:lnTo>
                      <a:lnTo>
                        <a:pt x="406" y="86"/>
                      </a:lnTo>
                      <a:lnTo>
                        <a:pt x="412" y="90"/>
                      </a:lnTo>
                      <a:lnTo>
                        <a:pt x="416" y="93"/>
                      </a:lnTo>
                      <a:lnTo>
                        <a:pt x="424" y="95"/>
                      </a:lnTo>
                      <a:lnTo>
                        <a:pt x="437" y="116"/>
                      </a:lnTo>
                      <a:lnTo>
                        <a:pt x="441" y="125"/>
                      </a:lnTo>
                      <a:lnTo>
                        <a:pt x="455" y="166"/>
                      </a:lnTo>
                      <a:lnTo>
                        <a:pt x="459" y="173"/>
                      </a:lnTo>
                      <a:lnTo>
                        <a:pt x="466" y="184"/>
                      </a:lnTo>
                      <a:lnTo>
                        <a:pt x="470" y="190"/>
                      </a:lnTo>
                      <a:lnTo>
                        <a:pt x="471" y="200"/>
                      </a:lnTo>
                      <a:lnTo>
                        <a:pt x="472" y="209"/>
                      </a:lnTo>
                      <a:lnTo>
                        <a:pt x="469" y="245"/>
                      </a:lnTo>
                      <a:lnTo>
                        <a:pt x="445" y="239"/>
                      </a:lnTo>
                      <a:lnTo>
                        <a:pt x="426" y="236"/>
                      </a:lnTo>
                      <a:lnTo>
                        <a:pt x="419" y="239"/>
                      </a:lnTo>
                      <a:lnTo>
                        <a:pt x="415" y="240"/>
                      </a:lnTo>
                      <a:lnTo>
                        <a:pt x="411" y="245"/>
                      </a:lnTo>
                      <a:lnTo>
                        <a:pt x="405" y="246"/>
                      </a:lnTo>
                      <a:lnTo>
                        <a:pt x="379" y="245"/>
                      </a:lnTo>
                      <a:lnTo>
                        <a:pt x="373" y="248"/>
                      </a:lnTo>
                      <a:lnTo>
                        <a:pt x="369" y="250"/>
                      </a:lnTo>
                      <a:lnTo>
                        <a:pt x="364" y="255"/>
                      </a:lnTo>
                      <a:lnTo>
                        <a:pt x="336" y="257"/>
                      </a:lnTo>
                      <a:lnTo>
                        <a:pt x="334" y="254"/>
                      </a:lnTo>
                      <a:lnTo>
                        <a:pt x="331" y="246"/>
                      </a:lnTo>
                      <a:lnTo>
                        <a:pt x="329" y="245"/>
                      </a:lnTo>
                      <a:lnTo>
                        <a:pt x="325" y="245"/>
                      </a:lnTo>
                      <a:lnTo>
                        <a:pt x="319" y="247"/>
                      </a:lnTo>
                      <a:lnTo>
                        <a:pt x="309" y="254"/>
                      </a:lnTo>
                      <a:lnTo>
                        <a:pt x="302" y="256"/>
                      </a:lnTo>
                      <a:lnTo>
                        <a:pt x="296" y="257"/>
                      </a:lnTo>
                      <a:lnTo>
                        <a:pt x="286" y="257"/>
                      </a:lnTo>
                      <a:lnTo>
                        <a:pt x="276" y="256"/>
                      </a:lnTo>
                      <a:lnTo>
                        <a:pt x="238" y="232"/>
                      </a:lnTo>
                      <a:lnTo>
                        <a:pt x="230" y="230"/>
                      </a:lnTo>
                      <a:lnTo>
                        <a:pt x="145" y="207"/>
                      </a:lnTo>
                      <a:lnTo>
                        <a:pt x="140" y="205"/>
                      </a:lnTo>
                      <a:lnTo>
                        <a:pt x="126" y="196"/>
                      </a:lnTo>
                      <a:lnTo>
                        <a:pt x="123" y="195"/>
                      </a:lnTo>
                      <a:lnTo>
                        <a:pt x="119" y="196"/>
                      </a:lnTo>
                      <a:lnTo>
                        <a:pt x="103" y="205"/>
                      </a:lnTo>
                      <a:lnTo>
                        <a:pt x="90" y="216"/>
                      </a:lnTo>
                      <a:lnTo>
                        <a:pt x="69" y="215"/>
                      </a:lnTo>
                      <a:lnTo>
                        <a:pt x="54" y="211"/>
                      </a:lnTo>
                      <a:lnTo>
                        <a:pt x="40" y="206"/>
                      </a:lnTo>
                      <a:lnTo>
                        <a:pt x="8" y="186"/>
                      </a:lnTo>
                      <a:lnTo>
                        <a:pt x="0" y="160"/>
                      </a:lnTo>
                      <a:lnTo>
                        <a:pt x="1" y="150"/>
                      </a:lnTo>
                      <a:lnTo>
                        <a:pt x="8" y="144"/>
                      </a:lnTo>
                      <a:lnTo>
                        <a:pt x="14" y="135"/>
                      </a:lnTo>
                      <a:lnTo>
                        <a:pt x="15" y="129"/>
                      </a:lnTo>
                      <a:lnTo>
                        <a:pt x="18" y="125"/>
                      </a:lnTo>
                      <a:lnTo>
                        <a:pt x="21" y="121"/>
                      </a:lnTo>
                      <a:lnTo>
                        <a:pt x="26" y="119"/>
                      </a:lnTo>
                      <a:lnTo>
                        <a:pt x="34" y="117"/>
                      </a:lnTo>
                      <a:lnTo>
                        <a:pt x="64" y="99"/>
                      </a:lnTo>
                      <a:lnTo>
                        <a:pt x="104" y="80"/>
                      </a:lnTo>
                      <a:lnTo>
                        <a:pt x="129" y="71"/>
                      </a:lnTo>
                      <a:lnTo>
                        <a:pt x="135" y="66"/>
                      </a:lnTo>
                      <a:lnTo>
                        <a:pt x="138" y="60"/>
                      </a:lnTo>
                      <a:lnTo>
                        <a:pt x="139" y="52"/>
                      </a:lnTo>
                      <a:lnTo>
                        <a:pt x="139" y="47"/>
                      </a:lnTo>
                      <a:lnTo>
                        <a:pt x="139" y="42"/>
                      </a:lnTo>
                      <a:lnTo>
                        <a:pt x="141" y="37"/>
                      </a:lnTo>
                      <a:lnTo>
                        <a:pt x="158" y="11"/>
                      </a:lnTo>
                      <a:lnTo>
                        <a:pt x="165" y="1"/>
                      </a:lnTo>
                      <a:lnTo>
                        <a:pt x="166" y="0"/>
                      </a:lnTo>
                      <a:lnTo>
                        <a:pt x="176" y="0"/>
                      </a:lnTo>
                      <a:lnTo>
                        <a:pt x="193" y="6"/>
                      </a:lnTo>
                      <a:lnTo>
                        <a:pt x="199" y="6"/>
                      </a:lnTo>
                      <a:lnTo>
                        <a:pt x="201" y="9"/>
                      </a:lnTo>
                      <a:lnTo>
                        <a:pt x="215" y="14"/>
                      </a:lnTo>
                      <a:lnTo>
                        <a:pt x="244" y="21"/>
                      </a:lnTo>
                      <a:lnTo>
                        <a:pt x="274" y="24"/>
                      </a:lnTo>
                      <a:lnTo>
                        <a:pt x="288" y="30"/>
                      </a:lnTo>
                      <a:lnTo>
                        <a:pt x="300" y="37"/>
                      </a:lnTo>
                      <a:lnTo>
                        <a:pt x="311" y="46"/>
                      </a:lnTo>
                      <a:lnTo>
                        <a:pt x="328" y="39"/>
                      </a:lnTo>
                      <a:lnTo>
                        <a:pt x="348" y="40"/>
                      </a:lnTo>
                      <a:lnTo>
                        <a:pt x="366" y="45"/>
                      </a:lnTo>
                      <a:lnTo>
                        <a:pt x="393" y="59"/>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6" name="Tochigi" descr="{&quot;Key&quot;:&quot;tochigi&quot;,&quot;Name&quot;:&quot;Tochigi&quot;,&quot;Value&quot;:1.0,&quot;Formula&quot;:&quot;&quot;,&quot;Text&quot;:&quot;&quot;,&quot;OfficeApplication&quot;:1,&quot;HasValue&quot;:true}">
                  <a:extLst>
                    <a:ext uri="{FF2B5EF4-FFF2-40B4-BE49-F238E27FC236}">
                      <a16:creationId xmlns:a16="http://schemas.microsoft.com/office/drawing/2014/main" id="{FB8062D2-832A-4BE6-893A-4F35FA5F5A0D}"/>
                    </a:ext>
                  </a:extLst>
                </p:cNvPr>
                <p:cNvSpPr>
                  <a:spLocks/>
                </p:cNvSpPr>
                <p:nvPr/>
              </p:nvSpPr>
              <p:spPr bwMode="auto">
                <a:xfrm>
                  <a:off x="6746875" y="3252788"/>
                  <a:ext cx="225425" cy="276225"/>
                </a:xfrm>
                <a:custGeom>
                  <a:avLst/>
                  <a:gdLst>
                    <a:gd name="T0" fmla="*/ 377 w 386"/>
                    <a:gd name="T1" fmla="*/ 135 h 472"/>
                    <a:gd name="T2" fmla="*/ 380 w 386"/>
                    <a:gd name="T3" fmla="*/ 167 h 472"/>
                    <a:gd name="T4" fmla="*/ 386 w 386"/>
                    <a:gd name="T5" fmla="*/ 213 h 472"/>
                    <a:gd name="T6" fmla="*/ 371 w 386"/>
                    <a:gd name="T7" fmla="*/ 228 h 472"/>
                    <a:gd name="T8" fmla="*/ 371 w 386"/>
                    <a:gd name="T9" fmla="*/ 261 h 472"/>
                    <a:gd name="T10" fmla="*/ 371 w 386"/>
                    <a:gd name="T11" fmla="*/ 323 h 472"/>
                    <a:gd name="T12" fmla="*/ 352 w 386"/>
                    <a:gd name="T13" fmla="*/ 364 h 472"/>
                    <a:gd name="T14" fmla="*/ 337 w 386"/>
                    <a:gd name="T15" fmla="*/ 377 h 472"/>
                    <a:gd name="T16" fmla="*/ 301 w 386"/>
                    <a:gd name="T17" fmla="*/ 381 h 472"/>
                    <a:gd name="T18" fmla="*/ 277 w 386"/>
                    <a:gd name="T19" fmla="*/ 389 h 472"/>
                    <a:gd name="T20" fmla="*/ 260 w 386"/>
                    <a:gd name="T21" fmla="*/ 392 h 472"/>
                    <a:gd name="T22" fmla="*/ 232 w 386"/>
                    <a:gd name="T23" fmla="*/ 419 h 472"/>
                    <a:gd name="T24" fmla="*/ 215 w 386"/>
                    <a:gd name="T25" fmla="*/ 422 h 472"/>
                    <a:gd name="T26" fmla="*/ 195 w 386"/>
                    <a:gd name="T27" fmla="*/ 452 h 472"/>
                    <a:gd name="T28" fmla="*/ 160 w 386"/>
                    <a:gd name="T29" fmla="*/ 470 h 472"/>
                    <a:gd name="T30" fmla="*/ 134 w 386"/>
                    <a:gd name="T31" fmla="*/ 460 h 472"/>
                    <a:gd name="T32" fmla="*/ 80 w 386"/>
                    <a:gd name="T33" fmla="*/ 436 h 472"/>
                    <a:gd name="T34" fmla="*/ 60 w 386"/>
                    <a:gd name="T35" fmla="*/ 438 h 472"/>
                    <a:gd name="T36" fmla="*/ 39 w 386"/>
                    <a:gd name="T37" fmla="*/ 422 h 472"/>
                    <a:gd name="T38" fmla="*/ 20 w 386"/>
                    <a:gd name="T39" fmla="*/ 398 h 472"/>
                    <a:gd name="T40" fmla="*/ 12 w 386"/>
                    <a:gd name="T41" fmla="*/ 383 h 472"/>
                    <a:gd name="T42" fmla="*/ 24 w 386"/>
                    <a:gd name="T43" fmla="*/ 362 h 472"/>
                    <a:gd name="T44" fmla="*/ 35 w 386"/>
                    <a:gd name="T45" fmla="*/ 335 h 472"/>
                    <a:gd name="T46" fmla="*/ 40 w 386"/>
                    <a:gd name="T47" fmla="*/ 318 h 472"/>
                    <a:gd name="T48" fmla="*/ 49 w 386"/>
                    <a:gd name="T49" fmla="*/ 301 h 472"/>
                    <a:gd name="T50" fmla="*/ 57 w 386"/>
                    <a:gd name="T51" fmla="*/ 286 h 472"/>
                    <a:gd name="T52" fmla="*/ 47 w 386"/>
                    <a:gd name="T53" fmla="*/ 272 h 472"/>
                    <a:gd name="T54" fmla="*/ 15 w 386"/>
                    <a:gd name="T55" fmla="*/ 265 h 472"/>
                    <a:gd name="T56" fmla="*/ 1 w 386"/>
                    <a:gd name="T57" fmla="*/ 243 h 472"/>
                    <a:gd name="T58" fmla="*/ 10 w 386"/>
                    <a:gd name="T59" fmla="*/ 213 h 472"/>
                    <a:gd name="T60" fmla="*/ 15 w 386"/>
                    <a:gd name="T61" fmla="*/ 182 h 472"/>
                    <a:gd name="T62" fmla="*/ 25 w 386"/>
                    <a:gd name="T63" fmla="*/ 168 h 472"/>
                    <a:gd name="T64" fmla="*/ 19 w 386"/>
                    <a:gd name="T65" fmla="*/ 155 h 472"/>
                    <a:gd name="T66" fmla="*/ 14 w 386"/>
                    <a:gd name="T67" fmla="*/ 136 h 472"/>
                    <a:gd name="T68" fmla="*/ 56 w 386"/>
                    <a:gd name="T69" fmla="*/ 93 h 472"/>
                    <a:gd name="T70" fmla="*/ 150 w 386"/>
                    <a:gd name="T71" fmla="*/ 45 h 472"/>
                    <a:gd name="T72" fmla="*/ 195 w 386"/>
                    <a:gd name="T73" fmla="*/ 31 h 472"/>
                    <a:gd name="T74" fmla="*/ 234 w 386"/>
                    <a:gd name="T75" fmla="*/ 2 h 472"/>
                    <a:gd name="T76" fmla="*/ 319 w 386"/>
                    <a:gd name="T77" fmla="*/ 18 h 472"/>
                    <a:gd name="T78" fmla="*/ 350 w 386"/>
                    <a:gd name="T79" fmla="*/ 42 h 472"/>
                    <a:gd name="T80" fmla="*/ 357 w 386"/>
                    <a:gd name="T81" fmla="*/ 56 h 472"/>
                    <a:gd name="T82" fmla="*/ 370 w 386"/>
                    <a:gd name="T83" fmla="*/ 70 h 472"/>
                    <a:gd name="T84" fmla="*/ 376 w 386"/>
                    <a:gd name="T85" fmla="*/ 101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472">
                      <a:moveTo>
                        <a:pt x="375" y="110"/>
                      </a:moveTo>
                      <a:lnTo>
                        <a:pt x="376" y="125"/>
                      </a:lnTo>
                      <a:lnTo>
                        <a:pt x="377" y="135"/>
                      </a:lnTo>
                      <a:lnTo>
                        <a:pt x="379" y="142"/>
                      </a:lnTo>
                      <a:lnTo>
                        <a:pt x="379" y="151"/>
                      </a:lnTo>
                      <a:lnTo>
                        <a:pt x="380" y="167"/>
                      </a:lnTo>
                      <a:lnTo>
                        <a:pt x="380" y="192"/>
                      </a:lnTo>
                      <a:lnTo>
                        <a:pt x="381" y="201"/>
                      </a:lnTo>
                      <a:lnTo>
                        <a:pt x="386" y="213"/>
                      </a:lnTo>
                      <a:lnTo>
                        <a:pt x="384" y="218"/>
                      </a:lnTo>
                      <a:lnTo>
                        <a:pt x="376" y="222"/>
                      </a:lnTo>
                      <a:lnTo>
                        <a:pt x="371" y="228"/>
                      </a:lnTo>
                      <a:lnTo>
                        <a:pt x="367" y="233"/>
                      </a:lnTo>
                      <a:lnTo>
                        <a:pt x="369" y="242"/>
                      </a:lnTo>
                      <a:lnTo>
                        <a:pt x="371" y="261"/>
                      </a:lnTo>
                      <a:lnTo>
                        <a:pt x="375" y="302"/>
                      </a:lnTo>
                      <a:lnTo>
                        <a:pt x="374" y="314"/>
                      </a:lnTo>
                      <a:lnTo>
                        <a:pt x="371" y="323"/>
                      </a:lnTo>
                      <a:lnTo>
                        <a:pt x="364" y="334"/>
                      </a:lnTo>
                      <a:lnTo>
                        <a:pt x="360" y="343"/>
                      </a:lnTo>
                      <a:lnTo>
                        <a:pt x="352" y="364"/>
                      </a:lnTo>
                      <a:lnTo>
                        <a:pt x="347" y="372"/>
                      </a:lnTo>
                      <a:lnTo>
                        <a:pt x="342" y="376"/>
                      </a:lnTo>
                      <a:lnTo>
                        <a:pt x="337" y="377"/>
                      </a:lnTo>
                      <a:lnTo>
                        <a:pt x="325" y="375"/>
                      </a:lnTo>
                      <a:lnTo>
                        <a:pt x="314" y="377"/>
                      </a:lnTo>
                      <a:lnTo>
                        <a:pt x="301" y="381"/>
                      </a:lnTo>
                      <a:lnTo>
                        <a:pt x="295" y="386"/>
                      </a:lnTo>
                      <a:lnTo>
                        <a:pt x="285" y="389"/>
                      </a:lnTo>
                      <a:lnTo>
                        <a:pt x="277" y="389"/>
                      </a:lnTo>
                      <a:lnTo>
                        <a:pt x="270" y="388"/>
                      </a:lnTo>
                      <a:lnTo>
                        <a:pt x="265" y="389"/>
                      </a:lnTo>
                      <a:lnTo>
                        <a:pt x="260" y="392"/>
                      </a:lnTo>
                      <a:lnTo>
                        <a:pt x="242" y="409"/>
                      </a:lnTo>
                      <a:lnTo>
                        <a:pt x="237" y="418"/>
                      </a:lnTo>
                      <a:lnTo>
                        <a:pt x="232" y="419"/>
                      </a:lnTo>
                      <a:lnTo>
                        <a:pt x="229" y="421"/>
                      </a:lnTo>
                      <a:lnTo>
                        <a:pt x="222" y="419"/>
                      </a:lnTo>
                      <a:lnTo>
                        <a:pt x="215" y="422"/>
                      </a:lnTo>
                      <a:lnTo>
                        <a:pt x="206" y="432"/>
                      </a:lnTo>
                      <a:lnTo>
                        <a:pt x="201" y="439"/>
                      </a:lnTo>
                      <a:lnTo>
                        <a:pt x="195" y="452"/>
                      </a:lnTo>
                      <a:lnTo>
                        <a:pt x="191" y="456"/>
                      </a:lnTo>
                      <a:lnTo>
                        <a:pt x="177" y="463"/>
                      </a:lnTo>
                      <a:lnTo>
                        <a:pt x="160" y="470"/>
                      </a:lnTo>
                      <a:lnTo>
                        <a:pt x="149" y="472"/>
                      </a:lnTo>
                      <a:lnTo>
                        <a:pt x="140" y="471"/>
                      </a:lnTo>
                      <a:lnTo>
                        <a:pt x="134" y="460"/>
                      </a:lnTo>
                      <a:lnTo>
                        <a:pt x="121" y="446"/>
                      </a:lnTo>
                      <a:lnTo>
                        <a:pt x="114" y="442"/>
                      </a:lnTo>
                      <a:lnTo>
                        <a:pt x="80" y="436"/>
                      </a:lnTo>
                      <a:lnTo>
                        <a:pt x="71" y="434"/>
                      </a:lnTo>
                      <a:lnTo>
                        <a:pt x="65" y="436"/>
                      </a:lnTo>
                      <a:lnTo>
                        <a:pt x="60" y="438"/>
                      </a:lnTo>
                      <a:lnTo>
                        <a:pt x="55" y="438"/>
                      </a:lnTo>
                      <a:lnTo>
                        <a:pt x="47" y="433"/>
                      </a:lnTo>
                      <a:lnTo>
                        <a:pt x="39" y="422"/>
                      </a:lnTo>
                      <a:lnTo>
                        <a:pt x="35" y="417"/>
                      </a:lnTo>
                      <a:lnTo>
                        <a:pt x="31" y="411"/>
                      </a:lnTo>
                      <a:lnTo>
                        <a:pt x="20" y="398"/>
                      </a:lnTo>
                      <a:lnTo>
                        <a:pt x="15" y="393"/>
                      </a:lnTo>
                      <a:lnTo>
                        <a:pt x="14" y="388"/>
                      </a:lnTo>
                      <a:lnTo>
                        <a:pt x="12" y="383"/>
                      </a:lnTo>
                      <a:lnTo>
                        <a:pt x="14" y="378"/>
                      </a:lnTo>
                      <a:lnTo>
                        <a:pt x="16" y="372"/>
                      </a:lnTo>
                      <a:lnTo>
                        <a:pt x="24" y="362"/>
                      </a:lnTo>
                      <a:lnTo>
                        <a:pt x="30" y="351"/>
                      </a:lnTo>
                      <a:lnTo>
                        <a:pt x="31" y="343"/>
                      </a:lnTo>
                      <a:lnTo>
                        <a:pt x="35" y="335"/>
                      </a:lnTo>
                      <a:lnTo>
                        <a:pt x="35" y="328"/>
                      </a:lnTo>
                      <a:lnTo>
                        <a:pt x="37" y="323"/>
                      </a:lnTo>
                      <a:lnTo>
                        <a:pt x="40" y="318"/>
                      </a:lnTo>
                      <a:lnTo>
                        <a:pt x="42" y="313"/>
                      </a:lnTo>
                      <a:lnTo>
                        <a:pt x="46" y="306"/>
                      </a:lnTo>
                      <a:lnTo>
                        <a:pt x="49" y="301"/>
                      </a:lnTo>
                      <a:lnTo>
                        <a:pt x="54" y="297"/>
                      </a:lnTo>
                      <a:lnTo>
                        <a:pt x="56" y="292"/>
                      </a:lnTo>
                      <a:lnTo>
                        <a:pt x="57" y="286"/>
                      </a:lnTo>
                      <a:lnTo>
                        <a:pt x="56" y="280"/>
                      </a:lnTo>
                      <a:lnTo>
                        <a:pt x="52" y="275"/>
                      </a:lnTo>
                      <a:lnTo>
                        <a:pt x="47" y="272"/>
                      </a:lnTo>
                      <a:lnTo>
                        <a:pt x="24" y="270"/>
                      </a:lnTo>
                      <a:lnTo>
                        <a:pt x="20" y="268"/>
                      </a:lnTo>
                      <a:lnTo>
                        <a:pt x="15" y="265"/>
                      </a:lnTo>
                      <a:lnTo>
                        <a:pt x="2" y="257"/>
                      </a:lnTo>
                      <a:lnTo>
                        <a:pt x="0" y="251"/>
                      </a:lnTo>
                      <a:lnTo>
                        <a:pt x="1" y="243"/>
                      </a:lnTo>
                      <a:lnTo>
                        <a:pt x="4" y="235"/>
                      </a:lnTo>
                      <a:lnTo>
                        <a:pt x="9" y="220"/>
                      </a:lnTo>
                      <a:lnTo>
                        <a:pt x="10" y="213"/>
                      </a:lnTo>
                      <a:lnTo>
                        <a:pt x="10" y="195"/>
                      </a:lnTo>
                      <a:lnTo>
                        <a:pt x="11" y="188"/>
                      </a:lnTo>
                      <a:lnTo>
                        <a:pt x="15" y="182"/>
                      </a:lnTo>
                      <a:lnTo>
                        <a:pt x="19" y="177"/>
                      </a:lnTo>
                      <a:lnTo>
                        <a:pt x="21" y="172"/>
                      </a:lnTo>
                      <a:lnTo>
                        <a:pt x="25" y="168"/>
                      </a:lnTo>
                      <a:lnTo>
                        <a:pt x="26" y="165"/>
                      </a:lnTo>
                      <a:lnTo>
                        <a:pt x="25" y="161"/>
                      </a:lnTo>
                      <a:lnTo>
                        <a:pt x="19" y="155"/>
                      </a:lnTo>
                      <a:lnTo>
                        <a:pt x="14" y="148"/>
                      </a:lnTo>
                      <a:lnTo>
                        <a:pt x="12" y="142"/>
                      </a:lnTo>
                      <a:lnTo>
                        <a:pt x="14" y="136"/>
                      </a:lnTo>
                      <a:lnTo>
                        <a:pt x="22" y="121"/>
                      </a:lnTo>
                      <a:lnTo>
                        <a:pt x="41" y="110"/>
                      </a:lnTo>
                      <a:lnTo>
                        <a:pt x="56" y="93"/>
                      </a:lnTo>
                      <a:lnTo>
                        <a:pt x="64" y="91"/>
                      </a:lnTo>
                      <a:lnTo>
                        <a:pt x="82" y="85"/>
                      </a:lnTo>
                      <a:lnTo>
                        <a:pt x="150" y="45"/>
                      </a:lnTo>
                      <a:lnTo>
                        <a:pt x="177" y="33"/>
                      </a:lnTo>
                      <a:lnTo>
                        <a:pt x="185" y="32"/>
                      </a:lnTo>
                      <a:lnTo>
                        <a:pt x="195" y="31"/>
                      </a:lnTo>
                      <a:lnTo>
                        <a:pt x="207" y="18"/>
                      </a:lnTo>
                      <a:lnTo>
                        <a:pt x="224" y="6"/>
                      </a:lnTo>
                      <a:lnTo>
                        <a:pt x="234" y="2"/>
                      </a:lnTo>
                      <a:lnTo>
                        <a:pt x="246" y="0"/>
                      </a:lnTo>
                      <a:lnTo>
                        <a:pt x="262" y="2"/>
                      </a:lnTo>
                      <a:lnTo>
                        <a:pt x="319" y="18"/>
                      </a:lnTo>
                      <a:lnTo>
                        <a:pt x="325" y="22"/>
                      </a:lnTo>
                      <a:lnTo>
                        <a:pt x="345" y="38"/>
                      </a:lnTo>
                      <a:lnTo>
                        <a:pt x="350" y="42"/>
                      </a:lnTo>
                      <a:lnTo>
                        <a:pt x="354" y="45"/>
                      </a:lnTo>
                      <a:lnTo>
                        <a:pt x="356" y="50"/>
                      </a:lnTo>
                      <a:lnTo>
                        <a:pt x="357" y="56"/>
                      </a:lnTo>
                      <a:lnTo>
                        <a:pt x="359" y="62"/>
                      </a:lnTo>
                      <a:lnTo>
                        <a:pt x="362" y="66"/>
                      </a:lnTo>
                      <a:lnTo>
                        <a:pt x="370" y="70"/>
                      </a:lnTo>
                      <a:lnTo>
                        <a:pt x="372" y="72"/>
                      </a:lnTo>
                      <a:lnTo>
                        <a:pt x="374" y="77"/>
                      </a:lnTo>
                      <a:lnTo>
                        <a:pt x="376" y="101"/>
                      </a:lnTo>
                      <a:lnTo>
                        <a:pt x="375" y="11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7" name="Tokyo" descr="{&quot;Key&quot;:&quot;tokyo&quot;,&quot;Name&quot;:&quot;Tokyo&quot;,&quot;Value&quot;:1.0,&quot;Formula&quot;:&quot;&quot;,&quot;Text&quot;:&quot;&quot;,&quot;OfficeApplication&quot;:1,&quot;HasValue&quot;:true}">
                  <a:extLst>
                    <a:ext uri="{FF2B5EF4-FFF2-40B4-BE49-F238E27FC236}">
                      <a16:creationId xmlns:a16="http://schemas.microsoft.com/office/drawing/2014/main" id="{FB703A2E-2A34-49EB-AB29-3D808730DEF8}"/>
                    </a:ext>
                  </a:extLst>
                </p:cNvPr>
                <p:cNvSpPr>
                  <a:spLocks noEditPoints="1"/>
                </p:cNvSpPr>
                <p:nvPr/>
              </p:nvSpPr>
              <p:spPr bwMode="auto">
                <a:xfrm>
                  <a:off x="6656388" y="3622675"/>
                  <a:ext cx="3533775" cy="3171825"/>
                </a:xfrm>
                <a:custGeom>
                  <a:avLst/>
                  <a:gdLst>
                    <a:gd name="T0" fmla="*/ 1020 w 6053"/>
                    <a:gd name="T1" fmla="*/ 5428 h 5434"/>
                    <a:gd name="T2" fmla="*/ 6048 w 6053"/>
                    <a:gd name="T3" fmla="*/ 5401 h 5434"/>
                    <a:gd name="T4" fmla="*/ 956 w 6053"/>
                    <a:gd name="T5" fmla="*/ 5203 h 5434"/>
                    <a:gd name="T6" fmla="*/ 960 w 6053"/>
                    <a:gd name="T7" fmla="*/ 5177 h 5434"/>
                    <a:gd name="T8" fmla="*/ 979 w 6053"/>
                    <a:gd name="T9" fmla="*/ 5186 h 5434"/>
                    <a:gd name="T10" fmla="*/ 954 w 6053"/>
                    <a:gd name="T11" fmla="*/ 4896 h 5434"/>
                    <a:gd name="T12" fmla="*/ 951 w 6053"/>
                    <a:gd name="T13" fmla="*/ 4884 h 5434"/>
                    <a:gd name="T14" fmla="*/ 1299 w 6053"/>
                    <a:gd name="T15" fmla="*/ 4326 h 5434"/>
                    <a:gd name="T16" fmla="*/ 1304 w 6053"/>
                    <a:gd name="T17" fmla="*/ 4338 h 5434"/>
                    <a:gd name="T18" fmla="*/ 1311 w 6053"/>
                    <a:gd name="T19" fmla="*/ 4345 h 5434"/>
                    <a:gd name="T20" fmla="*/ 1309 w 6053"/>
                    <a:gd name="T21" fmla="*/ 4362 h 5434"/>
                    <a:gd name="T22" fmla="*/ 1290 w 6053"/>
                    <a:gd name="T23" fmla="*/ 4319 h 5434"/>
                    <a:gd name="T24" fmla="*/ 1325 w 6053"/>
                    <a:gd name="T25" fmla="*/ 4172 h 5434"/>
                    <a:gd name="T26" fmla="*/ 1314 w 6053"/>
                    <a:gd name="T27" fmla="*/ 4150 h 5434"/>
                    <a:gd name="T28" fmla="*/ 1328 w 6053"/>
                    <a:gd name="T29" fmla="*/ 4144 h 5434"/>
                    <a:gd name="T30" fmla="*/ 1313 w 6053"/>
                    <a:gd name="T31" fmla="*/ 4134 h 5434"/>
                    <a:gd name="T32" fmla="*/ 1328 w 6053"/>
                    <a:gd name="T33" fmla="*/ 4144 h 5434"/>
                    <a:gd name="T34" fmla="*/ 1314 w 6053"/>
                    <a:gd name="T35" fmla="*/ 4108 h 5434"/>
                    <a:gd name="T36" fmla="*/ 1294 w 6053"/>
                    <a:gd name="T37" fmla="*/ 3886 h 5434"/>
                    <a:gd name="T38" fmla="*/ 1294 w 6053"/>
                    <a:gd name="T39" fmla="*/ 3884 h 5434"/>
                    <a:gd name="T40" fmla="*/ 554 w 6053"/>
                    <a:gd name="T41" fmla="*/ 2592 h 5434"/>
                    <a:gd name="T42" fmla="*/ 309 w 6053"/>
                    <a:gd name="T43" fmla="*/ 1340 h 5434"/>
                    <a:gd name="T44" fmla="*/ 305 w 6053"/>
                    <a:gd name="T45" fmla="*/ 1337 h 5434"/>
                    <a:gd name="T46" fmla="*/ 354 w 6053"/>
                    <a:gd name="T47" fmla="*/ 1381 h 5434"/>
                    <a:gd name="T48" fmla="*/ 333 w 6053"/>
                    <a:gd name="T49" fmla="*/ 1334 h 5434"/>
                    <a:gd name="T50" fmla="*/ 378 w 6053"/>
                    <a:gd name="T51" fmla="*/ 1352 h 5434"/>
                    <a:gd name="T52" fmla="*/ 276 w 6053"/>
                    <a:gd name="T53" fmla="*/ 992 h 5434"/>
                    <a:gd name="T54" fmla="*/ 276 w 6053"/>
                    <a:gd name="T55" fmla="*/ 971 h 5434"/>
                    <a:gd name="T56" fmla="*/ 281 w 6053"/>
                    <a:gd name="T57" fmla="*/ 991 h 5434"/>
                    <a:gd name="T58" fmla="*/ 241 w 6053"/>
                    <a:gd name="T59" fmla="*/ 867 h 5434"/>
                    <a:gd name="T60" fmla="*/ 89 w 6053"/>
                    <a:gd name="T61" fmla="*/ 830 h 5434"/>
                    <a:gd name="T62" fmla="*/ 84 w 6053"/>
                    <a:gd name="T63" fmla="*/ 819 h 5434"/>
                    <a:gd name="T64" fmla="*/ 99 w 6053"/>
                    <a:gd name="T65" fmla="*/ 810 h 5434"/>
                    <a:gd name="T66" fmla="*/ 121 w 6053"/>
                    <a:gd name="T67" fmla="*/ 764 h 5434"/>
                    <a:gd name="T68" fmla="*/ 114 w 6053"/>
                    <a:gd name="T69" fmla="*/ 761 h 5434"/>
                    <a:gd name="T70" fmla="*/ 139 w 6053"/>
                    <a:gd name="T71" fmla="*/ 765 h 5434"/>
                    <a:gd name="T72" fmla="*/ 144 w 6053"/>
                    <a:gd name="T73" fmla="*/ 726 h 5434"/>
                    <a:gd name="T74" fmla="*/ 145 w 6053"/>
                    <a:gd name="T75" fmla="*/ 757 h 5434"/>
                    <a:gd name="T76" fmla="*/ 172 w 6053"/>
                    <a:gd name="T77" fmla="*/ 571 h 5434"/>
                    <a:gd name="T78" fmla="*/ 212 w 6053"/>
                    <a:gd name="T79" fmla="*/ 552 h 5434"/>
                    <a:gd name="T80" fmla="*/ 379 w 6053"/>
                    <a:gd name="T81" fmla="*/ 50 h 5434"/>
                    <a:gd name="T82" fmla="*/ 373 w 6053"/>
                    <a:gd name="T83" fmla="*/ 120 h 5434"/>
                    <a:gd name="T84" fmla="*/ 355 w 6053"/>
                    <a:gd name="T85" fmla="*/ 119 h 5434"/>
                    <a:gd name="T86" fmla="*/ 339 w 6053"/>
                    <a:gd name="T87" fmla="*/ 111 h 5434"/>
                    <a:gd name="T88" fmla="*/ 352 w 6053"/>
                    <a:gd name="T89" fmla="*/ 167 h 5434"/>
                    <a:gd name="T90" fmla="*/ 300 w 6053"/>
                    <a:gd name="T91" fmla="*/ 160 h 5434"/>
                    <a:gd name="T92" fmla="*/ 234 w 6053"/>
                    <a:gd name="T93" fmla="*/ 134 h 5434"/>
                    <a:gd name="T94" fmla="*/ 214 w 6053"/>
                    <a:gd name="T95" fmla="*/ 140 h 5434"/>
                    <a:gd name="T96" fmla="*/ 226 w 6053"/>
                    <a:gd name="T97" fmla="*/ 162 h 5434"/>
                    <a:gd name="T98" fmla="*/ 220 w 6053"/>
                    <a:gd name="T99" fmla="*/ 192 h 5434"/>
                    <a:gd name="T100" fmla="*/ 191 w 6053"/>
                    <a:gd name="T101" fmla="*/ 160 h 5434"/>
                    <a:gd name="T102" fmla="*/ 130 w 6053"/>
                    <a:gd name="T103" fmla="*/ 142 h 5434"/>
                    <a:gd name="T104" fmla="*/ 45 w 6053"/>
                    <a:gd name="T105" fmla="*/ 90 h 5434"/>
                    <a:gd name="T106" fmla="*/ 0 w 6053"/>
                    <a:gd name="T107" fmla="*/ 21 h 5434"/>
                    <a:gd name="T108" fmla="*/ 50 w 6053"/>
                    <a:gd name="T109" fmla="*/ 10 h 5434"/>
                    <a:gd name="T110" fmla="*/ 196 w 6053"/>
                    <a:gd name="T111" fmla="*/ 62 h 5434"/>
                    <a:gd name="T112" fmla="*/ 235 w 6053"/>
                    <a:gd name="T113" fmla="*/ 50 h 5434"/>
                    <a:gd name="T114" fmla="*/ 274 w 6053"/>
                    <a:gd name="T115" fmla="*/ 60 h 5434"/>
                    <a:gd name="T116" fmla="*/ 321 w 6053"/>
                    <a:gd name="T117" fmla="*/ 50 h 5434"/>
                    <a:gd name="T118" fmla="*/ 379 w 6053"/>
                    <a:gd name="T119" fmla="*/ 50 h 5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53" h="5434">
                      <a:moveTo>
                        <a:pt x="1023" y="5433"/>
                      </a:moveTo>
                      <a:lnTo>
                        <a:pt x="1021" y="5434"/>
                      </a:lnTo>
                      <a:lnTo>
                        <a:pt x="1018" y="5433"/>
                      </a:lnTo>
                      <a:lnTo>
                        <a:pt x="1016" y="5429"/>
                      </a:lnTo>
                      <a:lnTo>
                        <a:pt x="1020" y="5428"/>
                      </a:lnTo>
                      <a:lnTo>
                        <a:pt x="1024" y="5428"/>
                      </a:lnTo>
                      <a:lnTo>
                        <a:pt x="1024" y="5431"/>
                      </a:lnTo>
                      <a:lnTo>
                        <a:pt x="1023" y="5433"/>
                      </a:lnTo>
                      <a:close/>
                      <a:moveTo>
                        <a:pt x="6051" y="5403"/>
                      </a:moveTo>
                      <a:lnTo>
                        <a:pt x="6048" y="5401"/>
                      </a:lnTo>
                      <a:lnTo>
                        <a:pt x="6048" y="5400"/>
                      </a:lnTo>
                      <a:lnTo>
                        <a:pt x="6051" y="5397"/>
                      </a:lnTo>
                      <a:lnTo>
                        <a:pt x="6053" y="5399"/>
                      </a:lnTo>
                      <a:lnTo>
                        <a:pt x="6051" y="5403"/>
                      </a:lnTo>
                      <a:close/>
                      <a:moveTo>
                        <a:pt x="956" y="5203"/>
                      </a:moveTo>
                      <a:lnTo>
                        <a:pt x="951" y="5206"/>
                      </a:lnTo>
                      <a:lnTo>
                        <a:pt x="951" y="5191"/>
                      </a:lnTo>
                      <a:lnTo>
                        <a:pt x="953" y="5185"/>
                      </a:lnTo>
                      <a:lnTo>
                        <a:pt x="955" y="5180"/>
                      </a:lnTo>
                      <a:lnTo>
                        <a:pt x="960" y="5177"/>
                      </a:lnTo>
                      <a:lnTo>
                        <a:pt x="968" y="5176"/>
                      </a:lnTo>
                      <a:lnTo>
                        <a:pt x="975" y="5177"/>
                      </a:lnTo>
                      <a:lnTo>
                        <a:pt x="979" y="5179"/>
                      </a:lnTo>
                      <a:lnTo>
                        <a:pt x="981" y="5184"/>
                      </a:lnTo>
                      <a:lnTo>
                        <a:pt x="979" y="5186"/>
                      </a:lnTo>
                      <a:lnTo>
                        <a:pt x="973" y="5186"/>
                      </a:lnTo>
                      <a:lnTo>
                        <a:pt x="968" y="5188"/>
                      </a:lnTo>
                      <a:lnTo>
                        <a:pt x="964" y="5192"/>
                      </a:lnTo>
                      <a:lnTo>
                        <a:pt x="956" y="5203"/>
                      </a:lnTo>
                      <a:close/>
                      <a:moveTo>
                        <a:pt x="954" y="4896"/>
                      </a:moveTo>
                      <a:lnTo>
                        <a:pt x="950" y="4900"/>
                      </a:lnTo>
                      <a:lnTo>
                        <a:pt x="945" y="4896"/>
                      </a:lnTo>
                      <a:lnTo>
                        <a:pt x="944" y="4890"/>
                      </a:lnTo>
                      <a:lnTo>
                        <a:pt x="945" y="4885"/>
                      </a:lnTo>
                      <a:lnTo>
                        <a:pt x="951" y="4884"/>
                      </a:lnTo>
                      <a:lnTo>
                        <a:pt x="955" y="4888"/>
                      </a:lnTo>
                      <a:lnTo>
                        <a:pt x="955" y="4892"/>
                      </a:lnTo>
                      <a:lnTo>
                        <a:pt x="954" y="4896"/>
                      </a:lnTo>
                      <a:close/>
                      <a:moveTo>
                        <a:pt x="1294" y="4325"/>
                      </a:moveTo>
                      <a:lnTo>
                        <a:pt x="1299" y="4326"/>
                      </a:lnTo>
                      <a:lnTo>
                        <a:pt x="1304" y="4325"/>
                      </a:lnTo>
                      <a:lnTo>
                        <a:pt x="1304" y="4329"/>
                      </a:lnTo>
                      <a:lnTo>
                        <a:pt x="1299" y="4332"/>
                      </a:lnTo>
                      <a:lnTo>
                        <a:pt x="1299" y="4335"/>
                      </a:lnTo>
                      <a:lnTo>
                        <a:pt x="1304" y="4338"/>
                      </a:lnTo>
                      <a:lnTo>
                        <a:pt x="1309" y="4338"/>
                      </a:lnTo>
                      <a:lnTo>
                        <a:pt x="1309" y="4341"/>
                      </a:lnTo>
                      <a:lnTo>
                        <a:pt x="1308" y="4342"/>
                      </a:lnTo>
                      <a:lnTo>
                        <a:pt x="1306" y="4347"/>
                      </a:lnTo>
                      <a:lnTo>
                        <a:pt x="1311" y="4345"/>
                      </a:lnTo>
                      <a:lnTo>
                        <a:pt x="1314" y="4350"/>
                      </a:lnTo>
                      <a:lnTo>
                        <a:pt x="1310" y="4351"/>
                      </a:lnTo>
                      <a:lnTo>
                        <a:pt x="1308" y="4354"/>
                      </a:lnTo>
                      <a:lnTo>
                        <a:pt x="1308" y="4357"/>
                      </a:lnTo>
                      <a:lnTo>
                        <a:pt x="1309" y="4362"/>
                      </a:lnTo>
                      <a:lnTo>
                        <a:pt x="1301" y="4356"/>
                      </a:lnTo>
                      <a:lnTo>
                        <a:pt x="1292" y="4342"/>
                      </a:lnTo>
                      <a:lnTo>
                        <a:pt x="1281" y="4316"/>
                      </a:lnTo>
                      <a:lnTo>
                        <a:pt x="1286" y="4316"/>
                      </a:lnTo>
                      <a:lnTo>
                        <a:pt x="1290" y="4319"/>
                      </a:lnTo>
                      <a:lnTo>
                        <a:pt x="1291" y="4322"/>
                      </a:lnTo>
                      <a:lnTo>
                        <a:pt x="1294" y="4325"/>
                      </a:lnTo>
                      <a:close/>
                      <a:moveTo>
                        <a:pt x="1334" y="4153"/>
                      </a:moveTo>
                      <a:lnTo>
                        <a:pt x="1331" y="4169"/>
                      </a:lnTo>
                      <a:lnTo>
                        <a:pt x="1325" y="4172"/>
                      </a:lnTo>
                      <a:lnTo>
                        <a:pt x="1316" y="4167"/>
                      </a:lnTo>
                      <a:lnTo>
                        <a:pt x="1309" y="4155"/>
                      </a:lnTo>
                      <a:lnTo>
                        <a:pt x="1323" y="4163"/>
                      </a:lnTo>
                      <a:lnTo>
                        <a:pt x="1319" y="4154"/>
                      </a:lnTo>
                      <a:lnTo>
                        <a:pt x="1314" y="4150"/>
                      </a:lnTo>
                      <a:lnTo>
                        <a:pt x="1320" y="4147"/>
                      </a:lnTo>
                      <a:lnTo>
                        <a:pt x="1325" y="4146"/>
                      </a:lnTo>
                      <a:lnTo>
                        <a:pt x="1330" y="4149"/>
                      </a:lnTo>
                      <a:lnTo>
                        <a:pt x="1334" y="4153"/>
                      </a:lnTo>
                      <a:close/>
                      <a:moveTo>
                        <a:pt x="1328" y="4144"/>
                      </a:moveTo>
                      <a:lnTo>
                        <a:pt x="1323" y="4144"/>
                      </a:lnTo>
                      <a:lnTo>
                        <a:pt x="1319" y="4141"/>
                      </a:lnTo>
                      <a:lnTo>
                        <a:pt x="1318" y="4140"/>
                      </a:lnTo>
                      <a:lnTo>
                        <a:pt x="1313" y="4137"/>
                      </a:lnTo>
                      <a:lnTo>
                        <a:pt x="1313" y="4134"/>
                      </a:lnTo>
                      <a:lnTo>
                        <a:pt x="1314" y="4130"/>
                      </a:lnTo>
                      <a:lnTo>
                        <a:pt x="1325" y="4136"/>
                      </a:lnTo>
                      <a:lnTo>
                        <a:pt x="1328" y="4140"/>
                      </a:lnTo>
                      <a:lnTo>
                        <a:pt x="1329" y="4142"/>
                      </a:lnTo>
                      <a:lnTo>
                        <a:pt x="1328" y="4144"/>
                      </a:lnTo>
                      <a:close/>
                      <a:moveTo>
                        <a:pt x="1315" y="4122"/>
                      </a:moveTo>
                      <a:lnTo>
                        <a:pt x="1313" y="4125"/>
                      </a:lnTo>
                      <a:lnTo>
                        <a:pt x="1311" y="4119"/>
                      </a:lnTo>
                      <a:lnTo>
                        <a:pt x="1311" y="4113"/>
                      </a:lnTo>
                      <a:lnTo>
                        <a:pt x="1314" y="4108"/>
                      </a:lnTo>
                      <a:lnTo>
                        <a:pt x="1318" y="4108"/>
                      </a:lnTo>
                      <a:lnTo>
                        <a:pt x="1319" y="4113"/>
                      </a:lnTo>
                      <a:lnTo>
                        <a:pt x="1318" y="4117"/>
                      </a:lnTo>
                      <a:lnTo>
                        <a:pt x="1315" y="4122"/>
                      </a:lnTo>
                      <a:close/>
                      <a:moveTo>
                        <a:pt x="1294" y="3886"/>
                      </a:moveTo>
                      <a:lnTo>
                        <a:pt x="1293" y="3889"/>
                      </a:lnTo>
                      <a:lnTo>
                        <a:pt x="1288" y="3884"/>
                      </a:lnTo>
                      <a:lnTo>
                        <a:pt x="1288" y="3883"/>
                      </a:lnTo>
                      <a:lnTo>
                        <a:pt x="1290" y="3883"/>
                      </a:lnTo>
                      <a:lnTo>
                        <a:pt x="1294" y="3884"/>
                      </a:lnTo>
                      <a:lnTo>
                        <a:pt x="1294" y="3886"/>
                      </a:lnTo>
                      <a:close/>
                      <a:moveTo>
                        <a:pt x="561" y="2597"/>
                      </a:moveTo>
                      <a:lnTo>
                        <a:pt x="556" y="2597"/>
                      </a:lnTo>
                      <a:lnTo>
                        <a:pt x="554" y="2595"/>
                      </a:lnTo>
                      <a:lnTo>
                        <a:pt x="554" y="2592"/>
                      </a:lnTo>
                      <a:lnTo>
                        <a:pt x="556" y="2590"/>
                      </a:lnTo>
                      <a:lnTo>
                        <a:pt x="560" y="2590"/>
                      </a:lnTo>
                      <a:lnTo>
                        <a:pt x="564" y="2592"/>
                      </a:lnTo>
                      <a:lnTo>
                        <a:pt x="561" y="2597"/>
                      </a:lnTo>
                      <a:close/>
                      <a:moveTo>
                        <a:pt x="309" y="1340"/>
                      </a:moveTo>
                      <a:lnTo>
                        <a:pt x="311" y="1347"/>
                      </a:lnTo>
                      <a:lnTo>
                        <a:pt x="306" y="1347"/>
                      </a:lnTo>
                      <a:lnTo>
                        <a:pt x="305" y="1345"/>
                      </a:lnTo>
                      <a:lnTo>
                        <a:pt x="303" y="1339"/>
                      </a:lnTo>
                      <a:lnTo>
                        <a:pt x="305" y="1337"/>
                      </a:lnTo>
                      <a:lnTo>
                        <a:pt x="309" y="1340"/>
                      </a:lnTo>
                      <a:close/>
                      <a:moveTo>
                        <a:pt x="371" y="1381"/>
                      </a:moveTo>
                      <a:lnTo>
                        <a:pt x="368" y="1385"/>
                      </a:lnTo>
                      <a:lnTo>
                        <a:pt x="361" y="1384"/>
                      </a:lnTo>
                      <a:lnTo>
                        <a:pt x="354" y="1381"/>
                      </a:lnTo>
                      <a:lnTo>
                        <a:pt x="348" y="1375"/>
                      </a:lnTo>
                      <a:lnTo>
                        <a:pt x="344" y="1365"/>
                      </a:lnTo>
                      <a:lnTo>
                        <a:pt x="330" y="1346"/>
                      </a:lnTo>
                      <a:lnTo>
                        <a:pt x="329" y="1340"/>
                      </a:lnTo>
                      <a:lnTo>
                        <a:pt x="333" y="1334"/>
                      </a:lnTo>
                      <a:lnTo>
                        <a:pt x="340" y="1331"/>
                      </a:lnTo>
                      <a:lnTo>
                        <a:pt x="349" y="1339"/>
                      </a:lnTo>
                      <a:lnTo>
                        <a:pt x="358" y="1344"/>
                      </a:lnTo>
                      <a:lnTo>
                        <a:pt x="369" y="1347"/>
                      </a:lnTo>
                      <a:lnTo>
                        <a:pt x="378" y="1352"/>
                      </a:lnTo>
                      <a:lnTo>
                        <a:pt x="384" y="1361"/>
                      </a:lnTo>
                      <a:lnTo>
                        <a:pt x="380" y="1367"/>
                      </a:lnTo>
                      <a:lnTo>
                        <a:pt x="371" y="1381"/>
                      </a:lnTo>
                      <a:close/>
                      <a:moveTo>
                        <a:pt x="281" y="991"/>
                      </a:moveTo>
                      <a:lnTo>
                        <a:pt x="276" y="992"/>
                      </a:lnTo>
                      <a:lnTo>
                        <a:pt x="270" y="991"/>
                      </a:lnTo>
                      <a:lnTo>
                        <a:pt x="265" y="987"/>
                      </a:lnTo>
                      <a:lnTo>
                        <a:pt x="264" y="980"/>
                      </a:lnTo>
                      <a:lnTo>
                        <a:pt x="269" y="972"/>
                      </a:lnTo>
                      <a:lnTo>
                        <a:pt x="276" y="971"/>
                      </a:lnTo>
                      <a:lnTo>
                        <a:pt x="280" y="975"/>
                      </a:lnTo>
                      <a:lnTo>
                        <a:pt x="281" y="977"/>
                      </a:lnTo>
                      <a:lnTo>
                        <a:pt x="284" y="984"/>
                      </a:lnTo>
                      <a:lnTo>
                        <a:pt x="284" y="986"/>
                      </a:lnTo>
                      <a:lnTo>
                        <a:pt x="281" y="991"/>
                      </a:lnTo>
                      <a:close/>
                      <a:moveTo>
                        <a:pt x="246" y="904"/>
                      </a:moveTo>
                      <a:lnTo>
                        <a:pt x="235" y="904"/>
                      </a:lnTo>
                      <a:lnTo>
                        <a:pt x="228" y="892"/>
                      </a:lnTo>
                      <a:lnTo>
                        <a:pt x="230" y="876"/>
                      </a:lnTo>
                      <a:lnTo>
                        <a:pt x="241" y="867"/>
                      </a:lnTo>
                      <a:lnTo>
                        <a:pt x="255" y="866"/>
                      </a:lnTo>
                      <a:lnTo>
                        <a:pt x="263" y="877"/>
                      </a:lnTo>
                      <a:lnTo>
                        <a:pt x="256" y="894"/>
                      </a:lnTo>
                      <a:lnTo>
                        <a:pt x="246" y="904"/>
                      </a:lnTo>
                      <a:close/>
                      <a:moveTo>
                        <a:pt x="89" y="830"/>
                      </a:moveTo>
                      <a:lnTo>
                        <a:pt x="84" y="831"/>
                      </a:lnTo>
                      <a:lnTo>
                        <a:pt x="80" y="830"/>
                      </a:lnTo>
                      <a:lnTo>
                        <a:pt x="80" y="826"/>
                      </a:lnTo>
                      <a:lnTo>
                        <a:pt x="83" y="822"/>
                      </a:lnTo>
                      <a:lnTo>
                        <a:pt x="84" y="819"/>
                      </a:lnTo>
                      <a:lnTo>
                        <a:pt x="84" y="815"/>
                      </a:lnTo>
                      <a:lnTo>
                        <a:pt x="86" y="806"/>
                      </a:lnTo>
                      <a:lnTo>
                        <a:pt x="90" y="805"/>
                      </a:lnTo>
                      <a:lnTo>
                        <a:pt x="96" y="806"/>
                      </a:lnTo>
                      <a:lnTo>
                        <a:pt x="99" y="810"/>
                      </a:lnTo>
                      <a:lnTo>
                        <a:pt x="101" y="819"/>
                      </a:lnTo>
                      <a:lnTo>
                        <a:pt x="99" y="821"/>
                      </a:lnTo>
                      <a:lnTo>
                        <a:pt x="94" y="822"/>
                      </a:lnTo>
                      <a:lnTo>
                        <a:pt x="89" y="830"/>
                      </a:lnTo>
                      <a:close/>
                      <a:moveTo>
                        <a:pt x="121" y="764"/>
                      </a:moveTo>
                      <a:lnTo>
                        <a:pt x="116" y="767"/>
                      </a:lnTo>
                      <a:lnTo>
                        <a:pt x="114" y="766"/>
                      </a:lnTo>
                      <a:lnTo>
                        <a:pt x="110" y="767"/>
                      </a:lnTo>
                      <a:lnTo>
                        <a:pt x="110" y="765"/>
                      </a:lnTo>
                      <a:lnTo>
                        <a:pt x="114" y="761"/>
                      </a:lnTo>
                      <a:lnTo>
                        <a:pt x="115" y="759"/>
                      </a:lnTo>
                      <a:lnTo>
                        <a:pt x="118" y="759"/>
                      </a:lnTo>
                      <a:lnTo>
                        <a:pt x="121" y="764"/>
                      </a:lnTo>
                      <a:close/>
                      <a:moveTo>
                        <a:pt x="145" y="757"/>
                      </a:moveTo>
                      <a:lnTo>
                        <a:pt x="139" y="765"/>
                      </a:lnTo>
                      <a:lnTo>
                        <a:pt x="134" y="755"/>
                      </a:lnTo>
                      <a:lnTo>
                        <a:pt x="134" y="750"/>
                      </a:lnTo>
                      <a:lnTo>
                        <a:pt x="137" y="732"/>
                      </a:lnTo>
                      <a:lnTo>
                        <a:pt x="140" y="729"/>
                      </a:lnTo>
                      <a:lnTo>
                        <a:pt x="144" y="726"/>
                      </a:lnTo>
                      <a:lnTo>
                        <a:pt x="149" y="720"/>
                      </a:lnTo>
                      <a:lnTo>
                        <a:pt x="152" y="719"/>
                      </a:lnTo>
                      <a:lnTo>
                        <a:pt x="152" y="727"/>
                      </a:lnTo>
                      <a:lnTo>
                        <a:pt x="150" y="742"/>
                      </a:lnTo>
                      <a:lnTo>
                        <a:pt x="145" y="757"/>
                      </a:lnTo>
                      <a:close/>
                      <a:moveTo>
                        <a:pt x="214" y="591"/>
                      </a:moveTo>
                      <a:lnTo>
                        <a:pt x="209" y="592"/>
                      </a:lnTo>
                      <a:lnTo>
                        <a:pt x="201" y="591"/>
                      </a:lnTo>
                      <a:lnTo>
                        <a:pt x="175" y="580"/>
                      </a:lnTo>
                      <a:lnTo>
                        <a:pt x="172" y="571"/>
                      </a:lnTo>
                      <a:lnTo>
                        <a:pt x="172" y="547"/>
                      </a:lnTo>
                      <a:lnTo>
                        <a:pt x="175" y="532"/>
                      </a:lnTo>
                      <a:lnTo>
                        <a:pt x="192" y="537"/>
                      </a:lnTo>
                      <a:lnTo>
                        <a:pt x="208" y="545"/>
                      </a:lnTo>
                      <a:lnTo>
                        <a:pt x="212" y="552"/>
                      </a:lnTo>
                      <a:lnTo>
                        <a:pt x="215" y="562"/>
                      </a:lnTo>
                      <a:lnTo>
                        <a:pt x="215" y="574"/>
                      </a:lnTo>
                      <a:lnTo>
                        <a:pt x="215" y="585"/>
                      </a:lnTo>
                      <a:lnTo>
                        <a:pt x="214" y="591"/>
                      </a:lnTo>
                      <a:close/>
                      <a:moveTo>
                        <a:pt x="379" y="50"/>
                      </a:moveTo>
                      <a:lnTo>
                        <a:pt x="388" y="90"/>
                      </a:lnTo>
                      <a:lnTo>
                        <a:pt x="385" y="101"/>
                      </a:lnTo>
                      <a:lnTo>
                        <a:pt x="384" y="107"/>
                      </a:lnTo>
                      <a:lnTo>
                        <a:pt x="379" y="122"/>
                      </a:lnTo>
                      <a:lnTo>
                        <a:pt x="373" y="120"/>
                      </a:lnTo>
                      <a:lnTo>
                        <a:pt x="370" y="124"/>
                      </a:lnTo>
                      <a:lnTo>
                        <a:pt x="367" y="131"/>
                      </a:lnTo>
                      <a:lnTo>
                        <a:pt x="362" y="126"/>
                      </a:lnTo>
                      <a:lnTo>
                        <a:pt x="361" y="119"/>
                      </a:lnTo>
                      <a:lnTo>
                        <a:pt x="355" y="119"/>
                      </a:lnTo>
                      <a:lnTo>
                        <a:pt x="352" y="129"/>
                      </a:lnTo>
                      <a:lnTo>
                        <a:pt x="349" y="136"/>
                      </a:lnTo>
                      <a:lnTo>
                        <a:pt x="342" y="129"/>
                      </a:lnTo>
                      <a:lnTo>
                        <a:pt x="342" y="117"/>
                      </a:lnTo>
                      <a:lnTo>
                        <a:pt x="339" y="111"/>
                      </a:lnTo>
                      <a:lnTo>
                        <a:pt x="336" y="122"/>
                      </a:lnTo>
                      <a:lnTo>
                        <a:pt x="340" y="137"/>
                      </a:lnTo>
                      <a:lnTo>
                        <a:pt x="346" y="147"/>
                      </a:lnTo>
                      <a:lnTo>
                        <a:pt x="346" y="154"/>
                      </a:lnTo>
                      <a:lnTo>
                        <a:pt x="352" y="167"/>
                      </a:lnTo>
                      <a:lnTo>
                        <a:pt x="347" y="174"/>
                      </a:lnTo>
                      <a:lnTo>
                        <a:pt x="347" y="181"/>
                      </a:lnTo>
                      <a:lnTo>
                        <a:pt x="346" y="181"/>
                      </a:lnTo>
                      <a:lnTo>
                        <a:pt x="311" y="169"/>
                      </a:lnTo>
                      <a:lnTo>
                        <a:pt x="300" y="160"/>
                      </a:lnTo>
                      <a:lnTo>
                        <a:pt x="294" y="156"/>
                      </a:lnTo>
                      <a:lnTo>
                        <a:pt x="247" y="131"/>
                      </a:lnTo>
                      <a:lnTo>
                        <a:pt x="242" y="131"/>
                      </a:lnTo>
                      <a:lnTo>
                        <a:pt x="237" y="132"/>
                      </a:lnTo>
                      <a:lnTo>
                        <a:pt x="234" y="134"/>
                      </a:lnTo>
                      <a:lnTo>
                        <a:pt x="230" y="136"/>
                      </a:lnTo>
                      <a:lnTo>
                        <a:pt x="228" y="142"/>
                      </a:lnTo>
                      <a:lnTo>
                        <a:pt x="224" y="142"/>
                      </a:lnTo>
                      <a:lnTo>
                        <a:pt x="218" y="139"/>
                      </a:lnTo>
                      <a:lnTo>
                        <a:pt x="214" y="140"/>
                      </a:lnTo>
                      <a:lnTo>
                        <a:pt x="214" y="142"/>
                      </a:lnTo>
                      <a:lnTo>
                        <a:pt x="216" y="145"/>
                      </a:lnTo>
                      <a:lnTo>
                        <a:pt x="226" y="155"/>
                      </a:lnTo>
                      <a:lnTo>
                        <a:pt x="228" y="159"/>
                      </a:lnTo>
                      <a:lnTo>
                        <a:pt x="226" y="162"/>
                      </a:lnTo>
                      <a:lnTo>
                        <a:pt x="223" y="162"/>
                      </a:lnTo>
                      <a:lnTo>
                        <a:pt x="221" y="166"/>
                      </a:lnTo>
                      <a:lnTo>
                        <a:pt x="223" y="184"/>
                      </a:lnTo>
                      <a:lnTo>
                        <a:pt x="221" y="187"/>
                      </a:lnTo>
                      <a:lnTo>
                        <a:pt x="220" y="192"/>
                      </a:lnTo>
                      <a:lnTo>
                        <a:pt x="218" y="192"/>
                      </a:lnTo>
                      <a:lnTo>
                        <a:pt x="215" y="191"/>
                      </a:lnTo>
                      <a:lnTo>
                        <a:pt x="203" y="174"/>
                      </a:lnTo>
                      <a:lnTo>
                        <a:pt x="199" y="167"/>
                      </a:lnTo>
                      <a:lnTo>
                        <a:pt x="191" y="160"/>
                      </a:lnTo>
                      <a:lnTo>
                        <a:pt x="183" y="155"/>
                      </a:lnTo>
                      <a:lnTo>
                        <a:pt x="169" y="151"/>
                      </a:lnTo>
                      <a:lnTo>
                        <a:pt x="151" y="150"/>
                      </a:lnTo>
                      <a:lnTo>
                        <a:pt x="139" y="147"/>
                      </a:lnTo>
                      <a:lnTo>
                        <a:pt x="130" y="142"/>
                      </a:lnTo>
                      <a:lnTo>
                        <a:pt x="112" y="126"/>
                      </a:lnTo>
                      <a:lnTo>
                        <a:pt x="105" y="122"/>
                      </a:lnTo>
                      <a:lnTo>
                        <a:pt x="90" y="114"/>
                      </a:lnTo>
                      <a:lnTo>
                        <a:pt x="80" y="111"/>
                      </a:lnTo>
                      <a:lnTo>
                        <a:pt x="45" y="90"/>
                      </a:lnTo>
                      <a:lnTo>
                        <a:pt x="29" y="72"/>
                      </a:lnTo>
                      <a:lnTo>
                        <a:pt x="24" y="65"/>
                      </a:lnTo>
                      <a:lnTo>
                        <a:pt x="20" y="57"/>
                      </a:lnTo>
                      <a:lnTo>
                        <a:pt x="10" y="31"/>
                      </a:lnTo>
                      <a:lnTo>
                        <a:pt x="0" y="21"/>
                      </a:lnTo>
                      <a:lnTo>
                        <a:pt x="13" y="10"/>
                      </a:lnTo>
                      <a:lnTo>
                        <a:pt x="29" y="1"/>
                      </a:lnTo>
                      <a:lnTo>
                        <a:pt x="33" y="0"/>
                      </a:lnTo>
                      <a:lnTo>
                        <a:pt x="36" y="1"/>
                      </a:lnTo>
                      <a:lnTo>
                        <a:pt x="50" y="10"/>
                      </a:lnTo>
                      <a:lnTo>
                        <a:pt x="55" y="12"/>
                      </a:lnTo>
                      <a:lnTo>
                        <a:pt x="140" y="35"/>
                      </a:lnTo>
                      <a:lnTo>
                        <a:pt x="148" y="37"/>
                      </a:lnTo>
                      <a:lnTo>
                        <a:pt x="186" y="61"/>
                      </a:lnTo>
                      <a:lnTo>
                        <a:pt x="196" y="62"/>
                      </a:lnTo>
                      <a:lnTo>
                        <a:pt x="206" y="62"/>
                      </a:lnTo>
                      <a:lnTo>
                        <a:pt x="212" y="61"/>
                      </a:lnTo>
                      <a:lnTo>
                        <a:pt x="219" y="59"/>
                      </a:lnTo>
                      <a:lnTo>
                        <a:pt x="229" y="52"/>
                      </a:lnTo>
                      <a:lnTo>
                        <a:pt x="235" y="50"/>
                      </a:lnTo>
                      <a:lnTo>
                        <a:pt x="239" y="50"/>
                      </a:lnTo>
                      <a:lnTo>
                        <a:pt x="241" y="51"/>
                      </a:lnTo>
                      <a:lnTo>
                        <a:pt x="244" y="59"/>
                      </a:lnTo>
                      <a:lnTo>
                        <a:pt x="246" y="62"/>
                      </a:lnTo>
                      <a:lnTo>
                        <a:pt x="274" y="60"/>
                      </a:lnTo>
                      <a:lnTo>
                        <a:pt x="279" y="55"/>
                      </a:lnTo>
                      <a:lnTo>
                        <a:pt x="283" y="53"/>
                      </a:lnTo>
                      <a:lnTo>
                        <a:pt x="289" y="50"/>
                      </a:lnTo>
                      <a:lnTo>
                        <a:pt x="315" y="51"/>
                      </a:lnTo>
                      <a:lnTo>
                        <a:pt x="321" y="50"/>
                      </a:lnTo>
                      <a:lnTo>
                        <a:pt x="325" y="45"/>
                      </a:lnTo>
                      <a:lnTo>
                        <a:pt x="329" y="44"/>
                      </a:lnTo>
                      <a:lnTo>
                        <a:pt x="336" y="41"/>
                      </a:lnTo>
                      <a:lnTo>
                        <a:pt x="355" y="44"/>
                      </a:lnTo>
                      <a:lnTo>
                        <a:pt x="379" y="5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8" name="Yamanashi" descr="{&quot;Key&quot;:&quot;yamanashi&quot;,&quot;Name&quot;:&quot;Yamanashi&quot;,&quot;Value&quot;:1.0,&quot;Formula&quot;:&quot;&quot;,&quot;Text&quot;:&quot;&quot;,&quot;OfficeApplication&quot;:1,&quot;HasValue&quot;:true}">
                  <a:extLst>
                    <a:ext uri="{FF2B5EF4-FFF2-40B4-BE49-F238E27FC236}">
                      <a16:creationId xmlns:a16="http://schemas.microsoft.com/office/drawing/2014/main" id="{C6DC50AF-5240-4E1B-9EC0-1E5D6CF998CE}"/>
                    </a:ext>
                  </a:extLst>
                </p:cNvPr>
                <p:cNvSpPr>
                  <a:spLocks/>
                </p:cNvSpPr>
                <p:nvPr/>
              </p:nvSpPr>
              <p:spPr bwMode="auto">
                <a:xfrm>
                  <a:off x="6480175" y="3598863"/>
                  <a:ext cx="222250" cy="231775"/>
                </a:xfrm>
                <a:custGeom>
                  <a:avLst/>
                  <a:gdLst>
                    <a:gd name="T0" fmla="*/ 253 w 383"/>
                    <a:gd name="T1" fmla="*/ 50 h 395"/>
                    <a:gd name="T2" fmla="*/ 282 w 383"/>
                    <a:gd name="T3" fmla="*/ 59 h 395"/>
                    <a:gd name="T4" fmla="*/ 313 w 383"/>
                    <a:gd name="T5" fmla="*/ 70 h 395"/>
                    <a:gd name="T6" fmla="*/ 327 w 383"/>
                    <a:gd name="T7" fmla="*/ 104 h 395"/>
                    <a:gd name="T8" fmla="*/ 348 w 383"/>
                    <a:gd name="T9" fmla="*/ 129 h 395"/>
                    <a:gd name="T10" fmla="*/ 380 w 383"/>
                    <a:gd name="T11" fmla="*/ 162 h 395"/>
                    <a:gd name="T12" fmla="*/ 380 w 383"/>
                    <a:gd name="T13" fmla="*/ 184 h 395"/>
                    <a:gd name="T14" fmla="*/ 374 w 383"/>
                    <a:gd name="T15" fmla="*/ 214 h 395"/>
                    <a:gd name="T16" fmla="*/ 367 w 383"/>
                    <a:gd name="T17" fmla="*/ 224 h 395"/>
                    <a:gd name="T18" fmla="*/ 322 w 383"/>
                    <a:gd name="T19" fmla="*/ 248 h 395"/>
                    <a:gd name="T20" fmla="*/ 308 w 383"/>
                    <a:gd name="T21" fmla="*/ 258 h 395"/>
                    <a:gd name="T22" fmla="*/ 294 w 383"/>
                    <a:gd name="T23" fmla="*/ 285 h 395"/>
                    <a:gd name="T24" fmla="*/ 213 w 383"/>
                    <a:gd name="T25" fmla="*/ 300 h 395"/>
                    <a:gd name="T26" fmla="*/ 197 w 383"/>
                    <a:gd name="T27" fmla="*/ 293 h 395"/>
                    <a:gd name="T28" fmla="*/ 188 w 383"/>
                    <a:gd name="T29" fmla="*/ 285 h 395"/>
                    <a:gd name="T30" fmla="*/ 170 w 383"/>
                    <a:gd name="T31" fmla="*/ 280 h 395"/>
                    <a:gd name="T32" fmla="*/ 150 w 383"/>
                    <a:gd name="T33" fmla="*/ 268 h 395"/>
                    <a:gd name="T34" fmla="*/ 144 w 383"/>
                    <a:gd name="T35" fmla="*/ 278 h 395"/>
                    <a:gd name="T36" fmla="*/ 139 w 383"/>
                    <a:gd name="T37" fmla="*/ 310 h 395"/>
                    <a:gd name="T38" fmla="*/ 135 w 383"/>
                    <a:gd name="T39" fmla="*/ 347 h 395"/>
                    <a:gd name="T40" fmla="*/ 137 w 383"/>
                    <a:gd name="T41" fmla="*/ 365 h 395"/>
                    <a:gd name="T42" fmla="*/ 137 w 383"/>
                    <a:gd name="T43" fmla="*/ 378 h 395"/>
                    <a:gd name="T44" fmla="*/ 128 w 383"/>
                    <a:gd name="T45" fmla="*/ 388 h 395"/>
                    <a:gd name="T46" fmla="*/ 117 w 383"/>
                    <a:gd name="T47" fmla="*/ 395 h 395"/>
                    <a:gd name="T48" fmla="*/ 105 w 383"/>
                    <a:gd name="T49" fmla="*/ 394 h 395"/>
                    <a:gd name="T50" fmla="*/ 93 w 383"/>
                    <a:gd name="T51" fmla="*/ 384 h 395"/>
                    <a:gd name="T52" fmla="*/ 83 w 383"/>
                    <a:gd name="T53" fmla="*/ 373 h 395"/>
                    <a:gd name="T54" fmla="*/ 74 w 383"/>
                    <a:gd name="T55" fmla="*/ 335 h 395"/>
                    <a:gd name="T56" fmla="*/ 64 w 383"/>
                    <a:gd name="T57" fmla="*/ 325 h 395"/>
                    <a:gd name="T58" fmla="*/ 47 w 383"/>
                    <a:gd name="T59" fmla="*/ 325 h 395"/>
                    <a:gd name="T60" fmla="*/ 32 w 383"/>
                    <a:gd name="T61" fmla="*/ 327 h 395"/>
                    <a:gd name="T62" fmla="*/ 25 w 383"/>
                    <a:gd name="T63" fmla="*/ 318 h 395"/>
                    <a:gd name="T64" fmla="*/ 25 w 383"/>
                    <a:gd name="T65" fmla="*/ 303 h 395"/>
                    <a:gd name="T66" fmla="*/ 23 w 383"/>
                    <a:gd name="T67" fmla="*/ 292 h 395"/>
                    <a:gd name="T68" fmla="*/ 28 w 383"/>
                    <a:gd name="T69" fmla="*/ 272 h 395"/>
                    <a:gd name="T70" fmla="*/ 27 w 383"/>
                    <a:gd name="T71" fmla="*/ 254 h 395"/>
                    <a:gd name="T72" fmla="*/ 30 w 383"/>
                    <a:gd name="T73" fmla="*/ 239 h 395"/>
                    <a:gd name="T74" fmla="*/ 28 w 383"/>
                    <a:gd name="T75" fmla="*/ 209 h 395"/>
                    <a:gd name="T76" fmla="*/ 19 w 383"/>
                    <a:gd name="T77" fmla="*/ 177 h 395"/>
                    <a:gd name="T78" fmla="*/ 12 w 383"/>
                    <a:gd name="T79" fmla="*/ 163 h 395"/>
                    <a:gd name="T80" fmla="*/ 2 w 383"/>
                    <a:gd name="T81" fmla="*/ 140 h 395"/>
                    <a:gd name="T82" fmla="*/ 2 w 383"/>
                    <a:gd name="T83" fmla="*/ 122 h 395"/>
                    <a:gd name="T84" fmla="*/ 14 w 383"/>
                    <a:gd name="T85" fmla="*/ 104 h 395"/>
                    <a:gd name="T86" fmla="*/ 7 w 383"/>
                    <a:gd name="T87" fmla="*/ 95 h 395"/>
                    <a:gd name="T88" fmla="*/ 4 w 383"/>
                    <a:gd name="T89" fmla="*/ 85 h 395"/>
                    <a:gd name="T90" fmla="*/ 23 w 383"/>
                    <a:gd name="T91" fmla="*/ 49 h 395"/>
                    <a:gd name="T92" fmla="*/ 35 w 383"/>
                    <a:gd name="T93" fmla="*/ 54 h 395"/>
                    <a:gd name="T94" fmla="*/ 44 w 383"/>
                    <a:gd name="T95" fmla="*/ 50 h 395"/>
                    <a:gd name="T96" fmla="*/ 68 w 383"/>
                    <a:gd name="T97" fmla="*/ 9 h 395"/>
                    <a:gd name="T98" fmla="*/ 77 w 383"/>
                    <a:gd name="T99" fmla="*/ 0 h 395"/>
                    <a:gd name="T100" fmla="*/ 93 w 383"/>
                    <a:gd name="T101" fmla="*/ 3 h 395"/>
                    <a:gd name="T102" fmla="*/ 108 w 383"/>
                    <a:gd name="T103" fmla="*/ 13 h 395"/>
                    <a:gd name="T104" fmla="*/ 109 w 383"/>
                    <a:gd name="T105" fmla="*/ 25 h 395"/>
                    <a:gd name="T106" fmla="*/ 114 w 383"/>
                    <a:gd name="T107" fmla="*/ 33 h 395"/>
                    <a:gd name="T108" fmla="*/ 140 w 383"/>
                    <a:gd name="T109" fmla="*/ 29 h 395"/>
                    <a:gd name="T110" fmla="*/ 157 w 383"/>
                    <a:gd name="T111" fmla="*/ 30 h 395"/>
                    <a:gd name="T112" fmla="*/ 168 w 383"/>
                    <a:gd name="T113" fmla="*/ 33 h 395"/>
                    <a:gd name="T114" fmla="*/ 173 w 383"/>
                    <a:gd name="T115" fmla="*/ 39 h 395"/>
                    <a:gd name="T116" fmla="*/ 179 w 383"/>
                    <a:gd name="T117" fmla="*/ 49 h 395"/>
                    <a:gd name="T118" fmla="*/ 187 w 383"/>
                    <a:gd name="T119" fmla="*/ 52 h 395"/>
                    <a:gd name="T120" fmla="*/ 199 w 383"/>
                    <a:gd name="T121" fmla="*/ 4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3" h="395">
                      <a:moveTo>
                        <a:pt x="221" y="30"/>
                      </a:moveTo>
                      <a:lnTo>
                        <a:pt x="253" y="50"/>
                      </a:lnTo>
                      <a:lnTo>
                        <a:pt x="267" y="55"/>
                      </a:lnTo>
                      <a:lnTo>
                        <a:pt x="282" y="59"/>
                      </a:lnTo>
                      <a:lnTo>
                        <a:pt x="303" y="60"/>
                      </a:lnTo>
                      <a:lnTo>
                        <a:pt x="313" y="70"/>
                      </a:lnTo>
                      <a:lnTo>
                        <a:pt x="323" y="97"/>
                      </a:lnTo>
                      <a:lnTo>
                        <a:pt x="327" y="104"/>
                      </a:lnTo>
                      <a:lnTo>
                        <a:pt x="332" y="112"/>
                      </a:lnTo>
                      <a:lnTo>
                        <a:pt x="348" y="129"/>
                      </a:lnTo>
                      <a:lnTo>
                        <a:pt x="383" y="150"/>
                      </a:lnTo>
                      <a:lnTo>
                        <a:pt x="380" y="162"/>
                      </a:lnTo>
                      <a:lnTo>
                        <a:pt x="382" y="178"/>
                      </a:lnTo>
                      <a:lnTo>
                        <a:pt x="380" y="184"/>
                      </a:lnTo>
                      <a:lnTo>
                        <a:pt x="377" y="207"/>
                      </a:lnTo>
                      <a:lnTo>
                        <a:pt x="374" y="214"/>
                      </a:lnTo>
                      <a:lnTo>
                        <a:pt x="370" y="219"/>
                      </a:lnTo>
                      <a:lnTo>
                        <a:pt x="367" y="224"/>
                      </a:lnTo>
                      <a:lnTo>
                        <a:pt x="330" y="244"/>
                      </a:lnTo>
                      <a:lnTo>
                        <a:pt x="322" y="248"/>
                      </a:lnTo>
                      <a:lnTo>
                        <a:pt x="315" y="252"/>
                      </a:lnTo>
                      <a:lnTo>
                        <a:pt x="308" y="258"/>
                      </a:lnTo>
                      <a:lnTo>
                        <a:pt x="297" y="275"/>
                      </a:lnTo>
                      <a:lnTo>
                        <a:pt x="294" y="285"/>
                      </a:lnTo>
                      <a:lnTo>
                        <a:pt x="265" y="293"/>
                      </a:lnTo>
                      <a:lnTo>
                        <a:pt x="213" y="300"/>
                      </a:lnTo>
                      <a:lnTo>
                        <a:pt x="203" y="298"/>
                      </a:lnTo>
                      <a:lnTo>
                        <a:pt x="197" y="293"/>
                      </a:lnTo>
                      <a:lnTo>
                        <a:pt x="193" y="289"/>
                      </a:lnTo>
                      <a:lnTo>
                        <a:pt x="188" y="285"/>
                      </a:lnTo>
                      <a:lnTo>
                        <a:pt x="178" y="284"/>
                      </a:lnTo>
                      <a:lnTo>
                        <a:pt x="170" y="280"/>
                      </a:lnTo>
                      <a:lnTo>
                        <a:pt x="155" y="268"/>
                      </a:lnTo>
                      <a:lnTo>
                        <a:pt x="150" y="268"/>
                      </a:lnTo>
                      <a:lnTo>
                        <a:pt x="147" y="272"/>
                      </a:lnTo>
                      <a:lnTo>
                        <a:pt x="144" y="278"/>
                      </a:lnTo>
                      <a:lnTo>
                        <a:pt x="143" y="285"/>
                      </a:lnTo>
                      <a:lnTo>
                        <a:pt x="139" y="310"/>
                      </a:lnTo>
                      <a:lnTo>
                        <a:pt x="135" y="328"/>
                      </a:lnTo>
                      <a:lnTo>
                        <a:pt x="135" y="347"/>
                      </a:lnTo>
                      <a:lnTo>
                        <a:pt x="137" y="359"/>
                      </a:lnTo>
                      <a:lnTo>
                        <a:pt x="137" y="365"/>
                      </a:lnTo>
                      <a:lnTo>
                        <a:pt x="138" y="370"/>
                      </a:lnTo>
                      <a:lnTo>
                        <a:pt x="137" y="378"/>
                      </a:lnTo>
                      <a:lnTo>
                        <a:pt x="133" y="384"/>
                      </a:lnTo>
                      <a:lnTo>
                        <a:pt x="128" y="388"/>
                      </a:lnTo>
                      <a:lnTo>
                        <a:pt x="122" y="393"/>
                      </a:lnTo>
                      <a:lnTo>
                        <a:pt x="117" y="395"/>
                      </a:lnTo>
                      <a:lnTo>
                        <a:pt x="110" y="395"/>
                      </a:lnTo>
                      <a:lnTo>
                        <a:pt x="105" y="394"/>
                      </a:lnTo>
                      <a:lnTo>
                        <a:pt x="100" y="392"/>
                      </a:lnTo>
                      <a:lnTo>
                        <a:pt x="93" y="384"/>
                      </a:lnTo>
                      <a:lnTo>
                        <a:pt x="87" y="379"/>
                      </a:lnTo>
                      <a:lnTo>
                        <a:pt x="83" y="373"/>
                      </a:lnTo>
                      <a:lnTo>
                        <a:pt x="80" y="365"/>
                      </a:lnTo>
                      <a:lnTo>
                        <a:pt x="74" y="335"/>
                      </a:lnTo>
                      <a:lnTo>
                        <a:pt x="70" y="329"/>
                      </a:lnTo>
                      <a:lnTo>
                        <a:pt x="64" y="325"/>
                      </a:lnTo>
                      <a:lnTo>
                        <a:pt x="54" y="324"/>
                      </a:lnTo>
                      <a:lnTo>
                        <a:pt x="47" y="325"/>
                      </a:lnTo>
                      <a:lnTo>
                        <a:pt x="38" y="328"/>
                      </a:lnTo>
                      <a:lnTo>
                        <a:pt x="32" y="327"/>
                      </a:lnTo>
                      <a:lnTo>
                        <a:pt x="27" y="323"/>
                      </a:lnTo>
                      <a:lnTo>
                        <a:pt x="25" y="318"/>
                      </a:lnTo>
                      <a:lnTo>
                        <a:pt x="25" y="309"/>
                      </a:lnTo>
                      <a:lnTo>
                        <a:pt x="25" y="303"/>
                      </a:lnTo>
                      <a:lnTo>
                        <a:pt x="23" y="298"/>
                      </a:lnTo>
                      <a:lnTo>
                        <a:pt x="23" y="292"/>
                      </a:lnTo>
                      <a:lnTo>
                        <a:pt x="27" y="279"/>
                      </a:lnTo>
                      <a:lnTo>
                        <a:pt x="28" y="272"/>
                      </a:lnTo>
                      <a:lnTo>
                        <a:pt x="27" y="259"/>
                      </a:lnTo>
                      <a:lnTo>
                        <a:pt x="27" y="254"/>
                      </a:lnTo>
                      <a:lnTo>
                        <a:pt x="29" y="244"/>
                      </a:lnTo>
                      <a:lnTo>
                        <a:pt x="30" y="239"/>
                      </a:lnTo>
                      <a:lnTo>
                        <a:pt x="29" y="218"/>
                      </a:lnTo>
                      <a:lnTo>
                        <a:pt x="28" y="209"/>
                      </a:lnTo>
                      <a:lnTo>
                        <a:pt x="22" y="190"/>
                      </a:lnTo>
                      <a:lnTo>
                        <a:pt x="19" y="177"/>
                      </a:lnTo>
                      <a:lnTo>
                        <a:pt x="18" y="172"/>
                      </a:lnTo>
                      <a:lnTo>
                        <a:pt x="12" y="163"/>
                      </a:lnTo>
                      <a:lnTo>
                        <a:pt x="5" y="154"/>
                      </a:lnTo>
                      <a:lnTo>
                        <a:pt x="2" y="140"/>
                      </a:lnTo>
                      <a:lnTo>
                        <a:pt x="0" y="128"/>
                      </a:lnTo>
                      <a:lnTo>
                        <a:pt x="2" y="122"/>
                      </a:lnTo>
                      <a:lnTo>
                        <a:pt x="12" y="109"/>
                      </a:lnTo>
                      <a:lnTo>
                        <a:pt x="14" y="104"/>
                      </a:lnTo>
                      <a:lnTo>
                        <a:pt x="12" y="99"/>
                      </a:lnTo>
                      <a:lnTo>
                        <a:pt x="7" y="95"/>
                      </a:lnTo>
                      <a:lnTo>
                        <a:pt x="4" y="89"/>
                      </a:lnTo>
                      <a:lnTo>
                        <a:pt x="4" y="85"/>
                      </a:lnTo>
                      <a:lnTo>
                        <a:pt x="19" y="53"/>
                      </a:lnTo>
                      <a:lnTo>
                        <a:pt x="23" y="49"/>
                      </a:lnTo>
                      <a:lnTo>
                        <a:pt x="27" y="49"/>
                      </a:lnTo>
                      <a:lnTo>
                        <a:pt x="35" y="54"/>
                      </a:lnTo>
                      <a:lnTo>
                        <a:pt x="40" y="54"/>
                      </a:lnTo>
                      <a:lnTo>
                        <a:pt x="44" y="50"/>
                      </a:lnTo>
                      <a:lnTo>
                        <a:pt x="48" y="47"/>
                      </a:lnTo>
                      <a:lnTo>
                        <a:pt x="68" y="9"/>
                      </a:lnTo>
                      <a:lnTo>
                        <a:pt x="73" y="3"/>
                      </a:lnTo>
                      <a:lnTo>
                        <a:pt x="77" y="0"/>
                      </a:lnTo>
                      <a:lnTo>
                        <a:pt x="82" y="0"/>
                      </a:lnTo>
                      <a:lnTo>
                        <a:pt x="93" y="3"/>
                      </a:lnTo>
                      <a:lnTo>
                        <a:pt x="104" y="9"/>
                      </a:lnTo>
                      <a:lnTo>
                        <a:pt x="108" y="13"/>
                      </a:lnTo>
                      <a:lnTo>
                        <a:pt x="109" y="17"/>
                      </a:lnTo>
                      <a:lnTo>
                        <a:pt x="109" y="25"/>
                      </a:lnTo>
                      <a:lnTo>
                        <a:pt x="110" y="29"/>
                      </a:lnTo>
                      <a:lnTo>
                        <a:pt x="114" y="33"/>
                      </a:lnTo>
                      <a:lnTo>
                        <a:pt x="119" y="34"/>
                      </a:lnTo>
                      <a:lnTo>
                        <a:pt x="140" y="29"/>
                      </a:lnTo>
                      <a:lnTo>
                        <a:pt x="147" y="29"/>
                      </a:lnTo>
                      <a:lnTo>
                        <a:pt x="157" y="30"/>
                      </a:lnTo>
                      <a:lnTo>
                        <a:pt x="163" y="32"/>
                      </a:lnTo>
                      <a:lnTo>
                        <a:pt x="168" y="33"/>
                      </a:lnTo>
                      <a:lnTo>
                        <a:pt x="172" y="35"/>
                      </a:lnTo>
                      <a:lnTo>
                        <a:pt x="173" y="39"/>
                      </a:lnTo>
                      <a:lnTo>
                        <a:pt x="175" y="45"/>
                      </a:lnTo>
                      <a:lnTo>
                        <a:pt x="179" y="49"/>
                      </a:lnTo>
                      <a:lnTo>
                        <a:pt x="183" y="52"/>
                      </a:lnTo>
                      <a:lnTo>
                        <a:pt x="187" y="52"/>
                      </a:lnTo>
                      <a:lnTo>
                        <a:pt x="192" y="52"/>
                      </a:lnTo>
                      <a:lnTo>
                        <a:pt x="199" y="49"/>
                      </a:lnTo>
                      <a:lnTo>
                        <a:pt x="221" y="3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79" name="Akita" descr="{&quot;Key&quot;:&quot;akita&quot;,&quot;Name&quot;:&quot;Akita&quot;,&quot;Value&quot;:1.0,&quot;Formula&quot;:&quot;&quot;,&quot;Text&quot;:&quot;&quot;,&quot;OfficeApplication&quot;:1,&quot;HasValue&quot;:true}">
                  <a:extLst>
                    <a:ext uri="{FF2B5EF4-FFF2-40B4-BE49-F238E27FC236}">
                      <a16:creationId xmlns:a16="http://schemas.microsoft.com/office/drawing/2014/main" id="{67A8190E-E24F-4C2F-8A95-D620F10FA8BB}"/>
                    </a:ext>
                  </a:extLst>
                </p:cNvPr>
                <p:cNvSpPr>
                  <a:spLocks/>
                </p:cNvSpPr>
                <p:nvPr/>
              </p:nvSpPr>
              <p:spPr bwMode="auto">
                <a:xfrm>
                  <a:off x="6837363" y="2241550"/>
                  <a:ext cx="298450" cy="496887"/>
                </a:xfrm>
                <a:custGeom>
                  <a:avLst/>
                  <a:gdLst>
                    <a:gd name="T0" fmla="*/ 472 w 509"/>
                    <a:gd name="T1" fmla="*/ 158 h 851"/>
                    <a:gd name="T2" fmla="*/ 467 w 509"/>
                    <a:gd name="T3" fmla="*/ 194 h 851"/>
                    <a:gd name="T4" fmla="*/ 460 w 509"/>
                    <a:gd name="T5" fmla="*/ 223 h 851"/>
                    <a:gd name="T6" fmla="*/ 460 w 509"/>
                    <a:gd name="T7" fmla="*/ 275 h 851"/>
                    <a:gd name="T8" fmla="*/ 472 w 509"/>
                    <a:gd name="T9" fmla="*/ 320 h 851"/>
                    <a:gd name="T10" fmla="*/ 455 w 509"/>
                    <a:gd name="T11" fmla="*/ 333 h 851"/>
                    <a:gd name="T12" fmla="*/ 438 w 509"/>
                    <a:gd name="T13" fmla="*/ 341 h 851"/>
                    <a:gd name="T14" fmla="*/ 442 w 509"/>
                    <a:gd name="T15" fmla="*/ 364 h 851"/>
                    <a:gd name="T16" fmla="*/ 452 w 509"/>
                    <a:gd name="T17" fmla="*/ 386 h 851"/>
                    <a:gd name="T18" fmla="*/ 444 w 509"/>
                    <a:gd name="T19" fmla="*/ 424 h 851"/>
                    <a:gd name="T20" fmla="*/ 448 w 509"/>
                    <a:gd name="T21" fmla="*/ 456 h 851"/>
                    <a:gd name="T22" fmla="*/ 419 w 509"/>
                    <a:gd name="T23" fmla="*/ 500 h 851"/>
                    <a:gd name="T24" fmla="*/ 387 w 509"/>
                    <a:gd name="T25" fmla="*/ 581 h 851"/>
                    <a:gd name="T26" fmla="*/ 400 w 509"/>
                    <a:gd name="T27" fmla="*/ 628 h 851"/>
                    <a:gd name="T28" fmla="*/ 417 w 509"/>
                    <a:gd name="T29" fmla="*/ 650 h 851"/>
                    <a:gd name="T30" fmla="*/ 432 w 509"/>
                    <a:gd name="T31" fmla="*/ 670 h 851"/>
                    <a:gd name="T32" fmla="*/ 442 w 509"/>
                    <a:gd name="T33" fmla="*/ 694 h 851"/>
                    <a:gd name="T34" fmla="*/ 424 w 509"/>
                    <a:gd name="T35" fmla="*/ 719 h 851"/>
                    <a:gd name="T36" fmla="*/ 433 w 509"/>
                    <a:gd name="T37" fmla="*/ 745 h 851"/>
                    <a:gd name="T38" fmla="*/ 442 w 509"/>
                    <a:gd name="T39" fmla="*/ 764 h 851"/>
                    <a:gd name="T40" fmla="*/ 414 w 509"/>
                    <a:gd name="T41" fmla="*/ 817 h 851"/>
                    <a:gd name="T42" fmla="*/ 354 w 509"/>
                    <a:gd name="T43" fmla="*/ 850 h 851"/>
                    <a:gd name="T44" fmla="*/ 315 w 509"/>
                    <a:gd name="T45" fmla="*/ 840 h 851"/>
                    <a:gd name="T46" fmla="*/ 285 w 509"/>
                    <a:gd name="T47" fmla="*/ 798 h 851"/>
                    <a:gd name="T48" fmla="*/ 207 w 509"/>
                    <a:gd name="T49" fmla="*/ 774 h 851"/>
                    <a:gd name="T50" fmla="*/ 188 w 509"/>
                    <a:gd name="T51" fmla="*/ 761 h 851"/>
                    <a:gd name="T52" fmla="*/ 149 w 509"/>
                    <a:gd name="T53" fmla="*/ 745 h 851"/>
                    <a:gd name="T54" fmla="*/ 120 w 509"/>
                    <a:gd name="T55" fmla="*/ 730 h 851"/>
                    <a:gd name="T56" fmla="*/ 74 w 509"/>
                    <a:gd name="T57" fmla="*/ 725 h 851"/>
                    <a:gd name="T58" fmla="*/ 83 w 509"/>
                    <a:gd name="T59" fmla="*/ 667 h 851"/>
                    <a:gd name="T60" fmla="*/ 120 w 509"/>
                    <a:gd name="T61" fmla="*/ 615 h 851"/>
                    <a:gd name="T62" fmla="*/ 145 w 509"/>
                    <a:gd name="T63" fmla="*/ 406 h 851"/>
                    <a:gd name="T64" fmla="*/ 124 w 509"/>
                    <a:gd name="T65" fmla="*/ 341 h 851"/>
                    <a:gd name="T66" fmla="*/ 68 w 509"/>
                    <a:gd name="T67" fmla="*/ 325 h 851"/>
                    <a:gd name="T68" fmla="*/ 25 w 509"/>
                    <a:gd name="T69" fmla="*/ 337 h 851"/>
                    <a:gd name="T70" fmla="*/ 5 w 509"/>
                    <a:gd name="T71" fmla="*/ 302 h 851"/>
                    <a:gd name="T72" fmla="*/ 0 w 509"/>
                    <a:gd name="T73" fmla="*/ 269 h 851"/>
                    <a:gd name="T74" fmla="*/ 50 w 509"/>
                    <a:gd name="T75" fmla="*/ 284 h 851"/>
                    <a:gd name="T76" fmla="*/ 119 w 509"/>
                    <a:gd name="T77" fmla="*/ 174 h 851"/>
                    <a:gd name="T78" fmla="*/ 130 w 509"/>
                    <a:gd name="T79" fmla="*/ 87 h 851"/>
                    <a:gd name="T80" fmla="*/ 108 w 509"/>
                    <a:gd name="T81" fmla="*/ 51 h 851"/>
                    <a:gd name="T82" fmla="*/ 120 w 509"/>
                    <a:gd name="T83" fmla="*/ 36 h 851"/>
                    <a:gd name="T84" fmla="*/ 146 w 509"/>
                    <a:gd name="T85" fmla="*/ 19 h 851"/>
                    <a:gd name="T86" fmla="*/ 243 w 509"/>
                    <a:gd name="T87" fmla="*/ 27 h 851"/>
                    <a:gd name="T88" fmla="*/ 286 w 509"/>
                    <a:gd name="T89" fmla="*/ 10 h 851"/>
                    <a:gd name="T90" fmla="*/ 313 w 509"/>
                    <a:gd name="T91" fmla="*/ 29 h 851"/>
                    <a:gd name="T92" fmla="*/ 346 w 509"/>
                    <a:gd name="T93" fmla="*/ 44 h 851"/>
                    <a:gd name="T94" fmla="*/ 370 w 509"/>
                    <a:gd name="T95" fmla="*/ 42 h 851"/>
                    <a:gd name="T96" fmla="*/ 399 w 509"/>
                    <a:gd name="T97" fmla="*/ 40 h 851"/>
                    <a:gd name="T98" fmla="*/ 433 w 509"/>
                    <a:gd name="T99" fmla="*/ 24 h 851"/>
                    <a:gd name="T100" fmla="*/ 464 w 509"/>
                    <a:gd name="T101" fmla="*/ 0 h 851"/>
                    <a:gd name="T102" fmla="*/ 500 w 509"/>
                    <a:gd name="T103" fmla="*/ 16 h 851"/>
                    <a:gd name="T104" fmla="*/ 498 w 509"/>
                    <a:gd name="T105" fmla="*/ 35 h 851"/>
                    <a:gd name="T106" fmla="*/ 509 w 509"/>
                    <a:gd name="T107" fmla="*/ 62 h 851"/>
                    <a:gd name="T108" fmla="*/ 503 w 509"/>
                    <a:gd name="T109" fmla="*/ 85 h 851"/>
                    <a:gd name="T110" fmla="*/ 498 w 509"/>
                    <a:gd name="T111" fmla="*/ 12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9" h="851">
                      <a:moveTo>
                        <a:pt x="494" y="135"/>
                      </a:moveTo>
                      <a:lnTo>
                        <a:pt x="487" y="143"/>
                      </a:lnTo>
                      <a:lnTo>
                        <a:pt x="478" y="150"/>
                      </a:lnTo>
                      <a:lnTo>
                        <a:pt x="472" y="158"/>
                      </a:lnTo>
                      <a:lnTo>
                        <a:pt x="465" y="169"/>
                      </a:lnTo>
                      <a:lnTo>
                        <a:pt x="467" y="175"/>
                      </a:lnTo>
                      <a:lnTo>
                        <a:pt x="468" y="185"/>
                      </a:lnTo>
                      <a:lnTo>
                        <a:pt x="467" y="194"/>
                      </a:lnTo>
                      <a:lnTo>
                        <a:pt x="465" y="201"/>
                      </a:lnTo>
                      <a:lnTo>
                        <a:pt x="467" y="209"/>
                      </a:lnTo>
                      <a:lnTo>
                        <a:pt x="464" y="215"/>
                      </a:lnTo>
                      <a:lnTo>
                        <a:pt x="460" y="223"/>
                      </a:lnTo>
                      <a:lnTo>
                        <a:pt x="459" y="229"/>
                      </a:lnTo>
                      <a:lnTo>
                        <a:pt x="459" y="235"/>
                      </a:lnTo>
                      <a:lnTo>
                        <a:pt x="460" y="242"/>
                      </a:lnTo>
                      <a:lnTo>
                        <a:pt x="460" y="275"/>
                      </a:lnTo>
                      <a:lnTo>
                        <a:pt x="462" y="285"/>
                      </a:lnTo>
                      <a:lnTo>
                        <a:pt x="463" y="295"/>
                      </a:lnTo>
                      <a:lnTo>
                        <a:pt x="465" y="305"/>
                      </a:lnTo>
                      <a:lnTo>
                        <a:pt x="472" y="320"/>
                      </a:lnTo>
                      <a:lnTo>
                        <a:pt x="472" y="328"/>
                      </a:lnTo>
                      <a:lnTo>
                        <a:pt x="469" y="331"/>
                      </a:lnTo>
                      <a:lnTo>
                        <a:pt x="465" y="334"/>
                      </a:lnTo>
                      <a:lnTo>
                        <a:pt x="455" y="333"/>
                      </a:lnTo>
                      <a:lnTo>
                        <a:pt x="450" y="333"/>
                      </a:lnTo>
                      <a:lnTo>
                        <a:pt x="445" y="334"/>
                      </a:lnTo>
                      <a:lnTo>
                        <a:pt x="442" y="336"/>
                      </a:lnTo>
                      <a:lnTo>
                        <a:pt x="438" y="341"/>
                      </a:lnTo>
                      <a:lnTo>
                        <a:pt x="437" y="348"/>
                      </a:lnTo>
                      <a:lnTo>
                        <a:pt x="437" y="353"/>
                      </a:lnTo>
                      <a:lnTo>
                        <a:pt x="438" y="359"/>
                      </a:lnTo>
                      <a:lnTo>
                        <a:pt x="442" y="364"/>
                      </a:lnTo>
                      <a:lnTo>
                        <a:pt x="450" y="371"/>
                      </a:lnTo>
                      <a:lnTo>
                        <a:pt x="454" y="376"/>
                      </a:lnTo>
                      <a:lnTo>
                        <a:pt x="453" y="381"/>
                      </a:lnTo>
                      <a:lnTo>
                        <a:pt x="452" y="386"/>
                      </a:lnTo>
                      <a:lnTo>
                        <a:pt x="445" y="396"/>
                      </a:lnTo>
                      <a:lnTo>
                        <a:pt x="443" y="403"/>
                      </a:lnTo>
                      <a:lnTo>
                        <a:pt x="439" y="410"/>
                      </a:lnTo>
                      <a:lnTo>
                        <a:pt x="444" y="424"/>
                      </a:lnTo>
                      <a:lnTo>
                        <a:pt x="447" y="433"/>
                      </a:lnTo>
                      <a:lnTo>
                        <a:pt x="449" y="440"/>
                      </a:lnTo>
                      <a:lnTo>
                        <a:pt x="449" y="450"/>
                      </a:lnTo>
                      <a:lnTo>
                        <a:pt x="448" y="456"/>
                      </a:lnTo>
                      <a:lnTo>
                        <a:pt x="447" y="461"/>
                      </a:lnTo>
                      <a:lnTo>
                        <a:pt x="440" y="473"/>
                      </a:lnTo>
                      <a:lnTo>
                        <a:pt x="423" y="494"/>
                      </a:lnTo>
                      <a:lnTo>
                        <a:pt x="419" y="500"/>
                      </a:lnTo>
                      <a:lnTo>
                        <a:pt x="415" y="510"/>
                      </a:lnTo>
                      <a:lnTo>
                        <a:pt x="409" y="529"/>
                      </a:lnTo>
                      <a:lnTo>
                        <a:pt x="394" y="559"/>
                      </a:lnTo>
                      <a:lnTo>
                        <a:pt x="387" y="581"/>
                      </a:lnTo>
                      <a:lnTo>
                        <a:pt x="388" y="586"/>
                      </a:lnTo>
                      <a:lnTo>
                        <a:pt x="389" y="594"/>
                      </a:lnTo>
                      <a:lnTo>
                        <a:pt x="397" y="611"/>
                      </a:lnTo>
                      <a:lnTo>
                        <a:pt x="400" y="628"/>
                      </a:lnTo>
                      <a:lnTo>
                        <a:pt x="403" y="632"/>
                      </a:lnTo>
                      <a:lnTo>
                        <a:pt x="407" y="636"/>
                      </a:lnTo>
                      <a:lnTo>
                        <a:pt x="413" y="646"/>
                      </a:lnTo>
                      <a:lnTo>
                        <a:pt x="417" y="650"/>
                      </a:lnTo>
                      <a:lnTo>
                        <a:pt x="424" y="656"/>
                      </a:lnTo>
                      <a:lnTo>
                        <a:pt x="428" y="660"/>
                      </a:lnTo>
                      <a:lnTo>
                        <a:pt x="430" y="665"/>
                      </a:lnTo>
                      <a:lnTo>
                        <a:pt x="432" y="670"/>
                      </a:lnTo>
                      <a:lnTo>
                        <a:pt x="432" y="678"/>
                      </a:lnTo>
                      <a:lnTo>
                        <a:pt x="433" y="682"/>
                      </a:lnTo>
                      <a:lnTo>
                        <a:pt x="440" y="690"/>
                      </a:lnTo>
                      <a:lnTo>
                        <a:pt x="442" y="694"/>
                      </a:lnTo>
                      <a:lnTo>
                        <a:pt x="442" y="698"/>
                      </a:lnTo>
                      <a:lnTo>
                        <a:pt x="434" y="703"/>
                      </a:lnTo>
                      <a:lnTo>
                        <a:pt x="429" y="707"/>
                      </a:lnTo>
                      <a:lnTo>
                        <a:pt x="424" y="719"/>
                      </a:lnTo>
                      <a:lnTo>
                        <a:pt x="423" y="726"/>
                      </a:lnTo>
                      <a:lnTo>
                        <a:pt x="424" y="732"/>
                      </a:lnTo>
                      <a:lnTo>
                        <a:pt x="427" y="740"/>
                      </a:lnTo>
                      <a:lnTo>
                        <a:pt x="433" y="745"/>
                      </a:lnTo>
                      <a:lnTo>
                        <a:pt x="438" y="749"/>
                      </a:lnTo>
                      <a:lnTo>
                        <a:pt x="442" y="754"/>
                      </a:lnTo>
                      <a:lnTo>
                        <a:pt x="443" y="759"/>
                      </a:lnTo>
                      <a:lnTo>
                        <a:pt x="442" y="764"/>
                      </a:lnTo>
                      <a:lnTo>
                        <a:pt x="433" y="782"/>
                      </a:lnTo>
                      <a:lnTo>
                        <a:pt x="428" y="809"/>
                      </a:lnTo>
                      <a:lnTo>
                        <a:pt x="417" y="814"/>
                      </a:lnTo>
                      <a:lnTo>
                        <a:pt x="414" y="817"/>
                      </a:lnTo>
                      <a:lnTo>
                        <a:pt x="408" y="821"/>
                      </a:lnTo>
                      <a:lnTo>
                        <a:pt x="402" y="827"/>
                      </a:lnTo>
                      <a:lnTo>
                        <a:pt x="380" y="841"/>
                      </a:lnTo>
                      <a:lnTo>
                        <a:pt x="354" y="850"/>
                      </a:lnTo>
                      <a:lnTo>
                        <a:pt x="347" y="851"/>
                      </a:lnTo>
                      <a:lnTo>
                        <a:pt x="340" y="850"/>
                      </a:lnTo>
                      <a:lnTo>
                        <a:pt x="337" y="845"/>
                      </a:lnTo>
                      <a:lnTo>
                        <a:pt x="315" y="840"/>
                      </a:lnTo>
                      <a:lnTo>
                        <a:pt x="303" y="828"/>
                      </a:lnTo>
                      <a:lnTo>
                        <a:pt x="297" y="815"/>
                      </a:lnTo>
                      <a:lnTo>
                        <a:pt x="292" y="803"/>
                      </a:lnTo>
                      <a:lnTo>
                        <a:pt x="285" y="798"/>
                      </a:lnTo>
                      <a:lnTo>
                        <a:pt x="260" y="783"/>
                      </a:lnTo>
                      <a:lnTo>
                        <a:pt x="250" y="780"/>
                      </a:lnTo>
                      <a:lnTo>
                        <a:pt x="237" y="780"/>
                      </a:lnTo>
                      <a:lnTo>
                        <a:pt x="207" y="774"/>
                      </a:lnTo>
                      <a:lnTo>
                        <a:pt x="200" y="770"/>
                      </a:lnTo>
                      <a:lnTo>
                        <a:pt x="197" y="766"/>
                      </a:lnTo>
                      <a:lnTo>
                        <a:pt x="194" y="763"/>
                      </a:lnTo>
                      <a:lnTo>
                        <a:pt x="188" y="761"/>
                      </a:lnTo>
                      <a:lnTo>
                        <a:pt x="183" y="761"/>
                      </a:lnTo>
                      <a:lnTo>
                        <a:pt x="173" y="759"/>
                      </a:lnTo>
                      <a:lnTo>
                        <a:pt x="164" y="755"/>
                      </a:lnTo>
                      <a:lnTo>
                        <a:pt x="149" y="745"/>
                      </a:lnTo>
                      <a:lnTo>
                        <a:pt x="137" y="730"/>
                      </a:lnTo>
                      <a:lnTo>
                        <a:pt x="132" y="729"/>
                      </a:lnTo>
                      <a:lnTo>
                        <a:pt x="127" y="727"/>
                      </a:lnTo>
                      <a:lnTo>
                        <a:pt x="120" y="730"/>
                      </a:lnTo>
                      <a:lnTo>
                        <a:pt x="115" y="731"/>
                      </a:lnTo>
                      <a:lnTo>
                        <a:pt x="107" y="734"/>
                      </a:lnTo>
                      <a:lnTo>
                        <a:pt x="77" y="725"/>
                      </a:lnTo>
                      <a:lnTo>
                        <a:pt x="74" y="725"/>
                      </a:lnTo>
                      <a:lnTo>
                        <a:pt x="79" y="715"/>
                      </a:lnTo>
                      <a:lnTo>
                        <a:pt x="80" y="705"/>
                      </a:lnTo>
                      <a:lnTo>
                        <a:pt x="82" y="684"/>
                      </a:lnTo>
                      <a:lnTo>
                        <a:pt x="83" y="667"/>
                      </a:lnTo>
                      <a:lnTo>
                        <a:pt x="89" y="649"/>
                      </a:lnTo>
                      <a:lnTo>
                        <a:pt x="94" y="635"/>
                      </a:lnTo>
                      <a:lnTo>
                        <a:pt x="108" y="630"/>
                      </a:lnTo>
                      <a:lnTo>
                        <a:pt x="120" y="615"/>
                      </a:lnTo>
                      <a:lnTo>
                        <a:pt x="130" y="572"/>
                      </a:lnTo>
                      <a:lnTo>
                        <a:pt x="142" y="522"/>
                      </a:lnTo>
                      <a:lnTo>
                        <a:pt x="145" y="421"/>
                      </a:lnTo>
                      <a:lnTo>
                        <a:pt x="145" y="406"/>
                      </a:lnTo>
                      <a:lnTo>
                        <a:pt x="138" y="384"/>
                      </a:lnTo>
                      <a:lnTo>
                        <a:pt x="138" y="371"/>
                      </a:lnTo>
                      <a:lnTo>
                        <a:pt x="133" y="355"/>
                      </a:lnTo>
                      <a:lnTo>
                        <a:pt x="124" y="341"/>
                      </a:lnTo>
                      <a:lnTo>
                        <a:pt x="109" y="326"/>
                      </a:lnTo>
                      <a:lnTo>
                        <a:pt x="90" y="316"/>
                      </a:lnTo>
                      <a:lnTo>
                        <a:pt x="73" y="320"/>
                      </a:lnTo>
                      <a:lnTo>
                        <a:pt x="68" y="325"/>
                      </a:lnTo>
                      <a:lnTo>
                        <a:pt x="64" y="331"/>
                      </a:lnTo>
                      <a:lnTo>
                        <a:pt x="59" y="336"/>
                      </a:lnTo>
                      <a:lnTo>
                        <a:pt x="52" y="337"/>
                      </a:lnTo>
                      <a:lnTo>
                        <a:pt x="25" y="337"/>
                      </a:lnTo>
                      <a:lnTo>
                        <a:pt x="23" y="334"/>
                      </a:lnTo>
                      <a:lnTo>
                        <a:pt x="17" y="320"/>
                      </a:lnTo>
                      <a:lnTo>
                        <a:pt x="14" y="314"/>
                      </a:lnTo>
                      <a:lnTo>
                        <a:pt x="5" y="302"/>
                      </a:lnTo>
                      <a:lnTo>
                        <a:pt x="3" y="292"/>
                      </a:lnTo>
                      <a:lnTo>
                        <a:pt x="9" y="289"/>
                      </a:lnTo>
                      <a:lnTo>
                        <a:pt x="1" y="284"/>
                      </a:lnTo>
                      <a:lnTo>
                        <a:pt x="0" y="269"/>
                      </a:lnTo>
                      <a:lnTo>
                        <a:pt x="1" y="260"/>
                      </a:lnTo>
                      <a:lnTo>
                        <a:pt x="19" y="272"/>
                      </a:lnTo>
                      <a:lnTo>
                        <a:pt x="41" y="282"/>
                      </a:lnTo>
                      <a:lnTo>
                        <a:pt x="50" y="284"/>
                      </a:lnTo>
                      <a:lnTo>
                        <a:pt x="69" y="271"/>
                      </a:lnTo>
                      <a:lnTo>
                        <a:pt x="84" y="254"/>
                      </a:lnTo>
                      <a:lnTo>
                        <a:pt x="113" y="197"/>
                      </a:lnTo>
                      <a:lnTo>
                        <a:pt x="119" y="174"/>
                      </a:lnTo>
                      <a:lnTo>
                        <a:pt x="118" y="162"/>
                      </a:lnTo>
                      <a:lnTo>
                        <a:pt x="123" y="146"/>
                      </a:lnTo>
                      <a:lnTo>
                        <a:pt x="126" y="140"/>
                      </a:lnTo>
                      <a:lnTo>
                        <a:pt x="130" y="87"/>
                      </a:lnTo>
                      <a:lnTo>
                        <a:pt x="131" y="76"/>
                      </a:lnTo>
                      <a:lnTo>
                        <a:pt x="126" y="70"/>
                      </a:lnTo>
                      <a:lnTo>
                        <a:pt x="121" y="65"/>
                      </a:lnTo>
                      <a:lnTo>
                        <a:pt x="108" y="51"/>
                      </a:lnTo>
                      <a:lnTo>
                        <a:pt x="100" y="42"/>
                      </a:lnTo>
                      <a:lnTo>
                        <a:pt x="99" y="37"/>
                      </a:lnTo>
                      <a:lnTo>
                        <a:pt x="114" y="35"/>
                      </a:lnTo>
                      <a:lnTo>
                        <a:pt x="120" y="36"/>
                      </a:lnTo>
                      <a:lnTo>
                        <a:pt x="126" y="32"/>
                      </a:lnTo>
                      <a:lnTo>
                        <a:pt x="131" y="27"/>
                      </a:lnTo>
                      <a:lnTo>
                        <a:pt x="140" y="20"/>
                      </a:lnTo>
                      <a:lnTo>
                        <a:pt x="146" y="19"/>
                      </a:lnTo>
                      <a:lnTo>
                        <a:pt x="154" y="21"/>
                      </a:lnTo>
                      <a:lnTo>
                        <a:pt x="160" y="24"/>
                      </a:lnTo>
                      <a:lnTo>
                        <a:pt x="171" y="27"/>
                      </a:lnTo>
                      <a:lnTo>
                        <a:pt x="243" y="27"/>
                      </a:lnTo>
                      <a:lnTo>
                        <a:pt x="254" y="24"/>
                      </a:lnTo>
                      <a:lnTo>
                        <a:pt x="265" y="14"/>
                      </a:lnTo>
                      <a:lnTo>
                        <a:pt x="276" y="10"/>
                      </a:lnTo>
                      <a:lnTo>
                        <a:pt x="286" y="10"/>
                      </a:lnTo>
                      <a:lnTo>
                        <a:pt x="291" y="12"/>
                      </a:lnTo>
                      <a:lnTo>
                        <a:pt x="294" y="16"/>
                      </a:lnTo>
                      <a:lnTo>
                        <a:pt x="296" y="21"/>
                      </a:lnTo>
                      <a:lnTo>
                        <a:pt x="313" y="29"/>
                      </a:lnTo>
                      <a:lnTo>
                        <a:pt x="334" y="46"/>
                      </a:lnTo>
                      <a:lnTo>
                        <a:pt x="340" y="49"/>
                      </a:lnTo>
                      <a:lnTo>
                        <a:pt x="344" y="46"/>
                      </a:lnTo>
                      <a:lnTo>
                        <a:pt x="346" y="44"/>
                      </a:lnTo>
                      <a:lnTo>
                        <a:pt x="353" y="40"/>
                      </a:lnTo>
                      <a:lnTo>
                        <a:pt x="360" y="40"/>
                      </a:lnTo>
                      <a:lnTo>
                        <a:pt x="365" y="41"/>
                      </a:lnTo>
                      <a:lnTo>
                        <a:pt x="370" y="42"/>
                      </a:lnTo>
                      <a:lnTo>
                        <a:pt x="376" y="46"/>
                      </a:lnTo>
                      <a:lnTo>
                        <a:pt x="383" y="46"/>
                      </a:lnTo>
                      <a:lnTo>
                        <a:pt x="388" y="45"/>
                      </a:lnTo>
                      <a:lnTo>
                        <a:pt x="399" y="40"/>
                      </a:lnTo>
                      <a:lnTo>
                        <a:pt x="404" y="40"/>
                      </a:lnTo>
                      <a:lnTo>
                        <a:pt x="410" y="39"/>
                      </a:lnTo>
                      <a:lnTo>
                        <a:pt x="423" y="29"/>
                      </a:lnTo>
                      <a:lnTo>
                        <a:pt x="433" y="24"/>
                      </a:lnTo>
                      <a:lnTo>
                        <a:pt x="439" y="20"/>
                      </a:lnTo>
                      <a:lnTo>
                        <a:pt x="445" y="10"/>
                      </a:lnTo>
                      <a:lnTo>
                        <a:pt x="451" y="4"/>
                      </a:lnTo>
                      <a:lnTo>
                        <a:pt x="464" y="0"/>
                      </a:lnTo>
                      <a:lnTo>
                        <a:pt x="471" y="1"/>
                      </a:lnTo>
                      <a:lnTo>
                        <a:pt x="490" y="9"/>
                      </a:lnTo>
                      <a:lnTo>
                        <a:pt x="495" y="12"/>
                      </a:lnTo>
                      <a:lnTo>
                        <a:pt x="500" y="16"/>
                      </a:lnTo>
                      <a:lnTo>
                        <a:pt x="503" y="21"/>
                      </a:lnTo>
                      <a:lnTo>
                        <a:pt x="503" y="26"/>
                      </a:lnTo>
                      <a:lnTo>
                        <a:pt x="503" y="30"/>
                      </a:lnTo>
                      <a:lnTo>
                        <a:pt x="498" y="35"/>
                      </a:lnTo>
                      <a:lnTo>
                        <a:pt x="503" y="39"/>
                      </a:lnTo>
                      <a:lnTo>
                        <a:pt x="505" y="42"/>
                      </a:lnTo>
                      <a:lnTo>
                        <a:pt x="508" y="47"/>
                      </a:lnTo>
                      <a:lnTo>
                        <a:pt x="509" y="62"/>
                      </a:lnTo>
                      <a:lnTo>
                        <a:pt x="509" y="69"/>
                      </a:lnTo>
                      <a:lnTo>
                        <a:pt x="506" y="75"/>
                      </a:lnTo>
                      <a:lnTo>
                        <a:pt x="504" y="80"/>
                      </a:lnTo>
                      <a:lnTo>
                        <a:pt x="503" y="85"/>
                      </a:lnTo>
                      <a:lnTo>
                        <a:pt x="501" y="95"/>
                      </a:lnTo>
                      <a:lnTo>
                        <a:pt x="498" y="106"/>
                      </a:lnTo>
                      <a:lnTo>
                        <a:pt x="498" y="114"/>
                      </a:lnTo>
                      <a:lnTo>
                        <a:pt x="498" y="120"/>
                      </a:lnTo>
                      <a:lnTo>
                        <a:pt x="494" y="135"/>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0" name="Aomori" descr="{&quot;Key&quot;:&quot;aomori&quot;,&quot;Name&quot;:&quot;Aomori&quot;,&quot;Value&quot;:1.0,&quot;Formula&quot;:&quot;&quot;,&quot;Text&quot;:&quot;&quot;,&quot;OfficeApplication&quot;:1,&quot;HasValue&quot;:true}">
                  <a:extLst>
                    <a:ext uri="{FF2B5EF4-FFF2-40B4-BE49-F238E27FC236}">
                      <a16:creationId xmlns:a16="http://schemas.microsoft.com/office/drawing/2014/main" id="{58A10976-575E-4836-BCAF-34ECD28887B4}"/>
                    </a:ext>
                  </a:extLst>
                </p:cNvPr>
                <p:cNvSpPr>
                  <a:spLocks/>
                </p:cNvSpPr>
                <p:nvPr/>
              </p:nvSpPr>
              <p:spPr bwMode="auto">
                <a:xfrm>
                  <a:off x="6875463" y="1916113"/>
                  <a:ext cx="428625" cy="414337"/>
                </a:xfrm>
                <a:custGeom>
                  <a:avLst/>
                  <a:gdLst>
                    <a:gd name="T0" fmla="*/ 688 w 734"/>
                    <a:gd name="T1" fmla="*/ 627 h 710"/>
                    <a:gd name="T2" fmla="*/ 633 w 734"/>
                    <a:gd name="T3" fmla="*/ 630 h 710"/>
                    <a:gd name="T4" fmla="*/ 581 w 734"/>
                    <a:gd name="T5" fmla="*/ 633 h 710"/>
                    <a:gd name="T6" fmla="*/ 455 w 734"/>
                    <a:gd name="T7" fmla="*/ 708 h 710"/>
                    <a:gd name="T8" fmla="*/ 438 w 734"/>
                    <a:gd name="T9" fmla="*/ 652 h 710"/>
                    <a:gd name="T10" fmla="*/ 444 w 734"/>
                    <a:gd name="T11" fmla="*/ 605 h 710"/>
                    <a:gd name="T12" fmla="*/ 439 w 734"/>
                    <a:gd name="T13" fmla="*/ 578 h 710"/>
                    <a:gd name="T14" fmla="*/ 388 w 734"/>
                    <a:gd name="T15" fmla="*/ 561 h 710"/>
                    <a:gd name="T16" fmla="*/ 340 w 734"/>
                    <a:gd name="T17" fmla="*/ 597 h 710"/>
                    <a:gd name="T18" fmla="*/ 301 w 734"/>
                    <a:gd name="T19" fmla="*/ 598 h 710"/>
                    <a:gd name="T20" fmla="*/ 270 w 734"/>
                    <a:gd name="T21" fmla="*/ 603 h 710"/>
                    <a:gd name="T22" fmla="*/ 213 w 734"/>
                    <a:gd name="T23" fmla="*/ 567 h 710"/>
                    <a:gd name="T24" fmla="*/ 90 w 734"/>
                    <a:gd name="T25" fmla="*/ 578 h 710"/>
                    <a:gd name="T26" fmla="*/ 50 w 734"/>
                    <a:gd name="T27" fmla="*/ 592 h 710"/>
                    <a:gd name="T28" fmla="*/ 30 w 734"/>
                    <a:gd name="T29" fmla="*/ 528 h 710"/>
                    <a:gd name="T30" fmla="*/ 10 w 734"/>
                    <a:gd name="T31" fmla="*/ 491 h 710"/>
                    <a:gd name="T32" fmla="*/ 58 w 734"/>
                    <a:gd name="T33" fmla="*/ 428 h 710"/>
                    <a:gd name="T34" fmla="*/ 114 w 734"/>
                    <a:gd name="T35" fmla="*/ 425 h 710"/>
                    <a:gd name="T36" fmla="*/ 166 w 734"/>
                    <a:gd name="T37" fmla="*/ 392 h 710"/>
                    <a:gd name="T38" fmla="*/ 188 w 734"/>
                    <a:gd name="T39" fmla="*/ 277 h 710"/>
                    <a:gd name="T40" fmla="*/ 211 w 734"/>
                    <a:gd name="T41" fmla="*/ 298 h 710"/>
                    <a:gd name="T42" fmla="*/ 220 w 734"/>
                    <a:gd name="T43" fmla="*/ 273 h 710"/>
                    <a:gd name="T44" fmla="*/ 189 w 734"/>
                    <a:gd name="T45" fmla="*/ 270 h 710"/>
                    <a:gd name="T46" fmla="*/ 156 w 734"/>
                    <a:gd name="T47" fmla="*/ 221 h 710"/>
                    <a:gd name="T48" fmla="*/ 191 w 734"/>
                    <a:gd name="T49" fmla="*/ 190 h 710"/>
                    <a:gd name="T50" fmla="*/ 195 w 734"/>
                    <a:gd name="T51" fmla="*/ 150 h 710"/>
                    <a:gd name="T52" fmla="*/ 244 w 734"/>
                    <a:gd name="T53" fmla="*/ 193 h 710"/>
                    <a:gd name="T54" fmla="*/ 312 w 734"/>
                    <a:gd name="T55" fmla="*/ 188 h 710"/>
                    <a:gd name="T56" fmla="*/ 314 w 734"/>
                    <a:gd name="T57" fmla="*/ 253 h 710"/>
                    <a:gd name="T58" fmla="*/ 379 w 734"/>
                    <a:gd name="T59" fmla="*/ 377 h 710"/>
                    <a:gd name="T60" fmla="*/ 407 w 734"/>
                    <a:gd name="T61" fmla="*/ 321 h 710"/>
                    <a:gd name="T62" fmla="*/ 404 w 734"/>
                    <a:gd name="T63" fmla="*/ 315 h 710"/>
                    <a:gd name="T64" fmla="*/ 412 w 734"/>
                    <a:gd name="T65" fmla="*/ 287 h 710"/>
                    <a:gd name="T66" fmla="*/ 442 w 734"/>
                    <a:gd name="T67" fmla="*/ 303 h 710"/>
                    <a:gd name="T68" fmla="*/ 451 w 734"/>
                    <a:gd name="T69" fmla="*/ 326 h 710"/>
                    <a:gd name="T70" fmla="*/ 487 w 734"/>
                    <a:gd name="T71" fmla="*/ 340 h 710"/>
                    <a:gd name="T72" fmla="*/ 526 w 734"/>
                    <a:gd name="T73" fmla="*/ 350 h 710"/>
                    <a:gd name="T74" fmla="*/ 559 w 734"/>
                    <a:gd name="T75" fmla="*/ 235 h 710"/>
                    <a:gd name="T76" fmla="*/ 562 w 734"/>
                    <a:gd name="T77" fmla="*/ 180 h 710"/>
                    <a:gd name="T78" fmla="*/ 519 w 734"/>
                    <a:gd name="T79" fmla="*/ 156 h 710"/>
                    <a:gd name="T80" fmla="*/ 519 w 734"/>
                    <a:gd name="T81" fmla="*/ 166 h 710"/>
                    <a:gd name="T82" fmla="*/ 462 w 734"/>
                    <a:gd name="T83" fmla="*/ 187 h 710"/>
                    <a:gd name="T84" fmla="*/ 416 w 734"/>
                    <a:gd name="T85" fmla="*/ 205 h 710"/>
                    <a:gd name="T86" fmla="*/ 366 w 734"/>
                    <a:gd name="T87" fmla="*/ 215 h 710"/>
                    <a:gd name="T88" fmla="*/ 376 w 734"/>
                    <a:gd name="T89" fmla="*/ 143 h 710"/>
                    <a:gd name="T90" fmla="*/ 390 w 734"/>
                    <a:gd name="T91" fmla="*/ 85 h 710"/>
                    <a:gd name="T92" fmla="*/ 422 w 734"/>
                    <a:gd name="T93" fmla="*/ 23 h 710"/>
                    <a:gd name="T94" fmla="*/ 430 w 734"/>
                    <a:gd name="T95" fmla="*/ 7 h 710"/>
                    <a:gd name="T96" fmla="*/ 486 w 734"/>
                    <a:gd name="T97" fmla="*/ 35 h 710"/>
                    <a:gd name="T98" fmla="*/ 539 w 734"/>
                    <a:gd name="T99" fmla="*/ 85 h 710"/>
                    <a:gd name="T100" fmla="*/ 625 w 734"/>
                    <a:gd name="T101" fmla="*/ 83 h 710"/>
                    <a:gd name="T102" fmla="*/ 645 w 734"/>
                    <a:gd name="T103" fmla="*/ 78 h 710"/>
                    <a:gd name="T104" fmla="*/ 630 w 734"/>
                    <a:gd name="T105" fmla="*/ 125 h 710"/>
                    <a:gd name="T106" fmla="*/ 620 w 734"/>
                    <a:gd name="T107" fmla="*/ 223 h 710"/>
                    <a:gd name="T108" fmla="*/ 616 w 734"/>
                    <a:gd name="T109" fmla="*/ 327 h 710"/>
                    <a:gd name="T110" fmla="*/ 654 w 734"/>
                    <a:gd name="T111" fmla="*/ 518 h 710"/>
                    <a:gd name="T112" fmla="*/ 691 w 734"/>
                    <a:gd name="T113" fmla="*/ 535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4" h="710">
                      <a:moveTo>
                        <a:pt x="734" y="583"/>
                      </a:moveTo>
                      <a:lnTo>
                        <a:pt x="731" y="585"/>
                      </a:lnTo>
                      <a:lnTo>
                        <a:pt x="696" y="606"/>
                      </a:lnTo>
                      <a:lnTo>
                        <a:pt x="693" y="612"/>
                      </a:lnTo>
                      <a:lnTo>
                        <a:pt x="689" y="622"/>
                      </a:lnTo>
                      <a:lnTo>
                        <a:pt x="688" y="627"/>
                      </a:lnTo>
                      <a:lnTo>
                        <a:pt x="683" y="631"/>
                      </a:lnTo>
                      <a:lnTo>
                        <a:pt x="675" y="633"/>
                      </a:lnTo>
                      <a:lnTo>
                        <a:pt x="665" y="632"/>
                      </a:lnTo>
                      <a:lnTo>
                        <a:pt x="650" y="627"/>
                      </a:lnTo>
                      <a:lnTo>
                        <a:pt x="643" y="627"/>
                      </a:lnTo>
                      <a:lnTo>
                        <a:pt x="633" y="630"/>
                      </a:lnTo>
                      <a:lnTo>
                        <a:pt x="614" y="638"/>
                      </a:lnTo>
                      <a:lnTo>
                        <a:pt x="604" y="642"/>
                      </a:lnTo>
                      <a:lnTo>
                        <a:pt x="595" y="640"/>
                      </a:lnTo>
                      <a:lnTo>
                        <a:pt x="591" y="636"/>
                      </a:lnTo>
                      <a:lnTo>
                        <a:pt x="586" y="633"/>
                      </a:lnTo>
                      <a:lnTo>
                        <a:pt x="581" y="633"/>
                      </a:lnTo>
                      <a:lnTo>
                        <a:pt x="558" y="645"/>
                      </a:lnTo>
                      <a:lnTo>
                        <a:pt x="495" y="682"/>
                      </a:lnTo>
                      <a:lnTo>
                        <a:pt x="470" y="706"/>
                      </a:lnTo>
                      <a:lnTo>
                        <a:pt x="465" y="708"/>
                      </a:lnTo>
                      <a:lnTo>
                        <a:pt x="460" y="710"/>
                      </a:lnTo>
                      <a:lnTo>
                        <a:pt x="455" y="708"/>
                      </a:lnTo>
                      <a:lnTo>
                        <a:pt x="450" y="705"/>
                      </a:lnTo>
                      <a:lnTo>
                        <a:pt x="430" y="692"/>
                      </a:lnTo>
                      <a:lnTo>
                        <a:pt x="434" y="677"/>
                      </a:lnTo>
                      <a:lnTo>
                        <a:pt x="434" y="671"/>
                      </a:lnTo>
                      <a:lnTo>
                        <a:pt x="434" y="663"/>
                      </a:lnTo>
                      <a:lnTo>
                        <a:pt x="438" y="652"/>
                      </a:lnTo>
                      <a:lnTo>
                        <a:pt x="439" y="642"/>
                      </a:lnTo>
                      <a:lnTo>
                        <a:pt x="440" y="637"/>
                      </a:lnTo>
                      <a:lnTo>
                        <a:pt x="443" y="632"/>
                      </a:lnTo>
                      <a:lnTo>
                        <a:pt x="445" y="626"/>
                      </a:lnTo>
                      <a:lnTo>
                        <a:pt x="445" y="619"/>
                      </a:lnTo>
                      <a:lnTo>
                        <a:pt x="444" y="605"/>
                      </a:lnTo>
                      <a:lnTo>
                        <a:pt x="441" y="599"/>
                      </a:lnTo>
                      <a:lnTo>
                        <a:pt x="439" y="596"/>
                      </a:lnTo>
                      <a:lnTo>
                        <a:pt x="434" y="592"/>
                      </a:lnTo>
                      <a:lnTo>
                        <a:pt x="439" y="587"/>
                      </a:lnTo>
                      <a:lnTo>
                        <a:pt x="439" y="583"/>
                      </a:lnTo>
                      <a:lnTo>
                        <a:pt x="439" y="578"/>
                      </a:lnTo>
                      <a:lnTo>
                        <a:pt x="436" y="573"/>
                      </a:lnTo>
                      <a:lnTo>
                        <a:pt x="431" y="569"/>
                      </a:lnTo>
                      <a:lnTo>
                        <a:pt x="426" y="566"/>
                      </a:lnTo>
                      <a:lnTo>
                        <a:pt x="408" y="558"/>
                      </a:lnTo>
                      <a:lnTo>
                        <a:pt x="400" y="557"/>
                      </a:lnTo>
                      <a:lnTo>
                        <a:pt x="388" y="561"/>
                      </a:lnTo>
                      <a:lnTo>
                        <a:pt x="381" y="567"/>
                      </a:lnTo>
                      <a:lnTo>
                        <a:pt x="375" y="577"/>
                      </a:lnTo>
                      <a:lnTo>
                        <a:pt x="369" y="581"/>
                      </a:lnTo>
                      <a:lnTo>
                        <a:pt x="359" y="586"/>
                      </a:lnTo>
                      <a:lnTo>
                        <a:pt x="346" y="596"/>
                      </a:lnTo>
                      <a:lnTo>
                        <a:pt x="340" y="597"/>
                      </a:lnTo>
                      <a:lnTo>
                        <a:pt x="335" y="597"/>
                      </a:lnTo>
                      <a:lnTo>
                        <a:pt x="324" y="602"/>
                      </a:lnTo>
                      <a:lnTo>
                        <a:pt x="319" y="603"/>
                      </a:lnTo>
                      <a:lnTo>
                        <a:pt x="313" y="603"/>
                      </a:lnTo>
                      <a:lnTo>
                        <a:pt x="306" y="599"/>
                      </a:lnTo>
                      <a:lnTo>
                        <a:pt x="301" y="598"/>
                      </a:lnTo>
                      <a:lnTo>
                        <a:pt x="296" y="597"/>
                      </a:lnTo>
                      <a:lnTo>
                        <a:pt x="289" y="597"/>
                      </a:lnTo>
                      <a:lnTo>
                        <a:pt x="283" y="601"/>
                      </a:lnTo>
                      <a:lnTo>
                        <a:pt x="280" y="603"/>
                      </a:lnTo>
                      <a:lnTo>
                        <a:pt x="276" y="606"/>
                      </a:lnTo>
                      <a:lnTo>
                        <a:pt x="270" y="603"/>
                      </a:lnTo>
                      <a:lnTo>
                        <a:pt x="249" y="586"/>
                      </a:lnTo>
                      <a:lnTo>
                        <a:pt x="233" y="578"/>
                      </a:lnTo>
                      <a:lnTo>
                        <a:pt x="230" y="573"/>
                      </a:lnTo>
                      <a:lnTo>
                        <a:pt x="228" y="569"/>
                      </a:lnTo>
                      <a:lnTo>
                        <a:pt x="223" y="567"/>
                      </a:lnTo>
                      <a:lnTo>
                        <a:pt x="213" y="567"/>
                      </a:lnTo>
                      <a:lnTo>
                        <a:pt x="201" y="571"/>
                      </a:lnTo>
                      <a:lnTo>
                        <a:pt x="190" y="581"/>
                      </a:lnTo>
                      <a:lnTo>
                        <a:pt x="179" y="585"/>
                      </a:lnTo>
                      <a:lnTo>
                        <a:pt x="108" y="585"/>
                      </a:lnTo>
                      <a:lnTo>
                        <a:pt x="96" y="581"/>
                      </a:lnTo>
                      <a:lnTo>
                        <a:pt x="90" y="578"/>
                      </a:lnTo>
                      <a:lnTo>
                        <a:pt x="83" y="576"/>
                      </a:lnTo>
                      <a:lnTo>
                        <a:pt x="76" y="577"/>
                      </a:lnTo>
                      <a:lnTo>
                        <a:pt x="68" y="585"/>
                      </a:lnTo>
                      <a:lnTo>
                        <a:pt x="63" y="590"/>
                      </a:lnTo>
                      <a:lnTo>
                        <a:pt x="56" y="593"/>
                      </a:lnTo>
                      <a:lnTo>
                        <a:pt x="50" y="592"/>
                      </a:lnTo>
                      <a:lnTo>
                        <a:pt x="35" y="595"/>
                      </a:lnTo>
                      <a:lnTo>
                        <a:pt x="35" y="592"/>
                      </a:lnTo>
                      <a:lnTo>
                        <a:pt x="36" y="568"/>
                      </a:lnTo>
                      <a:lnTo>
                        <a:pt x="35" y="546"/>
                      </a:lnTo>
                      <a:lnTo>
                        <a:pt x="35" y="533"/>
                      </a:lnTo>
                      <a:lnTo>
                        <a:pt x="30" y="528"/>
                      </a:lnTo>
                      <a:lnTo>
                        <a:pt x="29" y="520"/>
                      </a:lnTo>
                      <a:lnTo>
                        <a:pt x="24" y="511"/>
                      </a:lnTo>
                      <a:lnTo>
                        <a:pt x="9" y="513"/>
                      </a:lnTo>
                      <a:lnTo>
                        <a:pt x="0" y="510"/>
                      </a:lnTo>
                      <a:lnTo>
                        <a:pt x="3" y="499"/>
                      </a:lnTo>
                      <a:lnTo>
                        <a:pt x="10" y="491"/>
                      </a:lnTo>
                      <a:lnTo>
                        <a:pt x="18" y="482"/>
                      </a:lnTo>
                      <a:lnTo>
                        <a:pt x="29" y="480"/>
                      </a:lnTo>
                      <a:lnTo>
                        <a:pt x="34" y="467"/>
                      </a:lnTo>
                      <a:lnTo>
                        <a:pt x="41" y="463"/>
                      </a:lnTo>
                      <a:lnTo>
                        <a:pt x="53" y="442"/>
                      </a:lnTo>
                      <a:lnTo>
                        <a:pt x="58" y="428"/>
                      </a:lnTo>
                      <a:lnTo>
                        <a:pt x="76" y="415"/>
                      </a:lnTo>
                      <a:lnTo>
                        <a:pt x="86" y="416"/>
                      </a:lnTo>
                      <a:lnTo>
                        <a:pt x="96" y="425"/>
                      </a:lnTo>
                      <a:lnTo>
                        <a:pt x="101" y="428"/>
                      </a:lnTo>
                      <a:lnTo>
                        <a:pt x="108" y="427"/>
                      </a:lnTo>
                      <a:lnTo>
                        <a:pt x="114" y="425"/>
                      </a:lnTo>
                      <a:lnTo>
                        <a:pt x="120" y="418"/>
                      </a:lnTo>
                      <a:lnTo>
                        <a:pt x="138" y="406"/>
                      </a:lnTo>
                      <a:lnTo>
                        <a:pt x="146" y="410"/>
                      </a:lnTo>
                      <a:lnTo>
                        <a:pt x="155" y="407"/>
                      </a:lnTo>
                      <a:lnTo>
                        <a:pt x="161" y="401"/>
                      </a:lnTo>
                      <a:lnTo>
                        <a:pt x="166" y="392"/>
                      </a:lnTo>
                      <a:lnTo>
                        <a:pt x="178" y="358"/>
                      </a:lnTo>
                      <a:lnTo>
                        <a:pt x="183" y="326"/>
                      </a:lnTo>
                      <a:lnTo>
                        <a:pt x="185" y="316"/>
                      </a:lnTo>
                      <a:lnTo>
                        <a:pt x="185" y="303"/>
                      </a:lnTo>
                      <a:lnTo>
                        <a:pt x="186" y="292"/>
                      </a:lnTo>
                      <a:lnTo>
                        <a:pt x="188" y="277"/>
                      </a:lnTo>
                      <a:lnTo>
                        <a:pt x="189" y="277"/>
                      </a:lnTo>
                      <a:lnTo>
                        <a:pt x="195" y="290"/>
                      </a:lnTo>
                      <a:lnTo>
                        <a:pt x="199" y="292"/>
                      </a:lnTo>
                      <a:lnTo>
                        <a:pt x="204" y="296"/>
                      </a:lnTo>
                      <a:lnTo>
                        <a:pt x="206" y="300"/>
                      </a:lnTo>
                      <a:lnTo>
                        <a:pt x="211" y="298"/>
                      </a:lnTo>
                      <a:lnTo>
                        <a:pt x="209" y="285"/>
                      </a:lnTo>
                      <a:lnTo>
                        <a:pt x="206" y="280"/>
                      </a:lnTo>
                      <a:lnTo>
                        <a:pt x="210" y="277"/>
                      </a:lnTo>
                      <a:lnTo>
                        <a:pt x="213" y="276"/>
                      </a:lnTo>
                      <a:lnTo>
                        <a:pt x="221" y="278"/>
                      </a:lnTo>
                      <a:lnTo>
                        <a:pt x="220" y="273"/>
                      </a:lnTo>
                      <a:lnTo>
                        <a:pt x="219" y="271"/>
                      </a:lnTo>
                      <a:lnTo>
                        <a:pt x="210" y="271"/>
                      </a:lnTo>
                      <a:lnTo>
                        <a:pt x="199" y="271"/>
                      </a:lnTo>
                      <a:lnTo>
                        <a:pt x="196" y="268"/>
                      </a:lnTo>
                      <a:lnTo>
                        <a:pt x="195" y="265"/>
                      </a:lnTo>
                      <a:lnTo>
                        <a:pt x="189" y="270"/>
                      </a:lnTo>
                      <a:lnTo>
                        <a:pt x="189" y="267"/>
                      </a:lnTo>
                      <a:lnTo>
                        <a:pt x="187" y="247"/>
                      </a:lnTo>
                      <a:lnTo>
                        <a:pt x="179" y="232"/>
                      </a:lnTo>
                      <a:lnTo>
                        <a:pt x="171" y="228"/>
                      </a:lnTo>
                      <a:lnTo>
                        <a:pt x="157" y="226"/>
                      </a:lnTo>
                      <a:lnTo>
                        <a:pt x="156" y="221"/>
                      </a:lnTo>
                      <a:lnTo>
                        <a:pt x="161" y="217"/>
                      </a:lnTo>
                      <a:lnTo>
                        <a:pt x="171" y="217"/>
                      </a:lnTo>
                      <a:lnTo>
                        <a:pt x="180" y="218"/>
                      </a:lnTo>
                      <a:lnTo>
                        <a:pt x="186" y="212"/>
                      </a:lnTo>
                      <a:lnTo>
                        <a:pt x="190" y="200"/>
                      </a:lnTo>
                      <a:lnTo>
                        <a:pt x="191" y="190"/>
                      </a:lnTo>
                      <a:lnTo>
                        <a:pt x="190" y="185"/>
                      </a:lnTo>
                      <a:lnTo>
                        <a:pt x="191" y="178"/>
                      </a:lnTo>
                      <a:lnTo>
                        <a:pt x="191" y="165"/>
                      </a:lnTo>
                      <a:lnTo>
                        <a:pt x="195" y="160"/>
                      </a:lnTo>
                      <a:lnTo>
                        <a:pt x="194" y="153"/>
                      </a:lnTo>
                      <a:lnTo>
                        <a:pt x="195" y="150"/>
                      </a:lnTo>
                      <a:lnTo>
                        <a:pt x="202" y="156"/>
                      </a:lnTo>
                      <a:lnTo>
                        <a:pt x="210" y="161"/>
                      </a:lnTo>
                      <a:lnTo>
                        <a:pt x="215" y="163"/>
                      </a:lnTo>
                      <a:lnTo>
                        <a:pt x="222" y="172"/>
                      </a:lnTo>
                      <a:lnTo>
                        <a:pt x="234" y="186"/>
                      </a:lnTo>
                      <a:lnTo>
                        <a:pt x="244" y="193"/>
                      </a:lnTo>
                      <a:lnTo>
                        <a:pt x="252" y="193"/>
                      </a:lnTo>
                      <a:lnTo>
                        <a:pt x="264" y="186"/>
                      </a:lnTo>
                      <a:lnTo>
                        <a:pt x="269" y="175"/>
                      </a:lnTo>
                      <a:lnTo>
                        <a:pt x="279" y="171"/>
                      </a:lnTo>
                      <a:lnTo>
                        <a:pt x="296" y="175"/>
                      </a:lnTo>
                      <a:lnTo>
                        <a:pt x="312" y="188"/>
                      </a:lnTo>
                      <a:lnTo>
                        <a:pt x="316" y="201"/>
                      </a:lnTo>
                      <a:lnTo>
                        <a:pt x="314" y="215"/>
                      </a:lnTo>
                      <a:lnTo>
                        <a:pt x="312" y="230"/>
                      </a:lnTo>
                      <a:lnTo>
                        <a:pt x="311" y="236"/>
                      </a:lnTo>
                      <a:lnTo>
                        <a:pt x="311" y="242"/>
                      </a:lnTo>
                      <a:lnTo>
                        <a:pt x="314" y="253"/>
                      </a:lnTo>
                      <a:lnTo>
                        <a:pt x="316" y="270"/>
                      </a:lnTo>
                      <a:lnTo>
                        <a:pt x="321" y="287"/>
                      </a:lnTo>
                      <a:lnTo>
                        <a:pt x="329" y="347"/>
                      </a:lnTo>
                      <a:lnTo>
                        <a:pt x="340" y="370"/>
                      </a:lnTo>
                      <a:lnTo>
                        <a:pt x="360" y="380"/>
                      </a:lnTo>
                      <a:lnTo>
                        <a:pt x="379" y="377"/>
                      </a:lnTo>
                      <a:lnTo>
                        <a:pt x="391" y="362"/>
                      </a:lnTo>
                      <a:lnTo>
                        <a:pt x="400" y="353"/>
                      </a:lnTo>
                      <a:lnTo>
                        <a:pt x="407" y="337"/>
                      </a:lnTo>
                      <a:lnTo>
                        <a:pt x="406" y="333"/>
                      </a:lnTo>
                      <a:lnTo>
                        <a:pt x="405" y="327"/>
                      </a:lnTo>
                      <a:lnTo>
                        <a:pt x="407" y="321"/>
                      </a:lnTo>
                      <a:lnTo>
                        <a:pt x="405" y="320"/>
                      </a:lnTo>
                      <a:lnTo>
                        <a:pt x="401" y="321"/>
                      </a:lnTo>
                      <a:lnTo>
                        <a:pt x="399" y="320"/>
                      </a:lnTo>
                      <a:lnTo>
                        <a:pt x="396" y="317"/>
                      </a:lnTo>
                      <a:lnTo>
                        <a:pt x="399" y="315"/>
                      </a:lnTo>
                      <a:lnTo>
                        <a:pt x="404" y="315"/>
                      </a:lnTo>
                      <a:lnTo>
                        <a:pt x="404" y="311"/>
                      </a:lnTo>
                      <a:lnTo>
                        <a:pt x="404" y="307"/>
                      </a:lnTo>
                      <a:lnTo>
                        <a:pt x="407" y="303"/>
                      </a:lnTo>
                      <a:lnTo>
                        <a:pt x="407" y="300"/>
                      </a:lnTo>
                      <a:lnTo>
                        <a:pt x="409" y="297"/>
                      </a:lnTo>
                      <a:lnTo>
                        <a:pt x="412" y="287"/>
                      </a:lnTo>
                      <a:lnTo>
                        <a:pt x="415" y="286"/>
                      </a:lnTo>
                      <a:lnTo>
                        <a:pt x="421" y="287"/>
                      </a:lnTo>
                      <a:lnTo>
                        <a:pt x="425" y="293"/>
                      </a:lnTo>
                      <a:lnTo>
                        <a:pt x="435" y="295"/>
                      </a:lnTo>
                      <a:lnTo>
                        <a:pt x="439" y="297"/>
                      </a:lnTo>
                      <a:lnTo>
                        <a:pt x="442" y="303"/>
                      </a:lnTo>
                      <a:lnTo>
                        <a:pt x="446" y="308"/>
                      </a:lnTo>
                      <a:lnTo>
                        <a:pt x="452" y="313"/>
                      </a:lnTo>
                      <a:lnTo>
                        <a:pt x="452" y="316"/>
                      </a:lnTo>
                      <a:lnTo>
                        <a:pt x="450" y="321"/>
                      </a:lnTo>
                      <a:lnTo>
                        <a:pt x="450" y="325"/>
                      </a:lnTo>
                      <a:lnTo>
                        <a:pt x="451" y="326"/>
                      </a:lnTo>
                      <a:lnTo>
                        <a:pt x="456" y="327"/>
                      </a:lnTo>
                      <a:lnTo>
                        <a:pt x="464" y="330"/>
                      </a:lnTo>
                      <a:lnTo>
                        <a:pt x="474" y="335"/>
                      </a:lnTo>
                      <a:lnTo>
                        <a:pt x="479" y="337"/>
                      </a:lnTo>
                      <a:lnTo>
                        <a:pt x="484" y="336"/>
                      </a:lnTo>
                      <a:lnTo>
                        <a:pt x="487" y="340"/>
                      </a:lnTo>
                      <a:lnTo>
                        <a:pt x="490" y="345"/>
                      </a:lnTo>
                      <a:lnTo>
                        <a:pt x="494" y="352"/>
                      </a:lnTo>
                      <a:lnTo>
                        <a:pt x="505" y="360"/>
                      </a:lnTo>
                      <a:lnTo>
                        <a:pt x="510" y="360"/>
                      </a:lnTo>
                      <a:lnTo>
                        <a:pt x="519" y="356"/>
                      </a:lnTo>
                      <a:lnTo>
                        <a:pt x="526" y="350"/>
                      </a:lnTo>
                      <a:lnTo>
                        <a:pt x="534" y="340"/>
                      </a:lnTo>
                      <a:lnTo>
                        <a:pt x="551" y="298"/>
                      </a:lnTo>
                      <a:lnTo>
                        <a:pt x="555" y="283"/>
                      </a:lnTo>
                      <a:lnTo>
                        <a:pt x="557" y="247"/>
                      </a:lnTo>
                      <a:lnTo>
                        <a:pt x="560" y="240"/>
                      </a:lnTo>
                      <a:lnTo>
                        <a:pt x="559" y="235"/>
                      </a:lnTo>
                      <a:lnTo>
                        <a:pt x="561" y="228"/>
                      </a:lnTo>
                      <a:lnTo>
                        <a:pt x="566" y="225"/>
                      </a:lnTo>
                      <a:lnTo>
                        <a:pt x="569" y="218"/>
                      </a:lnTo>
                      <a:lnTo>
                        <a:pt x="571" y="208"/>
                      </a:lnTo>
                      <a:lnTo>
                        <a:pt x="569" y="193"/>
                      </a:lnTo>
                      <a:lnTo>
                        <a:pt x="562" y="180"/>
                      </a:lnTo>
                      <a:lnTo>
                        <a:pt x="555" y="165"/>
                      </a:lnTo>
                      <a:lnTo>
                        <a:pt x="542" y="151"/>
                      </a:lnTo>
                      <a:lnTo>
                        <a:pt x="534" y="143"/>
                      </a:lnTo>
                      <a:lnTo>
                        <a:pt x="525" y="143"/>
                      </a:lnTo>
                      <a:lnTo>
                        <a:pt x="521" y="151"/>
                      </a:lnTo>
                      <a:lnTo>
                        <a:pt x="519" y="156"/>
                      </a:lnTo>
                      <a:lnTo>
                        <a:pt x="515" y="160"/>
                      </a:lnTo>
                      <a:lnTo>
                        <a:pt x="515" y="162"/>
                      </a:lnTo>
                      <a:lnTo>
                        <a:pt x="517" y="163"/>
                      </a:lnTo>
                      <a:lnTo>
                        <a:pt x="522" y="156"/>
                      </a:lnTo>
                      <a:lnTo>
                        <a:pt x="522" y="160"/>
                      </a:lnTo>
                      <a:lnTo>
                        <a:pt x="519" y="166"/>
                      </a:lnTo>
                      <a:lnTo>
                        <a:pt x="505" y="177"/>
                      </a:lnTo>
                      <a:lnTo>
                        <a:pt x="497" y="180"/>
                      </a:lnTo>
                      <a:lnTo>
                        <a:pt x="489" y="187"/>
                      </a:lnTo>
                      <a:lnTo>
                        <a:pt x="484" y="195"/>
                      </a:lnTo>
                      <a:lnTo>
                        <a:pt x="474" y="192"/>
                      </a:lnTo>
                      <a:lnTo>
                        <a:pt x="462" y="187"/>
                      </a:lnTo>
                      <a:lnTo>
                        <a:pt x="456" y="188"/>
                      </a:lnTo>
                      <a:lnTo>
                        <a:pt x="451" y="187"/>
                      </a:lnTo>
                      <a:lnTo>
                        <a:pt x="445" y="191"/>
                      </a:lnTo>
                      <a:lnTo>
                        <a:pt x="439" y="200"/>
                      </a:lnTo>
                      <a:lnTo>
                        <a:pt x="422" y="200"/>
                      </a:lnTo>
                      <a:lnTo>
                        <a:pt x="416" y="205"/>
                      </a:lnTo>
                      <a:lnTo>
                        <a:pt x="410" y="203"/>
                      </a:lnTo>
                      <a:lnTo>
                        <a:pt x="405" y="205"/>
                      </a:lnTo>
                      <a:lnTo>
                        <a:pt x="391" y="213"/>
                      </a:lnTo>
                      <a:lnTo>
                        <a:pt x="385" y="223"/>
                      </a:lnTo>
                      <a:lnTo>
                        <a:pt x="379" y="223"/>
                      </a:lnTo>
                      <a:lnTo>
                        <a:pt x="366" y="215"/>
                      </a:lnTo>
                      <a:lnTo>
                        <a:pt x="365" y="193"/>
                      </a:lnTo>
                      <a:lnTo>
                        <a:pt x="365" y="187"/>
                      </a:lnTo>
                      <a:lnTo>
                        <a:pt x="371" y="181"/>
                      </a:lnTo>
                      <a:lnTo>
                        <a:pt x="374" y="166"/>
                      </a:lnTo>
                      <a:lnTo>
                        <a:pt x="371" y="157"/>
                      </a:lnTo>
                      <a:lnTo>
                        <a:pt x="376" y="143"/>
                      </a:lnTo>
                      <a:lnTo>
                        <a:pt x="379" y="130"/>
                      </a:lnTo>
                      <a:lnTo>
                        <a:pt x="381" y="120"/>
                      </a:lnTo>
                      <a:lnTo>
                        <a:pt x="381" y="116"/>
                      </a:lnTo>
                      <a:lnTo>
                        <a:pt x="385" y="111"/>
                      </a:lnTo>
                      <a:lnTo>
                        <a:pt x="389" y="97"/>
                      </a:lnTo>
                      <a:lnTo>
                        <a:pt x="390" y="85"/>
                      </a:lnTo>
                      <a:lnTo>
                        <a:pt x="394" y="68"/>
                      </a:lnTo>
                      <a:lnTo>
                        <a:pt x="401" y="62"/>
                      </a:lnTo>
                      <a:lnTo>
                        <a:pt x="414" y="42"/>
                      </a:lnTo>
                      <a:lnTo>
                        <a:pt x="419" y="37"/>
                      </a:lnTo>
                      <a:lnTo>
                        <a:pt x="420" y="35"/>
                      </a:lnTo>
                      <a:lnTo>
                        <a:pt x="422" y="23"/>
                      </a:lnTo>
                      <a:lnTo>
                        <a:pt x="422" y="17"/>
                      </a:lnTo>
                      <a:lnTo>
                        <a:pt x="420" y="11"/>
                      </a:lnTo>
                      <a:lnTo>
                        <a:pt x="421" y="10"/>
                      </a:lnTo>
                      <a:lnTo>
                        <a:pt x="422" y="3"/>
                      </a:lnTo>
                      <a:lnTo>
                        <a:pt x="425" y="0"/>
                      </a:lnTo>
                      <a:lnTo>
                        <a:pt x="430" y="7"/>
                      </a:lnTo>
                      <a:lnTo>
                        <a:pt x="440" y="12"/>
                      </a:lnTo>
                      <a:lnTo>
                        <a:pt x="445" y="20"/>
                      </a:lnTo>
                      <a:lnTo>
                        <a:pt x="451" y="26"/>
                      </a:lnTo>
                      <a:lnTo>
                        <a:pt x="461" y="31"/>
                      </a:lnTo>
                      <a:lnTo>
                        <a:pt x="469" y="33"/>
                      </a:lnTo>
                      <a:lnTo>
                        <a:pt x="486" y="35"/>
                      </a:lnTo>
                      <a:lnTo>
                        <a:pt x="502" y="43"/>
                      </a:lnTo>
                      <a:lnTo>
                        <a:pt x="517" y="60"/>
                      </a:lnTo>
                      <a:lnTo>
                        <a:pt x="524" y="68"/>
                      </a:lnTo>
                      <a:lnTo>
                        <a:pt x="532" y="75"/>
                      </a:lnTo>
                      <a:lnTo>
                        <a:pt x="534" y="80"/>
                      </a:lnTo>
                      <a:lnTo>
                        <a:pt x="539" y="85"/>
                      </a:lnTo>
                      <a:lnTo>
                        <a:pt x="555" y="96"/>
                      </a:lnTo>
                      <a:lnTo>
                        <a:pt x="571" y="103"/>
                      </a:lnTo>
                      <a:lnTo>
                        <a:pt x="587" y="103"/>
                      </a:lnTo>
                      <a:lnTo>
                        <a:pt x="600" y="100"/>
                      </a:lnTo>
                      <a:lnTo>
                        <a:pt x="614" y="92"/>
                      </a:lnTo>
                      <a:lnTo>
                        <a:pt x="625" y="83"/>
                      </a:lnTo>
                      <a:lnTo>
                        <a:pt x="640" y="68"/>
                      </a:lnTo>
                      <a:lnTo>
                        <a:pt x="645" y="62"/>
                      </a:lnTo>
                      <a:lnTo>
                        <a:pt x="647" y="67"/>
                      </a:lnTo>
                      <a:lnTo>
                        <a:pt x="645" y="71"/>
                      </a:lnTo>
                      <a:lnTo>
                        <a:pt x="646" y="76"/>
                      </a:lnTo>
                      <a:lnTo>
                        <a:pt x="645" y="78"/>
                      </a:lnTo>
                      <a:lnTo>
                        <a:pt x="642" y="80"/>
                      </a:lnTo>
                      <a:lnTo>
                        <a:pt x="645" y="85"/>
                      </a:lnTo>
                      <a:lnTo>
                        <a:pt x="644" y="90"/>
                      </a:lnTo>
                      <a:lnTo>
                        <a:pt x="639" y="96"/>
                      </a:lnTo>
                      <a:lnTo>
                        <a:pt x="634" y="116"/>
                      </a:lnTo>
                      <a:lnTo>
                        <a:pt x="630" y="125"/>
                      </a:lnTo>
                      <a:lnTo>
                        <a:pt x="624" y="155"/>
                      </a:lnTo>
                      <a:lnTo>
                        <a:pt x="622" y="168"/>
                      </a:lnTo>
                      <a:lnTo>
                        <a:pt x="622" y="175"/>
                      </a:lnTo>
                      <a:lnTo>
                        <a:pt x="616" y="206"/>
                      </a:lnTo>
                      <a:lnTo>
                        <a:pt x="619" y="218"/>
                      </a:lnTo>
                      <a:lnTo>
                        <a:pt x="620" y="223"/>
                      </a:lnTo>
                      <a:lnTo>
                        <a:pt x="619" y="230"/>
                      </a:lnTo>
                      <a:lnTo>
                        <a:pt x="619" y="237"/>
                      </a:lnTo>
                      <a:lnTo>
                        <a:pt x="619" y="243"/>
                      </a:lnTo>
                      <a:lnTo>
                        <a:pt x="615" y="276"/>
                      </a:lnTo>
                      <a:lnTo>
                        <a:pt x="616" y="303"/>
                      </a:lnTo>
                      <a:lnTo>
                        <a:pt x="616" y="327"/>
                      </a:lnTo>
                      <a:lnTo>
                        <a:pt x="617" y="333"/>
                      </a:lnTo>
                      <a:lnTo>
                        <a:pt x="622" y="390"/>
                      </a:lnTo>
                      <a:lnTo>
                        <a:pt x="630" y="437"/>
                      </a:lnTo>
                      <a:lnTo>
                        <a:pt x="635" y="467"/>
                      </a:lnTo>
                      <a:lnTo>
                        <a:pt x="649" y="507"/>
                      </a:lnTo>
                      <a:lnTo>
                        <a:pt x="654" y="518"/>
                      </a:lnTo>
                      <a:lnTo>
                        <a:pt x="657" y="525"/>
                      </a:lnTo>
                      <a:lnTo>
                        <a:pt x="669" y="537"/>
                      </a:lnTo>
                      <a:lnTo>
                        <a:pt x="674" y="541"/>
                      </a:lnTo>
                      <a:lnTo>
                        <a:pt x="680" y="541"/>
                      </a:lnTo>
                      <a:lnTo>
                        <a:pt x="685" y="536"/>
                      </a:lnTo>
                      <a:lnTo>
                        <a:pt x="691" y="535"/>
                      </a:lnTo>
                      <a:lnTo>
                        <a:pt x="696" y="546"/>
                      </a:lnTo>
                      <a:lnTo>
                        <a:pt x="710" y="556"/>
                      </a:lnTo>
                      <a:lnTo>
                        <a:pt x="734" y="583"/>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1" name="Fukushima" descr="{&quot;Key&quot;:&quot;fukushima&quot;,&quot;Name&quot;:&quot;Fukushima&quot;,&quot;Value&quot;:1.0,&quot;Formula&quot;:&quot;&quot;,&quot;Text&quot;:&quot;&quot;,&quot;OfficeApplication&quot;:1,&quot;HasValue&quot;:true}">
                  <a:extLst>
                    <a:ext uri="{FF2B5EF4-FFF2-40B4-BE49-F238E27FC236}">
                      <a16:creationId xmlns:a16="http://schemas.microsoft.com/office/drawing/2014/main" id="{E78E8988-43CF-4725-92EE-41E63656951D}"/>
                    </a:ext>
                  </a:extLst>
                </p:cNvPr>
                <p:cNvSpPr>
                  <a:spLocks/>
                </p:cNvSpPr>
                <p:nvPr/>
              </p:nvSpPr>
              <p:spPr bwMode="auto">
                <a:xfrm>
                  <a:off x="6711950" y="3009900"/>
                  <a:ext cx="441325" cy="346075"/>
                </a:xfrm>
                <a:custGeom>
                  <a:avLst/>
                  <a:gdLst>
                    <a:gd name="T0" fmla="*/ 742 w 757"/>
                    <a:gd name="T1" fmla="*/ 102 h 593"/>
                    <a:gd name="T2" fmla="*/ 750 w 757"/>
                    <a:gd name="T3" fmla="*/ 132 h 593"/>
                    <a:gd name="T4" fmla="*/ 746 w 757"/>
                    <a:gd name="T5" fmla="*/ 149 h 593"/>
                    <a:gd name="T6" fmla="*/ 755 w 757"/>
                    <a:gd name="T7" fmla="*/ 315 h 593"/>
                    <a:gd name="T8" fmla="*/ 743 w 757"/>
                    <a:gd name="T9" fmla="*/ 422 h 593"/>
                    <a:gd name="T10" fmla="*/ 725 w 757"/>
                    <a:gd name="T11" fmla="*/ 505 h 593"/>
                    <a:gd name="T12" fmla="*/ 685 w 757"/>
                    <a:gd name="T13" fmla="*/ 532 h 593"/>
                    <a:gd name="T14" fmla="*/ 662 w 757"/>
                    <a:gd name="T15" fmla="*/ 547 h 593"/>
                    <a:gd name="T16" fmla="*/ 620 w 757"/>
                    <a:gd name="T17" fmla="*/ 555 h 593"/>
                    <a:gd name="T18" fmla="*/ 575 w 757"/>
                    <a:gd name="T19" fmla="*/ 532 h 593"/>
                    <a:gd name="T20" fmla="*/ 565 w 757"/>
                    <a:gd name="T21" fmla="*/ 530 h 593"/>
                    <a:gd name="T22" fmla="*/ 569 w 757"/>
                    <a:gd name="T23" fmla="*/ 554 h 593"/>
                    <a:gd name="T24" fmla="*/ 542 w 757"/>
                    <a:gd name="T25" fmla="*/ 579 h 593"/>
                    <a:gd name="T26" fmla="*/ 520 w 757"/>
                    <a:gd name="T27" fmla="*/ 592 h 593"/>
                    <a:gd name="T28" fmla="*/ 471 w 757"/>
                    <a:gd name="T29" fmla="*/ 552 h 593"/>
                    <a:gd name="T30" fmla="*/ 436 w 757"/>
                    <a:gd name="T31" fmla="*/ 518 h 593"/>
                    <a:gd name="T32" fmla="*/ 422 w 757"/>
                    <a:gd name="T33" fmla="*/ 483 h 593"/>
                    <a:gd name="T34" fmla="*/ 414 w 757"/>
                    <a:gd name="T35" fmla="*/ 462 h 593"/>
                    <a:gd name="T36" fmla="*/ 379 w 757"/>
                    <a:gd name="T37" fmla="*/ 435 h 593"/>
                    <a:gd name="T38" fmla="*/ 284 w 757"/>
                    <a:gd name="T39" fmla="*/ 423 h 593"/>
                    <a:gd name="T40" fmla="*/ 237 w 757"/>
                    <a:gd name="T41" fmla="*/ 450 h 593"/>
                    <a:gd name="T42" fmla="*/ 116 w 757"/>
                    <a:gd name="T43" fmla="*/ 510 h 593"/>
                    <a:gd name="T44" fmla="*/ 36 w 757"/>
                    <a:gd name="T45" fmla="*/ 529 h 593"/>
                    <a:gd name="T46" fmla="*/ 29 w 757"/>
                    <a:gd name="T47" fmla="*/ 508 h 593"/>
                    <a:gd name="T48" fmla="*/ 31 w 757"/>
                    <a:gd name="T49" fmla="*/ 443 h 593"/>
                    <a:gd name="T50" fmla="*/ 30 w 757"/>
                    <a:gd name="T51" fmla="*/ 414 h 593"/>
                    <a:gd name="T52" fmla="*/ 12 w 757"/>
                    <a:gd name="T53" fmla="*/ 393 h 593"/>
                    <a:gd name="T54" fmla="*/ 0 w 757"/>
                    <a:gd name="T55" fmla="*/ 375 h 593"/>
                    <a:gd name="T56" fmla="*/ 21 w 757"/>
                    <a:gd name="T57" fmla="*/ 310 h 593"/>
                    <a:gd name="T58" fmla="*/ 14 w 757"/>
                    <a:gd name="T59" fmla="*/ 288 h 593"/>
                    <a:gd name="T60" fmla="*/ 21 w 757"/>
                    <a:gd name="T61" fmla="*/ 267 h 593"/>
                    <a:gd name="T62" fmla="*/ 74 w 757"/>
                    <a:gd name="T63" fmla="*/ 255 h 593"/>
                    <a:gd name="T64" fmla="*/ 100 w 757"/>
                    <a:gd name="T65" fmla="*/ 238 h 593"/>
                    <a:gd name="T66" fmla="*/ 140 w 757"/>
                    <a:gd name="T67" fmla="*/ 233 h 593"/>
                    <a:gd name="T68" fmla="*/ 161 w 757"/>
                    <a:gd name="T69" fmla="*/ 227 h 593"/>
                    <a:gd name="T70" fmla="*/ 151 w 757"/>
                    <a:gd name="T71" fmla="*/ 179 h 593"/>
                    <a:gd name="T72" fmla="*/ 205 w 757"/>
                    <a:gd name="T73" fmla="*/ 103 h 593"/>
                    <a:gd name="T74" fmla="*/ 248 w 757"/>
                    <a:gd name="T75" fmla="*/ 79 h 593"/>
                    <a:gd name="T76" fmla="*/ 278 w 757"/>
                    <a:gd name="T77" fmla="*/ 78 h 593"/>
                    <a:gd name="T78" fmla="*/ 306 w 757"/>
                    <a:gd name="T79" fmla="*/ 77 h 593"/>
                    <a:gd name="T80" fmla="*/ 331 w 757"/>
                    <a:gd name="T81" fmla="*/ 103 h 593"/>
                    <a:gd name="T82" fmla="*/ 353 w 757"/>
                    <a:gd name="T83" fmla="*/ 105 h 593"/>
                    <a:gd name="T84" fmla="*/ 377 w 757"/>
                    <a:gd name="T85" fmla="*/ 120 h 593"/>
                    <a:gd name="T86" fmla="*/ 398 w 757"/>
                    <a:gd name="T87" fmla="*/ 115 h 593"/>
                    <a:gd name="T88" fmla="*/ 421 w 757"/>
                    <a:gd name="T89" fmla="*/ 115 h 593"/>
                    <a:gd name="T90" fmla="*/ 447 w 757"/>
                    <a:gd name="T91" fmla="*/ 94 h 593"/>
                    <a:gd name="T92" fmla="*/ 446 w 757"/>
                    <a:gd name="T93" fmla="*/ 29 h 593"/>
                    <a:gd name="T94" fmla="*/ 481 w 757"/>
                    <a:gd name="T95" fmla="*/ 9 h 593"/>
                    <a:gd name="T96" fmla="*/ 523 w 757"/>
                    <a:gd name="T97" fmla="*/ 15 h 593"/>
                    <a:gd name="T98" fmla="*/ 543 w 757"/>
                    <a:gd name="T99" fmla="*/ 37 h 593"/>
                    <a:gd name="T100" fmla="*/ 593 w 757"/>
                    <a:gd name="T101" fmla="*/ 40 h 593"/>
                    <a:gd name="T102" fmla="*/ 613 w 757"/>
                    <a:gd name="T103" fmla="*/ 60 h 593"/>
                    <a:gd name="T104" fmla="*/ 618 w 757"/>
                    <a:gd name="T105" fmla="*/ 84 h 593"/>
                    <a:gd name="T106" fmla="*/ 655 w 757"/>
                    <a:gd name="T107" fmla="*/ 97 h 593"/>
                    <a:gd name="T108" fmla="*/ 677 w 757"/>
                    <a:gd name="T109" fmla="*/ 89 h 593"/>
                    <a:gd name="T110" fmla="*/ 682 w 757"/>
                    <a:gd name="T111" fmla="*/ 60 h 593"/>
                    <a:gd name="T112" fmla="*/ 692 w 757"/>
                    <a:gd name="T113" fmla="*/ 3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7" h="593">
                      <a:moveTo>
                        <a:pt x="714" y="38"/>
                      </a:moveTo>
                      <a:lnTo>
                        <a:pt x="725" y="59"/>
                      </a:lnTo>
                      <a:lnTo>
                        <a:pt x="739" y="84"/>
                      </a:lnTo>
                      <a:lnTo>
                        <a:pt x="742" y="102"/>
                      </a:lnTo>
                      <a:lnTo>
                        <a:pt x="743" y="109"/>
                      </a:lnTo>
                      <a:lnTo>
                        <a:pt x="747" y="114"/>
                      </a:lnTo>
                      <a:lnTo>
                        <a:pt x="750" y="122"/>
                      </a:lnTo>
                      <a:lnTo>
                        <a:pt x="750" y="132"/>
                      </a:lnTo>
                      <a:lnTo>
                        <a:pt x="748" y="135"/>
                      </a:lnTo>
                      <a:lnTo>
                        <a:pt x="745" y="143"/>
                      </a:lnTo>
                      <a:lnTo>
                        <a:pt x="743" y="145"/>
                      </a:lnTo>
                      <a:lnTo>
                        <a:pt x="746" y="149"/>
                      </a:lnTo>
                      <a:lnTo>
                        <a:pt x="751" y="157"/>
                      </a:lnTo>
                      <a:lnTo>
                        <a:pt x="752" y="162"/>
                      </a:lnTo>
                      <a:lnTo>
                        <a:pt x="757" y="299"/>
                      </a:lnTo>
                      <a:lnTo>
                        <a:pt x="755" y="315"/>
                      </a:lnTo>
                      <a:lnTo>
                        <a:pt x="746" y="352"/>
                      </a:lnTo>
                      <a:lnTo>
                        <a:pt x="747" y="368"/>
                      </a:lnTo>
                      <a:lnTo>
                        <a:pt x="743" y="374"/>
                      </a:lnTo>
                      <a:lnTo>
                        <a:pt x="743" y="422"/>
                      </a:lnTo>
                      <a:lnTo>
                        <a:pt x="743" y="427"/>
                      </a:lnTo>
                      <a:lnTo>
                        <a:pt x="736" y="444"/>
                      </a:lnTo>
                      <a:lnTo>
                        <a:pt x="731" y="488"/>
                      </a:lnTo>
                      <a:lnTo>
                        <a:pt x="725" y="505"/>
                      </a:lnTo>
                      <a:lnTo>
                        <a:pt x="711" y="519"/>
                      </a:lnTo>
                      <a:lnTo>
                        <a:pt x="707" y="520"/>
                      </a:lnTo>
                      <a:lnTo>
                        <a:pt x="697" y="523"/>
                      </a:lnTo>
                      <a:lnTo>
                        <a:pt x="685" y="532"/>
                      </a:lnTo>
                      <a:lnTo>
                        <a:pt x="675" y="535"/>
                      </a:lnTo>
                      <a:lnTo>
                        <a:pt x="669" y="542"/>
                      </a:lnTo>
                      <a:lnTo>
                        <a:pt x="666" y="544"/>
                      </a:lnTo>
                      <a:lnTo>
                        <a:pt x="662" y="547"/>
                      </a:lnTo>
                      <a:lnTo>
                        <a:pt x="661" y="552"/>
                      </a:lnTo>
                      <a:lnTo>
                        <a:pt x="661" y="560"/>
                      </a:lnTo>
                      <a:lnTo>
                        <a:pt x="660" y="567"/>
                      </a:lnTo>
                      <a:lnTo>
                        <a:pt x="620" y="555"/>
                      </a:lnTo>
                      <a:lnTo>
                        <a:pt x="615" y="553"/>
                      </a:lnTo>
                      <a:lnTo>
                        <a:pt x="586" y="542"/>
                      </a:lnTo>
                      <a:lnTo>
                        <a:pt x="580" y="537"/>
                      </a:lnTo>
                      <a:lnTo>
                        <a:pt x="575" y="532"/>
                      </a:lnTo>
                      <a:lnTo>
                        <a:pt x="574" y="528"/>
                      </a:lnTo>
                      <a:lnTo>
                        <a:pt x="570" y="525"/>
                      </a:lnTo>
                      <a:lnTo>
                        <a:pt x="569" y="527"/>
                      </a:lnTo>
                      <a:lnTo>
                        <a:pt x="565" y="530"/>
                      </a:lnTo>
                      <a:lnTo>
                        <a:pt x="564" y="535"/>
                      </a:lnTo>
                      <a:lnTo>
                        <a:pt x="565" y="540"/>
                      </a:lnTo>
                      <a:lnTo>
                        <a:pt x="567" y="548"/>
                      </a:lnTo>
                      <a:lnTo>
                        <a:pt x="569" y="554"/>
                      </a:lnTo>
                      <a:lnTo>
                        <a:pt x="566" y="558"/>
                      </a:lnTo>
                      <a:lnTo>
                        <a:pt x="554" y="567"/>
                      </a:lnTo>
                      <a:lnTo>
                        <a:pt x="546" y="574"/>
                      </a:lnTo>
                      <a:lnTo>
                        <a:pt x="542" y="579"/>
                      </a:lnTo>
                      <a:lnTo>
                        <a:pt x="539" y="583"/>
                      </a:lnTo>
                      <a:lnTo>
                        <a:pt x="532" y="590"/>
                      </a:lnTo>
                      <a:lnTo>
                        <a:pt x="527" y="593"/>
                      </a:lnTo>
                      <a:lnTo>
                        <a:pt x="520" y="592"/>
                      </a:lnTo>
                      <a:lnTo>
                        <a:pt x="502" y="582"/>
                      </a:lnTo>
                      <a:lnTo>
                        <a:pt x="491" y="572"/>
                      </a:lnTo>
                      <a:lnTo>
                        <a:pt x="481" y="560"/>
                      </a:lnTo>
                      <a:lnTo>
                        <a:pt x="471" y="552"/>
                      </a:lnTo>
                      <a:lnTo>
                        <a:pt x="462" y="542"/>
                      </a:lnTo>
                      <a:lnTo>
                        <a:pt x="454" y="537"/>
                      </a:lnTo>
                      <a:lnTo>
                        <a:pt x="435" y="527"/>
                      </a:lnTo>
                      <a:lnTo>
                        <a:pt x="436" y="518"/>
                      </a:lnTo>
                      <a:lnTo>
                        <a:pt x="434" y="494"/>
                      </a:lnTo>
                      <a:lnTo>
                        <a:pt x="432" y="489"/>
                      </a:lnTo>
                      <a:lnTo>
                        <a:pt x="430" y="487"/>
                      </a:lnTo>
                      <a:lnTo>
                        <a:pt x="422" y="483"/>
                      </a:lnTo>
                      <a:lnTo>
                        <a:pt x="419" y="479"/>
                      </a:lnTo>
                      <a:lnTo>
                        <a:pt x="417" y="473"/>
                      </a:lnTo>
                      <a:lnTo>
                        <a:pt x="416" y="467"/>
                      </a:lnTo>
                      <a:lnTo>
                        <a:pt x="414" y="462"/>
                      </a:lnTo>
                      <a:lnTo>
                        <a:pt x="410" y="459"/>
                      </a:lnTo>
                      <a:lnTo>
                        <a:pt x="405" y="455"/>
                      </a:lnTo>
                      <a:lnTo>
                        <a:pt x="385" y="439"/>
                      </a:lnTo>
                      <a:lnTo>
                        <a:pt x="379" y="435"/>
                      </a:lnTo>
                      <a:lnTo>
                        <a:pt x="322" y="419"/>
                      </a:lnTo>
                      <a:lnTo>
                        <a:pt x="306" y="417"/>
                      </a:lnTo>
                      <a:lnTo>
                        <a:pt x="294" y="419"/>
                      </a:lnTo>
                      <a:lnTo>
                        <a:pt x="284" y="423"/>
                      </a:lnTo>
                      <a:lnTo>
                        <a:pt x="267" y="435"/>
                      </a:lnTo>
                      <a:lnTo>
                        <a:pt x="255" y="448"/>
                      </a:lnTo>
                      <a:lnTo>
                        <a:pt x="245" y="449"/>
                      </a:lnTo>
                      <a:lnTo>
                        <a:pt x="237" y="450"/>
                      </a:lnTo>
                      <a:lnTo>
                        <a:pt x="210" y="462"/>
                      </a:lnTo>
                      <a:lnTo>
                        <a:pt x="142" y="502"/>
                      </a:lnTo>
                      <a:lnTo>
                        <a:pt x="124" y="508"/>
                      </a:lnTo>
                      <a:lnTo>
                        <a:pt x="116" y="510"/>
                      </a:lnTo>
                      <a:lnTo>
                        <a:pt x="101" y="527"/>
                      </a:lnTo>
                      <a:lnTo>
                        <a:pt x="82" y="538"/>
                      </a:lnTo>
                      <a:lnTo>
                        <a:pt x="46" y="529"/>
                      </a:lnTo>
                      <a:lnTo>
                        <a:pt x="36" y="529"/>
                      </a:lnTo>
                      <a:lnTo>
                        <a:pt x="29" y="527"/>
                      </a:lnTo>
                      <a:lnTo>
                        <a:pt x="25" y="524"/>
                      </a:lnTo>
                      <a:lnTo>
                        <a:pt x="24" y="517"/>
                      </a:lnTo>
                      <a:lnTo>
                        <a:pt x="29" y="508"/>
                      </a:lnTo>
                      <a:lnTo>
                        <a:pt x="30" y="488"/>
                      </a:lnTo>
                      <a:lnTo>
                        <a:pt x="34" y="475"/>
                      </a:lnTo>
                      <a:lnTo>
                        <a:pt x="34" y="469"/>
                      </a:lnTo>
                      <a:lnTo>
                        <a:pt x="31" y="443"/>
                      </a:lnTo>
                      <a:lnTo>
                        <a:pt x="31" y="430"/>
                      </a:lnTo>
                      <a:lnTo>
                        <a:pt x="32" y="424"/>
                      </a:lnTo>
                      <a:lnTo>
                        <a:pt x="32" y="418"/>
                      </a:lnTo>
                      <a:lnTo>
                        <a:pt x="30" y="414"/>
                      </a:lnTo>
                      <a:lnTo>
                        <a:pt x="21" y="395"/>
                      </a:lnTo>
                      <a:lnTo>
                        <a:pt x="20" y="392"/>
                      </a:lnTo>
                      <a:lnTo>
                        <a:pt x="16" y="392"/>
                      </a:lnTo>
                      <a:lnTo>
                        <a:pt x="12" y="393"/>
                      </a:lnTo>
                      <a:lnTo>
                        <a:pt x="9" y="393"/>
                      </a:lnTo>
                      <a:lnTo>
                        <a:pt x="6" y="390"/>
                      </a:lnTo>
                      <a:lnTo>
                        <a:pt x="1" y="382"/>
                      </a:lnTo>
                      <a:lnTo>
                        <a:pt x="0" y="375"/>
                      </a:lnTo>
                      <a:lnTo>
                        <a:pt x="1" y="368"/>
                      </a:lnTo>
                      <a:lnTo>
                        <a:pt x="14" y="345"/>
                      </a:lnTo>
                      <a:lnTo>
                        <a:pt x="15" y="339"/>
                      </a:lnTo>
                      <a:lnTo>
                        <a:pt x="21" y="310"/>
                      </a:lnTo>
                      <a:lnTo>
                        <a:pt x="21" y="303"/>
                      </a:lnTo>
                      <a:lnTo>
                        <a:pt x="19" y="298"/>
                      </a:lnTo>
                      <a:lnTo>
                        <a:pt x="16" y="292"/>
                      </a:lnTo>
                      <a:lnTo>
                        <a:pt x="14" y="288"/>
                      </a:lnTo>
                      <a:lnTo>
                        <a:pt x="12" y="283"/>
                      </a:lnTo>
                      <a:lnTo>
                        <a:pt x="14" y="278"/>
                      </a:lnTo>
                      <a:lnTo>
                        <a:pt x="16" y="272"/>
                      </a:lnTo>
                      <a:lnTo>
                        <a:pt x="21" y="267"/>
                      </a:lnTo>
                      <a:lnTo>
                        <a:pt x="29" y="263"/>
                      </a:lnTo>
                      <a:lnTo>
                        <a:pt x="44" y="263"/>
                      </a:lnTo>
                      <a:lnTo>
                        <a:pt x="69" y="255"/>
                      </a:lnTo>
                      <a:lnTo>
                        <a:pt x="74" y="255"/>
                      </a:lnTo>
                      <a:lnTo>
                        <a:pt x="86" y="258"/>
                      </a:lnTo>
                      <a:lnTo>
                        <a:pt x="91" y="257"/>
                      </a:lnTo>
                      <a:lnTo>
                        <a:pt x="96" y="242"/>
                      </a:lnTo>
                      <a:lnTo>
                        <a:pt x="100" y="238"/>
                      </a:lnTo>
                      <a:lnTo>
                        <a:pt x="106" y="234"/>
                      </a:lnTo>
                      <a:lnTo>
                        <a:pt x="125" y="235"/>
                      </a:lnTo>
                      <a:lnTo>
                        <a:pt x="130" y="235"/>
                      </a:lnTo>
                      <a:lnTo>
                        <a:pt x="140" y="233"/>
                      </a:lnTo>
                      <a:lnTo>
                        <a:pt x="145" y="232"/>
                      </a:lnTo>
                      <a:lnTo>
                        <a:pt x="156" y="234"/>
                      </a:lnTo>
                      <a:lnTo>
                        <a:pt x="160" y="233"/>
                      </a:lnTo>
                      <a:lnTo>
                        <a:pt x="161" y="227"/>
                      </a:lnTo>
                      <a:lnTo>
                        <a:pt x="160" y="204"/>
                      </a:lnTo>
                      <a:lnTo>
                        <a:pt x="158" y="197"/>
                      </a:lnTo>
                      <a:lnTo>
                        <a:pt x="152" y="184"/>
                      </a:lnTo>
                      <a:lnTo>
                        <a:pt x="151" y="179"/>
                      </a:lnTo>
                      <a:lnTo>
                        <a:pt x="153" y="173"/>
                      </a:lnTo>
                      <a:lnTo>
                        <a:pt x="157" y="167"/>
                      </a:lnTo>
                      <a:lnTo>
                        <a:pt x="176" y="145"/>
                      </a:lnTo>
                      <a:lnTo>
                        <a:pt x="205" y="103"/>
                      </a:lnTo>
                      <a:lnTo>
                        <a:pt x="212" y="94"/>
                      </a:lnTo>
                      <a:lnTo>
                        <a:pt x="228" y="74"/>
                      </a:lnTo>
                      <a:lnTo>
                        <a:pt x="245" y="75"/>
                      </a:lnTo>
                      <a:lnTo>
                        <a:pt x="248" y="79"/>
                      </a:lnTo>
                      <a:lnTo>
                        <a:pt x="255" y="82"/>
                      </a:lnTo>
                      <a:lnTo>
                        <a:pt x="261" y="80"/>
                      </a:lnTo>
                      <a:lnTo>
                        <a:pt x="268" y="78"/>
                      </a:lnTo>
                      <a:lnTo>
                        <a:pt x="278" y="78"/>
                      </a:lnTo>
                      <a:lnTo>
                        <a:pt x="290" y="82"/>
                      </a:lnTo>
                      <a:lnTo>
                        <a:pt x="295" y="82"/>
                      </a:lnTo>
                      <a:lnTo>
                        <a:pt x="301" y="80"/>
                      </a:lnTo>
                      <a:lnTo>
                        <a:pt x="306" y="77"/>
                      </a:lnTo>
                      <a:lnTo>
                        <a:pt x="312" y="78"/>
                      </a:lnTo>
                      <a:lnTo>
                        <a:pt x="317" y="84"/>
                      </a:lnTo>
                      <a:lnTo>
                        <a:pt x="325" y="98"/>
                      </a:lnTo>
                      <a:lnTo>
                        <a:pt x="331" y="103"/>
                      </a:lnTo>
                      <a:lnTo>
                        <a:pt x="335" y="107"/>
                      </a:lnTo>
                      <a:lnTo>
                        <a:pt x="338" y="108"/>
                      </a:lnTo>
                      <a:lnTo>
                        <a:pt x="342" y="107"/>
                      </a:lnTo>
                      <a:lnTo>
                        <a:pt x="353" y="105"/>
                      </a:lnTo>
                      <a:lnTo>
                        <a:pt x="358" y="107"/>
                      </a:lnTo>
                      <a:lnTo>
                        <a:pt x="363" y="108"/>
                      </a:lnTo>
                      <a:lnTo>
                        <a:pt x="368" y="112"/>
                      </a:lnTo>
                      <a:lnTo>
                        <a:pt x="377" y="120"/>
                      </a:lnTo>
                      <a:lnTo>
                        <a:pt x="381" y="123"/>
                      </a:lnTo>
                      <a:lnTo>
                        <a:pt x="386" y="123"/>
                      </a:lnTo>
                      <a:lnTo>
                        <a:pt x="392" y="122"/>
                      </a:lnTo>
                      <a:lnTo>
                        <a:pt x="398" y="115"/>
                      </a:lnTo>
                      <a:lnTo>
                        <a:pt x="403" y="113"/>
                      </a:lnTo>
                      <a:lnTo>
                        <a:pt x="408" y="113"/>
                      </a:lnTo>
                      <a:lnTo>
                        <a:pt x="412" y="114"/>
                      </a:lnTo>
                      <a:lnTo>
                        <a:pt x="421" y="115"/>
                      </a:lnTo>
                      <a:lnTo>
                        <a:pt x="425" y="114"/>
                      </a:lnTo>
                      <a:lnTo>
                        <a:pt x="432" y="110"/>
                      </a:lnTo>
                      <a:lnTo>
                        <a:pt x="443" y="100"/>
                      </a:lnTo>
                      <a:lnTo>
                        <a:pt x="447" y="94"/>
                      </a:lnTo>
                      <a:lnTo>
                        <a:pt x="448" y="84"/>
                      </a:lnTo>
                      <a:lnTo>
                        <a:pt x="446" y="68"/>
                      </a:lnTo>
                      <a:lnTo>
                        <a:pt x="446" y="47"/>
                      </a:lnTo>
                      <a:lnTo>
                        <a:pt x="446" y="29"/>
                      </a:lnTo>
                      <a:lnTo>
                        <a:pt x="447" y="20"/>
                      </a:lnTo>
                      <a:lnTo>
                        <a:pt x="447" y="0"/>
                      </a:lnTo>
                      <a:lnTo>
                        <a:pt x="467" y="9"/>
                      </a:lnTo>
                      <a:lnTo>
                        <a:pt x="481" y="9"/>
                      </a:lnTo>
                      <a:lnTo>
                        <a:pt x="496" y="5"/>
                      </a:lnTo>
                      <a:lnTo>
                        <a:pt x="501" y="5"/>
                      </a:lnTo>
                      <a:lnTo>
                        <a:pt x="517" y="12"/>
                      </a:lnTo>
                      <a:lnTo>
                        <a:pt x="523" y="15"/>
                      </a:lnTo>
                      <a:lnTo>
                        <a:pt x="527" y="20"/>
                      </a:lnTo>
                      <a:lnTo>
                        <a:pt x="533" y="32"/>
                      </a:lnTo>
                      <a:lnTo>
                        <a:pt x="538" y="35"/>
                      </a:lnTo>
                      <a:lnTo>
                        <a:pt x="543" y="37"/>
                      </a:lnTo>
                      <a:lnTo>
                        <a:pt x="547" y="37"/>
                      </a:lnTo>
                      <a:lnTo>
                        <a:pt x="570" y="32"/>
                      </a:lnTo>
                      <a:lnTo>
                        <a:pt x="586" y="37"/>
                      </a:lnTo>
                      <a:lnTo>
                        <a:pt x="593" y="40"/>
                      </a:lnTo>
                      <a:lnTo>
                        <a:pt x="601" y="42"/>
                      </a:lnTo>
                      <a:lnTo>
                        <a:pt x="608" y="47"/>
                      </a:lnTo>
                      <a:lnTo>
                        <a:pt x="612" y="54"/>
                      </a:lnTo>
                      <a:lnTo>
                        <a:pt x="613" y="60"/>
                      </a:lnTo>
                      <a:lnTo>
                        <a:pt x="612" y="72"/>
                      </a:lnTo>
                      <a:lnTo>
                        <a:pt x="613" y="77"/>
                      </a:lnTo>
                      <a:lnTo>
                        <a:pt x="615" y="80"/>
                      </a:lnTo>
                      <a:lnTo>
                        <a:pt x="618" y="84"/>
                      </a:lnTo>
                      <a:lnTo>
                        <a:pt x="633" y="95"/>
                      </a:lnTo>
                      <a:lnTo>
                        <a:pt x="646" y="99"/>
                      </a:lnTo>
                      <a:lnTo>
                        <a:pt x="652" y="99"/>
                      </a:lnTo>
                      <a:lnTo>
                        <a:pt x="655" y="97"/>
                      </a:lnTo>
                      <a:lnTo>
                        <a:pt x="651" y="93"/>
                      </a:lnTo>
                      <a:lnTo>
                        <a:pt x="652" y="92"/>
                      </a:lnTo>
                      <a:lnTo>
                        <a:pt x="671" y="90"/>
                      </a:lnTo>
                      <a:lnTo>
                        <a:pt x="677" y="89"/>
                      </a:lnTo>
                      <a:lnTo>
                        <a:pt x="681" y="84"/>
                      </a:lnTo>
                      <a:lnTo>
                        <a:pt x="682" y="79"/>
                      </a:lnTo>
                      <a:lnTo>
                        <a:pt x="682" y="64"/>
                      </a:lnTo>
                      <a:lnTo>
                        <a:pt x="682" y="60"/>
                      </a:lnTo>
                      <a:lnTo>
                        <a:pt x="682" y="49"/>
                      </a:lnTo>
                      <a:lnTo>
                        <a:pt x="682" y="45"/>
                      </a:lnTo>
                      <a:lnTo>
                        <a:pt x="686" y="42"/>
                      </a:lnTo>
                      <a:lnTo>
                        <a:pt x="692" y="39"/>
                      </a:lnTo>
                      <a:lnTo>
                        <a:pt x="714" y="38"/>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2" name="Iwate" descr="{&quot;Key&quot;:&quot;iwate&quot;,&quot;Name&quot;:&quot;Iwate&quot;,&quot;Value&quot;:1.0,&quot;Formula&quot;:&quot;&quot;,&quot;Text&quot;:&quot;&quot;,&quot;OfficeApplication&quot;:1,&quot;HasValue&quot;:true}">
                  <a:extLst>
                    <a:ext uri="{FF2B5EF4-FFF2-40B4-BE49-F238E27FC236}">
                      <a16:creationId xmlns:a16="http://schemas.microsoft.com/office/drawing/2014/main" id="{4F2A10A2-7A41-4138-AF68-8FE474E5D252}"/>
                    </a:ext>
                  </a:extLst>
                </p:cNvPr>
                <p:cNvSpPr>
                  <a:spLocks/>
                </p:cNvSpPr>
                <p:nvPr/>
              </p:nvSpPr>
              <p:spPr bwMode="auto">
                <a:xfrm>
                  <a:off x="7064375" y="2255838"/>
                  <a:ext cx="330200" cy="517525"/>
                </a:xfrm>
                <a:custGeom>
                  <a:avLst/>
                  <a:gdLst>
                    <a:gd name="T0" fmla="*/ 343 w 567"/>
                    <a:gd name="T1" fmla="*/ 764 h 885"/>
                    <a:gd name="T2" fmla="*/ 331 w 567"/>
                    <a:gd name="T3" fmla="*/ 799 h 885"/>
                    <a:gd name="T4" fmla="*/ 318 w 567"/>
                    <a:gd name="T5" fmla="*/ 834 h 885"/>
                    <a:gd name="T6" fmla="*/ 301 w 567"/>
                    <a:gd name="T7" fmla="*/ 869 h 885"/>
                    <a:gd name="T8" fmla="*/ 253 w 567"/>
                    <a:gd name="T9" fmla="*/ 866 h 885"/>
                    <a:gd name="T10" fmla="*/ 210 w 567"/>
                    <a:gd name="T11" fmla="*/ 875 h 885"/>
                    <a:gd name="T12" fmla="*/ 191 w 567"/>
                    <a:gd name="T13" fmla="*/ 837 h 885"/>
                    <a:gd name="T14" fmla="*/ 135 w 567"/>
                    <a:gd name="T15" fmla="*/ 823 h 885"/>
                    <a:gd name="T16" fmla="*/ 55 w 567"/>
                    <a:gd name="T17" fmla="*/ 738 h 885"/>
                    <a:gd name="T18" fmla="*/ 37 w 567"/>
                    <a:gd name="T19" fmla="*/ 706 h 885"/>
                    <a:gd name="T20" fmla="*/ 55 w 567"/>
                    <a:gd name="T21" fmla="*/ 668 h 885"/>
                    <a:gd name="T22" fmla="*/ 41 w 567"/>
                    <a:gd name="T23" fmla="*/ 634 h 885"/>
                    <a:gd name="T24" fmla="*/ 13 w 567"/>
                    <a:gd name="T25" fmla="*/ 602 h 885"/>
                    <a:gd name="T26" fmla="*/ 22 w 567"/>
                    <a:gd name="T27" fmla="*/ 503 h 885"/>
                    <a:gd name="T28" fmla="*/ 61 w 567"/>
                    <a:gd name="T29" fmla="*/ 430 h 885"/>
                    <a:gd name="T30" fmla="*/ 56 w 567"/>
                    <a:gd name="T31" fmla="*/ 377 h 885"/>
                    <a:gd name="T32" fmla="*/ 55 w 567"/>
                    <a:gd name="T33" fmla="*/ 338 h 885"/>
                    <a:gd name="T34" fmla="*/ 58 w 567"/>
                    <a:gd name="T35" fmla="*/ 308 h 885"/>
                    <a:gd name="T36" fmla="*/ 85 w 567"/>
                    <a:gd name="T37" fmla="*/ 294 h 885"/>
                    <a:gd name="T38" fmla="*/ 72 w 567"/>
                    <a:gd name="T39" fmla="*/ 209 h 885"/>
                    <a:gd name="T40" fmla="*/ 79 w 567"/>
                    <a:gd name="T41" fmla="*/ 168 h 885"/>
                    <a:gd name="T42" fmla="*/ 99 w 567"/>
                    <a:gd name="T43" fmla="*/ 117 h 885"/>
                    <a:gd name="T44" fmla="*/ 147 w 567"/>
                    <a:gd name="T45" fmla="*/ 123 h 885"/>
                    <a:gd name="T46" fmla="*/ 272 w 567"/>
                    <a:gd name="T47" fmla="*/ 57 h 885"/>
                    <a:gd name="T48" fmla="*/ 342 w 567"/>
                    <a:gd name="T49" fmla="*/ 49 h 885"/>
                    <a:gd name="T50" fmla="*/ 373 w 567"/>
                    <a:gd name="T51" fmla="*/ 23 h 885"/>
                    <a:gd name="T52" fmla="*/ 436 w 567"/>
                    <a:gd name="T53" fmla="*/ 35 h 885"/>
                    <a:gd name="T54" fmla="*/ 452 w 567"/>
                    <a:gd name="T55" fmla="*/ 77 h 885"/>
                    <a:gd name="T56" fmla="*/ 464 w 567"/>
                    <a:gd name="T57" fmla="*/ 130 h 885"/>
                    <a:gd name="T58" fmla="*/ 489 w 567"/>
                    <a:gd name="T59" fmla="*/ 164 h 885"/>
                    <a:gd name="T60" fmla="*/ 506 w 567"/>
                    <a:gd name="T61" fmla="*/ 233 h 885"/>
                    <a:gd name="T62" fmla="*/ 523 w 567"/>
                    <a:gd name="T63" fmla="*/ 262 h 885"/>
                    <a:gd name="T64" fmla="*/ 527 w 567"/>
                    <a:gd name="T65" fmla="*/ 299 h 885"/>
                    <a:gd name="T66" fmla="*/ 542 w 567"/>
                    <a:gd name="T67" fmla="*/ 367 h 885"/>
                    <a:gd name="T68" fmla="*/ 529 w 567"/>
                    <a:gd name="T69" fmla="*/ 422 h 885"/>
                    <a:gd name="T70" fmla="*/ 551 w 567"/>
                    <a:gd name="T71" fmla="*/ 432 h 885"/>
                    <a:gd name="T72" fmla="*/ 566 w 567"/>
                    <a:gd name="T73" fmla="*/ 469 h 885"/>
                    <a:gd name="T74" fmla="*/ 544 w 567"/>
                    <a:gd name="T75" fmla="*/ 504 h 885"/>
                    <a:gd name="T76" fmla="*/ 546 w 567"/>
                    <a:gd name="T77" fmla="*/ 520 h 885"/>
                    <a:gd name="T78" fmla="*/ 554 w 567"/>
                    <a:gd name="T79" fmla="*/ 523 h 885"/>
                    <a:gd name="T80" fmla="*/ 536 w 567"/>
                    <a:gd name="T81" fmla="*/ 543 h 885"/>
                    <a:gd name="T82" fmla="*/ 520 w 567"/>
                    <a:gd name="T83" fmla="*/ 570 h 885"/>
                    <a:gd name="T84" fmla="*/ 531 w 567"/>
                    <a:gd name="T85" fmla="*/ 577 h 885"/>
                    <a:gd name="T86" fmla="*/ 512 w 567"/>
                    <a:gd name="T87" fmla="*/ 615 h 885"/>
                    <a:gd name="T88" fmla="*/ 511 w 567"/>
                    <a:gd name="T89" fmla="*/ 630 h 885"/>
                    <a:gd name="T90" fmla="*/ 491 w 567"/>
                    <a:gd name="T91" fmla="*/ 659 h 885"/>
                    <a:gd name="T92" fmla="*/ 476 w 567"/>
                    <a:gd name="T93" fmla="*/ 679 h 885"/>
                    <a:gd name="T94" fmla="*/ 466 w 567"/>
                    <a:gd name="T95" fmla="*/ 712 h 885"/>
                    <a:gd name="T96" fmla="*/ 467 w 567"/>
                    <a:gd name="T97" fmla="*/ 729 h 885"/>
                    <a:gd name="T98" fmla="*/ 461 w 567"/>
                    <a:gd name="T99" fmla="*/ 743 h 885"/>
                    <a:gd name="T100" fmla="*/ 435 w 567"/>
                    <a:gd name="T101" fmla="*/ 759 h 885"/>
                    <a:gd name="T102" fmla="*/ 432 w 567"/>
                    <a:gd name="T103" fmla="*/ 779 h 885"/>
                    <a:gd name="T104" fmla="*/ 407 w 567"/>
                    <a:gd name="T105" fmla="*/ 768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7" h="885">
                      <a:moveTo>
                        <a:pt x="395" y="775"/>
                      </a:moveTo>
                      <a:lnTo>
                        <a:pt x="392" y="774"/>
                      </a:lnTo>
                      <a:lnTo>
                        <a:pt x="376" y="770"/>
                      </a:lnTo>
                      <a:lnTo>
                        <a:pt x="365" y="765"/>
                      </a:lnTo>
                      <a:lnTo>
                        <a:pt x="353" y="764"/>
                      </a:lnTo>
                      <a:lnTo>
                        <a:pt x="343" y="764"/>
                      </a:lnTo>
                      <a:lnTo>
                        <a:pt x="337" y="765"/>
                      </a:lnTo>
                      <a:lnTo>
                        <a:pt x="332" y="770"/>
                      </a:lnTo>
                      <a:lnTo>
                        <a:pt x="331" y="777"/>
                      </a:lnTo>
                      <a:lnTo>
                        <a:pt x="331" y="785"/>
                      </a:lnTo>
                      <a:lnTo>
                        <a:pt x="331" y="793"/>
                      </a:lnTo>
                      <a:lnTo>
                        <a:pt x="331" y="799"/>
                      </a:lnTo>
                      <a:lnTo>
                        <a:pt x="331" y="804"/>
                      </a:lnTo>
                      <a:lnTo>
                        <a:pt x="326" y="812"/>
                      </a:lnTo>
                      <a:lnTo>
                        <a:pt x="320" y="819"/>
                      </a:lnTo>
                      <a:lnTo>
                        <a:pt x="318" y="824"/>
                      </a:lnTo>
                      <a:lnTo>
                        <a:pt x="318" y="829"/>
                      </a:lnTo>
                      <a:lnTo>
                        <a:pt x="318" y="834"/>
                      </a:lnTo>
                      <a:lnTo>
                        <a:pt x="317" y="845"/>
                      </a:lnTo>
                      <a:lnTo>
                        <a:pt x="318" y="849"/>
                      </a:lnTo>
                      <a:lnTo>
                        <a:pt x="317" y="853"/>
                      </a:lnTo>
                      <a:lnTo>
                        <a:pt x="315" y="856"/>
                      </a:lnTo>
                      <a:lnTo>
                        <a:pt x="305" y="868"/>
                      </a:lnTo>
                      <a:lnTo>
                        <a:pt x="301" y="869"/>
                      </a:lnTo>
                      <a:lnTo>
                        <a:pt x="280" y="859"/>
                      </a:lnTo>
                      <a:lnTo>
                        <a:pt x="271" y="856"/>
                      </a:lnTo>
                      <a:lnTo>
                        <a:pt x="266" y="855"/>
                      </a:lnTo>
                      <a:lnTo>
                        <a:pt x="261" y="856"/>
                      </a:lnTo>
                      <a:lnTo>
                        <a:pt x="256" y="863"/>
                      </a:lnTo>
                      <a:lnTo>
                        <a:pt x="253" y="866"/>
                      </a:lnTo>
                      <a:lnTo>
                        <a:pt x="242" y="873"/>
                      </a:lnTo>
                      <a:lnTo>
                        <a:pt x="238" y="875"/>
                      </a:lnTo>
                      <a:lnTo>
                        <a:pt x="232" y="883"/>
                      </a:lnTo>
                      <a:lnTo>
                        <a:pt x="228" y="885"/>
                      </a:lnTo>
                      <a:lnTo>
                        <a:pt x="225" y="885"/>
                      </a:lnTo>
                      <a:lnTo>
                        <a:pt x="210" y="875"/>
                      </a:lnTo>
                      <a:lnTo>
                        <a:pt x="196" y="869"/>
                      </a:lnTo>
                      <a:lnTo>
                        <a:pt x="191" y="863"/>
                      </a:lnTo>
                      <a:lnTo>
                        <a:pt x="182" y="850"/>
                      </a:lnTo>
                      <a:lnTo>
                        <a:pt x="182" y="845"/>
                      </a:lnTo>
                      <a:lnTo>
                        <a:pt x="185" y="841"/>
                      </a:lnTo>
                      <a:lnTo>
                        <a:pt x="191" y="837"/>
                      </a:lnTo>
                      <a:lnTo>
                        <a:pt x="192" y="833"/>
                      </a:lnTo>
                      <a:lnTo>
                        <a:pt x="188" y="829"/>
                      </a:lnTo>
                      <a:lnTo>
                        <a:pt x="182" y="825"/>
                      </a:lnTo>
                      <a:lnTo>
                        <a:pt x="167" y="824"/>
                      </a:lnTo>
                      <a:lnTo>
                        <a:pt x="140" y="824"/>
                      </a:lnTo>
                      <a:lnTo>
                        <a:pt x="135" y="823"/>
                      </a:lnTo>
                      <a:lnTo>
                        <a:pt x="127" y="820"/>
                      </a:lnTo>
                      <a:lnTo>
                        <a:pt x="100" y="803"/>
                      </a:lnTo>
                      <a:lnTo>
                        <a:pt x="63" y="786"/>
                      </a:lnTo>
                      <a:lnTo>
                        <a:pt x="41" y="783"/>
                      </a:lnTo>
                      <a:lnTo>
                        <a:pt x="46" y="756"/>
                      </a:lnTo>
                      <a:lnTo>
                        <a:pt x="55" y="738"/>
                      </a:lnTo>
                      <a:lnTo>
                        <a:pt x="56" y="733"/>
                      </a:lnTo>
                      <a:lnTo>
                        <a:pt x="55" y="728"/>
                      </a:lnTo>
                      <a:lnTo>
                        <a:pt x="51" y="723"/>
                      </a:lnTo>
                      <a:lnTo>
                        <a:pt x="46" y="719"/>
                      </a:lnTo>
                      <a:lnTo>
                        <a:pt x="40" y="714"/>
                      </a:lnTo>
                      <a:lnTo>
                        <a:pt x="37" y="706"/>
                      </a:lnTo>
                      <a:lnTo>
                        <a:pt x="36" y="700"/>
                      </a:lnTo>
                      <a:lnTo>
                        <a:pt x="37" y="693"/>
                      </a:lnTo>
                      <a:lnTo>
                        <a:pt x="42" y="681"/>
                      </a:lnTo>
                      <a:lnTo>
                        <a:pt x="47" y="677"/>
                      </a:lnTo>
                      <a:lnTo>
                        <a:pt x="55" y="672"/>
                      </a:lnTo>
                      <a:lnTo>
                        <a:pt x="55" y="668"/>
                      </a:lnTo>
                      <a:lnTo>
                        <a:pt x="53" y="664"/>
                      </a:lnTo>
                      <a:lnTo>
                        <a:pt x="46" y="656"/>
                      </a:lnTo>
                      <a:lnTo>
                        <a:pt x="45" y="652"/>
                      </a:lnTo>
                      <a:lnTo>
                        <a:pt x="45" y="644"/>
                      </a:lnTo>
                      <a:lnTo>
                        <a:pt x="43" y="639"/>
                      </a:lnTo>
                      <a:lnTo>
                        <a:pt x="41" y="634"/>
                      </a:lnTo>
                      <a:lnTo>
                        <a:pt x="37" y="630"/>
                      </a:lnTo>
                      <a:lnTo>
                        <a:pt x="30" y="624"/>
                      </a:lnTo>
                      <a:lnTo>
                        <a:pt x="26" y="620"/>
                      </a:lnTo>
                      <a:lnTo>
                        <a:pt x="20" y="610"/>
                      </a:lnTo>
                      <a:lnTo>
                        <a:pt x="16" y="606"/>
                      </a:lnTo>
                      <a:lnTo>
                        <a:pt x="13" y="602"/>
                      </a:lnTo>
                      <a:lnTo>
                        <a:pt x="10" y="585"/>
                      </a:lnTo>
                      <a:lnTo>
                        <a:pt x="2" y="568"/>
                      </a:lnTo>
                      <a:lnTo>
                        <a:pt x="1" y="560"/>
                      </a:lnTo>
                      <a:lnTo>
                        <a:pt x="0" y="555"/>
                      </a:lnTo>
                      <a:lnTo>
                        <a:pt x="7" y="533"/>
                      </a:lnTo>
                      <a:lnTo>
                        <a:pt x="22" y="503"/>
                      </a:lnTo>
                      <a:lnTo>
                        <a:pt x="28" y="484"/>
                      </a:lnTo>
                      <a:lnTo>
                        <a:pt x="32" y="474"/>
                      </a:lnTo>
                      <a:lnTo>
                        <a:pt x="36" y="468"/>
                      </a:lnTo>
                      <a:lnTo>
                        <a:pt x="53" y="447"/>
                      </a:lnTo>
                      <a:lnTo>
                        <a:pt x="60" y="435"/>
                      </a:lnTo>
                      <a:lnTo>
                        <a:pt x="61" y="430"/>
                      </a:lnTo>
                      <a:lnTo>
                        <a:pt x="62" y="424"/>
                      </a:lnTo>
                      <a:lnTo>
                        <a:pt x="62" y="414"/>
                      </a:lnTo>
                      <a:lnTo>
                        <a:pt x="60" y="407"/>
                      </a:lnTo>
                      <a:lnTo>
                        <a:pt x="57" y="398"/>
                      </a:lnTo>
                      <a:lnTo>
                        <a:pt x="52" y="384"/>
                      </a:lnTo>
                      <a:lnTo>
                        <a:pt x="56" y="377"/>
                      </a:lnTo>
                      <a:lnTo>
                        <a:pt x="58" y="370"/>
                      </a:lnTo>
                      <a:lnTo>
                        <a:pt x="65" y="360"/>
                      </a:lnTo>
                      <a:lnTo>
                        <a:pt x="66" y="355"/>
                      </a:lnTo>
                      <a:lnTo>
                        <a:pt x="67" y="350"/>
                      </a:lnTo>
                      <a:lnTo>
                        <a:pt x="63" y="345"/>
                      </a:lnTo>
                      <a:lnTo>
                        <a:pt x="55" y="338"/>
                      </a:lnTo>
                      <a:lnTo>
                        <a:pt x="51" y="333"/>
                      </a:lnTo>
                      <a:lnTo>
                        <a:pt x="50" y="327"/>
                      </a:lnTo>
                      <a:lnTo>
                        <a:pt x="50" y="322"/>
                      </a:lnTo>
                      <a:lnTo>
                        <a:pt x="51" y="315"/>
                      </a:lnTo>
                      <a:lnTo>
                        <a:pt x="55" y="310"/>
                      </a:lnTo>
                      <a:lnTo>
                        <a:pt x="58" y="308"/>
                      </a:lnTo>
                      <a:lnTo>
                        <a:pt x="63" y="307"/>
                      </a:lnTo>
                      <a:lnTo>
                        <a:pt x="68" y="307"/>
                      </a:lnTo>
                      <a:lnTo>
                        <a:pt x="78" y="308"/>
                      </a:lnTo>
                      <a:lnTo>
                        <a:pt x="82" y="305"/>
                      </a:lnTo>
                      <a:lnTo>
                        <a:pt x="85" y="302"/>
                      </a:lnTo>
                      <a:lnTo>
                        <a:pt x="85" y="294"/>
                      </a:lnTo>
                      <a:lnTo>
                        <a:pt x="78" y="279"/>
                      </a:lnTo>
                      <a:lnTo>
                        <a:pt x="76" y="269"/>
                      </a:lnTo>
                      <a:lnTo>
                        <a:pt x="74" y="259"/>
                      </a:lnTo>
                      <a:lnTo>
                        <a:pt x="73" y="249"/>
                      </a:lnTo>
                      <a:lnTo>
                        <a:pt x="73" y="217"/>
                      </a:lnTo>
                      <a:lnTo>
                        <a:pt x="72" y="209"/>
                      </a:lnTo>
                      <a:lnTo>
                        <a:pt x="72" y="203"/>
                      </a:lnTo>
                      <a:lnTo>
                        <a:pt x="73" y="197"/>
                      </a:lnTo>
                      <a:lnTo>
                        <a:pt x="77" y="189"/>
                      </a:lnTo>
                      <a:lnTo>
                        <a:pt x="79" y="183"/>
                      </a:lnTo>
                      <a:lnTo>
                        <a:pt x="78" y="175"/>
                      </a:lnTo>
                      <a:lnTo>
                        <a:pt x="79" y="168"/>
                      </a:lnTo>
                      <a:lnTo>
                        <a:pt x="81" y="159"/>
                      </a:lnTo>
                      <a:lnTo>
                        <a:pt x="79" y="149"/>
                      </a:lnTo>
                      <a:lnTo>
                        <a:pt x="78" y="143"/>
                      </a:lnTo>
                      <a:lnTo>
                        <a:pt x="84" y="132"/>
                      </a:lnTo>
                      <a:lnTo>
                        <a:pt x="91" y="124"/>
                      </a:lnTo>
                      <a:lnTo>
                        <a:pt x="99" y="117"/>
                      </a:lnTo>
                      <a:lnTo>
                        <a:pt x="107" y="109"/>
                      </a:lnTo>
                      <a:lnTo>
                        <a:pt x="127" y="122"/>
                      </a:lnTo>
                      <a:lnTo>
                        <a:pt x="132" y="125"/>
                      </a:lnTo>
                      <a:lnTo>
                        <a:pt x="137" y="127"/>
                      </a:lnTo>
                      <a:lnTo>
                        <a:pt x="142" y="125"/>
                      </a:lnTo>
                      <a:lnTo>
                        <a:pt x="147" y="123"/>
                      </a:lnTo>
                      <a:lnTo>
                        <a:pt x="172" y="99"/>
                      </a:lnTo>
                      <a:lnTo>
                        <a:pt x="234" y="62"/>
                      </a:lnTo>
                      <a:lnTo>
                        <a:pt x="258" y="50"/>
                      </a:lnTo>
                      <a:lnTo>
                        <a:pt x="263" y="50"/>
                      </a:lnTo>
                      <a:lnTo>
                        <a:pt x="268" y="53"/>
                      </a:lnTo>
                      <a:lnTo>
                        <a:pt x="272" y="57"/>
                      </a:lnTo>
                      <a:lnTo>
                        <a:pt x="281" y="59"/>
                      </a:lnTo>
                      <a:lnTo>
                        <a:pt x="291" y="55"/>
                      </a:lnTo>
                      <a:lnTo>
                        <a:pt x="309" y="47"/>
                      </a:lnTo>
                      <a:lnTo>
                        <a:pt x="319" y="44"/>
                      </a:lnTo>
                      <a:lnTo>
                        <a:pt x="327" y="44"/>
                      </a:lnTo>
                      <a:lnTo>
                        <a:pt x="342" y="49"/>
                      </a:lnTo>
                      <a:lnTo>
                        <a:pt x="352" y="50"/>
                      </a:lnTo>
                      <a:lnTo>
                        <a:pt x="359" y="48"/>
                      </a:lnTo>
                      <a:lnTo>
                        <a:pt x="364" y="44"/>
                      </a:lnTo>
                      <a:lnTo>
                        <a:pt x="366" y="39"/>
                      </a:lnTo>
                      <a:lnTo>
                        <a:pt x="369" y="29"/>
                      </a:lnTo>
                      <a:lnTo>
                        <a:pt x="373" y="23"/>
                      </a:lnTo>
                      <a:lnTo>
                        <a:pt x="408" y="2"/>
                      </a:lnTo>
                      <a:lnTo>
                        <a:pt x="411" y="0"/>
                      </a:lnTo>
                      <a:lnTo>
                        <a:pt x="414" y="4"/>
                      </a:lnTo>
                      <a:lnTo>
                        <a:pt x="426" y="20"/>
                      </a:lnTo>
                      <a:lnTo>
                        <a:pt x="428" y="30"/>
                      </a:lnTo>
                      <a:lnTo>
                        <a:pt x="436" y="35"/>
                      </a:lnTo>
                      <a:lnTo>
                        <a:pt x="439" y="43"/>
                      </a:lnTo>
                      <a:lnTo>
                        <a:pt x="442" y="49"/>
                      </a:lnTo>
                      <a:lnTo>
                        <a:pt x="447" y="62"/>
                      </a:lnTo>
                      <a:lnTo>
                        <a:pt x="448" y="65"/>
                      </a:lnTo>
                      <a:lnTo>
                        <a:pt x="449" y="72"/>
                      </a:lnTo>
                      <a:lnTo>
                        <a:pt x="452" y="77"/>
                      </a:lnTo>
                      <a:lnTo>
                        <a:pt x="459" y="85"/>
                      </a:lnTo>
                      <a:lnTo>
                        <a:pt x="471" y="105"/>
                      </a:lnTo>
                      <a:lnTo>
                        <a:pt x="476" y="119"/>
                      </a:lnTo>
                      <a:lnTo>
                        <a:pt x="472" y="125"/>
                      </a:lnTo>
                      <a:lnTo>
                        <a:pt x="468" y="127"/>
                      </a:lnTo>
                      <a:lnTo>
                        <a:pt x="464" y="130"/>
                      </a:lnTo>
                      <a:lnTo>
                        <a:pt x="462" y="137"/>
                      </a:lnTo>
                      <a:lnTo>
                        <a:pt x="463" y="140"/>
                      </a:lnTo>
                      <a:lnTo>
                        <a:pt x="468" y="145"/>
                      </a:lnTo>
                      <a:lnTo>
                        <a:pt x="479" y="149"/>
                      </a:lnTo>
                      <a:lnTo>
                        <a:pt x="484" y="154"/>
                      </a:lnTo>
                      <a:lnTo>
                        <a:pt x="489" y="164"/>
                      </a:lnTo>
                      <a:lnTo>
                        <a:pt x="484" y="170"/>
                      </a:lnTo>
                      <a:lnTo>
                        <a:pt x="477" y="177"/>
                      </a:lnTo>
                      <a:lnTo>
                        <a:pt x="473" y="188"/>
                      </a:lnTo>
                      <a:lnTo>
                        <a:pt x="476" y="200"/>
                      </a:lnTo>
                      <a:lnTo>
                        <a:pt x="481" y="209"/>
                      </a:lnTo>
                      <a:lnTo>
                        <a:pt x="506" y="233"/>
                      </a:lnTo>
                      <a:lnTo>
                        <a:pt x="511" y="235"/>
                      </a:lnTo>
                      <a:lnTo>
                        <a:pt x="514" y="237"/>
                      </a:lnTo>
                      <a:lnTo>
                        <a:pt x="518" y="239"/>
                      </a:lnTo>
                      <a:lnTo>
                        <a:pt x="521" y="250"/>
                      </a:lnTo>
                      <a:lnTo>
                        <a:pt x="522" y="257"/>
                      </a:lnTo>
                      <a:lnTo>
                        <a:pt x="523" y="262"/>
                      </a:lnTo>
                      <a:lnTo>
                        <a:pt x="521" y="267"/>
                      </a:lnTo>
                      <a:lnTo>
                        <a:pt x="517" y="273"/>
                      </a:lnTo>
                      <a:lnTo>
                        <a:pt x="516" y="277"/>
                      </a:lnTo>
                      <a:lnTo>
                        <a:pt x="519" y="287"/>
                      </a:lnTo>
                      <a:lnTo>
                        <a:pt x="524" y="294"/>
                      </a:lnTo>
                      <a:lnTo>
                        <a:pt x="527" y="299"/>
                      </a:lnTo>
                      <a:lnTo>
                        <a:pt x="528" y="315"/>
                      </a:lnTo>
                      <a:lnTo>
                        <a:pt x="529" y="322"/>
                      </a:lnTo>
                      <a:lnTo>
                        <a:pt x="539" y="354"/>
                      </a:lnTo>
                      <a:lnTo>
                        <a:pt x="541" y="357"/>
                      </a:lnTo>
                      <a:lnTo>
                        <a:pt x="541" y="359"/>
                      </a:lnTo>
                      <a:lnTo>
                        <a:pt x="542" y="367"/>
                      </a:lnTo>
                      <a:lnTo>
                        <a:pt x="541" y="370"/>
                      </a:lnTo>
                      <a:lnTo>
                        <a:pt x="536" y="377"/>
                      </a:lnTo>
                      <a:lnTo>
                        <a:pt x="534" y="379"/>
                      </a:lnTo>
                      <a:lnTo>
                        <a:pt x="532" y="390"/>
                      </a:lnTo>
                      <a:lnTo>
                        <a:pt x="531" y="414"/>
                      </a:lnTo>
                      <a:lnTo>
                        <a:pt x="529" y="422"/>
                      </a:lnTo>
                      <a:lnTo>
                        <a:pt x="524" y="433"/>
                      </a:lnTo>
                      <a:lnTo>
                        <a:pt x="523" y="440"/>
                      </a:lnTo>
                      <a:lnTo>
                        <a:pt x="524" y="448"/>
                      </a:lnTo>
                      <a:lnTo>
                        <a:pt x="543" y="428"/>
                      </a:lnTo>
                      <a:lnTo>
                        <a:pt x="553" y="427"/>
                      </a:lnTo>
                      <a:lnTo>
                        <a:pt x="551" y="432"/>
                      </a:lnTo>
                      <a:lnTo>
                        <a:pt x="551" y="434"/>
                      </a:lnTo>
                      <a:lnTo>
                        <a:pt x="551" y="438"/>
                      </a:lnTo>
                      <a:lnTo>
                        <a:pt x="553" y="440"/>
                      </a:lnTo>
                      <a:lnTo>
                        <a:pt x="549" y="449"/>
                      </a:lnTo>
                      <a:lnTo>
                        <a:pt x="551" y="455"/>
                      </a:lnTo>
                      <a:lnTo>
                        <a:pt x="566" y="469"/>
                      </a:lnTo>
                      <a:lnTo>
                        <a:pt x="567" y="473"/>
                      </a:lnTo>
                      <a:lnTo>
                        <a:pt x="567" y="478"/>
                      </a:lnTo>
                      <a:lnTo>
                        <a:pt x="562" y="482"/>
                      </a:lnTo>
                      <a:lnTo>
                        <a:pt x="562" y="485"/>
                      </a:lnTo>
                      <a:lnTo>
                        <a:pt x="558" y="487"/>
                      </a:lnTo>
                      <a:lnTo>
                        <a:pt x="544" y="504"/>
                      </a:lnTo>
                      <a:lnTo>
                        <a:pt x="538" y="509"/>
                      </a:lnTo>
                      <a:lnTo>
                        <a:pt x="524" y="514"/>
                      </a:lnTo>
                      <a:lnTo>
                        <a:pt x="519" y="519"/>
                      </a:lnTo>
                      <a:lnTo>
                        <a:pt x="527" y="528"/>
                      </a:lnTo>
                      <a:lnTo>
                        <a:pt x="537" y="528"/>
                      </a:lnTo>
                      <a:lnTo>
                        <a:pt x="546" y="520"/>
                      </a:lnTo>
                      <a:lnTo>
                        <a:pt x="551" y="510"/>
                      </a:lnTo>
                      <a:lnTo>
                        <a:pt x="553" y="508"/>
                      </a:lnTo>
                      <a:lnTo>
                        <a:pt x="559" y="510"/>
                      </a:lnTo>
                      <a:lnTo>
                        <a:pt x="562" y="516"/>
                      </a:lnTo>
                      <a:lnTo>
                        <a:pt x="557" y="519"/>
                      </a:lnTo>
                      <a:lnTo>
                        <a:pt x="554" y="523"/>
                      </a:lnTo>
                      <a:lnTo>
                        <a:pt x="554" y="530"/>
                      </a:lnTo>
                      <a:lnTo>
                        <a:pt x="554" y="538"/>
                      </a:lnTo>
                      <a:lnTo>
                        <a:pt x="551" y="542"/>
                      </a:lnTo>
                      <a:lnTo>
                        <a:pt x="543" y="543"/>
                      </a:lnTo>
                      <a:lnTo>
                        <a:pt x="539" y="544"/>
                      </a:lnTo>
                      <a:lnTo>
                        <a:pt x="536" y="543"/>
                      </a:lnTo>
                      <a:lnTo>
                        <a:pt x="531" y="544"/>
                      </a:lnTo>
                      <a:lnTo>
                        <a:pt x="527" y="548"/>
                      </a:lnTo>
                      <a:lnTo>
                        <a:pt x="518" y="555"/>
                      </a:lnTo>
                      <a:lnTo>
                        <a:pt x="515" y="559"/>
                      </a:lnTo>
                      <a:lnTo>
                        <a:pt x="525" y="564"/>
                      </a:lnTo>
                      <a:lnTo>
                        <a:pt x="520" y="570"/>
                      </a:lnTo>
                      <a:lnTo>
                        <a:pt x="510" y="579"/>
                      </a:lnTo>
                      <a:lnTo>
                        <a:pt x="501" y="587"/>
                      </a:lnTo>
                      <a:lnTo>
                        <a:pt x="508" y="590"/>
                      </a:lnTo>
                      <a:lnTo>
                        <a:pt x="517" y="587"/>
                      </a:lnTo>
                      <a:lnTo>
                        <a:pt x="526" y="582"/>
                      </a:lnTo>
                      <a:lnTo>
                        <a:pt x="531" y="577"/>
                      </a:lnTo>
                      <a:lnTo>
                        <a:pt x="532" y="589"/>
                      </a:lnTo>
                      <a:lnTo>
                        <a:pt x="525" y="597"/>
                      </a:lnTo>
                      <a:lnTo>
                        <a:pt x="505" y="605"/>
                      </a:lnTo>
                      <a:lnTo>
                        <a:pt x="508" y="608"/>
                      </a:lnTo>
                      <a:lnTo>
                        <a:pt x="510" y="612"/>
                      </a:lnTo>
                      <a:lnTo>
                        <a:pt x="512" y="615"/>
                      </a:lnTo>
                      <a:lnTo>
                        <a:pt x="508" y="615"/>
                      </a:lnTo>
                      <a:lnTo>
                        <a:pt x="501" y="617"/>
                      </a:lnTo>
                      <a:lnTo>
                        <a:pt x="498" y="615"/>
                      </a:lnTo>
                      <a:lnTo>
                        <a:pt x="498" y="623"/>
                      </a:lnTo>
                      <a:lnTo>
                        <a:pt x="498" y="629"/>
                      </a:lnTo>
                      <a:lnTo>
                        <a:pt x="511" y="630"/>
                      </a:lnTo>
                      <a:lnTo>
                        <a:pt x="517" y="629"/>
                      </a:lnTo>
                      <a:lnTo>
                        <a:pt x="518" y="640"/>
                      </a:lnTo>
                      <a:lnTo>
                        <a:pt x="511" y="648"/>
                      </a:lnTo>
                      <a:lnTo>
                        <a:pt x="500" y="653"/>
                      </a:lnTo>
                      <a:lnTo>
                        <a:pt x="490" y="650"/>
                      </a:lnTo>
                      <a:lnTo>
                        <a:pt x="491" y="659"/>
                      </a:lnTo>
                      <a:lnTo>
                        <a:pt x="496" y="662"/>
                      </a:lnTo>
                      <a:lnTo>
                        <a:pt x="510" y="662"/>
                      </a:lnTo>
                      <a:lnTo>
                        <a:pt x="505" y="670"/>
                      </a:lnTo>
                      <a:lnTo>
                        <a:pt x="497" y="675"/>
                      </a:lnTo>
                      <a:lnTo>
                        <a:pt x="486" y="679"/>
                      </a:lnTo>
                      <a:lnTo>
                        <a:pt x="476" y="679"/>
                      </a:lnTo>
                      <a:lnTo>
                        <a:pt x="483" y="687"/>
                      </a:lnTo>
                      <a:lnTo>
                        <a:pt x="502" y="702"/>
                      </a:lnTo>
                      <a:lnTo>
                        <a:pt x="503" y="708"/>
                      </a:lnTo>
                      <a:lnTo>
                        <a:pt x="495" y="712"/>
                      </a:lnTo>
                      <a:lnTo>
                        <a:pt x="472" y="704"/>
                      </a:lnTo>
                      <a:lnTo>
                        <a:pt x="466" y="712"/>
                      </a:lnTo>
                      <a:lnTo>
                        <a:pt x="482" y="720"/>
                      </a:lnTo>
                      <a:lnTo>
                        <a:pt x="487" y="725"/>
                      </a:lnTo>
                      <a:lnTo>
                        <a:pt x="482" y="728"/>
                      </a:lnTo>
                      <a:lnTo>
                        <a:pt x="478" y="729"/>
                      </a:lnTo>
                      <a:lnTo>
                        <a:pt x="473" y="729"/>
                      </a:lnTo>
                      <a:lnTo>
                        <a:pt x="467" y="729"/>
                      </a:lnTo>
                      <a:lnTo>
                        <a:pt x="467" y="733"/>
                      </a:lnTo>
                      <a:lnTo>
                        <a:pt x="472" y="735"/>
                      </a:lnTo>
                      <a:lnTo>
                        <a:pt x="477" y="740"/>
                      </a:lnTo>
                      <a:lnTo>
                        <a:pt x="481" y="745"/>
                      </a:lnTo>
                      <a:lnTo>
                        <a:pt x="477" y="747"/>
                      </a:lnTo>
                      <a:lnTo>
                        <a:pt x="461" y="743"/>
                      </a:lnTo>
                      <a:lnTo>
                        <a:pt x="445" y="745"/>
                      </a:lnTo>
                      <a:lnTo>
                        <a:pt x="437" y="745"/>
                      </a:lnTo>
                      <a:lnTo>
                        <a:pt x="430" y="739"/>
                      </a:lnTo>
                      <a:lnTo>
                        <a:pt x="430" y="747"/>
                      </a:lnTo>
                      <a:lnTo>
                        <a:pt x="432" y="753"/>
                      </a:lnTo>
                      <a:lnTo>
                        <a:pt x="435" y="759"/>
                      </a:lnTo>
                      <a:lnTo>
                        <a:pt x="437" y="764"/>
                      </a:lnTo>
                      <a:lnTo>
                        <a:pt x="433" y="764"/>
                      </a:lnTo>
                      <a:lnTo>
                        <a:pt x="430" y="765"/>
                      </a:lnTo>
                      <a:lnTo>
                        <a:pt x="423" y="772"/>
                      </a:lnTo>
                      <a:lnTo>
                        <a:pt x="430" y="774"/>
                      </a:lnTo>
                      <a:lnTo>
                        <a:pt x="432" y="779"/>
                      </a:lnTo>
                      <a:lnTo>
                        <a:pt x="431" y="784"/>
                      </a:lnTo>
                      <a:lnTo>
                        <a:pt x="425" y="785"/>
                      </a:lnTo>
                      <a:lnTo>
                        <a:pt x="420" y="784"/>
                      </a:lnTo>
                      <a:lnTo>
                        <a:pt x="415" y="779"/>
                      </a:lnTo>
                      <a:lnTo>
                        <a:pt x="410" y="774"/>
                      </a:lnTo>
                      <a:lnTo>
                        <a:pt x="407" y="768"/>
                      </a:lnTo>
                      <a:lnTo>
                        <a:pt x="412" y="765"/>
                      </a:lnTo>
                      <a:lnTo>
                        <a:pt x="416" y="760"/>
                      </a:lnTo>
                      <a:lnTo>
                        <a:pt x="398" y="760"/>
                      </a:lnTo>
                      <a:lnTo>
                        <a:pt x="393" y="765"/>
                      </a:lnTo>
                      <a:lnTo>
                        <a:pt x="395" y="775"/>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3" name="Miyagi" descr="{&quot;Key&quot;:&quot;miyagi&quot;,&quot;Name&quot;:&quot;Miyagi&quot;,&quot;Value&quot;:1.0,&quot;Formula&quot;:&quot;&quot;,&quot;Text&quot;:&quot;&quot;,&quot;OfficeApplication&quot;:1,&quot;HasValue&quot;:true}">
                  <a:extLst>
                    <a:ext uri="{FF2B5EF4-FFF2-40B4-BE49-F238E27FC236}">
                      <a16:creationId xmlns:a16="http://schemas.microsoft.com/office/drawing/2014/main" id="{4F97228E-F033-4A1B-97C0-D6016C143D97}"/>
                    </a:ext>
                  </a:extLst>
                </p:cNvPr>
                <p:cNvSpPr>
                  <a:spLocks noEditPoints="1"/>
                </p:cNvSpPr>
                <p:nvPr/>
              </p:nvSpPr>
              <p:spPr bwMode="auto">
                <a:xfrm>
                  <a:off x="6972300" y="2701925"/>
                  <a:ext cx="328613" cy="365125"/>
                </a:xfrm>
                <a:custGeom>
                  <a:avLst/>
                  <a:gdLst>
                    <a:gd name="T0" fmla="*/ 494 w 564"/>
                    <a:gd name="T1" fmla="*/ 378 h 625"/>
                    <a:gd name="T2" fmla="*/ 478 w 564"/>
                    <a:gd name="T3" fmla="*/ 368 h 625"/>
                    <a:gd name="T4" fmla="*/ 458 w 564"/>
                    <a:gd name="T5" fmla="*/ 355 h 625"/>
                    <a:gd name="T6" fmla="*/ 525 w 564"/>
                    <a:gd name="T7" fmla="*/ 371 h 625"/>
                    <a:gd name="T8" fmla="*/ 529 w 564"/>
                    <a:gd name="T9" fmla="*/ 356 h 625"/>
                    <a:gd name="T10" fmla="*/ 344 w 564"/>
                    <a:gd name="T11" fmla="*/ 333 h 625"/>
                    <a:gd name="T12" fmla="*/ 545 w 564"/>
                    <a:gd name="T13" fmla="*/ 80 h 625"/>
                    <a:gd name="T14" fmla="*/ 539 w 564"/>
                    <a:gd name="T15" fmla="*/ 57 h 625"/>
                    <a:gd name="T16" fmla="*/ 267 w 564"/>
                    <a:gd name="T17" fmla="*/ 564 h 625"/>
                    <a:gd name="T18" fmla="*/ 235 w 564"/>
                    <a:gd name="T19" fmla="*/ 590 h 625"/>
                    <a:gd name="T20" fmla="*/ 204 w 564"/>
                    <a:gd name="T21" fmla="*/ 619 h 625"/>
                    <a:gd name="T22" fmla="*/ 168 w 564"/>
                    <a:gd name="T23" fmla="*/ 606 h 625"/>
                    <a:gd name="T24" fmla="*/ 154 w 564"/>
                    <a:gd name="T25" fmla="*/ 568 h 625"/>
                    <a:gd name="T26" fmla="*/ 92 w 564"/>
                    <a:gd name="T27" fmla="*/ 561 h 625"/>
                    <a:gd name="T28" fmla="*/ 49 w 564"/>
                    <a:gd name="T29" fmla="*/ 531 h 625"/>
                    <a:gd name="T30" fmla="*/ 10 w 564"/>
                    <a:gd name="T31" fmla="*/ 479 h 625"/>
                    <a:gd name="T32" fmla="*/ 58 w 564"/>
                    <a:gd name="T33" fmla="*/ 450 h 625"/>
                    <a:gd name="T34" fmla="*/ 78 w 564"/>
                    <a:gd name="T35" fmla="*/ 383 h 625"/>
                    <a:gd name="T36" fmla="*/ 102 w 564"/>
                    <a:gd name="T37" fmla="*/ 325 h 625"/>
                    <a:gd name="T38" fmla="*/ 128 w 564"/>
                    <a:gd name="T39" fmla="*/ 270 h 625"/>
                    <a:gd name="T40" fmla="*/ 113 w 564"/>
                    <a:gd name="T41" fmla="*/ 209 h 625"/>
                    <a:gd name="T42" fmla="*/ 120 w 564"/>
                    <a:gd name="T43" fmla="*/ 179 h 625"/>
                    <a:gd name="T44" fmla="*/ 135 w 564"/>
                    <a:gd name="T45" fmla="*/ 144 h 625"/>
                    <a:gd name="T46" fmla="*/ 124 w 564"/>
                    <a:gd name="T47" fmla="*/ 86 h 625"/>
                    <a:gd name="T48" fmla="*/ 150 w 564"/>
                    <a:gd name="T49" fmla="*/ 51 h 625"/>
                    <a:gd name="T50" fmla="*/ 220 w 564"/>
                    <a:gd name="T51" fmla="*/ 23 h 625"/>
                    <a:gd name="T52" fmla="*/ 339 w 564"/>
                    <a:gd name="T53" fmla="*/ 61 h 625"/>
                    <a:gd name="T54" fmla="*/ 339 w 564"/>
                    <a:gd name="T55" fmla="*/ 86 h 625"/>
                    <a:gd name="T56" fmla="*/ 389 w 564"/>
                    <a:gd name="T57" fmla="*/ 119 h 625"/>
                    <a:gd name="T58" fmla="*/ 423 w 564"/>
                    <a:gd name="T59" fmla="*/ 91 h 625"/>
                    <a:gd name="T60" fmla="*/ 474 w 564"/>
                    <a:gd name="T61" fmla="*/ 89 h 625"/>
                    <a:gd name="T62" fmla="*/ 476 w 564"/>
                    <a:gd name="T63" fmla="*/ 55 h 625"/>
                    <a:gd name="T64" fmla="*/ 488 w 564"/>
                    <a:gd name="T65" fmla="*/ 13 h 625"/>
                    <a:gd name="T66" fmla="*/ 533 w 564"/>
                    <a:gd name="T67" fmla="*/ 6 h 625"/>
                    <a:gd name="T68" fmla="*/ 555 w 564"/>
                    <a:gd name="T69" fmla="*/ 65 h 625"/>
                    <a:gd name="T70" fmla="*/ 534 w 564"/>
                    <a:gd name="T71" fmla="*/ 54 h 625"/>
                    <a:gd name="T72" fmla="*/ 530 w 564"/>
                    <a:gd name="T73" fmla="*/ 88 h 625"/>
                    <a:gd name="T74" fmla="*/ 514 w 564"/>
                    <a:gd name="T75" fmla="*/ 129 h 625"/>
                    <a:gd name="T76" fmla="*/ 511 w 564"/>
                    <a:gd name="T77" fmla="*/ 145 h 625"/>
                    <a:gd name="T78" fmla="*/ 480 w 564"/>
                    <a:gd name="T79" fmla="*/ 169 h 625"/>
                    <a:gd name="T80" fmla="*/ 506 w 564"/>
                    <a:gd name="T81" fmla="*/ 191 h 625"/>
                    <a:gd name="T82" fmla="*/ 500 w 564"/>
                    <a:gd name="T83" fmla="*/ 234 h 625"/>
                    <a:gd name="T84" fmla="*/ 508 w 564"/>
                    <a:gd name="T85" fmla="*/ 260 h 625"/>
                    <a:gd name="T86" fmla="*/ 495 w 564"/>
                    <a:gd name="T87" fmla="*/ 274 h 625"/>
                    <a:gd name="T88" fmla="*/ 485 w 564"/>
                    <a:gd name="T89" fmla="*/ 303 h 625"/>
                    <a:gd name="T90" fmla="*/ 509 w 564"/>
                    <a:gd name="T91" fmla="*/ 309 h 625"/>
                    <a:gd name="T92" fmla="*/ 506 w 564"/>
                    <a:gd name="T93" fmla="*/ 345 h 625"/>
                    <a:gd name="T94" fmla="*/ 489 w 564"/>
                    <a:gd name="T95" fmla="*/ 358 h 625"/>
                    <a:gd name="T96" fmla="*/ 478 w 564"/>
                    <a:gd name="T97" fmla="*/ 339 h 625"/>
                    <a:gd name="T98" fmla="*/ 459 w 564"/>
                    <a:gd name="T99" fmla="*/ 315 h 625"/>
                    <a:gd name="T100" fmla="*/ 416 w 564"/>
                    <a:gd name="T101" fmla="*/ 299 h 625"/>
                    <a:gd name="T102" fmla="*/ 361 w 564"/>
                    <a:gd name="T103" fmla="*/ 343 h 625"/>
                    <a:gd name="T104" fmla="*/ 336 w 564"/>
                    <a:gd name="T105" fmla="*/ 321 h 625"/>
                    <a:gd name="T106" fmla="*/ 318 w 564"/>
                    <a:gd name="T107" fmla="*/ 348 h 625"/>
                    <a:gd name="T108" fmla="*/ 319 w 564"/>
                    <a:gd name="T109" fmla="*/ 363 h 625"/>
                    <a:gd name="T110" fmla="*/ 261 w 564"/>
                    <a:gd name="T111" fmla="*/ 504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4" h="625">
                      <a:moveTo>
                        <a:pt x="482" y="363"/>
                      </a:moveTo>
                      <a:lnTo>
                        <a:pt x="487" y="366"/>
                      </a:lnTo>
                      <a:lnTo>
                        <a:pt x="488" y="368"/>
                      </a:lnTo>
                      <a:lnTo>
                        <a:pt x="490" y="371"/>
                      </a:lnTo>
                      <a:lnTo>
                        <a:pt x="492" y="376"/>
                      </a:lnTo>
                      <a:lnTo>
                        <a:pt x="494" y="378"/>
                      </a:lnTo>
                      <a:lnTo>
                        <a:pt x="494" y="383"/>
                      </a:lnTo>
                      <a:lnTo>
                        <a:pt x="490" y="380"/>
                      </a:lnTo>
                      <a:lnTo>
                        <a:pt x="487" y="380"/>
                      </a:lnTo>
                      <a:lnTo>
                        <a:pt x="482" y="373"/>
                      </a:lnTo>
                      <a:lnTo>
                        <a:pt x="478" y="370"/>
                      </a:lnTo>
                      <a:lnTo>
                        <a:pt x="478" y="368"/>
                      </a:lnTo>
                      <a:lnTo>
                        <a:pt x="479" y="364"/>
                      </a:lnTo>
                      <a:lnTo>
                        <a:pt x="482" y="363"/>
                      </a:lnTo>
                      <a:close/>
                      <a:moveTo>
                        <a:pt x="465" y="358"/>
                      </a:moveTo>
                      <a:lnTo>
                        <a:pt x="459" y="363"/>
                      </a:lnTo>
                      <a:lnTo>
                        <a:pt x="457" y="358"/>
                      </a:lnTo>
                      <a:lnTo>
                        <a:pt x="458" y="355"/>
                      </a:lnTo>
                      <a:lnTo>
                        <a:pt x="458" y="353"/>
                      </a:lnTo>
                      <a:lnTo>
                        <a:pt x="462" y="349"/>
                      </a:lnTo>
                      <a:lnTo>
                        <a:pt x="463" y="354"/>
                      </a:lnTo>
                      <a:lnTo>
                        <a:pt x="465" y="358"/>
                      </a:lnTo>
                      <a:close/>
                      <a:moveTo>
                        <a:pt x="528" y="366"/>
                      </a:moveTo>
                      <a:lnTo>
                        <a:pt x="525" y="371"/>
                      </a:lnTo>
                      <a:lnTo>
                        <a:pt x="519" y="364"/>
                      </a:lnTo>
                      <a:lnTo>
                        <a:pt x="514" y="355"/>
                      </a:lnTo>
                      <a:lnTo>
                        <a:pt x="518" y="350"/>
                      </a:lnTo>
                      <a:lnTo>
                        <a:pt x="520" y="348"/>
                      </a:lnTo>
                      <a:lnTo>
                        <a:pt x="528" y="352"/>
                      </a:lnTo>
                      <a:lnTo>
                        <a:pt x="529" y="356"/>
                      </a:lnTo>
                      <a:lnTo>
                        <a:pt x="528" y="361"/>
                      </a:lnTo>
                      <a:lnTo>
                        <a:pt x="528" y="366"/>
                      </a:lnTo>
                      <a:close/>
                      <a:moveTo>
                        <a:pt x="345" y="340"/>
                      </a:moveTo>
                      <a:lnTo>
                        <a:pt x="343" y="341"/>
                      </a:lnTo>
                      <a:lnTo>
                        <a:pt x="340" y="336"/>
                      </a:lnTo>
                      <a:lnTo>
                        <a:pt x="344" y="333"/>
                      </a:lnTo>
                      <a:lnTo>
                        <a:pt x="346" y="335"/>
                      </a:lnTo>
                      <a:lnTo>
                        <a:pt x="345" y="340"/>
                      </a:lnTo>
                      <a:close/>
                      <a:moveTo>
                        <a:pt x="544" y="71"/>
                      </a:moveTo>
                      <a:lnTo>
                        <a:pt x="548" y="73"/>
                      </a:lnTo>
                      <a:lnTo>
                        <a:pt x="549" y="75"/>
                      </a:lnTo>
                      <a:lnTo>
                        <a:pt x="545" y="80"/>
                      </a:lnTo>
                      <a:lnTo>
                        <a:pt x="542" y="79"/>
                      </a:lnTo>
                      <a:lnTo>
                        <a:pt x="539" y="71"/>
                      </a:lnTo>
                      <a:lnTo>
                        <a:pt x="537" y="69"/>
                      </a:lnTo>
                      <a:lnTo>
                        <a:pt x="537" y="62"/>
                      </a:lnTo>
                      <a:lnTo>
                        <a:pt x="535" y="60"/>
                      </a:lnTo>
                      <a:lnTo>
                        <a:pt x="539" y="57"/>
                      </a:lnTo>
                      <a:lnTo>
                        <a:pt x="545" y="55"/>
                      </a:lnTo>
                      <a:lnTo>
                        <a:pt x="548" y="56"/>
                      </a:lnTo>
                      <a:lnTo>
                        <a:pt x="548" y="61"/>
                      </a:lnTo>
                      <a:lnTo>
                        <a:pt x="545" y="66"/>
                      </a:lnTo>
                      <a:lnTo>
                        <a:pt x="544" y="71"/>
                      </a:lnTo>
                      <a:close/>
                      <a:moveTo>
                        <a:pt x="267" y="564"/>
                      </a:moveTo>
                      <a:lnTo>
                        <a:pt x="245" y="565"/>
                      </a:lnTo>
                      <a:lnTo>
                        <a:pt x="239" y="568"/>
                      </a:lnTo>
                      <a:lnTo>
                        <a:pt x="235" y="571"/>
                      </a:lnTo>
                      <a:lnTo>
                        <a:pt x="235" y="575"/>
                      </a:lnTo>
                      <a:lnTo>
                        <a:pt x="235" y="586"/>
                      </a:lnTo>
                      <a:lnTo>
                        <a:pt x="235" y="590"/>
                      </a:lnTo>
                      <a:lnTo>
                        <a:pt x="235" y="605"/>
                      </a:lnTo>
                      <a:lnTo>
                        <a:pt x="234" y="610"/>
                      </a:lnTo>
                      <a:lnTo>
                        <a:pt x="230" y="615"/>
                      </a:lnTo>
                      <a:lnTo>
                        <a:pt x="224" y="616"/>
                      </a:lnTo>
                      <a:lnTo>
                        <a:pt x="205" y="618"/>
                      </a:lnTo>
                      <a:lnTo>
                        <a:pt x="204" y="619"/>
                      </a:lnTo>
                      <a:lnTo>
                        <a:pt x="208" y="623"/>
                      </a:lnTo>
                      <a:lnTo>
                        <a:pt x="205" y="625"/>
                      </a:lnTo>
                      <a:lnTo>
                        <a:pt x="199" y="625"/>
                      </a:lnTo>
                      <a:lnTo>
                        <a:pt x="186" y="621"/>
                      </a:lnTo>
                      <a:lnTo>
                        <a:pt x="171" y="610"/>
                      </a:lnTo>
                      <a:lnTo>
                        <a:pt x="168" y="606"/>
                      </a:lnTo>
                      <a:lnTo>
                        <a:pt x="166" y="603"/>
                      </a:lnTo>
                      <a:lnTo>
                        <a:pt x="165" y="598"/>
                      </a:lnTo>
                      <a:lnTo>
                        <a:pt x="166" y="586"/>
                      </a:lnTo>
                      <a:lnTo>
                        <a:pt x="165" y="580"/>
                      </a:lnTo>
                      <a:lnTo>
                        <a:pt x="161" y="573"/>
                      </a:lnTo>
                      <a:lnTo>
                        <a:pt x="154" y="568"/>
                      </a:lnTo>
                      <a:lnTo>
                        <a:pt x="146" y="566"/>
                      </a:lnTo>
                      <a:lnTo>
                        <a:pt x="139" y="563"/>
                      </a:lnTo>
                      <a:lnTo>
                        <a:pt x="123" y="558"/>
                      </a:lnTo>
                      <a:lnTo>
                        <a:pt x="100" y="563"/>
                      </a:lnTo>
                      <a:lnTo>
                        <a:pt x="96" y="563"/>
                      </a:lnTo>
                      <a:lnTo>
                        <a:pt x="92" y="561"/>
                      </a:lnTo>
                      <a:lnTo>
                        <a:pt x="87" y="557"/>
                      </a:lnTo>
                      <a:lnTo>
                        <a:pt x="80" y="546"/>
                      </a:lnTo>
                      <a:lnTo>
                        <a:pt x="77" y="541"/>
                      </a:lnTo>
                      <a:lnTo>
                        <a:pt x="70" y="538"/>
                      </a:lnTo>
                      <a:lnTo>
                        <a:pt x="54" y="531"/>
                      </a:lnTo>
                      <a:lnTo>
                        <a:pt x="49" y="531"/>
                      </a:lnTo>
                      <a:lnTo>
                        <a:pt x="34" y="535"/>
                      </a:lnTo>
                      <a:lnTo>
                        <a:pt x="20" y="535"/>
                      </a:lnTo>
                      <a:lnTo>
                        <a:pt x="0" y="526"/>
                      </a:lnTo>
                      <a:lnTo>
                        <a:pt x="3" y="493"/>
                      </a:lnTo>
                      <a:lnTo>
                        <a:pt x="5" y="485"/>
                      </a:lnTo>
                      <a:lnTo>
                        <a:pt x="10" y="479"/>
                      </a:lnTo>
                      <a:lnTo>
                        <a:pt x="17" y="476"/>
                      </a:lnTo>
                      <a:lnTo>
                        <a:pt x="30" y="475"/>
                      </a:lnTo>
                      <a:lnTo>
                        <a:pt x="37" y="473"/>
                      </a:lnTo>
                      <a:lnTo>
                        <a:pt x="44" y="468"/>
                      </a:lnTo>
                      <a:lnTo>
                        <a:pt x="52" y="461"/>
                      </a:lnTo>
                      <a:lnTo>
                        <a:pt x="58" y="450"/>
                      </a:lnTo>
                      <a:lnTo>
                        <a:pt x="69" y="436"/>
                      </a:lnTo>
                      <a:lnTo>
                        <a:pt x="73" y="430"/>
                      </a:lnTo>
                      <a:lnTo>
                        <a:pt x="77" y="419"/>
                      </a:lnTo>
                      <a:lnTo>
                        <a:pt x="78" y="410"/>
                      </a:lnTo>
                      <a:lnTo>
                        <a:pt x="78" y="401"/>
                      </a:lnTo>
                      <a:lnTo>
                        <a:pt x="78" y="383"/>
                      </a:lnTo>
                      <a:lnTo>
                        <a:pt x="80" y="371"/>
                      </a:lnTo>
                      <a:lnTo>
                        <a:pt x="83" y="364"/>
                      </a:lnTo>
                      <a:lnTo>
                        <a:pt x="87" y="358"/>
                      </a:lnTo>
                      <a:lnTo>
                        <a:pt x="94" y="345"/>
                      </a:lnTo>
                      <a:lnTo>
                        <a:pt x="98" y="338"/>
                      </a:lnTo>
                      <a:lnTo>
                        <a:pt x="102" y="325"/>
                      </a:lnTo>
                      <a:lnTo>
                        <a:pt x="110" y="314"/>
                      </a:lnTo>
                      <a:lnTo>
                        <a:pt x="114" y="311"/>
                      </a:lnTo>
                      <a:lnTo>
                        <a:pt x="117" y="306"/>
                      </a:lnTo>
                      <a:lnTo>
                        <a:pt x="122" y="289"/>
                      </a:lnTo>
                      <a:lnTo>
                        <a:pt x="127" y="276"/>
                      </a:lnTo>
                      <a:lnTo>
                        <a:pt x="128" y="270"/>
                      </a:lnTo>
                      <a:lnTo>
                        <a:pt x="127" y="263"/>
                      </a:lnTo>
                      <a:lnTo>
                        <a:pt x="119" y="254"/>
                      </a:lnTo>
                      <a:lnTo>
                        <a:pt x="117" y="248"/>
                      </a:lnTo>
                      <a:lnTo>
                        <a:pt x="115" y="240"/>
                      </a:lnTo>
                      <a:lnTo>
                        <a:pt x="115" y="218"/>
                      </a:lnTo>
                      <a:lnTo>
                        <a:pt x="113" y="209"/>
                      </a:lnTo>
                      <a:lnTo>
                        <a:pt x="108" y="196"/>
                      </a:lnTo>
                      <a:lnTo>
                        <a:pt x="106" y="191"/>
                      </a:lnTo>
                      <a:lnTo>
                        <a:pt x="106" y="185"/>
                      </a:lnTo>
                      <a:lnTo>
                        <a:pt x="109" y="179"/>
                      </a:lnTo>
                      <a:lnTo>
                        <a:pt x="114" y="178"/>
                      </a:lnTo>
                      <a:lnTo>
                        <a:pt x="120" y="179"/>
                      </a:lnTo>
                      <a:lnTo>
                        <a:pt x="125" y="179"/>
                      </a:lnTo>
                      <a:lnTo>
                        <a:pt x="129" y="175"/>
                      </a:lnTo>
                      <a:lnTo>
                        <a:pt x="133" y="170"/>
                      </a:lnTo>
                      <a:lnTo>
                        <a:pt x="134" y="164"/>
                      </a:lnTo>
                      <a:lnTo>
                        <a:pt x="135" y="156"/>
                      </a:lnTo>
                      <a:lnTo>
                        <a:pt x="135" y="144"/>
                      </a:lnTo>
                      <a:lnTo>
                        <a:pt x="135" y="133"/>
                      </a:lnTo>
                      <a:lnTo>
                        <a:pt x="140" y="125"/>
                      </a:lnTo>
                      <a:lnTo>
                        <a:pt x="140" y="120"/>
                      </a:lnTo>
                      <a:lnTo>
                        <a:pt x="139" y="115"/>
                      </a:lnTo>
                      <a:lnTo>
                        <a:pt x="131" y="103"/>
                      </a:lnTo>
                      <a:lnTo>
                        <a:pt x="124" y="86"/>
                      </a:lnTo>
                      <a:lnTo>
                        <a:pt x="110" y="68"/>
                      </a:lnTo>
                      <a:lnTo>
                        <a:pt x="106" y="55"/>
                      </a:lnTo>
                      <a:lnTo>
                        <a:pt x="110" y="60"/>
                      </a:lnTo>
                      <a:lnTo>
                        <a:pt x="116" y="61"/>
                      </a:lnTo>
                      <a:lnTo>
                        <a:pt x="124" y="60"/>
                      </a:lnTo>
                      <a:lnTo>
                        <a:pt x="150" y="51"/>
                      </a:lnTo>
                      <a:lnTo>
                        <a:pt x="171" y="38"/>
                      </a:lnTo>
                      <a:lnTo>
                        <a:pt x="178" y="31"/>
                      </a:lnTo>
                      <a:lnTo>
                        <a:pt x="184" y="28"/>
                      </a:lnTo>
                      <a:lnTo>
                        <a:pt x="186" y="24"/>
                      </a:lnTo>
                      <a:lnTo>
                        <a:pt x="198" y="19"/>
                      </a:lnTo>
                      <a:lnTo>
                        <a:pt x="220" y="23"/>
                      </a:lnTo>
                      <a:lnTo>
                        <a:pt x="256" y="39"/>
                      </a:lnTo>
                      <a:lnTo>
                        <a:pt x="284" y="56"/>
                      </a:lnTo>
                      <a:lnTo>
                        <a:pt x="291" y="59"/>
                      </a:lnTo>
                      <a:lnTo>
                        <a:pt x="296" y="60"/>
                      </a:lnTo>
                      <a:lnTo>
                        <a:pt x="324" y="60"/>
                      </a:lnTo>
                      <a:lnTo>
                        <a:pt x="339" y="61"/>
                      </a:lnTo>
                      <a:lnTo>
                        <a:pt x="345" y="65"/>
                      </a:lnTo>
                      <a:lnTo>
                        <a:pt x="349" y="69"/>
                      </a:lnTo>
                      <a:lnTo>
                        <a:pt x="348" y="73"/>
                      </a:lnTo>
                      <a:lnTo>
                        <a:pt x="341" y="78"/>
                      </a:lnTo>
                      <a:lnTo>
                        <a:pt x="339" y="81"/>
                      </a:lnTo>
                      <a:lnTo>
                        <a:pt x="339" y="86"/>
                      </a:lnTo>
                      <a:lnTo>
                        <a:pt x="348" y="99"/>
                      </a:lnTo>
                      <a:lnTo>
                        <a:pt x="353" y="105"/>
                      </a:lnTo>
                      <a:lnTo>
                        <a:pt x="366" y="111"/>
                      </a:lnTo>
                      <a:lnTo>
                        <a:pt x="381" y="121"/>
                      </a:lnTo>
                      <a:lnTo>
                        <a:pt x="385" y="121"/>
                      </a:lnTo>
                      <a:lnTo>
                        <a:pt x="389" y="119"/>
                      </a:lnTo>
                      <a:lnTo>
                        <a:pt x="395" y="111"/>
                      </a:lnTo>
                      <a:lnTo>
                        <a:pt x="399" y="109"/>
                      </a:lnTo>
                      <a:lnTo>
                        <a:pt x="410" y="103"/>
                      </a:lnTo>
                      <a:lnTo>
                        <a:pt x="413" y="99"/>
                      </a:lnTo>
                      <a:lnTo>
                        <a:pt x="418" y="93"/>
                      </a:lnTo>
                      <a:lnTo>
                        <a:pt x="423" y="91"/>
                      </a:lnTo>
                      <a:lnTo>
                        <a:pt x="428" y="93"/>
                      </a:lnTo>
                      <a:lnTo>
                        <a:pt x="436" y="95"/>
                      </a:lnTo>
                      <a:lnTo>
                        <a:pt x="458" y="105"/>
                      </a:lnTo>
                      <a:lnTo>
                        <a:pt x="461" y="104"/>
                      </a:lnTo>
                      <a:lnTo>
                        <a:pt x="471" y="93"/>
                      </a:lnTo>
                      <a:lnTo>
                        <a:pt x="474" y="89"/>
                      </a:lnTo>
                      <a:lnTo>
                        <a:pt x="475" y="85"/>
                      </a:lnTo>
                      <a:lnTo>
                        <a:pt x="474" y="81"/>
                      </a:lnTo>
                      <a:lnTo>
                        <a:pt x="475" y="70"/>
                      </a:lnTo>
                      <a:lnTo>
                        <a:pt x="475" y="65"/>
                      </a:lnTo>
                      <a:lnTo>
                        <a:pt x="475" y="60"/>
                      </a:lnTo>
                      <a:lnTo>
                        <a:pt x="476" y="55"/>
                      </a:lnTo>
                      <a:lnTo>
                        <a:pt x="483" y="48"/>
                      </a:lnTo>
                      <a:lnTo>
                        <a:pt x="488" y="40"/>
                      </a:lnTo>
                      <a:lnTo>
                        <a:pt x="488" y="35"/>
                      </a:lnTo>
                      <a:lnTo>
                        <a:pt x="488" y="29"/>
                      </a:lnTo>
                      <a:lnTo>
                        <a:pt x="488" y="21"/>
                      </a:lnTo>
                      <a:lnTo>
                        <a:pt x="488" y="13"/>
                      </a:lnTo>
                      <a:lnTo>
                        <a:pt x="489" y="6"/>
                      </a:lnTo>
                      <a:lnTo>
                        <a:pt x="494" y="1"/>
                      </a:lnTo>
                      <a:lnTo>
                        <a:pt x="500" y="0"/>
                      </a:lnTo>
                      <a:lnTo>
                        <a:pt x="510" y="0"/>
                      </a:lnTo>
                      <a:lnTo>
                        <a:pt x="521" y="1"/>
                      </a:lnTo>
                      <a:lnTo>
                        <a:pt x="533" y="6"/>
                      </a:lnTo>
                      <a:lnTo>
                        <a:pt x="549" y="10"/>
                      </a:lnTo>
                      <a:lnTo>
                        <a:pt x="551" y="11"/>
                      </a:lnTo>
                      <a:lnTo>
                        <a:pt x="553" y="34"/>
                      </a:lnTo>
                      <a:lnTo>
                        <a:pt x="563" y="60"/>
                      </a:lnTo>
                      <a:lnTo>
                        <a:pt x="564" y="71"/>
                      </a:lnTo>
                      <a:lnTo>
                        <a:pt x="555" y="65"/>
                      </a:lnTo>
                      <a:lnTo>
                        <a:pt x="555" y="63"/>
                      </a:lnTo>
                      <a:lnTo>
                        <a:pt x="553" y="55"/>
                      </a:lnTo>
                      <a:lnTo>
                        <a:pt x="551" y="53"/>
                      </a:lnTo>
                      <a:lnTo>
                        <a:pt x="550" y="50"/>
                      </a:lnTo>
                      <a:lnTo>
                        <a:pt x="541" y="54"/>
                      </a:lnTo>
                      <a:lnTo>
                        <a:pt x="534" y="54"/>
                      </a:lnTo>
                      <a:lnTo>
                        <a:pt x="530" y="55"/>
                      </a:lnTo>
                      <a:lnTo>
                        <a:pt x="529" y="60"/>
                      </a:lnTo>
                      <a:lnTo>
                        <a:pt x="529" y="70"/>
                      </a:lnTo>
                      <a:lnTo>
                        <a:pt x="529" y="80"/>
                      </a:lnTo>
                      <a:lnTo>
                        <a:pt x="530" y="84"/>
                      </a:lnTo>
                      <a:lnTo>
                        <a:pt x="530" y="88"/>
                      </a:lnTo>
                      <a:lnTo>
                        <a:pt x="524" y="94"/>
                      </a:lnTo>
                      <a:lnTo>
                        <a:pt x="506" y="108"/>
                      </a:lnTo>
                      <a:lnTo>
                        <a:pt x="504" y="114"/>
                      </a:lnTo>
                      <a:lnTo>
                        <a:pt x="508" y="116"/>
                      </a:lnTo>
                      <a:lnTo>
                        <a:pt x="510" y="120"/>
                      </a:lnTo>
                      <a:lnTo>
                        <a:pt x="514" y="129"/>
                      </a:lnTo>
                      <a:lnTo>
                        <a:pt x="521" y="134"/>
                      </a:lnTo>
                      <a:lnTo>
                        <a:pt x="524" y="140"/>
                      </a:lnTo>
                      <a:lnTo>
                        <a:pt x="521" y="148"/>
                      </a:lnTo>
                      <a:lnTo>
                        <a:pt x="519" y="150"/>
                      </a:lnTo>
                      <a:lnTo>
                        <a:pt x="514" y="145"/>
                      </a:lnTo>
                      <a:lnTo>
                        <a:pt x="511" y="145"/>
                      </a:lnTo>
                      <a:lnTo>
                        <a:pt x="510" y="148"/>
                      </a:lnTo>
                      <a:lnTo>
                        <a:pt x="505" y="154"/>
                      </a:lnTo>
                      <a:lnTo>
                        <a:pt x="501" y="158"/>
                      </a:lnTo>
                      <a:lnTo>
                        <a:pt x="491" y="161"/>
                      </a:lnTo>
                      <a:lnTo>
                        <a:pt x="486" y="164"/>
                      </a:lnTo>
                      <a:lnTo>
                        <a:pt x="480" y="169"/>
                      </a:lnTo>
                      <a:lnTo>
                        <a:pt x="480" y="173"/>
                      </a:lnTo>
                      <a:lnTo>
                        <a:pt x="484" y="178"/>
                      </a:lnTo>
                      <a:lnTo>
                        <a:pt x="489" y="180"/>
                      </a:lnTo>
                      <a:lnTo>
                        <a:pt x="508" y="181"/>
                      </a:lnTo>
                      <a:lnTo>
                        <a:pt x="509" y="184"/>
                      </a:lnTo>
                      <a:lnTo>
                        <a:pt x="506" y="191"/>
                      </a:lnTo>
                      <a:lnTo>
                        <a:pt x="501" y="199"/>
                      </a:lnTo>
                      <a:lnTo>
                        <a:pt x="499" y="203"/>
                      </a:lnTo>
                      <a:lnTo>
                        <a:pt x="481" y="216"/>
                      </a:lnTo>
                      <a:lnTo>
                        <a:pt x="488" y="223"/>
                      </a:lnTo>
                      <a:lnTo>
                        <a:pt x="494" y="231"/>
                      </a:lnTo>
                      <a:lnTo>
                        <a:pt x="500" y="234"/>
                      </a:lnTo>
                      <a:lnTo>
                        <a:pt x="506" y="226"/>
                      </a:lnTo>
                      <a:lnTo>
                        <a:pt x="511" y="235"/>
                      </a:lnTo>
                      <a:lnTo>
                        <a:pt x="514" y="243"/>
                      </a:lnTo>
                      <a:lnTo>
                        <a:pt x="514" y="251"/>
                      </a:lnTo>
                      <a:lnTo>
                        <a:pt x="511" y="261"/>
                      </a:lnTo>
                      <a:lnTo>
                        <a:pt x="508" y="260"/>
                      </a:lnTo>
                      <a:lnTo>
                        <a:pt x="504" y="258"/>
                      </a:lnTo>
                      <a:lnTo>
                        <a:pt x="503" y="253"/>
                      </a:lnTo>
                      <a:lnTo>
                        <a:pt x="500" y="248"/>
                      </a:lnTo>
                      <a:lnTo>
                        <a:pt x="495" y="268"/>
                      </a:lnTo>
                      <a:lnTo>
                        <a:pt x="493" y="273"/>
                      </a:lnTo>
                      <a:lnTo>
                        <a:pt x="495" y="274"/>
                      </a:lnTo>
                      <a:lnTo>
                        <a:pt x="498" y="280"/>
                      </a:lnTo>
                      <a:lnTo>
                        <a:pt x="488" y="283"/>
                      </a:lnTo>
                      <a:lnTo>
                        <a:pt x="483" y="285"/>
                      </a:lnTo>
                      <a:lnTo>
                        <a:pt x="483" y="289"/>
                      </a:lnTo>
                      <a:lnTo>
                        <a:pt x="485" y="294"/>
                      </a:lnTo>
                      <a:lnTo>
                        <a:pt x="485" y="303"/>
                      </a:lnTo>
                      <a:lnTo>
                        <a:pt x="490" y="308"/>
                      </a:lnTo>
                      <a:lnTo>
                        <a:pt x="494" y="304"/>
                      </a:lnTo>
                      <a:lnTo>
                        <a:pt x="501" y="303"/>
                      </a:lnTo>
                      <a:lnTo>
                        <a:pt x="510" y="304"/>
                      </a:lnTo>
                      <a:lnTo>
                        <a:pt x="514" y="311"/>
                      </a:lnTo>
                      <a:lnTo>
                        <a:pt x="509" y="309"/>
                      </a:lnTo>
                      <a:lnTo>
                        <a:pt x="503" y="309"/>
                      </a:lnTo>
                      <a:lnTo>
                        <a:pt x="498" y="311"/>
                      </a:lnTo>
                      <a:lnTo>
                        <a:pt x="495" y="318"/>
                      </a:lnTo>
                      <a:lnTo>
                        <a:pt x="505" y="324"/>
                      </a:lnTo>
                      <a:lnTo>
                        <a:pt x="506" y="334"/>
                      </a:lnTo>
                      <a:lnTo>
                        <a:pt x="506" y="345"/>
                      </a:lnTo>
                      <a:lnTo>
                        <a:pt x="511" y="354"/>
                      </a:lnTo>
                      <a:lnTo>
                        <a:pt x="510" y="358"/>
                      </a:lnTo>
                      <a:lnTo>
                        <a:pt x="505" y="371"/>
                      </a:lnTo>
                      <a:lnTo>
                        <a:pt x="503" y="370"/>
                      </a:lnTo>
                      <a:lnTo>
                        <a:pt x="491" y="359"/>
                      </a:lnTo>
                      <a:lnTo>
                        <a:pt x="489" y="358"/>
                      </a:lnTo>
                      <a:lnTo>
                        <a:pt x="483" y="356"/>
                      </a:lnTo>
                      <a:lnTo>
                        <a:pt x="480" y="355"/>
                      </a:lnTo>
                      <a:lnTo>
                        <a:pt x="479" y="351"/>
                      </a:lnTo>
                      <a:lnTo>
                        <a:pt x="481" y="345"/>
                      </a:lnTo>
                      <a:lnTo>
                        <a:pt x="481" y="343"/>
                      </a:lnTo>
                      <a:lnTo>
                        <a:pt x="478" y="339"/>
                      </a:lnTo>
                      <a:lnTo>
                        <a:pt x="465" y="333"/>
                      </a:lnTo>
                      <a:lnTo>
                        <a:pt x="466" y="329"/>
                      </a:lnTo>
                      <a:lnTo>
                        <a:pt x="470" y="318"/>
                      </a:lnTo>
                      <a:lnTo>
                        <a:pt x="465" y="314"/>
                      </a:lnTo>
                      <a:lnTo>
                        <a:pt x="463" y="314"/>
                      </a:lnTo>
                      <a:lnTo>
                        <a:pt x="459" y="315"/>
                      </a:lnTo>
                      <a:lnTo>
                        <a:pt x="454" y="315"/>
                      </a:lnTo>
                      <a:lnTo>
                        <a:pt x="449" y="314"/>
                      </a:lnTo>
                      <a:lnTo>
                        <a:pt x="445" y="311"/>
                      </a:lnTo>
                      <a:lnTo>
                        <a:pt x="436" y="303"/>
                      </a:lnTo>
                      <a:lnTo>
                        <a:pt x="428" y="299"/>
                      </a:lnTo>
                      <a:lnTo>
                        <a:pt x="416" y="299"/>
                      </a:lnTo>
                      <a:lnTo>
                        <a:pt x="386" y="306"/>
                      </a:lnTo>
                      <a:lnTo>
                        <a:pt x="375" y="311"/>
                      </a:lnTo>
                      <a:lnTo>
                        <a:pt x="366" y="319"/>
                      </a:lnTo>
                      <a:lnTo>
                        <a:pt x="363" y="330"/>
                      </a:lnTo>
                      <a:lnTo>
                        <a:pt x="364" y="343"/>
                      </a:lnTo>
                      <a:lnTo>
                        <a:pt x="361" y="343"/>
                      </a:lnTo>
                      <a:lnTo>
                        <a:pt x="355" y="343"/>
                      </a:lnTo>
                      <a:lnTo>
                        <a:pt x="353" y="340"/>
                      </a:lnTo>
                      <a:lnTo>
                        <a:pt x="346" y="318"/>
                      </a:lnTo>
                      <a:lnTo>
                        <a:pt x="343" y="320"/>
                      </a:lnTo>
                      <a:lnTo>
                        <a:pt x="340" y="321"/>
                      </a:lnTo>
                      <a:lnTo>
                        <a:pt x="336" y="321"/>
                      </a:lnTo>
                      <a:lnTo>
                        <a:pt x="333" y="318"/>
                      </a:lnTo>
                      <a:lnTo>
                        <a:pt x="325" y="324"/>
                      </a:lnTo>
                      <a:lnTo>
                        <a:pt x="320" y="331"/>
                      </a:lnTo>
                      <a:lnTo>
                        <a:pt x="315" y="340"/>
                      </a:lnTo>
                      <a:lnTo>
                        <a:pt x="314" y="350"/>
                      </a:lnTo>
                      <a:lnTo>
                        <a:pt x="318" y="348"/>
                      </a:lnTo>
                      <a:lnTo>
                        <a:pt x="321" y="348"/>
                      </a:lnTo>
                      <a:lnTo>
                        <a:pt x="325" y="349"/>
                      </a:lnTo>
                      <a:lnTo>
                        <a:pt x="328" y="354"/>
                      </a:lnTo>
                      <a:lnTo>
                        <a:pt x="326" y="358"/>
                      </a:lnTo>
                      <a:lnTo>
                        <a:pt x="323" y="360"/>
                      </a:lnTo>
                      <a:lnTo>
                        <a:pt x="319" y="363"/>
                      </a:lnTo>
                      <a:lnTo>
                        <a:pt x="315" y="365"/>
                      </a:lnTo>
                      <a:lnTo>
                        <a:pt x="300" y="383"/>
                      </a:lnTo>
                      <a:lnTo>
                        <a:pt x="289" y="403"/>
                      </a:lnTo>
                      <a:lnTo>
                        <a:pt x="280" y="421"/>
                      </a:lnTo>
                      <a:lnTo>
                        <a:pt x="264" y="483"/>
                      </a:lnTo>
                      <a:lnTo>
                        <a:pt x="261" y="504"/>
                      </a:lnTo>
                      <a:lnTo>
                        <a:pt x="261" y="526"/>
                      </a:lnTo>
                      <a:lnTo>
                        <a:pt x="267" y="564"/>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4" name="Niigata" descr="{&quot;Key&quot;:&quot;niigata&quot;,&quot;Name&quot;:&quot;Niigata&quot;,&quot;Value&quot;:1.0,&quot;Formula&quot;:&quot;&quot;,&quot;Text&quot;:&quot;&quot;,&quot;OfficeApplication&quot;:1,&quot;HasValue&quot;:true}">
                  <a:extLst>
                    <a:ext uri="{FF2B5EF4-FFF2-40B4-BE49-F238E27FC236}">
                      <a16:creationId xmlns:a16="http://schemas.microsoft.com/office/drawing/2014/main" id="{39C9BB22-6815-462C-A1E4-8092777344FE}"/>
                    </a:ext>
                  </a:extLst>
                </p:cNvPr>
                <p:cNvSpPr>
                  <a:spLocks noEditPoints="1"/>
                </p:cNvSpPr>
                <p:nvPr/>
              </p:nvSpPr>
              <p:spPr bwMode="auto">
                <a:xfrm>
                  <a:off x="6350000" y="2835275"/>
                  <a:ext cx="528638" cy="538162"/>
                </a:xfrm>
                <a:custGeom>
                  <a:avLst/>
                  <a:gdLst>
                    <a:gd name="T0" fmla="*/ 354 w 906"/>
                    <a:gd name="T1" fmla="*/ 245 h 921"/>
                    <a:gd name="T2" fmla="*/ 365 w 906"/>
                    <a:gd name="T3" fmla="*/ 297 h 921"/>
                    <a:gd name="T4" fmla="*/ 261 w 906"/>
                    <a:gd name="T5" fmla="*/ 382 h 921"/>
                    <a:gd name="T6" fmla="*/ 240 w 906"/>
                    <a:gd name="T7" fmla="*/ 371 h 921"/>
                    <a:gd name="T8" fmla="*/ 270 w 906"/>
                    <a:gd name="T9" fmla="*/ 350 h 921"/>
                    <a:gd name="T10" fmla="*/ 281 w 906"/>
                    <a:gd name="T11" fmla="*/ 280 h 921"/>
                    <a:gd name="T12" fmla="*/ 251 w 906"/>
                    <a:gd name="T13" fmla="*/ 242 h 921"/>
                    <a:gd name="T14" fmla="*/ 294 w 906"/>
                    <a:gd name="T15" fmla="*/ 181 h 921"/>
                    <a:gd name="T16" fmla="*/ 346 w 906"/>
                    <a:gd name="T17" fmla="*/ 116 h 921"/>
                    <a:gd name="T18" fmla="*/ 359 w 906"/>
                    <a:gd name="T19" fmla="*/ 156 h 921"/>
                    <a:gd name="T20" fmla="*/ 645 w 906"/>
                    <a:gd name="T21" fmla="*/ 55 h 921"/>
                    <a:gd name="T22" fmla="*/ 649 w 906"/>
                    <a:gd name="T23" fmla="*/ 41 h 921"/>
                    <a:gd name="T24" fmla="*/ 660 w 906"/>
                    <a:gd name="T25" fmla="*/ 27 h 921"/>
                    <a:gd name="T26" fmla="*/ 646 w 906"/>
                    <a:gd name="T27" fmla="*/ 55 h 921"/>
                    <a:gd name="T28" fmla="*/ 795 w 906"/>
                    <a:gd name="T29" fmla="*/ 442 h 921"/>
                    <a:gd name="T30" fmla="*/ 778 w 906"/>
                    <a:gd name="T31" fmla="*/ 493 h 921"/>
                    <a:gd name="T32" fmla="*/ 764 w 906"/>
                    <a:gd name="T33" fmla="*/ 529 h 921"/>
                    <a:gd name="T34" fmla="*/ 719 w 906"/>
                    <a:gd name="T35" fmla="*/ 535 h 921"/>
                    <a:gd name="T36" fmla="*/ 688 w 906"/>
                    <a:gd name="T37" fmla="*/ 552 h 921"/>
                    <a:gd name="T38" fmla="*/ 633 w 906"/>
                    <a:gd name="T39" fmla="*/ 575 h 921"/>
                    <a:gd name="T40" fmla="*/ 640 w 906"/>
                    <a:gd name="T41" fmla="*/ 600 h 921"/>
                    <a:gd name="T42" fmla="*/ 619 w 906"/>
                    <a:gd name="T43" fmla="*/ 672 h 921"/>
                    <a:gd name="T44" fmla="*/ 635 w 906"/>
                    <a:gd name="T45" fmla="*/ 689 h 921"/>
                    <a:gd name="T46" fmla="*/ 651 w 906"/>
                    <a:gd name="T47" fmla="*/ 721 h 921"/>
                    <a:gd name="T48" fmla="*/ 649 w 906"/>
                    <a:gd name="T49" fmla="*/ 785 h 921"/>
                    <a:gd name="T50" fmla="*/ 624 w 906"/>
                    <a:gd name="T51" fmla="*/ 806 h 921"/>
                    <a:gd name="T52" fmla="*/ 599 w 906"/>
                    <a:gd name="T53" fmla="*/ 767 h 921"/>
                    <a:gd name="T54" fmla="*/ 578 w 906"/>
                    <a:gd name="T55" fmla="*/ 786 h 921"/>
                    <a:gd name="T56" fmla="*/ 540 w 906"/>
                    <a:gd name="T57" fmla="*/ 822 h 921"/>
                    <a:gd name="T58" fmla="*/ 523 w 906"/>
                    <a:gd name="T59" fmla="*/ 847 h 921"/>
                    <a:gd name="T60" fmla="*/ 490 w 906"/>
                    <a:gd name="T61" fmla="*/ 881 h 921"/>
                    <a:gd name="T62" fmla="*/ 464 w 906"/>
                    <a:gd name="T63" fmla="*/ 911 h 921"/>
                    <a:gd name="T64" fmla="*/ 424 w 906"/>
                    <a:gd name="T65" fmla="*/ 875 h 921"/>
                    <a:gd name="T66" fmla="*/ 388 w 906"/>
                    <a:gd name="T67" fmla="*/ 832 h 921"/>
                    <a:gd name="T68" fmla="*/ 363 w 906"/>
                    <a:gd name="T69" fmla="*/ 779 h 921"/>
                    <a:gd name="T70" fmla="*/ 301 w 906"/>
                    <a:gd name="T71" fmla="*/ 797 h 921"/>
                    <a:gd name="T72" fmla="*/ 266 w 906"/>
                    <a:gd name="T73" fmla="*/ 839 h 921"/>
                    <a:gd name="T74" fmla="*/ 249 w 906"/>
                    <a:gd name="T75" fmla="*/ 859 h 921"/>
                    <a:gd name="T76" fmla="*/ 213 w 906"/>
                    <a:gd name="T77" fmla="*/ 867 h 921"/>
                    <a:gd name="T78" fmla="*/ 173 w 906"/>
                    <a:gd name="T79" fmla="*/ 882 h 921"/>
                    <a:gd name="T80" fmla="*/ 158 w 906"/>
                    <a:gd name="T81" fmla="*/ 849 h 921"/>
                    <a:gd name="T82" fmla="*/ 138 w 906"/>
                    <a:gd name="T83" fmla="*/ 834 h 921"/>
                    <a:gd name="T84" fmla="*/ 108 w 906"/>
                    <a:gd name="T85" fmla="*/ 825 h 921"/>
                    <a:gd name="T86" fmla="*/ 94 w 906"/>
                    <a:gd name="T87" fmla="*/ 840 h 921"/>
                    <a:gd name="T88" fmla="*/ 69 w 906"/>
                    <a:gd name="T89" fmla="*/ 890 h 921"/>
                    <a:gd name="T90" fmla="*/ 23 w 906"/>
                    <a:gd name="T91" fmla="*/ 819 h 921"/>
                    <a:gd name="T92" fmla="*/ 78 w 906"/>
                    <a:gd name="T93" fmla="*/ 770 h 921"/>
                    <a:gd name="T94" fmla="*/ 194 w 906"/>
                    <a:gd name="T95" fmla="*/ 700 h 921"/>
                    <a:gd name="T96" fmla="*/ 330 w 906"/>
                    <a:gd name="T97" fmla="*/ 624 h 921"/>
                    <a:gd name="T98" fmla="*/ 420 w 906"/>
                    <a:gd name="T99" fmla="*/ 521 h 921"/>
                    <a:gd name="T100" fmla="*/ 486 w 906"/>
                    <a:gd name="T101" fmla="*/ 382 h 921"/>
                    <a:gd name="T102" fmla="*/ 593 w 906"/>
                    <a:gd name="T103" fmla="*/ 302 h 921"/>
                    <a:gd name="T104" fmla="*/ 720 w 906"/>
                    <a:gd name="T105" fmla="*/ 212 h 921"/>
                    <a:gd name="T106" fmla="*/ 754 w 906"/>
                    <a:gd name="T107" fmla="*/ 46 h 921"/>
                    <a:gd name="T108" fmla="*/ 830 w 906"/>
                    <a:gd name="T109" fmla="*/ 21 h 921"/>
                    <a:gd name="T110" fmla="*/ 836 w 906"/>
                    <a:gd name="T111" fmla="*/ 66 h 921"/>
                    <a:gd name="T112" fmla="*/ 858 w 906"/>
                    <a:gd name="T113" fmla="*/ 95 h 921"/>
                    <a:gd name="T114" fmla="*/ 903 w 906"/>
                    <a:gd name="T115" fmla="*/ 118 h 921"/>
                    <a:gd name="T116" fmla="*/ 895 w 906"/>
                    <a:gd name="T117" fmla="*/ 156 h 921"/>
                    <a:gd name="T118" fmla="*/ 844 w 906"/>
                    <a:gd name="T119" fmla="*/ 172 h 921"/>
                    <a:gd name="T120" fmla="*/ 815 w 906"/>
                    <a:gd name="T121" fmla="*/ 258 h 921"/>
                    <a:gd name="T122" fmla="*/ 809 w 906"/>
                    <a:gd name="T123" fmla="*/ 307 h 921"/>
                    <a:gd name="T124" fmla="*/ 819 w 906"/>
                    <a:gd name="T125" fmla="*/ 351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6" h="921">
                      <a:moveTo>
                        <a:pt x="330" y="246"/>
                      </a:moveTo>
                      <a:lnTo>
                        <a:pt x="333" y="252"/>
                      </a:lnTo>
                      <a:lnTo>
                        <a:pt x="336" y="252"/>
                      </a:lnTo>
                      <a:lnTo>
                        <a:pt x="339" y="244"/>
                      </a:lnTo>
                      <a:lnTo>
                        <a:pt x="354" y="245"/>
                      </a:lnTo>
                      <a:lnTo>
                        <a:pt x="371" y="240"/>
                      </a:lnTo>
                      <a:lnTo>
                        <a:pt x="385" y="241"/>
                      </a:lnTo>
                      <a:lnTo>
                        <a:pt x="385" y="261"/>
                      </a:lnTo>
                      <a:lnTo>
                        <a:pt x="381" y="271"/>
                      </a:lnTo>
                      <a:lnTo>
                        <a:pt x="365" y="297"/>
                      </a:lnTo>
                      <a:lnTo>
                        <a:pt x="360" y="307"/>
                      </a:lnTo>
                      <a:lnTo>
                        <a:pt x="355" y="326"/>
                      </a:lnTo>
                      <a:lnTo>
                        <a:pt x="350" y="335"/>
                      </a:lnTo>
                      <a:lnTo>
                        <a:pt x="304" y="366"/>
                      </a:lnTo>
                      <a:lnTo>
                        <a:pt x="261" y="382"/>
                      </a:lnTo>
                      <a:lnTo>
                        <a:pt x="253" y="382"/>
                      </a:lnTo>
                      <a:lnTo>
                        <a:pt x="248" y="382"/>
                      </a:lnTo>
                      <a:lnTo>
                        <a:pt x="244" y="380"/>
                      </a:lnTo>
                      <a:lnTo>
                        <a:pt x="241" y="376"/>
                      </a:lnTo>
                      <a:lnTo>
                        <a:pt x="240" y="371"/>
                      </a:lnTo>
                      <a:lnTo>
                        <a:pt x="241" y="366"/>
                      </a:lnTo>
                      <a:lnTo>
                        <a:pt x="244" y="364"/>
                      </a:lnTo>
                      <a:lnTo>
                        <a:pt x="264" y="360"/>
                      </a:lnTo>
                      <a:lnTo>
                        <a:pt x="269" y="356"/>
                      </a:lnTo>
                      <a:lnTo>
                        <a:pt x="270" y="350"/>
                      </a:lnTo>
                      <a:lnTo>
                        <a:pt x="270" y="327"/>
                      </a:lnTo>
                      <a:lnTo>
                        <a:pt x="275" y="319"/>
                      </a:lnTo>
                      <a:lnTo>
                        <a:pt x="288" y="304"/>
                      </a:lnTo>
                      <a:lnTo>
                        <a:pt x="293" y="296"/>
                      </a:lnTo>
                      <a:lnTo>
                        <a:pt x="281" y="280"/>
                      </a:lnTo>
                      <a:lnTo>
                        <a:pt x="254" y="290"/>
                      </a:lnTo>
                      <a:lnTo>
                        <a:pt x="248" y="275"/>
                      </a:lnTo>
                      <a:lnTo>
                        <a:pt x="248" y="264"/>
                      </a:lnTo>
                      <a:lnTo>
                        <a:pt x="249" y="252"/>
                      </a:lnTo>
                      <a:lnTo>
                        <a:pt x="251" y="242"/>
                      </a:lnTo>
                      <a:lnTo>
                        <a:pt x="256" y="234"/>
                      </a:lnTo>
                      <a:lnTo>
                        <a:pt x="273" y="210"/>
                      </a:lnTo>
                      <a:lnTo>
                        <a:pt x="279" y="194"/>
                      </a:lnTo>
                      <a:lnTo>
                        <a:pt x="286" y="186"/>
                      </a:lnTo>
                      <a:lnTo>
                        <a:pt x="294" y="181"/>
                      </a:lnTo>
                      <a:lnTo>
                        <a:pt x="298" y="175"/>
                      </a:lnTo>
                      <a:lnTo>
                        <a:pt x="316" y="156"/>
                      </a:lnTo>
                      <a:lnTo>
                        <a:pt x="326" y="149"/>
                      </a:lnTo>
                      <a:lnTo>
                        <a:pt x="343" y="119"/>
                      </a:lnTo>
                      <a:lnTo>
                        <a:pt x="346" y="116"/>
                      </a:lnTo>
                      <a:lnTo>
                        <a:pt x="351" y="115"/>
                      </a:lnTo>
                      <a:lnTo>
                        <a:pt x="361" y="114"/>
                      </a:lnTo>
                      <a:lnTo>
                        <a:pt x="364" y="116"/>
                      </a:lnTo>
                      <a:lnTo>
                        <a:pt x="363" y="122"/>
                      </a:lnTo>
                      <a:lnTo>
                        <a:pt x="359" y="156"/>
                      </a:lnTo>
                      <a:lnTo>
                        <a:pt x="350" y="186"/>
                      </a:lnTo>
                      <a:lnTo>
                        <a:pt x="333" y="227"/>
                      </a:lnTo>
                      <a:lnTo>
                        <a:pt x="330" y="236"/>
                      </a:lnTo>
                      <a:lnTo>
                        <a:pt x="330" y="246"/>
                      </a:lnTo>
                      <a:close/>
                      <a:moveTo>
                        <a:pt x="645" y="55"/>
                      </a:moveTo>
                      <a:lnTo>
                        <a:pt x="642" y="53"/>
                      </a:lnTo>
                      <a:lnTo>
                        <a:pt x="646" y="48"/>
                      </a:lnTo>
                      <a:lnTo>
                        <a:pt x="646" y="46"/>
                      </a:lnTo>
                      <a:lnTo>
                        <a:pt x="645" y="44"/>
                      </a:lnTo>
                      <a:lnTo>
                        <a:pt x="649" y="41"/>
                      </a:lnTo>
                      <a:lnTo>
                        <a:pt x="651" y="39"/>
                      </a:lnTo>
                      <a:lnTo>
                        <a:pt x="655" y="31"/>
                      </a:lnTo>
                      <a:lnTo>
                        <a:pt x="657" y="31"/>
                      </a:lnTo>
                      <a:lnTo>
                        <a:pt x="657" y="29"/>
                      </a:lnTo>
                      <a:lnTo>
                        <a:pt x="660" y="27"/>
                      </a:lnTo>
                      <a:lnTo>
                        <a:pt x="660" y="36"/>
                      </a:lnTo>
                      <a:lnTo>
                        <a:pt x="659" y="40"/>
                      </a:lnTo>
                      <a:lnTo>
                        <a:pt x="654" y="50"/>
                      </a:lnTo>
                      <a:lnTo>
                        <a:pt x="651" y="51"/>
                      </a:lnTo>
                      <a:lnTo>
                        <a:pt x="646" y="55"/>
                      </a:lnTo>
                      <a:lnTo>
                        <a:pt x="645" y="55"/>
                      </a:lnTo>
                      <a:close/>
                      <a:moveTo>
                        <a:pt x="848" y="371"/>
                      </a:moveTo>
                      <a:lnTo>
                        <a:pt x="831" y="391"/>
                      </a:lnTo>
                      <a:lnTo>
                        <a:pt x="824" y="400"/>
                      </a:lnTo>
                      <a:lnTo>
                        <a:pt x="795" y="442"/>
                      </a:lnTo>
                      <a:lnTo>
                        <a:pt x="776" y="464"/>
                      </a:lnTo>
                      <a:lnTo>
                        <a:pt x="773" y="470"/>
                      </a:lnTo>
                      <a:lnTo>
                        <a:pt x="770" y="476"/>
                      </a:lnTo>
                      <a:lnTo>
                        <a:pt x="771" y="481"/>
                      </a:lnTo>
                      <a:lnTo>
                        <a:pt x="778" y="493"/>
                      </a:lnTo>
                      <a:lnTo>
                        <a:pt x="779" y="501"/>
                      </a:lnTo>
                      <a:lnTo>
                        <a:pt x="780" y="524"/>
                      </a:lnTo>
                      <a:lnTo>
                        <a:pt x="779" y="530"/>
                      </a:lnTo>
                      <a:lnTo>
                        <a:pt x="775" y="531"/>
                      </a:lnTo>
                      <a:lnTo>
                        <a:pt x="764" y="529"/>
                      </a:lnTo>
                      <a:lnTo>
                        <a:pt x="759" y="530"/>
                      </a:lnTo>
                      <a:lnTo>
                        <a:pt x="749" y="532"/>
                      </a:lnTo>
                      <a:lnTo>
                        <a:pt x="744" y="532"/>
                      </a:lnTo>
                      <a:lnTo>
                        <a:pt x="725" y="531"/>
                      </a:lnTo>
                      <a:lnTo>
                        <a:pt x="719" y="535"/>
                      </a:lnTo>
                      <a:lnTo>
                        <a:pt x="715" y="539"/>
                      </a:lnTo>
                      <a:lnTo>
                        <a:pt x="710" y="554"/>
                      </a:lnTo>
                      <a:lnTo>
                        <a:pt x="705" y="555"/>
                      </a:lnTo>
                      <a:lnTo>
                        <a:pt x="693" y="552"/>
                      </a:lnTo>
                      <a:lnTo>
                        <a:pt x="688" y="552"/>
                      </a:lnTo>
                      <a:lnTo>
                        <a:pt x="663" y="560"/>
                      </a:lnTo>
                      <a:lnTo>
                        <a:pt x="648" y="560"/>
                      </a:lnTo>
                      <a:lnTo>
                        <a:pt x="640" y="564"/>
                      </a:lnTo>
                      <a:lnTo>
                        <a:pt x="635" y="569"/>
                      </a:lnTo>
                      <a:lnTo>
                        <a:pt x="633" y="575"/>
                      </a:lnTo>
                      <a:lnTo>
                        <a:pt x="631" y="580"/>
                      </a:lnTo>
                      <a:lnTo>
                        <a:pt x="633" y="585"/>
                      </a:lnTo>
                      <a:lnTo>
                        <a:pt x="635" y="589"/>
                      </a:lnTo>
                      <a:lnTo>
                        <a:pt x="638" y="595"/>
                      </a:lnTo>
                      <a:lnTo>
                        <a:pt x="640" y="600"/>
                      </a:lnTo>
                      <a:lnTo>
                        <a:pt x="640" y="607"/>
                      </a:lnTo>
                      <a:lnTo>
                        <a:pt x="634" y="636"/>
                      </a:lnTo>
                      <a:lnTo>
                        <a:pt x="633" y="642"/>
                      </a:lnTo>
                      <a:lnTo>
                        <a:pt x="620" y="665"/>
                      </a:lnTo>
                      <a:lnTo>
                        <a:pt x="619" y="672"/>
                      </a:lnTo>
                      <a:lnTo>
                        <a:pt x="620" y="679"/>
                      </a:lnTo>
                      <a:lnTo>
                        <a:pt x="625" y="687"/>
                      </a:lnTo>
                      <a:lnTo>
                        <a:pt x="628" y="690"/>
                      </a:lnTo>
                      <a:lnTo>
                        <a:pt x="631" y="690"/>
                      </a:lnTo>
                      <a:lnTo>
                        <a:pt x="635" y="689"/>
                      </a:lnTo>
                      <a:lnTo>
                        <a:pt x="639" y="689"/>
                      </a:lnTo>
                      <a:lnTo>
                        <a:pt x="640" y="692"/>
                      </a:lnTo>
                      <a:lnTo>
                        <a:pt x="649" y="711"/>
                      </a:lnTo>
                      <a:lnTo>
                        <a:pt x="651" y="715"/>
                      </a:lnTo>
                      <a:lnTo>
                        <a:pt x="651" y="721"/>
                      </a:lnTo>
                      <a:lnTo>
                        <a:pt x="650" y="727"/>
                      </a:lnTo>
                      <a:lnTo>
                        <a:pt x="650" y="740"/>
                      </a:lnTo>
                      <a:lnTo>
                        <a:pt x="653" y="766"/>
                      </a:lnTo>
                      <a:lnTo>
                        <a:pt x="653" y="772"/>
                      </a:lnTo>
                      <a:lnTo>
                        <a:pt x="649" y="785"/>
                      </a:lnTo>
                      <a:lnTo>
                        <a:pt x="648" y="805"/>
                      </a:lnTo>
                      <a:lnTo>
                        <a:pt x="643" y="814"/>
                      </a:lnTo>
                      <a:lnTo>
                        <a:pt x="636" y="811"/>
                      </a:lnTo>
                      <a:lnTo>
                        <a:pt x="628" y="809"/>
                      </a:lnTo>
                      <a:lnTo>
                        <a:pt x="624" y="806"/>
                      </a:lnTo>
                      <a:lnTo>
                        <a:pt x="619" y="791"/>
                      </a:lnTo>
                      <a:lnTo>
                        <a:pt x="618" y="789"/>
                      </a:lnTo>
                      <a:lnTo>
                        <a:pt x="609" y="781"/>
                      </a:lnTo>
                      <a:lnTo>
                        <a:pt x="603" y="774"/>
                      </a:lnTo>
                      <a:lnTo>
                        <a:pt x="599" y="767"/>
                      </a:lnTo>
                      <a:lnTo>
                        <a:pt x="594" y="766"/>
                      </a:lnTo>
                      <a:lnTo>
                        <a:pt x="589" y="767"/>
                      </a:lnTo>
                      <a:lnTo>
                        <a:pt x="585" y="772"/>
                      </a:lnTo>
                      <a:lnTo>
                        <a:pt x="581" y="781"/>
                      </a:lnTo>
                      <a:lnTo>
                        <a:pt x="578" y="786"/>
                      </a:lnTo>
                      <a:lnTo>
                        <a:pt x="570" y="792"/>
                      </a:lnTo>
                      <a:lnTo>
                        <a:pt x="546" y="800"/>
                      </a:lnTo>
                      <a:lnTo>
                        <a:pt x="543" y="802"/>
                      </a:lnTo>
                      <a:lnTo>
                        <a:pt x="540" y="807"/>
                      </a:lnTo>
                      <a:lnTo>
                        <a:pt x="540" y="822"/>
                      </a:lnTo>
                      <a:lnTo>
                        <a:pt x="541" y="830"/>
                      </a:lnTo>
                      <a:lnTo>
                        <a:pt x="543" y="835"/>
                      </a:lnTo>
                      <a:lnTo>
                        <a:pt x="540" y="839"/>
                      </a:lnTo>
                      <a:lnTo>
                        <a:pt x="526" y="844"/>
                      </a:lnTo>
                      <a:lnTo>
                        <a:pt x="523" y="847"/>
                      </a:lnTo>
                      <a:lnTo>
                        <a:pt x="523" y="851"/>
                      </a:lnTo>
                      <a:lnTo>
                        <a:pt x="520" y="865"/>
                      </a:lnTo>
                      <a:lnTo>
                        <a:pt x="518" y="869"/>
                      </a:lnTo>
                      <a:lnTo>
                        <a:pt x="513" y="872"/>
                      </a:lnTo>
                      <a:lnTo>
                        <a:pt x="490" y="881"/>
                      </a:lnTo>
                      <a:lnTo>
                        <a:pt x="485" y="885"/>
                      </a:lnTo>
                      <a:lnTo>
                        <a:pt x="481" y="897"/>
                      </a:lnTo>
                      <a:lnTo>
                        <a:pt x="479" y="902"/>
                      </a:lnTo>
                      <a:lnTo>
                        <a:pt x="474" y="907"/>
                      </a:lnTo>
                      <a:lnTo>
                        <a:pt x="464" y="911"/>
                      </a:lnTo>
                      <a:lnTo>
                        <a:pt x="454" y="912"/>
                      </a:lnTo>
                      <a:lnTo>
                        <a:pt x="445" y="912"/>
                      </a:lnTo>
                      <a:lnTo>
                        <a:pt x="428" y="921"/>
                      </a:lnTo>
                      <a:lnTo>
                        <a:pt x="423" y="905"/>
                      </a:lnTo>
                      <a:lnTo>
                        <a:pt x="424" y="875"/>
                      </a:lnTo>
                      <a:lnTo>
                        <a:pt x="423" y="869"/>
                      </a:lnTo>
                      <a:lnTo>
                        <a:pt x="419" y="861"/>
                      </a:lnTo>
                      <a:lnTo>
                        <a:pt x="415" y="857"/>
                      </a:lnTo>
                      <a:lnTo>
                        <a:pt x="398" y="842"/>
                      </a:lnTo>
                      <a:lnTo>
                        <a:pt x="388" y="832"/>
                      </a:lnTo>
                      <a:lnTo>
                        <a:pt x="385" y="825"/>
                      </a:lnTo>
                      <a:lnTo>
                        <a:pt x="379" y="791"/>
                      </a:lnTo>
                      <a:lnTo>
                        <a:pt x="378" y="786"/>
                      </a:lnTo>
                      <a:lnTo>
                        <a:pt x="370" y="781"/>
                      </a:lnTo>
                      <a:lnTo>
                        <a:pt x="363" y="779"/>
                      </a:lnTo>
                      <a:lnTo>
                        <a:pt x="355" y="779"/>
                      </a:lnTo>
                      <a:lnTo>
                        <a:pt x="348" y="779"/>
                      </a:lnTo>
                      <a:lnTo>
                        <a:pt x="325" y="785"/>
                      </a:lnTo>
                      <a:lnTo>
                        <a:pt x="308" y="792"/>
                      </a:lnTo>
                      <a:lnTo>
                        <a:pt x="301" y="797"/>
                      </a:lnTo>
                      <a:lnTo>
                        <a:pt x="296" y="802"/>
                      </a:lnTo>
                      <a:lnTo>
                        <a:pt x="285" y="824"/>
                      </a:lnTo>
                      <a:lnTo>
                        <a:pt x="274" y="829"/>
                      </a:lnTo>
                      <a:lnTo>
                        <a:pt x="270" y="832"/>
                      </a:lnTo>
                      <a:lnTo>
                        <a:pt x="266" y="839"/>
                      </a:lnTo>
                      <a:lnTo>
                        <a:pt x="265" y="844"/>
                      </a:lnTo>
                      <a:lnTo>
                        <a:pt x="264" y="857"/>
                      </a:lnTo>
                      <a:lnTo>
                        <a:pt x="260" y="861"/>
                      </a:lnTo>
                      <a:lnTo>
                        <a:pt x="256" y="862"/>
                      </a:lnTo>
                      <a:lnTo>
                        <a:pt x="249" y="859"/>
                      </a:lnTo>
                      <a:lnTo>
                        <a:pt x="241" y="856"/>
                      </a:lnTo>
                      <a:lnTo>
                        <a:pt x="238" y="857"/>
                      </a:lnTo>
                      <a:lnTo>
                        <a:pt x="226" y="864"/>
                      </a:lnTo>
                      <a:lnTo>
                        <a:pt x="220" y="866"/>
                      </a:lnTo>
                      <a:lnTo>
                        <a:pt x="213" y="867"/>
                      </a:lnTo>
                      <a:lnTo>
                        <a:pt x="195" y="869"/>
                      </a:lnTo>
                      <a:lnTo>
                        <a:pt x="189" y="870"/>
                      </a:lnTo>
                      <a:lnTo>
                        <a:pt x="184" y="874"/>
                      </a:lnTo>
                      <a:lnTo>
                        <a:pt x="178" y="881"/>
                      </a:lnTo>
                      <a:lnTo>
                        <a:pt x="173" y="882"/>
                      </a:lnTo>
                      <a:lnTo>
                        <a:pt x="159" y="874"/>
                      </a:lnTo>
                      <a:lnTo>
                        <a:pt x="158" y="871"/>
                      </a:lnTo>
                      <a:lnTo>
                        <a:pt x="156" y="867"/>
                      </a:lnTo>
                      <a:lnTo>
                        <a:pt x="159" y="855"/>
                      </a:lnTo>
                      <a:lnTo>
                        <a:pt x="158" y="849"/>
                      </a:lnTo>
                      <a:lnTo>
                        <a:pt x="156" y="845"/>
                      </a:lnTo>
                      <a:lnTo>
                        <a:pt x="154" y="841"/>
                      </a:lnTo>
                      <a:lnTo>
                        <a:pt x="150" y="837"/>
                      </a:lnTo>
                      <a:lnTo>
                        <a:pt x="144" y="835"/>
                      </a:lnTo>
                      <a:lnTo>
                        <a:pt x="138" y="834"/>
                      </a:lnTo>
                      <a:lnTo>
                        <a:pt x="131" y="832"/>
                      </a:lnTo>
                      <a:lnTo>
                        <a:pt x="126" y="831"/>
                      </a:lnTo>
                      <a:lnTo>
                        <a:pt x="119" y="827"/>
                      </a:lnTo>
                      <a:lnTo>
                        <a:pt x="114" y="826"/>
                      </a:lnTo>
                      <a:lnTo>
                        <a:pt x="108" y="825"/>
                      </a:lnTo>
                      <a:lnTo>
                        <a:pt x="101" y="826"/>
                      </a:lnTo>
                      <a:lnTo>
                        <a:pt x="99" y="829"/>
                      </a:lnTo>
                      <a:lnTo>
                        <a:pt x="95" y="831"/>
                      </a:lnTo>
                      <a:lnTo>
                        <a:pt x="94" y="836"/>
                      </a:lnTo>
                      <a:lnTo>
                        <a:pt x="94" y="840"/>
                      </a:lnTo>
                      <a:lnTo>
                        <a:pt x="94" y="850"/>
                      </a:lnTo>
                      <a:lnTo>
                        <a:pt x="93" y="856"/>
                      </a:lnTo>
                      <a:lnTo>
                        <a:pt x="89" y="862"/>
                      </a:lnTo>
                      <a:lnTo>
                        <a:pt x="75" y="885"/>
                      </a:lnTo>
                      <a:lnTo>
                        <a:pt x="69" y="890"/>
                      </a:lnTo>
                      <a:lnTo>
                        <a:pt x="64" y="892"/>
                      </a:lnTo>
                      <a:lnTo>
                        <a:pt x="48" y="899"/>
                      </a:lnTo>
                      <a:lnTo>
                        <a:pt x="31" y="830"/>
                      </a:lnTo>
                      <a:lnTo>
                        <a:pt x="28" y="824"/>
                      </a:lnTo>
                      <a:lnTo>
                        <a:pt x="23" y="819"/>
                      </a:lnTo>
                      <a:lnTo>
                        <a:pt x="9" y="811"/>
                      </a:lnTo>
                      <a:lnTo>
                        <a:pt x="0" y="801"/>
                      </a:lnTo>
                      <a:lnTo>
                        <a:pt x="0" y="799"/>
                      </a:lnTo>
                      <a:lnTo>
                        <a:pt x="28" y="792"/>
                      </a:lnTo>
                      <a:lnTo>
                        <a:pt x="78" y="770"/>
                      </a:lnTo>
                      <a:lnTo>
                        <a:pt x="113" y="757"/>
                      </a:lnTo>
                      <a:lnTo>
                        <a:pt x="154" y="730"/>
                      </a:lnTo>
                      <a:lnTo>
                        <a:pt x="176" y="720"/>
                      </a:lnTo>
                      <a:lnTo>
                        <a:pt x="185" y="710"/>
                      </a:lnTo>
                      <a:lnTo>
                        <a:pt x="194" y="700"/>
                      </a:lnTo>
                      <a:lnTo>
                        <a:pt x="220" y="705"/>
                      </a:lnTo>
                      <a:lnTo>
                        <a:pt x="238" y="701"/>
                      </a:lnTo>
                      <a:lnTo>
                        <a:pt x="253" y="693"/>
                      </a:lnTo>
                      <a:lnTo>
                        <a:pt x="285" y="670"/>
                      </a:lnTo>
                      <a:lnTo>
                        <a:pt x="330" y="624"/>
                      </a:lnTo>
                      <a:lnTo>
                        <a:pt x="376" y="595"/>
                      </a:lnTo>
                      <a:lnTo>
                        <a:pt x="386" y="582"/>
                      </a:lnTo>
                      <a:lnTo>
                        <a:pt x="394" y="566"/>
                      </a:lnTo>
                      <a:lnTo>
                        <a:pt x="405" y="545"/>
                      </a:lnTo>
                      <a:lnTo>
                        <a:pt x="420" y="521"/>
                      </a:lnTo>
                      <a:lnTo>
                        <a:pt x="443" y="500"/>
                      </a:lnTo>
                      <a:lnTo>
                        <a:pt x="455" y="484"/>
                      </a:lnTo>
                      <a:lnTo>
                        <a:pt x="463" y="465"/>
                      </a:lnTo>
                      <a:lnTo>
                        <a:pt x="480" y="401"/>
                      </a:lnTo>
                      <a:lnTo>
                        <a:pt x="486" y="382"/>
                      </a:lnTo>
                      <a:lnTo>
                        <a:pt x="499" y="367"/>
                      </a:lnTo>
                      <a:lnTo>
                        <a:pt x="529" y="342"/>
                      </a:lnTo>
                      <a:lnTo>
                        <a:pt x="580" y="306"/>
                      </a:lnTo>
                      <a:lnTo>
                        <a:pt x="584" y="302"/>
                      </a:lnTo>
                      <a:lnTo>
                        <a:pt x="593" y="302"/>
                      </a:lnTo>
                      <a:lnTo>
                        <a:pt x="610" y="300"/>
                      </a:lnTo>
                      <a:lnTo>
                        <a:pt x="643" y="285"/>
                      </a:lnTo>
                      <a:lnTo>
                        <a:pt x="653" y="277"/>
                      </a:lnTo>
                      <a:lnTo>
                        <a:pt x="679" y="257"/>
                      </a:lnTo>
                      <a:lnTo>
                        <a:pt x="720" y="212"/>
                      </a:lnTo>
                      <a:lnTo>
                        <a:pt x="728" y="202"/>
                      </a:lnTo>
                      <a:lnTo>
                        <a:pt x="730" y="192"/>
                      </a:lnTo>
                      <a:lnTo>
                        <a:pt x="743" y="87"/>
                      </a:lnTo>
                      <a:lnTo>
                        <a:pt x="746" y="68"/>
                      </a:lnTo>
                      <a:lnTo>
                        <a:pt x="754" y="46"/>
                      </a:lnTo>
                      <a:lnTo>
                        <a:pt x="769" y="18"/>
                      </a:lnTo>
                      <a:lnTo>
                        <a:pt x="776" y="0"/>
                      </a:lnTo>
                      <a:lnTo>
                        <a:pt x="783" y="1"/>
                      </a:lnTo>
                      <a:lnTo>
                        <a:pt x="819" y="18"/>
                      </a:lnTo>
                      <a:lnTo>
                        <a:pt x="830" y="21"/>
                      </a:lnTo>
                      <a:lnTo>
                        <a:pt x="835" y="23"/>
                      </a:lnTo>
                      <a:lnTo>
                        <a:pt x="839" y="26"/>
                      </a:lnTo>
                      <a:lnTo>
                        <a:pt x="838" y="40"/>
                      </a:lnTo>
                      <a:lnTo>
                        <a:pt x="838" y="47"/>
                      </a:lnTo>
                      <a:lnTo>
                        <a:pt x="836" y="66"/>
                      </a:lnTo>
                      <a:lnTo>
                        <a:pt x="838" y="75"/>
                      </a:lnTo>
                      <a:lnTo>
                        <a:pt x="841" y="81"/>
                      </a:lnTo>
                      <a:lnTo>
                        <a:pt x="846" y="86"/>
                      </a:lnTo>
                      <a:lnTo>
                        <a:pt x="851" y="91"/>
                      </a:lnTo>
                      <a:lnTo>
                        <a:pt x="858" y="95"/>
                      </a:lnTo>
                      <a:lnTo>
                        <a:pt x="863" y="97"/>
                      </a:lnTo>
                      <a:lnTo>
                        <a:pt x="874" y="97"/>
                      </a:lnTo>
                      <a:lnTo>
                        <a:pt x="880" y="97"/>
                      </a:lnTo>
                      <a:lnTo>
                        <a:pt x="896" y="110"/>
                      </a:lnTo>
                      <a:lnTo>
                        <a:pt x="903" y="118"/>
                      </a:lnTo>
                      <a:lnTo>
                        <a:pt x="905" y="125"/>
                      </a:lnTo>
                      <a:lnTo>
                        <a:pt x="906" y="132"/>
                      </a:lnTo>
                      <a:lnTo>
                        <a:pt x="904" y="143"/>
                      </a:lnTo>
                      <a:lnTo>
                        <a:pt x="900" y="150"/>
                      </a:lnTo>
                      <a:lnTo>
                        <a:pt x="895" y="156"/>
                      </a:lnTo>
                      <a:lnTo>
                        <a:pt x="881" y="167"/>
                      </a:lnTo>
                      <a:lnTo>
                        <a:pt x="875" y="171"/>
                      </a:lnTo>
                      <a:lnTo>
                        <a:pt x="869" y="172"/>
                      </a:lnTo>
                      <a:lnTo>
                        <a:pt x="860" y="173"/>
                      </a:lnTo>
                      <a:lnTo>
                        <a:pt x="844" y="172"/>
                      </a:lnTo>
                      <a:lnTo>
                        <a:pt x="838" y="172"/>
                      </a:lnTo>
                      <a:lnTo>
                        <a:pt x="833" y="176"/>
                      </a:lnTo>
                      <a:lnTo>
                        <a:pt x="829" y="183"/>
                      </a:lnTo>
                      <a:lnTo>
                        <a:pt x="824" y="242"/>
                      </a:lnTo>
                      <a:lnTo>
                        <a:pt x="815" y="258"/>
                      </a:lnTo>
                      <a:lnTo>
                        <a:pt x="814" y="263"/>
                      </a:lnTo>
                      <a:lnTo>
                        <a:pt x="815" y="278"/>
                      </a:lnTo>
                      <a:lnTo>
                        <a:pt x="811" y="290"/>
                      </a:lnTo>
                      <a:lnTo>
                        <a:pt x="810" y="295"/>
                      </a:lnTo>
                      <a:lnTo>
                        <a:pt x="809" y="307"/>
                      </a:lnTo>
                      <a:lnTo>
                        <a:pt x="805" y="318"/>
                      </a:lnTo>
                      <a:lnTo>
                        <a:pt x="804" y="325"/>
                      </a:lnTo>
                      <a:lnTo>
                        <a:pt x="805" y="332"/>
                      </a:lnTo>
                      <a:lnTo>
                        <a:pt x="810" y="341"/>
                      </a:lnTo>
                      <a:lnTo>
                        <a:pt x="819" y="351"/>
                      </a:lnTo>
                      <a:lnTo>
                        <a:pt x="833" y="358"/>
                      </a:lnTo>
                      <a:lnTo>
                        <a:pt x="848" y="371"/>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5" name="Yamagata" descr="{&quot;Key&quot;:&quot;yamagata&quot;,&quot;Name&quot;:&quot;Yamagata&quot;,&quot;Value&quot;:1.0,&quot;Formula&quot;:&quot;&quot;,&quot;Text&quot;:&quot;&quot;,&quot;OfficeApplication&quot;:1,&quot;HasValue&quot;:true}">
                  <a:extLst>
                    <a:ext uri="{FF2B5EF4-FFF2-40B4-BE49-F238E27FC236}">
                      <a16:creationId xmlns:a16="http://schemas.microsoft.com/office/drawing/2014/main" id="{A587D59C-F71C-4658-BE1E-06236A2CB0EB}"/>
                    </a:ext>
                  </a:extLst>
                </p:cNvPr>
                <p:cNvSpPr>
                  <a:spLocks/>
                </p:cNvSpPr>
                <p:nvPr/>
              </p:nvSpPr>
              <p:spPr bwMode="auto">
                <a:xfrm>
                  <a:off x="6802438" y="2663825"/>
                  <a:ext cx="250825" cy="417512"/>
                </a:xfrm>
                <a:custGeom>
                  <a:avLst/>
                  <a:gdLst>
                    <a:gd name="T0" fmla="*/ 414 w 430"/>
                    <a:gd name="T1" fmla="*/ 151 h 714"/>
                    <a:gd name="T2" fmla="*/ 430 w 430"/>
                    <a:gd name="T3" fmla="*/ 185 h 714"/>
                    <a:gd name="T4" fmla="*/ 425 w 430"/>
                    <a:gd name="T5" fmla="*/ 209 h 714"/>
                    <a:gd name="T6" fmla="*/ 423 w 430"/>
                    <a:gd name="T7" fmla="*/ 235 h 714"/>
                    <a:gd name="T8" fmla="*/ 410 w 430"/>
                    <a:gd name="T9" fmla="*/ 244 h 714"/>
                    <a:gd name="T10" fmla="*/ 397 w 430"/>
                    <a:gd name="T11" fmla="*/ 250 h 714"/>
                    <a:gd name="T12" fmla="*/ 403 w 430"/>
                    <a:gd name="T13" fmla="*/ 274 h 714"/>
                    <a:gd name="T14" fmla="*/ 407 w 430"/>
                    <a:gd name="T15" fmla="*/ 313 h 714"/>
                    <a:gd name="T16" fmla="*/ 418 w 430"/>
                    <a:gd name="T17" fmla="*/ 335 h 714"/>
                    <a:gd name="T18" fmla="*/ 407 w 430"/>
                    <a:gd name="T19" fmla="*/ 371 h 714"/>
                    <a:gd name="T20" fmla="*/ 392 w 430"/>
                    <a:gd name="T21" fmla="*/ 390 h 714"/>
                    <a:gd name="T22" fmla="*/ 377 w 430"/>
                    <a:gd name="T23" fmla="*/ 422 h 714"/>
                    <a:gd name="T24" fmla="*/ 368 w 430"/>
                    <a:gd name="T25" fmla="*/ 447 h 714"/>
                    <a:gd name="T26" fmla="*/ 367 w 430"/>
                    <a:gd name="T27" fmla="*/ 484 h 714"/>
                    <a:gd name="T28" fmla="*/ 348 w 430"/>
                    <a:gd name="T29" fmla="*/ 515 h 714"/>
                    <a:gd name="T30" fmla="*/ 327 w 430"/>
                    <a:gd name="T31" fmla="*/ 537 h 714"/>
                    <a:gd name="T32" fmla="*/ 300 w 430"/>
                    <a:gd name="T33" fmla="*/ 544 h 714"/>
                    <a:gd name="T34" fmla="*/ 290 w 430"/>
                    <a:gd name="T35" fmla="*/ 591 h 714"/>
                    <a:gd name="T36" fmla="*/ 289 w 430"/>
                    <a:gd name="T37" fmla="*/ 637 h 714"/>
                    <a:gd name="T38" fmla="*/ 290 w 430"/>
                    <a:gd name="T39" fmla="*/ 685 h 714"/>
                    <a:gd name="T40" fmla="*/ 268 w 430"/>
                    <a:gd name="T41" fmla="*/ 705 h 714"/>
                    <a:gd name="T42" fmla="*/ 252 w 430"/>
                    <a:gd name="T43" fmla="*/ 704 h 714"/>
                    <a:gd name="T44" fmla="*/ 235 w 430"/>
                    <a:gd name="T45" fmla="*/ 712 h 714"/>
                    <a:gd name="T46" fmla="*/ 220 w 430"/>
                    <a:gd name="T47" fmla="*/ 711 h 714"/>
                    <a:gd name="T48" fmla="*/ 202 w 430"/>
                    <a:gd name="T49" fmla="*/ 697 h 714"/>
                    <a:gd name="T50" fmla="*/ 182 w 430"/>
                    <a:gd name="T51" fmla="*/ 699 h 714"/>
                    <a:gd name="T52" fmla="*/ 168 w 430"/>
                    <a:gd name="T53" fmla="*/ 689 h 714"/>
                    <a:gd name="T54" fmla="*/ 149 w 430"/>
                    <a:gd name="T55" fmla="*/ 667 h 714"/>
                    <a:gd name="T56" fmla="*/ 133 w 430"/>
                    <a:gd name="T57" fmla="*/ 672 h 714"/>
                    <a:gd name="T58" fmla="*/ 104 w 430"/>
                    <a:gd name="T59" fmla="*/ 671 h 714"/>
                    <a:gd name="T60" fmla="*/ 88 w 430"/>
                    <a:gd name="T61" fmla="*/ 666 h 714"/>
                    <a:gd name="T62" fmla="*/ 43 w 430"/>
                    <a:gd name="T63" fmla="*/ 645 h 714"/>
                    <a:gd name="T64" fmla="*/ 28 w 430"/>
                    <a:gd name="T65" fmla="*/ 619 h 714"/>
                    <a:gd name="T66" fmla="*/ 34 w 430"/>
                    <a:gd name="T67" fmla="*/ 589 h 714"/>
                    <a:gd name="T68" fmla="*/ 38 w 430"/>
                    <a:gd name="T69" fmla="*/ 557 h 714"/>
                    <a:gd name="T70" fmla="*/ 53 w 430"/>
                    <a:gd name="T71" fmla="*/ 477 h 714"/>
                    <a:gd name="T72" fmla="*/ 68 w 430"/>
                    <a:gd name="T73" fmla="*/ 466 h 714"/>
                    <a:gd name="T74" fmla="*/ 99 w 430"/>
                    <a:gd name="T75" fmla="*/ 465 h 714"/>
                    <a:gd name="T76" fmla="*/ 124 w 430"/>
                    <a:gd name="T77" fmla="*/ 444 h 714"/>
                    <a:gd name="T78" fmla="*/ 129 w 430"/>
                    <a:gd name="T79" fmla="*/ 419 h 714"/>
                    <a:gd name="T80" fmla="*/ 104 w 430"/>
                    <a:gd name="T81" fmla="*/ 391 h 714"/>
                    <a:gd name="T82" fmla="*/ 82 w 430"/>
                    <a:gd name="T83" fmla="*/ 389 h 714"/>
                    <a:gd name="T84" fmla="*/ 65 w 430"/>
                    <a:gd name="T85" fmla="*/ 375 h 714"/>
                    <a:gd name="T86" fmla="*/ 62 w 430"/>
                    <a:gd name="T87" fmla="*/ 341 h 714"/>
                    <a:gd name="T88" fmla="*/ 59 w 430"/>
                    <a:gd name="T89" fmla="*/ 317 h 714"/>
                    <a:gd name="T90" fmla="*/ 7 w 430"/>
                    <a:gd name="T91" fmla="*/ 295 h 714"/>
                    <a:gd name="T92" fmla="*/ 22 w 430"/>
                    <a:gd name="T93" fmla="*/ 241 h 714"/>
                    <a:gd name="T94" fmla="*/ 80 w 430"/>
                    <a:gd name="T95" fmla="*/ 174 h 714"/>
                    <a:gd name="T96" fmla="*/ 125 w 430"/>
                    <a:gd name="T97" fmla="*/ 42 h 714"/>
                    <a:gd name="T98" fmla="*/ 134 w 430"/>
                    <a:gd name="T99" fmla="*/ 0 h 714"/>
                    <a:gd name="T100" fmla="*/ 175 w 430"/>
                    <a:gd name="T101" fmla="*/ 6 h 714"/>
                    <a:gd name="T102" fmla="*/ 192 w 430"/>
                    <a:gd name="T103" fmla="*/ 4 h 714"/>
                    <a:gd name="T104" fmla="*/ 224 w 430"/>
                    <a:gd name="T105" fmla="*/ 30 h 714"/>
                    <a:gd name="T106" fmla="*/ 248 w 430"/>
                    <a:gd name="T107" fmla="*/ 36 h 714"/>
                    <a:gd name="T108" fmla="*/ 260 w 430"/>
                    <a:gd name="T109" fmla="*/ 45 h 714"/>
                    <a:gd name="T110" fmla="*/ 310 w 430"/>
                    <a:gd name="T111" fmla="*/ 55 h 714"/>
                    <a:gd name="T112" fmla="*/ 352 w 430"/>
                    <a:gd name="T113" fmla="*/ 78 h 714"/>
                    <a:gd name="T114" fmla="*/ 375 w 430"/>
                    <a:gd name="T115" fmla="*/ 115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0" h="714">
                      <a:moveTo>
                        <a:pt x="397" y="120"/>
                      </a:moveTo>
                      <a:lnTo>
                        <a:pt x="400" y="133"/>
                      </a:lnTo>
                      <a:lnTo>
                        <a:pt x="414" y="151"/>
                      </a:lnTo>
                      <a:lnTo>
                        <a:pt x="422" y="168"/>
                      </a:lnTo>
                      <a:lnTo>
                        <a:pt x="429" y="180"/>
                      </a:lnTo>
                      <a:lnTo>
                        <a:pt x="430" y="185"/>
                      </a:lnTo>
                      <a:lnTo>
                        <a:pt x="430" y="190"/>
                      </a:lnTo>
                      <a:lnTo>
                        <a:pt x="425" y="198"/>
                      </a:lnTo>
                      <a:lnTo>
                        <a:pt x="425" y="209"/>
                      </a:lnTo>
                      <a:lnTo>
                        <a:pt x="425" y="221"/>
                      </a:lnTo>
                      <a:lnTo>
                        <a:pt x="424" y="229"/>
                      </a:lnTo>
                      <a:lnTo>
                        <a:pt x="423" y="235"/>
                      </a:lnTo>
                      <a:lnTo>
                        <a:pt x="419" y="240"/>
                      </a:lnTo>
                      <a:lnTo>
                        <a:pt x="415" y="244"/>
                      </a:lnTo>
                      <a:lnTo>
                        <a:pt x="410" y="244"/>
                      </a:lnTo>
                      <a:lnTo>
                        <a:pt x="404" y="242"/>
                      </a:lnTo>
                      <a:lnTo>
                        <a:pt x="399" y="244"/>
                      </a:lnTo>
                      <a:lnTo>
                        <a:pt x="397" y="250"/>
                      </a:lnTo>
                      <a:lnTo>
                        <a:pt x="397" y="256"/>
                      </a:lnTo>
                      <a:lnTo>
                        <a:pt x="398" y="261"/>
                      </a:lnTo>
                      <a:lnTo>
                        <a:pt x="403" y="274"/>
                      </a:lnTo>
                      <a:lnTo>
                        <a:pt x="405" y="282"/>
                      </a:lnTo>
                      <a:lnTo>
                        <a:pt x="405" y="305"/>
                      </a:lnTo>
                      <a:lnTo>
                        <a:pt x="407" y="313"/>
                      </a:lnTo>
                      <a:lnTo>
                        <a:pt x="409" y="319"/>
                      </a:lnTo>
                      <a:lnTo>
                        <a:pt x="417" y="328"/>
                      </a:lnTo>
                      <a:lnTo>
                        <a:pt x="418" y="335"/>
                      </a:lnTo>
                      <a:lnTo>
                        <a:pt x="417" y="341"/>
                      </a:lnTo>
                      <a:lnTo>
                        <a:pt x="412" y="354"/>
                      </a:lnTo>
                      <a:lnTo>
                        <a:pt x="407" y="371"/>
                      </a:lnTo>
                      <a:lnTo>
                        <a:pt x="404" y="376"/>
                      </a:lnTo>
                      <a:lnTo>
                        <a:pt x="400" y="379"/>
                      </a:lnTo>
                      <a:lnTo>
                        <a:pt x="392" y="390"/>
                      </a:lnTo>
                      <a:lnTo>
                        <a:pt x="388" y="402"/>
                      </a:lnTo>
                      <a:lnTo>
                        <a:pt x="384" y="410"/>
                      </a:lnTo>
                      <a:lnTo>
                        <a:pt x="377" y="422"/>
                      </a:lnTo>
                      <a:lnTo>
                        <a:pt x="373" y="429"/>
                      </a:lnTo>
                      <a:lnTo>
                        <a:pt x="370" y="436"/>
                      </a:lnTo>
                      <a:lnTo>
                        <a:pt x="368" y="447"/>
                      </a:lnTo>
                      <a:lnTo>
                        <a:pt x="368" y="466"/>
                      </a:lnTo>
                      <a:lnTo>
                        <a:pt x="368" y="475"/>
                      </a:lnTo>
                      <a:lnTo>
                        <a:pt x="367" y="484"/>
                      </a:lnTo>
                      <a:lnTo>
                        <a:pt x="363" y="495"/>
                      </a:lnTo>
                      <a:lnTo>
                        <a:pt x="359" y="501"/>
                      </a:lnTo>
                      <a:lnTo>
                        <a:pt x="348" y="515"/>
                      </a:lnTo>
                      <a:lnTo>
                        <a:pt x="342" y="526"/>
                      </a:lnTo>
                      <a:lnTo>
                        <a:pt x="334" y="532"/>
                      </a:lnTo>
                      <a:lnTo>
                        <a:pt x="327" y="537"/>
                      </a:lnTo>
                      <a:lnTo>
                        <a:pt x="320" y="540"/>
                      </a:lnTo>
                      <a:lnTo>
                        <a:pt x="307" y="541"/>
                      </a:lnTo>
                      <a:lnTo>
                        <a:pt x="300" y="544"/>
                      </a:lnTo>
                      <a:lnTo>
                        <a:pt x="295" y="550"/>
                      </a:lnTo>
                      <a:lnTo>
                        <a:pt x="293" y="557"/>
                      </a:lnTo>
                      <a:lnTo>
                        <a:pt x="290" y="591"/>
                      </a:lnTo>
                      <a:lnTo>
                        <a:pt x="290" y="611"/>
                      </a:lnTo>
                      <a:lnTo>
                        <a:pt x="289" y="620"/>
                      </a:lnTo>
                      <a:lnTo>
                        <a:pt x="289" y="637"/>
                      </a:lnTo>
                      <a:lnTo>
                        <a:pt x="289" y="659"/>
                      </a:lnTo>
                      <a:lnTo>
                        <a:pt x="292" y="675"/>
                      </a:lnTo>
                      <a:lnTo>
                        <a:pt x="290" y="685"/>
                      </a:lnTo>
                      <a:lnTo>
                        <a:pt x="287" y="691"/>
                      </a:lnTo>
                      <a:lnTo>
                        <a:pt x="275" y="701"/>
                      </a:lnTo>
                      <a:lnTo>
                        <a:pt x="268" y="705"/>
                      </a:lnTo>
                      <a:lnTo>
                        <a:pt x="264" y="706"/>
                      </a:lnTo>
                      <a:lnTo>
                        <a:pt x="255" y="705"/>
                      </a:lnTo>
                      <a:lnTo>
                        <a:pt x="252" y="704"/>
                      </a:lnTo>
                      <a:lnTo>
                        <a:pt x="247" y="704"/>
                      </a:lnTo>
                      <a:lnTo>
                        <a:pt x="242" y="706"/>
                      </a:lnTo>
                      <a:lnTo>
                        <a:pt x="235" y="712"/>
                      </a:lnTo>
                      <a:lnTo>
                        <a:pt x="229" y="714"/>
                      </a:lnTo>
                      <a:lnTo>
                        <a:pt x="224" y="714"/>
                      </a:lnTo>
                      <a:lnTo>
                        <a:pt x="220" y="711"/>
                      </a:lnTo>
                      <a:lnTo>
                        <a:pt x="212" y="702"/>
                      </a:lnTo>
                      <a:lnTo>
                        <a:pt x="207" y="699"/>
                      </a:lnTo>
                      <a:lnTo>
                        <a:pt x="202" y="697"/>
                      </a:lnTo>
                      <a:lnTo>
                        <a:pt x="197" y="696"/>
                      </a:lnTo>
                      <a:lnTo>
                        <a:pt x="185" y="697"/>
                      </a:lnTo>
                      <a:lnTo>
                        <a:pt x="182" y="699"/>
                      </a:lnTo>
                      <a:lnTo>
                        <a:pt x="178" y="697"/>
                      </a:lnTo>
                      <a:lnTo>
                        <a:pt x="174" y="694"/>
                      </a:lnTo>
                      <a:lnTo>
                        <a:pt x="168" y="689"/>
                      </a:lnTo>
                      <a:lnTo>
                        <a:pt x="160" y="675"/>
                      </a:lnTo>
                      <a:lnTo>
                        <a:pt x="155" y="669"/>
                      </a:lnTo>
                      <a:lnTo>
                        <a:pt x="149" y="667"/>
                      </a:lnTo>
                      <a:lnTo>
                        <a:pt x="144" y="671"/>
                      </a:lnTo>
                      <a:lnTo>
                        <a:pt x="138" y="672"/>
                      </a:lnTo>
                      <a:lnTo>
                        <a:pt x="133" y="672"/>
                      </a:lnTo>
                      <a:lnTo>
                        <a:pt x="122" y="669"/>
                      </a:lnTo>
                      <a:lnTo>
                        <a:pt x="112" y="669"/>
                      </a:lnTo>
                      <a:lnTo>
                        <a:pt x="104" y="671"/>
                      </a:lnTo>
                      <a:lnTo>
                        <a:pt x="98" y="672"/>
                      </a:lnTo>
                      <a:lnTo>
                        <a:pt x="92" y="670"/>
                      </a:lnTo>
                      <a:lnTo>
                        <a:pt x="88" y="666"/>
                      </a:lnTo>
                      <a:lnTo>
                        <a:pt x="72" y="665"/>
                      </a:lnTo>
                      <a:lnTo>
                        <a:pt x="57" y="652"/>
                      </a:lnTo>
                      <a:lnTo>
                        <a:pt x="43" y="645"/>
                      </a:lnTo>
                      <a:lnTo>
                        <a:pt x="34" y="635"/>
                      </a:lnTo>
                      <a:lnTo>
                        <a:pt x="29" y="626"/>
                      </a:lnTo>
                      <a:lnTo>
                        <a:pt x="28" y="619"/>
                      </a:lnTo>
                      <a:lnTo>
                        <a:pt x="29" y="612"/>
                      </a:lnTo>
                      <a:lnTo>
                        <a:pt x="33" y="601"/>
                      </a:lnTo>
                      <a:lnTo>
                        <a:pt x="34" y="589"/>
                      </a:lnTo>
                      <a:lnTo>
                        <a:pt x="35" y="584"/>
                      </a:lnTo>
                      <a:lnTo>
                        <a:pt x="39" y="572"/>
                      </a:lnTo>
                      <a:lnTo>
                        <a:pt x="38" y="557"/>
                      </a:lnTo>
                      <a:lnTo>
                        <a:pt x="39" y="552"/>
                      </a:lnTo>
                      <a:lnTo>
                        <a:pt x="48" y="536"/>
                      </a:lnTo>
                      <a:lnTo>
                        <a:pt x="53" y="477"/>
                      </a:lnTo>
                      <a:lnTo>
                        <a:pt x="57" y="470"/>
                      </a:lnTo>
                      <a:lnTo>
                        <a:pt x="62" y="466"/>
                      </a:lnTo>
                      <a:lnTo>
                        <a:pt x="68" y="466"/>
                      </a:lnTo>
                      <a:lnTo>
                        <a:pt x="84" y="467"/>
                      </a:lnTo>
                      <a:lnTo>
                        <a:pt x="93" y="466"/>
                      </a:lnTo>
                      <a:lnTo>
                        <a:pt x="99" y="465"/>
                      </a:lnTo>
                      <a:lnTo>
                        <a:pt x="105" y="461"/>
                      </a:lnTo>
                      <a:lnTo>
                        <a:pt x="119" y="450"/>
                      </a:lnTo>
                      <a:lnTo>
                        <a:pt x="124" y="444"/>
                      </a:lnTo>
                      <a:lnTo>
                        <a:pt x="128" y="437"/>
                      </a:lnTo>
                      <a:lnTo>
                        <a:pt x="130" y="426"/>
                      </a:lnTo>
                      <a:lnTo>
                        <a:pt x="129" y="419"/>
                      </a:lnTo>
                      <a:lnTo>
                        <a:pt x="127" y="412"/>
                      </a:lnTo>
                      <a:lnTo>
                        <a:pt x="120" y="404"/>
                      </a:lnTo>
                      <a:lnTo>
                        <a:pt x="104" y="391"/>
                      </a:lnTo>
                      <a:lnTo>
                        <a:pt x="98" y="391"/>
                      </a:lnTo>
                      <a:lnTo>
                        <a:pt x="87" y="391"/>
                      </a:lnTo>
                      <a:lnTo>
                        <a:pt x="82" y="389"/>
                      </a:lnTo>
                      <a:lnTo>
                        <a:pt x="75" y="385"/>
                      </a:lnTo>
                      <a:lnTo>
                        <a:pt x="70" y="380"/>
                      </a:lnTo>
                      <a:lnTo>
                        <a:pt x="65" y="375"/>
                      </a:lnTo>
                      <a:lnTo>
                        <a:pt x="62" y="369"/>
                      </a:lnTo>
                      <a:lnTo>
                        <a:pt x="60" y="360"/>
                      </a:lnTo>
                      <a:lnTo>
                        <a:pt x="62" y="341"/>
                      </a:lnTo>
                      <a:lnTo>
                        <a:pt x="62" y="334"/>
                      </a:lnTo>
                      <a:lnTo>
                        <a:pt x="63" y="320"/>
                      </a:lnTo>
                      <a:lnTo>
                        <a:pt x="59" y="317"/>
                      </a:lnTo>
                      <a:lnTo>
                        <a:pt x="54" y="315"/>
                      </a:lnTo>
                      <a:lnTo>
                        <a:pt x="43" y="312"/>
                      </a:lnTo>
                      <a:lnTo>
                        <a:pt x="7" y="295"/>
                      </a:lnTo>
                      <a:lnTo>
                        <a:pt x="0" y="294"/>
                      </a:lnTo>
                      <a:lnTo>
                        <a:pt x="13" y="262"/>
                      </a:lnTo>
                      <a:lnTo>
                        <a:pt x="22" y="241"/>
                      </a:lnTo>
                      <a:lnTo>
                        <a:pt x="33" y="224"/>
                      </a:lnTo>
                      <a:lnTo>
                        <a:pt x="68" y="191"/>
                      </a:lnTo>
                      <a:lnTo>
                        <a:pt x="80" y="174"/>
                      </a:lnTo>
                      <a:lnTo>
                        <a:pt x="92" y="154"/>
                      </a:lnTo>
                      <a:lnTo>
                        <a:pt x="108" y="90"/>
                      </a:lnTo>
                      <a:lnTo>
                        <a:pt x="125" y="42"/>
                      </a:lnTo>
                      <a:lnTo>
                        <a:pt x="129" y="27"/>
                      </a:lnTo>
                      <a:lnTo>
                        <a:pt x="132" y="9"/>
                      </a:lnTo>
                      <a:lnTo>
                        <a:pt x="134" y="0"/>
                      </a:lnTo>
                      <a:lnTo>
                        <a:pt x="137" y="0"/>
                      </a:lnTo>
                      <a:lnTo>
                        <a:pt x="167" y="9"/>
                      </a:lnTo>
                      <a:lnTo>
                        <a:pt x="175" y="6"/>
                      </a:lnTo>
                      <a:lnTo>
                        <a:pt x="180" y="5"/>
                      </a:lnTo>
                      <a:lnTo>
                        <a:pt x="187" y="2"/>
                      </a:lnTo>
                      <a:lnTo>
                        <a:pt x="192" y="4"/>
                      </a:lnTo>
                      <a:lnTo>
                        <a:pt x="197" y="5"/>
                      </a:lnTo>
                      <a:lnTo>
                        <a:pt x="209" y="20"/>
                      </a:lnTo>
                      <a:lnTo>
                        <a:pt x="224" y="30"/>
                      </a:lnTo>
                      <a:lnTo>
                        <a:pt x="233" y="34"/>
                      </a:lnTo>
                      <a:lnTo>
                        <a:pt x="243" y="36"/>
                      </a:lnTo>
                      <a:lnTo>
                        <a:pt x="248" y="36"/>
                      </a:lnTo>
                      <a:lnTo>
                        <a:pt x="254" y="38"/>
                      </a:lnTo>
                      <a:lnTo>
                        <a:pt x="257" y="41"/>
                      </a:lnTo>
                      <a:lnTo>
                        <a:pt x="260" y="45"/>
                      </a:lnTo>
                      <a:lnTo>
                        <a:pt x="267" y="49"/>
                      </a:lnTo>
                      <a:lnTo>
                        <a:pt x="297" y="55"/>
                      </a:lnTo>
                      <a:lnTo>
                        <a:pt x="310" y="55"/>
                      </a:lnTo>
                      <a:lnTo>
                        <a:pt x="320" y="58"/>
                      </a:lnTo>
                      <a:lnTo>
                        <a:pt x="345" y="73"/>
                      </a:lnTo>
                      <a:lnTo>
                        <a:pt x="352" y="78"/>
                      </a:lnTo>
                      <a:lnTo>
                        <a:pt x="357" y="90"/>
                      </a:lnTo>
                      <a:lnTo>
                        <a:pt x="363" y="103"/>
                      </a:lnTo>
                      <a:lnTo>
                        <a:pt x="375" y="115"/>
                      </a:lnTo>
                      <a:lnTo>
                        <a:pt x="397" y="12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6" name="Nagasaki" descr="{&quot;Key&quot;:&quot;nagasaki&quot;,&quot;Name&quot;:&quot;Nagasaki&quot;,&quot;Value&quot;:1.0,&quot;Formula&quot;:&quot;&quot;,&quot;Text&quot;:&quot;&quot;,&quot;OfficeApplication&quot;:1,&quot;HasValue&quot;:true}">
                  <a:extLst>
                    <a:ext uri="{FF2B5EF4-FFF2-40B4-BE49-F238E27FC236}">
                      <a16:creationId xmlns:a16="http://schemas.microsoft.com/office/drawing/2014/main" id="{884F32F9-58DB-4E76-9626-1FCA5DCA17D7}"/>
                    </a:ext>
                  </a:extLst>
                </p:cNvPr>
                <p:cNvSpPr>
                  <a:spLocks noEditPoints="1"/>
                </p:cNvSpPr>
                <p:nvPr/>
              </p:nvSpPr>
              <p:spPr bwMode="auto">
                <a:xfrm>
                  <a:off x="4232275" y="3960813"/>
                  <a:ext cx="419100" cy="606425"/>
                </a:xfrm>
                <a:custGeom>
                  <a:avLst/>
                  <a:gdLst>
                    <a:gd name="T0" fmla="*/ 95 w 717"/>
                    <a:gd name="T1" fmla="*/ 1015 h 1040"/>
                    <a:gd name="T2" fmla="*/ 5 w 717"/>
                    <a:gd name="T3" fmla="*/ 956 h 1040"/>
                    <a:gd name="T4" fmla="*/ 157 w 717"/>
                    <a:gd name="T5" fmla="*/ 939 h 1040"/>
                    <a:gd name="T6" fmla="*/ 116 w 717"/>
                    <a:gd name="T7" fmla="*/ 995 h 1040"/>
                    <a:gd name="T8" fmla="*/ 25 w 717"/>
                    <a:gd name="T9" fmla="*/ 1019 h 1040"/>
                    <a:gd name="T10" fmla="*/ 24 w 717"/>
                    <a:gd name="T11" fmla="*/ 946 h 1040"/>
                    <a:gd name="T12" fmla="*/ 127 w 717"/>
                    <a:gd name="T13" fmla="*/ 919 h 1040"/>
                    <a:gd name="T14" fmla="*/ 112 w 717"/>
                    <a:gd name="T15" fmla="*/ 919 h 1040"/>
                    <a:gd name="T16" fmla="*/ 140 w 717"/>
                    <a:gd name="T17" fmla="*/ 913 h 1040"/>
                    <a:gd name="T18" fmla="*/ 140 w 717"/>
                    <a:gd name="T19" fmla="*/ 890 h 1040"/>
                    <a:gd name="T20" fmla="*/ 174 w 717"/>
                    <a:gd name="T21" fmla="*/ 896 h 1040"/>
                    <a:gd name="T22" fmla="*/ 161 w 717"/>
                    <a:gd name="T23" fmla="*/ 858 h 1040"/>
                    <a:gd name="T24" fmla="*/ 236 w 717"/>
                    <a:gd name="T25" fmla="*/ 820 h 1040"/>
                    <a:gd name="T26" fmla="*/ 267 w 717"/>
                    <a:gd name="T27" fmla="*/ 823 h 1040"/>
                    <a:gd name="T28" fmla="*/ 410 w 717"/>
                    <a:gd name="T29" fmla="*/ 810 h 1040"/>
                    <a:gd name="T30" fmla="*/ 390 w 717"/>
                    <a:gd name="T31" fmla="*/ 809 h 1040"/>
                    <a:gd name="T32" fmla="*/ 370 w 717"/>
                    <a:gd name="T33" fmla="*/ 758 h 1040"/>
                    <a:gd name="T34" fmla="*/ 205 w 717"/>
                    <a:gd name="T35" fmla="*/ 863 h 1040"/>
                    <a:gd name="T36" fmla="*/ 177 w 717"/>
                    <a:gd name="T37" fmla="*/ 855 h 1040"/>
                    <a:gd name="T38" fmla="*/ 197 w 717"/>
                    <a:gd name="T39" fmla="*/ 796 h 1040"/>
                    <a:gd name="T40" fmla="*/ 402 w 717"/>
                    <a:gd name="T41" fmla="*/ 731 h 1040"/>
                    <a:gd name="T42" fmla="*/ 211 w 717"/>
                    <a:gd name="T43" fmla="*/ 729 h 1040"/>
                    <a:gd name="T44" fmla="*/ 197 w 717"/>
                    <a:gd name="T45" fmla="*/ 725 h 1040"/>
                    <a:gd name="T46" fmla="*/ 189 w 717"/>
                    <a:gd name="T47" fmla="*/ 723 h 1040"/>
                    <a:gd name="T48" fmla="*/ 225 w 717"/>
                    <a:gd name="T49" fmla="*/ 695 h 1040"/>
                    <a:gd name="T50" fmla="*/ 539 w 717"/>
                    <a:gd name="T51" fmla="*/ 760 h 1040"/>
                    <a:gd name="T52" fmla="*/ 626 w 717"/>
                    <a:gd name="T53" fmla="*/ 874 h 1040"/>
                    <a:gd name="T54" fmla="*/ 707 w 717"/>
                    <a:gd name="T55" fmla="*/ 965 h 1040"/>
                    <a:gd name="T56" fmla="*/ 629 w 717"/>
                    <a:gd name="T57" fmla="*/ 1002 h 1040"/>
                    <a:gd name="T58" fmla="*/ 617 w 717"/>
                    <a:gd name="T59" fmla="*/ 925 h 1040"/>
                    <a:gd name="T60" fmla="*/ 524 w 717"/>
                    <a:gd name="T61" fmla="*/ 985 h 1040"/>
                    <a:gd name="T62" fmla="*/ 491 w 717"/>
                    <a:gd name="T63" fmla="*/ 985 h 1040"/>
                    <a:gd name="T64" fmla="*/ 480 w 717"/>
                    <a:gd name="T65" fmla="*/ 926 h 1040"/>
                    <a:gd name="T66" fmla="*/ 421 w 717"/>
                    <a:gd name="T67" fmla="*/ 859 h 1040"/>
                    <a:gd name="T68" fmla="*/ 470 w 717"/>
                    <a:gd name="T69" fmla="*/ 800 h 1040"/>
                    <a:gd name="T70" fmla="*/ 484 w 717"/>
                    <a:gd name="T71" fmla="*/ 849 h 1040"/>
                    <a:gd name="T72" fmla="*/ 561 w 717"/>
                    <a:gd name="T73" fmla="*/ 899 h 1040"/>
                    <a:gd name="T74" fmla="*/ 476 w 717"/>
                    <a:gd name="T75" fmla="*/ 795 h 1040"/>
                    <a:gd name="T76" fmla="*/ 449 w 717"/>
                    <a:gd name="T77" fmla="*/ 766 h 1040"/>
                    <a:gd name="T78" fmla="*/ 416 w 717"/>
                    <a:gd name="T79" fmla="*/ 731 h 1040"/>
                    <a:gd name="T80" fmla="*/ 424 w 717"/>
                    <a:gd name="T81" fmla="*/ 650 h 1040"/>
                    <a:gd name="T82" fmla="*/ 371 w 717"/>
                    <a:gd name="T83" fmla="*/ 685 h 1040"/>
                    <a:gd name="T84" fmla="*/ 316 w 717"/>
                    <a:gd name="T85" fmla="*/ 720 h 1040"/>
                    <a:gd name="T86" fmla="*/ 387 w 717"/>
                    <a:gd name="T87" fmla="*/ 626 h 1040"/>
                    <a:gd name="T88" fmla="*/ 381 w 717"/>
                    <a:gd name="T89" fmla="*/ 609 h 1040"/>
                    <a:gd name="T90" fmla="*/ 477 w 717"/>
                    <a:gd name="T91" fmla="*/ 619 h 1040"/>
                    <a:gd name="T92" fmla="*/ 474 w 717"/>
                    <a:gd name="T93" fmla="*/ 601 h 1040"/>
                    <a:gd name="T94" fmla="*/ 375 w 717"/>
                    <a:gd name="T95" fmla="*/ 584 h 1040"/>
                    <a:gd name="T96" fmla="*/ 476 w 717"/>
                    <a:gd name="T97" fmla="*/ 451 h 1040"/>
                    <a:gd name="T98" fmla="*/ 440 w 717"/>
                    <a:gd name="T99" fmla="*/ 458 h 1040"/>
                    <a:gd name="T100" fmla="*/ 307 w 717"/>
                    <a:gd name="T101" fmla="*/ 209 h 1040"/>
                    <a:gd name="T102" fmla="*/ 281 w 717"/>
                    <a:gd name="T103" fmla="*/ 188 h 1040"/>
                    <a:gd name="T104" fmla="*/ 285 w 717"/>
                    <a:gd name="T105" fmla="*/ 245 h 1040"/>
                    <a:gd name="T106" fmla="*/ 244 w 717"/>
                    <a:gd name="T107" fmla="*/ 288 h 1040"/>
                    <a:gd name="T108" fmla="*/ 351 w 717"/>
                    <a:gd name="T109" fmla="*/ 0 h 1040"/>
                    <a:gd name="T110" fmla="*/ 351 w 717"/>
                    <a:gd name="T111" fmla="*/ 71 h 1040"/>
                    <a:gd name="T112" fmla="*/ 320 w 717"/>
                    <a:gd name="T113" fmla="*/ 180 h 1040"/>
                    <a:gd name="T114" fmla="*/ 280 w 717"/>
                    <a:gd name="T115" fmla="*/ 164 h 1040"/>
                    <a:gd name="T116" fmla="*/ 289 w 717"/>
                    <a:gd name="T117" fmla="*/ 115 h 1040"/>
                    <a:gd name="T118" fmla="*/ 321 w 717"/>
                    <a:gd name="T119" fmla="*/ 23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7" h="1040">
                      <a:moveTo>
                        <a:pt x="479" y="1038"/>
                      </a:moveTo>
                      <a:lnTo>
                        <a:pt x="476" y="1040"/>
                      </a:lnTo>
                      <a:lnTo>
                        <a:pt x="476" y="1031"/>
                      </a:lnTo>
                      <a:lnTo>
                        <a:pt x="479" y="1030"/>
                      </a:lnTo>
                      <a:lnTo>
                        <a:pt x="481" y="1031"/>
                      </a:lnTo>
                      <a:lnTo>
                        <a:pt x="481" y="1035"/>
                      </a:lnTo>
                      <a:lnTo>
                        <a:pt x="480" y="1036"/>
                      </a:lnTo>
                      <a:lnTo>
                        <a:pt x="479" y="1038"/>
                      </a:lnTo>
                      <a:close/>
                      <a:moveTo>
                        <a:pt x="125" y="1034"/>
                      </a:moveTo>
                      <a:lnTo>
                        <a:pt x="120" y="1031"/>
                      </a:lnTo>
                      <a:lnTo>
                        <a:pt x="124" y="1029"/>
                      </a:lnTo>
                      <a:lnTo>
                        <a:pt x="126" y="1027"/>
                      </a:lnTo>
                      <a:lnTo>
                        <a:pt x="125" y="1034"/>
                      </a:lnTo>
                      <a:close/>
                      <a:moveTo>
                        <a:pt x="100" y="1015"/>
                      </a:moveTo>
                      <a:lnTo>
                        <a:pt x="100" y="1018"/>
                      </a:lnTo>
                      <a:lnTo>
                        <a:pt x="95" y="1015"/>
                      </a:lnTo>
                      <a:lnTo>
                        <a:pt x="94" y="1014"/>
                      </a:lnTo>
                      <a:lnTo>
                        <a:pt x="97" y="1013"/>
                      </a:lnTo>
                      <a:lnTo>
                        <a:pt x="100" y="1015"/>
                      </a:lnTo>
                      <a:close/>
                      <a:moveTo>
                        <a:pt x="469" y="990"/>
                      </a:moveTo>
                      <a:lnTo>
                        <a:pt x="464" y="986"/>
                      </a:lnTo>
                      <a:lnTo>
                        <a:pt x="465" y="984"/>
                      </a:lnTo>
                      <a:lnTo>
                        <a:pt x="469" y="985"/>
                      </a:lnTo>
                      <a:lnTo>
                        <a:pt x="469" y="990"/>
                      </a:lnTo>
                      <a:close/>
                      <a:moveTo>
                        <a:pt x="480" y="971"/>
                      </a:moveTo>
                      <a:lnTo>
                        <a:pt x="477" y="973"/>
                      </a:lnTo>
                      <a:lnTo>
                        <a:pt x="471" y="964"/>
                      </a:lnTo>
                      <a:lnTo>
                        <a:pt x="470" y="960"/>
                      </a:lnTo>
                      <a:lnTo>
                        <a:pt x="475" y="963"/>
                      </a:lnTo>
                      <a:lnTo>
                        <a:pt x="477" y="966"/>
                      </a:lnTo>
                      <a:lnTo>
                        <a:pt x="480" y="971"/>
                      </a:lnTo>
                      <a:close/>
                      <a:moveTo>
                        <a:pt x="5" y="956"/>
                      </a:moveTo>
                      <a:lnTo>
                        <a:pt x="2" y="963"/>
                      </a:lnTo>
                      <a:lnTo>
                        <a:pt x="0" y="958"/>
                      </a:lnTo>
                      <a:lnTo>
                        <a:pt x="1" y="951"/>
                      </a:lnTo>
                      <a:lnTo>
                        <a:pt x="5" y="948"/>
                      </a:lnTo>
                      <a:lnTo>
                        <a:pt x="7" y="951"/>
                      </a:lnTo>
                      <a:lnTo>
                        <a:pt x="4" y="953"/>
                      </a:lnTo>
                      <a:lnTo>
                        <a:pt x="5" y="956"/>
                      </a:lnTo>
                      <a:close/>
                      <a:moveTo>
                        <a:pt x="166" y="938"/>
                      </a:moveTo>
                      <a:lnTo>
                        <a:pt x="167" y="941"/>
                      </a:lnTo>
                      <a:lnTo>
                        <a:pt x="165" y="943"/>
                      </a:lnTo>
                      <a:lnTo>
                        <a:pt x="160" y="941"/>
                      </a:lnTo>
                      <a:lnTo>
                        <a:pt x="156" y="946"/>
                      </a:lnTo>
                      <a:lnTo>
                        <a:pt x="152" y="945"/>
                      </a:lnTo>
                      <a:lnTo>
                        <a:pt x="151" y="941"/>
                      </a:lnTo>
                      <a:lnTo>
                        <a:pt x="156" y="939"/>
                      </a:lnTo>
                      <a:lnTo>
                        <a:pt x="157" y="939"/>
                      </a:lnTo>
                      <a:lnTo>
                        <a:pt x="158" y="936"/>
                      </a:lnTo>
                      <a:lnTo>
                        <a:pt x="158" y="930"/>
                      </a:lnTo>
                      <a:lnTo>
                        <a:pt x="160" y="925"/>
                      </a:lnTo>
                      <a:lnTo>
                        <a:pt x="161" y="924"/>
                      </a:lnTo>
                      <a:lnTo>
                        <a:pt x="163" y="925"/>
                      </a:lnTo>
                      <a:lnTo>
                        <a:pt x="166" y="934"/>
                      </a:lnTo>
                      <a:lnTo>
                        <a:pt x="166" y="938"/>
                      </a:lnTo>
                      <a:close/>
                      <a:moveTo>
                        <a:pt x="101" y="939"/>
                      </a:moveTo>
                      <a:lnTo>
                        <a:pt x="104" y="946"/>
                      </a:lnTo>
                      <a:lnTo>
                        <a:pt x="101" y="965"/>
                      </a:lnTo>
                      <a:lnTo>
                        <a:pt x="106" y="973"/>
                      </a:lnTo>
                      <a:lnTo>
                        <a:pt x="115" y="980"/>
                      </a:lnTo>
                      <a:lnTo>
                        <a:pt x="121" y="988"/>
                      </a:lnTo>
                      <a:lnTo>
                        <a:pt x="125" y="993"/>
                      </a:lnTo>
                      <a:lnTo>
                        <a:pt x="124" y="995"/>
                      </a:lnTo>
                      <a:lnTo>
                        <a:pt x="116" y="995"/>
                      </a:lnTo>
                      <a:lnTo>
                        <a:pt x="107" y="994"/>
                      </a:lnTo>
                      <a:lnTo>
                        <a:pt x="91" y="999"/>
                      </a:lnTo>
                      <a:lnTo>
                        <a:pt x="90" y="993"/>
                      </a:lnTo>
                      <a:lnTo>
                        <a:pt x="81" y="990"/>
                      </a:lnTo>
                      <a:lnTo>
                        <a:pt x="79" y="991"/>
                      </a:lnTo>
                      <a:lnTo>
                        <a:pt x="76" y="993"/>
                      </a:lnTo>
                      <a:lnTo>
                        <a:pt x="74" y="995"/>
                      </a:lnTo>
                      <a:lnTo>
                        <a:pt x="72" y="1000"/>
                      </a:lnTo>
                      <a:lnTo>
                        <a:pt x="82" y="1010"/>
                      </a:lnTo>
                      <a:lnTo>
                        <a:pt x="80" y="1021"/>
                      </a:lnTo>
                      <a:lnTo>
                        <a:pt x="74" y="1029"/>
                      </a:lnTo>
                      <a:lnTo>
                        <a:pt x="66" y="1024"/>
                      </a:lnTo>
                      <a:lnTo>
                        <a:pt x="59" y="1014"/>
                      </a:lnTo>
                      <a:lnTo>
                        <a:pt x="49" y="1013"/>
                      </a:lnTo>
                      <a:lnTo>
                        <a:pt x="29" y="1014"/>
                      </a:lnTo>
                      <a:lnTo>
                        <a:pt x="25" y="1019"/>
                      </a:lnTo>
                      <a:lnTo>
                        <a:pt x="11" y="1010"/>
                      </a:lnTo>
                      <a:lnTo>
                        <a:pt x="4" y="1008"/>
                      </a:lnTo>
                      <a:lnTo>
                        <a:pt x="5" y="1000"/>
                      </a:lnTo>
                      <a:lnTo>
                        <a:pt x="7" y="995"/>
                      </a:lnTo>
                      <a:lnTo>
                        <a:pt x="11" y="986"/>
                      </a:lnTo>
                      <a:lnTo>
                        <a:pt x="14" y="983"/>
                      </a:lnTo>
                      <a:lnTo>
                        <a:pt x="16" y="981"/>
                      </a:lnTo>
                      <a:lnTo>
                        <a:pt x="19" y="994"/>
                      </a:lnTo>
                      <a:lnTo>
                        <a:pt x="20" y="995"/>
                      </a:lnTo>
                      <a:lnTo>
                        <a:pt x="25" y="983"/>
                      </a:lnTo>
                      <a:lnTo>
                        <a:pt x="25" y="978"/>
                      </a:lnTo>
                      <a:lnTo>
                        <a:pt x="25" y="968"/>
                      </a:lnTo>
                      <a:lnTo>
                        <a:pt x="24" y="963"/>
                      </a:lnTo>
                      <a:lnTo>
                        <a:pt x="21" y="956"/>
                      </a:lnTo>
                      <a:lnTo>
                        <a:pt x="21" y="951"/>
                      </a:lnTo>
                      <a:lnTo>
                        <a:pt x="24" y="946"/>
                      </a:lnTo>
                      <a:lnTo>
                        <a:pt x="20" y="938"/>
                      </a:lnTo>
                      <a:lnTo>
                        <a:pt x="24" y="931"/>
                      </a:lnTo>
                      <a:lnTo>
                        <a:pt x="29" y="928"/>
                      </a:lnTo>
                      <a:lnTo>
                        <a:pt x="35" y="928"/>
                      </a:lnTo>
                      <a:lnTo>
                        <a:pt x="44" y="946"/>
                      </a:lnTo>
                      <a:lnTo>
                        <a:pt x="46" y="945"/>
                      </a:lnTo>
                      <a:lnTo>
                        <a:pt x="52" y="941"/>
                      </a:lnTo>
                      <a:lnTo>
                        <a:pt x="61" y="939"/>
                      </a:lnTo>
                      <a:lnTo>
                        <a:pt x="76" y="930"/>
                      </a:lnTo>
                      <a:lnTo>
                        <a:pt x="77" y="925"/>
                      </a:lnTo>
                      <a:lnTo>
                        <a:pt x="87" y="919"/>
                      </a:lnTo>
                      <a:lnTo>
                        <a:pt x="89" y="928"/>
                      </a:lnTo>
                      <a:lnTo>
                        <a:pt x="89" y="935"/>
                      </a:lnTo>
                      <a:lnTo>
                        <a:pt x="95" y="938"/>
                      </a:lnTo>
                      <a:lnTo>
                        <a:pt x="101" y="939"/>
                      </a:lnTo>
                      <a:close/>
                      <a:moveTo>
                        <a:pt x="127" y="919"/>
                      </a:moveTo>
                      <a:lnTo>
                        <a:pt x="127" y="923"/>
                      </a:lnTo>
                      <a:lnTo>
                        <a:pt x="122" y="927"/>
                      </a:lnTo>
                      <a:lnTo>
                        <a:pt x="117" y="936"/>
                      </a:lnTo>
                      <a:lnTo>
                        <a:pt x="114" y="936"/>
                      </a:lnTo>
                      <a:lnTo>
                        <a:pt x="111" y="936"/>
                      </a:lnTo>
                      <a:lnTo>
                        <a:pt x="104" y="931"/>
                      </a:lnTo>
                      <a:lnTo>
                        <a:pt x="100" y="930"/>
                      </a:lnTo>
                      <a:lnTo>
                        <a:pt x="99" y="925"/>
                      </a:lnTo>
                      <a:lnTo>
                        <a:pt x="99" y="910"/>
                      </a:lnTo>
                      <a:lnTo>
                        <a:pt x="97" y="906"/>
                      </a:lnTo>
                      <a:lnTo>
                        <a:pt x="99" y="903"/>
                      </a:lnTo>
                      <a:lnTo>
                        <a:pt x="102" y="903"/>
                      </a:lnTo>
                      <a:lnTo>
                        <a:pt x="107" y="905"/>
                      </a:lnTo>
                      <a:lnTo>
                        <a:pt x="110" y="910"/>
                      </a:lnTo>
                      <a:lnTo>
                        <a:pt x="111" y="916"/>
                      </a:lnTo>
                      <a:lnTo>
                        <a:pt x="112" y="919"/>
                      </a:lnTo>
                      <a:lnTo>
                        <a:pt x="114" y="919"/>
                      </a:lnTo>
                      <a:lnTo>
                        <a:pt x="112" y="911"/>
                      </a:lnTo>
                      <a:lnTo>
                        <a:pt x="108" y="903"/>
                      </a:lnTo>
                      <a:lnTo>
                        <a:pt x="111" y="901"/>
                      </a:lnTo>
                      <a:lnTo>
                        <a:pt x="121" y="908"/>
                      </a:lnTo>
                      <a:lnTo>
                        <a:pt x="125" y="913"/>
                      </a:lnTo>
                      <a:lnTo>
                        <a:pt x="127" y="919"/>
                      </a:lnTo>
                      <a:close/>
                      <a:moveTo>
                        <a:pt x="146" y="889"/>
                      </a:moveTo>
                      <a:lnTo>
                        <a:pt x="147" y="900"/>
                      </a:lnTo>
                      <a:lnTo>
                        <a:pt x="146" y="905"/>
                      </a:lnTo>
                      <a:lnTo>
                        <a:pt x="142" y="906"/>
                      </a:lnTo>
                      <a:lnTo>
                        <a:pt x="142" y="908"/>
                      </a:lnTo>
                      <a:lnTo>
                        <a:pt x="144" y="913"/>
                      </a:lnTo>
                      <a:lnTo>
                        <a:pt x="142" y="918"/>
                      </a:lnTo>
                      <a:lnTo>
                        <a:pt x="140" y="918"/>
                      </a:lnTo>
                      <a:lnTo>
                        <a:pt x="140" y="913"/>
                      </a:lnTo>
                      <a:lnTo>
                        <a:pt x="137" y="911"/>
                      </a:lnTo>
                      <a:lnTo>
                        <a:pt x="134" y="911"/>
                      </a:lnTo>
                      <a:lnTo>
                        <a:pt x="134" y="905"/>
                      </a:lnTo>
                      <a:lnTo>
                        <a:pt x="132" y="902"/>
                      </a:lnTo>
                      <a:lnTo>
                        <a:pt x="129" y="899"/>
                      </a:lnTo>
                      <a:lnTo>
                        <a:pt x="122" y="893"/>
                      </a:lnTo>
                      <a:lnTo>
                        <a:pt x="120" y="891"/>
                      </a:lnTo>
                      <a:lnTo>
                        <a:pt x="117" y="893"/>
                      </a:lnTo>
                      <a:lnTo>
                        <a:pt x="116" y="889"/>
                      </a:lnTo>
                      <a:lnTo>
                        <a:pt x="120" y="885"/>
                      </a:lnTo>
                      <a:lnTo>
                        <a:pt x="127" y="888"/>
                      </a:lnTo>
                      <a:lnTo>
                        <a:pt x="134" y="895"/>
                      </a:lnTo>
                      <a:lnTo>
                        <a:pt x="136" y="895"/>
                      </a:lnTo>
                      <a:lnTo>
                        <a:pt x="135" y="890"/>
                      </a:lnTo>
                      <a:lnTo>
                        <a:pt x="136" y="889"/>
                      </a:lnTo>
                      <a:lnTo>
                        <a:pt x="140" y="890"/>
                      </a:lnTo>
                      <a:lnTo>
                        <a:pt x="141" y="888"/>
                      </a:lnTo>
                      <a:lnTo>
                        <a:pt x="141" y="883"/>
                      </a:lnTo>
                      <a:lnTo>
                        <a:pt x="142" y="881"/>
                      </a:lnTo>
                      <a:lnTo>
                        <a:pt x="145" y="884"/>
                      </a:lnTo>
                      <a:lnTo>
                        <a:pt x="146" y="889"/>
                      </a:lnTo>
                      <a:close/>
                      <a:moveTo>
                        <a:pt x="145" y="864"/>
                      </a:moveTo>
                      <a:lnTo>
                        <a:pt x="144" y="869"/>
                      </a:lnTo>
                      <a:lnTo>
                        <a:pt x="137" y="866"/>
                      </a:lnTo>
                      <a:lnTo>
                        <a:pt x="136" y="864"/>
                      </a:lnTo>
                      <a:lnTo>
                        <a:pt x="139" y="860"/>
                      </a:lnTo>
                      <a:lnTo>
                        <a:pt x="141" y="860"/>
                      </a:lnTo>
                      <a:lnTo>
                        <a:pt x="145" y="864"/>
                      </a:lnTo>
                      <a:close/>
                      <a:moveTo>
                        <a:pt x="176" y="875"/>
                      </a:moveTo>
                      <a:lnTo>
                        <a:pt x="176" y="878"/>
                      </a:lnTo>
                      <a:lnTo>
                        <a:pt x="176" y="893"/>
                      </a:lnTo>
                      <a:lnTo>
                        <a:pt x="174" y="896"/>
                      </a:lnTo>
                      <a:lnTo>
                        <a:pt x="171" y="896"/>
                      </a:lnTo>
                      <a:lnTo>
                        <a:pt x="171" y="893"/>
                      </a:lnTo>
                      <a:lnTo>
                        <a:pt x="167" y="889"/>
                      </a:lnTo>
                      <a:lnTo>
                        <a:pt x="164" y="888"/>
                      </a:lnTo>
                      <a:lnTo>
                        <a:pt x="157" y="890"/>
                      </a:lnTo>
                      <a:lnTo>
                        <a:pt x="155" y="889"/>
                      </a:lnTo>
                      <a:lnTo>
                        <a:pt x="151" y="884"/>
                      </a:lnTo>
                      <a:lnTo>
                        <a:pt x="150" y="876"/>
                      </a:lnTo>
                      <a:lnTo>
                        <a:pt x="150" y="873"/>
                      </a:lnTo>
                      <a:lnTo>
                        <a:pt x="154" y="873"/>
                      </a:lnTo>
                      <a:lnTo>
                        <a:pt x="161" y="876"/>
                      </a:lnTo>
                      <a:lnTo>
                        <a:pt x="162" y="874"/>
                      </a:lnTo>
                      <a:lnTo>
                        <a:pt x="157" y="869"/>
                      </a:lnTo>
                      <a:lnTo>
                        <a:pt x="156" y="861"/>
                      </a:lnTo>
                      <a:lnTo>
                        <a:pt x="159" y="859"/>
                      </a:lnTo>
                      <a:lnTo>
                        <a:pt x="161" y="858"/>
                      </a:lnTo>
                      <a:lnTo>
                        <a:pt x="169" y="860"/>
                      </a:lnTo>
                      <a:lnTo>
                        <a:pt x="172" y="864"/>
                      </a:lnTo>
                      <a:lnTo>
                        <a:pt x="175" y="871"/>
                      </a:lnTo>
                      <a:lnTo>
                        <a:pt x="176" y="875"/>
                      </a:lnTo>
                      <a:close/>
                      <a:moveTo>
                        <a:pt x="405" y="853"/>
                      </a:moveTo>
                      <a:lnTo>
                        <a:pt x="410" y="851"/>
                      </a:lnTo>
                      <a:lnTo>
                        <a:pt x="415" y="854"/>
                      </a:lnTo>
                      <a:lnTo>
                        <a:pt x="415" y="858"/>
                      </a:lnTo>
                      <a:lnTo>
                        <a:pt x="412" y="864"/>
                      </a:lnTo>
                      <a:lnTo>
                        <a:pt x="406" y="861"/>
                      </a:lnTo>
                      <a:lnTo>
                        <a:pt x="402" y="852"/>
                      </a:lnTo>
                      <a:lnTo>
                        <a:pt x="405" y="853"/>
                      </a:lnTo>
                      <a:close/>
                      <a:moveTo>
                        <a:pt x="241" y="814"/>
                      </a:moveTo>
                      <a:lnTo>
                        <a:pt x="244" y="816"/>
                      </a:lnTo>
                      <a:lnTo>
                        <a:pt x="241" y="820"/>
                      </a:lnTo>
                      <a:lnTo>
                        <a:pt x="236" y="820"/>
                      </a:lnTo>
                      <a:lnTo>
                        <a:pt x="235" y="819"/>
                      </a:lnTo>
                      <a:lnTo>
                        <a:pt x="236" y="816"/>
                      </a:lnTo>
                      <a:lnTo>
                        <a:pt x="239" y="816"/>
                      </a:lnTo>
                      <a:lnTo>
                        <a:pt x="241" y="814"/>
                      </a:lnTo>
                      <a:close/>
                      <a:moveTo>
                        <a:pt x="306" y="813"/>
                      </a:moveTo>
                      <a:lnTo>
                        <a:pt x="306" y="824"/>
                      </a:lnTo>
                      <a:lnTo>
                        <a:pt x="301" y="821"/>
                      </a:lnTo>
                      <a:lnTo>
                        <a:pt x="300" y="819"/>
                      </a:lnTo>
                      <a:lnTo>
                        <a:pt x="302" y="815"/>
                      </a:lnTo>
                      <a:lnTo>
                        <a:pt x="306" y="813"/>
                      </a:lnTo>
                      <a:close/>
                      <a:moveTo>
                        <a:pt x="264" y="813"/>
                      </a:moveTo>
                      <a:lnTo>
                        <a:pt x="264" y="816"/>
                      </a:lnTo>
                      <a:lnTo>
                        <a:pt x="267" y="814"/>
                      </a:lnTo>
                      <a:lnTo>
                        <a:pt x="269" y="815"/>
                      </a:lnTo>
                      <a:lnTo>
                        <a:pt x="266" y="820"/>
                      </a:lnTo>
                      <a:lnTo>
                        <a:pt x="267" y="823"/>
                      </a:lnTo>
                      <a:lnTo>
                        <a:pt x="266" y="825"/>
                      </a:lnTo>
                      <a:lnTo>
                        <a:pt x="261" y="829"/>
                      </a:lnTo>
                      <a:lnTo>
                        <a:pt x="260" y="827"/>
                      </a:lnTo>
                      <a:lnTo>
                        <a:pt x="259" y="824"/>
                      </a:lnTo>
                      <a:lnTo>
                        <a:pt x="255" y="825"/>
                      </a:lnTo>
                      <a:lnTo>
                        <a:pt x="254" y="824"/>
                      </a:lnTo>
                      <a:lnTo>
                        <a:pt x="257" y="818"/>
                      </a:lnTo>
                      <a:lnTo>
                        <a:pt x="264" y="813"/>
                      </a:lnTo>
                      <a:close/>
                      <a:moveTo>
                        <a:pt x="409" y="793"/>
                      </a:moveTo>
                      <a:lnTo>
                        <a:pt x="414" y="794"/>
                      </a:lnTo>
                      <a:lnTo>
                        <a:pt x="417" y="794"/>
                      </a:lnTo>
                      <a:lnTo>
                        <a:pt x="419" y="796"/>
                      </a:lnTo>
                      <a:lnTo>
                        <a:pt x="416" y="798"/>
                      </a:lnTo>
                      <a:lnTo>
                        <a:pt x="417" y="800"/>
                      </a:lnTo>
                      <a:lnTo>
                        <a:pt x="416" y="805"/>
                      </a:lnTo>
                      <a:lnTo>
                        <a:pt x="410" y="810"/>
                      </a:lnTo>
                      <a:lnTo>
                        <a:pt x="409" y="811"/>
                      </a:lnTo>
                      <a:lnTo>
                        <a:pt x="401" y="811"/>
                      </a:lnTo>
                      <a:lnTo>
                        <a:pt x="401" y="813"/>
                      </a:lnTo>
                      <a:lnTo>
                        <a:pt x="400" y="816"/>
                      </a:lnTo>
                      <a:lnTo>
                        <a:pt x="397" y="819"/>
                      </a:lnTo>
                      <a:lnTo>
                        <a:pt x="392" y="821"/>
                      </a:lnTo>
                      <a:lnTo>
                        <a:pt x="389" y="825"/>
                      </a:lnTo>
                      <a:lnTo>
                        <a:pt x="385" y="824"/>
                      </a:lnTo>
                      <a:lnTo>
                        <a:pt x="381" y="823"/>
                      </a:lnTo>
                      <a:lnTo>
                        <a:pt x="381" y="819"/>
                      </a:lnTo>
                      <a:lnTo>
                        <a:pt x="387" y="820"/>
                      </a:lnTo>
                      <a:lnTo>
                        <a:pt x="389" y="819"/>
                      </a:lnTo>
                      <a:lnTo>
                        <a:pt x="392" y="816"/>
                      </a:lnTo>
                      <a:lnTo>
                        <a:pt x="392" y="815"/>
                      </a:lnTo>
                      <a:lnTo>
                        <a:pt x="390" y="813"/>
                      </a:lnTo>
                      <a:lnTo>
                        <a:pt x="390" y="809"/>
                      </a:lnTo>
                      <a:lnTo>
                        <a:pt x="396" y="810"/>
                      </a:lnTo>
                      <a:lnTo>
                        <a:pt x="399" y="809"/>
                      </a:lnTo>
                      <a:lnTo>
                        <a:pt x="404" y="799"/>
                      </a:lnTo>
                      <a:lnTo>
                        <a:pt x="407" y="796"/>
                      </a:lnTo>
                      <a:lnTo>
                        <a:pt x="409" y="793"/>
                      </a:lnTo>
                      <a:close/>
                      <a:moveTo>
                        <a:pt x="437" y="756"/>
                      </a:moveTo>
                      <a:lnTo>
                        <a:pt x="437" y="759"/>
                      </a:lnTo>
                      <a:lnTo>
                        <a:pt x="435" y="758"/>
                      </a:lnTo>
                      <a:lnTo>
                        <a:pt x="435" y="755"/>
                      </a:lnTo>
                      <a:lnTo>
                        <a:pt x="437" y="756"/>
                      </a:lnTo>
                      <a:close/>
                      <a:moveTo>
                        <a:pt x="385" y="753"/>
                      </a:moveTo>
                      <a:lnTo>
                        <a:pt x="385" y="759"/>
                      </a:lnTo>
                      <a:lnTo>
                        <a:pt x="381" y="759"/>
                      </a:lnTo>
                      <a:lnTo>
                        <a:pt x="377" y="761"/>
                      </a:lnTo>
                      <a:lnTo>
                        <a:pt x="374" y="759"/>
                      </a:lnTo>
                      <a:lnTo>
                        <a:pt x="370" y="758"/>
                      </a:lnTo>
                      <a:lnTo>
                        <a:pt x="371" y="755"/>
                      </a:lnTo>
                      <a:lnTo>
                        <a:pt x="376" y="754"/>
                      </a:lnTo>
                      <a:lnTo>
                        <a:pt x="377" y="751"/>
                      </a:lnTo>
                      <a:lnTo>
                        <a:pt x="382" y="750"/>
                      </a:lnTo>
                      <a:lnTo>
                        <a:pt x="385" y="753"/>
                      </a:lnTo>
                      <a:close/>
                      <a:moveTo>
                        <a:pt x="204" y="806"/>
                      </a:moveTo>
                      <a:lnTo>
                        <a:pt x="204" y="815"/>
                      </a:lnTo>
                      <a:lnTo>
                        <a:pt x="204" y="829"/>
                      </a:lnTo>
                      <a:lnTo>
                        <a:pt x="209" y="831"/>
                      </a:lnTo>
                      <a:lnTo>
                        <a:pt x="232" y="821"/>
                      </a:lnTo>
                      <a:lnTo>
                        <a:pt x="237" y="831"/>
                      </a:lnTo>
                      <a:lnTo>
                        <a:pt x="235" y="839"/>
                      </a:lnTo>
                      <a:lnTo>
                        <a:pt x="227" y="844"/>
                      </a:lnTo>
                      <a:lnTo>
                        <a:pt x="220" y="854"/>
                      </a:lnTo>
                      <a:lnTo>
                        <a:pt x="211" y="854"/>
                      </a:lnTo>
                      <a:lnTo>
                        <a:pt x="205" y="863"/>
                      </a:lnTo>
                      <a:lnTo>
                        <a:pt x="201" y="869"/>
                      </a:lnTo>
                      <a:lnTo>
                        <a:pt x="201" y="875"/>
                      </a:lnTo>
                      <a:lnTo>
                        <a:pt x="204" y="884"/>
                      </a:lnTo>
                      <a:lnTo>
                        <a:pt x="204" y="893"/>
                      </a:lnTo>
                      <a:lnTo>
                        <a:pt x="199" y="893"/>
                      </a:lnTo>
                      <a:lnTo>
                        <a:pt x="191" y="890"/>
                      </a:lnTo>
                      <a:lnTo>
                        <a:pt x="189" y="896"/>
                      </a:lnTo>
                      <a:lnTo>
                        <a:pt x="192" y="900"/>
                      </a:lnTo>
                      <a:lnTo>
                        <a:pt x="192" y="908"/>
                      </a:lnTo>
                      <a:lnTo>
                        <a:pt x="190" y="911"/>
                      </a:lnTo>
                      <a:lnTo>
                        <a:pt x="182" y="909"/>
                      </a:lnTo>
                      <a:lnTo>
                        <a:pt x="184" y="900"/>
                      </a:lnTo>
                      <a:lnTo>
                        <a:pt x="181" y="889"/>
                      </a:lnTo>
                      <a:lnTo>
                        <a:pt x="181" y="874"/>
                      </a:lnTo>
                      <a:lnTo>
                        <a:pt x="184" y="866"/>
                      </a:lnTo>
                      <a:lnTo>
                        <a:pt x="177" y="855"/>
                      </a:lnTo>
                      <a:lnTo>
                        <a:pt x="174" y="854"/>
                      </a:lnTo>
                      <a:lnTo>
                        <a:pt x="160" y="850"/>
                      </a:lnTo>
                      <a:lnTo>
                        <a:pt x="156" y="849"/>
                      </a:lnTo>
                      <a:lnTo>
                        <a:pt x="157" y="843"/>
                      </a:lnTo>
                      <a:lnTo>
                        <a:pt x="164" y="840"/>
                      </a:lnTo>
                      <a:lnTo>
                        <a:pt x="172" y="832"/>
                      </a:lnTo>
                      <a:lnTo>
                        <a:pt x="179" y="839"/>
                      </a:lnTo>
                      <a:lnTo>
                        <a:pt x="186" y="834"/>
                      </a:lnTo>
                      <a:lnTo>
                        <a:pt x="181" y="824"/>
                      </a:lnTo>
                      <a:lnTo>
                        <a:pt x="184" y="805"/>
                      </a:lnTo>
                      <a:lnTo>
                        <a:pt x="191" y="802"/>
                      </a:lnTo>
                      <a:lnTo>
                        <a:pt x="191" y="814"/>
                      </a:lnTo>
                      <a:lnTo>
                        <a:pt x="196" y="814"/>
                      </a:lnTo>
                      <a:lnTo>
                        <a:pt x="199" y="812"/>
                      </a:lnTo>
                      <a:lnTo>
                        <a:pt x="199" y="802"/>
                      </a:lnTo>
                      <a:lnTo>
                        <a:pt x="197" y="796"/>
                      </a:lnTo>
                      <a:lnTo>
                        <a:pt x="199" y="787"/>
                      </a:lnTo>
                      <a:lnTo>
                        <a:pt x="205" y="784"/>
                      </a:lnTo>
                      <a:lnTo>
                        <a:pt x="207" y="775"/>
                      </a:lnTo>
                      <a:lnTo>
                        <a:pt x="204" y="769"/>
                      </a:lnTo>
                      <a:lnTo>
                        <a:pt x="202" y="764"/>
                      </a:lnTo>
                      <a:lnTo>
                        <a:pt x="207" y="744"/>
                      </a:lnTo>
                      <a:lnTo>
                        <a:pt x="211" y="747"/>
                      </a:lnTo>
                      <a:lnTo>
                        <a:pt x="211" y="756"/>
                      </a:lnTo>
                      <a:lnTo>
                        <a:pt x="207" y="765"/>
                      </a:lnTo>
                      <a:lnTo>
                        <a:pt x="211" y="769"/>
                      </a:lnTo>
                      <a:lnTo>
                        <a:pt x="214" y="771"/>
                      </a:lnTo>
                      <a:lnTo>
                        <a:pt x="212" y="781"/>
                      </a:lnTo>
                      <a:lnTo>
                        <a:pt x="210" y="790"/>
                      </a:lnTo>
                      <a:lnTo>
                        <a:pt x="206" y="798"/>
                      </a:lnTo>
                      <a:lnTo>
                        <a:pt x="204" y="806"/>
                      </a:lnTo>
                      <a:close/>
                      <a:moveTo>
                        <a:pt x="402" y="731"/>
                      </a:moveTo>
                      <a:lnTo>
                        <a:pt x="402" y="743"/>
                      </a:lnTo>
                      <a:lnTo>
                        <a:pt x="399" y="746"/>
                      </a:lnTo>
                      <a:lnTo>
                        <a:pt x="397" y="744"/>
                      </a:lnTo>
                      <a:lnTo>
                        <a:pt x="401" y="741"/>
                      </a:lnTo>
                      <a:lnTo>
                        <a:pt x="400" y="740"/>
                      </a:lnTo>
                      <a:lnTo>
                        <a:pt x="397" y="737"/>
                      </a:lnTo>
                      <a:lnTo>
                        <a:pt x="396" y="735"/>
                      </a:lnTo>
                      <a:lnTo>
                        <a:pt x="397" y="731"/>
                      </a:lnTo>
                      <a:lnTo>
                        <a:pt x="400" y="730"/>
                      </a:lnTo>
                      <a:lnTo>
                        <a:pt x="402" y="731"/>
                      </a:lnTo>
                      <a:close/>
                      <a:moveTo>
                        <a:pt x="220" y="734"/>
                      </a:moveTo>
                      <a:lnTo>
                        <a:pt x="217" y="748"/>
                      </a:lnTo>
                      <a:lnTo>
                        <a:pt x="214" y="746"/>
                      </a:lnTo>
                      <a:lnTo>
                        <a:pt x="214" y="741"/>
                      </a:lnTo>
                      <a:lnTo>
                        <a:pt x="212" y="740"/>
                      </a:lnTo>
                      <a:lnTo>
                        <a:pt x="211" y="729"/>
                      </a:lnTo>
                      <a:lnTo>
                        <a:pt x="212" y="721"/>
                      </a:lnTo>
                      <a:lnTo>
                        <a:pt x="216" y="725"/>
                      </a:lnTo>
                      <a:lnTo>
                        <a:pt x="220" y="731"/>
                      </a:lnTo>
                      <a:lnTo>
                        <a:pt x="220" y="734"/>
                      </a:lnTo>
                      <a:close/>
                      <a:moveTo>
                        <a:pt x="175" y="724"/>
                      </a:moveTo>
                      <a:lnTo>
                        <a:pt x="174" y="728"/>
                      </a:lnTo>
                      <a:lnTo>
                        <a:pt x="170" y="728"/>
                      </a:lnTo>
                      <a:lnTo>
                        <a:pt x="170" y="723"/>
                      </a:lnTo>
                      <a:lnTo>
                        <a:pt x="174" y="721"/>
                      </a:lnTo>
                      <a:lnTo>
                        <a:pt x="175" y="724"/>
                      </a:lnTo>
                      <a:close/>
                      <a:moveTo>
                        <a:pt x="189" y="723"/>
                      </a:moveTo>
                      <a:lnTo>
                        <a:pt x="191" y="723"/>
                      </a:lnTo>
                      <a:lnTo>
                        <a:pt x="199" y="721"/>
                      </a:lnTo>
                      <a:lnTo>
                        <a:pt x="202" y="721"/>
                      </a:lnTo>
                      <a:lnTo>
                        <a:pt x="202" y="724"/>
                      </a:lnTo>
                      <a:lnTo>
                        <a:pt x="197" y="725"/>
                      </a:lnTo>
                      <a:lnTo>
                        <a:pt x="197" y="726"/>
                      </a:lnTo>
                      <a:lnTo>
                        <a:pt x="199" y="729"/>
                      </a:lnTo>
                      <a:lnTo>
                        <a:pt x="201" y="731"/>
                      </a:lnTo>
                      <a:lnTo>
                        <a:pt x="201" y="733"/>
                      </a:lnTo>
                      <a:lnTo>
                        <a:pt x="195" y="734"/>
                      </a:lnTo>
                      <a:lnTo>
                        <a:pt x="189" y="733"/>
                      </a:lnTo>
                      <a:lnTo>
                        <a:pt x="185" y="736"/>
                      </a:lnTo>
                      <a:lnTo>
                        <a:pt x="182" y="734"/>
                      </a:lnTo>
                      <a:lnTo>
                        <a:pt x="182" y="731"/>
                      </a:lnTo>
                      <a:lnTo>
                        <a:pt x="177" y="730"/>
                      </a:lnTo>
                      <a:lnTo>
                        <a:pt x="176" y="728"/>
                      </a:lnTo>
                      <a:lnTo>
                        <a:pt x="179" y="723"/>
                      </a:lnTo>
                      <a:lnTo>
                        <a:pt x="181" y="723"/>
                      </a:lnTo>
                      <a:lnTo>
                        <a:pt x="182" y="719"/>
                      </a:lnTo>
                      <a:lnTo>
                        <a:pt x="183" y="719"/>
                      </a:lnTo>
                      <a:lnTo>
                        <a:pt x="189" y="723"/>
                      </a:lnTo>
                      <a:close/>
                      <a:moveTo>
                        <a:pt x="225" y="695"/>
                      </a:moveTo>
                      <a:lnTo>
                        <a:pt x="219" y="700"/>
                      </a:lnTo>
                      <a:lnTo>
                        <a:pt x="215" y="705"/>
                      </a:lnTo>
                      <a:lnTo>
                        <a:pt x="212" y="705"/>
                      </a:lnTo>
                      <a:lnTo>
                        <a:pt x="206" y="704"/>
                      </a:lnTo>
                      <a:lnTo>
                        <a:pt x="199" y="699"/>
                      </a:lnTo>
                      <a:lnTo>
                        <a:pt x="195" y="699"/>
                      </a:lnTo>
                      <a:lnTo>
                        <a:pt x="195" y="695"/>
                      </a:lnTo>
                      <a:lnTo>
                        <a:pt x="200" y="688"/>
                      </a:lnTo>
                      <a:lnTo>
                        <a:pt x="206" y="685"/>
                      </a:lnTo>
                      <a:lnTo>
                        <a:pt x="210" y="684"/>
                      </a:lnTo>
                      <a:lnTo>
                        <a:pt x="216" y="679"/>
                      </a:lnTo>
                      <a:lnTo>
                        <a:pt x="219" y="680"/>
                      </a:lnTo>
                      <a:lnTo>
                        <a:pt x="222" y="686"/>
                      </a:lnTo>
                      <a:lnTo>
                        <a:pt x="225" y="691"/>
                      </a:lnTo>
                      <a:lnTo>
                        <a:pt x="225" y="695"/>
                      </a:lnTo>
                      <a:close/>
                      <a:moveTo>
                        <a:pt x="491" y="665"/>
                      </a:moveTo>
                      <a:lnTo>
                        <a:pt x="490" y="668"/>
                      </a:lnTo>
                      <a:lnTo>
                        <a:pt x="484" y="671"/>
                      </a:lnTo>
                      <a:lnTo>
                        <a:pt x="471" y="685"/>
                      </a:lnTo>
                      <a:lnTo>
                        <a:pt x="469" y="690"/>
                      </a:lnTo>
                      <a:lnTo>
                        <a:pt x="470" y="695"/>
                      </a:lnTo>
                      <a:lnTo>
                        <a:pt x="472" y="700"/>
                      </a:lnTo>
                      <a:lnTo>
                        <a:pt x="485" y="720"/>
                      </a:lnTo>
                      <a:lnTo>
                        <a:pt x="487" y="725"/>
                      </a:lnTo>
                      <a:lnTo>
                        <a:pt x="489" y="729"/>
                      </a:lnTo>
                      <a:lnTo>
                        <a:pt x="492" y="734"/>
                      </a:lnTo>
                      <a:lnTo>
                        <a:pt x="497" y="740"/>
                      </a:lnTo>
                      <a:lnTo>
                        <a:pt x="511" y="746"/>
                      </a:lnTo>
                      <a:lnTo>
                        <a:pt x="529" y="751"/>
                      </a:lnTo>
                      <a:lnTo>
                        <a:pt x="534" y="754"/>
                      </a:lnTo>
                      <a:lnTo>
                        <a:pt x="539" y="760"/>
                      </a:lnTo>
                      <a:lnTo>
                        <a:pt x="540" y="766"/>
                      </a:lnTo>
                      <a:lnTo>
                        <a:pt x="540" y="773"/>
                      </a:lnTo>
                      <a:lnTo>
                        <a:pt x="539" y="776"/>
                      </a:lnTo>
                      <a:lnTo>
                        <a:pt x="532" y="782"/>
                      </a:lnTo>
                      <a:lnTo>
                        <a:pt x="532" y="786"/>
                      </a:lnTo>
                      <a:lnTo>
                        <a:pt x="536" y="790"/>
                      </a:lnTo>
                      <a:lnTo>
                        <a:pt x="565" y="815"/>
                      </a:lnTo>
                      <a:lnTo>
                        <a:pt x="572" y="824"/>
                      </a:lnTo>
                      <a:lnTo>
                        <a:pt x="579" y="830"/>
                      </a:lnTo>
                      <a:lnTo>
                        <a:pt x="590" y="836"/>
                      </a:lnTo>
                      <a:lnTo>
                        <a:pt x="607" y="842"/>
                      </a:lnTo>
                      <a:lnTo>
                        <a:pt x="649" y="850"/>
                      </a:lnTo>
                      <a:lnTo>
                        <a:pt x="647" y="857"/>
                      </a:lnTo>
                      <a:lnTo>
                        <a:pt x="642" y="864"/>
                      </a:lnTo>
                      <a:lnTo>
                        <a:pt x="632" y="867"/>
                      </a:lnTo>
                      <a:lnTo>
                        <a:pt x="626" y="874"/>
                      </a:lnTo>
                      <a:lnTo>
                        <a:pt x="620" y="876"/>
                      </a:lnTo>
                      <a:lnTo>
                        <a:pt x="609" y="882"/>
                      </a:lnTo>
                      <a:lnTo>
                        <a:pt x="615" y="886"/>
                      </a:lnTo>
                      <a:lnTo>
                        <a:pt x="620" y="892"/>
                      </a:lnTo>
                      <a:lnTo>
                        <a:pt x="627" y="899"/>
                      </a:lnTo>
                      <a:lnTo>
                        <a:pt x="637" y="899"/>
                      </a:lnTo>
                      <a:lnTo>
                        <a:pt x="645" y="897"/>
                      </a:lnTo>
                      <a:lnTo>
                        <a:pt x="664" y="884"/>
                      </a:lnTo>
                      <a:lnTo>
                        <a:pt x="690" y="882"/>
                      </a:lnTo>
                      <a:lnTo>
                        <a:pt x="702" y="892"/>
                      </a:lnTo>
                      <a:lnTo>
                        <a:pt x="716" y="922"/>
                      </a:lnTo>
                      <a:lnTo>
                        <a:pt x="716" y="929"/>
                      </a:lnTo>
                      <a:lnTo>
                        <a:pt x="717" y="944"/>
                      </a:lnTo>
                      <a:lnTo>
                        <a:pt x="716" y="949"/>
                      </a:lnTo>
                      <a:lnTo>
                        <a:pt x="709" y="959"/>
                      </a:lnTo>
                      <a:lnTo>
                        <a:pt x="707" y="965"/>
                      </a:lnTo>
                      <a:lnTo>
                        <a:pt x="711" y="972"/>
                      </a:lnTo>
                      <a:lnTo>
                        <a:pt x="704" y="982"/>
                      </a:lnTo>
                      <a:lnTo>
                        <a:pt x="689" y="990"/>
                      </a:lnTo>
                      <a:lnTo>
                        <a:pt x="674" y="991"/>
                      </a:lnTo>
                      <a:lnTo>
                        <a:pt x="670" y="994"/>
                      </a:lnTo>
                      <a:lnTo>
                        <a:pt x="671" y="999"/>
                      </a:lnTo>
                      <a:lnTo>
                        <a:pt x="669" y="1002"/>
                      </a:lnTo>
                      <a:lnTo>
                        <a:pt x="661" y="1004"/>
                      </a:lnTo>
                      <a:lnTo>
                        <a:pt x="659" y="1010"/>
                      </a:lnTo>
                      <a:lnTo>
                        <a:pt x="656" y="1012"/>
                      </a:lnTo>
                      <a:lnTo>
                        <a:pt x="646" y="1014"/>
                      </a:lnTo>
                      <a:lnTo>
                        <a:pt x="639" y="1019"/>
                      </a:lnTo>
                      <a:lnTo>
                        <a:pt x="632" y="1019"/>
                      </a:lnTo>
                      <a:lnTo>
                        <a:pt x="636" y="1012"/>
                      </a:lnTo>
                      <a:lnTo>
                        <a:pt x="634" y="1006"/>
                      </a:lnTo>
                      <a:lnTo>
                        <a:pt x="629" y="1002"/>
                      </a:lnTo>
                      <a:lnTo>
                        <a:pt x="625" y="999"/>
                      </a:lnTo>
                      <a:lnTo>
                        <a:pt x="619" y="995"/>
                      </a:lnTo>
                      <a:lnTo>
                        <a:pt x="617" y="975"/>
                      </a:lnTo>
                      <a:lnTo>
                        <a:pt x="624" y="976"/>
                      </a:lnTo>
                      <a:lnTo>
                        <a:pt x="627" y="974"/>
                      </a:lnTo>
                      <a:lnTo>
                        <a:pt x="634" y="967"/>
                      </a:lnTo>
                      <a:lnTo>
                        <a:pt x="642" y="960"/>
                      </a:lnTo>
                      <a:lnTo>
                        <a:pt x="651" y="951"/>
                      </a:lnTo>
                      <a:lnTo>
                        <a:pt x="650" y="942"/>
                      </a:lnTo>
                      <a:lnTo>
                        <a:pt x="641" y="937"/>
                      </a:lnTo>
                      <a:lnTo>
                        <a:pt x="640" y="934"/>
                      </a:lnTo>
                      <a:lnTo>
                        <a:pt x="642" y="927"/>
                      </a:lnTo>
                      <a:lnTo>
                        <a:pt x="637" y="922"/>
                      </a:lnTo>
                      <a:lnTo>
                        <a:pt x="626" y="921"/>
                      </a:lnTo>
                      <a:lnTo>
                        <a:pt x="621" y="925"/>
                      </a:lnTo>
                      <a:lnTo>
                        <a:pt x="617" y="925"/>
                      </a:lnTo>
                      <a:lnTo>
                        <a:pt x="604" y="921"/>
                      </a:lnTo>
                      <a:lnTo>
                        <a:pt x="592" y="926"/>
                      </a:lnTo>
                      <a:lnTo>
                        <a:pt x="586" y="932"/>
                      </a:lnTo>
                      <a:lnTo>
                        <a:pt x="579" y="939"/>
                      </a:lnTo>
                      <a:lnTo>
                        <a:pt x="570" y="941"/>
                      </a:lnTo>
                      <a:lnTo>
                        <a:pt x="562" y="945"/>
                      </a:lnTo>
                      <a:lnTo>
                        <a:pt x="554" y="946"/>
                      </a:lnTo>
                      <a:lnTo>
                        <a:pt x="551" y="941"/>
                      </a:lnTo>
                      <a:lnTo>
                        <a:pt x="551" y="937"/>
                      </a:lnTo>
                      <a:lnTo>
                        <a:pt x="550" y="936"/>
                      </a:lnTo>
                      <a:lnTo>
                        <a:pt x="546" y="940"/>
                      </a:lnTo>
                      <a:lnTo>
                        <a:pt x="547" y="945"/>
                      </a:lnTo>
                      <a:lnTo>
                        <a:pt x="542" y="954"/>
                      </a:lnTo>
                      <a:lnTo>
                        <a:pt x="532" y="967"/>
                      </a:lnTo>
                      <a:lnTo>
                        <a:pt x="527" y="976"/>
                      </a:lnTo>
                      <a:lnTo>
                        <a:pt x="524" y="985"/>
                      </a:lnTo>
                      <a:lnTo>
                        <a:pt x="516" y="991"/>
                      </a:lnTo>
                      <a:lnTo>
                        <a:pt x="509" y="996"/>
                      </a:lnTo>
                      <a:lnTo>
                        <a:pt x="502" y="996"/>
                      </a:lnTo>
                      <a:lnTo>
                        <a:pt x="499" y="1007"/>
                      </a:lnTo>
                      <a:lnTo>
                        <a:pt x="489" y="1016"/>
                      </a:lnTo>
                      <a:lnTo>
                        <a:pt x="480" y="1023"/>
                      </a:lnTo>
                      <a:lnTo>
                        <a:pt x="479" y="1027"/>
                      </a:lnTo>
                      <a:lnTo>
                        <a:pt x="476" y="1026"/>
                      </a:lnTo>
                      <a:lnTo>
                        <a:pt x="471" y="1025"/>
                      </a:lnTo>
                      <a:lnTo>
                        <a:pt x="462" y="1030"/>
                      </a:lnTo>
                      <a:lnTo>
                        <a:pt x="459" y="1024"/>
                      </a:lnTo>
                      <a:lnTo>
                        <a:pt x="465" y="1019"/>
                      </a:lnTo>
                      <a:lnTo>
                        <a:pt x="476" y="1015"/>
                      </a:lnTo>
                      <a:lnTo>
                        <a:pt x="479" y="1011"/>
                      </a:lnTo>
                      <a:lnTo>
                        <a:pt x="484" y="1000"/>
                      </a:lnTo>
                      <a:lnTo>
                        <a:pt x="491" y="985"/>
                      </a:lnTo>
                      <a:lnTo>
                        <a:pt x="494" y="977"/>
                      </a:lnTo>
                      <a:lnTo>
                        <a:pt x="491" y="975"/>
                      </a:lnTo>
                      <a:lnTo>
                        <a:pt x="487" y="977"/>
                      </a:lnTo>
                      <a:lnTo>
                        <a:pt x="485" y="975"/>
                      </a:lnTo>
                      <a:lnTo>
                        <a:pt x="485" y="971"/>
                      </a:lnTo>
                      <a:lnTo>
                        <a:pt x="490" y="970"/>
                      </a:lnTo>
                      <a:lnTo>
                        <a:pt x="492" y="966"/>
                      </a:lnTo>
                      <a:lnTo>
                        <a:pt x="496" y="965"/>
                      </a:lnTo>
                      <a:lnTo>
                        <a:pt x="500" y="970"/>
                      </a:lnTo>
                      <a:lnTo>
                        <a:pt x="504" y="966"/>
                      </a:lnTo>
                      <a:lnTo>
                        <a:pt x="510" y="955"/>
                      </a:lnTo>
                      <a:lnTo>
                        <a:pt x="495" y="956"/>
                      </a:lnTo>
                      <a:lnTo>
                        <a:pt x="495" y="950"/>
                      </a:lnTo>
                      <a:lnTo>
                        <a:pt x="487" y="933"/>
                      </a:lnTo>
                      <a:lnTo>
                        <a:pt x="484" y="929"/>
                      </a:lnTo>
                      <a:lnTo>
                        <a:pt x="480" y="926"/>
                      </a:lnTo>
                      <a:lnTo>
                        <a:pt x="477" y="924"/>
                      </a:lnTo>
                      <a:lnTo>
                        <a:pt x="476" y="918"/>
                      </a:lnTo>
                      <a:lnTo>
                        <a:pt x="474" y="913"/>
                      </a:lnTo>
                      <a:lnTo>
                        <a:pt x="467" y="910"/>
                      </a:lnTo>
                      <a:lnTo>
                        <a:pt x="464" y="915"/>
                      </a:lnTo>
                      <a:lnTo>
                        <a:pt x="459" y="916"/>
                      </a:lnTo>
                      <a:lnTo>
                        <a:pt x="454" y="906"/>
                      </a:lnTo>
                      <a:lnTo>
                        <a:pt x="445" y="900"/>
                      </a:lnTo>
                      <a:lnTo>
                        <a:pt x="440" y="893"/>
                      </a:lnTo>
                      <a:lnTo>
                        <a:pt x="437" y="885"/>
                      </a:lnTo>
                      <a:lnTo>
                        <a:pt x="435" y="881"/>
                      </a:lnTo>
                      <a:lnTo>
                        <a:pt x="435" y="875"/>
                      </a:lnTo>
                      <a:lnTo>
                        <a:pt x="434" y="869"/>
                      </a:lnTo>
                      <a:lnTo>
                        <a:pt x="430" y="865"/>
                      </a:lnTo>
                      <a:lnTo>
                        <a:pt x="426" y="860"/>
                      </a:lnTo>
                      <a:lnTo>
                        <a:pt x="421" y="859"/>
                      </a:lnTo>
                      <a:lnTo>
                        <a:pt x="417" y="844"/>
                      </a:lnTo>
                      <a:lnTo>
                        <a:pt x="419" y="834"/>
                      </a:lnTo>
                      <a:lnTo>
                        <a:pt x="424" y="829"/>
                      </a:lnTo>
                      <a:lnTo>
                        <a:pt x="427" y="821"/>
                      </a:lnTo>
                      <a:lnTo>
                        <a:pt x="425" y="815"/>
                      </a:lnTo>
                      <a:lnTo>
                        <a:pt x="426" y="808"/>
                      </a:lnTo>
                      <a:lnTo>
                        <a:pt x="430" y="805"/>
                      </a:lnTo>
                      <a:lnTo>
                        <a:pt x="431" y="790"/>
                      </a:lnTo>
                      <a:lnTo>
                        <a:pt x="439" y="779"/>
                      </a:lnTo>
                      <a:lnTo>
                        <a:pt x="454" y="786"/>
                      </a:lnTo>
                      <a:lnTo>
                        <a:pt x="460" y="795"/>
                      </a:lnTo>
                      <a:lnTo>
                        <a:pt x="460" y="800"/>
                      </a:lnTo>
                      <a:lnTo>
                        <a:pt x="461" y="801"/>
                      </a:lnTo>
                      <a:lnTo>
                        <a:pt x="466" y="796"/>
                      </a:lnTo>
                      <a:lnTo>
                        <a:pt x="467" y="798"/>
                      </a:lnTo>
                      <a:lnTo>
                        <a:pt x="470" y="800"/>
                      </a:lnTo>
                      <a:lnTo>
                        <a:pt x="467" y="804"/>
                      </a:lnTo>
                      <a:lnTo>
                        <a:pt x="461" y="814"/>
                      </a:lnTo>
                      <a:lnTo>
                        <a:pt x="460" y="821"/>
                      </a:lnTo>
                      <a:lnTo>
                        <a:pt x="462" y="828"/>
                      </a:lnTo>
                      <a:lnTo>
                        <a:pt x="466" y="825"/>
                      </a:lnTo>
                      <a:lnTo>
                        <a:pt x="472" y="815"/>
                      </a:lnTo>
                      <a:lnTo>
                        <a:pt x="485" y="819"/>
                      </a:lnTo>
                      <a:lnTo>
                        <a:pt x="491" y="826"/>
                      </a:lnTo>
                      <a:lnTo>
                        <a:pt x="495" y="834"/>
                      </a:lnTo>
                      <a:lnTo>
                        <a:pt x="492" y="838"/>
                      </a:lnTo>
                      <a:lnTo>
                        <a:pt x="491" y="841"/>
                      </a:lnTo>
                      <a:lnTo>
                        <a:pt x="492" y="854"/>
                      </a:lnTo>
                      <a:lnTo>
                        <a:pt x="491" y="860"/>
                      </a:lnTo>
                      <a:lnTo>
                        <a:pt x="489" y="865"/>
                      </a:lnTo>
                      <a:lnTo>
                        <a:pt x="486" y="860"/>
                      </a:lnTo>
                      <a:lnTo>
                        <a:pt x="484" y="849"/>
                      </a:lnTo>
                      <a:lnTo>
                        <a:pt x="480" y="849"/>
                      </a:lnTo>
                      <a:lnTo>
                        <a:pt x="481" y="865"/>
                      </a:lnTo>
                      <a:lnTo>
                        <a:pt x="487" y="870"/>
                      </a:lnTo>
                      <a:lnTo>
                        <a:pt x="489" y="879"/>
                      </a:lnTo>
                      <a:lnTo>
                        <a:pt x="484" y="884"/>
                      </a:lnTo>
                      <a:lnTo>
                        <a:pt x="495" y="891"/>
                      </a:lnTo>
                      <a:lnTo>
                        <a:pt x="499" y="895"/>
                      </a:lnTo>
                      <a:lnTo>
                        <a:pt x="502" y="898"/>
                      </a:lnTo>
                      <a:lnTo>
                        <a:pt x="504" y="901"/>
                      </a:lnTo>
                      <a:lnTo>
                        <a:pt x="506" y="900"/>
                      </a:lnTo>
                      <a:lnTo>
                        <a:pt x="507" y="896"/>
                      </a:lnTo>
                      <a:lnTo>
                        <a:pt x="514" y="894"/>
                      </a:lnTo>
                      <a:lnTo>
                        <a:pt x="516" y="890"/>
                      </a:lnTo>
                      <a:lnTo>
                        <a:pt x="519" y="882"/>
                      </a:lnTo>
                      <a:lnTo>
                        <a:pt x="540" y="890"/>
                      </a:lnTo>
                      <a:lnTo>
                        <a:pt x="561" y="899"/>
                      </a:lnTo>
                      <a:lnTo>
                        <a:pt x="567" y="898"/>
                      </a:lnTo>
                      <a:lnTo>
                        <a:pt x="560" y="889"/>
                      </a:lnTo>
                      <a:lnTo>
                        <a:pt x="539" y="857"/>
                      </a:lnTo>
                      <a:lnTo>
                        <a:pt x="537" y="844"/>
                      </a:lnTo>
                      <a:lnTo>
                        <a:pt x="541" y="836"/>
                      </a:lnTo>
                      <a:lnTo>
                        <a:pt x="545" y="826"/>
                      </a:lnTo>
                      <a:lnTo>
                        <a:pt x="545" y="816"/>
                      </a:lnTo>
                      <a:lnTo>
                        <a:pt x="531" y="806"/>
                      </a:lnTo>
                      <a:lnTo>
                        <a:pt x="519" y="794"/>
                      </a:lnTo>
                      <a:lnTo>
                        <a:pt x="507" y="798"/>
                      </a:lnTo>
                      <a:lnTo>
                        <a:pt x="500" y="802"/>
                      </a:lnTo>
                      <a:lnTo>
                        <a:pt x="495" y="802"/>
                      </a:lnTo>
                      <a:lnTo>
                        <a:pt x="495" y="794"/>
                      </a:lnTo>
                      <a:lnTo>
                        <a:pt x="485" y="786"/>
                      </a:lnTo>
                      <a:lnTo>
                        <a:pt x="480" y="790"/>
                      </a:lnTo>
                      <a:lnTo>
                        <a:pt x="476" y="795"/>
                      </a:lnTo>
                      <a:lnTo>
                        <a:pt x="470" y="796"/>
                      </a:lnTo>
                      <a:lnTo>
                        <a:pt x="464" y="792"/>
                      </a:lnTo>
                      <a:lnTo>
                        <a:pt x="459" y="775"/>
                      </a:lnTo>
                      <a:lnTo>
                        <a:pt x="465" y="776"/>
                      </a:lnTo>
                      <a:lnTo>
                        <a:pt x="464" y="767"/>
                      </a:lnTo>
                      <a:lnTo>
                        <a:pt x="464" y="764"/>
                      </a:lnTo>
                      <a:lnTo>
                        <a:pt x="470" y="761"/>
                      </a:lnTo>
                      <a:lnTo>
                        <a:pt x="469" y="757"/>
                      </a:lnTo>
                      <a:lnTo>
                        <a:pt x="465" y="756"/>
                      </a:lnTo>
                      <a:lnTo>
                        <a:pt x="457" y="765"/>
                      </a:lnTo>
                      <a:lnTo>
                        <a:pt x="455" y="760"/>
                      </a:lnTo>
                      <a:lnTo>
                        <a:pt x="454" y="754"/>
                      </a:lnTo>
                      <a:lnTo>
                        <a:pt x="455" y="748"/>
                      </a:lnTo>
                      <a:lnTo>
                        <a:pt x="450" y="745"/>
                      </a:lnTo>
                      <a:lnTo>
                        <a:pt x="450" y="756"/>
                      </a:lnTo>
                      <a:lnTo>
                        <a:pt x="449" y="766"/>
                      </a:lnTo>
                      <a:lnTo>
                        <a:pt x="447" y="770"/>
                      </a:lnTo>
                      <a:lnTo>
                        <a:pt x="445" y="769"/>
                      </a:lnTo>
                      <a:lnTo>
                        <a:pt x="437" y="769"/>
                      </a:lnTo>
                      <a:lnTo>
                        <a:pt x="435" y="774"/>
                      </a:lnTo>
                      <a:lnTo>
                        <a:pt x="432" y="775"/>
                      </a:lnTo>
                      <a:lnTo>
                        <a:pt x="430" y="762"/>
                      </a:lnTo>
                      <a:lnTo>
                        <a:pt x="439" y="761"/>
                      </a:lnTo>
                      <a:lnTo>
                        <a:pt x="440" y="755"/>
                      </a:lnTo>
                      <a:lnTo>
                        <a:pt x="439" y="750"/>
                      </a:lnTo>
                      <a:lnTo>
                        <a:pt x="435" y="746"/>
                      </a:lnTo>
                      <a:lnTo>
                        <a:pt x="426" y="742"/>
                      </a:lnTo>
                      <a:lnTo>
                        <a:pt x="427" y="737"/>
                      </a:lnTo>
                      <a:lnTo>
                        <a:pt x="427" y="735"/>
                      </a:lnTo>
                      <a:lnTo>
                        <a:pt x="424" y="729"/>
                      </a:lnTo>
                      <a:lnTo>
                        <a:pt x="421" y="731"/>
                      </a:lnTo>
                      <a:lnTo>
                        <a:pt x="416" y="731"/>
                      </a:lnTo>
                      <a:lnTo>
                        <a:pt x="412" y="730"/>
                      </a:lnTo>
                      <a:lnTo>
                        <a:pt x="405" y="724"/>
                      </a:lnTo>
                      <a:lnTo>
                        <a:pt x="401" y="722"/>
                      </a:lnTo>
                      <a:lnTo>
                        <a:pt x="391" y="722"/>
                      </a:lnTo>
                      <a:lnTo>
                        <a:pt x="386" y="715"/>
                      </a:lnTo>
                      <a:lnTo>
                        <a:pt x="391" y="701"/>
                      </a:lnTo>
                      <a:lnTo>
                        <a:pt x="391" y="692"/>
                      </a:lnTo>
                      <a:lnTo>
                        <a:pt x="395" y="690"/>
                      </a:lnTo>
                      <a:lnTo>
                        <a:pt x="397" y="691"/>
                      </a:lnTo>
                      <a:lnTo>
                        <a:pt x="402" y="687"/>
                      </a:lnTo>
                      <a:lnTo>
                        <a:pt x="399" y="679"/>
                      </a:lnTo>
                      <a:lnTo>
                        <a:pt x="394" y="670"/>
                      </a:lnTo>
                      <a:lnTo>
                        <a:pt x="397" y="645"/>
                      </a:lnTo>
                      <a:lnTo>
                        <a:pt x="402" y="640"/>
                      </a:lnTo>
                      <a:lnTo>
                        <a:pt x="414" y="651"/>
                      </a:lnTo>
                      <a:lnTo>
                        <a:pt x="424" y="650"/>
                      </a:lnTo>
                      <a:lnTo>
                        <a:pt x="435" y="632"/>
                      </a:lnTo>
                      <a:lnTo>
                        <a:pt x="437" y="636"/>
                      </a:lnTo>
                      <a:lnTo>
                        <a:pt x="436" y="650"/>
                      </a:lnTo>
                      <a:lnTo>
                        <a:pt x="446" y="654"/>
                      </a:lnTo>
                      <a:lnTo>
                        <a:pt x="464" y="649"/>
                      </a:lnTo>
                      <a:lnTo>
                        <a:pt x="489" y="656"/>
                      </a:lnTo>
                      <a:lnTo>
                        <a:pt x="491" y="665"/>
                      </a:lnTo>
                      <a:close/>
                      <a:moveTo>
                        <a:pt x="387" y="626"/>
                      </a:moveTo>
                      <a:lnTo>
                        <a:pt x="390" y="648"/>
                      </a:lnTo>
                      <a:lnTo>
                        <a:pt x="387" y="654"/>
                      </a:lnTo>
                      <a:lnTo>
                        <a:pt x="382" y="663"/>
                      </a:lnTo>
                      <a:lnTo>
                        <a:pt x="376" y="669"/>
                      </a:lnTo>
                      <a:lnTo>
                        <a:pt x="381" y="673"/>
                      </a:lnTo>
                      <a:lnTo>
                        <a:pt x="376" y="678"/>
                      </a:lnTo>
                      <a:lnTo>
                        <a:pt x="371" y="680"/>
                      </a:lnTo>
                      <a:lnTo>
                        <a:pt x="371" y="685"/>
                      </a:lnTo>
                      <a:lnTo>
                        <a:pt x="366" y="689"/>
                      </a:lnTo>
                      <a:lnTo>
                        <a:pt x="366" y="696"/>
                      </a:lnTo>
                      <a:lnTo>
                        <a:pt x="362" y="706"/>
                      </a:lnTo>
                      <a:lnTo>
                        <a:pt x="344" y="729"/>
                      </a:lnTo>
                      <a:lnTo>
                        <a:pt x="330" y="737"/>
                      </a:lnTo>
                      <a:lnTo>
                        <a:pt x="315" y="742"/>
                      </a:lnTo>
                      <a:lnTo>
                        <a:pt x="309" y="739"/>
                      </a:lnTo>
                      <a:lnTo>
                        <a:pt x="302" y="737"/>
                      </a:lnTo>
                      <a:lnTo>
                        <a:pt x="305" y="721"/>
                      </a:lnTo>
                      <a:lnTo>
                        <a:pt x="309" y="729"/>
                      </a:lnTo>
                      <a:lnTo>
                        <a:pt x="319" y="735"/>
                      </a:lnTo>
                      <a:lnTo>
                        <a:pt x="325" y="735"/>
                      </a:lnTo>
                      <a:lnTo>
                        <a:pt x="327" y="730"/>
                      </a:lnTo>
                      <a:lnTo>
                        <a:pt x="324" y="726"/>
                      </a:lnTo>
                      <a:lnTo>
                        <a:pt x="319" y="725"/>
                      </a:lnTo>
                      <a:lnTo>
                        <a:pt x="316" y="720"/>
                      </a:lnTo>
                      <a:lnTo>
                        <a:pt x="317" y="714"/>
                      </a:lnTo>
                      <a:lnTo>
                        <a:pt x="322" y="709"/>
                      </a:lnTo>
                      <a:lnTo>
                        <a:pt x="332" y="710"/>
                      </a:lnTo>
                      <a:lnTo>
                        <a:pt x="329" y="701"/>
                      </a:lnTo>
                      <a:lnTo>
                        <a:pt x="327" y="691"/>
                      </a:lnTo>
                      <a:lnTo>
                        <a:pt x="340" y="681"/>
                      </a:lnTo>
                      <a:lnTo>
                        <a:pt x="341" y="668"/>
                      </a:lnTo>
                      <a:lnTo>
                        <a:pt x="342" y="656"/>
                      </a:lnTo>
                      <a:lnTo>
                        <a:pt x="364" y="651"/>
                      </a:lnTo>
                      <a:lnTo>
                        <a:pt x="369" y="640"/>
                      </a:lnTo>
                      <a:lnTo>
                        <a:pt x="371" y="641"/>
                      </a:lnTo>
                      <a:lnTo>
                        <a:pt x="375" y="646"/>
                      </a:lnTo>
                      <a:lnTo>
                        <a:pt x="381" y="641"/>
                      </a:lnTo>
                      <a:lnTo>
                        <a:pt x="375" y="636"/>
                      </a:lnTo>
                      <a:lnTo>
                        <a:pt x="375" y="629"/>
                      </a:lnTo>
                      <a:lnTo>
                        <a:pt x="387" y="626"/>
                      </a:lnTo>
                      <a:close/>
                      <a:moveTo>
                        <a:pt x="339" y="653"/>
                      </a:moveTo>
                      <a:lnTo>
                        <a:pt x="335" y="654"/>
                      </a:lnTo>
                      <a:lnTo>
                        <a:pt x="329" y="654"/>
                      </a:lnTo>
                      <a:lnTo>
                        <a:pt x="327" y="649"/>
                      </a:lnTo>
                      <a:lnTo>
                        <a:pt x="330" y="634"/>
                      </a:lnTo>
                      <a:lnTo>
                        <a:pt x="332" y="625"/>
                      </a:lnTo>
                      <a:lnTo>
                        <a:pt x="334" y="619"/>
                      </a:lnTo>
                      <a:lnTo>
                        <a:pt x="335" y="614"/>
                      </a:lnTo>
                      <a:lnTo>
                        <a:pt x="337" y="611"/>
                      </a:lnTo>
                      <a:lnTo>
                        <a:pt x="339" y="615"/>
                      </a:lnTo>
                      <a:lnTo>
                        <a:pt x="337" y="619"/>
                      </a:lnTo>
                      <a:lnTo>
                        <a:pt x="337" y="628"/>
                      </a:lnTo>
                      <a:lnTo>
                        <a:pt x="339" y="633"/>
                      </a:lnTo>
                      <a:lnTo>
                        <a:pt x="337" y="638"/>
                      </a:lnTo>
                      <a:lnTo>
                        <a:pt x="339" y="653"/>
                      </a:lnTo>
                      <a:close/>
                      <a:moveTo>
                        <a:pt x="381" y="609"/>
                      </a:moveTo>
                      <a:lnTo>
                        <a:pt x="380" y="614"/>
                      </a:lnTo>
                      <a:lnTo>
                        <a:pt x="375" y="614"/>
                      </a:lnTo>
                      <a:lnTo>
                        <a:pt x="370" y="616"/>
                      </a:lnTo>
                      <a:lnTo>
                        <a:pt x="370" y="619"/>
                      </a:lnTo>
                      <a:lnTo>
                        <a:pt x="367" y="619"/>
                      </a:lnTo>
                      <a:lnTo>
                        <a:pt x="369" y="613"/>
                      </a:lnTo>
                      <a:lnTo>
                        <a:pt x="372" y="611"/>
                      </a:lnTo>
                      <a:lnTo>
                        <a:pt x="376" y="605"/>
                      </a:lnTo>
                      <a:lnTo>
                        <a:pt x="381" y="609"/>
                      </a:lnTo>
                      <a:close/>
                      <a:moveTo>
                        <a:pt x="456" y="603"/>
                      </a:moveTo>
                      <a:lnTo>
                        <a:pt x="456" y="608"/>
                      </a:lnTo>
                      <a:lnTo>
                        <a:pt x="452" y="600"/>
                      </a:lnTo>
                      <a:lnTo>
                        <a:pt x="456" y="603"/>
                      </a:lnTo>
                      <a:close/>
                      <a:moveTo>
                        <a:pt x="481" y="616"/>
                      </a:moveTo>
                      <a:lnTo>
                        <a:pt x="481" y="618"/>
                      </a:lnTo>
                      <a:lnTo>
                        <a:pt x="477" y="619"/>
                      </a:lnTo>
                      <a:lnTo>
                        <a:pt x="474" y="618"/>
                      </a:lnTo>
                      <a:lnTo>
                        <a:pt x="471" y="618"/>
                      </a:lnTo>
                      <a:lnTo>
                        <a:pt x="470" y="620"/>
                      </a:lnTo>
                      <a:lnTo>
                        <a:pt x="469" y="623"/>
                      </a:lnTo>
                      <a:lnTo>
                        <a:pt x="466" y="624"/>
                      </a:lnTo>
                      <a:lnTo>
                        <a:pt x="465" y="626"/>
                      </a:lnTo>
                      <a:lnTo>
                        <a:pt x="461" y="628"/>
                      </a:lnTo>
                      <a:lnTo>
                        <a:pt x="456" y="626"/>
                      </a:lnTo>
                      <a:lnTo>
                        <a:pt x="454" y="623"/>
                      </a:lnTo>
                      <a:lnTo>
                        <a:pt x="456" y="620"/>
                      </a:lnTo>
                      <a:lnTo>
                        <a:pt x="460" y="616"/>
                      </a:lnTo>
                      <a:lnTo>
                        <a:pt x="466" y="606"/>
                      </a:lnTo>
                      <a:lnTo>
                        <a:pt x="466" y="605"/>
                      </a:lnTo>
                      <a:lnTo>
                        <a:pt x="465" y="600"/>
                      </a:lnTo>
                      <a:lnTo>
                        <a:pt x="467" y="598"/>
                      </a:lnTo>
                      <a:lnTo>
                        <a:pt x="474" y="601"/>
                      </a:lnTo>
                      <a:lnTo>
                        <a:pt x="475" y="605"/>
                      </a:lnTo>
                      <a:lnTo>
                        <a:pt x="474" y="610"/>
                      </a:lnTo>
                      <a:lnTo>
                        <a:pt x="481" y="616"/>
                      </a:lnTo>
                      <a:close/>
                      <a:moveTo>
                        <a:pt x="387" y="584"/>
                      </a:moveTo>
                      <a:lnTo>
                        <a:pt x="387" y="586"/>
                      </a:lnTo>
                      <a:lnTo>
                        <a:pt x="395" y="585"/>
                      </a:lnTo>
                      <a:lnTo>
                        <a:pt x="396" y="589"/>
                      </a:lnTo>
                      <a:lnTo>
                        <a:pt x="392" y="594"/>
                      </a:lnTo>
                      <a:lnTo>
                        <a:pt x="387" y="596"/>
                      </a:lnTo>
                      <a:lnTo>
                        <a:pt x="381" y="595"/>
                      </a:lnTo>
                      <a:lnTo>
                        <a:pt x="376" y="593"/>
                      </a:lnTo>
                      <a:lnTo>
                        <a:pt x="372" y="594"/>
                      </a:lnTo>
                      <a:lnTo>
                        <a:pt x="372" y="596"/>
                      </a:lnTo>
                      <a:lnTo>
                        <a:pt x="366" y="596"/>
                      </a:lnTo>
                      <a:lnTo>
                        <a:pt x="367" y="591"/>
                      </a:lnTo>
                      <a:lnTo>
                        <a:pt x="375" y="584"/>
                      </a:lnTo>
                      <a:lnTo>
                        <a:pt x="382" y="580"/>
                      </a:lnTo>
                      <a:lnTo>
                        <a:pt x="386" y="580"/>
                      </a:lnTo>
                      <a:lnTo>
                        <a:pt x="387" y="584"/>
                      </a:lnTo>
                      <a:close/>
                      <a:moveTo>
                        <a:pt x="421" y="469"/>
                      </a:moveTo>
                      <a:lnTo>
                        <a:pt x="417" y="471"/>
                      </a:lnTo>
                      <a:lnTo>
                        <a:pt x="416" y="466"/>
                      </a:lnTo>
                      <a:lnTo>
                        <a:pt x="420" y="464"/>
                      </a:lnTo>
                      <a:lnTo>
                        <a:pt x="422" y="466"/>
                      </a:lnTo>
                      <a:lnTo>
                        <a:pt x="421" y="469"/>
                      </a:lnTo>
                      <a:close/>
                      <a:moveTo>
                        <a:pt x="471" y="428"/>
                      </a:moveTo>
                      <a:lnTo>
                        <a:pt x="471" y="433"/>
                      </a:lnTo>
                      <a:lnTo>
                        <a:pt x="472" y="438"/>
                      </a:lnTo>
                      <a:lnTo>
                        <a:pt x="479" y="443"/>
                      </a:lnTo>
                      <a:lnTo>
                        <a:pt x="485" y="445"/>
                      </a:lnTo>
                      <a:lnTo>
                        <a:pt x="476" y="448"/>
                      </a:lnTo>
                      <a:lnTo>
                        <a:pt x="476" y="451"/>
                      </a:lnTo>
                      <a:lnTo>
                        <a:pt x="486" y="455"/>
                      </a:lnTo>
                      <a:lnTo>
                        <a:pt x="486" y="463"/>
                      </a:lnTo>
                      <a:lnTo>
                        <a:pt x="480" y="469"/>
                      </a:lnTo>
                      <a:lnTo>
                        <a:pt x="460" y="469"/>
                      </a:lnTo>
                      <a:lnTo>
                        <a:pt x="455" y="479"/>
                      </a:lnTo>
                      <a:lnTo>
                        <a:pt x="454" y="488"/>
                      </a:lnTo>
                      <a:lnTo>
                        <a:pt x="450" y="486"/>
                      </a:lnTo>
                      <a:lnTo>
                        <a:pt x="442" y="479"/>
                      </a:lnTo>
                      <a:lnTo>
                        <a:pt x="436" y="473"/>
                      </a:lnTo>
                      <a:lnTo>
                        <a:pt x="437" y="465"/>
                      </a:lnTo>
                      <a:lnTo>
                        <a:pt x="434" y="463"/>
                      </a:lnTo>
                      <a:lnTo>
                        <a:pt x="429" y="466"/>
                      </a:lnTo>
                      <a:lnTo>
                        <a:pt x="425" y="460"/>
                      </a:lnTo>
                      <a:lnTo>
                        <a:pt x="424" y="451"/>
                      </a:lnTo>
                      <a:lnTo>
                        <a:pt x="436" y="458"/>
                      </a:lnTo>
                      <a:lnTo>
                        <a:pt x="440" y="458"/>
                      </a:lnTo>
                      <a:lnTo>
                        <a:pt x="440" y="455"/>
                      </a:lnTo>
                      <a:lnTo>
                        <a:pt x="430" y="446"/>
                      </a:lnTo>
                      <a:lnTo>
                        <a:pt x="429" y="431"/>
                      </a:lnTo>
                      <a:lnTo>
                        <a:pt x="437" y="431"/>
                      </a:lnTo>
                      <a:lnTo>
                        <a:pt x="435" y="423"/>
                      </a:lnTo>
                      <a:lnTo>
                        <a:pt x="437" y="415"/>
                      </a:lnTo>
                      <a:lnTo>
                        <a:pt x="440" y="409"/>
                      </a:lnTo>
                      <a:lnTo>
                        <a:pt x="441" y="404"/>
                      </a:lnTo>
                      <a:lnTo>
                        <a:pt x="446" y="409"/>
                      </a:lnTo>
                      <a:lnTo>
                        <a:pt x="472" y="416"/>
                      </a:lnTo>
                      <a:lnTo>
                        <a:pt x="472" y="420"/>
                      </a:lnTo>
                      <a:lnTo>
                        <a:pt x="471" y="428"/>
                      </a:lnTo>
                      <a:close/>
                      <a:moveTo>
                        <a:pt x="321" y="196"/>
                      </a:moveTo>
                      <a:lnTo>
                        <a:pt x="320" y="200"/>
                      </a:lnTo>
                      <a:lnTo>
                        <a:pt x="309" y="210"/>
                      </a:lnTo>
                      <a:lnTo>
                        <a:pt x="307" y="209"/>
                      </a:lnTo>
                      <a:lnTo>
                        <a:pt x="306" y="201"/>
                      </a:lnTo>
                      <a:lnTo>
                        <a:pt x="307" y="196"/>
                      </a:lnTo>
                      <a:lnTo>
                        <a:pt x="311" y="195"/>
                      </a:lnTo>
                      <a:lnTo>
                        <a:pt x="314" y="196"/>
                      </a:lnTo>
                      <a:lnTo>
                        <a:pt x="319" y="194"/>
                      </a:lnTo>
                      <a:lnTo>
                        <a:pt x="321" y="196"/>
                      </a:lnTo>
                      <a:close/>
                      <a:moveTo>
                        <a:pt x="255" y="199"/>
                      </a:moveTo>
                      <a:lnTo>
                        <a:pt x="257" y="199"/>
                      </a:lnTo>
                      <a:lnTo>
                        <a:pt x="260" y="196"/>
                      </a:lnTo>
                      <a:lnTo>
                        <a:pt x="264" y="195"/>
                      </a:lnTo>
                      <a:lnTo>
                        <a:pt x="270" y="193"/>
                      </a:lnTo>
                      <a:lnTo>
                        <a:pt x="275" y="193"/>
                      </a:lnTo>
                      <a:lnTo>
                        <a:pt x="274" y="189"/>
                      </a:lnTo>
                      <a:lnTo>
                        <a:pt x="272" y="185"/>
                      </a:lnTo>
                      <a:lnTo>
                        <a:pt x="277" y="185"/>
                      </a:lnTo>
                      <a:lnTo>
                        <a:pt x="281" y="188"/>
                      </a:lnTo>
                      <a:lnTo>
                        <a:pt x="286" y="193"/>
                      </a:lnTo>
                      <a:lnTo>
                        <a:pt x="285" y="201"/>
                      </a:lnTo>
                      <a:lnTo>
                        <a:pt x="290" y="205"/>
                      </a:lnTo>
                      <a:lnTo>
                        <a:pt x="291" y="199"/>
                      </a:lnTo>
                      <a:lnTo>
                        <a:pt x="302" y="199"/>
                      </a:lnTo>
                      <a:lnTo>
                        <a:pt x="304" y="203"/>
                      </a:lnTo>
                      <a:lnTo>
                        <a:pt x="302" y="206"/>
                      </a:lnTo>
                      <a:lnTo>
                        <a:pt x="295" y="210"/>
                      </a:lnTo>
                      <a:lnTo>
                        <a:pt x="292" y="216"/>
                      </a:lnTo>
                      <a:lnTo>
                        <a:pt x="294" y="225"/>
                      </a:lnTo>
                      <a:lnTo>
                        <a:pt x="295" y="230"/>
                      </a:lnTo>
                      <a:lnTo>
                        <a:pt x="289" y="235"/>
                      </a:lnTo>
                      <a:lnTo>
                        <a:pt x="284" y="235"/>
                      </a:lnTo>
                      <a:lnTo>
                        <a:pt x="284" y="238"/>
                      </a:lnTo>
                      <a:lnTo>
                        <a:pt x="286" y="240"/>
                      </a:lnTo>
                      <a:lnTo>
                        <a:pt x="285" y="245"/>
                      </a:lnTo>
                      <a:lnTo>
                        <a:pt x="284" y="259"/>
                      </a:lnTo>
                      <a:lnTo>
                        <a:pt x="282" y="260"/>
                      </a:lnTo>
                      <a:lnTo>
                        <a:pt x="280" y="261"/>
                      </a:lnTo>
                      <a:lnTo>
                        <a:pt x="279" y="265"/>
                      </a:lnTo>
                      <a:lnTo>
                        <a:pt x="279" y="270"/>
                      </a:lnTo>
                      <a:lnTo>
                        <a:pt x="275" y="279"/>
                      </a:lnTo>
                      <a:lnTo>
                        <a:pt x="271" y="281"/>
                      </a:lnTo>
                      <a:lnTo>
                        <a:pt x="270" y="286"/>
                      </a:lnTo>
                      <a:lnTo>
                        <a:pt x="265" y="289"/>
                      </a:lnTo>
                      <a:lnTo>
                        <a:pt x="264" y="292"/>
                      </a:lnTo>
                      <a:lnTo>
                        <a:pt x="259" y="292"/>
                      </a:lnTo>
                      <a:lnTo>
                        <a:pt x="257" y="295"/>
                      </a:lnTo>
                      <a:lnTo>
                        <a:pt x="252" y="299"/>
                      </a:lnTo>
                      <a:lnTo>
                        <a:pt x="251" y="294"/>
                      </a:lnTo>
                      <a:lnTo>
                        <a:pt x="249" y="292"/>
                      </a:lnTo>
                      <a:lnTo>
                        <a:pt x="244" y="288"/>
                      </a:lnTo>
                      <a:lnTo>
                        <a:pt x="241" y="286"/>
                      </a:lnTo>
                      <a:lnTo>
                        <a:pt x="234" y="290"/>
                      </a:lnTo>
                      <a:lnTo>
                        <a:pt x="232" y="270"/>
                      </a:lnTo>
                      <a:lnTo>
                        <a:pt x="236" y="259"/>
                      </a:lnTo>
                      <a:lnTo>
                        <a:pt x="235" y="246"/>
                      </a:lnTo>
                      <a:lnTo>
                        <a:pt x="237" y="231"/>
                      </a:lnTo>
                      <a:lnTo>
                        <a:pt x="240" y="227"/>
                      </a:lnTo>
                      <a:lnTo>
                        <a:pt x="240" y="220"/>
                      </a:lnTo>
                      <a:lnTo>
                        <a:pt x="244" y="209"/>
                      </a:lnTo>
                      <a:lnTo>
                        <a:pt x="244" y="188"/>
                      </a:lnTo>
                      <a:lnTo>
                        <a:pt x="247" y="181"/>
                      </a:lnTo>
                      <a:lnTo>
                        <a:pt x="255" y="183"/>
                      </a:lnTo>
                      <a:lnTo>
                        <a:pt x="256" y="185"/>
                      </a:lnTo>
                      <a:lnTo>
                        <a:pt x="255" y="190"/>
                      </a:lnTo>
                      <a:lnTo>
                        <a:pt x="255" y="199"/>
                      </a:lnTo>
                      <a:close/>
                      <a:moveTo>
                        <a:pt x="351" y="0"/>
                      </a:moveTo>
                      <a:lnTo>
                        <a:pt x="354" y="4"/>
                      </a:lnTo>
                      <a:lnTo>
                        <a:pt x="360" y="13"/>
                      </a:lnTo>
                      <a:lnTo>
                        <a:pt x="359" y="19"/>
                      </a:lnTo>
                      <a:lnTo>
                        <a:pt x="356" y="21"/>
                      </a:lnTo>
                      <a:lnTo>
                        <a:pt x="352" y="24"/>
                      </a:lnTo>
                      <a:lnTo>
                        <a:pt x="356" y="25"/>
                      </a:lnTo>
                      <a:lnTo>
                        <a:pt x="360" y="28"/>
                      </a:lnTo>
                      <a:lnTo>
                        <a:pt x="360" y="33"/>
                      </a:lnTo>
                      <a:lnTo>
                        <a:pt x="357" y="40"/>
                      </a:lnTo>
                      <a:lnTo>
                        <a:pt x="354" y="41"/>
                      </a:lnTo>
                      <a:lnTo>
                        <a:pt x="350" y="39"/>
                      </a:lnTo>
                      <a:lnTo>
                        <a:pt x="346" y="40"/>
                      </a:lnTo>
                      <a:lnTo>
                        <a:pt x="350" y="45"/>
                      </a:lnTo>
                      <a:lnTo>
                        <a:pt x="356" y="51"/>
                      </a:lnTo>
                      <a:lnTo>
                        <a:pt x="355" y="60"/>
                      </a:lnTo>
                      <a:lnTo>
                        <a:pt x="351" y="71"/>
                      </a:lnTo>
                      <a:lnTo>
                        <a:pt x="344" y="91"/>
                      </a:lnTo>
                      <a:lnTo>
                        <a:pt x="326" y="108"/>
                      </a:lnTo>
                      <a:lnTo>
                        <a:pt x="317" y="121"/>
                      </a:lnTo>
                      <a:lnTo>
                        <a:pt x="319" y="135"/>
                      </a:lnTo>
                      <a:lnTo>
                        <a:pt x="310" y="144"/>
                      </a:lnTo>
                      <a:lnTo>
                        <a:pt x="309" y="151"/>
                      </a:lnTo>
                      <a:lnTo>
                        <a:pt x="315" y="150"/>
                      </a:lnTo>
                      <a:lnTo>
                        <a:pt x="322" y="141"/>
                      </a:lnTo>
                      <a:lnTo>
                        <a:pt x="322" y="145"/>
                      </a:lnTo>
                      <a:lnTo>
                        <a:pt x="320" y="153"/>
                      </a:lnTo>
                      <a:lnTo>
                        <a:pt x="319" y="155"/>
                      </a:lnTo>
                      <a:lnTo>
                        <a:pt x="320" y="164"/>
                      </a:lnTo>
                      <a:lnTo>
                        <a:pt x="325" y="169"/>
                      </a:lnTo>
                      <a:lnTo>
                        <a:pt x="329" y="170"/>
                      </a:lnTo>
                      <a:lnTo>
                        <a:pt x="325" y="178"/>
                      </a:lnTo>
                      <a:lnTo>
                        <a:pt x="320" y="180"/>
                      </a:lnTo>
                      <a:lnTo>
                        <a:pt x="316" y="184"/>
                      </a:lnTo>
                      <a:lnTo>
                        <a:pt x="312" y="193"/>
                      </a:lnTo>
                      <a:lnTo>
                        <a:pt x="302" y="195"/>
                      </a:lnTo>
                      <a:lnTo>
                        <a:pt x="295" y="194"/>
                      </a:lnTo>
                      <a:lnTo>
                        <a:pt x="287" y="184"/>
                      </a:lnTo>
                      <a:lnTo>
                        <a:pt x="294" y="179"/>
                      </a:lnTo>
                      <a:lnTo>
                        <a:pt x="302" y="183"/>
                      </a:lnTo>
                      <a:lnTo>
                        <a:pt x="304" y="169"/>
                      </a:lnTo>
                      <a:lnTo>
                        <a:pt x="299" y="166"/>
                      </a:lnTo>
                      <a:lnTo>
                        <a:pt x="291" y="175"/>
                      </a:lnTo>
                      <a:lnTo>
                        <a:pt x="287" y="175"/>
                      </a:lnTo>
                      <a:lnTo>
                        <a:pt x="286" y="165"/>
                      </a:lnTo>
                      <a:lnTo>
                        <a:pt x="287" y="160"/>
                      </a:lnTo>
                      <a:lnTo>
                        <a:pt x="289" y="155"/>
                      </a:lnTo>
                      <a:lnTo>
                        <a:pt x="283" y="159"/>
                      </a:lnTo>
                      <a:lnTo>
                        <a:pt x="280" y="164"/>
                      </a:lnTo>
                      <a:lnTo>
                        <a:pt x="282" y="171"/>
                      </a:lnTo>
                      <a:lnTo>
                        <a:pt x="280" y="174"/>
                      </a:lnTo>
                      <a:lnTo>
                        <a:pt x="273" y="169"/>
                      </a:lnTo>
                      <a:lnTo>
                        <a:pt x="263" y="170"/>
                      </a:lnTo>
                      <a:lnTo>
                        <a:pt x="256" y="169"/>
                      </a:lnTo>
                      <a:lnTo>
                        <a:pt x="258" y="163"/>
                      </a:lnTo>
                      <a:lnTo>
                        <a:pt x="268" y="161"/>
                      </a:lnTo>
                      <a:lnTo>
                        <a:pt x="273" y="159"/>
                      </a:lnTo>
                      <a:lnTo>
                        <a:pt x="275" y="141"/>
                      </a:lnTo>
                      <a:lnTo>
                        <a:pt x="272" y="131"/>
                      </a:lnTo>
                      <a:lnTo>
                        <a:pt x="276" y="126"/>
                      </a:lnTo>
                      <a:lnTo>
                        <a:pt x="280" y="126"/>
                      </a:lnTo>
                      <a:lnTo>
                        <a:pt x="281" y="128"/>
                      </a:lnTo>
                      <a:lnTo>
                        <a:pt x="283" y="124"/>
                      </a:lnTo>
                      <a:lnTo>
                        <a:pt x="289" y="118"/>
                      </a:lnTo>
                      <a:lnTo>
                        <a:pt x="289" y="115"/>
                      </a:lnTo>
                      <a:lnTo>
                        <a:pt x="282" y="121"/>
                      </a:lnTo>
                      <a:lnTo>
                        <a:pt x="277" y="123"/>
                      </a:lnTo>
                      <a:lnTo>
                        <a:pt x="275" y="116"/>
                      </a:lnTo>
                      <a:lnTo>
                        <a:pt x="280" y="105"/>
                      </a:lnTo>
                      <a:lnTo>
                        <a:pt x="287" y="89"/>
                      </a:lnTo>
                      <a:lnTo>
                        <a:pt x="295" y="81"/>
                      </a:lnTo>
                      <a:lnTo>
                        <a:pt x="295" y="78"/>
                      </a:lnTo>
                      <a:lnTo>
                        <a:pt x="289" y="69"/>
                      </a:lnTo>
                      <a:lnTo>
                        <a:pt x="281" y="71"/>
                      </a:lnTo>
                      <a:lnTo>
                        <a:pt x="280" y="64"/>
                      </a:lnTo>
                      <a:lnTo>
                        <a:pt x="286" y="56"/>
                      </a:lnTo>
                      <a:lnTo>
                        <a:pt x="287" y="48"/>
                      </a:lnTo>
                      <a:lnTo>
                        <a:pt x="294" y="26"/>
                      </a:lnTo>
                      <a:lnTo>
                        <a:pt x="310" y="26"/>
                      </a:lnTo>
                      <a:lnTo>
                        <a:pt x="316" y="28"/>
                      </a:lnTo>
                      <a:lnTo>
                        <a:pt x="321" y="23"/>
                      </a:lnTo>
                      <a:lnTo>
                        <a:pt x="329" y="13"/>
                      </a:lnTo>
                      <a:lnTo>
                        <a:pt x="335" y="11"/>
                      </a:lnTo>
                      <a:lnTo>
                        <a:pt x="332" y="8"/>
                      </a:lnTo>
                      <a:lnTo>
                        <a:pt x="335" y="3"/>
                      </a:lnTo>
                      <a:lnTo>
                        <a:pt x="341" y="4"/>
                      </a:lnTo>
                      <a:lnTo>
                        <a:pt x="345" y="0"/>
                      </a:lnTo>
                      <a:lnTo>
                        <a:pt x="351" y="0"/>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7" name="Kagoshima" descr="{&quot;Key&quot;:&quot;kagoshima&quot;,&quot;Name&quot;:&quot;Kagoshima&quot;,&quot;Value&quot;:1.0,&quot;Formula&quot;:&quot;&quot;,&quot;Text&quot;:&quot;&quot;,&quot;OfficeApplication&quot;:1,&quot;HasValue&quot;:true}">
                  <a:extLst>
                    <a:ext uri="{FF2B5EF4-FFF2-40B4-BE49-F238E27FC236}">
                      <a16:creationId xmlns:a16="http://schemas.microsoft.com/office/drawing/2014/main" id="{67DDD7D3-0293-4DC9-A6C3-2CFC9F3E3699}"/>
                    </a:ext>
                  </a:extLst>
                </p:cNvPr>
                <p:cNvSpPr>
                  <a:spLocks noEditPoints="1"/>
                </p:cNvSpPr>
                <p:nvPr/>
              </p:nvSpPr>
              <p:spPr bwMode="auto">
                <a:xfrm>
                  <a:off x="4373563" y="4673600"/>
                  <a:ext cx="468313" cy="830262"/>
                </a:xfrm>
                <a:custGeom>
                  <a:avLst/>
                  <a:gdLst>
                    <a:gd name="T0" fmla="*/ 10 w 803"/>
                    <a:gd name="T1" fmla="*/ 1416 h 1421"/>
                    <a:gd name="T2" fmla="*/ 168 w 803"/>
                    <a:gd name="T3" fmla="*/ 1274 h 1421"/>
                    <a:gd name="T4" fmla="*/ 264 w 803"/>
                    <a:gd name="T5" fmla="*/ 1069 h 1421"/>
                    <a:gd name="T6" fmla="*/ 260 w 803"/>
                    <a:gd name="T7" fmla="*/ 1085 h 1421"/>
                    <a:gd name="T8" fmla="*/ 140 w 803"/>
                    <a:gd name="T9" fmla="*/ 1059 h 1421"/>
                    <a:gd name="T10" fmla="*/ 289 w 803"/>
                    <a:gd name="T11" fmla="*/ 1021 h 1421"/>
                    <a:gd name="T12" fmla="*/ 580 w 803"/>
                    <a:gd name="T13" fmla="*/ 829 h 1421"/>
                    <a:gd name="T14" fmla="*/ 495 w 803"/>
                    <a:gd name="T15" fmla="*/ 898 h 1421"/>
                    <a:gd name="T16" fmla="*/ 511 w 803"/>
                    <a:gd name="T17" fmla="*/ 803 h 1421"/>
                    <a:gd name="T18" fmla="*/ 429 w 803"/>
                    <a:gd name="T19" fmla="*/ 814 h 1421"/>
                    <a:gd name="T20" fmla="*/ 385 w 803"/>
                    <a:gd name="T21" fmla="*/ 794 h 1421"/>
                    <a:gd name="T22" fmla="*/ 669 w 803"/>
                    <a:gd name="T23" fmla="*/ 659 h 1421"/>
                    <a:gd name="T24" fmla="*/ 440 w 803"/>
                    <a:gd name="T25" fmla="*/ 653 h 1421"/>
                    <a:gd name="T26" fmla="*/ 504 w 803"/>
                    <a:gd name="T27" fmla="*/ 642 h 1421"/>
                    <a:gd name="T28" fmla="*/ 733 w 803"/>
                    <a:gd name="T29" fmla="*/ 759 h 1421"/>
                    <a:gd name="T30" fmla="*/ 717 w 803"/>
                    <a:gd name="T31" fmla="*/ 813 h 1421"/>
                    <a:gd name="T32" fmla="*/ 681 w 803"/>
                    <a:gd name="T33" fmla="*/ 851 h 1421"/>
                    <a:gd name="T34" fmla="*/ 666 w 803"/>
                    <a:gd name="T35" fmla="*/ 798 h 1421"/>
                    <a:gd name="T36" fmla="*/ 705 w 803"/>
                    <a:gd name="T37" fmla="*/ 718 h 1421"/>
                    <a:gd name="T38" fmla="*/ 729 w 803"/>
                    <a:gd name="T39" fmla="*/ 658 h 1421"/>
                    <a:gd name="T40" fmla="*/ 754 w 803"/>
                    <a:gd name="T41" fmla="*/ 658 h 1421"/>
                    <a:gd name="T42" fmla="*/ 740 w 803"/>
                    <a:gd name="T43" fmla="*/ 757 h 1421"/>
                    <a:gd name="T44" fmla="*/ 300 w 803"/>
                    <a:gd name="T45" fmla="*/ 621 h 1421"/>
                    <a:gd name="T46" fmla="*/ 102 w 803"/>
                    <a:gd name="T47" fmla="*/ 456 h 1421"/>
                    <a:gd name="T48" fmla="*/ 392 w 803"/>
                    <a:gd name="T49" fmla="*/ 381 h 1421"/>
                    <a:gd name="T50" fmla="*/ 210 w 803"/>
                    <a:gd name="T51" fmla="*/ 206 h 1421"/>
                    <a:gd name="T52" fmla="*/ 238 w 803"/>
                    <a:gd name="T53" fmla="*/ 203 h 1421"/>
                    <a:gd name="T54" fmla="*/ 252 w 803"/>
                    <a:gd name="T55" fmla="*/ 171 h 1421"/>
                    <a:gd name="T56" fmla="*/ 269 w 803"/>
                    <a:gd name="T57" fmla="*/ 137 h 1421"/>
                    <a:gd name="T58" fmla="*/ 295 w 803"/>
                    <a:gd name="T59" fmla="*/ 154 h 1421"/>
                    <a:gd name="T60" fmla="*/ 265 w 803"/>
                    <a:gd name="T61" fmla="*/ 157 h 1421"/>
                    <a:gd name="T62" fmla="*/ 257 w 803"/>
                    <a:gd name="T63" fmla="*/ 138 h 1421"/>
                    <a:gd name="T64" fmla="*/ 655 w 803"/>
                    <a:gd name="T65" fmla="*/ 117 h 1421"/>
                    <a:gd name="T66" fmla="*/ 716 w 803"/>
                    <a:gd name="T67" fmla="*/ 198 h 1421"/>
                    <a:gd name="T68" fmla="*/ 773 w 803"/>
                    <a:gd name="T69" fmla="*/ 259 h 1421"/>
                    <a:gd name="T70" fmla="*/ 799 w 803"/>
                    <a:gd name="T71" fmla="*/ 309 h 1421"/>
                    <a:gd name="T72" fmla="*/ 731 w 803"/>
                    <a:gd name="T73" fmla="*/ 379 h 1421"/>
                    <a:gd name="T74" fmla="*/ 776 w 803"/>
                    <a:gd name="T75" fmla="*/ 414 h 1421"/>
                    <a:gd name="T76" fmla="*/ 708 w 803"/>
                    <a:gd name="T77" fmla="*/ 488 h 1421"/>
                    <a:gd name="T78" fmla="*/ 633 w 803"/>
                    <a:gd name="T79" fmla="*/ 523 h 1421"/>
                    <a:gd name="T80" fmla="*/ 632 w 803"/>
                    <a:gd name="T81" fmla="*/ 462 h 1421"/>
                    <a:gd name="T82" fmla="*/ 603 w 803"/>
                    <a:gd name="T83" fmla="*/ 322 h 1421"/>
                    <a:gd name="T84" fmla="*/ 580 w 803"/>
                    <a:gd name="T85" fmla="*/ 257 h 1421"/>
                    <a:gd name="T86" fmla="*/ 629 w 803"/>
                    <a:gd name="T87" fmla="*/ 284 h 1421"/>
                    <a:gd name="T88" fmla="*/ 570 w 803"/>
                    <a:gd name="T89" fmla="*/ 228 h 1421"/>
                    <a:gd name="T90" fmla="*/ 533 w 803"/>
                    <a:gd name="T91" fmla="*/ 328 h 1421"/>
                    <a:gd name="T92" fmla="*/ 589 w 803"/>
                    <a:gd name="T93" fmla="*/ 422 h 1421"/>
                    <a:gd name="T94" fmla="*/ 550 w 803"/>
                    <a:gd name="T95" fmla="*/ 472 h 1421"/>
                    <a:gd name="T96" fmla="*/ 444 w 803"/>
                    <a:gd name="T97" fmla="*/ 430 h 1421"/>
                    <a:gd name="T98" fmla="*/ 406 w 803"/>
                    <a:gd name="T99" fmla="*/ 397 h 1421"/>
                    <a:gd name="T100" fmla="*/ 394 w 803"/>
                    <a:gd name="T101" fmla="*/ 353 h 1421"/>
                    <a:gd name="T102" fmla="*/ 456 w 803"/>
                    <a:gd name="T103" fmla="*/ 300 h 1421"/>
                    <a:gd name="T104" fmla="*/ 404 w 803"/>
                    <a:gd name="T105" fmla="*/ 194 h 1421"/>
                    <a:gd name="T106" fmla="*/ 403 w 803"/>
                    <a:gd name="T107" fmla="*/ 145 h 1421"/>
                    <a:gd name="T108" fmla="*/ 399 w 803"/>
                    <a:gd name="T109" fmla="*/ 65 h 1421"/>
                    <a:gd name="T110" fmla="*/ 458 w 803"/>
                    <a:gd name="T111" fmla="*/ 17 h 1421"/>
                    <a:gd name="T112" fmla="*/ 514 w 803"/>
                    <a:gd name="T113" fmla="*/ 1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03" h="1421">
                      <a:moveTo>
                        <a:pt x="10" y="1416"/>
                      </a:moveTo>
                      <a:lnTo>
                        <a:pt x="10" y="1421"/>
                      </a:lnTo>
                      <a:lnTo>
                        <a:pt x="7" y="1417"/>
                      </a:lnTo>
                      <a:lnTo>
                        <a:pt x="3" y="1414"/>
                      </a:lnTo>
                      <a:lnTo>
                        <a:pt x="0" y="1411"/>
                      </a:lnTo>
                      <a:lnTo>
                        <a:pt x="0" y="1406"/>
                      </a:lnTo>
                      <a:lnTo>
                        <a:pt x="10" y="1406"/>
                      </a:lnTo>
                      <a:lnTo>
                        <a:pt x="9" y="1412"/>
                      </a:lnTo>
                      <a:lnTo>
                        <a:pt x="10" y="1416"/>
                      </a:lnTo>
                      <a:close/>
                      <a:moveTo>
                        <a:pt x="168" y="1274"/>
                      </a:moveTo>
                      <a:lnTo>
                        <a:pt x="163" y="1274"/>
                      </a:lnTo>
                      <a:lnTo>
                        <a:pt x="160" y="1271"/>
                      </a:lnTo>
                      <a:lnTo>
                        <a:pt x="158" y="1267"/>
                      </a:lnTo>
                      <a:lnTo>
                        <a:pt x="160" y="1263"/>
                      </a:lnTo>
                      <a:lnTo>
                        <a:pt x="163" y="1261"/>
                      </a:lnTo>
                      <a:lnTo>
                        <a:pt x="167" y="1262"/>
                      </a:lnTo>
                      <a:lnTo>
                        <a:pt x="169" y="1268"/>
                      </a:lnTo>
                      <a:lnTo>
                        <a:pt x="168" y="1274"/>
                      </a:lnTo>
                      <a:close/>
                      <a:moveTo>
                        <a:pt x="222" y="1192"/>
                      </a:moveTo>
                      <a:lnTo>
                        <a:pt x="212" y="1199"/>
                      </a:lnTo>
                      <a:lnTo>
                        <a:pt x="209" y="1188"/>
                      </a:lnTo>
                      <a:lnTo>
                        <a:pt x="208" y="1182"/>
                      </a:lnTo>
                      <a:lnTo>
                        <a:pt x="209" y="1177"/>
                      </a:lnTo>
                      <a:lnTo>
                        <a:pt x="222" y="1173"/>
                      </a:lnTo>
                      <a:lnTo>
                        <a:pt x="225" y="1181"/>
                      </a:lnTo>
                      <a:lnTo>
                        <a:pt x="222" y="1192"/>
                      </a:lnTo>
                      <a:close/>
                      <a:moveTo>
                        <a:pt x="264" y="1069"/>
                      </a:moveTo>
                      <a:lnTo>
                        <a:pt x="274" y="1073"/>
                      </a:lnTo>
                      <a:lnTo>
                        <a:pt x="278" y="1073"/>
                      </a:lnTo>
                      <a:lnTo>
                        <a:pt x="282" y="1074"/>
                      </a:lnTo>
                      <a:lnTo>
                        <a:pt x="283" y="1087"/>
                      </a:lnTo>
                      <a:lnTo>
                        <a:pt x="295" y="1097"/>
                      </a:lnTo>
                      <a:lnTo>
                        <a:pt x="292" y="1101"/>
                      </a:lnTo>
                      <a:lnTo>
                        <a:pt x="269" y="1098"/>
                      </a:lnTo>
                      <a:lnTo>
                        <a:pt x="265" y="1090"/>
                      </a:lnTo>
                      <a:lnTo>
                        <a:pt x="260" y="1085"/>
                      </a:lnTo>
                      <a:lnTo>
                        <a:pt x="257" y="1076"/>
                      </a:lnTo>
                      <a:lnTo>
                        <a:pt x="264" y="1069"/>
                      </a:lnTo>
                      <a:close/>
                      <a:moveTo>
                        <a:pt x="144" y="1066"/>
                      </a:moveTo>
                      <a:lnTo>
                        <a:pt x="139" y="1067"/>
                      </a:lnTo>
                      <a:lnTo>
                        <a:pt x="137" y="1066"/>
                      </a:lnTo>
                      <a:lnTo>
                        <a:pt x="134" y="1062"/>
                      </a:lnTo>
                      <a:lnTo>
                        <a:pt x="134" y="1058"/>
                      </a:lnTo>
                      <a:lnTo>
                        <a:pt x="138" y="1058"/>
                      </a:lnTo>
                      <a:lnTo>
                        <a:pt x="140" y="1059"/>
                      </a:lnTo>
                      <a:lnTo>
                        <a:pt x="143" y="1061"/>
                      </a:lnTo>
                      <a:lnTo>
                        <a:pt x="145" y="1064"/>
                      </a:lnTo>
                      <a:lnTo>
                        <a:pt x="144" y="1066"/>
                      </a:lnTo>
                      <a:close/>
                      <a:moveTo>
                        <a:pt x="303" y="1036"/>
                      </a:moveTo>
                      <a:lnTo>
                        <a:pt x="300" y="1038"/>
                      </a:lnTo>
                      <a:lnTo>
                        <a:pt x="289" y="1034"/>
                      </a:lnTo>
                      <a:lnTo>
                        <a:pt x="284" y="1028"/>
                      </a:lnTo>
                      <a:lnTo>
                        <a:pt x="285" y="1023"/>
                      </a:lnTo>
                      <a:lnTo>
                        <a:pt x="289" y="1021"/>
                      </a:lnTo>
                      <a:lnTo>
                        <a:pt x="288" y="1017"/>
                      </a:lnTo>
                      <a:lnTo>
                        <a:pt x="293" y="1014"/>
                      </a:lnTo>
                      <a:lnTo>
                        <a:pt x="295" y="1019"/>
                      </a:lnTo>
                      <a:lnTo>
                        <a:pt x="303" y="1036"/>
                      </a:lnTo>
                      <a:close/>
                      <a:moveTo>
                        <a:pt x="524" y="798"/>
                      </a:moveTo>
                      <a:lnTo>
                        <a:pt x="534" y="807"/>
                      </a:lnTo>
                      <a:lnTo>
                        <a:pt x="553" y="813"/>
                      </a:lnTo>
                      <a:lnTo>
                        <a:pt x="565" y="824"/>
                      </a:lnTo>
                      <a:lnTo>
                        <a:pt x="580" y="829"/>
                      </a:lnTo>
                      <a:lnTo>
                        <a:pt x="595" y="842"/>
                      </a:lnTo>
                      <a:lnTo>
                        <a:pt x="593" y="858"/>
                      </a:lnTo>
                      <a:lnTo>
                        <a:pt x="584" y="882"/>
                      </a:lnTo>
                      <a:lnTo>
                        <a:pt x="567" y="899"/>
                      </a:lnTo>
                      <a:lnTo>
                        <a:pt x="557" y="907"/>
                      </a:lnTo>
                      <a:lnTo>
                        <a:pt x="532" y="911"/>
                      </a:lnTo>
                      <a:lnTo>
                        <a:pt x="519" y="912"/>
                      </a:lnTo>
                      <a:lnTo>
                        <a:pt x="500" y="906"/>
                      </a:lnTo>
                      <a:lnTo>
                        <a:pt x="495" y="898"/>
                      </a:lnTo>
                      <a:lnTo>
                        <a:pt x="489" y="881"/>
                      </a:lnTo>
                      <a:lnTo>
                        <a:pt x="479" y="858"/>
                      </a:lnTo>
                      <a:lnTo>
                        <a:pt x="477" y="846"/>
                      </a:lnTo>
                      <a:lnTo>
                        <a:pt x="475" y="833"/>
                      </a:lnTo>
                      <a:lnTo>
                        <a:pt x="479" y="831"/>
                      </a:lnTo>
                      <a:lnTo>
                        <a:pt x="494" y="831"/>
                      </a:lnTo>
                      <a:lnTo>
                        <a:pt x="502" y="819"/>
                      </a:lnTo>
                      <a:lnTo>
                        <a:pt x="509" y="811"/>
                      </a:lnTo>
                      <a:lnTo>
                        <a:pt x="511" y="803"/>
                      </a:lnTo>
                      <a:lnTo>
                        <a:pt x="520" y="803"/>
                      </a:lnTo>
                      <a:lnTo>
                        <a:pt x="524" y="798"/>
                      </a:lnTo>
                      <a:close/>
                      <a:moveTo>
                        <a:pt x="390" y="788"/>
                      </a:moveTo>
                      <a:lnTo>
                        <a:pt x="400" y="794"/>
                      </a:lnTo>
                      <a:lnTo>
                        <a:pt x="405" y="792"/>
                      </a:lnTo>
                      <a:lnTo>
                        <a:pt x="413" y="797"/>
                      </a:lnTo>
                      <a:lnTo>
                        <a:pt x="422" y="801"/>
                      </a:lnTo>
                      <a:lnTo>
                        <a:pt x="429" y="808"/>
                      </a:lnTo>
                      <a:lnTo>
                        <a:pt x="429" y="814"/>
                      </a:lnTo>
                      <a:lnTo>
                        <a:pt x="420" y="814"/>
                      </a:lnTo>
                      <a:lnTo>
                        <a:pt x="418" y="819"/>
                      </a:lnTo>
                      <a:lnTo>
                        <a:pt x="409" y="821"/>
                      </a:lnTo>
                      <a:lnTo>
                        <a:pt x="402" y="812"/>
                      </a:lnTo>
                      <a:lnTo>
                        <a:pt x="402" y="806"/>
                      </a:lnTo>
                      <a:lnTo>
                        <a:pt x="400" y="802"/>
                      </a:lnTo>
                      <a:lnTo>
                        <a:pt x="394" y="804"/>
                      </a:lnTo>
                      <a:lnTo>
                        <a:pt x="389" y="798"/>
                      </a:lnTo>
                      <a:lnTo>
                        <a:pt x="385" y="794"/>
                      </a:lnTo>
                      <a:lnTo>
                        <a:pt x="382" y="788"/>
                      </a:lnTo>
                      <a:lnTo>
                        <a:pt x="390" y="788"/>
                      </a:lnTo>
                      <a:close/>
                      <a:moveTo>
                        <a:pt x="672" y="668"/>
                      </a:moveTo>
                      <a:lnTo>
                        <a:pt x="668" y="678"/>
                      </a:lnTo>
                      <a:lnTo>
                        <a:pt x="660" y="677"/>
                      </a:lnTo>
                      <a:lnTo>
                        <a:pt x="662" y="673"/>
                      </a:lnTo>
                      <a:lnTo>
                        <a:pt x="663" y="669"/>
                      </a:lnTo>
                      <a:lnTo>
                        <a:pt x="662" y="667"/>
                      </a:lnTo>
                      <a:lnTo>
                        <a:pt x="669" y="659"/>
                      </a:lnTo>
                      <a:lnTo>
                        <a:pt x="670" y="666"/>
                      </a:lnTo>
                      <a:lnTo>
                        <a:pt x="672" y="668"/>
                      </a:lnTo>
                      <a:close/>
                      <a:moveTo>
                        <a:pt x="445" y="639"/>
                      </a:moveTo>
                      <a:lnTo>
                        <a:pt x="448" y="642"/>
                      </a:lnTo>
                      <a:lnTo>
                        <a:pt x="452" y="642"/>
                      </a:lnTo>
                      <a:lnTo>
                        <a:pt x="454" y="647"/>
                      </a:lnTo>
                      <a:lnTo>
                        <a:pt x="449" y="653"/>
                      </a:lnTo>
                      <a:lnTo>
                        <a:pt x="445" y="652"/>
                      </a:lnTo>
                      <a:lnTo>
                        <a:pt x="440" y="653"/>
                      </a:lnTo>
                      <a:lnTo>
                        <a:pt x="435" y="653"/>
                      </a:lnTo>
                      <a:lnTo>
                        <a:pt x="435" y="657"/>
                      </a:lnTo>
                      <a:lnTo>
                        <a:pt x="428" y="652"/>
                      </a:lnTo>
                      <a:lnTo>
                        <a:pt x="432" y="646"/>
                      </a:lnTo>
                      <a:lnTo>
                        <a:pt x="434" y="647"/>
                      </a:lnTo>
                      <a:lnTo>
                        <a:pt x="439" y="643"/>
                      </a:lnTo>
                      <a:lnTo>
                        <a:pt x="445" y="639"/>
                      </a:lnTo>
                      <a:close/>
                      <a:moveTo>
                        <a:pt x="502" y="638"/>
                      </a:moveTo>
                      <a:lnTo>
                        <a:pt x="504" y="642"/>
                      </a:lnTo>
                      <a:lnTo>
                        <a:pt x="503" y="643"/>
                      </a:lnTo>
                      <a:lnTo>
                        <a:pt x="493" y="639"/>
                      </a:lnTo>
                      <a:lnTo>
                        <a:pt x="489" y="639"/>
                      </a:lnTo>
                      <a:lnTo>
                        <a:pt x="488" y="637"/>
                      </a:lnTo>
                      <a:lnTo>
                        <a:pt x="495" y="634"/>
                      </a:lnTo>
                      <a:lnTo>
                        <a:pt x="499" y="637"/>
                      </a:lnTo>
                      <a:lnTo>
                        <a:pt x="502" y="638"/>
                      </a:lnTo>
                      <a:close/>
                      <a:moveTo>
                        <a:pt x="740" y="757"/>
                      </a:moveTo>
                      <a:lnTo>
                        <a:pt x="733" y="759"/>
                      </a:lnTo>
                      <a:lnTo>
                        <a:pt x="728" y="759"/>
                      </a:lnTo>
                      <a:lnTo>
                        <a:pt x="724" y="768"/>
                      </a:lnTo>
                      <a:lnTo>
                        <a:pt x="719" y="774"/>
                      </a:lnTo>
                      <a:lnTo>
                        <a:pt x="718" y="786"/>
                      </a:lnTo>
                      <a:lnTo>
                        <a:pt x="713" y="793"/>
                      </a:lnTo>
                      <a:lnTo>
                        <a:pt x="713" y="801"/>
                      </a:lnTo>
                      <a:lnTo>
                        <a:pt x="712" y="804"/>
                      </a:lnTo>
                      <a:lnTo>
                        <a:pt x="715" y="807"/>
                      </a:lnTo>
                      <a:lnTo>
                        <a:pt x="717" y="813"/>
                      </a:lnTo>
                      <a:lnTo>
                        <a:pt x="714" y="818"/>
                      </a:lnTo>
                      <a:lnTo>
                        <a:pt x="714" y="823"/>
                      </a:lnTo>
                      <a:lnTo>
                        <a:pt x="717" y="831"/>
                      </a:lnTo>
                      <a:lnTo>
                        <a:pt x="712" y="837"/>
                      </a:lnTo>
                      <a:lnTo>
                        <a:pt x="710" y="843"/>
                      </a:lnTo>
                      <a:lnTo>
                        <a:pt x="703" y="842"/>
                      </a:lnTo>
                      <a:lnTo>
                        <a:pt x="695" y="844"/>
                      </a:lnTo>
                      <a:lnTo>
                        <a:pt x="688" y="846"/>
                      </a:lnTo>
                      <a:lnTo>
                        <a:pt x="681" y="851"/>
                      </a:lnTo>
                      <a:lnTo>
                        <a:pt x="680" y="857"/>
                      </a:lnTo>
                      <a:lnTo>
                        <a:pt x="674" y="857"/>
                      </a:lnTo>
                      <a:lnTo>
                        <a:pt x="673" y="852"/>
                      </a:lnTo>
                      <a:lnTo>
                        <a:pt x="668" y="846"/>
                      </a:lnTo>
                      <a:lnTo>
                        <a:pt x="671" y="832"/>
                      </a:lnTo>
                      <a:lnTo>
                        <a:pt x="670" y="819"/>
                      </a:lnTo>
                      <a:lnTo>
                        <a:pt x="666" y="812"/>
                      </a:lnTo>
                      <a:lnTo>
                        <a:pt x="665" y="802"/>
                      </a:lnTo>
                      <a:lnTo>
                        <a:pt x="666" y="798"/>
                      </a:lnTo>
                      <a:lnTo>
                        <a:pt x="670" y="799"/>
                      </a:lnTo>
                      <a:lnTo>
                        <a:pt x="674" y="801"/>
                      </a:lnTo>
                      <a:lnTo>
                        <a:pt x="677" y="793"/>
                      </a:lnTo>
                      <a:lnTo>
                        <a:pt x="687" y="782"/>
                      </a:lnTo>
                      <a:lnTo>
                        <a:pt x="698" y="764"/>
                      </a:lnTo>
                      <a:lnTo>
                        <a:pt x="703" y="751"/>
                      </a:lnTo>
                      <a:lnTo>
                        <a:pt x="706" y="739"/>
                      </a:lnTo>
                      <a:lnTo>
                        <a:pt x="706" y="732"/>
                      </a:lnTo>
                      <a:lnTo>
                        <a:pt x="705" y="718"/>
                      </a:lnTo>
                      <a:lnTo>
                        <a:pt x="703" y="712"/>
                      </a:lnTo>
                      <a:lnTo>
                        <a:pt x="704" y="707"/>
                      </a:lnTo>
                      <a:lnTo>
                        <a:pt x="702" y="703"/>
                      </a:lnTo>
                      <a:lnTo>
                        <a:pt x="706" y="697"/>
                      </a:lnTo>
                      <a:lnTo>
                        <a:pt x="713" y="689"/>
                      </a:lnTo>
                      <a:lnTo>
                        <a:pt x="720" y="677"/>
                      </a:lnTo>
                      <a:lnTo>
                        <a:pt x="720" y="671"/>
                      </a:lnTo>
                      <a:lnTo>
                        <a:pt x="725" y="669"/>
                      </a:lnTo>
                      <a:lnTo>
                        <a:pt x="729" y="658"/>
                      </a:lnTo>
                      <a:lnTo>
                        <a:pt x="728" y="648"/>
                      </a:lnTo>
                      <a:lnTo>
                        <a:pt x="736" y="634"/>
                      </a:lnTo>
                      <a:lnTo>
                        <a:pt x="744" y="626"/>
                      </a:lnTo>
                      <a:lnTo>
                        <a:pt x="746" y="624"/>
                      </a:lnTo>
                      <a:lnTo>
                        <a:pt x="750" y="624"/>
                      </a:lnTo>
                      <a:lnTo>
                        <a:pt x="750" y="632"/>
                      </a:lnTo>
                      <a:lnTo>
                        <a:pt x="755" y="643"/>
                      </a:lnTo>
                      <a:lnTo>
                        <a:pt x="761" y="652"/>
                      </a:lnTo>
                      <a:lnTo>
                        <a:pt x="754" y="658"/>
                      </a:lnTo>
                      <a:lnTo>
                        <a:pt x="754" y="673"/>
                      </a:lnTo>
                      <a:lnTo>
                        <a:pt x="758" y="691"/>
                      </a:lnTo>
                      <a:lnTo>
                        <a:pt x="748" y="708"/>
                      </a:lnTo>
                      <a:lnTo>
                        <a:pt x="749" y="717"/>
                      </a:lnTo>
                      <a:lnTo>
                        <a:pt x="749" y="732"/>
                      </a:lnTo>
                      <a:lnTo>
                        <a:pt x="746" y="738"/>
                      </a:lnTo>
                      <a:lnTo>
                        <a:pt x="741" y="742"/>
                      </a:lnTo>
                      <a:lnTo>
                        <a:pt x="741" y="749"/>
                      </a:lnTo>
                      <a:lnTo>
                        <a:pt x="740" y="757"/>
                      </a:lnTo>
                      <a:close/>
                      <a:moveTo>
                        <a:pt x="300" y="637"/>
                      </a:moveTo>
                      <a:lnTo>
                        <a:pt x="295" y="637"/>
                      </a:lnTo>
                      <a:lnTo>
                        <a:pt x="289" y="634"/>
                      </a:lnTo>
                      <a:lnTo>
                        <a:pt x="288" y="632"/>
                      </a:lnTo>
                      <a:lnTo>
                        <a:pt x="285" y="627"/>
                      </a:lnTo>
                      <a:lnTo>
                        <a:pt x="290" y="624"/>
                      </a:lnTo>
                      <a:lnTo>
                        <a:pt x="294" y="621"/>
                      </a:lnTo>
                      <a:lnTo>
                        <a:pt x="297" y="619"/>
                      </a:lnTo>
                      <a:lnTo>
                        <a:pt x="300" y="621"/>
                      </a:lnTo>
                      <a:lnTo>
                        <a:pt x="308" y="626"/>
                      </a:lnTo>
                      <a:lnTo>
                        <a:pt x="308" y="631"/>
                      </a:lnTo>
                      <a:lnTo>
                        <a:pt x="304" y="634"/>
                      </a:lnTo>
                      <a:lnTo>
                        <a:pt x="300" y="637"/>
                      </a:lnTo>
                      <a:close/>
                      <a:moveTo>
                        <a:pt x="102" y="467"/>
                      </a:moveTo>
                      <a:lnTo>
                        <a:pt x="98" y="468"/>
                      </a:lnTo>
                      <a:lnTo>
                        <a:pt x="98" y="466"/>
                      </a:lnTo>
                      <a:lnTo>
                        <a:pt x="99" y="462"/>
                      </a:lnTo>
                      <a:lnTo>
                        <a:pt x="102" y="456"/>
                      </a:lnTo>
                      <a:lnTo>
                        <a:pt x="104" y="456"/>
                      </a:lnTo>
                      <a:lnTo>
                        <a:pt x="103" y="462"/>
                      </a:lnTo>
                      <a:lnTo>
                        <a:pt x="104" y="464"/>
                      </a:lnTo>
                      <a:lnTo>
                        <a:pt x="102" y="467"/>
                      </a:lnTo>
                      <a:close/>
                      <a:moveTo>
                        <a:pt x="390" y="384"/>
                      </a:moveTo>
                      <a:lnTo>
                        <a:pt x="389" y="386"/>
                      </a:lnTo>
                      <a:lnTo>
                        <a:pt x="388" y="382"/>
                      </a:lnTo>
                      <a:lnTo>
                        <a:pt x="390" y="379"/>
                      </a:lnTo>
                      <a:lnTo>
                        <a:pt x="392" y="381"/>
                      </a:lnTo>
                      <a:lnTo>
                        <a:pt x="390" y="384"/>
                      </a:lnTo>
                      <a:close/>
                      <a:moveTo>
                        <a:pt x="212" y="249"/>
                      </a:moveTo>
                      <a:lnTo>
                        <a:pt x="202" y="257"/>
                      </a:lnTo>
                      <a:lnTo>
                        <a:pt x="194" y="253"/>
                      </a:lnTo>
                      <a:lnTo>
                        <a:pt x="187" y="248"/>
                      </a:lnTo>
                      <a:lnTo>
                        <a:pt x="185" y="239"/>
                      </a:lnTo>
                      <a:lnTo>
                        <a:pt x="194" y="236"/>
                      </a:lnTo>
                      <a:lnTo>
                        <a:pt x="200" y="221"/>
                      </a:lnTo>
                      <a:lnTo>
                        <a:pt x="210" y="206"/>
                      </a:lnTo>
                      <a:lnTo>
                        <a:pt x="217" y="203"/>
                      </a:lnTo>
                      <a:lnTo>
                        <a:pt x="225" y="199"/>
                      </a:lnTo>
                      <a:lnTo>
                        <a:pt x="230" y="192"/>
                      </a:lnTo>
                      <a:lnTo>
                        <a:pt x="234" y="183"/>
                      </a:lnTo>
                      <a:lnTo>
                        <a:pt x="237" y="173"/>
                      </a:lnTo>
                      <a:lnTo>
                        <a:pt x="240" y="181"/>
                      </a:lnTo>
                      <a:lnTo>
                        <a:pt x="243" y="191"/>
                      </a:lnTo>
                      <a:lnTo>
                        <a:pt x="244" y="199"/>
                      </a:lnTo>
                      <a:lnTo>
                        <a:pt x="238" y="203"/>
                      </a:lnTo>
                      <a:lnTo>
                        <a:pt x="234" y="207"/>
                      </a:lnTo>
                      <a:lnTo>
                        <a:pt x="220" y="232"/>
                      </a:lnTo>
                      <a:lnTo>
                        <a:pt x="215" y="247"/>
                      </a:lnTo>
                      <a:lnTo>
                        <a:pt x="212" y="249"/>
                      </a:lnTo>
                      <a:close/>
                      <a:moveTo>
                        <a:pt x="257" y="182"/>
                      </a:moveTo>
                      <a:lnTo>
                        <a:pt x="255" y="186"/>
                      </a:lnTo>
                      <a:lnTo>
                        <a:pt x="250" y="182"/>
                      </a:lnTo>
                      <a:lnTo>
                        <a:pt x="249" y="176"/>
                      </a:lnTo>
                      <a:lnTo>
                        <a:pt x="252" y="171"/>
                      </a:lnTo>
                      <a:lnTo>
                        <a:pt x="254" y="166"/>
                      </a:lnTo>
                      <a:lnTo>
                        <a:pt x="259" y="164"/>
                      </a:lnTo>
                      <a:lnTo>
                        <a:pt x="260" y="166"/>
                      </a:lnTo>
                      <a:lnTo>
                        <a:pt x="260" y="172"/>
                      </a:lnTo>
                      <a:lnTo>
                        <a:pt x="263" y="173"/>
                      </a:lnTo>
                      <a:lnTo>
                        <a:pt x="258" y="176"/>
                      </a:lnTo>
                      <a:lnTo>
                        <a:pt x="255" y="177"/>
                      </a:lnTo>
                      <a:lnTo>
                        <a:pt x="257" y="182"/>
                      </a:lnTo>
                      <a:close/>
                      <a:moveTo>
                        <a:pt x="269" y="137"/>
                      </a:moveTo>
                      <a:lnTo>
                        <a:pt x="284" y="151"/>
                      </a:lnTo>
                      <a:lnTo>
                        <a:pt x="288" y="152"/>
                      </a:lnTo>
                      <a:lnTo>
                        <a:pt x="289" y="148"/>
                      </a:lnTo>
                      <a:lnTo>
                        <a:pt x="288" y="144"/>
                      </a:lnTo>
                      <a:lnTo>
                        <a:pt x="289" y="141"/>
                      </a:lnTo>
                      <a:lnTo>
                        <a:pt x="295" y="141"/>
                      </a:lnTo>
                      <a:lnTo>
                        <a:pt x="295" y="144"/>
                      </a:lnTo>
                      <a:lnTo>
                        <a:pt x="295" y="148"/>
                      </a:lnTo>
                      <a:lnTo>
                        <a:pt x="295" y="154"/>
                      </a:lnTo>
                      <a:lnTo>
                        <a:pt x="297" y="157"/>
                      </a:lnTo>
                      <a:lnTo>
                        <a:pt x="295" y="161"/>
                      </a:lnTo>
                      <a:lnTo>
                        <a:pt x="293" y="163"/>
                      </a:lnTo>
                      <a:lnTo>
                        <a:pt x="285" y="164"/>
                      </a:lnTo>
                      <a:lnTo>
                        <a:pt x="280" y="168"/>
                      </a:lnTo>
                      <a:lnTo>
                        <a:pt x="274" y="168"/>
                      </a:lnTo>
                      <a:lnTo>
                        <a:pt x="272" y="164"/>
                      </a:lnTo>
                      <a:lnTo>
                        <a:pt x="268" y="162"/>
                      </a:lnTo>
                      <a:lnTo>
                        <a:pt x="265" y="157"/>
                      </a:lnTo>
                      <a:lnTo>
                        <a:pt x="263" y="152"/>
                      </a:lnTo>
                      <a:lnTo>
                        <a:pt x="263" y="149"/>
                      </a:lnTo>
                      <a:lnTo>
                        <a:pt x="259" y="148"/>
                      </a:lnTo>
                      <a:lnTo>
                        <a:pt x="257" y="152"/>
                      </a:lnTo>
                      <a:lnTo>
                        <a:pt x="253" y="153"/>
                      </a:lnTo>
                      <a:lnTo>
                        <a:pt x="252" y="152"/>
                      </a:lnTo>
                      <a:lnTo>
                        <a:pt x="252" y="148"/>
                      </a:lnTo>
                      <a:lnTo>
                        <a:pt x="253" y="143"/>
                      </a:lnTo>
                      <a:lnTo>
                        <a:pt x="257" y="138"/>
                      </a:lnTo>
                      <a:lnTo>
                        <a:pt x="262" y="134"/>
                      </a:lnTo>
                      <a:lnTo>
                        <a:pt x="269" y="137"/>
                      </a:lnTo>
                      <a:close/>
                      <a:moveTo>
                        <a:pt x="610" y="36"/>
                      </a:moveTo>
                      <a:lnTo>
                        <a:pt x="605" y="47"/>
                      </a:lnTo>
                      <a:lnTo>
                        <a:pt x="610" y="54"/>
                      </a:lnTo>
                      <a:lnTo>
                        <a:pt x="614" y="59"/>
                      </a:lnTo>
                      <a:lnTo>
                        <a:pt x="639" y="99"/>
                      </a:lnTo>
                      <a:lnTo>
                        <a:pt x="647" y="109"/>
                      </a:lnTo>
                      <a:lnTo>
                        <a:pt x="655" y="117"/>
                      </a:lnTo>
                      <a:lnTo>
                        <a:pt x="664" y="121"/>
                      </a:lnTo>
                      <a:lnTo>
                        <a:pt x="675" y="132"/>
                      </a:lnTo>
                      <a:lnTo>
                        <a:pt x="678" y="139"/>
                      </a:lnTo>
                      <a:lnTo>
                        <a:pt x="676" y="162"/>
                      </a:lnTo>
                      <a:lnTo>
                        <a:pt x="678" y="172"/>
                      </a:lnTo>
                      <a:lnTo>
                        <a:pt x="681" y="178"/>
                      </a:lnTo>
                      <a:lnTo>
                        <a:pt x="684" y="181"/>
                      </a:lnTo>
                      <a:lnTo>
                        <a:pt x="711" y="192"/>
                      </a:lnTo>
                      <a:lnTo>
                        <a:pt x="716" y="198"/>
                      </a:lnTo>
                      <a:lnTo>
                        <a:pt x="726" y="209"/>
                      </a:lnTo>
                      <a:lnTo>
                        <a:pt x="730" y="217"/>
                      </a:lnTo>
                      <a:lnTo>
                        <a:pt x="730" y="227"/>
                      </a:lnTo>
                      <a:lnTo>
                        <a:pt x="733" y="232"/>
                      </a:lnTo>
                      <a:lnTo>
                        <a:pt x="740" y="246"/>
                      </a:lnTo>
                      <a:lnTo>
                        <a:pt x="745" y="249"/>
                      </a:lnTo>
                      <a:lnTo>
                        <a:pt x="754" y="252"/>
                      </a:lnTo>
                      <a:lnTo>
                        <a:pt x="766" y="258"/>
                      </a:lnTo>
                      <a:lnTo>
                        <a:pt x="773" y="259"/>
                      </a:lnTo>
                      <a:lnTo>
                        <a:pt x="776" y="259"/>
                      </a:lnTo>
                      <a:lnTo>
                        <a:pt x="789" y="262"/>
                      </a:lnTo>
                      <a:lnTo>
                        <a:pt x="796" y="267"/>
                      </a:lnTo>
                      <a:lnTo>
                        <a:pt x="800" y="273"/>
                      </a:lnTo>
                      <a:lnTo>
                        <a:pt x="803" y="279"/>
                      </a:lnTo>
                      <a:lnTo>
                        <a:pt x="803" y="284"/>
                      </a:lnTo>
                      <a:lnTo>
                        <a:pt x="801" y="296"/>
                      </a:lnTo>
                      <a:lnTo>
                        <a:pt x="800" y="303"/>
                      </a:lnTo>
                      <a:lnTo>
                        <a:pt x="799" y="309"/>
                      </a:lnTo>
                      <a:lnTo>
                        <a:pt x="788" y="324"/>
                      </a:lnTo>
                      <a:lnTo>
                        <a:pt x="786" y="328"/>
                      </a:lnTo>
                      <a:lnTo>
                        <a:pt x="778" y="329"/>
                      </a:lnTo>
                      <a:lnTo>
                        <a:pt x="770" y="332"/>
                      </a:lnTo>
                      <a:lnTo>
                        <a:pt x="755" y="338"/>
                      </a:lnTo>
                      <a:lnTo>
                        <a:pt x="749" y="343"/>
                      </a:lnTo>
                      <a:lnTo>
                        <a:pt x="744" y="349"/>
                      </a:lnTo>
                      <a:lnTo>
                        <a:pt x="736" y="361"/>
                      </a:lnTo>
                      <a:lnTo>
                        <a:pt x="731" y="379"/>
                      </a:lnTo>
                      <a:lnTo>
                        <a:pt x="736" y="383"/>
                      </a:lnTo>
                      <a:lnTo>
                        <a:pt x="759" y="391"/>
                      </a:lnTo>
                      <a:lnTo>
                        <a:pt x="768" y="396"/>
                      </a:lnTo>
                      <a:lnTo>
                        <a:pt x="769" y="401"/>
                      </a:lnTo>
                      <a:lnTo>
                        <a:pt x="768" y="404"/>
                      </a:lnTo>
                      <a:lnTo>
                        <a:pt x="759" y="410"/>
                      </a:lnTo>
                      <a:lnTo>
                        <a:pt x="755" y="417"/>
                      </a:lnTo>
                      <a:lnTo>
                        <a:pt x="763" y="420"/>
                      </a:lnTo>
                      <a:lnTo>
                        <a:pt x="776" y="414"/>
                      </a:lnTo>
                      <a:lnTo>
                        <a:pt x="779" y="418"/>
                      </a:lnTo>
                      <a:lnTo>
                        <a:pt x="750" y="444"/>
                      </a:lnTo>
                      <a:lnTo>
                        <a:pt x="739" y="443"/>
                      </a:lnTo>
                      <a:lnTo>
                        <a:pt x="729" y="445"/>
                      </a:lnTo>
                      <a:lnTo>
                        <a:pt x="729" y="455"/>
                      </a:lnTo>
                      <a:lnTo>
                        <a:pt x="724" y="462"/>
                      </a:lnTo>
                      <a:lnTo>
                        <a:pt x="718" y="477"/>
                      </a:lnTo>
                      <a:lnTo>
                        <a:pt x="713" y="483"/>
                      </a:lnTo>
                      <a:lnTo>
                        <a:pt x="708" y="488"/>
                      </a:lnTo>
                      <a:lnTo>
                        <a:pt x="702" y="493"/>
                      </a:lnTo>
                      <a:lnTo>
                        <a:pt x="695" y="497"/>
                      </a:lnTo>
                      <a:lnTo>
                        <a:pt x="689" y="499"/>
                      </a:lnTo>
                      <a:lnTo>
                        <a:pt x="674" y="504"/>
                      </a:lnTo>
                      <a:lnTo>
                        <a:pt x="664" y="508"/>
                      </a:lnTo>
                      <a:lnTo>
                        <a:pt x="653" y="509"/>
                      </a:lnTo>
                      <a:lnTo>
                        <a:pt x="643" y="513"/>
                      </a:lnTo>
                      <a:lnTo>
                        <a:pt x="635" y="519"/>
                      </a:lnTo>
                      <a:lnTo>
                        <a:pt x="633" y="523"/>
                      </a:lnTo>
                      <a:lnTo>
                        <a:pt x="615" y="528"/>
                      </a:lnTo>
                      <a:lnTo>
                        <a:pt x="603" y="540"/>
                      </a:lnTo>
                      <a:lnTo>
                        <a:pt x="597" y="547"/>
                      </a:lnTo>
                      <a:lnTo>
                        <a:pt x="588" y="548"/>
                      </a:lnTo>
                      <a:lnTo>
                        <a:pt x="590" y="517"/>
                      </a:lnTo>
                      <a:lnTo>
                        <a:pt x="600" y="508"/>
                      </a:lnTo>
                      <a:lnTo>
                        <a:pt x="617" y="497"/>
                      </a:lnTo>
                      <a:lnTo>
                        <a:pt x="623" y="493"/>
                      </a:lnTo>
                      <a:lnTo>
                        <a:pt x="632" y="462"/>
                      </a:lnTo>
                      <a:lnTo>
                        <a:pt x="627" y="454"/>
                      </a:lnTo>
                      <a:lnTo>
                        <a:pt x="638" y="435"/>
                      </a:lnTo>
                      <a:lnTo>
                        <a:pt x="642" y="420"/>
                      </a:lnTo>
                      <a:lnTo>
                        <a:pt x="644" y="397"/>
                      </a:lnTo>
                      <a:lnTo>
                        <a:pt x="644" y="388"/>
                      </a:lnTo>
                      <a:lnTo>
                        <a:pt x="633" y="360"/>
                      </a:lnTo>
                      <a:lnTo>
                        <a:pt x="624" y="345"/>
                      </a:lnTo>
                      <a:lnTo>
                        <a:pt x="607" y="334"/>
                      </a:lnTo>
                      <a:lnTo>
                        <a:pt x="603" y="322"/>
                      </a:lnTo>
                      <a:lnTo>
                        <a:pt x="608" y="300"/>
                      </a:lnTo>
                      <a:lnTo>
                        <a:pt x="604" y="293"/>
                      </a:lnTo>
                      <a:lnTo>
                        <a:pt x="580" y="288"/>
                      </a:lnTo>
                      <a:lnTo>
                        <a:pt x="573" y="284"/>
                      </a:lnTo>
                      <a:lnTo>
                        <a:pt x="569" y="283"/>
                      </a:lnTo>
                      <a:lnTo>
                        <a:pt x="564" y="280"/>
                      </a:lnTo>
                      <a:lnTo>
                        <a:pt x="561" y="274"/>
                      </a:lnTo>
                      <a:lnTo>
                        <a:pt x="570" y="262"/>
                      </a:lnTo>
                      <a:lnTo>
                        <a:pt x="580" y="257"/>
                      </a:lnTo>
                      <a:lnTo>
                        <a:pt x="590" y="259"/>
                      </a:lnTo>
                      <a:lnTo>
                        <a:pt x="600" y="258"/>
                      </a:lnTo>
                      <a:lnTo>
                        <a:pt x="610" y="260"/>
                      </a:lnTo>
                      <a:lnTo>
                        <a:pt x="614" y="269"/>
                      </a:lnTo>
                      <a:lnTo>
                        <a:pt x="613" y="282"/>
                      </a:lnTo>
                      <a:lnTo>
                        <a:pt x="614" y="284"/>
                      </a:lnTo>
                      <a:lnTo>
                        <a:pt x="620" y="287"/>
                      </a:lnTo>
                      <a:lnTo>
                        <a:pt x="625" y="287"/>
                      </a:lnTo>
                      <a:lnTo>
                        <a:pt x="629" y="284"/>
                      </a:lnTo>
                      <a:lnTo>
                        <a:pt x="637" y="277"/>
                      </a:lnTo>
                      <a:lnTo>
                        <a:pt x="645" y="262"/>
                      </a:lnTo>
                      <a:lnTo>
                        <a:pt x="649" y="243"/>
                      </a:lnTo>
                      <a:lnTo>
                        <a:pt x="648" y="227"/>
                      </a:lnTo>
                      <a:lnTo>
                        <a:pt x="637" y="215"/>
                      </a:lnTo>
                      <a:lnTo>
                        <a:pt x="620" y="217"/>
                      </a:lnTo>
                      <a:lnTo>
                        <a:pt x="600" y="208"/>
                      </a:lnTo>
                      <a:lnTo>
                        <a:pt x="583" y="213"/>
                      </a:lnTo>
                      <a:lnTo>
                        <a:pt x="570" y="228"/>
                      </a:lnTo>
                      <a:lnTo>
                        <a:pt x="569" y="233"/>
                      </a:lnTo>
                      <a:lnTo>
                        <a:pt x="568" y="245"/>
                      </a:lnTo>
                      <a:lnTo>
                        <a:pt x="567" y="249"/>
                      </a:lnTo>
                      <a:lnTo>
                        <a:pt x="555" y="262"/>
                      </a:lnTo>
                      <a:lnTo>
                        <a:pt x="552" y="267"/>
                      </a:lnTo>
                      <a:lnTo>
                        <a:pt x="548" y="283"/>
                      </a:lnTo>
                      <a:lnTo>
                        <a:pt x="542" y="295"/>
                      </a:lnTo>
                      <a:lnTo>
                        <a:pt x="537" y="308"/>
                      </a:lnTo>
                      <a:lnTo>
                        <a:pt x="533" y="328"/>
                      </a:lnTo>
                      <a:lnTo>
                        <a:pt x="532" y="337"/>
                      </a:lnTo>
                      <a:lnTo>
                        <a:pt x="533" y="347"/>
                      </a:lnTo>
                      <a:lnTo>
                        <a:pt x="545" y="373"/>
                      </a:lnTo>
                      <a:lnTo>
                        <a:pt x="550" y="393"/>
                      </a:lnTo>
                      <a:lnTo>
                        <a:pt x="554" y="402"/>
                      </a:lnTo>
                      <a:lnTo>
                        <a:pt x="560" y="405"/>
                      </a:lnTo>
                      <a:lnTo>
                        <a:pt x="567" y="408"/>
                      </a:lnTo>
                      <a:lnTo>
                        <a:pt x="574" y="420"/>
                      </a:lnTo>
                      <a:lnTo>
                        <a:pt x="589" y="422"/>
                      </a:lnTo>
                      <a:lnTo>
                        <a:pt x="590" y="428"/>
                      </a:lnTo>
                      <a:lnTo>
                        <a:pt x="585" y="444"/>
                      </a:lnTo>
                      <a:lnTo>
                        <a:pt x="584" y="453"/>
                      </a:lnTo>
                      <a:lnTo>
                        <a:pt x="582" y="462"/>
                      </a:lnTo>
                      <a:lnTo>
                        <a:pt x="574" y="465"/>
                      </a:lnTo>
                      <a:lnTo>
                        <a:pt x="567" y="469"/>
                      </a:lnTo>
                      <a:lnTo>
                        <a:pt x="559" y="477"/>
                      </a:lnTo>
                      <a:lnTo>
                        <a:pt x="554" y="470"/>
                      </a:lnTo>
                      <a:lnTo>
                        <a:pt x="550" y="472"/>
                      </a:lnTo>
                      <a:lnTo>
                        <a:pt x="545" y="473"/>
                      </a:lnTo>
                      <a:lnTo>
                        <a:pt x="540" y="473"/>
                      </a:lnTo>
                      <a:lnTo>
                        <a:pt x="534" y="470"/>
                      </a:lnTo>
                      <a:lnTo>
                        <a:pt x="532" y="467"/>
                      </a:lnTo>
                      <a:lnTo>
                        <a:pt x="532" y="460"/>
                      </a:lnTo>
                      <a:lnTo>
                        <a:pt x="528" y="449"/>
                      </a:lnTo>
                      <a:lnTo>
                        <a:pt x="523" y="443"/>
                      </a:lnTo>
                      <a:lnTo>
                        <a:pt x="505" y="433"/>
                      </a:lnTo>
                      <a:lnTo>
                        <a:pt x="444" y="430"/>
                      </a:lnTo>
                      <a:lnTo>
                        <a:pt x="434" y="430"/>
                      </a:lnTo>
                      <a:lnTo>
                        <a:pt x="424" y="435"/>
                      </a:lnTo>
                      <a:lnTo>
                        <a:pt x="413" y="434"/>
                      </a:lnTo>
                      <a:lnTo>
                        <a:pt x="409" y="427"/>
                      </a:lnTo>
                      <a:lnTo>
                        <a:pt x="408" y="418"/>
                      </a:lnTo>
                      <a:lnTo>
                        <a:pt x="405" y="412"/>
                      </a:lnTo>
                      <a:lnTo>
                        <a:pt x="401" y="402"/>
                      </a:lnTo>
                      <a:lnTo>
                        <a:pt x="396" y="395"/>
                      </a:lnTo>
                      <a:lnTo>
                        <a:pt x="406" y="397"/>
                      </a:lnTo>
                      <a:lnTo>
                        <a:pt x="408" y="392"/>
                      </a:lnTo>
                      <a:lnTo>
                        <a:pt x="403" y="383"/>
                      </a:lnTo>
                      <a:lnTo>
                        <a:pt x="393" y="373"/>
                      </a:lnTo>
                      <a:lnTo>
                        <a:pt x="380" y="363"/>
                      </a:lnTo>
                      <a:lnTo>
                        <a:pt x="371" y="358"/>
                      </a:lnTo>
                      <a:lnTo>
                        <a:pt x="383" y="352"/>
                      </a:lnTo>
                      <a:lnTo>
                        <a:pt x="385" y="352"/>
                      </a:lnTo>
                      <a:lnTo>
                        <a:pt x="389" y="352"/>
                      </a:lnTo>
                      <a:lnTo>
                        <a:pt x="394" y="353"/>
                      </a:lnTo>
                      <a:lnTo>
                        <a:pt x="398" y="354"/>
                      </a:lnTo>
                      <a:lnTo>
                        <a:pt x="403" y="355"/>
                      </a:lnTo>
                      <a:lnTo>
                        <a:pt x="410" y="365"/>
                      </a:lnTo>
                      <a:lnTo>
                        <a:pt x="415" y="370"/>
                      </a:lnTo>
                      <a:lnTo>
                        <a:pt x="423" y="359"/>
                      </a:lnTo>
                      <a:lnTo>
                        <a:pt x="441" y="340"/>
                      </a:lnTo>
                      <a:lnTo>
                        <a:pt x="446" y="325"/>
                      </a:lnTo>
                      <a:lnTo>
                        <a:pt x="451" y="318"/>
                      </a:lnTo>
                      <a:lnTo>
                        <a:pt x="456" y="300"/>
                      </a:lnTo>
                      <a:lnTo>
                        <a:pt x="458" y="285"/>
                      </a:lnTo>
                      <a:lnTo>
                        <a:pt x="454" y="274"/>
                      </a:lnTo>
                      <a:lnTo>
                        <a:pt x="460" y="264"/>
                      </a:lnTo>
                      <a:lnTo>
                        <a:pt x="459" y="255"/>
                      </a:lnTo>
                      <a:lnTo>
                        <a:pt x="455" y="248"/>
                      </a:lnTo>
                      <a:lnTo>
                        <a:pt x="444" y="234"/>
                      </a:lnTo>
                      <a:lnTo>
                        <a:pt x="428" y="210"/>
                      </a:lnTo>
                      <a:lnTo>
                        <a:pt x="423" y="207"/>
                      </a:lnTo>
                      <a:lnTo>
                        <a:pt x="404" y="194"/>
                      </a:lnTo>
                      <a:lnTo>
                        <a:pt x="398" y="193"/>
                      </a:lnTo>
                      <a:lnTo>
                        <a:pt x="396" y="188"/>
                      </a:lnTo>
                      <a:lnTo>
                        <a:pt x="393" y="178"/>
                      </a:lnTo>
                      <a:lnTo>
                        <a:pt x="396" y="160"/>
                      </a:lnTo>
                      <a:lnTo>
                        <a:pt x="400" y="157"/>
                      </a:lnTo>
                      <a:lnTo>
                        <a:pt x="414" y="162"/>
                      </a:lnTo>
                      <a:lnTo>
                        <a:pt x="419" y="164"/>
                      </a:lnTo>
                      <a:lnTo>
                        <a:pt x="408" y="152"/>
                      </a:lnTo>
                      <a:lnTo>
                        <a:pt x="403" y="145"/>
                      </a:lnTo>
                      <a:lnTo>
                        <a:pt x="410" y="132"/>
                      </a:lnTo>
                      <a:lnTo>
                        <a:pt x="413" y="112"/>
                      </a:lnTo>
                      <a:lnTo>
                        <a:pt x="410" y="102"/>
                      </a:lnTo>
                      <a:lnTo>
                        <a:pt x="406" y="92"/>
                      </a:lnTo>
                      <a:lnTo>
                        <a:pt x="401" y="87"/>
                      </a:lnTo>
                      <a:lnTo>
                        <a:pt x="400" y="84"/>
                      </a:lnTo>
                      <a:lnTo>
                        <a:pt x="394" y="79"/>
                      </a:lnTo>
                      <a:lnTo>
                        <a:pt x="394" y="70"/>
                      </a:lnTo>
                      <a:lnTo>
                        <a:pt x="399" y="65"/>
                      </a:lnTo>
                      <a:lnTo>
                        <a:pt x="406" y="55"/>
                      </a:lnTo>
                      <a:lnTo>
                        <a:pt x="406" y="44"/>
                      </a:lnTo>
                      <a:lnTo>
                        <a:pt x="396" y="34"/>
                      </a:lnTo>
                      <a:lnTo>
                        <a:pt x="406" y="21"/>
                      </a:lnTo>
                      <a:lnTo>
                        <a:pt x="424" y="14"/>
                      </a:lnTo>
                      <a:lnTo>
                        <a:pt x="436" y="30"/>
                      </a:lnTo>
                      <a:lnTo>
                        <a:pt x="444" y="28"/>
                      </a:lnTo>
                      <a:lnTo>
                        <a:pt x="453" y="22"/>
                      </a:lnTo>
                      <a:lnTo>
                        <a:pt x="458" y="17"/>
                      </a:lnTo>
                      <a:lnTo>
                        <a:pt x="459" y="14"/>
                      </a:lnTo>
                      <a:lnTo>
                        <a:pt x="463" y="2"/>
                      </a:lnTo>
                      <a:lnTo>
                        <a:pt x="466" y="5"/>
                      </a:lnTo>
                      <a:lnTo>
                        <a:pt x="478" y="18"/>
                      </a:lnTo>
                      <a:lnTo>
                        <a:pt x="481" y="22"/>
                      </a:lnTo>
                      <a:lnTo>
                        <a:pt x="488" y="24"/>
                      </a:lnTo>
                      <a:lnTo>
                        <a:pt x="494" y="24"/>
                      </a:lnTo>
                      <a:lnTo>
                        <a:pt x="505" y="22"/>
                      </a:lnTo>
                      <a:lnTo>
                        <a:pt x="514" y="18"/>
                      </a:lnTo>
                      <a:lnTo>
                        <a:pt x="535" y="12"/>
                      </a:lnTo>
                      <a:lnTo>
                        <a:pt x="540" y="9"/>
                      </a:lnTo>
                      <a:lnTo>
                        <a:pt x="550" y="5"/>
                      </a:lnTo>
                      <a:lnTo>
                        <a:pt x="555" y="2"/>
                      </a:lnTo>
                      <a:lnTo>
                        <a:pt x="561" y="0"/>
                      </a:lnTo>
                      <a:lnTo>
                        <a:pt x="569" y="4"/>
                      </a:lnTo>
                      <a:lnTo>
                        <a:pt x="595" y="25"/>
                      </a:lnTo>
                      <a:lnTo>
                        <a:pt x="610" y="36"/>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8" name="Okinawa" descr="{&quot;Key&quot;:&quot;okinawa&quot;,&quot;Name&quot;:&quot;Okinawa&quot;,&quot;Value&quot;:1.0,&quot;Formula&quot;:&quot;&quot;,&quot;Text&quot;:&quot;&quot;,&quot;OfficeApplication&quot;:1,&quot;HasValue&quot;:true}">
                  <a:extLst>
                    <a:ext uri="{FF2B5EF4-FFF2-40B4-BE49-F238E27FC236}">
                      <a16:creationId xmlns:a16="http://schemas.microsoft.com/office/drawing/2014/main" id="{7E3A6C48-3143-4B69-8874-270F97B17D30}"/>
                    </a:ext>
                  </a:extLst>
                </p:cNvPr>
                <p:cNvSpPr>
                  <a:spLocks noEditPoints="1"/>
                </p:cNvSpPr>
                <p:nvPr/>
              </p:nvSpPr>
              <p:spPr bwMode="auto">
                <a:xfrm>
                  <a:off x="2905125" y="5668963"/>
                  <a:ext cx="1970088" cy="1169987"/>
                </a:xfrm>
                <a:custGeom>
                  <a:avLst/>
                  <a:gdLst>
                    <a:gd name="T0" fmla="*/ 433 w 3372"/>
                    <a:gd name="T1" fmla="*/ 1928 h 2005"/>
                    <a:gd name="T2" fmla="*/ 463 w 3372"/>
                    <a:gd name="T3" fmla="*/ 1888 h 2005"/>
                    <a:gd name="T4" fmla="*/ 422 w 3372"/>
                    <a:gd name="T5" fmla="*/ 1880 h 2005"/>
                    <a:gd name="T6" fmla="*/ 401 w 3372"/>
                    <a:gd name="T7" fmla="*/ 1860 h 2005"/>
                    <a:gd name="T8" fmla="*/ 314 w 3372"/>
                    <a:gd name="T9" fmla="*/ 1880 h 2005"/>
                    <a:gd name="T10" fmla="*/ 32 w 3372"/>
                    <a:gd name="T11" fmla="*/ 1815 h 2005"/>
                    <a:gd name="T12" fmla="*/ 27 w 3372"/>
                    <a:gd name="T13" fmla="*/ 1813 h 2005"/>
                    <a:gd name="T14" fmla="*/ 477 w 3372"/>
                    <a:gd name="T15" fmla="*/ 1840 h 2005"/>
                    <a:gd name="T16" fmla="*/ 482 w 3372"/>
                    <a:gd name="T17" fmla="*/ 1821 h 2005"/>
                    <a:gd name="T18" fmla="*/ 535 w 3372"/>
                    <a:gd name="T19" fmla="*/ 1798 h 2005"/>
                    <a:gd name="T20" fmla="*/ 712 w 3372"/>
                    <a:gd name="T21" fmla="*/ 1744 h 2005"/>
                    <a:gd name="T22" fmla="*/ 712 w 3372"/>
                    <a:gd name="T23" fmla="*/ 1698 h 2005"/>
                    <a:gd name="T24" fmla="*/ 893 w 3372"/>
                    <a:gd name="T25" fmla="*/ 1649 h 2005"/>
                    <a:gd name="T26" fmla="*/ 992 w 3372"/>
                    <a:gd name="T27" fmla="*/ 1679 h 2005"/>
                    <a:gd name="T28" fmla="*/ 939 w 3372"/>
                    <a:gd name="T29" fmla="*/ 1660 h 2005"/>
                    <a:gd name="T30" fmla="*/ 973 w 3372"/>
                    <a:gd name="T31" fmla="*/ 1676 h 2005"/>
                    <a:gd name="T32" fmla="*/ 242 w 3372"/>
                    <a:gd name="T33" fmla="*/ 1236 h 2005"/>
                    <a:gd name="T34" fmla="*/ 3342 w 3372"/>
                    <a:gd name="T35" fmla="*/ 1191 h 2005"/>
                    <a:gd name="T36" fmla="*/ 301 w 3372"/>
                    <a:gd name="T37" fmla="*/ 1170 h 2005"/>
                    <a:gd name="T38" fmla="*/ 3367 w 3372"/>
                    <a:gd name="T39" fmla="*/ 1170 h 2005"/>
                    <a:gd name="T40" fmla="*/ 1779 w 3372"/>
                    <a:gd name="T41" fmla="*/ 1055 h 2005"/>
                    <a:gd name="T42" fmla="*/ 2022 w 3372"/>
                    <a:gd name="T43" fmla="*/ 974 h 2005"/>
                    <a:gd name="T44" fmla="*/ 1542 w 3372"/>
                    <a:gd name="T45" fmla="*/ 996 h 2005"/>
                    <a:gd name="T46" fmla="*/ 1533 w 3372"/>
                    <a:gd name="T47" fmla="*/ 960 h 2005"/>
                    <a:gd name="T48" fmla="*/ 1728 w 3372"/>
                    <a:gd name="T49" fmla="*/ 875 h 2005"/>
                    <a:gd name="T50" fmla="*/ 1948 w 3372"/>
                    <a:gd name="T51" fmla="*/ 820 h 2005"/>
                    <a:gd name="T52" fmla="*/ 2122 w 3372"/>
                    <a:gd name="T53" fmla="*/ 855 h 2005"/>
                    <a:gd name="T54" fmla="*/ 2078 w 3372"/>
                    <a:gd name="T55" fmla="*/ 890 h 2005"/>
                    <a:gd name="T56" fmla="*/ 1983 w 3372"/>
                    <a:gd name="T57" fmla="*/ 935 h 2005"/>
                    <a:gd name="T58" fmla="*/ 1998 w 3372"/>
                    <a:gd name="T59" fmla="*/ 990 h 2005"/>
                    <a:gd name="T60" fmla="*/ 1951 w 3372"/>
                    <a:gd name="T61" fmla="*/ 1053 h 2005"/>
                    <a:gd name="T62" fmla="*/ 1897 w 3372"/>
                    <a:gd name="T63" fmla="*/ 1080 h 2005"/>
                    <a:gd name="T64" fmla="*/ 1929 w 3372"/>
                    <a:gd name="T65" fmla="*/ 983 h 2005"/>
                    <a:gd name="T66" fmla="*/ 1966 w 3372"/>
                    <a:gd name="T67" fmla="*/ 919 h 2005"/>
                    <a:gd name="T68" fmla="*/ 1988 w 3372"/>
                    <a:gd name="T69" fmla="*/ 850 h 2005"/>
                    <a:gd name="T70" fmla="*/ 2029 w 3372"/>
                    <a:gd name="T71" fmla="*/ 843 h 2005"/>
                    <a:gd name="T72" fmla="*/ 2102 w 3372"/>
                    <a:gd name="T73" fmla="*/ 794 h 2005"/>
                    <a:gd name="T74" fmla="*/ 2167 w 3372"/>
                    <a:gd name="T75" fmla="*/ 781 h 2005"/>
                    <a:gd name="T76" fmla="*/ 2002 w 3372"/>
                    <a:gd name="T77" fmla="*/ 720 h 2005"/>
                    <a:gd name="T78" fmla="*/ 2199 w 3372"/>
                    <a:gd name="T79" fmla="*/ 672 h 2005"/>
                    <a:gd name="T80" fmla="*/ 2016 w 3372"/>
                    <a:gd name="T81" fmla="*/ 677 h 2005"/>
                    <a:gd name="T82" fmla="*/ 2292 w 3372"/>
                    <a:gd name="T83" fmla="*/ 512 h 2005"/>
                    <a:gd name="T84" fmla="*/ 2246 w 3372"/>
                    <a:gd name="T85" fmla="*/ 517 h 2005"/>
                    <a:gd name="T86" fmla="*/ 2295 w 3372"/>
                    <a:gd name="T87" fmla="*/ 489 h 2005"/>
                    <a:gd name="T88" fmla="*/ 2132 w 3372"/>
                    <a:gd name="T89" fmla="*/ 297 h 2005"/>
                    <a:gd name="T90" fmla="*/ 2389 w 3372"/>
                    <a:gd name="T91" fmla="*/ 306 h 2005"/>
                    <a:gd name="T92" fmla="*/ 2446 w 3372"/>
                    <a:gd name="T93" fmla="*/ 330 h 2005"/>
                    <a:gd name="T94" fmla="*/ 2544 w 3372"/>
                    <a:gd name="T95" fmla="*/ 219 h 2005"/>
                    <a:gd name="T96" fmla="*/ 2528 w 3372"/>
                    <a:gd name="T97" fmla="*/ 215 h 2005"/>
                    <a:gd name="T98" fmla="*/ 2499 w 3372"/>
                    <a:gd name="T99" fmla="*/ 224 h 2005"/>
                    <a:gd name="T100" fmla="*/ 2576 w 3372"/>
                    <a:gd name="T101" fmla="*/ 184 h 2005"/>
                    <a:gd name="T102" fmla="*/ 2537 w 3372"/>
                    <a:gd name="T103" fmla="*/ 187 h 2005"/>
                    <a:gd name="T104" fmla="*/ 2837 w 3372"/>
                    <a:gd name="T105" fmla="*/ 100 h 2005"/>
                    <a:gd name="T106" fmla="*/ 2726 w 3372"/>
                    <a:gd name="T107" fmla="*/ 34 h 2005"/>
                    <a:gd name="T108" fmla="*/ 2659 w 3372"/>
                    <a:gd name="T109" fmla="*/ 83 h 2005"/>
                    <a:gd name="T110" fmla="*/ 2609 w 3372"/>
                    <a:gd name="T111" fmla="*/ 123 h 2005"/>
                    <a:gd name="T112" fmla="*/ 2588 w 3372"/>
                    <a:gd name="T113" fmla="*/ 175 h 2005"/>
                    <a:gd name="T114" fmla="*/ 2519 w 3372"/>
                    <a:gd name="T115" fmla="*/ 128 h 2005"/>
                    <a:gd name="T116" fmla="*/ 2553 w 3372"/>
                    <a:gd name="T117" fmla="*/ 103 h 2005"/>
                    <a:gd name="T118" fmla="*/ 2579 w 3372"/>
                    <a:gd name="T119" fmla="*/ 65 h 2005"/>
                    <a:gd name="T120" fmla="*/ 2644 w 3372"/>
                    <a:gd name="T121" fmla="*/ 54 h 2005"/>
                    <a:gd name="T122" fmla="*/ 2704 w 3372"/>
                    <a:gd name="T123" fmla="*/ 3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72" h="2005">
                      <a:moveTo>
                        <a:pt x="344" y="2004"/>
                      </a:moveTo>
                      <a:lnTo>
                        <a:pt x="339" y="2005"/>
                      </a:lnTo>
                      <a:lnTo>
                        <a:pt x="331" y="2003"/>
                      </a:lnTo>
                      <a:lnTo>
                        <a:pt x="329" y="1999"/>
                      </a:lnTo>
                      <a:lnTo>
                        <a:pt x="333" y="1996"/>
                      </a:lnTo>
                      <a:lnTo>
                        <a:pt x="341" y="1995"/>
                      </a:lnTo>
                      <a:lnTo>
                        <a:pt x="348" y="1995"/>
                      </a:lnTo>
                      <a:lnTo>
                        <a:pt x="349" y="2000"/>
                      </a:lnTo>
                      <a:lnTo>
                        <a:pt x="344" y="2004"/>
                      </a:lnTo>
                      <a:close/>
                      <a:moveTo>
                        <a:pt x="437" y="1925"/>
                      </a:moveTo>
                      <a:lnTo>
                        <a:pt x="433" y="1928"/>
                      </a:lnTo>
                      <a:lnTo>
                        <a:pt x="429" y="1928"/>
                      </a:lnTo>
                      <a:lnTo>
                        <a:pt x="427" y="1924"/>
                      </a:lnTo>
                      <a:lnTo>
                        <a:pt x="426" y="1919"/>
                      </a:lnTo>
                      <a:lnTo>
                        <a:pt x="426" y="1914"/>
                      </a:lnTo>
                      <a:lnTo>
                        <a:pt x="429" y="1914"/>
                      </a:lnTo>
                      <a:lnTo>
                        <a:pt x="433" y="1916"/>
                      </a:lnTo>
                      <a:lnTo>
                        <a:pt x="435" y="1916"/>
                      </a:lnTo>
                      <a:lnTo>
                        <a:pt x="439" y="1919"/>
                      </a:lnTo>
                      <a:lnTo>
                        <a:pt x="437" y="1925"/>
                      </a:lnTo>
                      <a:close/>
                      <a:moveTo>
                        <a:pt x="467" y="1886"/>
                      </a:moveTo>
                      <a:lnTo>
                        <a:pt x="463" y="1888"/>
                      </a:lnTo>
                      <a:lnTo>
                        <a:pt x="460" y="1885"/>
                      </a:lnTo>
                      <a:lnTo>
                        <a:pt x="459" y="1881"/>
                      </a:lnTo>
                      <a:lnTo>
                        <a:pt x="460" y="1878"/>
                      </a:lnTo>
                      <a:lnTo>
                        <a:pt x="464" y="1878"/>
                      </a:lnTo>
                      <a:lnTo>
                        <a:pt x="468" y="1881"/>
                      </a:lnTo>
                      <a:lnTo>
                        <a:pt x="468" y="1884"/>
                      </a:lnTo>
                      <a:lnTo>
                        <a:pt x="467" y="1886"/>
                      </a:lnTo>
                      <a:close/>
                      <a:moveTo>
                        <a:pt x="427" y="1876"/>
                      </a:moveTo>
                      <a:lnTo>
                        <a:pt x="427" y="1880"/>
                      </a:lnTo>
                      <a:lnTo>
                        <a:pt x="424" y="1881"/>
                      </a:lnTo>
                      <a:lnTo>
                        <a:pt x="422" y="1880"/>
                      </a:lnTo>
                      <a:lnTo>
                        <a:pt x="410" y="1879"/>
                      </a:lnTo>
                      <a:lnTo>
                        <a:pt x="413" y="1875"/>
                      </a:lnTo>
                      <a:lnTo>
                        <a:pt x="414" y="1869"/>
                      </a:lnTo>
                      <a:lnTo>
                        <a:pt x="419" y="1869"/>
                      </a:lnTo>
                      <a:lnTo>
                        <a:pt x="427" y="1876"/>
                      </a:lnTo>
                      <a:close/>
                      <a:moveTo>
                        <a:pt x="343" y="1841"/>
                      </a:moveTo>
                      <a:lnTo>
                        <a:pt x="353" y="1850"/>
                      </a:lnTo>
                      <a:lnTo>
                        <a:pt x="360" y="1848"/>
                      </a:lnTo>
                      <a:lnTo>
                        <a:pt x="375" y="1850"/>
                      </a:lnTo>
                      <a:lnTo>
                        <a:pt x="392" y="1855"/>
                      </a:lnTo>
                      <a:lnTo>
                        <a:pt x="401" y="1860"/>
                      </a:lnTo>
                      <a:lnTo>
                        <a:pt x="402" y="1871"/>
                      </a:lnTo>
                      <a:lnTo>
                        <a:pt x="393" y="1888"/>
                      </a:lnTo>
                      <a:lnTo>
                        <a:pt x="377" y="1909"/>
                      </a:lnTo>
                      <a:lnTo>
                        <a:pt x="368" y="1909"/>
                      </a:lnTo>
                      <a:lnTo>
                        <a:pt x="326" y="1899"/>
                      </a:lnTo>
                      <a:lnTo>
                        <a:pt x="301" y="1896"/>
                      </a:lnTo>
                      <a:lnTo>
                        <a:pt x="294" y="1891"/>
                      </a:lnTo>
                      <a:lnTo>
                        <a:pt x="301" y="1880"/>
                      </a:lnTo>
                      <a:lnTo>
                        <a:pt x="306" y="1883"/>
                      </a:lnTo>
                      <a:lnTo>
                        <a:pt x="309" y="1878"/>
                      </a:lnTo>
                      <a:lnTo>
                        <a:pt x="314" y="1880"/>
                      </a:lnTo>
                      <a:lnTo>
                        <a:pt x="318" y="1883"/>
                      </a:lnTo>
                      <a:lnTo>
                        <a:pt x="324" y="1881"/>
                      </a:lnTo>
                      <a:lnTo>
                        <a:pt x="326" y="1878"/>
                      </a:lnTo>
                      <a:lnTo>
                        <a:pt x="328" y="1861"/>
                      </a:lnTo>
                      <a:lnTo>
                        <a:pt x="333" y="1845"/>
                      </a:lnTo>
                      <a:lnTo>
                        <a:pt x="334" y="1838"/>
                      </a:lnTo>
                      <a:lnTo>
                        <a:pt x="338" y="1838"/>
                      </a:lnTo>
                      <a:lnTo>
                        <a:pt x="341" y="1839"/>
                      </a:lnTo>
                      <a:lnTo>
                        <a:pt x="343" y="1841"/>
                      </a:lnTo>
                      <a:close/>
                      <a:moveTo>
                        <a:pt x="27" y="1813"/>
                      </a:moveTo>
                      <a:lnTo>
                        <a:pt x="32" y="1815"/>
                      </a:lnTo>
                      <a:lnTo>
                        <a:pt x="33" y="1820"/>
                      </a:lnTo>
                      <a:lnTo>
                        <a:pt x="29" y="1825"/>
                      </a:lnTo>
                      <a:lnTo>
                        <a:pt x="24" y="1829"/>
                      </a:lnTo>
                      <a:lnTo>
                        <a:pt x="20" y="1826"/>
                      </a:lnTo>
                      <a:lnTo>
                        <a:pt x="4" y="1829"/>
                      </a:lnTo>
                      <a:lnTo>
                        <a:pt x="0" y="1826"/>
                      </a:lnTo>
                      <a:lnTo>
                        <a:pt x="0" y="1821"/>
                      </a:lnTo>
                      <a:lnTo>
                        <a:pt x="3" y="1816"/>
                      </a:lnTo>
                      <a:lnTo>
                        <a:pt x="8" y="1814"/>
                      </a:lnTo>
                      <a:lnTo>
                        <a:pt x="13" y="1815"/>
                      </a:lnTo>
                      <a:lnTo>
                        <a:pt x="27" y="1813"/>
                      </a:lnTo>
                      <a:close/>
                      <a:moveTo>
                        <a:pt x="532" y="1826"/>
                      </a:moveTo>
                      <a:lnTo>
                        <a:pt x="529" y="1845"/>
                      </a:lnTo>
                      <a:lnTo>
                        <a:pt x="524" y="1863"/>
                      </a:lnTo>
                      <a:lnTo>
                        <a:pt x="512" y="1874"/>
                      </a:lnTo>
                      <a:lnTo>
                        <a:pt x="498" y="1875"/>
                      </a:lnTo>
                      <a:lnTo>
                        <a:pt x="483" y="1871"/>
                      </a:lnTo>
                      <a:lnTo>
                        <a:pt x="477" y="1864"/>
                      </a:lnTo>
                      <a:lnTo>
                        <a:pt x="484" y="1853"/>
                      </a:lnTo>
                      <a:lnTo>
                        <a:pt x="480" y="1850"/>
                      </a:lnTo>
                      <a:lnTo>
                        <a:pt x="479" y="1844"/>
                      </a:lnTo>
                      <a:lnTo>
                        <a:pt x="477" y="1840"/>
                      </a:lnTo>
                      <a:lnTo>
                        <a:pt x="469" y="1838"/>
                      </a:lnTo>
                      <a:lnTo>
                        <a:pt x="463" y="1836"/>
                      </a:lnTo>
                      <a:lnTo>
                        <a:pt x="458" y="1834"/>
                      </a:lnTo>
                      <a:lnTo>
                        <a:pt x="459" y="1830"/>
                      </a:lnTo>
                      <a:lnTo>
                        <a:pt x="465" y="1829"/>
                      </a:lnTo>
                      <a:lnTo>
                        <a:pt x="468" y="1825"/>
                      </a:lnTo>
                      <a:lnTo>
                        <a:pt x="472" y="1818"/>
                      </a:lnTo>
                      <a:lnTo>
                        <a:pt x="474" y="1816"/>
                      </a:lnTo>
                      <a:lnTo>
                        <a:pt x="479" y="1815"/>
                      </a:lnTo>
                      <a:lnTo>
                        <a:pt x="480" y="1818"/>
                      </a:lnTo>
                      <a:lnTo>
                        <a:pt x="482" y="1821"/>
                      </a:lnTo>
                      <a:lnTo>
                        <a:pt x="487" y="1825"/>
                      </a:lnTo>
                      <a:lnTo>
                        <a:pt x="490" y="1828"/>
                      </a:lnTo>
                      <a:lnTo>
                        <a:pt x="494" y="1829"/>
                      </a:lnTo>
                      <a:lnTo>
                        <a:pt x="504" y="1829"/>
                      </a:lnTo>
                      <a:lnTo>
                        <a:pt x="508" y="1828"/>
                      </a:lnTo>
                      <a:lnTo>
                        <a:pt x="512" y="1825"/>
                      </a:lnTo>
                      <a:lnTo>
                        <a:pt x="517" y="1819"/>
                      </a:lnTo>
                      <a:lnTo>
                        <a:pt x="519" y="1811"/>
                      </a:lnTo>
                      <a:lnTo>
                        <a:pt x="524" y="1804"/>
                      </a:lnTo>
                      <a:lnTo>
                        <a:pt x="530" y="1801"/>
                      </a:lnTo>
                      <a:lnTo>
                        <a:pt x="535" y="1798"/>
                      </a:lnTo>
                      <a:lnTo>
                        <a:pt x="548" y="1771"/>
                      </a:lnTo>
                      <a:lnTo>
                        <a:pt x="553" y="1764"/>
                      </a:lnTo>
                      <a:lnTo>
                        <a:pt x="557" y="1761"/>
                      </a:lnTo>
                      <a:lnTo>
                        <a:pt x="559" y="1765"/>
                      </a:lnTo>
                      <a:lnTo>
                        <a:pt x="560" y="1770"/>
                      </a:lnTo>
                      <a:lnTo>
                        <a:pt x="558" y="1775"/>
                      </a:lnTo>
                      <a:lnTo>
                        <a:pt x="555" y="1779"/>
                      </a:lnTo>
                      <a:lnTo>
                        <a:pt x="552" y="1786"/>
                      </a:lnTo>
                      <a:lnTo>
                        <a:pt x="537" y="1807"/>
                      </a:lnTo>
                      <a:lnTo>
                        <a:pt x="532" y="1826"/>
                      </a:lnTo>
                      <a:close/>
                      <a:moveTo>
                        <a:pt x="712" y="1744"/>
                      </a:moveTo>
                      <a:lnTo>
                        <a:pt x="705" y="1744"/>
                      </a:lnTo>
                      <a:lnTo>
                        <a:pt x="699" y="1741"/>
                      </a:lnTo>
                      <a:lnTo>
                        <a:pt x="699" y="1735"/>
                      </a:lnTo>
                      <a:lnTo>
                        <a:pt x="704" y="1728"/>
                      </a:lnTo>
                      <a:lnTo>
                        <a:pt x="710" y="1728"/>
                      </a:lnTo>
                      <a:lnTo>
                        <a:pt x="717" y="1730"/>
                      </a:lnTo>
                      <a:lnTo>
                        <a:pt x="719" y="1738"/>
                      </a:lnTo>
                      <a:lnTo>
                        <a:pt x="716" y="1743"/>
                      </a:lnTo>
                      <a:lnTo>
                        <a:pt x="712" y="1744"/>
                      </a:lnTo>
                      <a:close/>
                      <a:moveTo>
                        <a:pt x="710" y="1693"/>
                      </a:moveTo>
                      <a:lnTo>
                        <a:pt x="712" y="1698"/>
                      </a:lnTo>
                      <a:lnTo>
                        <a:pt x="704" y="1694"/>
                      </a:lnTo>
                      <a:lnTo>
                        <a:pt x="703" y="1689"/>
                      </a:lnTo>
                      <a:lnTo>
                        <a:pt x="707" y="1689"/>
                      </a:lnTo>
                      <a:lnTo>
                        <a:pt x="710" y="1693"/>
                      </a:lnTo>
                      <a:close/>
                      <a:moveTo>
                        <a:pt x="912" y="1666"/>
                      </a:moveTo>
                      <a:lnTo>
                        <a:pt x="897" y="1669"/>
                      </a:lnTo>
                      <a:lnTo>
                        <a:pt x="889" y="1668"/>
                      </a:lnTo>
                      <a:lnTo>
                        <a:pt x="886" y="1661"/>
                      </a:lnTo>
                      <a:lnTo>
                        <a:pt x="886" y="1656"/>
                      </a:lnTo>
                      <a:lnTo>
                        <a:pt x="892" y="1654"/>
                      </a:lnTo>
                      <a:lnTo>
                        <a:pt x="893" y="1649"/>
                      </a:lnTo>
                      <a:lnTo>
                        <a:pt x="894" y="1645"/>
                      </a:lnTo>
                      <a:lnTo>
                        <a:pt x="900" y="1644"/>
                      </a:lnTo>
                      <a:lnTo>
                        <a:pt x="907" y="1646"/>
                      </a:lnTo>
                      <a:lnTo>
                        <a:pt x="910" y="1649"/>
                      </a:lnTo>
                      <a:lnTo>
                        <a:pt x="914" y="1653"/>
                      </a:lnTo>
                      <a:lnTo>
                        <a:pt x="917" y="1661"/>
                      </a:lnTo>
                      <a:lnTo>
                        <a:pt x="912" y="1666"/>
                      </a:lnTo>
                      <a:close/>
                      <a:moveTo>
                        <a:pt x="973" y="1676"/>
                      </a:moveTo>
                      <a:lnTo>
                        <a:pt x="976" y="1678"/>
                      </a:lnTo>
                      <a:lnTo>
                        <a:pt x="984" y="1678"/>
                      </a:lnTo>
                      <a:lnTo>
                        <a:pt x="992" y="1679"/>
                      </a:lnTo>
                      <a:lnTo>
                        <a:pt x="1001" y="1683"/>
                      </a:lnTo>
                      <a:lnTo>
                        <a:pt x="1008" y="1689"/>
                      </a:lnTo>
                      <a:lnTo>
                        <a:pt x="1011" y="1694"/>
                      </a:lnTo>
                      <a:lnTo>
                        <a:pt x="1007" y="1696"/>
                      </a:lnTo>
                      <a:lnTo>
                        <a:pt x="999" y="1699"/>
                      </a:lnTo>
                      <a:lnTo>
                        <a:pt x="983" y="1701"/>
                      </a:lnTo>
                      <a:lnTo>
                        <a:pt x="949" y="1703"/>
                      </a:lnTo>
                      <a:lnTo>
                        <a:pt x="933" y="1699"/>
                      </a:lnTo>
                      <a:lnTo>
                        <a:pt x="932" y="1690"/>
                      </a:lnTo>
                      <a:lnTo>
                        <a:pt x="934" y="1685"/>
                      </a:lnTo>
                      <a:lnTo>
                        <a:pt x="939" y="1660"/>
                      </a:lnTo>
                      <a:lnTo>
                        <a:pt x="939" y="1644"/>
                      </a:lnTo>
                      <a:lnTo>
                        <a:pt x="938" y="1639"/>
                      </a:lnTo>
                      <a:lnTo>
                        <a:pt x="933" y="1631"/>
                      </a:lnTo>
                      <a:lnTo>
                        <a:pt x="939" y="1633"/>
                      </a:lnTo>
                      <a:lnTo>
                        <a:pt x="943" y="1635"/>
                      </a:lnTo>
                      <a:lnTo>
                        <a:pt x="947" y="1639"/>
                      </a:lnTo>
                      <a:lnTo>
                        <a:pt x="951" y="1644"/>
                      </a:lnTo>
                      <a:lnTo>
                        <a:pt x="956" y="1656"/>
                      </a:lnTo>
                      <a:lnTo>
                        <a:pt x="958" y="1661"/>
                      </a:lnTo>
                      <a:lnTo>
                        <a:pt x="961" y="1664"/>
                      </a:lnTo>
                      <a:lnTo>
                        <a:pt x="973" y="1676"/>
                      </a:lnTo>
                      <a:close/>
                      <a:moveTo>
                        <a:pt x="930" y="1611"/>
                      </a:moveTo>
                      <a:lnTo>
                        <a:pt x="933" y="1616"/>
                      </a:lnTo>
                      <a:lnTo>
                        <a:pt x="929" y="1618"/>
                      </a:lnTo>
                      <a:lnTo>
                        <a:pt x="924" y="1610"/>
                      </a:lnTo>
                      <a:lnTo>
                        <a:pt x="928" y="1609"/>
                      </a:lnTo>
                      <a:lnTo>
                        <a:pt x="930" y="1611"/>
                      </a:lnTo>
                      <a:close/>
                      <a:moveTo>
                        <a:pt x="238" y="1241"/>
                      </a:moveTo>
                      <a:lnTo>
                        <a:pt x="230" y="1243"/>
                      </a:lnTo>
                      <a:lnTo>
                        <a:pt x="232" y="1239"/>
                      </a:lnTo>
                      <a:lnTo>
                        <a:pt x="239" y="1236"/>
                      </a:lnTo>
                      <a:lnTo>
                        <a:pt x="242" y="1236"/>
                      </a:lnTo>
                      <a:lnTo>
                        <a:pt x="244" y="1241"/>
                      </a:lnTo>
                      <a:lnTo>
                        <a:pt x="238" y="1241"/>
                      </a:lnTo>
                      <a:close/>
                      <a:moveTo>
                        <a:pt x="3342" y="1216"/>
                      </a:moveTo>
                      <a:lnTo>
                        <a:pt x="3337" y="1216"/>
                      </a:lnTo>
                      <a:lnTo>
                        <a:pt x="3333" y="1215"/>
                      </a:lnTo>
                      <a:lnTo>
                        <a:pt x="3326" y="1211"/>
                      </a:lnTo>
                      <a:lnTo>
                        <a:pt x="3326" y="1206"/>
                      </a:lnTo>
                      <a:lnTo>
                        <a:pt x="3329" y="1200"/>
                      </a:lnTo>
                      <a:lnTo>
                        <a:pt x="3334" y="1193"/>
                      </a:lnTo>
                      <a:lnTo>
                        <a:pt x="3339" y="1190"/>
                      </a:lnTo>
                      <a:lnTo>
                        <a:pt x="3342" y="1191"/>
                      </a:lnTo>
                      <a:lnTo>
                        <a:pt x="3352" y="1199"/>
                      </a:lnTo>
                      <a:lnTo>
                        <a:pt x="3348" y="1200"/>
                      </a:lnTo>
                      <a:lnTo>
                        <a:pt x="3345" y="1204"/>
                      </a:lnTo>
                      <a:lnTo>
                        <a:pt x="3344" y="1208"/>
                      </a:lnTo>
                      <a:lnTo>
                        <a:pt x="3343" y="1212"/>
                      </a:lnTo>
                      <a:lnTo>
                        <a:pt x="3342" y="1216"/>
                      </a:lnTo>
                      <a:close/>
                      <a:moveTo>
                        <a:pt x="299" y="1171"/>
                      </a:moveTo>
                      <a:lnTo>
                        <a:pt x="297" y="1171"/>
                      </a:lnTo>
                      <a:lnTo>
                        <a:pt x="296" y="1168"/>
                      </a:lnTo>
                      <a:lnTo>
                        <a:pt x="298" y="1166"/>
                      </a:lnTo>
                      <a:lnTo>
                        <a:pt x="301" y="1170"/>
                      </a:lnTo>
                      <a:lnTo>
                        <a:pt x="299" y="1171"/>
                      </a:lnTo>
                      <a:close/>
                      <a:moveTo>
                        <a:pt x="3367" y="1170"/>
                      </a:moveTo>
                      <a:lnTo>
                        <a:pt x="3364" y="1170"/>
                      </a:lnTo>
                      <a:lnTo>
                        <a:pt x="3361" y="1167"/>
                      </a:lnTo>
                      <a:lnTo>
                        <a:pt x="3357" y="1162"/>
                      </a:lnTo>
                      <a:lnTo>
                        <a:pt x="3357" y="1156"/>
                      </a:lnTo>
                      <a:lnTo>
                        <a:pt x="3362" y="1156"/>
                      </a:lnTo>
                      <a:lnTo>
                        <a:pt x="3369" y="1159"/>
                      </a:lnTo>
                      <a:lnTo>
                        <a:pt x="3372" y="1164"/>
                      </a:lnTo>
                      <a:lnTo>
                        <a:pt x="3369" y="1167"/>
                      </a:lnTo>
                      <a:lnTo>
                        <a:pt x="3367" y="1170"/>
                      </a:lnTo>
                      <a:close/>
                      <a:moveTo>
                        <a:pt x="1778" y="1061"/>
                      </a:moveTo>
                      <a:lnTo>
                        <a:pt x="1774" y="1066"/>
                      </a:lnTo>
                      <a:lnTo>
                        <a:pt x="1772" y="1064"/>
                      </a:lnTo>
                      <a:lnTo>
                        <a:pt x="1771" y="1059"/>
                      </a:lnTo>
                      <a:lnTo>
                        <a:pt x="1771" y="1051"/>
                      </a:lnTo>
                      <a:lnTo>
                        <a:pt x="1772" y="1042"/>
                      </a:lnTo>
                      <a:lnTo>
                        <a:pt x="1774" y="1037"/>
                      </a:lnTo>
                      <a:lnTo>
                        <a:pt x="1779" y="1036"/>
                      </a:lnTo>
                      <a:lnTo>
                        <a:pt x="1781" y="1039"/>
                      </a:lnTo>
                      <a:lnTo>
                        <a:pt x="1782" y="1044"/>
                      </a:lnTo>
                      <a:lnTo>
                        <a:pt x="1779" y="1055"/>
                      </a:lnTo>
                      <a:lnTo>
                        <a:pt x="1778" y="1061"/>
                      </a:lnTo>
                      <a:close/>
                      <a:moveTo>
                        <a:pt x="2013" y="1022"/>
                      </a:moveTo>
                      <a:lnTo>
                        <a:pt x="2011" y="1027"/>
                      </a:lnTo>
                      <a:lnTo>
                        <a:pt x="2008" y="1026"/>
                      </a:lnTo>
                      <a:lnTo>
                        <a:pt x="2007" y="1022"/>
                      </a:lnTo>
                      <a:lnTo>
                        <a:pt x="2011" y="1017"/>
                      </a:lnTo>
                      <a:lnTo>
                        <a:pt x="2012" y="1019"/>
                      </a:lnTo>
                      <a:lnTo>
                        <a:pt x="2013" y="1022"/>
                      </a:lnTo>
                      <a:close/>
                      <a:moveTo>
                        <a:pt x="2031" y="975"/>
                      </a:moveTo>
                      <a:lnTo>
                        <a:pt x="2026" y="976"/>
                      </a:lnTo>
                      <a:lnTo>
                        <a:pt x="2022" y="974"/>
                      </a:lnTo>
                      <a:lnTo>
                        <a:pt x="2023" y="966"/>
                      </a:lnTo>
                      <a:lnTo>
                        <a:pt x="2029" y="962"/>
                      </a:lnTo>
                      <a:lnTo>
                        <a:pt x="2031" y="965"/>
                      </a:lnTo>
                      <a:lnTo>
                        <a:pt x="2029" y="968"/>
                      </a:lnTo>
                      <a:lnTo>
                        <a:pt x="2032" y="969"/>
                      </a:lnTo>
                      <a:lnTo>
                        <a:pt x="2033" y="970"/>
                      </a:lnTo>
                      <a:lnTo>
                        <a:pt x="2031" y="975"/>
                      </a:lnTo>
                      <a:close/>
                      <a:moveTo>
                        <a:pt x="1551" y="999"/>
                      </a:moveTo>
                      <a:lnTo>
                        <a:pt x="1548" y="999"/>
                      </a:lnTo>
                      <a:lnTo>
                        <a:pt x="1546" y="999"/>
                      </a:lnTo>
                      <a:lnTo>
                        <a:pt x="1542" y="996"/>
                      </a:lnTo>
                      <a:lnTo>
                        <a:pt x="1541" y="994"/>
                      </a:lnTo>
                      <a:lnTo>
                        <a:pt x="1539" y="991"/>
                      </a:lnTo>
                      <a:lnTo>
                        <a:pt x="1536" y="985"/>
                      </a:lnTo>
                      <a:lnTo>
                        <a:pt x="1529" y="982"/>
                      </a:lnTo>
                      <a:lnTo>
                        <a:pt x="1521" y="980"/>
                      </a:lnTo>
                      <a:lnTo>
                        <a:pt x="1513" y="976"/>
                      </a:lnTo>
                      <a:lnTo>
                        <a:pt x="1511" y="970"/>
                      </a:lnTo>
                      <a:lnTo>
                        <a:pt x="1514" y="965"/>
                      </a:lnTo>
                      <a:lnTo>
                        <a:pt x="1522" y="962"/>
                      </a:lnTo>
                      <a:lnTo>
                        <a:pt x="1529" y="960"/>
                      </a:lnTo>
                      <a:lnTo>
                        <a:pt x="1533" y="960"/>
                      </a:lnTo>
                      <a:lnTo>
                        <a:pt x="1541" y="961"/>
                      </a:lnTo>
                      <a:lnTo>
                        <a:pt x="1547" y="965"/>
                      </a:lnTo>
                      <a:lnTo>
                        <a:pt x="1553" y="970"/>
                      </a:lnTo>
                      <a:lnTo>
                        <a:pt x="1557" y="977"/>
                      </a:lnTo>
                      <a:lnTo>
                        <a:pt x="1557" y="981"/>
                      </a:lnTo>
                      <a:lnTo>
                        <a:pt x="1556" y="986"/>
                      </a:lnTo>
                      <a:lnTo>
                        <a:pt x="1553" y="990"/>
                      </a:lnTo>
                      <a:lnTo>
                        <a:pt x="1549" y="995"/>
                      </a:lnTo>
                      <a:lnTo>
                        <a:pt x="1551" y="999"/>
                      </a:lnTo>
                      <a:close/>
                      <a:moveTo>
                        <a:pt x="1731" y="872"/>
                      </a:moveTo>
                      <a:lnTo>
                        <a:pt x="1728" y="875"/>
                      </a:lnTo>
                      <a:lnTo>
                        <a:pt x="1724" y="875"/>
                      </a:lnTo>
                      <a:lnTo>
                        <a:pt x="1719" y="876"/>
                      </a:lnTo>
                      <a:lnTo>
                        <a:pt x="1717" y="874"/>
                      </a:lnTo>
                      <a:lnTo>
                        <a:pt x="1719" y="869"/>
                      </a:lnTo>
                      <a:lnTo>
                        <a:pt x="1722" y="866"/>
                      </a:lnTo>
                      <a:lnTo>
                        <a:pt x="1726" y="865"/>
                      </a:lnTo>
                      <a:lnTo>
                        <a:pt x="1731" y="867"/>
                      </a:lnTo>
                      <a:lnTo>
                        <a:pt x="1731" y="872"/>
                      </a:lnTo>
                      <a:close/>
                      <a:moveTo>
                        <a:pt x="1958" y="805"/>
                      </a:moveTo>
                      <a:lnTo>
                        <a:pt x="1958" y="817"/>
                      </a:lnTo>
                      <a:lnTo>
                        <a:pt x="1948" y="820"/>
                      </a:lnTo>
                      <a:lnTo>
                        <a:pt x="1937" y="815"/>
                      </a:lnTo>
                      <a:lnTo>
                        <a:pt x="1936" y="808"/>
                      </a:lnTo>
                      <a:lnTo>
                        <a:pt x="1942" y="806"/>
                      </a:lnTo>
                      <a:lnTo>
                        <a:pt x="1952" y="806"/>
                      </a:lnTo>
                      <a:lnTo>
                        <a:pt x="1958" y="805"/>
                      </a:lnTo>
                      <a:close/>
                      <a:moveTo>
                        <a:pt x="2159" y="819"/>
                      </a:moveTo>
                      <a:lnTo>
                        <a:pt x="2158" y="820"/>
                      </a:lnTo>
                      <a:lnTo>
                        <a:pt x="2153" y="820"/>
                      </a:lnTo>
                      <a:lnTo>
                        <a:pt x="2141" y="842"/>
                      </a:lnTo>
                      <a:lnTo>
                        <a:pt x="2132" y="851"/>
                      </a:lnTo>
                      <a:lnTo>
                        <a:pt x="2122" y="855"/>
                      </a:lnTo>
                      <a:lnTo>
                        <a:pt x="2103" y="855"/>
                      </a:lnTo>
                      <a:lnTo>
                        <a:pt x="2098" y="858"/>
                      </a:lnTo>
                      <a:lnTo>
                        <a:pt x="2096" y="860"/>
                      </a:lnTo>
                      <a:lnTo>
                        <a:pt x="2092" y="865"/>
                      </a:lnTo>
                      <a:lnTo>
                        <a:pt x="2089" y="870"/>
                      </a:lnTo>
                      <a:lnTo>
                        <a:pt x="2088" y="875"/>
                      </a:lnTo>
                      <a:lnTo>
                        <a:pt x="2088" y="876"/>
                      </a:lnTo>
                      <a:lnTo>
                        <a:pt x="2093" y="878"/>
                      </a:lnTo>
                      <a:lnTo>
                        <a:pt x="2093" y="883"/>
                      </a:lnTo>
                      <a:lnTo>
                        <a:pt x="2092" y="885"/>
                      </a:lnTo>
                      <a:lnTo>
                        <a:pt x="2078" y="890"/>
                      </a:lnTo>
                      <a:lnTo>
                        <a:pt x="2071" y="891"/>
                      </a:lnTo>
                      <a:lnTo>
                        <a:pt x="2063" y="891"/>
                      </a:lnTo>
                      <a:lnTo>
                        <a:pt x="2057" y="889"/>
                      </a:lnTo>
                      <a:lnTo>
                        <a:pt x="2049" y="899"/>
                      </a:lnTo>
                      <a:lnTo>
                        <a:pt x="2028" y="920"/>
                      </a:lnTo>
                      <a:lnTo>
                        <a:pt x="2023" y="924"/>
                      </a:lnTo>
                      <a:lnTo>
                        <a:pt x="2018" y="924"/>
                      </a:lnTo>
                      <a:lnTo>
                        <a:pt x="2014" y="926"/>
                      </a:lnTo>
                      <a:lnTo>
                        <a:pt x="2013" y="933"/>
                      </a:lnTo>
                      <a:lnTo>
                        <a:pt x="2011" y="934"/>
                      </a:lnTo>
                      <a:lnTo>
                        <a:pt x="1983" y="935"/>
                      </a:lnTo>
                      <a:lnTo>
                        <a:pt x="1978" y="935"/>
                      </a:lnTo>
                      <a:lnTo>
                        <a:pt x="1974" y="938"/>
                      </a:lnTo>
                      <a:lnTo>
                        <a:pt x="1969" y="945"/>
                      </a:lnTo>
                      <a:lnTo>
                        <a:pt x="1972" y="948"/>
                      </a:lnTo>
                      <a:lnTo>
                        <a:pt x="1976" y="950"/>
                      </a:lnTo>
                      <a:lnTo>
                        <a:pt x="1981" y="953"/>
                      </a:lnTo>
                      <a:lnTo>
                        <a:pt x="1982" y="959"/>
                      </a:lnTo>
                      <a:lnTo>
                        <a:pt x="1983" y="971"/>
                      </a:lnTo>
                      <a:lnTo>
                        <a:pt x="1986" y="978"/>
                      </a:lnTo>
                      <a:lnTo>
                        <a:pt x="1989" y="983"/>
                      </a:lnTo>
                      <a:lnTo>
                        <a:pt x="1998" y="990"/>
                      </a:lnTo>
                      <a:lnTo>
                        <a:pt x="2002" y="996"/>
                      </a:lnTo>
                      <a:lnTo>
                        <a:pt x="1996" y="999"/>
                      </a:lnTo>
                      <a:lnTo>
                        <a:pt x="1987" y="996"/>
                      </a:lnTo>
                      <a:lnTo>
                        <a:pt x="1979" y="993"/>
                      </a:lnTo>
                      <a:lnTo>
                        <a:pt x="1971" y="990"/>
                      </a:lnTo>
                      <a:lnTo>
                        <a:pt x="1966" y="994"/>
                      </a:lnTo>
                      <a:lnTo>
                        <a:pt x="1946" y="1030"/>
                      </a:lnTo>
                      <a:lnTo>
                        <a:pt x="1942" y="1038"/>
                      </a:lnTo>
                      <a:lnTo>
                        <a:pt x="1942" y="1046"/>
                      </a:lnTo>
                      <a:lnTo>
                        <a:pt x="1944" y="1053"/>
                      </a:lnTo>
                      <a:lnTo>
                        <a:pt x="1951" y="1053"/>
                      </a:lnTo>
                      <a:lnTo>
                        <a:pt x="1958" y="1050"/>
                      </a:lnTo>
                      <a:lnTo>
                        <a:pt x="1963" y="1051"/>
                      </a:lnTo>
                      <a:lnTo>
                        <a:pt x="1959" y="1061"/>
                      </a:lnTo>
                      <a:lnTo>
                        <a:pt x="1953" y="1073"/>
                      </a:lnTo>
                      <a:lnTo>
                        <a:pt x="1944" y="1080"/>
                      </a:lnTo>
                      <a:lnTo>
                        <a:pt x="1936" y="1079"/>
                      </a:lnTo>
                      <a:lnTo>
                        <a:pt x="1931" y="1084"/>
                      </a:lnTo>
                      <a:lnTo>
                        <a:pt x="1924" y="1095"/>
                      </a:lnTo>
                      <a:lnTo>
                        <a:pt x="1918" y="1098"/>
                      </a:lnTo>
                      <a:lnTo>
                        <a:pt x="1894" y="1098"/>
                      </a:lnTo>
                      <a:lnTo>
                        <a:pt x="1897" y="1080"/>
                      </a:lnTo>
                      <a:lnTo>
                        <a:pt x="1888" y="1049"/>
                      </a:lnTo>
                      <a:lnTo>
                        <a:pt x="1889" y="1039"/>
                      </a:lnTo>
                      <a:lnTo>
                        <a:pt x="1897" y="1040"/>
                      </a:lnTo>
                      <a:lnTo>
                        <a:pt x="1906" y="1031"/>
                      </a:lnTo>
                      <a:lnTo>
                        <a:pt x="1911" y="1020"/>
                      </a:lnTo>
                      <a:lnTo>
                        <a:pt x="1914" y="1011"/>
                      </a:lnTo>
                      <a:lnTo>
                        <a:pt x="1922" y="1013"/>
                      </a:lnTo>
                      <a:lnTo>
                        <a:pt x="1927" y="1005"/>
                      </a:lnTo>
                      <a:lnTo>
                        <a:pt x="1929" y="996"/>
                      </a:lnTo>
                      <a:lnTo>
                        <a:pt x="1931" y="991"/>
                      </a:lnTo>
                      <a:lnTo>
                        <a:pt x="1929" y="983"/>
                      </a:lnTo>
                      <a:lnTo>
                        <a:pt x="1923" y="963"/>
                      </a:lnTo>
                      <a:lnTo>
                        <a:pt x="1922" y="953"/>
                      </a:lnTo>
                      <a:lnTo>
                        <a:pt x="1923" y="943"/>
                      </a:lnTo>
                      <a:lnTo>
                        <a:pt x="1927" y="938"/>
                      </a:lnTo>
                      <a:lnTo>
                        <a:pt x="1933" y="938"/>
                      </a:lnTo>
                      <a:lnTo>
                        <a:pt x="1947" y="938"/>
                      </a:lnTo>
                      <a:lnTo>
                        <a:pt x="1952" y="936"/>
                      </a:lnTo>
                      <a:lnTo>
                        <a:pt x="1956" y="935"/>
                      </a:lnTo>
                      <a:lnTo>
                        <a:pt x="1958" y="930"/>
                      </a:lnTo>
                      <a:lnTo>
                        <a:pt x="1959" y="930"/>
                      </a:lnTo>
                      <a:lnTo>
                        <a:pt x="1966" y="919"/>
                      </a:lnTo>
                      <a:lnTo>
                        <a:pt x="1967" y="916"/>
                      </a:lnTo>
                      <a:lnTo>
                        <a:pt x="1979" y="909"/>
                      </a:lnTo>
                      <a:lnTo>
                        <a:pt x="1996" y="904"/>
                      </a:lnTo>
                      <a:lnTo>
                        <a:pt x="2009" y="896"/>
                      </a:lnTo>
                      <a:lnTo>
                        <a:pt x="2018" y="883"/>
                      </a:lnTo>
                      <a:lnTo>
                        <a:pt x="2019" y="874"/>
                      </a:lnTo>
                      <a:lnTo>
                        <a:pt x="2017" y="869"/>
                      </a:lnTo>
                      <a:lnTo>
                        <a:pt x="2011" y="865"/>
                      </a:lnTo>
                      <a:lnTo>
                        <a:pt x="1992" y="861"/>
                      </a:lnTo>
                      <a:lnTo>
                        <a:pt x="1988" y="858"/>
                      </a:lnTo>
                      <a:lnTo>
                        <a:pt x="1988" y="850"/>
                      </a:lnTo>
                      <a:lnTo>
                        <a:pt x="1988" y="843"/>
                      </a:lnTo>
                      <a:lnTo>
                        <a:pt x="1986" y="828"/>
                      </a:lnTo>
                      <a:lnTo>
                        <a:pt x="1986" y="824"/>
                      </a:lnTo>
                      <a:lnTo>
                        <a:pt x="1988" y="823"/>
                      </a:lnTo>
                      <a:lnTo>
                        <a:pt x="2002" y="824"/>
                      </a:lnTo>
                      <a:lnTo>
                        <a:pt x="2021" y="823"/>
                      </a:lnTo>
                      <a:lnTo>
                        <a:pt x="2029" y="824"/>
                      </a:lnTo>
                      <a:lnTo>
                        <a:pt x="2034" y="830"/>
                      </a:lnTo>
                      <a:lnTo>
                        <a:pt x="2034" y="834"/>
                      </a:lnTo>
                      <a:lnTo>
                        <a:pt x="2032" y="838"/>
                      </a:lnTo>
                      <a:lnTo>
                        <a:pt x="2029" y="843"/>
                      </a:lnTo>
                      <a:lnTo>
                        <a:pt x="2033" y="849"/>
                      </a:lnTo>
                      <a:lnTo>
                        <a:pt x="2037" y="850"/>
                      </a:lnTo>
                      <a:lnTo>
                        <a:pt x="2041" y="850"/>
                      </a:lnTo>
                      <a:lnTo>
                        <a:pt x="2058" y="846"/>
                      </a:lnTo>
                      <a:lnTo>
                        <a:pt x="2079" y="833"/>
                      </a:lnTo>
                      <a:lnTo>
                        <a:pt x="2076" y="825"/>
                      </a:lnTo>
                      <a:lnTo>
                        <a:pt x="2079" y="820"/>
                      </a:lnTo>
                      <a:lnTo>
                        <a:pt x="2096" y="806"/>
                      </a:lnTo>
                      <a:lnTo>
                        <a:pt x="2098" y="804"/>
                      </a:lnTo>
                      <a:lnTo>
                        <a:pt x="2099" y="795"/>
                      </a:lnTo>
                      <a:lnTo>
                        <a:pt x="2102" y="794"/>
                      </a:lnTo>
                      <a:lnTo>
                        <a:pt x="2106" y="792"/>
                      </a:lnTo>
                      <a:lnTo>
                        <a:pt x="2107" y="791"/>
                      </a:lnTo>
                      <a:lnTo>
                        <a:pt x="2111" y="785"/>
                      </a:lnTo>
                      <a:lnTo>
                        <a:pt x="2126" y="775"/>
                      </a:lnTo>
                      <a:lnTo>
                        <a:pt x="2129" y="770"/>
                      </a:lnTo>
                      <a:lnTo>
                        <a:pt x="2131" y="761"/>
                      </a:lnTo>
                      <a:lnTo>
                        <a:pt x="2137" y="747"/>
                      </a:lnTo>
                      <a:lnTo>
                        <a:pt x="2137" y="737"/>
                      </a:lnTo>
                      <a:lnTo>
                        <a:pt x="2168" y="770"/>
                      </a:lnTo>
                      <a:lnTo>
                        <a:pt x="2171" y="778"/>
                      </a:lnTo>
                      <a:lnTo>
                        <a:pt x="2167" y="781"/>
                      </a:lnTo>
                      <a:lnTo>
                        <a:pt x="2167" y="785"/>
                      </a:lnTo>
                      <a:lnTo>
                        <a:pt x="2171" y="792"/>
                      </a:lnTo>
                      <a:lnTo>
                        <a:pt x="2168" y="795"/>
                      </a:lnTo>
                      <a:lnTo>
                        <a:pt x="2164" y="800"/>
                      </a:lnTo>
                      <a:lnTo>
                        <a:pt x="2159" y="811"/>
                      </a:lnTo>
                      <a:lnTo>
                        <a:pt x="2159" y="819"/>
                      </a:lnTo>
                      <a:close/>
                      <a:moveTo>
                        <a:pt x="2016" y="725"/>
                      </a:moveTo>
                      <a:lnTo>
                        <a:pt x="2013" y="726"/>
                      </a:lnTo>
                      <a:lnTo>
                        <a:pt x="2009" y="725"/>
                      </a:lnTo>
                      <a:lnTo>
                        <a:pt x="2004" y="724"/>
                      </a:lnTo>
                      <a:lnTo>
                        <a:pt x="2002" y="720"/>
                      </a:lnTo>
                      <a:lnTo>
                        <a:pt x="2003" y="715"/>
                      </a:lnTo>
                      <a:lnTo>
                        <a:pt x="2002" y="712"/>
                      </a:lnTo>
                      <a:lnTo>
                        <a:pt x="2004" y="708"/>
                      </a:lnTo>
                      <a:lnTo>
                        <a:pt x="2013" y="708"/>
                      </a:lnTo>
                      <a:lnTo>
                        <a:pt x="2017" y="712"/>
                      </a:lnTo>
                      <a:lnTo>
                        <a:pt x="2016" y="720"/>
                      </a:lnTo>
                      <a:lnTo>
                        <a:pt x="2016" y="725"/>
                      </a:lnTo>
                      <a:close/>
                      <a:moveTo>
                        <a:pt x="2217" y="672"/>
                      </a:moveTo>
                      <a:lnTo>
                        <a:pt x="2214" y="676"/>
                      </a:lnTo>
                      <a:lnTo>
                        <a:pt x="2208" y="676"/>
                      </a:lnTo>
                      <a:lnTo>
                        <a:pt x="2199" y="672"/>
                      </a:lnTo>
                      <a:lnTo>
                        <a:pt x="2198" y="670"/>
                      </a:lnTo>
                      <a:lnTo>
                        <a:pt x="2193" y="667"/>
                      </a:lnTo>
                      <a:lnTo>
                        <a:pt x="2193" y="664"/>
                      </a:lnTo>
                      <a:lnTo>
                        <a:pt x="2198" y="662"/>
                      </a:lnTo>
                      <a:lnTo>
                        <a:pt x="2202" y="659"/>
                      </a:lnTo>
                      <a:lnTo>
                        <a:pt x="2207" y="656"/>
                      </a:lnTo>
                      <a:lnTo>
                        <a:pt x="2213" y="657"/>
                      </a:lnTo>
                      <a:lnTo>
                        <a:pt x="2216" y="661"/>
                      </a:lnTo>
                      <a:lnTo>
                        <a:pt x="2217" y="664"/>
                      </a:lnTo>
                      <a:lnTo>
                        <a:pt x="2217" y="672"/>
                      </a:lnTo>
                      <a:close/>
                      <a:moveTo>
                        <a:pt x="2016" y="677"/>
                      </a:moveTo>
                      <a:lnTo>
                        <a:pt x="2004" y="681"/>
                      </a:lnTo>
                      <a:lnTo>
                        <a:pt x="2008" y="675"/>
                      </a:lnTo>
                      <a:lnTo>
                        <a:pt x="2029" y="650"/>
                      </a:lnTo>
                      <a:lnTo>
                        <a:pt x="2033" y="645"/>
                      </a:lnTo>
                      <a:lnTo>
                        <a:pt x="2034" y="645"/>
                      </a:lnTo>
                      <a:lnTo>
                        <a:pt x="2032" y="656"/>
                      </a:lnTo>
                      <a:lnTo>
                        <a:pt x="2024" y="667"/>
                      </a:lnTo>
                      <a:lnTo>
                        <a:pt x="2016" y="677"/>
                      </a:lnTo>
                      <a:close/>
                      <a:moveTo>
                        <a:pt x="2303" y="495"/>
                      </a:moveTo>
                      <a:lnTo>
                        <a:pt x="2298" y="500"/>
                      </a:lnTo>
                      <a:lnTo>
                        <a:pt x="2292" y="512"/>
                      </a:lnTo>
                      <a:lnTo>
                        <a:pt x="2288" y="516"/>
                      </a:lnTo>
                      <a:lnTo>
                        <a:pt x="2283" y="514"/>
                      </a:lnTo>
                      <a:lnTo>
                        <a:pt x="2281" y="521"/>
                      </a:lnTo>
                      <a:lnTo>
                        <a:pt x="2277" y="522"/>
                      </a:lnTo>
                      <a:lnTo>
                        <a:pt x="2274" y="521"/>
                      </a:lnTo>
                      <a:lnTo>
                        <a:pt x="2271" y="522"/>
                      </a:lnTo>
                      <a:lnTo>
                        <a:pt x="2266" y="526"/>
                      </a:lnTo>
                      <a:lnTo>
                        <a:pt x="2259" y="527"/>
                      </a:lnTo>
                      <a:lnTo>
                        <a:pt x="2253" y="526"/>
                      </a:lnTo>
                      <a:lnTo>
                        <a:pt x="2248" y="522"/>
                      </a:lnTo>
                      <a:lnTo>
                        <a:pt x="2246" y="517"/>
                      </a:lnTo>
                      <a:lnTo>
                        <a:pt x="2246" y="512"/>
                      </a:lnTo>
                      <a:lnTo>
                        <a:pt x="2246" y="506"/>
                      </a:lnTo>
                      <a:lnTo>
                        <a:pt x="2247" y="502"/>
                      </a:lnTo>
                      <a:lnTo>
                        <a:pt x="2249" y="497"/>
                      </a:lnTo>
                      <a:lnTo>
                        <a:pt x="2250" y="497"/>
                      </a:lnTo>
                      <a:lnTo>
                        <a:pt x="2254" y="497"/>
                      </a:lnTo>
                      <a:lnTo>
                        <a:pt x="2261" y="496"/>
                      </a:lnTo>
                      <a:lnTo>
                        <a:pt x="2275" y="497"/>
                      </a:lnTo>
                      <a:lnTo>
                        <a:pt x="2283" y="497"/>
                      </a:lnTo>
                      <a:lnTo>
                        <a:pt x="2289" y="494"/>
                      </a:lnTo>
                      <a:lnTo>
                        <a:pt x="2295" y="489"/>
                      </a:lnTo>
                      <a:lnTo>
                        <a:pt x="2315" y="480"/>
                      </a:lnTo>
                      <a:lnTo>
                        <a:pt x="2318" y="483"/>
                      </a:lnTo>
                      <a:lnTo>
                        <a:pt x="2314" y="489"/>
                      </a:lnTo>
                      <a:lnTo>
                        <a:pt x="2303" y="495"/>
                      </a:lnTo>
                      <a:close/>
                      <a:moveTo>
                        <a:pt x="2132" y="297"/>
                      </a:moveTo>
                      <a:lnTo>
                        <a:pt x="2132" y="302"/>
                      </a:lnTo>
                      <a:lnTo>
                        <a:pt x="2128" y="300"/>
                      </a:lnTo>
                      <a:lnTo>
                        <a:pt x="2127" y="292"/>
                      </a:lnTo>
                      <a:lnTo>
                        <a:pt x="2129" y="294"/>
                      </a:lnTo>
                      <a:lnTo>
                        <a:pt x="2131" y="296"/>
                      </a:lnTo>
                      <a:lnTo>
                        <a:pt x="2132" y="297"/>
                      </a:lnTo>
                      <a:close/>
                      <a:moveTo>
                        <a:pt x="2421" y="375"/>
                      </a:moveTo>
                      <a:lnTo>
                        <a:pt x="2416" y="378"/>
                      </a:lnTo>
                      <a:lnTo>
                        <a:pt x="2408" y="375"/>
                      </a:lnTo>
                      <a:lnTo>
                        <a:pt x="2404" y="369"/>
                      </a:lnTo>
                      <a:lnTo>
                        <a:pt x="2404" y="362"/>
                      </a:lnTo>
                      <a:lnTo>
                        <a:pt x="2403" y="359"/>
                      </a:lnTo>
                      <a:lnTo>
                        <a:pt x="2394" y="356"/>
                      </a:lnTo>
                      <a:lnTo>
                        <a:pt x="2392" y="350"/>
                      </a:lnTo>
                      <a:lnTo>
                        <a:pt x="2396" y="337"/>
                      </a:lnTo>
                      <a:lnTo>
                        <a:pt x="2388" y="312"/>
                      </a:lnTo>
                      <a:lnTo>
                        <a:pt x="2389" y="306"/>
                      </a:lnTo>
                      <a:lnTo>
                        <a:pt x="2392" y="300"/>
                      </a:lnTo>
                      <a:lnTo>
                        <a:pt x="2394" y="283"/>
                      </a:lnTo>
                      <a:lnTo>
                        <a:pt x="2396" y="280"/>
                      </a:lnTo>
                      <a:lnTo>
                        <a:pt x="2402" y="277"/>
                      </a:lnTo>
                      <a:lnTo>
                        <a:pt x="2416" y="271"/>
                      </a:lnTo>
                      <a:lnTo>
                        <a:pt x="2422" y="281"/>
                      </a:lnTo>
                      <a:lnTo>
                        <a:pt x="2427" y="307"/>
                      </a:lnTo>
                      <a:lnTo>
                        <a:pt x="2432" y="319"/>
                      </a:lnTo>
                      <a:lnTo>
                        <a:pt x="2436" y="322"/>
                      </a:lnTo>
                      <a:lnTo>
                        <a:pt x="2442" y="326"/>
                      </a:lnTo>
                      <a:lnTo>
                        <a:pt x="2446" y="330"/>
                      </a:lnTo>
                      <a:lnTo>
                        <a:pt x="2448" y="336"/>
                      </a:lnTo>
                      <a:lnTo>
                        <a:pt x="2446" y="344"/>
                      </a:lnTo>
                      <a:lnTo>
                        <a:pt x="2437" y="356"/>
                      </a:lnTo>
                      <a:lnTo>
                        <a:pt x="2432" y="365"/>
                      </a:lnTo>
                      <a:lnTo>
                        <a:pt x="2427" y="371"/>
                      </a:lnTo>
                      <a:lnTo>
                        <a:pt x="2421" y="375"/>
                      </a:lnTo>
                      <a:close/>
                      <a:moveTo>
                        <a:pt x="2528" y="215"/>
                      </a:moveTo>
                      <a:lnTo>
                        <a:pt x="2531" y="216"/>
                      </a:lnTo>
                      <a:lnTo>
                        <a:pt x="2539" y="216"/>
                      </a:lnTo>
                      <a:lnTo>
                        <a:pt x="2543" y="216"/>
                      </a:lnTo>
                      <a:lnTo>
                        <a:pt x="2544" y="219"/>
                      </a:lnTo>
                      <a:lnTo>
                        <a:pt x="2544" y="225"/>
                      </a:lnTo>
                      <a:lnTo>
                        <a:pt x="2541" y="230"/>
                      </a:lnTo>
                      <a:lnTo>
                        <a:pt x="2534" y="224"/>
                      </a:lnTo>
                      <a:lnTo>
                        <a:pt x="2529" y="223"/>
                      </a:lnTo>
                      <a:lnTo>
                        <a:pt x="2522" y="223"/>
                      </a:lnTo>
                      <a:lnTo>
                        <a:pt x="2519" y="219"/>
                      </a:lnTo>
                      <a:lnTo>
                        <a:pt x="2519" y="214"/>
                      </a:lnTo>
                      <a:lnTo>
                        <a:pt x="2522" y="210"/>
                      </a:lnTo>
                      <a:lnTo>
                        <a:pt x="2523" y="209"/>
                      </a:lnTo>
                      <a:lnTo>
                        <a:pt x="2527" y="211"/>
                      </a:lnTo>
                      <a:lnTo>
                        <a:pt x="2528" y="215"/>
                      </a:lnTo>
                      <a:close/>
                      <a:moveTo>
                        <a:pt x="2499" y="224"/>
                      </a:moveTo>
                      <a:lnTo>
                        <a:pt x="2497" y="226"/>
                      </a:lnTo>
                      <a:lnTo>
                        <a:pt x="2496" y="225"/>
                      </a:lnTo>
                      <a:lnTo>
                        <a:pt x="2494" y="219"/>
                      </a:lnTo>
                      <a:lnTo>
                        <a:pt x="2497" y="210"/>
                      </a:lnTo>
                      <a:lnTo>
                        <a:pt x="2501" y="204"/>
                      </a:lnTo>
                      <a:lnTo>
                        <a:pt x="2504" y="203"/>
                      </a:lnTo>
                      <a:lnTo>
                        <a:pt x="2507" y="209"/>
                      </a:lnTo>
                      <a:lnTo>
                        <a:pt x="2504" y="214"/>
                      </a:lnTo>
                      <a:lnTo>
                        <a:pt x="2502" y="221"/>
                      </a:lnTo>
                      <a:lnTo>
                        <a:pt x="2499" y="224"/>
                      </a:lnTo>
                      <a:close/>
                      <a:moveTo>
                        <a:pt x="2526" y="153"/>
                      </a:moveTo>
                      <a:lnTo>
                        <a:pt x="2529" y="155"/>
                      </a:lnTo>
                      <a:lnTo>
                        <a:pt x="2544" y="153"/>
                      </a:lnTo>
                      <a:lnTo>
                        <a:pt x="2539" y="160"/>
                      </a:lnTo>
                      <a:lnTo>
                        <a:pt x="2537" y="164"/>
                      </a:lnTo>
                      <a:lnTo>
                        <a:pt x="2537" y="167"/>
                      </a:lnTo>
                      <a:lnTo>
                        <a:pt x="2542" y="171"/>
                      </a:lnTo>
                      <a:lnTo>
                        <a:pt x="2552" y="175"/>
                      </a:lnTo>
                      <a:lnTo>
                        <a:pt x="2556" y="177"/>
                      </a:lnTo>
                      <a:lnTo>
                        <a:pt x="2567" y="176"/>
                      </a:lnTo>
                      <a:lnTo>
                        <a:pt x="2576" y="184"/>
                      </a:lnTo>
                      <a:lnTo>
                        <a:pt x="2577" y="194"/>
                      </a:lnTo>
                      <a:lnTo>
                        <a:pt x="2567" y="196"/>
                      </a:lnTo>
                      <a:lnTo>
                        <a:pt x="2559" y="190"/>
                      </a:lnTo>
                      <a:lnTo>
                        <a:pt x="2557" y="186"/>
                      </a:lnTo>
                      <a:lnTo>
                        <a:pt x="2553" y="189"/>
                      </a:lnTo>
                      <a:lnTo>
                        <a:pt x="2553" y="192"/>
                      </a:lnTo>
                      <a:lnTo>
                        <a:pt x="2551" y="195"/>
                      </a:lnTo>
                      <a:lnTo>
                        <a:pt x="2548" y="198"/>
                      </a:lnTo>
                      <a:lnTo>
                        <a:pt x="2542" y="189"/>
                      </a:lnTo>
                      <a:lnTo>
                        <a:pt x="2542" y="187"/>
                      </a:lnTo>
                      <a:lnTo>
                        <a:pt x="2537" y="187"/>
                      </a:lnTo>
                      <a:lnTo>
                        <a:pt x="2529" y="189"/>
                      </a:lnTo>
                      <a:lnTo>
                        <a:pt x="2526" y="187"/>
                      </a:lnTo>
                      <a:lnTo>
                        <a:pt x="2524" y="184"/>
                      </a:lnTo>
                      <a:lnTo>
                        <a:pt x="2523" y="173"/>
                      </a:lnTo>
                      <a:lnTo>
                        <a:pt x="2522" y="169"/>
                      </a:lnTo>
                      <a:lnTo>
                        <a:pt x="2512" y="153"/>
                      </a:lnTo>
                      <a:lnTo>
                        <a:pt x="2509" y="146"/>
                      </a:lnTo>
                      <a:lnTo>
                        <a:pt x="2514" y="144"/>
                      </a:lnTo>
                      <a:lnTo>
                        <a:pt x="2528" y="144"/>
                      </a:lnTo>
                      <a:lnTo>
                        <a:pt x="2526" y="153"/>
                      </a:lnTo>
                      <a:close/>
                      <a:moveTo>
                        <a:pt x="2837" y="100"/>
                      </a:moveTo>
                      <a:lnTo>
                        <a:pt x="2829" y="104"/>
                      </a:lnTo>
                      <a:lnTo>
                        <a:pt x="2821" y="102"/>
                      </a:lnTo>
                      <a:lnTo>
                        <a:pt x="2803" y="97"/>
                      </a:lnTo>
                      <a:lnTo>
                        <a:pt x="2828" y="76"/>
                      </a:lnTo>
                      <a:lnTo>
                        <a:pt x="2846" y="66"/>
                      </a:lnTo>
                      <a:lnTo>
                        <a:pt x="2851" y="62"/>
                      </a:lnTo>
                      <a:lnTo>
                        <a:pt x="2851" y="70"/>
                      </a:lnTo>
                      <a:lnTo>
                        <a:pt x="2847" y="81"/>
                      </a:lnTo>
                      <a:lnTo>
                        <a:pt x="2841" y="92"/>
                      </a:lnTo>
                      <a:lnTo>
                        <a:pt x="2837" y="100"/>
                      </a:lnTo>
                      <a:close/>
                      <a:moveTo>
                        <a:pt x="2726" y="34"/>
                      </a:moveTo>
                      <a:lnTo>
                        <a:pt x="2724" y="36"/>
                      </a:lnTo>
                      <a:lnTo>
                        <a:pt x="2718" y="36"/>
                      </a:lnTo>
                      <a:lnTo>
                        <a:pt x="2716" y="38"/>
                      </a:lnTo>
                      <a:lnTo>
                        <a:pt x="2711" y="40"/>
                      </a:lnTo>
                      <a:lnTo>
                        <a:pt x="2693" y="48"/>
                      </a:lnTo>
                      <a:lnTo>
                        <a:pt x="2686" y="50"/>
                      </a:lnTo>
                      <a:lnTo>
                        <a:pt x="2683" y="55"/>
                      </a:lnTo>
                      <a:lnTo>
                        <a:pt x="2682" y="58"/>
                      </a:lnTo>
                      <a:lnTo>
                        <a:pt x="2678" y="59"/>
                      </a:lnTo>
                      <a:lnTo>
                        <a:pt x="2669" y="64"/>
                      </a:lnTo>
                      <a:lnTo>
                        <a:pt x="2659" y="83"/>
                      </a:lnTo>
                      <a:lnTo>
                        <a:pt x="2651" y="88"/>
                      </a:lnTo>
                      <a:lnTo>
                        <a:pt x="2649" y="89"/>
                      </a:lnTo>
                      <a:lnTo>
                        <a:pt x="2637" y="101"/>
                      </a:lnTo>
                      <a:lnTo>
                        <a:pt x="2632" y="104"/>
                      </a:lnTo>
                      <a:lnTo>
                        <a:pt x="2622" y="100"/>
                      </a:lnTo>
                      <a:lnTo>
                        <a:pt x="2616" y="100"/>
                      </a:lnTo>
                      <a:lnTo>
                        <a:pt x="2619" y="106"/>
                      </a:lnTo>
                      <a:lnTo>
                        <a:pt x="2616" y="111"/>
                      </a:lnTo>
                      <a:lnTo>
                        <a:pt x="2613" y="115"/>
                      </a:lnTo>
                      <a:lnTo>
                        <a:pt x="2606" y="119"/>
                      </a:lnTo>
                      <a:lnTo>
                        <a:pt x="2609" y="123"/>
                      </a:lnTo>
                      <a:lnTo>
                        <a:pt x="2619" y="130"/>
                      </a:lnTo>
                      <a:lnTo>
                        <a:pt x="2624" y="134"/>
                      </a:lnTo>
                      <a:lnTo>
                        <a:pt x="2603" y="148"/>
                      </a:lnTo>
                      <a:lnTo>
                        <a:pt x="2599" y="149"/>
                      </a:lnTo>
                      <a:lnTo>
                        <a:pt x="2598" y="159"/>
                      </a:lnTo>
                      <a:lnTo>
                        <a:pt x="2592" y="159"/>
                      </a:lnTo>
                      <a:lnTo>
                        <a:pt x="2586" y="156"/>
                      </a:lnTo>
                      <a:lnTo>
                        <a:pt x="2578" y="160"/>
                      </a:lnTo>
                      <a:lnTo>
                        <a:pt x="2583" y="163"/>
                      </a:lnTo>
                      <a:lnTo>
                        <a:pt x="2587" y="169"/>
                      </a:lnTo>
                      <a:lnTo>
                        <a:pt x="2588" y="175"/>
                      </a:lnTo>
                      <a:lnTo>
                        <a:pt x="2587" y="178"/>
                      </a:lnTo>
                      <a:lnTo>
                        <a:pt x="2583" y="176"/>
                      </a:lnTo>
                      <a:lnTo>
                        <a:pt x="2572" y="165"/>
                      </a:lnTo>
                      <a:lnTo>
                        <a:pt x="2552" y="151"/>
                      </a:lnTo>
                      <a:lnTo>
                        <a:pt x="2549" y="146"/>
                      </a:lnTo>
                      <a:lnTo>
                        <a:pt x="2549" y="139"/>
                      </a:lnTo>
                      <a:lnTo>
                        <a:pt x="2549" y="133"/>
                      </a:lnTo>
                      <a:lnTo>
                        <a:pt x="2544" y="128"/>
                      </a:lnTo>
                      <a:lnTo>
                        <a:pt x="2539" y="135"/>
                      </a:lnTo>
                      <a:lnTo>
                        <a:pt x="2533" y="135"/>
                      </a:lnTo>
                      <a:lnTo>
                        <a:pt x="2519" y="128"/>
                      </a:lnTo>
                      <a:lnTo>
                        <a:pt x="2506" y="125"/>
                      </a:lnTo>
                      <a:lnTo>
                        <a:pt x="2501" y="123"/>
                      </a:lnTo>
                      <a:lnTo>
                        <a:pt x="2494" y="119"/>
                      </a:lnTo>
                      <a:lnTo>
                        <a:pt x="2494" y="116"/>
                      </a:lnTo>
                      <a:lnTo>
                        <a:pt x="2502" y="113"/>
                      </a:lnTo>
                      <a:lnTo>
                        <a:pt x="2506" y="114"/>
                      </a:lnTo>
                      <a:lnTo>
                        <a:pt x="2509" y="116"/>
                      </a:lnTo>
                      <a:lnTo>
                        <a:pt x="2521" y="113"/>
                      </a:lnTo>
                      <a:lnTo>
                        <a:pt x="2533" y="116"/>
                      </a:lnTo>
                      <a:lnTo>
                        <a:pt x="2546" y="116"/>
                      </a:lnTo>
                      <a:lnTo>
                        <a:pt x="2553" y="103"/>
                      </a:lnTo>
                      <a:lnTo>
                        <a:pt x="2538" y="103"/>
                      </a:lnTo>
                      <a:lnTo>
                        <a:pt x="2533" y="100"/>
                      </a:lnTo>
                      <a:lnTo>
                        <a:pt x="2528" y="94"/>
                      </a:lnTo>
                      <a:lnTo>
                        <a:pt x="2533" y="90"/>
                      </a:lnTo>
                      <a:lnTo>
                        <a:pt x="2538" y="86"/>
                      </a:lnTo>
                      <a:lnTo>
                        <a:pt x="2542" y="83"/>
                      </a:lnTo>
                      <a:lnTo>
                        <a:pt x="2552" y="81"/>
                      </a:lnTo>
                      <a:lnTo>
                        <a:pt x="2556" y="79"/>
                      </a:lnTo>
                      <a:lnTo>
                        <a:pt x="2563" y="73"/>
                      </a:lnTo>
                      <a:lnTo>
                        <a:pt x="2569" y="66"/>
                      </a:lnTo>
                      <a:lnTo>
                        <a:pt x="2579" y="65"/>
                      </a:lnTo>
                      <a:lnTo>
                        <a:pt x="2589" y="65"/>
                      </a:lnTo>
                      <a:lnTo>
                        <a:pt x="2597" y="63"/>
                      </a:lnTo>
                      <a:lnTo>
                        <a:pt x="2602" y="54"/>
                      </a:lnTo>
                      <a:lnTo>
                        <a:pt x="2609" y="56"/>
                      </a:lnTo>
                      <a:lnTo>
                        <a:pt x="2617" y="54"/>
                      </a:lnTo>
                      <a:lnTo>
                        <a:pt x="2623" y="48"/>
                      </a:lnTo>
                      <a:lnTo>
                        <a:pt x="2627" y="40"/>
                      </a:lnTo>
                      <a:lnTo>
                        <a:pt x="2631" y="45"/>
                      </a:lnTo>
                      <a:lnTo>
                        <a:pt x="2634" y="48"/>
                      </a:lnTo>
                      <a:lnTo>
                        <a:pt x="2639" y="50"/>
                      </a:lnTo>
                      <a:lnTo>
                        <a:pt x="2644" y="54"/>
                      </a:lnTo>
                      <a:lnTo>
                        <a:pt x="2651" y="36"/>
                      </a:lnTo>
                      <a:lnTo>
                        <a:pt x="2662" y="26"/>
                      </a:lnTo>
                      <a:lnTo>
                        <a:pt x="2688" y="13"/>
                      </a:lnTo>
                      <a:lnTo>
                        <a:pt x="2683" y="29"/>
                      </a:lnTo>
                      <a:lnTo>
                        <a:pt x="2684" y="33"/>
                      </a:lnTo>
                      <a:lnTo>
                        <a:pt x="2691" y="34"/>
                      </a:lnTo>
                      <a:lnTo>
                        <a:pt x="2696" y="33"/>
                      </a:lnTo>
                      <a:lnTo>
                        <a:pt x="2699" y="26"/>
                      </a:lnTo>
                      <a:lnTo>
                        <a:pt x="2707" y="12"/>
                      </a:lnTo>
                      <a:lnTo>
                        <a:pt x="2706" y="6"/>
                      </a:lnTo>
                      <a:lnTo>
                        <a:pt x="2704" y="3"/>
                      </a:lnTo>
                      <a:lnTo>
                        <a:pt x="2707" y="0"/>
                      </a:lnTo>
                      <a:lnTo>
                        <a:pt x="2713" y="0"/>
                      </a:lnTo>
                      <a:lnTo>
                        <a:pt x="2717" y="6"/>
                      </a:lnTo>
                      <a:lnTo>
                        <a:pt x="2721" y="21"/>
                      </a:lnTo>
                      <a:lnTo>
                        <a:pt x="2722" y="25"/>
                      </a:lnTo>
                      <a:lnTo>
                        <a:pt x="2727" y="30"/>
                      </a:lnTo>
                      <a:lnTo>
                        <a:pt x="2726" y="34"/>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89" name="Gunma" descr="{&quot;Key&quot;:&quot;gunma&quot;,&quot;Name&quot;:&quot;Gunma&quot;,&quot;Value&quot;:1.0,&quot;Formula&quot;:&quot;&quot;,&quot;Text&quot;:&quot;&quot;,&quot;OfficeApplication&quot;:1,&quot;HasValue&quot;:true}">
                  <a:extLst>
                    <a:ext uri="{FF2B5EF4-FFF2-40B4-BE49-F238E27FC236}">
                      <a16:creationId xmlns:a16="http://schemas.microsoft.com/office/drawing/2014/main" id="{31292F5A-BD69-4831-83F6-9746F262E52B}"/>
                    </a:ext>
                  </a:extLst>
                </p:cNvPr>
                <p:cNvSpPr>
                  <a:spLocks/>
                </p:cNvSpPr>
                <p:nvPr/>
              </p:nvSpPr>
              <p:spPr bwMode="auto">
                <a:xfrm>
                  <a:off x="6527800" y="3282950"/>
                  <a:ext cx="304800" cy="312737"/>
                </a:xfrm>
                <a:custGeom>
                  <a:avLst/>
                  <a:gdLst>
                    <a:gd name="T0" fmla="*/ 349 w 521"/>
                    <a:gd name="T1" fmla="*/ 60 h 535"/>
                    <a:gd name="T2" fmla="*/ 385 w 521"/>
                    <a:gd name="T3" fmla="*/ 90 h 535"/>
                    <a:gd name="T4" fmla="*/ 399 w 521"/>
                    <a:gd name="T5" fmla="*/ 113 h 535"/>
                    <a:gd name="T6" fmla="*/ 388 w 521"/>
                    <a:gd name="T7" fmla="*/ 130 h 535"/>
                    <a:gd name="T8" fmla="*/ 381 w 521"/>
                    <a:gd name="T9" fmla="*/ 168 h 535"/>
                    <a:gd name="T10" fmla="*/ 375 w 521"/>
                    <a:gd name="T11" fmla="*/ 205 h 535"/>
                    <a:gd name="T12" fmla="*/ 420 w 521"/>
                    <a:gd name="T13" fmla="*/ 220 h 535"/>
                    <a:gd name="T14" fmla="*/ 429 w 521"/>
                    <a:gd name="T15" fmla="*/ 240 h 535"/>
                    <a:gd name="T16" fmla="*/ 415 w 521"/>
                    <a:gd name="T17" fmla="*/ 261 h 535"/>
                    <a:gd name="T18" fmla="*/ 408 w 521"/>
                    <a:gd name="T19" fmla="*/ 282 h 535"/>
                    <a:gd name="T20" fmla="*/ 389 w 521"/>
                    <a:gd name="T21" fmla="*/ 320 h 535"/>
                    <a:gd name="T22" fmla="*/ 388 w 521"/>
                    <a:gd name="T23" fmla="*/ 341 h 535"/>
                    <a:gd name="T24" fmla="*/ 411 w 521"/>
                    <a:gd name="T25" fmla="*/ 370 h 535"/>
                    <a:gd name="T26" fmla="*/ 438 w 521"/>
                    <a:gd name="T27" fmla="*/ 384 h 535"/>
                    <a:gd name="T28" fmla="*/ 494 w 521"/>
                    <a:gd name="T29" fmla="*/ 394 h 535"/>
                    <a:gd name="T30" fmla="*/ 495 w 521"/>
                    <a:gd name="T31" fmla="*/ 430 h 535"/>
                    <a:gd name="T32" fmla="*/ 429 w 521"/>
                    <a:gd name="T33" fmla="*/ 422 h 535"/>
                    <a:gd name="T34" fmla="*/ 344 w 521"/>
                    <a:gd name="T35" fmla="*/ 399 h 535"/>
                    <a:gd name="T36" fmla="*/ 305 w 521"/>
                    <a:gd name="T37" fmla="*/ 385 h 535"/>
                    <a:gd name="T38" fmla="*/ 270 w 521"/>
                    <a:gd name="T39" fmla="*/ 422 h 535"/>
                    <a:gd name="T40" fmla="*/ 266 w 521"/>
                    <a:gd name="T41" fmla="*/ 445 h 535"/>
                    <a:gd name="T42" fmla="*/ 193 w 521"/>
                    <a:gd name="T43" fmla="*/ 484 h 535"/>
                    <a:gd name="T44" fmla="*/ 146 w 521"/>
                    <a:gd name="T45" fmla="*/ 510 h 535"/>
                    <a:gd name="T46" fmla="*/ 130 w 521"/>
                    <a:gd name="T47" fmla="*/ 535 h 535"/>
                    <a:gd name="T48" fmla="*/ 95 w 521"/>
                    <a:gd name="T49" fmla="*/ 494 h 535"/>
                    <a:gd name="T50" fmla="*/ 95 w 521"/>
                    <a:gd name="T51" fmla="*/ 462 h 535"/>
                    <a:gd name="T52" fmla="*/ 78 w 521"/>
                    <a:gd name="T53" fmla="*/ 444 h 535"/>
                    <a:gd name="T54" fmla="*/ 89 w 521"/>
                    <a:gd name="T55" fmla="*/ 433 h 535"/>
                    <a:gd name="T56" fmla="*/ 85 w 521"/>
                    <a:gd name="T57" fmla="*/ 393 h 535"/>
                    <a:gd name="T58" fmla="*/ 99 w 521"/>
                    <a:gd name="T59" fmla="*/ 370 h 535"/>
                    <a:gd name="T60" fmla="*/ 99 w 521"/>
                    <a:gd name="T61" fmla="*/ 329 h 535"/>
                    <a:gd name="T62" fmla="*/ 76 w 521"/>
                    <a:gd name="T63" fmla="*/ 311 h 535"/>
                    <a:gd name="T64" fmla="*/ 49 w 521"/>
                    <a:gd name="T65" fmla="*/ 320 h 535"/>
                    <a:gd name="T66" fmla="*/ 24 w 521"/>
                    <a:gd name="T67" fmla="*/ 320 h 535"/>
                    <a:gd name="T68" fmla="*/ 0 w 521"/>
                    <a:gd name="T69" fmla="*/ 286 h 535"/>
                    <a:gd name="T70" fmla="*/ 11 w 521"/>
                    <a:gd name="T71" fmla="*/ 235 h 535"/>
                    <a:gd name="T72" fmla="*/ 24 w 521"/>
                    <a:gd name="T73" fmla="*/ 207 h 535"/>
                    <a:gd name="T74" fmla="*/ 49 w 521"/>
                    <a:gd name="T75" fmla="*/ 192 h 535"/>
                    <a:gd name="T76" fmla="*/ 56 w 521"/>
                    <a:gd name="T77" fmla="*/ 174 h 535"/>
                    <a:gd name="T78" fmla="*/ 95 w 521"/>
                    <a:gd name="T79" fmla="*/ 164 h 535"/>
                    <a:gd name="T80" fmla="*/ 139 w 521"/>
                    <a:gd name="T81" fmla="*/ 146 h 535"/>
                    <a:gd name="T82" fmla="*/ 173 w 521"/>
                    <a:gd name="T83" fmla="*/ 136 h 535"/>
                    <a:gd name="T84" fmla="*/ 206 w 521"/>
                    <a:gd name="T85" fmla="*/ 106 h 535"/>
                    <a:gd name="T86" fmla="*/ 216 w 521"/>
                    <a:gd name="T87" fmla="*/ 81 h 535"/>
                    <a:gd name="T88" fmla="*/ 235 w 521"/>
                    <a:gd name="T89" fmla="*/ 64 h 535"/>
                    <a:gd name="T90" fmla="*/ 240 w 521"/>
                    <a:gd name="T91" fmla="*/ 34 h 535"/>
                    <a:gd name="T92" fmla="*/ 279 w 521"/>
                    <a:gd name="T93" fmla="*/ 6 h 535"/>
                    <a:gd name="T94" fmla="*/ 296 w 521"/>
                    <a:gd name="T95" fmla="*/ 7 h 535"/>
                    <a:gd name="T96" fmla="*/ 318 w 521"/>
                    <a:gd name="T97" fmla="*/ 4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1" h="535">
                      <a:moveTo>
                        <a:pt x="337" y="48"/>
                      </a:moveTo>
                      <a:lnTo>
                        <a:pt x="338" y="55"/>
                      </a:lnTo>
                      <a:lnTo>
                        <a:pt x="342" y="58"/>
                      </a:lnTo>
                      <a:lnTo>
                        <a:pt x="349" y="60"/>
                      </a:lnTo>
                      <a:lnTo>
                        <a:pt x="359" y="60"/>
                      </a:lnTo>
                      <a:lnTo>
                        <a:pt x="395" y="69"/>
                      </a:lnTo>
                      <a:lnTo>
                        <a:pt x="386" y="84"/>
                      </a:lnTo>
                      <a:lnTo>
                        <a:pt x="385" y="90"/>
                      </a:lnTo>
                      <a:lnTo>
                        <a:pt x="386" y="96"/>
                      </a:lnTo>
                      <a:lnTo>
                        <a:pt x="391" y="103"/>
                      </a:lnTo>
                      <a:lnTo>
                        <a:pt x="398" y="109"/>
                      </a:lnTo>
                      <a:lnTo>
                        <a:pt x="399" y="113"/>
                      </a:lnTo>
                      <a:lnTo>
                        <a:pt x="398" y="116"/>
                      </a:lnTo>
                      <a:lnTo>
                        <a:pt x="394" y="120"/>
                      </a:lnTo>
                      <a:lnTo>
                        <a:pt x="391" y="125"/>
                      </a:lnTo>
                      <a:lnTo>
                        <a:pt x="388" y="130"/>
                      </a:lnTo>
                      <a:lnTo>
                        <a:pt x="384" y="136"/>
                      </a:lnTo>
                      <a:lnTo>
                        <a:pt x="383" y="143"/>
                      </a:lnTo>
                      <a:lnTo>
                        <a:pt x="383" y="161"/>
                      </a:lnTo>
                      <a:lnTo>
                        <a:pt x="381" y="168"/>
                      </a:lnTo>
                      <a:lnTo>
                        <a:pt x="377" y="183"/>
                      </a:lnTo>
                      <a:lnTo>
                        <a:pt x="374" y="191"/>
                      </a:lnTo>
                      <a:lnTo>
                        <a:pt x="373" y="199"/>
                      </a:lnTo>
                      <a:lnTo>
                        <a:pt x="375" y="205"/>
                      </a:lnTo>
                      <a:lnTo>
                        <a:pt x="388" y="213"/>
                      </a:lnTo>
                      <a:lnTo>
                        <a:pt x="393" y="216"/>
                      </a:lnTo>
                      <a:lnTo>
                        <a:pt x="396" y="218"/>
                      </a:lnTo>
                      <a:lnTo>
                        <a:pt x="420" y="220"/>
                      </a:lnTo>
                      <a:lnTo>
                        <a:pt x="425" y="223"/>
                      </a:lnTo>
                      <a:lnTo>
                        <a:pt x="429" y="228"/>
                      </a:lnTo>
                      <a:lnTo>
                        <a:pt x="430" y="234"/>
                      </a:lnTo>
                      <a:lnTo>
                        <a:pt x="429" y="240"/>
                      </a:lnTo>
                      <a:lnTo>
                        <a:pt x="426" y="245"/>
                      </a:lnTo>
                      <a:lnTo>
                        <a:pt x="421" y="249"/>
                      </a:lnTo>
                      <a:lnTo>
                        <a:pt x="419" y="254"/>
                      </a:lnTo>
                      <a:lnTo>
                        <a:pt x="415" y="261"/>
                      </a:lnTo>
                      <a:lnTo>
                        <a:pt x="413" y="266"/>
                      </a:lnTo>
                      <a:lnTo>
                        <a:pt x="410" y="271"/>
                      </a:lnTo>
                      <a:lnTo>
                        <a:pt x="408" y="276"/>
                      </a:lnTo>
                      <a:lnTo>
                        <a:pt x="408" y="282"/>
                      </a:lnTo>
                      <a:lnTo>
                        <a:pt x="404" y="291"/>
                      </a:lnTo>
                      <a:lnTo>
                        <a:pt x="403" y="299"/>
                      </a:lnTo>
                      <a:lnTo>
                        <a:pt x="396" y="310"/>
                      </a:lnTo>
                      <a:lnTo>
                        <a:pt x="389" y="320"/>
                      </a:lnTo>
                      <a:lnTo>
                        <a:pt x="386" y="326"/>
                      </a:lnTo>
                      <a:lnTo>
                        <a:pt x="385" y="331"/>
                      </a:lnTo>
                      <a:lnTo>
                        <a:pt x="386" y="336"/>
                      </a:lnTo>
                      <a:lnTo>
                        <a:pt x="388" y="341"/>
                      </a:lnTo>
                      <a:lnTo>
                        <a:pt x="393" y="346"/>
                      </a:lnTo>
                      <a:lnTo>
                        <a:pt x="404" y="359"/>
                      </a:lnTo>
                      <a:lnTo>
                        <a:pt x="408" y="365"/>
                      </a:lnTo>
                      <a:lnTo>
                        <a:pt x="411" y="370"/>
                      </a:lnTo>
                      <a:lnTo>
                        <a:pt x="420" y="381"/>
                      </a:lnTo>
                      <a:lnTo>
                        <a:pt x="428" y="386"/>
                      </a:lnTo>
                      <a:lnTo>
                        <a:pt x="433" y="386"/>
                      </a:lnTo>
                      <a:lnTo>
                        <a:pt x="438" y="384"/>
                      </a:lnTo>
                      <a:lnTo>
                        <a:pt x="444" y="382"/>
                      </a:lnTo>
                      <a:lnTo>
                        <a:pt x="453" y="384"/>
                      </a:lnTo>
                      <a:lnTo>
                        <a:pt x="486" y="390"/>
                      </a:lnTo>
                      <a:lnTo>
                        <a:pt x="494" y="394"/>
                      </a:lnTo>
                      <a:lnTo>
                        <a:pt x="506" y="407"/>
                      </a:lnTo>
                      <a:lnTo>
                        <a:pt x="513" y="419"/>
                      </a:lnTo>
                      <a:lnTo>
                        <a:pt x="521" y="444"/>
                      </a:lnTo>
                      <a:lnTo>
                        <a:pt x="495" y="430"/>
                      </a:lnTo>
                      <a:lnTo>
                        <a:pt x="476" y="425"/>
                      </a:lnTo>
                      <a:lnTo>
                        <a:pt x="456" y="424"/>
                      </a:lnTo>
                      <a:lnTo>
                        <a:pt x="440" y="431"/>
                      </a:lnTo>
                      <a:lnTo>
                        <a:pt x="429" y="422"/>
                      </a:lnTo>
                      <a:lnTo>
                        <a:pt x="416" y="415"/>
                      </a:lnTo>
                      <a:lnTo>
                        <a:pt x="403" y="409"/>
                      </a:lnTo>
                      <a:lnTo>
                        <a:pt x="373" y="406"/>
                      </a:lnTo>
                      <a:lnTo>
                        <a:pt x="344" y="399"/>
                      </a:lnTo>
                      <a:lnTo>
                        <a:pt x="330" y="394"/>
                      </a:lnTo>
                      <a:lnTo>
                        <a:pt x="328" y="391"/>
                      </a:lnTo>
                      <a:lnTo>
                        <a:pt x="321" y="391"/>
                      </a:lnTo>
                      <a:lnTo>
                        <a:pt x="305" y="385"/>
                      </a:lnTo>
                      <a:lnTo>
                        <a:pt x="295" y="385"/>
                      </a:lnTo>
                      <a:lnTo>
                        <a:pt x="294" y="386"/>
                      </a:lnTo>
                      <a:lnTo>
                        <a:pt x="286" y="396"/>
                      </a:lnTo>
                      <a:lnTo>
                        <a:pt x="270" y="422"/>
                      </a:lnTo>
                      <a:lnTo>
                        <a:pt x="268" y="427"/>
                      </a:lnTo>
                      <a:lnTo>
                        <a:pt x="268" y="432"/>
                      </a:lnTo>
                      <a:lnTo>
                        <a:pt x="268" y="437"/>
                      </a:lnTo>
                      <a:lnTo>
                        <a:pt x="266" y="445"/>
                      </a:lnTo>
                      <a:lnTo>
                        <a:pt x="264" y="451"/>
                      </a:lnTo>
                      <a:lnTo>
                        <a:pt x="258" y="456"/>
                      </a:lnTo>
                      <a:lnTo>
                        <a:pt x="233" y="465"/>
                      </a:lnTo>
                      <a:lnTo>
                        <a:pt x="193" y="484"/>
                      </a:lnTo>
                      <a:lnTo>
                        <a:pt x="163" y="502"/>
                      </a:lnTo>
                      <a:lnTo>
                        <a:pt x="155" y="504"/>
                      </a:lnTo>
                      <a:lnTo>
                        <a:pt x="150" y="506"/>
                      </a:lnTo>
                      <a:lnTo>
                        <a:pt x="146" y="510"/>
                      </a:lnTo>
                      <a:lnTo>
                        <a:pt x="144" y="514"/>
                      </a:lnTo>
                      <a:lnTo>
                        <a:pt x="143" y="520"/>
                      </a:lnTo>
                      <a:lnTo>
                        <a:pt x="136" y="529"/>
                      </a:lnTo>
                      <a:lnTo>
                        <a:pt x="130" y="535"/>
                      </a:lnTo>
                      <a:lnTo>
                        <a:pt x="100" y="511"/>
                      </a:lnTo>
                      <a:lnTo>
                        <a:pt x="95" y="505"/>
                      </a:lnTo>
                      <a:lnTo>
                        <a:pt x="94" y="499"/>
                      </a:lnTo>
                      <a:lnTo>
                        <a:pt x="95" y="494"/>
                      </a:lnTo>
                      <a:lnTo>
                        <a:pt x="95" y="489"/>
                      </a:lnTo>
                      <a:lnTo>
                        <a:pt x="94" y="477"/>
                      </a:lnTo>
                      <a:lnTo>
                        <a:pt x="95" y="467"/>
                      </a:lnTo>
                      <a:lnTo>
                        <a:pt x="95" y="462"/>
                      </a:lnTo>
                      <a:lnTo>
                        <a:pt x="90" y="457"/>
                      </a:lnTo>
                      <a:lnTo>
                        <a:pt x="85" y="454"/>
                      </a:lnTo>
                      <a:lnTo>
                        <a:pt x="79" y="449"/>
                      </a:lnTo>
                      <a:lnTo>
                        <a:pt x="78" y="444"/>
                      </a:lnTo>
                      <a:lnTo>
                        <a:pt x="76" y="437"/>
                      </a:lnTo>
                      <a:lnTo>
                        <a:pt x="80" y="435"/>
                      </a:lnTo>
                      <a:lnTo>
                        <a:pt x="86" y="435"/>
                      </a:lnTo>
                      <a:lnTo>
                        <a:pt x="89" y="433"/>
                      </a:lnTo>
                      <a:lnTo>
                        <a:pt x="91" y="428"/>
                      </a:lnTo>
                      <a:lnTo>
                        <a:pt x="91" y="418"/>
                      </a:lnTo>
                      <a:lnTo>
                        <a:pt x="88" y="406"/>
                      </a:lnTo>
                      <a:lnTo>
                        <a:pt x="85" y="393"/>
                      </a:lnTo>
                      <a:lnTo>
                        <a:pt x="84" y="385"/>
                      </a:lnTo>
                      <a:lnTo>
                        <a:pt x="86" y="381"/>
                      </a:lnTo>
                      <a:lnTo>
                        <a:pt x="94" y="375"/>
                      </a:lnTo>
                      <a:lnTo>
                        <a:pt x="99" y="370"/>
                      </a:lnTo>
                      <a:lnTo>
                        <a:pt x="101" y="365"/>
                      </a:lnTo>
                      <a:lnTo>
                        <a:pt x="103" y="359"/>
                      </a:lnTo>
                      <a:lnTo>
                        <a:pt x="100" y="351"/>
                      </a:lnTo>
                      <a:lnTo>
                        <a:pt x="99" y="329"/>
                      </a:lnTo>
                      <a:lnTo>
                        <a:pt x="95" y="320"/>
                      </a:lnTo>
                      <a:lnTo>
                        <a:pt x="90" y="315"/>
                      </a:lnTo>
                      <a:lnTo>
                        <a:pt x="83" y="313"/>
                      </a:lnTo>
                      <a:lnTo>
                        <a:pt x="76" y="311"/>
                      </a:lnTo>
                      <a:lnTo>
                        <a:pt x="71" y="311"/>
                      </a:lnTo>
                      <a:lnTo>
                        <a:pt x="65" y="314"/>
                      </a:lnTo>
                      <a:lnTo>
                        <a:pt x="55" y="319"/>
                      </a:lnTo>
                      <a:lnTo>
                        <a:pt x="49" y="320"/>
                      </a:lnTo>
                      <a:lnTo>
                        <a:pt x="41" y="319"/>
                      </a:lnTo>
                      <a:lnTo>
                        <a:pt x="35" y="321"/>
                      </a:lnTo>
                      <a:lnTo>
                        <a:pt x="29" y="321"/>
                      </a:lnTo>
                      <a:lnTo>
                        <a:pt x="24" y="320"/>
                      </a:lnTo>
                      <a:lnTo>
                        <a:pt x="13" y="311"/>
                      </a:lnTo>
                      <a:lnTo>
                        <a:pt x="5" y="304"/>
                      </a:lnTo>
                      <a:lnTo>
                        <a:pt x="1" y="296"/>
                      </a:lnTo>
                      <a:lnTo>
                        <a:pt x="0" y="286"/>
                      </a:lnTo>
                      <a:lnTo>
                        <a:pt x="0" y="279"/>
                      </a:lnTo>
                      <a:lnTo>
                        <a:pt x="3" y="269"/>
                      </a:lnTo>
                      <a:lnTo>
                        <a:pt x="9" y="247"/>
                      </a:lnTo>
                      <a:lnTo>
                        <a:pt x="11" y="235"/>
                      </a:lnTo>
                      <a:lnTo>
                        <a:pt x="16" y="225"/>
                      </a:lnTo>
                      <a:lnTo>
                        <a:pt x="20" y="216"/>
                      </a:lnTo>
                      <a:lnTo>
                        <a:pt x="21" y="211"/>
                      </a:lnTo>
                      <a:lnTo>
                        <a:pt x="24" y="207"/>
                      </a:lnTo>
                      <a:lnTo>
                        <a:pt x="28" y="205"/>
                      </a:lnTo>
                      <a:lnTo>
                        <a:pt x="43" y="201"/>
                      </a:lnTo>
                      <a:lnTo>
                        <a:pt x="46" y="197"/>
                      </a:lnTo>
                      <a:lnTo>
                        <a:pt x="49" y="192"/>
                      </a:lnTo>
                      <a:lnTo>
                        <a:pt x="48" y="185"/>
                      </a:lnTo>
                      <a:lnTo>
                        <a:pt x="49" y="180"/>
                      </a:lnTo>
                      <a:lnTo>
                        <a:pt x="53" y="176"/>
                      </a:lnTo>
                      <a:lnTo>
                        <a:pt x="56" y="174"/>
                      </a:lnTo>
                      <a:lnTo>
                        <a:pt x="66" y="171"/>
                      </a:lnTo>
                      <a:lnTo>
                        <a:pt x="81" y="170"/>
                      </a:lnTo>
                      <a:lnTo>
                        <a:pt x="91" y="167"/>
                      </a:lnTo>
                      <a:lnTo>
                        <a:pt x="95" y="164"/>
                      </a:lnTo>
                      <a:lnTo>
                        <a:pt x="101" y="161"/>
                      </a:lnTo>
                      <a:lnTo>
                        <a:pt x="114" y="159"/>
                      </a:lnTo>
                      <a:lnTo>
                        <a:pt x="121" y="155"/>
                      </a:lnTo>
                      <a:lnTo>
                        <a:pt x="139" y="146"/>
                      </a:lnTo>
                      <a:lnTo>
                        <a:pt x="148" y="146"/>
                      </a:lnTo>
                      <a:lnTo>
                        <a:pt x="158" y="145"/>
                      </a:lnTo>
                      <a:lnTo>
                        <a:pt x="168" y="141"/>
                      </a:lnTo>
                      <a:lnTo>
                        <a:pt x="173" y="136"/>
                      </a:lnTo>
                      <a:lnTo>
                        <a:pt x="175" y="131"/>
                      </a:lnTo>
                      <a:lnTo>
                        <a:pt x="179" y="119"/>
                      </a:lnTo>
                      <a:lnTo>
                        <a:pt x="184" y="115"/>
                      </a:lnTo>
                      <a:lnTo>
                        <a:pt x="206" y="106"/>
                      </a:lnTo>
                      <a:lnTo>
                        <a:pt x="211" y="102"/>
                      </a:lnTo>
                      <a:lnTo>
                        <a:pt x="214" y="99"/>
                      </a:lnTo>
                      <a:lnTo>
                        <a:pt x="216" y="85"/>
                      </a:lnTo>
                      <a:lnTo>
                        <a:pt x="216" y="81"/>
                      </a:lnTo>
                      <a:lnTo>
                        <a:pt x="220" y="77"/>
                      </a:lnTo>
                      <a:lnTo>
                        <a:pt x="234" y="72"/>
                      </a:lnTo>
                      <a:lnTo>
                        <a:pt x="236" y="69"/>
                      </a:lnTo>
                      <a:lnTo>
                        <a:pt x="235" y="64"/>
                      </a:lnTo>
                      <a:lnTo>
                        <a:pt x="234" y="56"/>
                      </a:lnTo>
                      <a:lnTo>
                        <a:pt x="234" y="41"/>
                      </a:lnTo>
                      <a:lnTo>
                        <a:pt x="236" y="36"/>
                      </a:lnTo>
                      <a:lnTo>
                        <a:pt x="240" y="34"/>
                      </a:lnTo>
                      <a:lnTo>
                        <a:pt x="264" y="26"/>
                      </a:lnTo>
                      <a:lnTo>
                        <a:pt x="271" y="20"/>
                      </a:lnTo>
                      <a:lnTo>
                        <a:pt x="275" y="15"/>
                      </a:lnTo>
                      <a:lnTo>
                        <a:pt x="279" y="6"/>
                      </a:lnTo>
                      <a:lnTo>
                        <a:pt x="283" y="1"/>
                      </a:lnTo>
                      <a:lnTo>
                        <a:pt x="288" y="0"/>
                      </a:lnTo>
                      <a:lnTo>
                        <a:pt x="293" y="1"/>
                      </a:lnTo>
                      <a:lnTo>
                        <a:pt x="296" y="7"/>
                      </a:lnTo>
                      <a:lnTo>
                        <a:pt x="303" y="15"/>
                      </a:lnTo>
                      <a:lnTo>
                        <a:pt x="311" y="23"/>
                      </a:lnTo>
                      <a:lnTo>
                        <a:pt x="313" y="25"/>
                      </a:lnTo>
                      <a:lnTo>
                        <a:pt x="318" y="40"/>
                      </a:lnTo>
                      <a:lnTo>
                        <a:pt x="321" y="42"/>
                      </a:lnTo>
                      <a:lnTo>
                        <a:pt x="330" y="45"/>
                      </a:lnTo>
                      <a:lnTo>
                        <a:pt x="337" y="48"/>
                      </a:lnTo>
                      <a:close/>
                    </a:path>
                  </a:pathLst>
                </a:custGeom>
                <a:solidFill>
                  <a:srgbClr val="1B7CA8"/>
                </a:solidFill>
                <a:ln w="14288"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90" name="Etiquette - Ignore - No Area Name -" hidden="1">
                  <a:extLst>
                    <a:ext uri="{FF2B5EF4-FFF2-40B4-BE49-F238E27FC236}">
                      <a16:creationId xmlns:a16="http://schemas.microsoft.com/office/drawing/2014/main" id="{049EC229-AAD2-4BDB-980C-599C90BB7060}"/>
                    </a:ext>
                  </a:extLst>
                </p:cNvPr>
                <p:cNvSpPr/>
                <p:nvPr/>
              </p:nvSpPr>
              <p:spPr>
                <a:xfrm>
                  <a:off x="7250216" y="5198905"/>
                  <a:ext cx="0" cy="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solidFill>
                      <a:prstClr val="white"/>
                    </a:solidFill>
                  </a:endParaRPr>
                </a:p>
              </p:txBody>
            </p:sp>
            <p:sp>
              <p:nvSpPr>
                <p:cNvPr id="2591" name="Etiquette - Ignore - No Values -" hidden="1">
                  <a:extLst>
                    <a:ext uri="{FF2B5EF4-FFF2-40B4-BE49-F238E27FC236}">
                      <a16:creationId xmlns:a16="http://schemas.microsoft.com/office/drawing/2014/main" id="{3B302462-9B36-4CAB-9D13-FE0F28D79CA4}"/>
                    </a:ext>
                  </a:extLst>
                </p:cNvPr>
                <p:cNvSpPr/>
                <p:nvPr/>
              </p:nvSpPr>
              <p:spPr>
                <a:xfrm>
                  <a:off x="7250216" y="5198905"/>
                  <a:ext cx="0" cy="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solidFill>
                      <a:prstClr val="white"/>
                    </a:solidFill>
                  </a:endParaRPr>
                </a:p>
              </p:txBody>
            </p:sp>
          </p:grpSp>
          <p:grpSp>
            <p:nvGrpSpPr>
              <p:cNvPr id="2518" name="GradientColorLegend">
                <a:extLst>
                  <a:ext uri="{FF2B5EF4-FFF2-40B4-BE49-F238E27FC236}">
                    <a16:creationId xmlns:a16="http://schemas.microsoft.com/office/drawing/2014/main" id="{CF7FE0E3-5A80-4331-B512-E3AA064F7954}"/>
                  </a:ext>
                </a:extLst>
              </p:cNvPr>
              <p:cNvGrpSpPr/>
              <p:nvPr/>
            </p:nvGrpSpPr>
            <p:grpSpPr>
              <a:xfrm>
                <a:off x="4510000" y="1193451"/>
                <a:ext cx="217600" cy="2366964"/>
                <a:chOff x="1017409" y="2080415"/>
                <a:chExt cx="217600" cy="2366964"/>
              </a:xfrm>
            </p:grpSpPr>
            <p:sp>
              <p:nvSpPr>
                <p:cNvPr id="2540" name="Etiquette - GradientColorLegend - DARK - Shape" hidden="1">
                  <a:extLst>
                    <a:ext uri="{FF2B5EF4-FFF2-40B4-BE49-F238E27FC236}">
                      <a16:creationId xmlns:a16="http://schemas.microsoft.com/office/drawing/2014/main" id="{8800B193-195E-4E67-9423-9BFB2B02395F}"/>
                    </a:ext>
                  </a:extLst>
                </p:cNvPr>
                <p:cNvSpPr/>
                <p:nvPr/>
              </p:nvSpPr>
              <p:spPr>
                <a:xfrm>
                  <a:off x="1066170" y="2575168"/>
                  <a:ext cx="120073" cy="1382400"/>
                </a:xfrm>
                <a:prstGeom prst="rect">
                  <a:avLst/>
                </a:prstGeom>
                <a:gradFill flip="none" rotWithShape="1">
                  <a:gsLst>
                    <a:gs pos="0">
                      <a:srgbClr val="1B7CA8"/>
                    </a:gs>
                    <a:gs pos="100000">
                      <a:srgbClr val="1B7CA8"/>
                    </a:gs>
                  </a:gsLst>
                  <a:lin ang="54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sp>
              <p:nvSpPr>
                <p:cNvPr id="2541" name="Etiquette - GradientColorLegend - DARK - MaxValue" hidden="1">
                  <a:extLst>
                    <a:ext uri="{FF2B5EF4-FFF2-40B4-BE49-F238E27FC236}">
                      <a16:creationId xmlns:a16="http://schemas.microsoft.com/office/drawing/2014/main" id="{6CA71B89-D01A-434C-9692-ABEEAFABF726}"/>
                    </a:ext>
                  </a:extLst>
                </p:cNvPr>
                <p:cNvSpPr txBox="1"/>
                <p:nvPr/>
              </p:nvSpPr>
              <p:spPr>
                <a:xfrm>
                  <a:off x="1017412" y="2080415"/>
                  <a:ext cx="217597" cy="487197"/>
                </a:xfrm>
                <a:prstGeom prst="rect">
                  <a:avLst/>
                </a:prstGeom>
                <a:noFill/>
                <a:ln>
                  <a:solidFill>
                    <a:schemeClr val="bg1">
                      <a:lumMod val="75000"/>
                    </a:schemeClr>
                  </a:solidFill>
                </a:ln>
              </p:spPr>
              <p:txBody>
                <a:bodyPr wrap="none" lIns="0" tIns="0" rIns="0" bIns="0" rtlCol="0" anchor="b">
                  <a:spAutoFit/>
                </a:bodyPr>
                <a:lstStyle/>
                <a:p>
                  <a:pPr algn="ctr"/>
                  <a:r>
                    <a:rPr lang="en-US" sz="1000" dirty="0">
                      <a:solidFill>
                        <a:prstClr val="black"/>
                      </a:solidFill>
                    </a:rPr>
                    <a:t>1</a:t>
                  </a:r>
                </a:p>
              </p:txBody>
            </p:sp>
            <p:sp>
              <p:nvSpPr>
                <p:cNvPr id="2542" name="Etiquette - GradientColorLegend - DARK - MinValue" hidden="1">
                  <a:extLst>
                    <a:ext uri="{FF2B5EF4-FFF2-40B4-BE49-F238E27FC236}">
                      <a16:creationId xmlns:a16="http://schemas.microsoft.com/office/drawing/2014/main" id="{68C6476E-0E93-4A42-8269-FD475F137FE2}"/>
                    </a:ext>
                  </a:extLst>
                </p:cNvPr>
                <p:cNvSpPr txBox="1"/>
                <p:nvPr/>
              </p:nvSpPr>
              <p:spPr>
                <a:xfrm>
                  <a:off x="1017409" y="3960183"/>
                  <a:ext cx="217597" cy="487196"/>
                </a:xfrm>
                <a:prstGeom prst="rect">
                  <a:avLst/>
                </a:prstGeom>
                <a:noFill/>
                <a:ln>
                  <a:solidFill>
                    <a:schemeClr val="bg1">
                      <a:lumMod val="75000"/>
                    </a:schemeClr>
                  </a:solidFill>
                </a:ln>
              </p:spPr>
              <p:txBody>
                <a:bodyPr wrap="none" lIns="0" tIns="0" rIns="0" bIns="0" rtlCol="0">
                  <a:spAutoFit/>
                </a:bodyPr>
                <a:lstStyle/>
                <a:p>
                  <a:pPr algn="ctr"/>
                  <a:r>
                    <a:rPr lang="en-US" sz="1000" dirty="0">
                      <a:solidFill>
                        <a:prstClr val="black"/>
                      </a:solidFill>
                    </a:rPr>
                    <a:t>1</a:t>
                  </a:r>
                </a:p>
              </p:txBody>
            </p:sp>
          </p:grpSp>
          <p:grpSp>
            <p:nvGrpSpPr>
              <p:cNvPr id="2519" name="RangeColorLegend">
                <a:extLst>
                  <a:ext uri="{FF2B5EF4-FFF2-40B4-BE49-F238E27FC236}">
                    <a16:creationId xmlns:a16="http://schemas.microsoft.com/office/drawing/2014/main" id="{1811E973-7E57-4491-805D-1676110A6232}"/>
                  </a:ext>
                </a:extLst>
              </p:cNvPr>
              <p:cNvGrpSpPr/>
              <p:nvPr/>
            </p:nvGrpSpPr>
            <p:grpSpPr>
              <a:xfrm>
                <a:off x="4053650" y="1980698"/>
                <a:ext cx="1270800" cy="1538880"/>
                <a:chOff x="9228362" y="4919762"/>
                <a:chExt cx="1270800" cy="1538880"/>
              </a:xfrm>
            </p:grpSpPr>
            <p:sp>
              <p:nvSpPr>
                <p:cNvPr id="2520" name="Etiquette - RangeColorLegend - DARK - Color - 2" hidden="1">
                  <a:extLst>
                    <a:ext uri="{FF2B5EF4-FFF2-40B4-BE49-F238E27FC236}">
                      <a16:creationId xmlns:a16="http://schemas.microsoft.com/office/drawing/2014/main" id="{AB89D802-D015-4E64-9BDC-BD3C5C8D673B}"/>
                    </a:ext>
                  </a:extLst>
                </p:cNvPr>
                <p:cNvSpPr/>
                <p:nvPr/>
              </p:nvSpPr>
              <p:spPr>
                <a:xfrm>
                  <a:off x="9228362" y="5073650"/>
                  <a:ext cx="154800" cy="153888"/>
                </a:xfrm>
                <a:prstGeom prst="rect">
                  <a:avLst/>
                </a:prstGeom>
                <a:solidFill>
                  <a:srgbClr val="92D05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21" name="Etiquette - RangeColorLegend - DARK - Color - 1" hidden="1">
                  <a:extLst>
                    <a:ext uri="{FF2B5EF4-FFF2-40B4-BE49-F238E27FC236}">
                      <a16:creationId xmlns:a16="http://schemas.microsoft.com/office/drawing/2014/main" id="{6A1D5602-18A1-4BC2-A425-FA055022C7B7}"/>
                    </a:ext>
                  </a:extLst>
                </p:cNvPr>
                <p:cNvSpPr/>
                <p:nvPr/>
              </p:nvSpPr>
              <p:spPr>
                <a:xfrm>
                  <a:off x="9228362" y="4919762"/>
                  <a:ext cx="154800" cy="153888"/>
                </a:xfrm>
                <a:prstGeom prst="rect">
                  <a:avLst/>
                </a:prstGeom>
                <a:solidFill>
                  <a:srgbClr val="00B05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22" name="Etiquette - RangeColorLegend - DARK - Number - 2" hidden="1">
                  <a:extLst>
                    <a:ext uri="{FF2B5EF4-FFF2-40B4-BE49-F238E27FC236}">
                      <a16:creationId xmlns:a16="http://schemas.microsoft.com/office/drawing/2014/main" id="{71C5DDF4-5112-422C-B696-190F7A932F99}"/>
                    </a:ext>
                  </a:extLst>
                </p:cNvPr>
                <p:cNvSpPr/>
                <p:nvPr/>
              </p:nvSpPr>
              <p:spPr>
                <a:xfrm>
                  <a:off x="9383162" y="5073650"/>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100 to 200[</a:t>
                  </a:r>
                </a:p>
              </p:txBody>
            </p:sp>
            <p:sp>
              <p:nvSpPr>
                <p:cNvPr id="2523" name="Etiquette - RangeColorLegend - DARK - Number - 1" hidden="1">
                  <a:extLst>
                    <a:ext uri="{FF2B5EF4-FFF2-40B4-BE49-F238E27FC236}">
                      <a16:creationId xmlns:a16="http://schemas.microsoft.com/office/drawing/2014/main" id="{905897DD-1743-4656-9576-C1A1F53C03D6}"/>
                    </a:ext>
                  </a:extLst>
                </p:cNvPr>
                <p:cNvSpPr/>
                <p:nvPr/>
              </p:nvSpPr>
              <p:spPr>
                <a:xfrm>
                  <a:off x="9383162" y="4919762"/>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0 to 100[</a:t>
                  </a:r>
                </a:p>
              </p:txBody>
            </p:sp>
            <p:sp>
              <p:nvSpPr>
                <p:cNvPr id="2524" name="Etiquette - RangeColorLegend - DARK - Color - 4" hidden="1">
                  <a:extLst>
                    <a:ext uri="{FF2B5EF4-FFF2-40B4-BE49-F238E27FC236}">
                      <a16:creationId xmlns:a16="http://schemas.microsoft.com/office/drawing/2014/main" id="{9D137806-D75C-4410-9B3F-2A22457E7A8A}"/>
                    </a:ext>
                  </a:extLst>
                </p:cNvPr>
                <p:cNvSpPr/>
                <p:nvPr/>
              </p:nvSpPr>
              <p:spPr>
                <a:xfrm>
                  <a:off x="9228362" y="5381426"/>
                  <a:ext cx="154800" cy="153888"/>
                </a:xfrm>
                <a:prstGeom prst="rect">
                  <a:avLst/>
                </a:prstGeom>
                <a:solidFill>
                  <a:srgbClr val="FFC00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25" name="Etiquette - RangeColorLegend - DARK - Color - 3" hidden="1">
                  <a:extLst>
                    <a:ext uri="{FF2B5EF4-FFF2-40B4-BE49-F238E27FC236}">
                      <a16:creationId xmlns:a16="http://schemas.microsoft.com/office/drawing/2014/main" id="{F641CAE4-CE2C-4766-A0BC-9D91461CA763}"/>
                    </a:ext>
                  </a:extLst>
                </p:cNvPr>
                <p:cNvSpPr/>
                <p:nvPr/>
              </p:nvSpPr>
              <p:spPr>
                <a:xfrm>
                  <a:off x="9228362" y="5227538"/>
                  <a:ext cx="154800" cy="153888"/>
                </a:xfrm>
                <a:prstGeom prst="rect">
                  <a:avLst/>
                </a:prstGeom>
                <a:solidFill>
                  <a:srgbClr val="FFFF0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26" name="Etiquette - RangeColorLegend - DARK - Number - 4" hidden="1">
                  <a:extLst>
                    <a:ext uri="{FF2B5EF4-FFF2-40B4-BE49-F238E27FC236}">
                      <a16:creationId xmlns:a16="http://schemas.microsoft.com/office/drawing/2014/main" id="{3F7EFAB4-D5A7-4CCE-AC4B-630E62BE54FE}"/>
                    </a:ext>
                  </a:extLst>
                </p:cNvPr>
                <p:cNvSpPr/>
                <p:nvPr/>
              </p:nvSpPr>
              <p:spPr>
                <a:xfrm>
                  <a:off x="9383162" y="5381426"/>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300 to 400[</a:t>
                  </a:r>
                </a:p>
              </p:txBody>
            </p:sp>
            <p:sp>
              <p:nvSpPr>
                <p:cNvPr id="2527" name="Etiquette - RangeColorLegend - DARK - Number - 3" hidden="1">
                  <a:extLst>
                    <a:ext uri="{FF2B5EF4-FFF2-40B4-BE49-F238E27FC236}">
                      <a16:creationId xmlns:a16="http://schemas.microsoft.com/office/drawing/2014/main" id="{C176A1FD-7875-4B21-961A-F9B38B631F49}"/>
                    </a:ext>
                  </a:extLst>
                </p:cNvPr>
                <p:cNvSpPr/>
                <p:nvPr/>
              </p:nvSpPr>
              <p:spPr>
                <a:xfrm>
                  <a:off x="9383162" y="5227538"/>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200 to 300[</a:t>
                  </a:r>
                </a:p>
              </p:txBody>
            </p:sp>
            <p:sp>
              <p:nvSpPr>
                <p:cNvPr id="2528" name="Etiquette - RangeColorLegend - DARK - Color - 5" hidden="1">
                  <a:extLst>
                    <a:ext uri="{FF2B5EF4-FFF2-40B4-BE49-F238E27FC236}">
                      <a16:creationId xmlns:a16="http://schemas.microsoft.com/office/drawing/2014/main" id="{F64AA9B2-2DF5-4B74-A0FF-D20E4FDF2769}"/>
                    </a:ext>
                  </a:extLst>
                </p:cNvPr>
                <p:cNvSpPr/>
                <p:nvPr/>
              </p:nvSpPr>
              <p:spPr>
                <a:xfrm>
                  <a:off x="9228362" y="5535314"/>
                  <a:ext cx="154800" cy="153888"/>
                </a:xfrm>
                <a:prstGeom prst="rect">
                  <a:avLst/>
                </a:prstGeom>
                <a:solidFill>
                  <a:srgbClr val="FF000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29" name="Etiquette - RangeColorLegend - DARK - Number - 5" hidden="1">
                  <a:extLst>
                    <a:ext uri="{FF2B5EF4-FFF2-40B4-BE49-F238E27FC236}">
                      <a16:creationId xmlns:a16="http://schemas.microsoft.com/office/drawing/2014/main" id="{35B16415-D5B7-48EC-9EB7-8B47B226C24C}"/>
                    </a:ext>
                  </a:extLst>
                </p:cNvPr>
                <p:cNvSpPr/>
                <p:nvPr/>
              </p:nvSpPr>
              <p:spPr>
                <a:xfrm>
                  <a:off x="9383162" y="5535314"/>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400+</a:t>
                  </a:r>
                </a:p>
              </p:txBody>
            </p:sp>
            <p:sp>
              <p:nvSpPr>
                <p:cNvPr id="2530" name="Etiquette - RangeColorLegend - DARK - Color - 6" hidden="1">
                  <a:extLst>
                    <a:ext uri="{FF2B5EF4-FFF2-40B4-BE49-F238E27FC236}">
                      <a16:creationId xmlns:a16="http://schemas.microsoft.com/office/drawing/2014/main" id="{DACA57E0-2A4F-4ABF-8A2E-A08DC47A8902}"/>
                    </a:ext>
                  </a:extLst>
                </p:cNvPr>
                <p:cNvSpPr/>
                <p:nvPr/>
              </p:nvSpPr>
              <p:spPr>
                <a:xfrm>
                  <a:off x="9228362" y="5689202"/>
                  <a:ext cx="154800" cy="153888"/>
                </a:xfrm>
                <a:prstGeom prst="rect">
                  <a:avLst/>
                </a:prstGeom>
                <a:solidFill>
                  <a:srgbClr val="FF000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31" name="Etiquette - RangeColorLegend - DARK - Number - 6" hidden="1">
                  <a:extLst>
                    <a:ext uri="{FF2B5EF4-FFF2-40B4-BE49-F238E27FC236}">
                      <a16:creationId xmlns:a16="http://schemas.microsoft.com/office/drawing/2014/main" id="{89C6E95F-4734-4568-AA0D-BD459C1F8547}"/>
                    </a:ext>
                  </a:extLst>
                </p:cNvPr>
                <p:cNvSpPr/>
                <p:nvPr/>
              </p:nvSpPr>
              <p:spPr>
                <a:xfrm>
                  <a:off x="9383162" y="5689202"/>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400+</a:t>
                  </a:r>
                </a:p>
              </p:txBody>
            </p:sp>
            <p:sp>
              <p:nvSpPr>
                <p:cNvPr id="2532" name="Etiquette - RangeColorLegend - DARK - Color - 7" hidden="1">
                  <a:extLst>
                    <a:ext uri="{FF2B5EF4-FFF2-40B4-BE49-F238E27FC236}">
                      <a16:creationId xmlns:a16="http://schemas.microsoft.com/office/drawing/2014/main" id="{7151389F-3EC6-417D-8519-40D281558E56}"/>
                    </a:ext>
                  </a:extLst>
                </p:cNvPr>
                <p:cNvSpPr/>
                <p:nvPr/>
              </p:nvSpPr>
              <p:spPr>
                <a:xfrm>
                  <a:off x="9228362" y="5843090"/>
                  <a:ext cx="154800" cy="153888"/>
                </a:xfrm>
                <a:prstGeom prst="rect">
                  <a:avLst/>
                </a:prstGeom>
                <a:solidFill>
                  <a:srgbClr val="FF000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33" name="Etiquette - RangeColorLegend - DARK - Number - 7" hidden="1">
                  <a:extLst>
                    <a:ext uri="{FF2B5EF4-FFF2-40B4-BE49-F238E27FC236}">
                      <a16:creationId xmlns:a16="http://schemas.microsoft.com/office/drawing/2014/main" id="{05E9C225-A0BB-48BB-9E0B-052BA95C09A7}"/>
                    </a:ext>
                  </a:extLst>
                </p:cNvPr>
                <p:cNvSpPr/>
                <p:nvPr/>
              </p:nvSpPr>
              <p:spPr>
                <a:xfrm>
                  <a:off x="9383162" y="5843090"/>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400+</a:t>
                  </a:r>
                </a:p>
              </p:txBody>
            </p:sp>
            <p:sp>
              <p:nvSpPr>
                <p:cNvPr id="2534" name="Etiquette - RangeColorLegend - DARK - Color - 8" hidden="1">
                  <a:extLst>
                    <a:ext uri="{FF2B5EF4-FFF2-40B4-BE49-F238E27FC236}">
                      <a16:creationId xmlns:a16="http://schemas.microsoft.com/office/drawing/2014/main" id="{178564A6-9B1D-435D-9344-8208B6A3C1E4}"/>
                    </a:ext>
                  </a:extLst>
                </p:cNvPr>
                <p:cNvSpPr/>
                <p:nvPr/>
              </p:nvSpPr>
              <p:spPr>
                <a:xfrm>
                  <a:off x="9228362" y="5996978"/>
                  <a:ext cx="154800" cy="153888"/>
                </a:xfrm>
                <a:prstGeom prst="rect">
                  <a:avLst/>
                </a:prstGeom>
                <a:solidFill>
                  <a:srgbClr val="FF000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35" name="Etiquette - RangeColorLegend - DARK - Number - 8" hidden="1">
                  <a:extLst>
                    <a:ext uri="{FF2B5EF4-FFF2-40B4-BE49-F238E27FC236}">
                      <a16:creationId xmlns:a16="http://schemas.microsoft.com/office/drawing/2014/main" id="{55F19274-33BD-496D-B11C-12622F035C7C}"/>
                    </a:ext>
                  </a:extLst>
                </p:cNvPr>
                <p:cNvSpPr/>
                <p:nvPr/>
              </p:nvSpPr>
              <p:spPr>
                <a:xfrm>
                  <a:off x="9383162" y="5996978"/>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400+</a:t>
                  </a:r>
                </a:p>
              </p:txBody>
            </p:sp>
            <p:sp>
              <p:nvSpPr>
                <p:cNvPr id="2536" name="Etiquette - RangeColorLegend - DARK - Color - 9" hidden="1">
                  <a:extLst>
                    <a:ext uri="{FF2B5EF4-FFF2-40B4-BE49-F238E27FC236}">
                      <a16:creationId xmlns:a16="http://schemas.microsoft.com/office/drawing/2014/main" id="{EF4BE62B-328C-40E6-A3DF-06C4F9C349F7}"/>
                    </a:ext>
                  </a:extLst>
                </p:cNvPr>
                <p:cNvSpPr/>
                <p:nvPr/>
              </p:nvSpPr>
              <p:spPr>
                <a:xfrm>
                  <a:off x="9228362" y="6150866"/>
                  <a:ext cx="154800" cy="153888"/>
                </a:xfrm>
                <a:prstGeom prst="rect">
                  <a:avLst/>
                </a:prstGeom>
                <a:solidFill>
                  <a:srgbClr val="FF000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37" name="Etiquette - RangeColorLegend - DARK - Number - 9" hidden="1">
                  <a:extLst>
                    <a:ext uri="{FF2B5EF4-FFF2-40B4-BE49-F238E27FC236}">
                      <a16:creationId xmlns:a16="http://schemas.microsoft.com/office/drawing/2014/main" id="{75216B6C-3EEC-4406-8595-998ACA94D8A7}"/>
                    </a:ext>
                  </a:extLst>
                </p:cNvPr>
                <p:cNvSpPr/>
                <p:nvPr/>
              </p:nvSpPr>
              <p:spPr>
                <a:xfrm>
                  <a:off x="9383162" y="6150866"/>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400+</a:t>
                  </a:r>
                </a:p>
              </p:txBody>
            </p:sp>
            <p:sp>
              <p:nvSpPr>
                <p:cNvPr id="2538" name="Etiquette - RangeColorLegend - DARK - Color - 10" hidden="1">
                  <a:extLst>
                    <a:ext uri="{FF2B5EF4-FFF2-40B4-BE49-F238E27FC236}">
                      <a16:creationId xmlns:a16="http://schemas.microsoft.com/office/drawing/2014/main" id="{3DF21AFF-88D3-456A-BE0B-7C4A46D4E17F}"/>
                    </a:ext>
                  </a:extLst>
                </p:cNvPr>
                <p:cNvSpPr/>
                <p:nvPr/>
              </p:nvSpPr>
              <p:spPr>
                <a:xfrm>
                  <a:off x="9228362" y="6304754"/>
                  <a:ext cx="154800" cy="153888"/>
                </a:xfrm>
                <a:prstGeom prst="rect">
                  <a:avLst/>
                </a:prstGeom>
                <a:solidFill>
                  <a:srgbClr val="FF0000"/>
                </a:solidFill>
                <a:ln>
                  <a:solidFill>
                    <a:schemeClr val="bg1">
                      <a:lumMod val="75000"/>
                    </a:schemeClr>
                  </a:solidFill>
                </a:ln>
              </p:spPr>
              <p:txBody>
                <a:bodyPr wrap="square" lIns="0" tIns="0" rIns="0" bIns="0" anchor="ctr">
                  <a:noAutofit/>
                </a:bodyPr>
                <a:lstStyle/>
                <a:p>
                  <a:pPr algn="ctr"/>
                  <a:endParaRPr lang="en-US" sz="1000" dirty="0">
                    <a:solidFill>
                      <a:prstClr val="black"/>
                    </a:solidFill>
                  </a:endParaRPr>
                </a:p>
              </p:txBody>
            </p:sp>
            <p:sp>
              <p:nvSpPr>
                <p:cNvPr id="2539" name="Etiquette - RangeColorLegend - DARK - Number - 10" hidden="1">
                  <a:extLst>
                    <a:ext uri="{FF2B5EF4-FFF2-40B4-BE49-F238E27FC236}">
                      <a16:creationId xmlns:a16="http://schemas.microsoft.com/office/drawing/2014/main" id="{6F90EA57-1C92-4E91-ACC0-EAC2E8716CB3}"/>
                    </a:ext>
                  </a:extLst>
                </p:cNvPr>
                <p:cNvSpPr/>
                <p:nvPr/>
              </p:nvSpPr>
              <p:spPr>
                <a:xfrm>
                  <a:off x="9383162" y="6304754"/>
                  <a:ext cx="1116000" cy="153888"/>
                </a:xfrm>
                <a:prstGeom prst="rect">
                  <a:avLst/>
                </a:prstGeom>
                <a:ln>
                  <a:solidFill>
                    <a:schemeClr val="bg1">
                      <a:lumMod val="75000"/>
                    </a:schemeClr>
                  </a:solidFill>
                </a:ln>
              </p:spPr>
              <p:txBody>
                <a:bodyPr wrap="none" lIns="72000" tIns="0" rIns="0" bIns="0" anchor="ctr">
                  <a:noAutofit/>
                </a:bodyPr>
                <a:lstStyle/>
                <a:p>
                  <a:r>
                    <a:rPr lang="en-US" sz="1000" dirty="0">
                      <a:solidFill>
                        <a:prstClr val="black"/>
                      </a:solidFill>
                    </a:rPr>
                    <a:t>400+</a:t>
                  </a:r>
                </a:p>
              </p:txBody>
            </p:sp>
          </p:grpSp>
        </p:grpSp>
        <p:sp>
          <p:nvSpPr>
            <p:cNvPr id="47" name="POWER_USER_DATA_MAP_TITLE">
              <a:extLst>
                <a:ext uri="{FF2B5EF4-FFF2-40B4-BE49-F238E27FC236}">
                  <a16:creationId xmlns:a16="http://schemas.microsoft.com/office/drawing/2014/main" id="{3F365A8D-0A3C-46A7-BB0F-A79947EF9407}"/>
                </a:ext>
              </a:extLst>
            </p:cNvPr>
            <p:cNvSpPr/>
            <p:nvPr/>
          </p:nvSpPr>
          <p:spPr>
            <a:xfrm>
              <a:off x="1326609" y="-931068"/>
              <a:ext cx="7285038" cy="634999"/>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500" b="1" dirty="0">
                  <a:solidFill>
                    <a:srgbClr val="000000"/>
                  </a:solidFill>
                </a:rPr>
                <a:t>Japan </a:t>
              </a:r>
            </a:p>
          </p:txBody>
        </p:sp>
        <p:sp>
          <p:nvSpPr>
            <p:cNvPr id="48" name="POWER_USER_DATA_MAP_STORAGE">
              <a:extLst>
                <a:ext uri="{FF2B5EF4-FFF2-40B4-BE49-F238E27FC236}">
                  <a16:creationId xmlns:a16="http://schemas.microsoft.com/office/drawing/2014/main" id="{925563ED-79AE-49FF-B46C-06B9FAE1E413}"/>
                </a:ext>
              </a:extLst>
            </p:cNvPr>
            <p:cNvSpPr/>
            <p:nvPr/>
          </p:nvSpPr>
          <p:spPr>
            <a:xfrm>
              <a:off x="929481" y="100806"/>
              <a:ext cx="0" cy="0"/>
            </a:xfrm>
            <a:prstGeom prst="rect">
              <a:avLst/>
            </a:prstGeom>
            <a:solidFill>
              <a:schemeClr val="accent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dirty="0"/>
            </a:p>
          </p:txBody>
        </p:sp>
      </p:grpSp>
      <p:grpSp>
        <p:nvGrpSpPr>
          <p:cNvPr id="52" name="POWER_USER_DATA_MAP" descr="{&quot;IsGrandientColor&quot;:true,&quot;GradientColor&quot;:&quot;#1B7CA8&quot;,&quot;IsRangesColor&quot;:false,&quot;RangesSettings&quot;:null,&quot;RangeName&quot;:&quot;POWER_USER_EXCEL_MAP_1B555335_B0F2_4C71_92A2_AE32F7133A66&quot;,&quot;Version&quot;:&quot;1.6.1146.0&quot;}">
            <a:extLst>
              <a:ext uri="{FF2B5EF4-FFF2-40B4-BE49-F238E27FC236}">
                <a16:creationId xmlns:a16="http://schemas.microsoft.com/office/drawing/2014/main" id="{9737EA1A-BE38-40B4-825A-6CF9C0E80626}"/>
              </a:ext>
            </a:extLst>
          </p:cNvPr>
          <p:cNvGrpSpPr>
            <a:grpSpLocks noChangeAspect="1"/>
          </p:cNvGrpSpPr>
          <p:nvPr/>
        </p:nvGrpSpPr>
        <p:grpSpPr>
          <a:xfrm>
            <a:off x="3179801" y="1914845"/>
            <a:ext cx="3424981" cy="1957359"/>
            <a:chOff x="-104510" y="-1468"/>
            <a:chExt cx="9746641" cy="5570156"/>
          </a:xfrm>
          <a:solidFill>
            <a:srgbClr val="0070C0"/>
          </a:solidFill>
        </p:grpSpPr>
        <p:grpSp>
          <p:nvGrpSpPr>
            <p:cNvPr id="2592" name="United_States">
              <a:extLst>
                <a:ext uri="{FF2B5EF4-FFF2-40B4-BE49-F238E27FC236}">
                  <a16:creationId xmlns:a16="http://schemas.microsoft.com/office/drawing/2014/main" id="{2CDD649F-221F-4C35-A236-6456B97E16D3}"/>
                </a:ext>
              </a:extLst>
            </p:cNvPr>
            <p:cNvGrpSpPr>
              <a:grpSpLocks noChangeAspect="1"/>
            </p:cNvGrpSpPr>
            <p:nvPr/>
          </p:nvGrpSpPr>
          <p:grpSpPr>
            <a:xfrm>
              <a:off x="-104510" y="844812"/>
              <a:ext cx="9746641" cy="4723876"/>
              <a:chOff x="1887296" y="1866148"/>
              <a:chExt cx="9746641" cy="4723876"/>
            </a:xfrm>
            <a:grpFill/>
          </p:grpSpPr>
          <p:grpSp>
            <p:nvGrpSpPr>
              <p:cNvPr id="2593" name="Group 2592">
                <a:extLst>
                  <a:ext uri="{FF2B5EF4-FFF2-40B4-BE49-F238E27FC236}">
                    <a16:creationId xmlns:a16="http://schemas.microsoft.com/office/drawing/2014/main" id="{F0FBD414-933F-49CA-8610-92D91B68F883}"/>
                  </a:ext>
                </a:extLst>
              </p:cNvPr>
              <p:cNvGrpSpPr>
                <a:grpSpLocks noChangeAspect="1"/>
              </p:cNvGrpSpPr>
              <p:nvPr/>
            </p:nvGrpSpPr>
            <p:grpSpPr>
              <a:xfrm>
                <a:off x="1887296" y="1866148"/>
                <a:ext cx="8301038" cy="4117977"/>
                <a:chOff x="-698500" y="668339"/>
                <a:chExt cx="12338050" cy="6743700"/>
              </a:xfrm>
              <a:grpFill/>
            </p:grpSpPr>
            <p:sp>
              <p:nvSpPr>
                <p:cNvPr id="2682" name="Massachusetts" descr="{&quot;Key&quot;:&quot;massachusetts&quot;,&quot;Name&quot;:&quot;Massachusetts&quot;,&quot;Value&quot;:1.0,&quot;Formula&quot;:&quot;&quot;,&quot;Text&quot;:&quot;&quot;,&quot;OfficeApplication&quot;:1,&quot;HasValue&quot;:true}">
                  <a:extLst>
                    <a:ext uri="{FF2B5EF4-FFF2-40B4-BE49-F238E27FC236}">
                      <a16:creationId xmlns:a16="http://schemas.microsoft.com/office/drawing/2014/main" id="{C216AEC7-BB21-4F27-949A-B2CB599B5F23}"/>
                    </a:ext>
                  </a:extLst>
                </p:cNvPr>
                <p:cNvSpPr>
                  <a:spLocks noEditPoints="1"/>
                </p:cNvSpPr>
                <p:nvPr/>
              </p:nvSpPr>
              <p:spPr bwMode="auto">
                <a:xfrm>
                  <a:off x="10748961" y="1936751"/>
                  <a:ext cx="684212" cy="404813"/>
                </a:xfrm>
                <a:custGeom>
                  <a:avLst/>
                  <a:gdLst>
                    <a:gd name="T0" fmla="*/ 357 w 431"/>
                    <a:gd name="T1" fmla="*/ 253 h 255"/>
                    <a:gd name="T2" fmla="*/ 355 w 431"/>
                    <a:gd name="T3" fmla="*/ 251 h 255"/>
                    <a:gd name="T4" fmla="*/ 355 w 431"/>
                    <a:gd name="T5" fmla="*/ 255 h 255"/>
                    <a:gd name="T6" fmla="*/ 357 w 431"/>
                    <a:gd name="T7" fmla="*/ 253 h 255"/>
                    <a:gd name="T8" fmla="*/ 357 w 431"/>
                    <a:gd name="T9" fmla="*/ 253 h 255"/>
                    <a:gd name="T10" fmla="*/ 335 w 431"/>
                    <a:gd name="T11" fmla="*/ 232 h 255"/>
                    <a:gd name="T12" fmla="*/ 339 w 431"/>
                    <a:gd name="T13" fmla="*/ 230 h 255"/>
                    <a:gd name="T14" fmla="*/ 339 w 431"/>
                    <a:gd name="T15" fmla="*/ 226 h 255"/>
                    <a:gd name="T16" fmla="*/ 335 w 431"/>
                    <a:gd name="T17" fmla="*/ 232 h 255"/>
                    <a:gd name="T18" fmla="*/ 335 w 431"/>
                    <a:gd name="T19" fmla="*/ 232 h 255"/>
                    <a:gd name="T20" fmla="*/ 431 w 431"/>
                    <a:gd name="T21" fmla="*/ 170 h 255"/>
                    <a:gd name="T22" fmla="*/ 429 w 431"/>
                    <a:gd name="T23" fmla="*/ 160 h 255"/>
                    <a:gd name="T24" fmla="*/ 429 w 431"/>
                    <a:gd name="T25" fmla="*/ 154 h 255"/>
                    <a:gd name="T26" fmla="*/ 431 w 431"/>
                    <a:gd name="T27" fmla="*/ 170 h 255"/>
                    <a:gd name="T28" fmla="*/ 91 w 431"/>
                    <a:gd name="T29" fmla="*/ 90 h 255"/>
                    <a:gd name="T30" fmla="*/ 85 w 431"/>
                    <a:gd name="T31" fmla="*/ 94 h 255"/>
                    <a:gd name="T32" fmla="*/ 40 w 431"/>
                    <a:gd name="T33" fmla="*/ 106 h 255"/>
                    <a:gd name="T34" fmla="*/ 24 w 431"/>
                    <a:gd name="T35" fmla="*/ 112 h 255"/>
                    <a:gd name="T36" fmla="*/ 8 w 431"/>
                    <a:gd name="T37" fmla="*/ 118 h 255"/>
                    <a:gd name="T38" fmla="*/ 0 w 431"/>
                    <a:gd name="T39" fmla="*/ 120 h 255"/>
                    <a:gd name="T40" fmla="*/ 0 w 431"/>
                    <a:gd name="T41" fmla="*/ 122 h 255"/>
                    <a:gd name="T42" fmla="*/ 4 w 431"/>
                    <a:gd name="T43" fmla="*/ 162 h 255"/>
                    <a:gd name="T44" fmla="*/ 6 w 431"/>
                    <a:gd name="T45" fmla="*/ 200 h 255"/>
                    <a:gd name="T46" fmla="*/ 8 w 431"/>
                    <a:gd name="T47" fmla="*/ 234 h 255"/>
                    <a:gd name="T48" fmla="*/ 12 w 431"/>
                    <a:gd name="T49" fmla="*/ 236 h 255"/>
                    <a:gd name="T50" fmla="*/ 26 w 431"/>
                    <a:gd name="T51" fmla="*/ 232 h 255"/>
                    <a:gd name="T52" fmla="*/ 89 w 431"/>
                    <a:gd name="T53" fmla="*/ 214 h 255"/>
                    <a:gd name="T54" fmla="*/ 91 w 431"/>
                    <a:gd name="T55" fmla="*/ 218 h 255"/>
                    <a:gd name="T56" fmla="*/ 203 w 431"/>
                    <a:gd name="T57" fmla="*/ 174 h 255"/>
                    <a:gd name="T58" fmla="*/ 203 w 431"/>
                    <a:gd name="T59" fmla="*/ 176 h 255"/>
                    <a:gd name="T60" fmla="*/ 213 w 431"/>
                    <a:gd name="T61" fmla="*/ 172 h 255"/>
                    <a:gd name="T62" fmla="*/ 249 w 431"/>
                    <a:gd name="T63" fmla="*/ 158 h 255"/>
                    <a:gd name="T64" fmla="*/ 283 w 431"/>
                    <a:gd name="T65" fmla="*/ 200 h 255"/>
                    <a:gd name="T66" fmla="*/ 283 w 431"/>
                    <a:gd name="T67" fmla="*/ 200 h 255"/>
                    <a:gd name="T68" fmla="*/ 289 w 431"/>
                    <a:gd name="T69" fmla="*/ 196 h 255"/>
                    <a:gd name="T70" fmla="*/ 291 w 431"/>
                    <a:gd name="T71" fmla="*/ 184 h 255"/>
                    <a:gd name="T72" fmla="*/ 289 w 431"/>
                    <a:gd name="T73" fmla="*/ 202 h 255"/>
                    <a:gd name="T74" fmla="*/ 289 w 431"/>
                    <a:gd name="T75" fmla="*/ 202 h 255"/>
                    <a:gd name="T76" fmla="*/ 297 w 431"/>
                    <a:gd name="T77" fmla="*/ 202 h 255"/>
                    <a:gd name="T78" fmla="*/ 301 w 431"/>
                    <a:gd name="T79" fmla="*/ 212 h 255"/>
                    <a:gd name="T80" fmla="*/ 307 w 431"/>
                    <a:gd name="T81" fmla="*/ 226 h 255"/>
                    <a:gd name="T82" fmla="*/ 307 w 431"/>
                    <a:gd name="T83" fmla="*/ 226 h 255"/>
                    <a:gd name="T84" fmla="*/ 343 w 431"/>
                    <a:gd name="T85" fmla="*/ 180 h 255"/>
                    <a:gd name="T86" fmla="*/ 373 w 431"/>
                    <a:gd name="T87" fmla="*/ 192 h 255"/>
                    <a:gd name="T88" fmla="*/ 381 w 431"/>
                    <a:gd name="T89" fmla="*/ 176 h 255"/>
                    <a:gd name="T90" fmla="*/ 431 w 431"/>
                    <a:gd name="T91" fmla="*/ 150 h 255"/>
                    <a:gd name="T92" fmla="*/ 409 w 431"/>
                    <a:gd name="T93" fmla="*/ 108 h 255"/>
                    <a:gd name="T94" fmla="*/ 415 w 431"/>
                    <a:gd name="T95" fmla="*/ 134 h 255"/>
                    <a:gd name="T96" fmla="*/ 389 w 431"/>
                    <a:gd name="T97" fmla="*/ 154 h 255"/>
                    <a:gd name="T98" fmla="*/ 361 w 431"/>
                    <a:gd name="T99" fmla="*/ 156 h 255"/>
                    <a:gd name="T100" fmla="*/ 303 w 431"/>
                    <a:gd name="T101" fmla="*/ 94 h 255"/>
                    <a:gd name="T102" fmla="*/ 277 w 431"/>
                    <a:gd name="T103" fmla="*/ 56 h 255"/>
                    <a:gd name="T104" fmla="*/ 303 w 431"/>
                    <a:gd name="T105" fmla="*/ 28 h 255"/>
                    <a:gd name="T106" fmla="*/ 277 w 431"/>
                    <a:gd name="T107" fmla="*/ 28 h 255"/>
                    <a:gd name="T108" fmla="*/ 265 w 431"/>
                    <a:gd name="T109" fmla="*/ 2 h 255"/>
                    <a:gd name="T110" fmla="*/ 265 w 431"/>
                    <a:gd name="T111" fmla="*/ 0 h 255"/>
                    <a:gd name="T112" fmla="*/ 221 w 431"/>
                    <a:gd name="T113" fmla="*/ 48 h 255"/>
                    <a:gd name="T114" fmla="*/ 123 w 431"/>
                    <a:gd name="T115" fmla="*/ 80 h 255"/>
                    <a:gd name="T116" fmla="*/ 91 w 431"/>
                    <a:gd name="T117" fmla="*/ 90 h 255"/>
                    <a:gd name="T118" fmla="*/ 91 w 431"/>
                    <a:gd name="T119" fmla="*/ 9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1" h="255">
                      <a:moveTo>
                        <a:pt x="357" y="253"/>
                      </a:moveTo>
                      <a:lnTo>
                        <a:pt x="355" y="251"/>
                      </a:lnTo>
                      <a:lnTo>
                        <a:pt x="355" y="255"/>
                      </a:lnTo>
                      <a:lnTo>
                        <a:pt x="357" y="253"/>
                      </a:lnTo>
                      <a:lnTo>
                        <a:pt x="357" y="253"/>
                      </a:lnTo>
                      <a:close/>
                      <a:moveTo>
                        <a:pt x="335" y="232"/>
                      </a:moveTo>
                      <a:lnTo>
                        <a:pt x="339" y="230"/>
                      </a:lnTo>
                      <a:lnTo>
                        <a:pt x="339" y="226"/>
                      </a:lnTo>
                      <a:lnTo>
                        <a:pt x="335" y="232"/>
                      </a:lnTo>
                      <a:lnTo>
                        <a:pt x="335" y="232"/>
                      </a:lnTo>
                      <a:close/>
                      <a:moveTo>
                        <a:pt x="431" y="170"/>
                      </a:moveTo>
                      <a:lnTo>
                        <a:pt x="429" y="160"/>
                      </a:lnTo>
                      <a:lnTo>
                        <a:pt x="429" y="154"/>
                      </a:lnTo>
                      <a:lnTo>
                        <a:pt x="431" y="170"/>
                      </a:lnTo>
                      <a:close/>
                      <a:moveTo>
                        <a:pt x="91" y="90"/>
                      </a:moveTo>
                      <a:lnTo>
                        <a:pt x="85" y="94"/>
                      </a:lnTo>
                      <a:lnTo>
                        <a:pt x="40" y="106"/>
                      </a:lnTo>
                      <a:lnTo>
                        <a:pt x="24" y="112"/>
                      </a:lnTo>
                      <a:lnTo>
                        <a:pt x="8" y="118"/>
                      </a:lnTo>
                      <a:lnTo>
                        <a:pt x="0" y="120"/>
                      </a:lnTo>
                      <a:lnTo>
                        <a:pt x="0" y="122"/>
                      </a:lnTo>
                      <a:lnTo>
                        <a:pt x="4" y="162"/>
                      </a:lnTo>
                      <a:lnTo>
                        <a:pt x="6" y="200"/>
                      </a:lnTo>
                      <a:lnTo>
                        <a:pt x="8" y="234"/>
                      </a:lnTo>
                      <a:lnTo>
                        <a:pt x="12" y="236"/>
                      </a:lnTo>
                      <a:lnTo>
                        <a:pt x="26" y="232"/>
                      </a:lnTo>
                      <a:lnTo>
                        <a:pt x="89" y="214"/>
                      </a:lnTo>
                      <a:lnTo>
                        <a:pt x="91" y="218"/>
                      </a:lnTo>
                      <a:lnTo>
                        <a:pt x="203" y="174"/>
                      </a:lnTo>
                      <a:lnTo>
                        <a:pt x="203" y="176"/>
                      </a:lnTo>
                      <a:lnTo>
                        <a:pt x="213" y="172"/>
                      </a:lnTo>
                      <a:lnTo>
                        <a:pt x="249" y="158"/>
                      </a:lnTo>
                      <a:lnTo>
                        <a:pt x="283" y="200"/>
                      </a:lnTo>
                      <a:lnTo>
                        <a:pt x="283" y="200"/>
                      </a:lnTo>
                      <a:lnTo>
                        <a:pt x="289" y="196"/>
                      </a:lnTo>
                      <a:lnTo>
                        <a:pt x="291" y="184"/>
                      </a:lnTo>
                      <a:lnTo>
                        <a:pt x="289" y="202"/>
                      </a:lnTo>
                      <a:lnTo>
                        <a:pt x="289" y="202"/>
                      </a:lnTo>
                      <a:lnTo>
                        <a:pt x="297" y="202"/>
                      </a:lnTo>
                      <a:lnTo>
                        <a:pt x="301" y="212"/>
                      </a:lnTo>
                      <a:lnTo>
                        <a:pt x="307" y="226"/>
                      </a:lnTo>
                      <a:lnTo>
                        <a:pt x="307" y="226"/>
                      </a:lnTo>
                      <a:lnTo>
                        <a:pt x="343" y="180"/>
                      </a:lnTo>
                      <a:lnTo>
                        <a:pt x="373" y="192"/>
                      </a:lnTo>
                      <a:lnTo>
                        <a:pt x="381" y="176"/>
                      </a:lnTo>
                      <a:lnTo>
                        <a:pt x="431" y="150"/>
                      </a:lnTo>
                      <a:lnTo>
                        <a:pt x="409" y="108"/>
                      </a:lnTo>
                      <a:lnTo>
                        <a:pt x="415" y="134"/>
                      </a:lnTo>
                      <a:lnTo>
                        <a:pt x="389" y="154"/>
                      </a:lnTo>
                      <a:lnTo>
                        <a:pt x="361" y="156"/>
                      </a:lnTo>
                      <a:lnTo>
                        <a:pt x="303" y="94"/>
                      </a:lnTo>
                      <a:lnTo>
                        <a:pt x="277" y="56"/>
                      </a:lnTo>
                      <a:lnTo>
                        <a:pt x="303" y="28"/>
                      </a:lnTo>
                      <a:lnTo>
                        <a:pt x="277" y="28"/>
                      </a:lnTo>
                      <a:lnTo>
                        <a:pt x="265" y="2"/>
                      </a:lnTo>
                      <a:lnTo>
                        <a:pt x="265" y="0"/>
                      </a:lnTo>
                      <a:lnTo>
                        <a:pt x="221" y="48"/>
                      </a:lnTo>
                      <a:lnTo>
                        <a:pt x="123" y="80"/>
                      </a:lnTo>
                      <a:lnTo>
                        <a:pt x="91" y="90"/>
                      </a:lnTo>
                      <a:lnTo>
                        <a:pt x="91" y="9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83" name="Minnesota" descr="{&quot;Key&quot;:&quot;minnesota&quot;,&quot;Name&quot;:&quot;Minnesota&quot;,&quot;Value&quot;:1.0,&quot;Formula&quot;:&quot;&quot;,&quot;Text&quot;:&quot;&quot;,&quot;OfficeApplication&quot;:1,&quot;HasValue&quot;:true}">
                  <a:extLst>
                    <a:ext uri="{FF2B5EF4-FFF2-40B4-BE49-F238E27FC236}">
                      <a16:creationId xmlns:a16="http://schemas.microsoft.com/office/drawing/2014/main" id="{D06F3FE8-BF63-4C7A-9419-B48AC2C6CE32}"/>
                    </a:ext>
                  </a:extLst>
                </p:cNvPr>
                <p:cNvSpPr>
                  <a:spLocks/>
                </p:cNvSpPr>
                <p:nvPr/>
              </p:nvSpPr>
              <p:spPr bwMode="auto">
                <a:xfrm>
                  <a:off x="6259512" y="1216026"/>
                  <a:ext cx="1322387" cy="1528762"/>
                </a:xfrm>
                <a:custGeom>
                  <a:avLst/>
                  <a:gdLst>
                    <a:gd name="T0" fmla="*/ 0 w 833"/>
                    <a:gd name="T1" fmla="*/ 72 h 963"/>
                    <a:gd name="T2" fmla="*/ 16 w 833"/>
                    <a:gd name="T3" fmla="*/ 128 h 963"/>
                    <a:gd name="T4" fmla="*/ 48 w 833"/>
                    <a:gd name="T5" fmla="*/ 326 h 963"/>
                    <a:gd name="T6" fmla="*/ 64 w 833"/>
                    <a:gd name="T7" fmla="*/ 406 h 963"/>
                    <a:gd name="T8" fmla="*/ 68 w 833"/>
                    <a:gd name="T9" fmla="*/ 476 h 963"/>
                    <a:gd name="T10" fmla="*/ 86 w 833"/>
                    <a:gd name="T11" fmla="*/ 518 h 963"/>
                    <a:gd name="T12" fmla="*/ 90 w 833"/>
                    <a:gd name="T13" fmla="*/ 554 h 963"/>
                    <a:gd name="T14" fmla="*/ 94 w 833"/>
                    <a:gd name="T15" fmla="*/ 566 h 963"/>
                    <a:gd name="T16" fmla="*/ 92 w 833"/>
                    <a:gd name="T17" fmla="*/ 568 h 963"/>
                    <a:gd name="T18" fmla="*/ 62 w 833"/>
                    <a:gd name="T19" fmla="*/ 618 h 963"/>
                    <a:gd name="T20" fmla="*/ 82 w 833"/>
                    <a:gd name="T21" fmla="*/ 652 h 963"/>
                    <a:gd name="T22" fmla="*/ 120 w 833"/>
                    <a:gd name="T23" fmla="*/ 927 h 963"/>
                    <a:gd name="T24" fmla="*/ 122 w 833"/>
                    <a:gd name="T25" fmla="*/ 963 h 963"/>
                    <a:gd name="T26" fmla="*/ 162 w 833"/>
                    <a:gd name="T27" fmla="*/ 961 h 963"/>
                    <a:gd name="T28" fmla="*/ 315 w 833"/>
                    <a:gd name="T29" fmla="*/ 953 h 963"/>
                    <a:gd name="T30" fmla="*/ 697 w 833"/>
                    <a:gd name="T31" fmla="*/ 921 h 963"/>
                    <a:gd name="T32" fmla="*/ 735 w 833"/>
                    <a:gd name="T33" fmla="*/ 917 h 963"/>
                    <a:gd name="T34" fmla="*/ 735 w 833"/>
                    <a:gd name="T35" fmla="*/ 913 h 963"/>
                    <a:gd name="T36" fmla="*/ 725 w 833"/>
                    <a:gd name="T37" fmla="*/ 853 h 963"/>
                    <a:gd name="T38" fmla="*/ 677 w 833"/>
                    <a:gd name="T39" fmla="*/ 829 h 963"/>
                    <a:gd name="T40" fmla="*/ 639 w 833"/>
                    <a:gd name="T41" fmla="*/ 789 h 963"/>
                    <a:gd name="T42" fmla="*/ 581 w 833"/>
                    <a:gd name="T43" fmla="*/ 753 h 963"/>
                    <a:gd name="T44" fmla="*/ 563 w 833"/>
                    <a:gd name="T45" fmla="*/ 753 h 963"/>
                    <a:gd name="T46" fmla="*/ 533 w 833"/>
                    <a:gd name="T47" fmla="*/ 731 h 963"/>
                    <a:gd name="T48" fmla="*/ 541 w 833"/>
                    <a:gd name="T49" fmla="*/ 622 h 963"/>
                    <a:gd name="T50" fmla="*/ 513 w 833"/>
                    <a:gd name="T51" fmla="*/ 598 h 963"/>
                    <a:gd name="T52" fmla="*/ 523 w 833"/>
                    <a:gd name="T53" fmla="*/ 554 h 963"/>
                    <a:gd name="T54" fmla="*/ 573 w 833"/>
                    <a:gd name="T55" fmla="*/ 510 h 963"/>
                    <a:gd name="T56" fmla="*/ 565 w 833"/>
                    <a:gd name="T57" fmla="*/ 416 h 963"/>
                    <a:gd name="T58" fmla="*/ 583 w 833"/>
                    <a:gd name="T59" fmla="*/ 396 h 963"/>
                    <a:gd name="T60" fmla="*/ 583 w 833"/>
                    <a:gd name="T61" fmla="*/ 396 h 963"/>
                    <a:gd name="T62" fmla="*/ 643 w 833"/>
                    <a:gd name="T63" fmla="*/ 332 h 963"/>
                    <a:gd name="T64" fmla="*/ 711 w 833"/>
                    <a:gd name="T65" fmla="*/ 244 h 963"/>
                    <a:gd name="T66" fmla="*/ 739 w 833"/>
                    <a:gd name="T67" fmla="*/ 224 h 963"/>
                    <a:gd name="T68" fmla="*/ 785 w 833"/>
                    <a:gd name="T69" fmla="*/ 202 h 963"/>
                    <a:gd name="T70" fmla="*/ 833 w 833"/>
                    <a:gd name="T71" fmla="*/ 166 h 963"/>
                    <a:gd name="T72" fmla="*/ 801 w 833"/>
                    <a:gd name="T73" fmla="*/ 172 h 963"/>
                    <a:gd name="T74" fmla="*/ 781 w 833"/>
                    <a:gd name="T75" fmla="*/ 158 h 963"/>
                    <a:gd name="T76" fmla="*/ 707 w 833"/>
                    <a:gd name="T77" fmla="*/ 168 h 963"/>
                    <a:gd name="T78" fmla="*/ 695 w 833"/>
                    <a:gd name="T79" fmla="*/ 154 h 963"/>
                    <a:gd name="T80" fmla="*/ 629 w 833"/>
                    <a:gd name="T81" fmla="*/ 180 h 963"/>
                    <a:gd name="T82" fmla="*/ 575 w 833"/>
                    <a:gd name="T83" fmla="*/ 158 h 963"/>
                    <a:gd name="T84" fmla="*/ 561 w 833"/>
                    <a:gd name="T85" fmla="*/ 140 h 963"/>
                    <a:gd name="T86" fmla="*/ 517 w 833"/>
                    <a:gd name="T87" fmla="*/ 144 h 963"/>
                    <a:gd name="T88" fmla="*/ 489 w 833"/>
                    <a:gd name="T89" fmla="*/ 128 h 963"/>
                    <a:gd name="T90" fmla="*/ 499 w 833"/>
                    <a:gd name="T91" fmla="*/ 118 h 963"/>
                    <a:gd name="T92" fmla="*/ 461 w 833"/>
                    <a:gd name="T93" fmla="*/ 106 h 963"/>
                    <a:gd name="T94" fmla="*/ 429 w 833"/>
                    <a:gd name="T95" fmla="*/ 106 h 963"/>
                    <a:gd name="T96" fmla="*/ 377 w 833"/>
                    <a:gd name="T97" fmla="*/ 128 h 963"/>
                    <a:gd name="T98" fmla="*/ 367 w 833"/>
                    <a:gd name="T99" fmla="*/ 114 h 963"/>
                    <a:gd name="T100" fmla="*/ 284 w 833"/>
                    <a:gd name="T101" fmla="*/ 102 h 963"/>
                    <a:gd name="T102" fmla="*/ 256 w 833"/>
                    <a:gd name="T103" fmla="*/ 32 h 963"/>
                    <a:gd name="T104" fmla="*/ 252 w 833"/>
                    <a:gd name="T105" fmla="*/ 10 h 963"/>
                    <a:gd name="T106" fmla="*/ 218 w 833"/>
                    <a:gd name="T107" fmla="*/ 0 h 963"/>
                    <a:gd name="T108" fmla="*/ 220 w 833"/>
                    <a:gd name="T109" fmla="*/ 60 h 963"/>
                    <a:gd name="T110" fmla="*/ 126 w 833"/>
                    <a:gd name="T111" fmla="*/ 68 h 963"/>
                    <a:gd name="T112" fmla="*/ 8 w 833"/>
                    <a:gd name="T113" fmla="*/ 72 h 963"/>
                    <a:gd name="T114" fmla="*/ 0 w 833"/>
                    <a:gd name="T115" fmla="*/ 72 h 963"/>
                    <a:gd name="T116" fmla="*/ 0 w 833"/>
                    <a:gd name="T117" fmla="*/ 72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3" h="963">
                      <a:moveTo>
                        <a:pt x="0" y="72"/>
                      </a:moveTo>
                      <a:lnTo>
                        <a:pt x="16" y="128"/>
                      </a:lnTo>
                      <a:lnTo>
                        <a:pt x="48" y="326"/>
                      </a:lnTo>
                      <a:lnTo>
                        <a:pt x="64" y="406"/>
                      </a:lnTo>
                      <a:lnTo>
                        <a:pt x="68" y="476"/>
                      </a:lnTo>
                      <a:lnTo>
                        <a:pt x="86" y="518"/>
                      </a:lnTo>
                      <a:lnTo>
                        <a:pt x="90" y="554"/>
                      </a:lnTo>
                      <a:lnTo>
                        <a:pt x="94" y="566"/>
                      </a:lnTo>
                      <a:lnTo>
                        <a:pt x="92" y="568"/>
                      </a:lnTo>
                      <a:lnTo>
                        <a:pt x="62" y="618"/>
                      </a:lnTo>
                      <a:lnTo>
                        <a:pt x="82" y="652"/>
                      </a:lnTo>
                      <a:lnTo>
                        <a:pt x="120" y="927"/>
                      </a:lnTo>
                      <a:lnTo>
                        <a:pt x="122" y="963"/>
                      </a:lnTo>
                      <a:lnTo>
                        <a:pt x="162" y="961"/>
                      </a:lnTo>
                      <a:lnTo>
                        <a:pt x="315" y="953"/>
                      </a:lnTo>
                      <a:lnTo>
                        <a:pt x="697" y="921"/>
                      </a:lnTo>
                      <a:lnTo>
                        <a:pt x="735" y="917"/>
                      </a:lnTo>
                      <a:lnTo>
                        <a:pt x="735" y="913"/>
                      </a:lnTo>
                      <a:lnTo>
                        <a:pt x="725" y="853"/>
                      </a:lnTo>
                      <a:lnTo>
                        <a:pt x="677" y="829"/>
                      </a:lnTo>
                      <a:lnTo>
                        <a:pt x="639" y="789"/>
                      </a:lnTo>
                      <a:lnTo>
                        <a:pt x="581" y="753"/>
                      </a:lnTo>
                      <a:lnTo>
                        <a:pt x="563" y="753"/>
                      </a:lnTo>
                      <a:lnTo>
                        <a:pt x="533" y="731"/>
                      </a:lnTo>
                      <a:lnTo>
                        <a:pt x="541" y="622"/>
                      </a:lnTo>
                      <a:lnTo>
                        <a:pt x="513" y="598"/>
                      </a:lnTo>
                      <a:lnTo>
                        <a:pt x="523" y="554"/>
                      </a:lnTo>
                      <a:lnTo>
                        <a:pt x="573" y="510"/>
                      </a:lnTo>
                      <a:lnTo>
                        <a:pt x="565" y="416"/>
                      </a:lnTo>
                      <a:lnTo>
                        <a:pt x="583" y="396"/>
                      </a:lnTo>
                      <a:lnTo>
                        <a:pt x="583" y="396"/>
                      </a:lnTo>
                      <a:lnTo>
                        <a:pt x="643" y="332"/>
                      </a:lnTo>
                      <a:lnTo>
                        <a:pt x="711" y="244"/>
                      </a:lnTo>
                      <a:lnTo>
                        <a:pt x="739" y="224"/>
                      </a:lnTo>
                      <a:lnTo>
                        <a:pt x="785" y="202"/>
                      </a:lnTo>
                      <a:lnTo>
                        <a:pt x="833" y="166"/>
                      </a:lnTo>
                      <a:lnTo>
                        <a:pt x="801" y="172"/>
                      </a:lnTo>
                      <a:lnTo>
                        <a:pt x="781" y="158"/>
                      </a:lnTo>
                      <a:lnTo>
                        <a:pt x="707" y="168"/>
                      </a:lnTo>
                      <a:lnTo>
                        <a:pt x="695" y="154"/>
                      </a:lnTo>
                      <a:lnTo>
                        <a:pt x="629" y="180"/>
                      </a:lnTo>
                      <a:lnTo>
                        <a:pt x="575" y="158"/>
                      </a:lnTo>
                      <a:lnTo>
                        <a:pt x="561" y="140"/>
                      </a:lnTo>
                      <a:lnTo>
                        <a:pt x="517" y="144"/>
                      </a:lnTo>
                      <a:lnTo>
                        <a:pt x="489" y="128"/>
                      </a:lnTo>
                      <a:lnTo>
                        <a:pt x="499" y="118"/>
                      </a:lnTo>
                      <a:lnTo>
                        <a:pt x="461" y="106"/>
                      </a:lnTo>
                      <a:lnTo>
                        <a:pt x="429" y="106"/>
                      </a:lnTo>
                      <a:lnTo>
                        <a:pt x="377" y="128"/>
                      </a:lnTo>
                      <a:lnTo>
                        <a:pt x="367" y="114"/>
                      </a:lnTo>
                      <a:lnTo>
                        <a:pt x="284" y="102"/>
                      </a:lnTo>
                      <a:lnTo>
                        <a:pt x="256" y="32"/>
                      </a:lnTo>
                      <a:lnTo>
                        <a:pt x="252" y="10"/>
                      </a:lnTo>
                      <a:lnTo>
                        <a:pt x="218" y="0"/>
                      </a:lnTo>
                      <a:lnTo>
                        <a:pt x="220" y="60"/>
                      </a:lnTo>
                      <a:lnTo>
                        <a:pt x="126" y="68"/>
                      </a:lnTo>
                      <a:lnTo>
                        <a:pt x="8" y="72"/>
                      </a:lnTo>
                      <a:lnTo>
                        <a:pt x="0" y="72"/>
                      </a:lnTo>
                      <a:lnTo>
                        <a:pt x="0" y="7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84" name="Montana" descr="{&quot;Key&quot;:&quot;montana&quot;,&quot;Name&quot;:&quot;Montana&quot;,&quot;Value&quot;:1.0,&quot;Formula&quot;:&quot;&quot;,&quot;Text&quot;:&quot;&quot;,&quot;OfficeApplication&quot;:1,&quot;HasValue&quot;:true}">
                  <a:extLst>
                    <a:ext uri="{FF2B5EF4-FFF2-40B4-BE49-F238E27FC236}">
                      <a16:creationId xmlns:a16="http://schemas.microsoft.com/office/drawing/2014/main" id="{D770FE5E-3D19-4790-9B5D-1ACD4D437CAB}"/>
                    </a:ext>
                  </a:extLst>
                </p:cNvPr>
                <p:cNvSpPr>
                  <a:spLocks/>
                </p:cNvSpPr>
                <p:nvPr/>
              </p:nvSpPr>
              <p:spPr bwMode="auto">
                <a:xfrm>
                  <a:off x="3038475" y="1065214"/>
                  <a:ext cx="2065338" cy="1298574"/>
                </a:xfrm>
                <a:custGeom>
                  <a:avLst/>
                  <a:gdLst>
                    <a:gd name="T0" fmla="*/ 1287 w 1301"/>
                    <a:gd name="T1" fmla="*/ 161 h 818"/>
                    <a:gd name="T2" fmla="*/ 1028 w 1301"/>
                    <a:gd name="T3" fmla="*/ 143 h 818"/>
                    <a:gd name="T4" fmla="*/ 842 w 1301"/>
                    <a:gd name="T5" fmla="*/ 125 h 818"/>
                    <a:gd name="T6" fmla="*/ 654 w 1301"/>
                    <a:gd name="T7" fmla="*/ 105 h 818"/>
                    <a:gd name="T8" fmla="*/ 540 w 1301"/>
                    <a:gd name="T9" fmla="*/ 89 h 818"/>
                    <a:gd name="T10" fmla="*/ 354 w 1301"/>
                    <a:gd name="T11" fmla="*/ 58 h 818"/>
                    <a:gd name="T12" fmla="*/ 262 w 1301"/>
                    <a:gd name="T13" fmla="*/ 44 h 818"/>
                    <a:gd name="T14" fmla="*/ 56 w 1301"/>
                    <a:gd name="T15" fmla="*/ 4 h 818"/>
                    <a:gd name="T16" fmla="*/ 34 w 1301"/>
                    <a:gd name="T17" fmla="*/ 0 h 818"/>
                    <a:gd name="T18" fmla="*/ 0 w 1301"/>
                    <a:gd name="T19" fmla="*/ 159 h 818"/>
                    <a:gd name="T20" fmla="*/ 14 w 1301"/>
                    <a:gd name="T21" fmla="*/ 187 h 818"/>
                    <a:gd name="T22" fmla="*/ 26 w 1301"/>
                    <a:gd name="T23" fmla="*/ 231 h 818"/>
                    <a:gd name="T24" fmla="*/ 20 w 1301"/>
                    <a:gd name="T25" fmla="*/ 237 h 818"/>
                    <a:gd name="T26" fmla="*/ 34 w 1301"/>
                    <a:gd name="T27" fmla="*/ 279 h 818"/>
                    <a:gd name="T28" fmla="*/ 54 w 1301"/>
                    <a:gd name="T29" fmla="*/ 295 h 818"/>
                    <a:gd name="T30" fmla="*/ 112 w 1301"/>
                    <a:gd name="T31" fmla="*/ 391 h 818"/>
                    <a:gd name="T32" fmla="*/ 118 w 1301"/>
                    <a:gd name="T33" fmla="*/ 407 h 818"/>
                    <a:gd name="T34" fmla="*/ 140 w 1301"/>
                    <a:gd name="T35" fmla="*/ 407 h 818"/>
                    <a:gd name="T36" fmla="*/ 114 w 1301"/>
                    <a:gd name="T37" fmla="*/ 533 h 818"/>
                    <a:gd name="T38" fmla="*/ 102 w 1301"/>
                    <a:gd name="T39" fmla="*/ 537 h 818"/>
                    <a:gd name="T40" fmla="*/ 88 w 1301"/>
                    <a:gd name="T41" fmla="*/ 579 h 818"/>
                    <a:gd name="T42" fmla="*/ 164 w 1301"/>
                    <a:gd name="T43" fmla="*/ 585 h 818"/>
                    <a:gd name="T44" fmla="*/ 170 w 1301"/>
                    <a:gd name="T45" fmla="*/ 621 h 818"/>
                    <a:gd name="T46" fmla="*/ 214 w 1301"/>
                    <a:gd name="T47" fmla="*/ 727 h 818"/>
                    <a:gd name="T48" fmla="*/ 222 w 1301"/>
                    <a:gd name="T49" fmla="*/ 733 h 818"/>
                    <a:gd name="T50" fmla="*/ 252 w 1301"/>
                    <a:gd name="T51" fmla="*/ 796 h 818"/>
                    <a:gd name="T52" fmla="*/ 260 w 1301"/>
                    <a:gd name="T53" fmla="*/ 789 h 818"/>
                    <a:gd name="T54" fmla="*/ 324 w 1301"/>
                    <a:gd name="T55" fmla="*/ 789 h 818"/>
                    <a:gd name="T56" fmla="*/ 406 w 1301"/>
                    <a:gd name="T57" fmla="*/ 798 h 818"/>
                    <a:gd name="T58" fmla="*/ 426 w 1301"/>
                    <a:gd name="T59" fmla="*/ 771 h 818"/>
                    <a:gd name="T60" fmla="*/ 450 w 1301"/>
                    <a:gd name="T61" fmla="*/ 814 h 818"/>
                    <a:gd name="T62" fmla="*/ 456 w 1301"/>
                    <a:gd name="T63" fmla="*/ 818 h 818"/>
                    <a:gd name="T64" fmla="*/ 456 w 1301"/>
                    <a:gd name="T65" fmla="*/ 812 h 818"/>
                    <a:gd name="T66" fmla="*/ 466 w 1301"/>
                    <a:gd name="T67" fmla="*/ 735 h 818"/>
                    <a:gd name="T68" fmla="*/ 732 w 1301"/>
                    <a:gd name="T69" fmla="*/ 769 h 818"/>
                    <a:gd name="T70" fmla="*/ 944 w 1301"/>
                    <a:gd name="T71" fmla="*/ 789 h 818"/>
                    <a:gd name="T72" fmla="*/ 1057 w 1301"/>
                    <a:gd name="T73" fmla="*/ 798 h 818"/>
                    <a:gd name="T74" fmla="*/ 1257 w 1301"/>
                    <a:gd name="T75" fmla="*/ 810 h 818"/>
                    <a:gd name="T76" fmla="*/ 1267 w 1301"/>
                    <a:gd name="T77" fmla="*/ 810 h 818"/>
                    <a:gd name="T78" fmla="*/ 1269 w 1301"/>
                    <a:gd name="T79" fmla="*/ 810 h 818"/>
                    <a:gd name="T80" fmla="*/ 1269 w 1301"/>
                    <a:gd name="T81" fmla="*/ 800 h 818"/>
                    <a:gd name="T82" fmla="*/ 1273 w 1301"/>
                    <a:gd name="T83" fmla="*/ 745 h 818"/>
                    <a:gd name="T84" fmla="*/ 1275 w 1301"/>
                    <a:gd name="T85" fmla="*/ 675 h 818"/>
                    <a:gd name="T86" fmla="*/ 1277 w 1301"/>
                    <a:gd name="T87" fmla="*/ 657 h 818"/>
                    <a:gd name="T88" fmla="*/ 1277 w 1301"/>
                    <a:gd name="T89" fmla="*/ 625 h 818"/>
                    <a:gd name="T90" fmla="*/ 1291 w 1301"/>
                    <a:gd name="T91" fmla="*/ 383 h 818"/>
                    <a:gd name="T92" fmla="*/ 1301 w 1301"/>
                    <a:gd name="T93" fmla="*/ 193 h 818"/>
                    <a:gd name="T94" fmla="*/ 1301 w 1301"/>
                    <a:gd name="T95" fmla="*/ 161 h 818"/>
                    <a:gd name="T96" fmla="*/ 1287 w 1301"/>
                    <a:gd name="T97" fmla="*/ 161 h 818"/>
                    <a:gd name="T98" fmla="*/ 1287 w 1301"/>
                    <a:gd name="T99" fmla="*/ 161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01" h="818">
                      <a:moveTo>
                        <a:pt x="1287" y="161"/>
                      </a:moveTo>
                      <a:lnTo>
                        <a:pt x="1028" y="143"/>
                      </a:lnTo>
                      <a:lnTo>
                        <a:pt x="842" y="125"/>
                      </a:lnTo>
                      <a:lnTo>
                        <a:pt x="654" y="105"/>
                      </a:lnTo>
                      <a:lnTo>
                        <a:pt x="540" y="89"/>
                      </a:lnTo>
                      <a:lnTo>
                        <a:pt x="354" y="58"/>
                      </a:lnTo>
                      <a:lnTo>
                        <a:pt x="262" y="44"/>
                      </a:lnTo>
                      <a:lnTo>
                        <a:pt x="56" y="4"/>
                      </a:lnTo>
                      <a:lnTo>
                        <a:pt x="34" y="0"/>
                      </a:lnTo>
                      <a:lnTo>
                        <a:pt x="0" y="159"/>
                      </a:lnTo>
                      <a:lnTo>
                        <a:pt x="14" y="187"/>
                      </a:lnTo>
                      <a:lnTo>
                        <a:pt x="26" y="231"/>
                      </a:lnTo>
                      <a:lnTo>
                        <a:pt x="20" y="237"/>
                      </a:lnTo>
                      <a:lnTo>
                        <a:pt x="34" y="279"/>
                      </a:lnTo>
                      <a:lnTo>
                        <a:pt x="54" y="295"/>
                      </a:lnTo>
                      <a:lnTo>
                        <a:pt x="112" y="391"/>
                      </a:lnTo>
                      <a:lnTo>
                        <a:pt x="118" y="407"/>
                      </a:lnTo>
                      <a:lnTo>
                        <a:pt x="140" y="407"/>
                      </a:lnTo>
                      <a:lnTo>
                        <a:pt x="114" y="533"/>
                      </a:lnTo>
                      <a:lnTo>
                        <a:pt x="102" y="537"/>
                      </a:lnTo>
                      <a:lnTo>
                        <a:pt x="88" y="579"/>
                      </a:lnTo>
                      <a:lnTo>
                        <a:pt x="164" y="585"/>
                      </a:lnTo>
                      <a:lnTo>
                        <a:pt x="170" y="621"/>
                      </a:lnTo>
                      <a:lnTo>
                        <a:pt x="214" y="727"/>
                      </a:lnTo>
                      <a:lnTo>
                        <a:pt x="222" y="733"/>
                      </a:lnTo>
                      <a:lnTo>
                        <a:pt x="252" y="796"/>
                      </a:lnTo>
                      <a:lnTo>
                        <a:pt x="260" y="789"/>
                      </a:lnTo>
                      <a:lnTo>
                        <a:pt x="324" y="789"/>
                      </a:lnTo>
                      <a:lnTo>
                        <a:pt x="406" y="798"/>
                      </a:lnTo>
                      <a:lnTo>
                        <a:pt x="426" y="771"/>
                      </a:lnTo>
                      <a:lnTo>
                        <a:pt x="450" y="814"/>
                      </a:lnTo>
                      <a:lnTo>
                        <a:pt x="456" y="818"/>
                      </a:lnTo>
                      <a:lnTo>
                        <a:pt x="456" y="812"/>
                      </a:lnTo>
                      <a:lnTo>
                        <a:pt x="466" y="735"/>
                      </a:lnTo>
                      <a:lnTo>
                        <a:pt x="732" y="769"/>
                      </a:lnTo>
                      <a:lnTo>
                        <a:pt x="944" y="789"/>
                      </a:lnTo>
                      <a:lnTo>
                        <a:pt x="1057" y="798"/>
                      </a:lnTo>
                      <a:lnTo>
                        <a:pt x="1257" y="810"/>
                      </a:lnTo>
                      <a:lnTo>
                        <a:pt x="1267" y="810"/>
                      </a:lnTo>
                      <a:lnTo>
                        <a:pt x="1269" y="810"/>
                      </a:lnTo>
                      <a:lnTo>
                        <a:pt x="1269" y="800"/>
                      </a:lnTo>
                      <a:lnTo>
                        <a:pt x="1273" y="745"/>
                      </a:lnTo>
                      <a:lnTo>
                        <a:pt x="1275" y="675"/>
                      </a:lnTo>
                      <a:lnTo>
                        <a:pt x="1277" y="657"/>
                      </a:lnTo>
                      <a:lnTo>
                        <a:pt x="1277" y="625"/>
                      </a:lnTo>
                      <a:lnTo>
                        <a:pt x="1291" y="383"/>
                      </a:lnTo>
                      <a:lnTo>
                        <a:pt x="1301" y="193"/>
                      </a:lnTo>
                      <a:lnTo>
                        <a:pt x="1301" y="161"/>
                      </a:lnTo>
                      <a:lnTo>
                        <a:pt x="1287" y="161"/>
                      </a:lnTo>
                      <a:lnTo>
                        <a:pt x="1287" y="161"/>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85" name="North Dakota" descr="{&quot;Key&quot;:&quot;north dakota&quot;,&quot;Name&quot;:&quot;North Dakota&quot;,&quot;Value&quot;:1.0,&quot;Formula&quot;:&quot;&quot;,&quot;Text&quot;:&quot;&quot;,&quot;OfficeApplication&quot;:1,&quot;HasValue&quot;:true}">
                  <a:extLst>
                    <a:ext uri="{FF2B5EF4-FFF2-40B4-BE49-F238E27FC236}">
                      <a16:creationId xmlns:a16="http://schemas.microsoft.com/office/drawing/2014/main" id="{6E41D0AC-C58C-459E-B41A-18BA74DABB54}"/>
                    </a:ext>
                  </a:extLst>
                </p:cNvPr>
                <p:cNvSpPr>
                  <a:spLocks/>
                </p:cNvSpPr>
                <p:nvPr/>
              </p:nvSpPr>
              <p:spPr bwMode="auto">
                <a:xfrm>
                  <a:off x="5065712" y="1320801"/>
                  <a:ext cx="1343025" cy="803274"/>
                </a:xfrm>
                <a:custGeom>
                  <a:avLst/>
                  <a:gdLst>
                    <a:gd name="T0" fmla="*/ 736 w 846"/>
                    <a:gd name="T1" fmla="*/ 6 h 506"/>
                    <a:gd name="T2" fmla="*/ 502 w 846"/>
                    <a:gd name="T3" fmla="*/ 12 h 506"/>
                    <a:gd name="T4" fmla="*/ 338 w 846"/>
                    <a:gd name="T5" fmla="*/ 10 h 506"/>
                    <a:gd name="T6" fmla="*/ 198 w 846"/>
                    <a:gd name="T7" fmla="*/ 8 h 506"/>
                    <a:gd name="T8" fmla="*/ 32 w 846"/>
                    <a:gd name="T9" fmla="*/ 2 h 506"/>
                    <a:gd name="T10" fmla="*/ 24 w 846"/>
                    <a:gd name="T11" fmla="*/ 0 h 506"/>
                    <a:gd name="T12" fmla="*/ 24 w 846"/>
                    <a:gd name="T13" fmla="*/ 32 h 506"/>
                    <a:gd name="T14" fmla="*/ 14 w 846"/>
                    <a:gd name="T15" fmla="*/ 222 h 506"/>
                    <a:gd name="T16" fmla="*/ 0 w 846"/>
                    <a:gd name="T17" fmla="*/ 464 h 506"/>
                    <a:gd name="T18" fmla="*/ 0 w 846"/>
                    <a:gd name="T19" fmla="*/ 496 h 506"/>
                    <a:gd name="T20" fmla="*/ 30 w 846"/>
                    <a:gd name="T21" fmla="*/ 498 h 506"/>
                    <a:gd name="T22" fmla="*/ 372 w 846"/>
                    <a:gd name="T23" fmla="*/ 506 h 506"/>
                    <a:gd name="T24" fmla="*/ 688 w 846"/>
                    <a:gd name="T25" fmla="*/ 504 h 506"/>
                    <a:gd name="T26" fmla="*/ 820 w 846"/>
                    <a:gd name="T27" fmla="*/ 500 h 506"/>
                    <a:gd name="T28" fmla="*/ 846 w 846"/>
                    <a:gd name="T29" fmla="*/ 500 h 506"/>
                    <a:gd name="T30" fmla="*/ 842 w 846"/>
                    <a:gd name="T31" fmla="*/ 488 h 506"/>
                    <a:gd name="T32" fmla="*/ 838 w 846"/>
                    <a:gd name="T33" fmla="*/ 452 h 506"/>
                    <a:gd name="T34" fmla="*/ 820 w 846"/>
                    <a:gd name="T35" fmla="*/ 410 h 506"/>
                    <a:gd name="T36" fmla="*/ 816 w 846"/>
                    <a:gd name="T37" fmla="*/ 340 h 506"/>
                    <a:gd name="T38" fmla="*/ 800 w 846"/>
                    <a:gd name="T39" fmla="*/ 260 h 506"/>
                    <a:gd name="T40" fmla="*/ 768 w 846"/>
                    <a:gd name="T41" fmla="*/ 62 h 506"/>
                    <a:gd name="T42" fmla="*/ 752 w 846"/>
                    <a:gd name="T43" fmla="*/ 6 h 506"/>
                    <a:gd name="T44" fmla="*/ 736 w 846"/>
                    <a:gd name="T45" fmla="*/ 6 h 506"/>
                    <a:gd name="T46" fmla="*/ 736 w 846"/>
                    <a:gd name="T47" fmla="*/ 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6" h="506">
                      <a:moveTo>
                        <a:pt x="736" y="6"/>
                      </a:moveTo>
                      <a:lnTo>
                        <a:pt x="502" y="12"/>
                      </a:lnTo>
                      <a:lnTo>
                        <a:pt x="338" y="10"/>
                      </a:lnTo>
                      <a:lnTo>
                        <a:pt x="198" y="8"/>
                      </a:lnTo>
                      <a:lnTo>
                        <a:pt x="32" y="2"/>
                      </a:lnTo>
                      <a:lnTo>
                        <a:pt x="24" y="0"/>
                      </a:lnTo>
                      <a:lnTo>
                        <a:pt x="24" y="32"/>
                      </a:lnTo>
                      <a:lnTo>
                        <a:pt x="14" y="222"/>
                      </a:lnTo>
                      <a:lnTo>
                        <a:pt x="0" y="464"/>
                      </a:lnTo>
                      <a:lnTo>
                        <a:pt x="0" y="496"/>
                      </a:lnTo>
                      <a:lnTo>
                        <a:pt x="30" y="498"/>
                      </a:lnTo>
                      <a:lnTo>
                        <a:pt x="372" y="506"/>
                      </a:lnTo>
                      <a:lnTo>
                        <a:pt x="688" y="504"/>
                      </a:lnTo>
                      <a:lnTo>
                        <a:pt x="820" y="500"/>
                      </a:lnTo>
                      <a:lnTo>
                        <a:pt x="846" y="500"/>
                      </a:lnTo>
                      <a:lnTo>
                        <a:pt x="842" y="488"/>
                      </a:lnTo>
                      <a:lnTo>
                        <a:pt x="838" y="452"/>
                      </a:lnTo>
                      <a:lnTo>
                        <a:pt x="820" y="410"/>
                      </a:lnTo>
                      <a:lnTo>
                        <a:pt x="816" y="340"/>
                      </a:lnTo>
                      <a:lnTo>
                        <a:pt x="800" y="260"/>
                      </a:lnTo>
                      <a:lnTo>
                        <a:pt x="768" y="62"/>
                      </a:lnTo>
                      <a:lnTo>
                        <a:pt x="752" y="6"/>
                      </a:lnTo>
                      <a:lnTo>
                        <a:pt x="736" y="6"/>
                      </a:lnTo>
                      <a:lnTo>
                        <a:pt x="736" y="6"/>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86" name="Hawaii" descr="{&quot;Key&quot;:&quot;hawaii&quot;,&quot;Name&quot;:&quot;Hawaii&quot;,&quot;Value&quot;:1.0,&quot;Formula&quot;:&quot;&quot;,&quot;Text&quot;:&quot;&quot;,&quot;OfficeApplication&quot;:1,&quot;HasValue&quot;:true}">
                  <a:extLst>
                    <a:ext uri="{FF2B5EF4-FFF2-40B4-BE49-F238E27FC236}">
                      <a16:creationId xmlns:a16="http://schemas.microsoft.com/office/drawing/2014/main" id="{3E07D266-344F-468D-800B-91B3EB3D138E}"/>
                    </a:ext>
                  </a:extLst>
                </p:cNvPr>
                <p:cNvSpPr>
                  <a:spLocks noEditPoints="1"/>
                </p:cNvSpPr>
                <p:nvPr/>
              </p:nvSpPr>
              <p:spPr bwMode="auto">
                <a:xfrm>
                  <a:off x="-698500" y="4467225"/>
                  <a:ext cx="5346699" cy="2792412"/>
                </a:xfrm>
                <a:custGeom>
                  <a:avLst/>
                  <a:gdLst>
                    <a:gd name="T0" fmla="*/ 3220 w 3368"/>
                    <a:gd name="T1" fmla="*/ 1541 h 1759"/>
                    <a:gd name="T2" fmla="*/ 3204 w 3368"/>
                    <a:gd name="T3" fmla="*/ 1591 h 1759"/>
                    <a:gd name="T4" fmla="*/ 3200 w 3368"/>
                    <a:gd name="T5" fmla="*/ 1683 h 1759"/>
                    <a:gd name="T6" fmla="*/ 3236 w 3368"/>
                    <a:gd name="T7" fmla="*/ 1759 h 1759"/>
                    <a:gd name="T8" fmla="*/ 3286 w 3368"/>
                    <a:gd name="T9" fmla="*/ 1707 h 1759"/>
                    <a:gd name="T10" fmla="*/ 3368 w 3368"/>
                    <a:gd name="T11" fmla="*/ 1661 h 1759"/>
                    <a:gd name="T12" fmla="*/ 3324 w 3368"/>
                    <a:gd name="T13" fmla="*/ 1603 h 1759"/>
                    <a:gd name="T14" fmla="*/ 3244 w 3368"/>
                    <a:gd name="T15" fmla="*/ 1559 h 1759"/>
                    <a:gd name="T16" fmla="*/ 3092 w 3368"/>
                    <a:gd name="T17" fmla="*/ 1486 h 1759"/>
                    <a:gd name="T18" fmla="*/ 3104 w 3368"/>
                    <a:gd name="T19" fmla="*/ 1497 h 1759"/>
                    <a:gd name="T20" fmla="*/ 3046 w 3368"/>
                    <a:gd name="T21" fmla="*/ 1462 h 1759"/>
                    <a:gd name="T22" fmla="*/ 3034 w 3368"/>
                    <a:gd name="T23" fmla="*/ 1430 h 1759"/>
                    <a:gd name="T24" fmla="*/ 3046 w 3368"/>
                    <a:gd name="T25" fmla="*/ 1462 h 1759"/>
                    <a:gd name="T26" fmla="*/ 3080 w 3368"/>
                    <a:gd name="T27" fmla="*/ 1420 h 1759"/>
                    <a:gd name="T28" fmla="*/ 3110 w 3368"/>
                    <a:gd name="T29" fmla="*/ 1452 h 1759"/>
                    <a:gd name="T30" fmla="*/ 3138 w 3368"/>
                    <a:gd name="T31" fmla="*/ 1486 h 1759"/>
                    <a:gd name="T32" fmla="*/ 3142 w 3368"/>
                    <a:gd name="T33" fmla="*/ 1426 h 1759"/>
                    <a:gd name="T34" fmla="*/ 3094 w 3368"/>
                    <a:gd name="T35" fmla="*/ 1414 h 1759"/>
                    <a:gd name="T36" fmla="*/ 2988 w 3368"/>
                    <a:gd name="T37" fmla="*/ 1404 h 1759"/>
                    <a:gd name="T38" fmla="*/ 3052 w 3368"/>
                    <a:gd name="T39" fmla="*/ 1410 h 1759"/>
                    <a:gd name="T40" fmla="*/ 2994 w 3368"/>
                    <a:gd name="T41" fmla="*/ 1382 h 1759"/>
                    <a:gd name="T42" fmla="*/ 2896 w 3368"/>
                    <a:gd name="T43" fmla="*/ 1322 h 1759"/>
                    <a:gd name="T44" fmla="*/ 2844 w 3368"/>
                    <a:gd name="T45" fmla="*/ 1330 h 1759"/>
                    <a:gd name="T46" fmla="*/ 2882 w 3368"/>
                    <a:gd name="T47" fmla="*/ 1354 h 1759"/>
                    <a:gd name="T48" fmla="*/ 2922 w 3368"/>
                    <a:gd name="T49" fmla="*/ 1346 h 1759"/>
                    <a:gd name="T50" fmla="*/ 2896 w 3368"/>
                    <a:gd name="T51" fmla="*/ 1322 h 1759"/>
                    <a:gd name="T52" fmla="*/ 2554 w 3368"/>
                    <a:gd name="T53" fmla="*/ 1276 h 1759"/>
                    <a:gd name="T54" fmla="*/ 2550 w 3368"/>
                    <a:gd name="T55" fmla="*/ 1286 h 1759"/>
                    <a:gd name="T56" fmla="*/ 2672 w 3368"/>
                    <a:gd name="T57" fmla="*/ 1216 h 1759"/>
                    <a:gd name="T58" fmla="*/ 2612 w 3368"/>
                    <a:gd name="T59" fmla="*/ 1252 h 1759"/>
                    <a:gd name="T60" fmla="*/ 2664 w 3368"/>
                    <a:gd name="T61" fmla="*/ 1274 h 1759"/>
                    <a:gd name="T62" fmla="*/ 2672 w 3368"/>
                    <a:gd name="T63" fmla="*/ 1216 h 1759"/>
                    <a:gd name="T64" fmla="*/ 2296 w 3368"/>
                    <a:gd name="T65" fmla="*/ 1074 h 1759"/>
                    <a:gd name="T66" fmla="*/ 2294 w 3368"/>
                    <a:gd name="T67" fmla="*/ 1072 h 1759"/>
                    <a:gd name="T68" fmla="*/ 1883 w 3368"/>
                    <a:gd name="T69" fmla="*/ 972 h 1759"/>
                    <a:gd name="T70" fmla="*/ 1885 w 3368"/>
                    <a:gd name="T71" fmla="*/ 974 h 1759"/>
                    <a:gd name="T72" fmla="*/ 1667 w 3368"/>
                    <a:gd name="T73" fmla="*/ 936 h 1759"/>
                    <a:gd name="T74" fmla="*/ 1669 w 3368"/>
                    <a:gd name="T75" fmla="*/ 936 h 1759"/>
                    <a:gd name="T76" fmla="*/ 1659 w 3368"/>
                    <a:gd name="T77" fmla="*/ 920 h 1759"/>
                    <a:gd name="T78" fmla="*/ 1659 w 3368"/>
                    <a:gd name="T79" fmla="*/ 920 h 1759"/>
                    <a:gd name="T80" fmla="*/ 1651 w 3368"/>
                    <a:gd name="T81" fmla="*/ 912 h 1759"/>
                    <a:gd name="T82" fmla="*/ 1651 w 3368"/>
                    <a:gd name="T83" fmla="*/ 914 h 1759"/>
                    <a:gd name="T84" fmla="*/ 1657 w 3368"/>
                    <a:gd name="T85" fmla="*/ 912 h 1759"/>
                    <a:gd name="T86" fmla="*/ 1657 w 3368"/>
                    <a:gd name="T87" fmla="*/ 912 h 1759"/>
                    <a:gd name="T88" fmla="*/ 1657 w 3368"/>
                    <a:gd name="T89" fmla="*/ 912 h 1759"/>
                    <a:gd name="T90" fmla="*/ 1657 w 3368"/>
                    <a:gd name="T91" fmla="*/ 912 h 1759"/>
                    <a:gd name="T92" fmla="*/ 1413 w 3368"/>
                    <a:gd name="T93" fmla="*/ 711 h 1759"/>
                    <a:gd name="T94" fmla="*/ 1413 w 3368"/>
                    <a:gd name="T95" fmla="*/ 709 h 1759"/>
                    <a:gd name="T96" fmla="*/ 1413 w 3368"/>
                    <a:gd name="T97" fmla="*/ 711 h 1759"/>
                    <a:gd name="T98" fmla="*/ 879 w 3368"/>
                    <a:gd name="T99" fmla="*/ 543 h 1759"/>
                    <a:gd name="T100" fmla="*/ 881 w 3368"/>
                    <a:gd name="T101" fmla="*/ 541 h 1759"/>
                    <a:gd name="T102" fmla="*/ 316 w 3368"/>
                    <a:gd name="T103" fmla="*/ 149 h 1759"/>
                    <a:gd name="T104" fmla="*/ 316 w 3368"/>
                    <a:gd name="T105" fmla="*/ 149 h 1759"/>
                    <a:gd name="T106" fmla="*/ 336 w 3368"/>
                    <a:gd name="T107" fmla="*/ 149 h 1759"/>
                    <a:gd name="T108" fmla="*/ 336 w 3368"/>
                    <a:gd name="T109" fmla="*/ 149 h 1759"/>
                    <a:gd name="T110" fmla="*/ 332 w 3368"/>
                    <a:gd name="T111" fmla="*/ 149 h 1759"/>
                    <a:gd name="T112" fmla="*/ 332 w 3368"/>
                    <a:gd name="T113" fmla="*/ 149 h 1759"/>
                    <a:gd name="T114" fmla="*/ 0 w 3368"/>
                    <a:gd name="T115" fmla="*/ 2 h 1759"/>
                    <a:gd name="T116" fmla="*/ 4 w 3368"/>
                    <a:gd name="T117" fmla="*/ 0 h 1759"/>
                    <a:gd name="T118" fmla="*/ 0 w 3368"/>
                    <a:gd name="T119" fmla="*/ 2 h 1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68" h="1759">
                      <a:moveTo>
                        <a:pt x="3244" y="1559"/>
                      </a:moveTo>
                      <a:lnTo>
                        <a:pt x="3220" y="1541"/>
                      </a:lnTo>
                      <a:lnTo>
                        <a:pt x="3200" y="1547"/>
                      </a:lnTo>
                      <a:lnTo>
                        <a:pt x="3204" y="1591"/>
                      </a:lnTo>
                      <a:lnTo>
                        <a:pt x="3176" y="1625"/>
                      </a:lnTo>
                      <a:lnTo>
                        <a:pt x="3200" y="1683"/>
                      </a:lnTo>
                      <a:lnTo>
                        <a:pt x="3208" y="1741"/>
                      </a:lnTo>
                      <a:lnTo>
                        <a:pt x="3236" y="1759"/>
                      </a:lnTo>
                      <a:lnTo>
                        <a:pt x="3254" y="1731"/>
                      </a:lnTo>
                      <a:lnTo>
                        <a:pt x="3286" y="1707"/>
                      </a:lnTo>
                      <a:lnTo>
                        <a:pt x="3324" y="1697"/>
                      </a:lnTo>
                      <a:lnTo>
                        <a:pt x="3368" y="1661"/>
                      </a:lnTo>
                      <a:lnTo>
                        <a:pt x="3326" y="1625"/>
                      </a:lnTo>
                      <a:lnTo>
                        <a:pt x="3324" y="1603"/>
                      </a:lnTo>
                      <a:lnTo>
                        <a:pt x="3244" y="1559"/>
                      </a:lnTo>
                      <a:lnTo>
                        <a:pt x="3244" y="1559"/>
                      </a:lnTo>
                      <a:close/>
                      <a:moveTo>
                        <a:pt x="3104" y="1497"/>
                      </a:moveTo>
                      <a:lnTo>
                        <a:pt x="3092" y="1486"/>
                      </a:lnTo>
                      <a:lnTo>
                        <a:pt x="3080" y="1501"/>
                      </a:lnTo>
                      <a:lnTo>
                        <a:pt x="3104" y="1497"/>
                      </a:lnTo>
                      <a:lnTo>
                        <a:pt x="3104" y="1497"/>
                      </a:lnTo>
                      <a:close/>
                      <a:moveTo>
                        <a:pt x="3046" y="1462"/>
                      </a:moveTo>
                      <a:lnTo>
                        <a:pt x="3048" y="1432"/>
                      </a:lnTo>
                      <a:lnTo>
                        <a:pt x="3034" y="1430"/>
                      </a:lnTo>
                      <a:lnTo>
                        <a:pt x="3046" y="1462"/>
                      </a:lnTo>
                      <a:lnTo>
                        <a:pt x="3046" y="1462"/>
                      </a:lnTo>
                      <a:close/>
                      <a:moveTo>
                        <a:pt x="3094" y="1414"/>
                      </a:moveTo>
                      <a:lnTo>
                        <a:pt x="3080" y="1420"/>
                      </a:lnTo>
                      <a:lnTo>
                        <a:pt x="3090" y="1450"/>
                      </a:lnTo>
                      <a:lnTo>
                        <a:pt x="3110" y="1452"/>
                      </a:lnTo>
                      <a:lnTo>
                        <a:pt x="3116" y="1478"/>
                      </a:lnTo>
                      <a:lnTo>
                        <a:pt x="3138" y="1486"/>
                      </a:lnTo>
                      <a:lnTo>
                        <a:pt x="3186" y="1464"/>
                      </a:lnTo>
                      <a:lnTo>
                        <a:pt x="3142" y="1426"/>
                      </a:lnTo>
                      <a:lnTo>
                        <a:pt x="3094" y="1414"/>
                      </a:lnTo>
                      <a:lnTo>
                        <a:pt x="3094" y="1414"/>
                      </a:lnTo>
                      <a:close/>
                      <a:moveTo>
                        <a:pt x="2994" y="1382"/>
                      </a:moveTo>
                      <a:lnTo>
                        <a:pt x="2988" y="1404"/>
                      </a:lnTo>
                      <a:lnTo>
                        <a:pt x="3022" y="1402"/>
                      </a:lnTo>
                      <a:lnTo>
                        <a:pt x="3052" y="1410"/>
                      </a:lnTo>
                      <a:lnTo>
                        <a:pt x="3036" y="1384"/>
                      </a:lnTo>
                      <a:lnTo>
                        <a:pt x="2994" y="1382"/>
                      </a:lnTo>
                      <a:lnTo>
                        <a:pt x="2994" y="1382"/>
                      </a:lnTo>
                      <a:close/>
                      <a:moveTo>
                        <a:pt x="2896" y="1322"/>
                      </a:moveTo>
                      <a:lnTo>
                        <a:pt x="2880" y="1304"/>
                      </a:lnTo>
                      <a:lnTo>
                        <a:pt x="2844" y="1330"/>
                      </a:lnTo>
                      <a:lnTo>
                        <a:pt x="2866" y="1370"/>
                      </a:lnTo>
                      <a:lnTo>
                        <a:pt x="2882" y="1354"/>
                      </a:lnTo>
                      <a:lnTo>
                        <a:pt x="2926" y="1364"/>
                      </a:lnTo>
                      <a:lnTo>
                        <a:pt x="2922" y="1346"/>
                      </a:lnTo>
                      <a:lnTo>
                        <a:pt x="2896" y="1322"/>
                      </a:lnTo>
                      <a:lnTo>
                        <a:pt x="2896" y="1322"/>
                      </a:lnTo>
                      <a:close/>
                      <a:moveTo>
                        <a:pt x="2550" y="1286"/>
                      </a:moveTo>
                      <a:lnTo>
                        <a:pt x="2554" y="1276"/>
                      </a:lnTo>
                      <a:lnTo>
                        <a:pt x="2566" y="1270"/>
                      </a:lnTo>
                      <a:lnTo>
                        <a:pt x="2550" y="1286"/>
                      </a:lnTo>
                      <a:lnTo>
                        <a:pt x="2550" y="1286"/>
                      </a:lnTo>
                      <a:close/>
                      <a:moveTo>
                        <a:pt x="2672" y="1216"/>
                      </a:moveTo>
                      <a:lnTo>
                        <a:pt x="2618" y="1236"/>
                      </a:lnTo>
                      <a:lnTo>
                        <a:pt x="2612" y="1252"/>
                      </a:lnTo>
                      <a:lnTo>
                        <a:pt x="2634" y="1266"/>
                      </a:lnTo>
                      <a:lnTo>
                        <a:pt x="2664" y="1274"/>
                      </a:lnTo>
                      <a:lnTo>
                        <a:pt x="2686" y="1232"/>
                      </a:lnTo>
                      <a:lnTo>
                        <a:pt x="2672" y="1216"/>
                      </a:lnTo>
                      <a:lnTo>
                        <a:pt x="2672" y="1216"/>
                      </a:lnTo>
                      <a:close/>
                      <a:moveTo>
                        <a:pt x="2296" y="1074"/>
                      </a:moveTo>
                      <a:lnTo>
                        <a:pt x="2296" y="1072"/>
                      </a:lnTo>
                      <a:lnTo>
                        <a:pt x="2294" y="1072"/>
                      </a:lnTo>
                      <a:lnTo>
                        <a:pt x="2296" y="1074"/>
                      </a:lnTo>
                      <a:close/>
                      <a:moveTo>
                        <a:pt x="1883" y="972"/>
                      </a:moveTo>
                      <a:lnTo>
                        <a:pt x="1883" y="974"/>
                      </a:lnTo>
                      <a:lnTo>
                        <a:pt x="1885" y="974"/>
                      </a:lnTo>
                      <a:lnTo>
                        <a:pt x="1883" y="972"/>
                      </a:lnTo>
                      <a:close/>
                      <a:moveTo>
                        <a:pt x="1667" y="936"/>
                      </a:moveTo>
                      <a:lnTo>
                        <a:pt x="1669" y="936"/>
                      </a:lnTo>
                      <a:lnTo>
                        <a:pt x="1669" y="936"/>
                      </a:lnTo>
                      <a:lnTo>
                        <a:pt x="1667" y="936"/>
                      </a:lnTo>
                      <a:close/>
                      <a:moveTo>
                        <a:pt x="1659" y="920"/>
                      </a:moveTo>
                      <a:lnTo>
                        <a:pt x="1659" y="920"/>
                      </a:lnTo>
                      <a:lnTo>
                        <a:pt x="1659" y="920"/>
                      </a:lnTo>
                      <a:lnTo>
                        <a:pt x="1659" y="920"/>
                      </a:lnTo>
                      <a:close/>
                      <a:moveTo>
                        <a:pt x="1651" y="912"/>
                      </a:moveTo>
                      <a:lnTo>
                        <a:pt x="1651" y="912"/>
                      </a:lnTo>
                      <a:lnTo>
                        <a:pt x="1651" y="914"/>
                      </a:lnTo>
                      <a:lnTo>
                        <a:pt x="1651" y="912"/>
                      </a:lnTo>
                      <a:close/>
                      <a:moveTo>
                        <a:pt x="1657" y="912"/>
                      </a:moveTo>
                      <a:lnTo>
                        <a:pt x="1657" y="912"/>
                      </a:lnTo>
                      <a:lnTo>
                        <a:pt x="1657" y="912"/>
                      </a:lnTo>
                      <a:lnTo>
                        <a:pt x="1657" y="912"/>
                      </a:lnTo>
                      <a:close/>
                      <a:moveTo>
                        <a:pt x="1657" y="912"/>
                      </a:moveTo>
                      <a:lnTo>
                        <a:pt x="1657" y="912"/>
                      </a:lnTo>
                      <a:lnTo>
                        <a:pt x="1657" y="912"/>
                      </a:lnTo>
                      <a:lnTo>
                        <a:pt x="1657" y="912"/>
                      </a:lnTo>
                      <a:close/>
                      <a:moveTo>
                        <a:pt x="1413" y="711"/>
                      </a:moveTo>
                      <a:lnTo>
                        <a:pt x="1413" y="709"/>
                      </a:lnTo>
                      <a:lnTo>
                        <a:pt x="1413" y="709"/>
                      </a:lnTo>
                      <a:lnTo>
                        <a:pt x="1413" y="711"/>
                      </a:lnTo>
                      <a:lnTo>
                        <a:pt x="1413" y="711"/>
                      </a:lnTo>
                      <a:close/>
                      <a:moveTo>
                        <a:pt x="881" y="541"/>
                      </a:moveTo>
                      <a:lnTo>
                        <a:pt x="879" y="543"/>
                      </a:lnTo>
                      <a:lnTo>
                        <a:pt x="881" y="543"/>
                      </a:lnTo>
                      <a:lnTo>
                        <a:pt x="881" y="541"/>
                      </a:lnTo>
                      <a:lnTo>
                        <a:pt x="881" y="541"/>
                      </a:lnTo>
                      <a:close/>
                      <a:moveTo>
                        <a:pt x="316" y="149"/>
                      </a:moveTo>
                      <a:lnTo>
                        <a:pt x="316" y="149"/>
                      </a:lnTo>
                      <a:lnTo>
                        <a:pt x="316" y="149"/>
                      </a:lnTo>
                      <a:lnTo>
                        <a:pt x="316" y="149"/>
                      </a:lnTo>
                      <a:close/>
                      <a:moveTo>
                        <a:pt x="336" y="149"/>
                      </a:moveTo>
                      <a:lnTo>
                        <a:pt x="336" y="149"/>
                      </a:lnTo>
                      <a:lnTo>
                        <a:pt x="336" y="149"/>
                      </a:lnTo>
                      <a:lnTo>
                        <a:pt x="336" y="149"/>
                      </a:lnTo>
                      <a:close/>
                      <a:moveTo>
                        <a:pt x="332" y="149"/>
                      </a:moveTo>
                      <a:lnTo>
                        <a:pt x="332" y="149"/>
                      </a:lnTo>
                      <a:lnTo>
                        <a:pt x="332" y="149"/>
                      </a:lnTo>
                      <a:lnTo>
                        <a:pt x="332" y="149"/>
                      </a:lnTo>
                      <a:close/>
                      <a:moveTo>
                        <a:pt x="0" y="2"/>
                      </a:moveTo>
                      <a:lnTo>
                        <a:pt x="4" y="2"/>
                      </a:lnTo>
                      <a:lnTo>
                        <a:pt x="4" y="0"/>
                      </a:lnTo>
                      <a:lnTo>
                        <a:pt x="0" y="2"/>
                      </a:lnTo>
                      <a:lnTo>
                        <a:pt x="0" y="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87" name="Idaho" descr="{&quot;Key&quot;:&quot;idaho&quot;,&quot;Name&quot;:&quot;Idaho&quot;,&quot;Value&quot;:1.0,&quot;Formula&quot;:&quot;&quot;,&quot;Text&quot;:&quot;&quot;,&quot;OfficeApplication&quot;:1,&quot;HasValue&quot;:true}">
                  <a:extLst>
                    <a:ext uri="{FF2B5EF4-FFF2-40B4-BE49-F238E27FC236}">
                      <a16:creationId xmlns:a16="http://schemas.microsoft.com/office/drawing/2014/main" id="{8218B314-5991-412D-80BE-532215419E3C}"/>
                    </a:ext>
                  </a:extLst>
                </p:cNvPr>
                <p:cNvSpPr>
                  <a:spLocks/>
                </p:cNvSpPr>
                <p:nvPr/>
              </p:nvSpPr>
              <p:spPr bwMode="auto">
                <a:xfrm>
                  <a:off x="2551113" y="1030288"/>
                  <a:ext cx="1211262" cy="1971674"/>
                </a:xfrm>
                <a:custGeom>
                  <a:avLst/>
                  <a:gdLst>
                    <a:gd name="T0" fmla="*/ 339 w 763"/>
                    <a:gd name="T1" fmla="*/ 22 h 1242"/>
                    <a:gd name="T2" fmla="*/ 271 w 763"/>
                    <a:gd name="T3" fmla="*/ 8 h 1242"/>
                    <a:gd name="T4" fmla="*/ 249 w 763"/>
                    <a:gd name="T5" fmla="*/ 2 h 1242"/>
                    <a:gd name="T6" fmla="*/ 239 w 763"/>
                    <a:gd name="T7" fmla="*/ 0 h 1242"/>
                    <a:gd name="T8" fmla="*/ 147 w 763"/>
                    <a:gd name="T9" fmla="*/ 405 h 1242"/>
                    <a:gd name="T10" fmla="*/ 151 w 763"/>
                    <a:gd name="T11" fmla="*/ 439 h 1242"/>
                    <a:gd name="T12" fmla="*/ 149 w 763"/>
                    <a:gd name="T13" fmla="*/ 473 h 1242"/>
                    <a:gd name="T14" fmla="*/ 151 w 763"/>
                    <a:gd name="T15" fmla="*/ 481 h 1242"/>
                    <a:gd name="T16" fmla="*/ 151 w 763"/>
                    <a:gd name="T17" fmla="*/ 483 h 1242"/>
                    <a:gd name="T18" fmla="*/ 151 w 763"/>
                    <a:gd name="T19" fmla="*/ 497 h 1242"/>
                    <a:gd name="T20" fmla="*/ 177 w 763"/>
                    <a:gd name="T21" fmla="*/ 527 h 1242"/>
                    <a:gd name="T22" fmla="*/ 139 w 763"/>
                    <a:gd name="T23" fmla="*/ 621 h 1242"/>
                    <a:gd name="T24" fmla="*/ 59 w 763"/>
                    <a:gd name="T25" fmla="*/ 727 h 1242"/>
                    <a:gd name="T26" fmla="*/ 57 w 763"/>
                    <a:gd name="T27" fmla="*/ 747 h 1242"/>
                    <a:gd name="T28" fmla="*/ 77 w 763"/>
                    <a:gd name="T29" fmla="*/ 797 h 1242"/>
                    <a:gd name="T30" fmla="*/ 2 w 763"/>
                    <a:gd name="T31" fmla="*/ 1104 h 1242"/>
                    <a:gd name="T32" fmla="*/ 0 w 763"/>
                    <a:gd name="T33" fmla="*/ 1120 h 1242"/>
                    <a:gd name="T34" fmla="*/ 22 w 763"/>
                    <a:gd name="T35" fmla="*/ 1124 h 1242"/>
                    <a:gd name="T36" fmla="*/ 241 w 763"/>
                    <a:gd name="T37" fmla="*/ 1168 h 1242"/>
                    <a:gd name="T38" fmla="*/ 329 w 763"/>
                    <a:gd name="T39" fmla="*/ 1184 h 1242"/>
                    <a:gd name="T40" fmla="*/ 353 w 763"/>
                    <a:gd name="T41" fmla="*/ 1188 h 1242"/>
                    <a:gd name="T42" fmla="*/ 373 w 763"/>
                    <a:gd name="T43" fmla="*/ 1192 h 1242"/>
                    <a:gd name="T44" fmla="*/ 485 w 763"/>
                    <a:gd name="T45" fmla="*/ 1210 h 1242"/>
                    <a:gd name="T46" fmla="*/ 687 w 763"/>
                    <a:gd name="T47" fmla="*/ 1240 h 1242"/>
                    <a:gd name="T48" fmla="*/ 709 w 763"/>
                    <a:gd name="T49" fmla="*/ 1242 h 1242"/>
                    <a:gd name="T50" fmla="*/ 711 w 763"/>
                    <a:gd name="T51" fmla="*/ 1218 h 1242"/>
                    <a:gd name="T52" fmla="*/ 719 w 763"/>
                    <a:gd name="T53" fmla="*/ 1166 h 1242"/>
                    <a:gd name="T54" fmla="*/ 745 w 763"/>
                    <a:gd name="T55" fmla="*/ 964 h 1242"/>
                    <a:gd name="T56" fmla="*/ 759 w 763"/>
                    <a:gd name="T57" fmla="*/ 864 h 1242"/>
                    <a:gd name="T58" fmla="*/ 763 w 763"/>
                    <a:gd name="T59" fmla="*/ 840 h 1242"/>
                    <a:gd name="T60" fmla="*/ 757 w 763"/>
                    <a:gd name="T61" fmla="*/ 836 h 1242"/>
                    <a:gd name="T62" fmla="*/ 733 w 763"/>
                    <a:gd name="T63" fmla="*/ 793 h 1242"/>
                    <a:gd name="T64" fmla="*/ 713 w 763"/>
                    <a:gd name="T65" fmla="*/ 820 h 1242"/>
                    <a:gd name="T66" fmla="*/ 631 w 763"/>
                    <a:gd name="T67" fmla="*/ 811 h 1242"/>
                    <a:gd name="T68" fmla="*/ 567 w 763"/>
                    <a:gd name="T69" fmla="*/ 811 h 1242"/>
                    <a:gd name="T70" fmla="*/ 559 w 763"/>
                    <a:gd name="T71" fmla="*/ 818 h 1242"/>
                    <a:gd name="T72" fmla="*/ 529 w 763"/>
                    <a:gd name="T73" fmla="*/ 755 h 1242"/>
                    <a:gd name="T74" fmla="*/ 521 w 763"/>
                    <a:gd name="T75" fmla="*/ 749 h 1242"/>
                    <a:gd name="T76" fmla="*/ 477 w 763"/>
                    <a:gd name="T77" fmla="*/ 643 h 1242"/>
                    <a:gd name="T78" fmla="*/ 471 w 763"/>
                    <a:gd name="T79" fmla="*/ 607 h 1242"/>
                    <a:gd name="T80" fmla="*/ 395 w 763"/>
                    <a:gd name="T81" fmla="*/ 601 h 1242"/>
                    <a:gd name="T82" fmla="*/ 409 w 763"/>
                    <a:gd name="T83" fmla="*/ 559 h 1242"/>
                    <a:gd name="T84" fmla="*/ 421 w 763"/>
                    <a:gd name="T85" fmla="*/ 555 h 1242"/>
                    <a:gd name="T86" fmla="*/ 447 w 763"/>
                    <a:gd name="T87" fmla="*/ 429 h 1242"/>
                    <a:gd name="T88" fmla="*/ 425 w 763"/>
                    <a:gd name="T89" fmla="*/ 429 h 1242"/>
                    <a:gd name="T90" fmla="*/ 419 w 763"/>
                    <a:gd name="T91" fmla="*/ 413 h 1242"/>
                    <a:gd name="T92" fmla="*/ 361 w 763"/>
                    <a:gd name="T93" fmla="*/ 317 h 1242"/>
                    <a:gd name="T94" fmla="*/ 341 w 763"/>
                    <a:gd name="T95" fmla="*/ 301 h 1242"/>
                    <a:gd name="T96" fmla="*/ 327 w 763"/>
                    <a:gd name="T97" fmla="*/ 259 h 1242"/>
                    <a:gd name="T98" fmla="*/ 333 w 763"/>
                    <a:gd name="T99" fmla="*/ 253 h 1242"/>
                    <a:gd name="T100" fmla="*/ 321 w 763"/>
                    <a:gd name="T101" fmla="*/ 209 h 1242"/>
                    <a:gd name="T102" fmla="*/ 307 w 763"/>
                    <a:gd name="T103" fmla="*/ 181 h 1242"/>
                    <a:gd name="T104" fmla="*/ 341 w 763"/>
                    <a:gd name="T105" fmla="*/ 22 h 1242"/>
                    <a:gd name="T106" fmla="*/ 339 w 763"/>
                    <a:gd name="T107" fmla="*/ 22 h 1242"/>
                    <a:gd name="T108" fmla="*/ 339 w 763"/>
                    <a:gd name="T109" fmla="*/ 2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3" h="1242">
                      <a:moveTo>
                        <a:pt x="339" y="22"/>
                      </a:moveTo>
                      <a:lnTo>
                        <a:pt x="271" y="8"/>
                      </a:lnTo>
                      <a:lnTo>
                        <a:pt x="249" y="2"/>
                      </a:lnTo>
                      <a:lnTo>
                        <a:pt x="239" y="0"/>
                      </a:lnTo>
                      <a:lnTo>
                        <a:pt x="147" y="405"/>
                      </a:lnTo>
                      <a:lnTo>
                        <a:pt x="151" y="439"/>
                      </a:lnTo>
                      <a:lnTo>
                        <a:pt x="149" y="473"/>
                      </a:lnTo>
                      <a:lnTo>
                        <a:pt x="151" y="481"/>
                      </a:lnTo>
                      <a:lnTo>
                        <a:pt x="151" y="483"/>
                      </a:lnTo>
                      <a:lnTo>
                        <a:pt x="151" y="497"/>
                      </a:lnTo>
                      <a:lnTo>
                        <a:pt x="177" y="527"/>
                      </a:lnTo>
                      <a:lnTo>
                        <a:pt x="139" y="621"/>
                      </a:lnTo>
                      <a:lnTo>
                        <a:pt x="59" y="727"/>
                      </a:lnTo>
                      <a:lnTo>
                        <a:pt x="57" y="747"/>
                      </a:lnTo>
                      <a:lnTo>
                        <a:pt x="77" y="797"/>
                      </a:lnTo>
                      <a:lnTo>
                        <a:pt x="2" y="1104"/>
                      </a:lnTo>
                      <a:lnTo>
                        <a:pt x="0" y="1120"/>
                      </a:lnTo>
                      <a:lnTo>
                        <a:pt x="22" y="1124"/>
                      </a:lnTo>
                      <a:lnTo>
                        <a:pt x="241" y="1168"/>
                      </a:lnTo>
                      <a:lnTo>
                        <a:pt x="329" y="1184"/>
                      </a:lnTo>
                      <a:lnTo>
                        <a:pt x="353" y="1188"/>
                      </a:lnTo>
                      <a:lnTo>
                        <a:pt x="373" y="1192"/>
                      </a:lnTo>
                      <a:lnTo>
                        <a:pt x="485" y="1210"/>
                      </a:lnTo>
                      <a:lnTo>
                        <a:pt x="687" y="1240"/>
                      </a:lnTo>
                      <a:lnTo>
                        <a:pt x="709" y="1242"/>
                      </a:lnTo>
                      <a:lnTo>
                        <a:pt x="711" y="1218"/>
                      </a:lnTo>
                      <a:lnTo>
                        <a:pt x="719" y="1166"/>
                      </a:lnTo>
                      <a:lnTo>
                        <a:pt x="745" y="964"/>
                      </a:lnTo>
                      <a:lnTo>
                        <a:pt x="759" y="864"/>
                      </a:lnTo>
                      <a:lnTo>
                        <a:pt x="763" y="840"/>
                      </a:lnTo>
                      <a:lnTo>
                        <a:pt x="757" y="836"/>
                      </a:lnTo>
                      <a:lnTo>
                        <a:pt x="733" y="793"/>
                      </a:lnTo>
                      <a:lnTo>
                        <a:pt x="713" y="820"/>
                      </a:lnTo>
                      <a:lnTo>
                        <a:pt x="631" y="811"/>
                      </a:lnTo>
                      <a:lnTo>
                        <a:pt x="567" y="811"/>
                      </a:lnTo>
                      <a:lnTo>
                        <a:pt x="559" y="818"/>
                      </a:lnTo>
                      <a:lnTo>
                        <a:pt x="529" y="755"/>
                      </a:lnTo>
                      <a:lnTo>
                        <a:pt x="521" y="749"/>
                      </a:lnTo>
                      <a:lnTo>
                        <a:pt x="477" y="643"/>
                      </a:lnTo>
                      <a:lnTo>
                        <a:pt x="471" y="607"/>
                      </a:lnTo>
                      <a:lnTo>
                        <a:pt x="395" y="601"/>
                      </a:lnTo>
                      <a:lnTo>
                        <a:pt x="409" y="559"/>
                      </a:lnTo>
                      <a:lnTo>
                        <a:pt x="421" y="555"/>
                      </a:lnTo>
                      <a:lnTo>
                        <a:pt x="447" y="429"/>
                      </a:lnTo>
                      <a:lnTo>
                        <a:pt x="425" y="429"/>
                      </a:lnTo>
                      <a:lnTo>
                        <a:pt x="419" y="413"/>
                      </a:lnTo>
                      <a:lnTo>
                        <a:pt x="361" y="317"/>
                      </a:lnTo>
                      <a:lnTo>
                        <a:pt x="341" y="301"/>
                      </a:lnTo>
                      <a:lnTo>
                        <a:pt x="327" y="259"/>
                      </a:lnTo>
                      <a:lnTo>
                        <a:pt x="333" y="253"/>
                      </a:lnTo>
                      <a:lnTo>
                        <a:pt x="321" y="209"/>
                      </a:lnTo>
                      <a:lnTo>
                        <a:pt x="307" y="181"/>
                      </a:lnTo>
                      <a:lnTo>
                        <a:pt x="341" y="22"/>
                      </a:lnTo>
                      <a:lnTo>
                        <a:pt x="339" y="22"/>
                      </a:lnTo>
                      <a:lnTo>
                        <a:pt x="339" y="2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88" name="Washington" descr="{&quot;Key&quot;:&quot;washington&quot;,&quot;Name&quot;:&quot;Washington&quot;,&quot;Value&quot;:1.0,&quot;Formula&quot;:&quot;&quot;,&quot;Text&quot;:&quot;&quot;,&quot;OfficeApplication&quot;:1,&quot;HasValue&quot;:true}">
                  <a:extLst>
                    <a:ext uri="{FF2B5EF4-FFF2-40B4-BE49-F238E27FC236}">
                      <a16:creationId xmlns:a16="http://schemas.microsoft.com/office/drawing/2014/main" id="{AFAB4470-5BC3-46D0-8720-8BA6DE77DA2C}"/>
                    </a:ext>
                  </a:extLst>
                </p:cNvPr>
                <p:cNvSpPr>
                  <a:spLocks noEditPoints="1"/>
                </p:cNvSpPr>
                <p:nvPr/>
              </p:nvSpPr>
              <p:spPr bwMode="auto">
                <a:xfrm>
                  <a:off x="1579563" y="792165"/>
                  <a:ext cx="1350963" cy="1001712"/>
                </a:xfrm>
                <a:custGeom>
                  <a:avLst/>
                  <a:gdLst>
                    <a:gd name="T0" fmla="*/ 14 w 851"/>
                    <a:gd name="T1" fmla="*/ 353 h 631"/>
                    <a:gd name="T2" fmla="*/ 180 w 851"/>
                    <a:gd name="T3" fmla="*/ 295 h 631"/>
                    <a:gd name="T4" fmla="*/ 180 w 851"/>
                    <a:gd name="T5" fmla="*/ 295 h 631"/>
                    <a:gd name="T6" fmla="*/ 170 w 851"/>
                    <a:gd name="T7" fmla="*/ 265 h 631"/>
                    <a:gd name="T8" fmla="*/ 222 w 851"/>
                    <a:gd name="T9" fmla="*/ 259 h 631"/>
                    <a:gd name="T10" fmla="*/ 222 w 851"/>
                    <a:gd name="T11" fmla="*/ 259 h 631"/>
                    <a:gd name="T12" fmla="*/ 226 w 851"/>
                    <a:gd name="T13" fmla="*/ 210 h 631"/>
                    <a:gd name="T14" fmla="*/ 224 w 851"/>
                    <a:gd name="T15" fmla="*/ 224 h 631"/>
                    <a:gd name="T16" fmla="*/ 222 w 851"/>
                    <a:gd name="T17" fmla="*/ 140 h 631"/>
                    <a:gd name="T18" fmla="*/ 252 w 851"/>
                    <a:gd name="T19" fmla="*/ 98 h 631"/>
                    <a:gd name="T20" fmla="*/ 252 w 851"/>
                    <a:gd name="T21" fmla="*/ 98 h 631"/>
                    <a:gd name="T22" fmla="*/ 236 w 851"/>
                    <a:gd name="T23" fmla="*/ 70 h 631"/>
                    <a:gd name="T24" fmla="*/ 228 w 851"/>
                    <a:gd name="T25" fmla="*/ 78 h 631"/>
                    <a:gd name="T26" fmla="*/ 228 w 851"/>
                    <a:gd name="T27" fmla="*/ 78 h 631"/>
                    <a:gd name="T28" fmla="*/ 216 w 851"/>
                    <a:gd name="T29" fmla="*/ 54 h 631"/>
                    <a:gd name="T30" fmla="*/ 224 w 851"/>
                    <a:gd name="T31" fmla="*/ 56 h 631"/>
                    <a:gd name="T32" fmla="*/ 244 w 851"/>
                    <a:gd name="T33" fmla="*/ 64 h 631"/>
                    <a:gd name="T34" fmla="*/ 252 w 851"/>
                    <a:gd name="T35" fmla="*/ 58 h 631"/>
                    <a:gd name="T36" fmla="*/ 254 w 851"/>
                    <a:gd name="T37" fmla="*/ 60 h 631"/>
                    <a:gd name="T38" fmla="*/ 204 w 851"/>
                    <a:gd name="T39" fmla="*/ 40 h 631"/>
                    <a:gd name="T40" fmla="*/ 218 w 851"/>
                    <a:gd name="T41" fmla="*/ 46 h 631"/>
                    <a:gd name="T42" fmla="*/ 222 w 851"/>
                    <a:gd name="T43" fmla="*/ 38 h 631"/>
                    <a:gd name="T44" fmla="*/ 222 w 851"/>
                    <a:gd name="T45" fmla="*/ 38 h 631"/>
                    <a:gd name="T46" fmla="*/ 234 w 851"/>
                    <a:gd name="T47" fmla="*/ 28 h 631"/>
                    <a:gd name="T48" fmla="*/ 238 w 851"/>
                    <a:gd name="T49" fmla="*/ 28 h 631"/>
                    <a:gd name="T50" fmla="*/ 110 w 851"/>
                    <a:gd name="T51" fmla="*/ 517 h 631"/>
                    <a:gd name="T52" fmla="*/ 274 w 851"/>
                    <a:gd name="T53" fmla="*/ 565 h 631"/>
                    <a:gd name="T54" fmla="*/ 388 w 851"/>
                    <a:gd name="T55" fmla="*/ 587 h 631"/>
                    <a:gd name="T56" fmla="*/ 528 w 851"/>
                    <a:gd name="T57" fmla="*/ 579 h 631"/>
                    <a:gd name="T58" fmla="*/ 761 w 851"/>
                    <a:gd name="T59" fmla="*/ 623 h 631"/>
                    <a:gd name="T60" fmla="*/ 851 w 851"/>
                    <a:gd name="T61" fmla="*/ 150 h 631"/>
                    <a:gd name="T62" fmla="*/ 496 w 851"/>
                    <a:gd name="T63" fmla="*/ 64 h 631"/>
                    <a:gd name="T64" fmla="*/ 276 w 851"/>
                    <a:gd name="T65" fmla="*/ 68 h 631"/>
                    <a:gd name="T66" fmla="*/ 264 w 851"/>
                    <a:gd name="T67" fmla="*/ 174 h 631"/>
                    <a:gd name="T68" fmla="*/ 232 w 851"/>
                    <a:gd name="T69" fmla="*/ 263 h 631"/>
                    <a:gd name="T70" fmla="*/ 148 w 851"/>
                    <a:gd name="T71" fmla="*/ 293 h 631"/>
                    <a:gd name="T72" fmla="*/ 192 w 851"/>
                    <a:gd name="T73" fmla="*/ 256 h 631"/>
                    <a:gd name="T74" fmla="*/ 214 w 851"/>
                    <a:gd name="T75" fmla="*/ 222 h 631"/>
                    <a:gd name="T76" fmla="*/ 200 w 851"/>
                    <a:gd name="T77" fmla="*/ 204 h 631"/>
                    <a:gd name="T78" fmla="*/ 224 w 851"/>
                    <a:gd name="T79" fmla="*/ 178 h 631"/>
                    <a:gd name="T80" fmla="*/ 184 w 851"/>
                    <a:gd name="T81" fmla="*/ 114 h 631"/>
                    <a:gd name="T82" fmla="*/ 36 w 851"/>
                    <a:gd name="T83" fmla="*/ 40 h 631"/>
                    <a:gd name="T84" fmla="*/ 30 w 851"/>
                    <a:gd name="T85" fmla="*/ 144 h 631"/>
                    <a:gd name="T86" fmla="*/ 50 w 851"/>
                    <a:gd name="T87" fmla="*/ 281 h 631"/>
                    <a:gd name="T88" fmla="*/ 20 w 851"/>
                    <a:gd name="T89" fmla="*/ 365 h 631"/>
                    <a:gd name="T90" fmla="*/ 18 w 851"/>
                    <a:gd name="T91" fmla="*/ 393 h 631"/>
                    <a:gd name="T92" fmla="*/ 72 w 851"/>
                    <a:gd name="T93" fmla="*/ 429 h 631"/>
                    <a:gd name="T94" fmla="*/ 86 w 851"/>
                    <a:gd name="T95" fmla="*/ 429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51" h="631">
                      <a:moveTo>
                        <a:pt x="16" y="365"/>
                      </a:moveTo>
                      <a:lnTo>
                        <a:pt x="16" y="353"/>
                      </a:lnTo>
                      <a:lnTo>
                        <a:pt x="14" y="353"/>
                      </a:lnTo>
                      <a:lnTo>
                        <a:pt x="16" y="365"/>
                      </a:lnTo>
                      <a:lnTo>
                        <a:pt x="16" y="365"/>
                      </a:lnTo>
                      <a:close/>
                      <a:moveTo>
                        <a:pt x="180" y="295"/>
                      </a:moveTo>
                      <a:lnTo>
                        <a:pt x="186" y="287"/>
                      </a:lnTo>
                      <a:lnTo>
                        <a:pt x="180" y="287"/>
                      </a:lnTo>
                      <a:lnTo>
                        <a:pt x="180" y="295"/>
                      </a:lnTo>
                      <a:lnTo>
                        <a:pt x="180" y="295"/>
                      </a:lnTo>
                      <a:close/>
                      <a:moveTo>
                        <a:pt x="166" y="281"/>
                      </a:moveTo>
                      <a:lnTo>
                        <a:pt x="170" y="265"/>
                      </a:lnTo>
                      <a:lnTo>
                        <a:pt x="166" y="263"/>
                      </a:lnTo>
                      <a:lnTo>
                        <a:pt x="166" y="281"/>
                      </a:lnTo>
                      <a:close/>
                      <a:moveTo>
                        <a:pt x="222" y="259"/>
                      </a:moveTo>
                      <a:lnTo>
                        <a:pt x="222" y="242"/>
                      </a:lnTo>
                      <a:lnTo>
                        <a:pt x="208" y="263"/>
                      </a:lnTo>
                      <a:lnTo>
                        <a:pt x="222" y="259"/>
                      </a:lnTo>
                      <a:lnTo>
                        <a:pt x="222" y="259"/>
                      </a:lnTo>
                      <a:close/>
                      <a:moveTo>
                        <a:pt x="224" y="224"/>
                      </a:moveTo>
                      <a:lnTo>
                        <a:pt x="226" y="210"/>
                      </a:lnTo>
                      <a:lnTo>
                        <a:pt x="224" y="206"/>
                      </a:lnTo>
                      <a:lnTo>
                        <a:pt x="224" y="224"/>
                      </a:lnTo>
                      <a:lnTo>
                        <a:pt x="224" y="224"/>
                      </a:lnTo>
                      <a:close/>
                      <a:moveTo>
                        <a:pt x="226" y="148"/>
                      </a:moveTo>
                      <a:lnTo>
                        <a:pt x="226" y="140"/>
                      </a:lnTo>
                      <a:lnTo>
                        <a:pt x="222" y="140"/>
                      </a:lnTo>
                      <a:lnTo>
                        <a:pt x="226" y="148"/>
                      </a:lnTo>
                      <a:lnTo>
                        <a:pt x="226" y="148"/>
                      </a:lnTo>
                      <a:close/>
                      <a:moveTo>
                        <a:pt x="252" y="98"/>
                      </a:moveTo>
                      <a:lnTo>
                        <a:pt x="244" y="96"/>
                      </a:lnTo>
                      <a:lnTo>
                        <a:pt x="230" y="118"/>
                      </a:lnTo>
                      <a:lnTo>
                        <a:pt x="252" y="98"/>
                      </a:lnTo>
                      <a:close/>
                      <a:moveTo>
                        <a:pt x="232" y="76"/>
                      </a:moveTo>
                      <a:lnTo>
                        <a:pt x="236" y="74"/>
                      </a:lnTo>
                      <a:lnTo>
                        <a:pt x="236" y="70"/>
                      </a:lnTo>
                      <a:lnTo>
                        <a:pt x="232" y="76"/>
                      </a:lnTo>
                      <a:lnTo>
                        <a:pt x="232" y="76"/>
                      </a:lnTo>
                      <a:close/>
                      <a:moveTo>
                        <a:pt x="228" y="78"/>
                      </a:moveTo>
                      <a:lnTo>
                        <a:pt x="226" y="64"/>
                      </a:lnTo>
                      <a:lnTo>
                        <a:pt x="218" y="76"/>
                      </a:lnTo>
                      <a:lnTo>
                        <a:pt x="228" y="78"/>
                      </a:lnTo>
                      <a:lnTo>
                        <a:pt x="228" y="78"/>
                      </a:lnTo>
                      <a:close/>
                      <a:moveTo>
                        <a:pt x="224" y="56"/>
                      </a:moveTo>
                      <a:lnTo>
                        <a:pt x="216" y="54"/>
                      </a:lnTo>
                      <a:lnTo>
                        <a:pt x="222" y="62"/>
                      </a:lnTo>
                      <a:lnTo>
                        <a:pt x="224" y="56"/>
                      </a:lnTo>
                      <a:lnTo>
                        <a:pt x="224" y="56"/>
                      </a:lnTo>
                      <a:close/>
                      <a:moveTo>
                        <a:pt x="248" y="70"/>
                      </a:moveTo>
                      <a:lnTo>
                        <a:pt x="248" y="60"/>
                      </a:lnTo>
                      <a:lnTo>
                        <a:pt x="244" y="64"/>
                      </a:lnTo>
                      <a:lnTo>
                        <a:pt x="248" y="70"/>
                      </a:lnTo>
                      <a:close/>
                      <a:moveTo>
                        <a:pt x="254" y="60"/>
                      </a:moveTo>
                      <a:lnTo>
                        <a:pt x="252" y="58"/>
                      </a:lnTo>
                      <a:lnTo>
                        <a:pt x="250" y="58"/>
                      </a:lnTo>
                      <a:lnTo>
                        <a:pt x="254" y="60"/>
                      </a:lnTo>
                      <a:lnTo>
                        <a:pt x="254" y="60"/>
                      </a:lnTo>
                      <a:close/>
                      <a:moveTo>
                        <a:pt x="210" y="42"/>
                      </a:moveTo>
                      <a:lnTo>
                        <a:pt x="206" y="40"/>
                      </a:lnTo>
                      <a:lnTo>
                        <a:pt x="204" y="40"/>
                      </a:lnTo>
                      <a:lnTo>
                        <a:pt x="210" y="42"/>
                      </a:lnTo>
                      <a:close/>
                      <a:moveTo>
                        <a:pt x="238" y="40"/>
                      </a:moveTo>
                      <a:lnTo>
                        <a:pt x="218" y="46"/>
                      </a:lnTo>
                      <a:lnTo>
                        <a:pt x="224" y="46"/>
                      </a:lnTo>
                      <a:lnTo>
                        <a:pt x="238" y="40"/>
                      </a:lnTo>
                      <a:close/>
                      <a:moveTo>
                        <a:pt x="222" y="38"/>
                      </a:moveTo>
                      <a:lnTo>
                        <a:pt x="218" y="34"/>
                      </a:lnTo>
                      <a:lnTo>
                        <a:pt x="216" y="34"/>
                      </a:lnTo>
                      <a:lnTo>
                        <a:pt x="222" y="38"/>
                      </a:lnTo>
                      <a:lnTo>
                        <a:pt x="222" y="38"/>
                      </a:lnTo>
                      <a:close/>
                      <a:moveTo>
                        <a:pt x="238" y="28"/>
                      </a:moveTo>
                      <a:lnTo>
                        <a:pt x="234" y="28"/>
                      </a:lnTo>
                      <a:lnTo>
                        <a:pt x="238" y="30"/>
                      </a:lnTo>
                      <a:lnTo>
                        <a:pt x="238" y="28"/>
                      </a:lnTo>
                      <a:lnTo>
                        <a:pt x="238" y="28"/>
                      </a:lnTo>
                      <a:close/>
                      <a:moveTo>
                        <a:pt x="86" y="429"/>
                      </a:moveTo>
                      <a:lnTo>
                        <a:pt x="114" y="459"/>
                      </a:lnTo>
                      <a:lnTo>
                        <a:pt x="110" y="517"/>
                      </a:lnTo>
                      <a:lnTo>
                        <a:pt x="114" y="531"/>
                      </a:lnTo>
                      <a:lnTo>
                        <a:pt x="156" y="555"/>
                      </a:lnTo>
                      <a:lnTo>
                        <a:pt x="274" y="565"/>
                      </a:lnTo>
                      <a:lnTo>
                        <a:pt x="280" y="579"/>
                      </a:lnTo>
                      <a:lnTo>
                        <a:pt x="334" y="579"/>
                      </a:lnTo>
                      <a:lnTo>
                        <a:pt x="388" y="587"/>
                      </a:lnTo>
                      <a:lnTo>
                        <a:pt x="474" y="577"/>
                      </a:lnTo>
                      <a:lnTo>
                        <a:pt x="516" y="585"/>
                      </a:lnTo>
                      <a:lnTo>
                        <a:pt x="528" y="579"/>
                      </a:lnTo>
                      <a:lnTo>
                        <a:pt x="747" y="629"/>
                      </a:lnTo>
                      <a:lnTo>
                        <a:pt x="763" y="631"/>
                      </a:lnTo>
                      <a:lnTo>
                        <a:pt x="761" y="623"/>
                      </a:lnTo>
                      <a:lnTo>
                        <a:pt x="763" y="589"/>
                      </a:lnTo>
                      <a:lnTo>
                        <a:pt x="759" y="555"/>
                      </a:lnTo>
                      <a:lnTo>
                        <a:pt x="851" y="150"/>
                      </a:lnTo>
                      <a:lnTo>
                        <a:pt x="837" y="146"/>
                      </a:lnTo>
                      <a:lnTo>
                        <a:pt x="654" y="104"/>
                      </a:lnTo>
                      <a:lnTo>
                        <a:pt x="496" y="64"/>
                      </a:lnTo>
                      <a:lnTo>
                        <a:pt x="318" y="14"/>
                      </a:lnTo>
                      <a:lnTo>
                        <a:pt x="264" y="0"/>
                      </a:lnTo>
                      <a:lnTo>
                        <a:pt x="276" y="68"/>
                      </a:lnTo>
                      <a:lnTo>
                        <a:pt x="264" y="90"/>
                      </a:lnTo>
                      <a:lnTo>
                        <a:pt x="244" y="80"/>
                      </a:lnTo>
                      <a:lnTo>
                        <a:pt x="264" y="174"/>
                      </a:lnTo>
                      <a:lnTo>
                        <a:pt x="242" y="204"/>
                      </a:lnTo>
                      <a:lnTo>
                        <a:pt x="232" y="234"/>
                      </a:lnTo>
                      <a:lnTo>
                        <a:pt x="232" y="263"/>
                      </a:lnTo>
                      <a:lnTo>
                        <a:pt x="186" y="295"/>
                      </a:lnTo>
                      <a:lnTo>
                        <a:pt x="166" y="283"/>
                      </a:lnTo>
                      <a:lnTo>
                        <a:pt x="148" y="293"/>
                      </a:lnTo>
                      <a:lnTo>
                        <a:pt x="182" y="248"/>
                      </a:lnTo>
                      <a:lnTo>
                        <a:pt x="174" y="279"/>
                      </a:lnTo>
                      <a:lnTo>
                        <a:pt x="192" y="256"/>
                      </a:lnTo>
                      <a:lnTo>
                        <a:pt x="208" y="261"/>
                      </a:lnTo>
                      <a:lnTo>
                        <a:pt x="204" y="220"/>
                      </a:lnTo>
                      <a:lnTo>
                        <a:pt x="214" y="222"/>
                      </a:lnTo>
                      <a:lnTo>
                        <a:pt x="234" y="176"/>
                      </a:lnTo>
                      <a:lnTo>
                        <a:pt x="228" y="168"/>
                      </a:lnTo>
                      <a:lnTo>
                        <a:pt x="200" y="204"/>
                      </a:lnTo>
                      <a:lnTo>
                        <a:pt x="182" y="204"/>
                      </a:lnTo>
                      <a:lnTo>
                        <a:pt x="202" y="182"/>
                      </a:lnTo>
                      <a:lnTo>
                        <a:pt x="224" y="178"/>
                      </a:lnTo>
                      <a:lnTo>
                        <a:pt x="216" y="138"/>
                      </a:lnTo>
                      <a:lnTo>
                        <a:pt x="194" y="132"/>
                      </a:lnTo>
                      <a:lnTo>
                        <a:pt x="184" y="114"/>
                      </a:lnTo>
                      <a:lnTo>
                        <a:pt x="170" y="120"/>
                      </a:lnTo>
                      <a:lnTo>
                        <a:pt x="98" y="90"/>
                      </a:lnTo>
                      <a:lnTo>
                        <a:pt x="36" y="40"/>
                      </a:lnTo>
                      <a:lnTo>
                        <a:pt x="18" y="88"/>
                      </a:lnTo>
                      <a:lnTo>
                        <a:pt x="18" y="108"/>
                      </a:lnTo>
                      <a:lnTo>
                        <a:pt x="30" y="144"/>
                      </a:lnTo>
                      <a:lnTo>
                        <a:pt x="22" y="261"/>
                      </a:lnTo>
                      <a:lnTo>
                        <a:pt x="16" y="279"/>
                      </a:lnTo>
                      <a:lnTo>
                        <a:pt x="50" y="281"/>
                      </a:lnTo>
                      <a:lnTo>
                        <a:pt x="16" y="307"/>
                      </a:lnTo>
                      <a:lnTo>
                        <a:pt x="34" y="315"/>
                      </a:lnTo>
                      <a:lnTo>
                        <a:pt x="20" y="365"/>
                      </a:lnTo>
                      <a:lnTo>
                        <a:pt x="12" y="327"/>
                      </a:lnTo>
                      <a:lnTo>
                        <a:pt x="0" y="371"/>
                      </a:lnTo>
                      <a:lnTo>
                        <a:pt x="18" y="393"/>
                      </a:lnTo>
                      <a:lnTo>
                        <a:pt x="36" y="391"/>
                      </a:lnTo>
                      <a:lnTo>
                        <a:pt x="60" y="405"/>
                      </a:lnTo>
                      <a:lnTo>
                        <a:pt x="72" y="429"/>
                      </a:lnTo>
                      <a:lnTo>
                        <a:pt x="86" y="429"/>
                      </a:lnTo>
                      <a:lnTo>
                        <a:pt x="86" y="429"/>
                      </a:lnTo>
                      <a:lnTo>
                        <a:pt x="86" y="429"/>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89" name="Arizona" descr="{&quot;Key&quot;:&quot;arizona&quot;,&quot;Name&quot;:&quot;Arizona&quot;,&quot;Value&quot;:1.0,&quot;Formula&quot;:&quot;&quot;,&quot;Text&quot;:&quot;&quot;,&quot;OfficeApplication&quot;:1,&quot;HasValue&quot;:true}">
                  <a:extLst>
                    <a:ext uri="{FF2B5EF4-FFF2-40B4-BE49-F238E27FC236}">
                      <a16:creationId xmlns:a16="http://schemas.microsoft.com/office/drawing/2014/main" id="{0423C52E-D6F8-4476-BDB7-59DFA3F09DFA}"/>
                    </a:ext>
                  </a:extLst>
                </p:cNvPr>
                <p:cNvSpPr>
                  <a:spLocks/>
                </p:cNvSpPr>
                <p:nvPr/>
              </p:nvSpPr>
              <p:spPr bwMode="auto">
                <a:xfrm>
                  <a:off x="2563812" y="4194176"/>
                  <a:ext cx="1360488" cy="1597025"/>
                </a:xfrm>
                <a:custGeom>
                  <a:avLst/>
                  <a:gdLst>
                    <a:gd name="T0" fmla="*/ 837 w 857"/>
                    <a:gd name="T1" fmla="*/ 88 h 1006"/>
                    <a:gd name="T2" fmla="*/ 575 w 857"/>
                    <a:gd name="T3" fmla="*/ 54 h 1006"/>
                    <a:gd name="T4" fmla="*/ 435 w 857"/>
                    <a:gd name="T5" fmla="*/ 34 h 1006"/>
                    <a:gd name="T6" fmla="*/ 233 w 857"/>
                    <a:gd name="T7" fmla="*/ 2 h 1006"/>
                    <a:gd name="T8" fmla="*/ 213 w 857"/>
                    <a:gd name="T9" fmla="*/ 0 h 1006"/>
                    <a:gd name="T10" fmla="*/ 213 w 857"/>
                    <a:gd name="T11" fmla="*/ 2 h 1006"/>
                    <a:gd name="T12" fmla="*/ 179 w 857"/>
                    <a:gd name="T13" fmla="*/ 152 h 1006"/>
                    <a:gd name="T14" fmla="*/ 161 w 857"/>
                    <a:gd name="T15" fmla="*/ 150 h 1006"/>
                    <a:gd name="T16" fmla="*/ 135 w 857"/>
                    <a:gd name="T17" fmla="*/ 126 h 1006"/>
                    <a:gd name="T18" fmla="*/ 101 w 857"/>
                    <a:gd name="T19" fmla="*/ 156 h 1006"/>
                    <a:gd name="T20" fmla="*/ 99 w 857"/>
                    <a:gd name="T21" fmla="*/ 281 h 1006"/>
                    <a:gd name="T22" fmla="*/ 87 w 857"/>
                    <a:gd name="T23" fmla="*/ 307 h 1006"/>
                    <a:gd name="T24" fmla="*/ 87 w 857"/>
                    <a:gd name="T25" fmla="*/ 309 h 1006"/>
                    <a:gd name="T26" fmla="*/ 87 w 857"/>
                    <a:gd name="T27" fmla="*/ 309 h 1006"/>
                    <a:gd name="T28" fmla="*/ 85 w 857"/>
                    <a:gd name="T29" fmla="*/ 329 h 1006"/>
                    <a:gd name="T30" fmla="*/ 113 w 857"/>
                    <a:gd name="T31" fmla="*/ 401 h 1006"/>
                    <a:gd name="T32" fmla="*/ 137 w 857"/>
                    <a:gd name="T33" fmla="*/ 435 h 1006"/>
                    <a:gd name="T34" fmla="*/ 93 w 857"/>
                    <a:gd name="T35" fmla="*/ 461 h 1006"/>
                    <a:gd name="T36" fmla="*/ 77 w 857"/>
                    <a:gd name="T37" fmla="*/ 493 h 1006"/>
                    <a:gd name="T38" fmla="*/ 49 w 857"/>
                    <a:gd name="T39" fmla="*/ 561 h 1006"/>
                    <a:gd name="T40" fmla="*/ 34 w 857"/>
                    <a:gd name="T41" fmla="*/ 563 h 1006"/>
                    <a:gd name="T42" fmla="*/ 32 w 857"/>
                    <a:gd name="T43" fmla="*/ 621 h 1006"/>
                    <a:gd name="T44" fmla="*/ 57 w 857"/>
                    <a:gd name="T45" fmla="*/ 639 h 1006"/>
                    <a:gd name="T46" fmla="*/ 44 w 857"/>
                    <a:gd name="T47" fmla="*/ 673 h 1006"/>
                    <a:gd name="T48" fmla="*/ 16 w 857"/>
                    <a:gd name="T49" fmla="*/ 673 h 1006"/>
                    <a:gd name="T50" fmla="*/ 16 w 857"/>
                    <a:gd name="T51" fmla="*/ 673 h 1006"/>
                    <a:gd name="T52" fmla="*/ 0 w 857"/>
                    <a:gd name="T53" fmla="*/ 705 h 1006"/>
                    <a:gd name="T54" fmla="*/ 57 w 857"/>
                    <a:gd name="T55" fmla="*/ 739 h 1006"/>
                    <a:gd name="T56" fmla="*/ 163 w 857"/>
                    <a:gd name="T57" fmla="*/ 797 h 1006"/>
                    <a:gd name="T58" fmla="*/ 489 w 857"/>
                    <a:gd name="T59" fmla="*/ 972 h 1006"/>
                    <a:gd name="T60" fmla="*/ 765 w 857"/>
                    <a:gd name="T61" fmla="*/ 1006 h 1006"/>
                    <a:gd name="T62" fmla="*/ 769 w 857"/>
                    <a:gd name="T63" fmla="*/ 1006 h 1006"/>
                    <a:gd name="T64" fmla="*/ 789 w 857"/>
                    <a:gd name="T65" fmla="*/ 777 h 1006"/>
                    <a:gd name="T66" fmla="*/ 795 w 857"/>
                    <a:gd name="T67" fmla="*/ 719 h 1006"/>
                    <a:gd name="T68" fmla="*/ 853 w 857"/>
                    <a:gd name="T69" fmla="*/ 118 h 1006"/>
                    <a:gd name="T70" fmla="*/ 857 w 857"/>
                    <a:gd name="T71" fmla="*/ 90 h 1006"/>
                    <a:gd name="T72" fmla="*/ 837 w 857"/>
                    <a:gd name="T73" fmla="*/ 88 h 1006"/>
                    <a:gd name="T74" fmla="*/ 837 w 857"/>
                    <a:gd name="T75" fmla="*/ 88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7" h="1006">
                      <a:moveTo>
                        <a:pt x="837" y="88"/>
                      </a:moveTo>
                      <a:lnTo>
                        <a:pt x="575" y="54"/>
                      </a:lnTo>
                      <a:lnTo>
                        <a:pt x="435" y="34"/>
                      </a:lnTo>
                      <a:lnTo>
                        <a:pt x="233" y="2"/>
                      </a:lnTo>
                      <a:lnTo>
                        <a:pt x="213" y="0"/>
                      </a:lnTo>
                      <a:lnTo>
                        <a:pt x="213" y="2"/>
                      </a:lnTo>
                      <a:lnTo>
                        <a:pt x="179" y="152"/>
                      </a:lnTo>
                      <a:lnTo>
                        <a:pt x="161" y="150"/>
                      </a:lnTo>
                      <a:lnTo>
                        <a:pt x="135" y="126"/>
                      </a:lnTo>
                      <a:lnTo>
                        <a:pt x="101" y="156"/>
                      </a:lnTo>
                      <a:lnTo>
                        <a:pt x="99" y="281"/>
                      </a:lnTo>
                      <a:lnTo>
                        <a:pt x="87" y="307"/>
                      </a:lnTo>
                      <a:lnTo>
                        <a:pt x="87" y="309"/>
                      </a:lnTo>
                      <a:lnTo>
                        <a:pt x="87" y="309"/>
                      </a:lnTo>
                      <a:lnTo>
                        <a:pt x="85" y="329"/>
                      </a:lnTo>
                      <a:lnTo>
                        <a:pt x="113" y="401"/>
                      </a:lnTo>
                      <a:lnTo>
                        <a:pt x="137" y="435"/>
                      </a:lnTo>
                      <a:lnTo>
                        <a:pt x="93" y="461"/>
                      </a:lnTo>
                      <a:lnTo>
                        <a:pt x="77" y="493"/>
                      </a:lnTo>
                      <a:lnTo>
                        <a:pt x="49" y="561"/>
                      </a:lnTo>
                      <a:lnTo>
                        <a:pt x="34" y="563"/>
                      </a:lnTo>
                      <a:lnTo>
                        <a:pt x="32" y="621"/>
                      </a:lnTo>
                      <a:lnTo>
                        <a:pt x="57" y="639"/>
                      </a:lnTo>
                      <a:lnTo>
                        <a:pt x="44" y="673"/>
                      </a:lnTo>
                      <a:lnTo>
                        <a:pt x="16" y="673"/>
                      </a:lnTo>
                      <a:lnTo>
                        <a:pt x="16" y="673"/>
                      </a:lnTo>
                      <a:lnTo>
                        <a:pt x="0" y="705"/>
                      </a:lnTo>
                      <a:lnTo>
                        <a:pt x="57" y="739"/>
                      </a:lnTo>
                      <a:lnTo>
                        <a:pt x="163" y="797"/>
                      </a:lnTo>
                      <a:lnTo>
                        <a:pt x="489" y="972"/>
                      </a:lnTo>
                      <a:lnTo>
                        <a:pt x="765" y="1006"/>
                      </a:lnTo>
                      <a:lnTo>
                        <a:pt x="769" y="1006"/>
                      </a:lnTo>
                      <a:lnTo>
                        <a:pt x="789" y="777"/>
                      </a:lnTo>
                      <a:lnTo>
                        <a:pt x="795" y="719"/>
                      </a:lnTo>
                      <a:lnTo>
                        <a:pt x="853" y="118"/>
                      </a:lnTo>
                      <a:lnTo>
                        <a:pt x="857" y="90"/>
                      </a:lnTo>
                      <a:lnTo>
                        <a:pt x="837" y="88"/>
                      </a:lnTo>
                      <a:lnTo>
                        <a:pt x="837" y="88"/>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0" name="California" descr="{&quot;Key&quot;:&quot;california&quot;,&quot;Name&quot;:&quot;California&quot;,&quot;Value&quot;:1.0,&quot;Formula&quot;:&quot;&quot;,&quot;Text&quot;:&quot;&quot;,&quot;OfficeApplication&quot;:1,&quot;HasValue&quot;:true}">
                  <a:extLst>
                    <a:ext uri="{FF2B5EF4-FFF2-40B4-BE49-F238E27FC236}">
                      <a16:creationId xmlns:a16="http://schemas.microsoft.com/office/drawing/2014/main" id="{E86D8EFF-816D-4114-B160-7DDF9DC54623}"/>
                    </a:ext>
                  </a:extLst>
                </p:cNvPr>
                <p:cNvSpPr>
                  <a:spLocks noEditPoints="1"/>
                </p:cNvSpPr>
                <p:nvPr/>
              </p:nvSpPr>
              <p:spPr bwMode="auto">
                <a:xfrm>
                  <a:off x="1071563" y="2462213"/>
                  <a:ext cx="1709737" cy="2800349"/>
                </a:xfrm>
                <a:custGeom>
                  <a:avLst/>
                  <a:gdLst>
                    <a:gd name="T0" fmla="*/ 450 w 1077"/>
                    <a:gd name="T1" fmla="*/ 1628 h 1764"/>
                    <a:gd name="T2" fmla="*/ 446 w 1077"/>
                    <a:gd name="T3" fmla="*/ 1610 h 1764"/>
                    <a:gd name="T4" fmla="*/ 332 w 1077"/>
                    <a:gd name="T5" fmla="*/ 1544 h 1764"/>
                    <a:gd name="T6" fmla="*/ 340 w 1077"/>
                    <a:gd name="T7" fmla="*/ 1554 h 1764"/>
                    <a:gd name="T8" fmla="*/ 332 w 1077"/>
                    <a:gd name="T9" fmla="*/ 1544 h 1764"/>
                    <a:gd name="T10" fmla="*/ 470 w 1077"/>
                    <a:gd name="T11" fmla="*/ 1562 h 1764"/>
                    <a:gd name="T12" fmla="*/ 468 w 1077"/>
                    <a:gd name="T13" fmla="*/ 1542 h 1764"/>
                    <a:gd name="T14" fmla="*/ 366 w 1077"/>
                    <a:gd name="T15" fmla="*/ 1428 h 1764"/>
                    <a:gd name="T16" fmla="*/ 374 w 1077"/>
                    <a:gd name="T17" fmla="*/ 1430 h 1764"/>
                    <a:gd name="T18" fmla="*/ 288 w 1077"/>
                    <a:gd name="T19" fmla="*/ 1408 h 1764"/>
                    <a:gd name="T20" fmla="*/ 272 w 1077"/>
                    <a:gd name="T21" fmla="*/ 1426 h 1764"/>
                    <a:gd name="T22" fmla="*/ 248 w 1077"/>
                    <a:gd name="T23" fmla="*/ 1392 h 1764"/>
                    <a:gd name="T24" fmla="*/ 252 w 1077"/>
                    <a:gd name="T25" fmla="*/ 1400 h 1764"/>
                    <a:gd name="T26" fmla="*/ 248 w 1077"/>
                    <a:gd name="T27" fmla="*/ 1392 h 1764"/>
                    <a:gd name="T28" fmla="*/ 350 w 1077"/>
                    <a:gd name="T29" fmla="*/ 1428 h 1764"/>
                    <a:gd name="T30" fmla="*/ 316 w 1077"/>
                    <a:gd name="T31" fmla="*/ 1408 h 1764"/>
                    <a:gd name="T32" fmla="*/ 50 w 1077"/>
                    <a:gd name="T33" fmla="*/ 723 h 1764"/>
                    <a:gd name="T34" fmla="*/ 50 w 1077"/>
                    <a:gd name="T35" fmla="*/ 723 h 1764"/>
                    <a:gd name="T36" fmla="*/ 134 w 1077"/>
                    <a:gd name="T37" fmla="*/ 725 h 1764"/>
                    <a:gd name="T38" fmla="*/ 134 w 1077"/>
                    <a:gd name="T39" fmla="*/ 727 h 1764"/>
                    <a:gd name="T40" fmla="*/ 582 w 1077"/>
                    <a:gd name="T41" fmla="*/ 136 h 1764"/>
                    <a:gd name="T42" fmla="*/ 220 w 1077"/>
                    <a:gd name="T43" fmla="*/ 38 h 1764"/>
                    <a:gd name="T44" fmla="*/ 96 w 1077"/>
                    <a:gd name="T45" fmla="*/ 4 h 1764"/>
                    <a:gd name="T46" fmla="*/ 56 w 1077"/>
                    <a:gd name="T47" fmla="*/ 170 h 1764"/>
                    <a:gd name="T48" fmla="*/ 0 w 1077"/>
                    <a:gd name="T49" fmla="*/ 272 h 1764"/>
                    <a:gd name="T50" fmla="*/ 40 w 1077"/>
                    <a:gd name="T51" fmla="*/ 382 h 1764"/>
                    <a:gd name="T52" fmla="*/ 24 w 1077"/>
                    <a:gd name="T53" fmla="*/ 484 h 1764"/>
                    <a:gd name="T54" fmla="*/ 46 w 1077"/>
                    <a:gd name="T55" fmla="*/ 574 h 1764"/>
                    <a:gd name="T56" fmla="*/ 66 w 1077"/>
                    <a:gd name="T57" fmla="*/ 675 h 1764"/>
                    <a:gd name="T58" fmla="*/ 142 w 1077"/>
                    <a:gd name="T59" fmla="*/ 675 h 1764"/>
                    <a:gd name="T60" fmla="*/ 184 w 1077"/>
                    <a:gd name="T61" fmla="*/ 689 h 1764"/>
                    <a:gd name="T62" fmla="*/ 140 w 1077"/>
                    <a:gd name="T63" fmla="*/ 735 h 1764"/>
                    <a:gd name="T64" fmla="*/ 126 w 1077"/>
                    <a:gd name="T65" fmla="*/ 763 h 1764"/>
                    <a:gd name="T66" fmla="*/ 110 w 1077"/>
                    <a:gd name="T67" fmla="*/ 775 h 1764"/>
                    <a:gd name="T68" fmla="*/ 164 w 1077"/>
                    <a:gd name="T69" fmla="*/ 911 h 1764"/>
                    <a:gd name="T70" fmla="*/ 140 w 1077"/>
                    <a:gd name="T71" fmla="*/ 995 h 1764"/>
                    <a:gd name="T72" fmla="*/ 224 w 1077"/>
                    <a:gd name="T73" fmla="*/ 1193 h 1764"/>
                    <a:gd name="T74" fmla="*/ 236 w 1077"/>
                    <a:gd name="T75" fmla="*/ 1305 h 1764"/>
                    <a:gd name="T76" fmla="*/ 362 w 1077"/>
                    <a:gd name="T77" fmla="*/ 1360 h 1764"/>
                    <a:gd name="T78" fmla="*/ 410 w 1077"/>
                    <a:gd name="T79" fmla="*/ 1424 h 1764"/>
                    <a:gd name="T80" fmla="*/ 482 w 1077"/>
                    <a:gd name="T81" fmla="*/ 1450 h 1764"/>
                    <a:gd name="T82" fmla="*/ 528 w 1077"/>
                    <a:gd name="T83" fmla="*/ 1508 h 1764"/>
                    <a:gd name="T84" fmla="*/ 618 w 1077"/>
                    <a:gd name="T85" fmla="*/ 1636 h 1764"/>
                    <a:gd name="T86" fmla="*/ 638 w 1077"/>
                    <a:gd name="T87" fmla="*/ 1734 h 1764"/>
                    <a:gd name="T88" fmla="*/ 956 w 1077"/>
                    <a:gd name="T89" fmla="*/ 1764 h 1764"/>
                    <a:gd name="T90" fmla="*/ 997 w 1077"/>
                    <a:gd name="T91" fmla="*/ 1730 h 1764"/>
                    <a:gd name="T92" fmla="*/ 974 w 1077"/>
                    <a:gd name="T93" fmla="*/ 1654 h 1764"/>
                    <a:gd name="T94" fmla="*/ 1017 w 1077"/>
                    <a:gd name="T95" fmla="*/ 1584 h 1764"/>
                    <a:gd name="T96" fmla="*/ 1077 w 1077"/>
                    <a:gd name="T97" fmla="*/ 1526 h 1764"/>
                    <a:gd name="T98" fmla="*/ 1025 w 1077"/>
                    <a:gd name="T99" fmla="*/ 1420 h 1764"/>
                    <a:gd name="T100" fmla="*/ 1027 w 1077"/>
                    <a:gd name="T101" fmla="*/ 1400 h 1764"/>
                    <a:gd name="T102" fmla="*/ 944 w 1077"/>
                    <a:gd name="T103" fmla="*/ 1289 h 1764"/>
                    <a:gd name="T104" fmla="*/ 656 w 1077"/>
                    <a:gd name="T105" fmla="*/ 879 h 1764"/>
                    <a:gd name="T106" fmla="*/ 470 w 1077"/>
                    <a:gd name="T107" fmla="*/ 614 h 1764"/>
                    <a:gd name="T108" fmla="*/ 582 w 1077"/>
                    <a:gd name="T109" fmla="*/ 136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7" h="1764">
                      <a:moveTo>
                        <a:pt x="446" y="1610"/>
                      </a:moveTo>
                      <a:lnTo>
                        <a:pt x="450" y="1628"/>
                      </a:lnTo>
                      <a:lnTo>
                        <a:pt x="450" y="1630"/>
                      </a:lnTo>
                      <a:lnTo>
                        <a:pt x="446" y="1610"/>
                      </a:lnTo>
                      <a:lnTo>
                        <a:pt x="446" y="1610"/>
                      </a:lnTo>
                      <a:close/>
                      <a:moveTo>
                        <a:pt x="332" y="1544"/>
                      </a:moveTo>
                      <a:lnTo>
                        <a:pt x="338" y="1556"/>
                      </a:lnTo>
                      <a:lnTo>
                        <a:pt x="340" y="1554"/>
                      </a:lnTo>
                      <a:lnTo>
                        <a:pt x="332" y="1544"/>
                      </a:lnTo>
                      <a:lnTo>
                        <a:pt x="332" y="1544"/>
                      </a:lnTo>
                      <a:close/>
                      <a:moveTo>
                        <a:pt x="468" y="1542"/>
                      </a:moveTo>
                      <a:lnTo>
                        <a:pt x="470" y="1562"/>
                      </a:lnTo>
                      <a:lnTo>
                        <a:pt x="484" y="1572"/>
                      </a:lnTo>
                      <a:lnTo>
                        <a:pt x="468" y="1542"/>
                      </a:lnTo>
                      <a:close/>
                      <a:moveTo>
                        <a:pt x="374" y="1430"/>
                      </a:moveTo>
                      <a:lnTo>
                        <a:pt x="366" y="1428"/>
                      </a:lnTo>
                      <a:lnTo>
                        <a:pt x="372" y="1432"/>
                      </a:lnTo>
                      <a:lnTo>
                        <a:pt x="374" y="1430"/>
                      </a:lnTo>
                      <a:lnTo>
                        <a:pt x="374" y="1430"/>
                      </a:lnTo>
                      <a:close/>
                      <a:moveTo>
                        <a:pt x="288" y="1408"/>
                      </a:moveTo>
                      <a:lnTo>
                        <a:pt x="266" y="1420"/>
                      </a:lnTo>
                      <a:lnTo>
                        <a:pt x="272" y="1426"/>
                      </a:lnTo>
                      <a:lnTo>
                        <a:pt x="288" y="1408"/>
                      </a:lnTo>
                      <a:close/>
                      <a:moveTo>
                        <a:pt x="248" y="1392"/>
                      </a:moveTo>
                      <a:lnTo>
                        <a:pt x="246" y="1398"/>
                      </a:lnTo>
                      <a:lnTo>
                        <a:pt x="252" y="1400"/>
                      </a:lnTo>
                      <a:lnTo>
                        <a:pt x="248" y="1392"/>
                      </a:lnTo>
                      <a:lnTo>
                        <a:pt x="248" y="1392"/>
                      </a:lnTo>
                      <a:close/>
                      <a:moveTo>
                        <a:pt x="316" y="1408"/>
                      </a:moveTo>
                      <a:lnTo>
                        <a:pt x="350" y="1428"/>
                      </a:lnTo>
                      <a:lnTo>
                        <a:pt x="356" y="1422"/>
                      </a:lnTo>
                      <a:lnTo>
                        <a:pt x="316" y="1408"/>
                      </a:lnTo>
                      <a:close/>
                      <a:moveTo>
                        <a:pt x="50" y="723"/>
                      </a:moveTo>
                      <a:lnTo>
                        <a:pt x="50" y="723"/>
                      </a:lnTo>
                      <a:lnTo>
                        <a:pt x="50" y="723"/>
                      </a:lnTo>
                      <a:lnTo>
                        <a:pt x="50" y="723"/>
                      </a:lnTo>
                      <a:close/>
                      <a:moveTo>
                        <a:pt x="134" y="727"/>
                      </a:moveTo>
                      <a:lnTo>
                        <a:pt x="134" y="725"/>
                      </a:lnTo>
                      <a:lnTo>
                        <a:pt x="134" y="727"/>
                      </a:lnTo>
                      <a:lnTo>
                        <a:pt x="134" y="727"/>
                      </a:lnTo>
                      <a:lnTo>
                        <a:pt x="134" y="727"/>
                      </a:lnTo>
                      <a:close/>
                      <a:moveTo>
                        <a:pt x="582" y="136"/>
                      </a:moveTo>
                      <a:lnTo>
                        <a:pt x="552" y="128"/>
                      </a:lnTo>
                      <a:lnTo>
                        <a:pt x="220" y="38"/>
                      </a:lnTo>
                      <a:lnTo>
                        <a:pt x="96" y="0"/>
                      </a:lnTo>
                      <a:lnTo>
                        <a:pt x="96" y="4"/>
                      </a:lnTo>
                      <a:lnTo>
                        <a:pt x="88" y="80"/>
                      </a:lnTo>
                      <a:lnTo>
                        <a:pt x="56" y="170"/>
                      </a:lnTo>
                      <a:lnTo>
                        <a:pt x="2" y="238"/>
                      </a:lnTo>
                      <a:lnTo>
                        <a:pt x="0" y="272"/>
                      </a:lnTo>
                      <a:lnTo>
                        <a:pt x="26" y="320"/>
                      </a:lnTo>
                      <a:lnTo>
                        <a:pt x="40" y="382"/>
                      </a:lnTo>
                      <a:lnTo>
                        <a:pt x="22" y="432"/>
                      </a:lnTo>
                      <a:lnTo>
                        <a:pt x="24" y="484"/>
                      </a:lnTo>
                      <a:lnTo>
                        <a:pt x="16" y="504"/>
                      </a:lnTo>
                      <a:lnTo>
                        <a:pt x="46" y="574"/>
                      </a:lnTo>
                      <a:lnTo>
                        <a:pt x="68" y="600"/>
                      </a:lnTo>
                      <a:lnTo>
                        <a:pt x="66" y="675"/>
                      </a:lnTo>
                      <a:lnTo>
                        <a:pt x="114" y="721"/>
                      </a:lnTo>
                      <a:lnTo>
                        <a:pt x="142" y="675"/>
                      </a:lnTo>
                      <a:lnTo>
                        <a:pt x="172" y="699"/>
                      </a:lnTo>
                      <a:lnTo>
                        <a:pt x="184" y="689"/>
                      </a:lnTo>
                      <a:lnTo>
                        <a:pt x="142" y="697"/>
                      </a:lnTo>
                      <a:lnTo>
                        <a:pt x="140" y="735"/>
                      </a:lnTo>
                      <a:lnTo>
                        <a:pt x="150" y="785"/>
                      </a:lnTo>
                      <a:lnTo>
                        <a:pt x="126" y="763"/>
                      </a:lnTo>
                      <a:lnTo>
                        <a:pt x="112" y="733"/>
                      </a:lnTo>
                      <a:lnTo>
                        <a:pt x="110" y="775"/>
                      </a:lnTo>
                      <a:lnTo>
                        <a:pt x="120" y="857"/>
                      </a:lnTo>
                      <a:lnTo>
                        <a:pt x="164" y="911"/>
                      </a:lnTo>
                      <a:lnTo>
                        <a:pt x="134" y="949"/>
                      </a:lnTo>
                      <a:lnTo>
                        <a:pt x="140" y="995"/>
                      </a:lnTo>
                      <a:lnTo>
                        <a:pt x="170" y="1043"/>
                      </a:lnTo>
                      <a:lnTo>
                        <a:pt x="224" y="1193"/>
                      </a:lnTo>
                      <a:lnTo>
                        <a:pt x="242" y="1203"/>
                      </a:lnTo>
                      <a:lnTo>
                        <a:pt x="236" y="1305"/>
                      </a:lnTo>
                      <a:lnTo>
                        <a:pt x="244" y="1319"/>
                      </a:lnTo>
                      <a:lnTo>
                        <a:pt x="362" y="1360"/>
                      </a:lnTo>
                      <a:lnTo>
                        <a:pt x="398" y="1398"/>
                      </a:lnTo>
                      <a:lnTo>
                        <a:pt x="410" y="1424"/>
                      </a:lnTo>
                      <a:lnTo>
                        <a:pt x="444" y="1444"/>
                      </a:lnTo>
                      <a:lnTo>
                        <a:pt x="482" y="1450"/>
                      </a:lnTo>
                      <a:lnTo>
                        <a:pt x="496" y="1492"/>
                      </a:lnTo>
                      <a:lnTo>
                        <a:pt x="528" y="1508"/>
                      </a:lnTo>
                      <a:lnTo>
                        <a:pt x="574" y="1562"/>
                      </a:lnTo>
                      <a:lnTo>
                        <a:pt x="618" y="1636"/>
                      </a:lnTo>
                      <a:lnTo>
                        <a:pt x="614" y="1702"/>
                      </a:lnTo>
                      <a:lnTo>
                        <a:pt x="638" y="1734"/>
                      </a:lnTo>
                      <a:lnTo>
                        <a:pt x="956" y="1764"/>
                      </a:lnTo>
                      <a:lnTo>
                        <a:pt x="956" y="1764"/>
                      </a:lnTo>
                      <a:lnTo>
                        <a:pt x="984" y="1764"/>
                      </a:lnTo>
                      <a:lnTo>
                        <a:pt x="997" y="1730"/>
                      </a:lnTo>
                      <a:lnTo>
                        <a:pt x="972" y="1712"/>
                      </a:lnTo>
                      <a:lnTo>
                        <a:pt x="974" y="1654"/>
                      </a:lnTo>
                      <a:lnTo>
                        <a:pt x="989" y="1652"/>
                      </a:lnTo>
                      <a:lnTo>
                        <a:pt x="1017" y="1584"/>
                      </a:lnTo>
                      <a:lnTo>
                        <a:pt x="1033" y="1552"/>
                      </a:lnTo>
                      <a:lnTo>
                        <a:pt x="1077" y="1526"/>
                      </a:lnTo>
                      <a:lnTo>
                        <a:pt x="1053" y="1492"/>
                      </a:lnTo>
                      <a:lnTo>
                        <a:pt x="1025" y="1420"/>
                      </a:lnTo>
                      <a:lnTo>
                        <a:pt x="1027" y="1400"/>
                      </a:lnTo>
                      <a:lnTo>
                        <a:pt x="1027" y="1400"/>
                      </a:lnTo>
                      <a:lnTo>
                        <a:pt x="1007" y="1372"/>
                      </a:lnTo>
                      <a:lnTo>
                        <a:pt x="944" y="1289"/>
                      </a:lnTo>
                      <a:lnTo>
                        <a:pt x="824" y="1119"/>
                      </a:lnTo>
                      <a:lnTo>
                        <a:pt x="656" y="879"/>
                      </a:lnTo>
                      <a:lnTo>
                        <a:pt x="562" y="747"/>
                      </a:lnTo>
                      <a:lnTo>
                        <a:pt x="470" y="614"/>
                      </a:lnTo>
                      <a:lnTo>
                        <a:pt x="576" y="166"/>
                      </a:lnTo>
                      <a:lnTo>
                        <a:pt x="582" y="136"/>
                      </a:lnTo>
                      <a:lnTo>
                        <a:pt x="582" y="136"/>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1" name="Colorado" descr="{&quot;Key&quot;:&quot;colorado&quot;,&quot;Name&quot;:&quot;Colorado&quot;,&quot;Value&quot;:1.0,&quot;Formula&quot;:&quot;&quot;,&quot;Text&quot;:&quot;&quot;,&quot;OfficeApplication&quot;:1,&quot;HasValue&quot;:true}">
                  <a:extLst>
                    <a:ext uri="{FF2B5EF4-FFF2-40B4-BE49-F238E27FC236}">
                      <a16:creationId xmlns:a16="http://schemas.microsoft.com/office/drawing/2014/main" id="{75E1581E-F0CD-4EC7-98A4-AF2BB3A79451}"/>
                    </a:ext>
                  </a:extLst>
                </p:cNvPr>
                <p:cNvSpPr>
                  <a:spLocks/>
                </p:cNvSpPr>
                <p:nvPr/>
              </p:nvSpPr>
              <p:spPr bwMode="auto">
                <a:xfrm>
                  <a:off x="3924300" y="3306763"/>
                  <a:ext cx="1465263" cy="1125538"/>
                </a:xfrm>
                <a:custGeom>
                  <a:avLst/>
                  <a:gdLst>
                    <a:gd name="T0" fmla="*/ 921 w 923"/>
                    <a:gd name="T1" fmla="*/ 211 h 709"/>
                    <a:gd name="T2" fmla="*/ 923 w 923"/>
                    <a:gd name="T3" fmla="*/ 58 h 709"/>
                    <a:gd name="T4" fmla="*/ 885 w 923"/>
                    <a:gd name="T5" fmla="*/ 56 h 709"/>
                    <a:gd name="T6" fmla="*/ 697 w 923"/>
                    <a:gd name="T7" fmla="*/ 50 h 709"/>
                    <a:gd name="T8" fmla="*/ 677 w 923"/>
                    <a:gd name="T9" fmla="*/ 48 h 709"/>
                    <a:gd name="T10" fmla="*/ 663 w 923"/>
                    <a:gd name="T11" fmla="*/ 48 h 709"/>
                    <a:gd name="T12" fmla="*/ 430 w 923"/>
                    <a:gd name="T13" fmla="*/ 34 h 709"/>
                    <a:gd name="T14" fmla="*/ 276 w 923"/>
                    <a:gd name="T15" fmla="*/ 20 h 709"/>
                    <a:gd name="T16" fmla="*/ 86 w 923"/>
                    <a:gd name="T17" fmla="*/ 2 h 709"/>
                    <a:gd name="T18" fmla="*/ 66 w 923"/>
                    <a:gd name="T19" fmla="*/ 0 h 709"/>
                    <a:gd name="T20" fmla="*/ 64 w 923"/>
                    <a:gd name="T21" fmla="*/ 20 h 709"/>
                    <a:gd name="T22" fmla="*/ 22 w 923"/>
                    <a:gd name="T23" fmla="*/ 425 h 709"/>
                    <a:gd name="T24" fmla="*/ 8 w 923"/>
                    <a:gd name="T25" fmla="*/ 567 h 709"/>
                    <a:gd name="T26" fmla="*/ 2 w 923"/>
                    <a:gd name="T27" fmla="*/ 629 h 709"/>
                    <a:gd name="T28" fmla="*/ 0 w 923"/>
                    <a:gd name="T29" fmla="*/ 649 h 709"/>
                    <a:gd name="T30" fmla="*/ 24 w 923"/>
                    <a:gd name="T31" fmla="*/ 651 h 709"/>
                    <a:gd name="T32" fmla="*/ 416 w 923"/>
                    <a:gd name="T33" fmla="*/ 685 h 709"/>
                    <a:gd name="T34" fmla="*/ 589 w 923"/>
                    <a:gd name="T35" fmla="*/ 695 h 709"/>
                    <a:gd name="T36" fmla="*/ 761 w 923"/>
                    <a:gd name="T37" fmla="*/ 703 h 709"/>
                    <a:gd name="T38" fmla="*/ 785 w 923"/>
                    <a:gd name="T39" fmla="*/ 705 h 709"/>
                    <a:gd name="T40" fmla="*/ 801 w 923"/>
                    <a:gd name="T41" fmla="*/ 705 h 709"/>
                    <a:gd name="T42" fmla="*/ 833 w 923"/>
                    <a:gd name="T43" fmla="*/ 707 h 709"/>
                    <a:gd name="T44" fmla="*/ 849 w 923"/>
                    <a:gd name="T45" fmla="*/ 707 h 709"/>
                    <a:gd name="T46" fmla="*/ 897 w 923"/>
                    <a:gd name="T47" fmla="*/ 709 h 709"/>
                    <a:gd name="T48" fmla="*/ 909 w 923"/>
                    <a:gd name="T49" fmla="*/ 709 h 709"/>
                    <a:gd name="T50" fmla="*/ 909 w 923"/>
                    <a:gd name="T51" fmla="*/ 693 h 709"/>
                    <a:gd name="T52" fmla="*/ 919 w 923"/>
                    <a:gd name="T53" fmla="*/ 283 h 709"/>
                    <a:gd name="T54" fmla="*/ 919 w 923"/>
                    <a:gd name="T55" fmla="*/ 237 h 709"/>
                    <a:gd name="T56" fmla="*/ 919 w 923"/>
                    <a:gd name="T57" fmla="*/ 221 h 709"/>
                    <a:gd name="T58" fmla="*/ 921 w 923"/>
                    <a:gd name="T59" fmla="*/ 211 h 709"/>
                    <a:gd name="T60" fmla="*/ 921 w 923"/>
                    <a:gd name="T61" fmla="*/ 21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3" h="709">
                      <a:moveTo>
                        <a:pt x="921" y="211"/>
                      </a:moveTo>
                      <a:lnTo>
                        <a:pt x="923" y="58"/>
                      </a:lnTo>
                      <a:lnTo>
                        <a:pt x="885" y="56"/>
                      </a:lnTo>
                      <a:lnTo>
                        <a:pt x="697" y="50"/>
                      </a:lnTo>
                      <a:lnTo>
                        <a:pt x="677" y="48"/>
                      </a:lnTo>
                      <a:lnTo>
                        <a:pt x="663" y="48"/>
                      </a:lnTo>
                      <a:lnTo>
                        <a:pt x="430" y="34"/>
                      </a:lnTo>
                      <a:lnTo>
                        <a:pt x="276" y="20"/>
                      </a:lnTo>
                      <a:lnTo>
                        <a:pt x="86" y="2"/>
                      </a:lnTo>
                      <a:lnTo>
                        <a:pt x="66" y="0"/>
                      </a:lnTo>
                      <a:lnTo>
                        <a:pt x="64" y="20"/>
                      </a:lnTo>
                      <a:lnTo>
                        <a:pt x="22" y="425"/>
                      </a:lnTo>
                      <a:lnTo>
                        <a:pt x="8" y="567"/>
                      </a:lnTo>
                      <a:lnTo>
                        <a:pt x="2" y="629"/>
                      </a:lnTo>
                      <a:lnTo>
                        <a:pt x="0" y="649"/>
                      </a:lnTo>
                      <a:lnTo>
                        <a:pt x="24" y="651"/>
                      </a:lnTo>
                      <a:lnTo>
                        <a:pt x="416" y="685"/>
                      </a:lnTo>
                      <a:lnTo>
                        <a:pt x="589" y="695"/>
                      </a:lnTo>
                      <a:lnTo>
                        <a:pt x="761" y="703"/>
                      </a:lnTo>
                      <a:lnTo>
                        <a:pt x="785" y="705"/>
                      </a:lnTo>
                      <a:lnTo>
                        <a:pt x="801" y="705"/>
                      </a:lnTo>
                      <a:lnTo>
                        <a:pt x="833" y="707"/>
                      </a:lnTo>
                      <a:lnTo>
                        <a:pt x="849" y="707"/>
                      </a:lnTo>
                      <a:lnTo>
                        <a:pt x="897" y="709"/>
                      </a:lnTo>
                      <a:lnTo>
                        <a:pt x="909" y="709"/>
                      </a:lnTo>
                      <a:lnTo>
                        <a:pt x="909" y="693"/>
                      </a:lnTo>
                      <a:lnTo>
                        <a:pt x="919" y="283"/>
                      </a:lnTo>
                      <a:lnTo>
                        <a:pt x="919" y="237"/>
                      </a:lnTo>
                      <a:lnTo>
                        <a:pt x="919" y="221"/>
                      </a:lnTo>
                      <a:lnTo>
                        <a:pt x="921" y="211"/>
                      </a:lnTo>
                      <a:lnTo>
                        <a:pt x="921" y="211"/>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2" name="Nevada" descr="{&quot;Key&quot;:&quot;nevada&quot;,&quot;Name&quot;:&quot;Nevada&quot;,&quot;Value&quot;:1.0,&quot;Formula&quot;:&quot;&quot;,&quot;Text&quot;:&quot;&quot;,&quot;OfficeApplication&quot;:1,&quot;HasValue&quot;:true}">
                  <a:extLst>
                    <a:ext uri="{FF2B5EF4-FFF2-40B4-BE49-F238E27FC236}">
                      <a16:creationId xmlns:a16="http://schemas.microsoft.com/office/drawing/2014/main" id="{91554B7B-F1BA-4CBC-87A2-DFA65D5D732F}"/>
                    </a:ext>
                  </a:extLst>
                </p:cNvPr>
                <p:cNvSpPr>
                  <a:spLocks/>
                </p:cNvSpPr>
                <p:nvPr/>
              </p:nvSpPr>
              <p:spPr bwMode="auto">
                <a:xfrm>
                  <a:off x="1817689" y="2678114"/>
                  <a:ext cx="1293813" cy="2006599"/>
                </a:xfrm>
                <a:custGeom>
                  <a:avLst/>
                  <a:gdLst>
                    <a:gd name="T0" fmla="*/ 687 w 815"/>
                    <a:gd name="T1" fmla="*/ 929 h 1264"/>
                    <a:gd name="T2" fmla="*/ 769 w 815"/>
                    <a:gd name="T3" fmla="*/ 426 h 1264"/>
                    <a:gd name="T4" fmla="*/ 809 w 815"/>
                    <a:gd name="T5" fmla="*/ 174 h 1264"/>
                    <a:gd name="T6" fmla="*/ 815 w 815"/>
                    <a:gd name="T7" fmla="*/ 150 h 1264"/>
                    <a:gd name="T8" fmla="*/ 791 w 815"/>
                    <a:gd name="T9" fmla="*/ 146 h 1264"/>
                    <a:gd name="T10" fmla="*/ 703 w 815"/>
                    <a:gd name="T11" fmla="*/ 130 h 1264"/>
                    <a:gd name="T12" fmla="*/ 484 w 815"/>
                    <a:gd name="T13" fmla="*/ 86 h 1264"/>
                    <a:gd name="T14" fmla="*/ 462 w 815"/>
                    <a:gd name="T15" fmla="*/ 82 h 1264"/>
                    <a:gd name="T16" fmla="*/ 440 w 815"/>
                    <a:gd name="T17" fmla="*/ 76 h 1264"/>
                    <a:gd name="T18" fmla="*/ 330 w 815"/>
                    <a:gd name="T19" fmla="*/ 52 h 1264"/>
                    <a:gd name="T20" fmla="*/ 134 w 815"/>
                    <a:gd name="T21" fmla="*/ 6 h 1264"/>
                    <a:gd name="T22" fmla="*/ 112 w 815"/>
                    <a:gd name="T23" fmla="*/ 0 h 1264"/>
                    <a:gd name="T24" fmla="*/ 106 w 815"/>
                    <a:gd name="T25" fmla="*/ 30 h 1264"/>
                    <a:gd name="T26" fmla="*/ 0 w 815"/>
                    <a:gd name="T27" fmla="*/ 478 h 1264"/>
                    <a:gd name="T28" fmla="*/ 92 w 815"/>
                    <a:gd name="T29" fmla="*/ 611 h 1264"/>
                    <a:gd name="T30" fmla="*/ 186 w 815"/>
                    <a:gd name="T31" fmla="*/ 743 h 1264"/>
                    <a:gd name="T32" fmla="*/ 354 w 815"/>
                    <a:gd name="T33" fmla="*/ 983 h 1264"/>
                    <a:gd name="T34" fmla="*/ 474 w 815"/>
                    <a:gd name="T35" fmla="*/ 1153 h 1264"/>
                    <a:gd name="T36" fmla="*/ 537 w 815"/>
                    <a:gd name="T37" fmla="*/ 1236 h 1264"/>
                    <a:gd name="T38" fmla="*/ 557 w 815"/>
                    <a:gd name="T39" fmla="*/ 1264 h 1264"/>
                    <a:gd name="T40" fmla="*/ 557 w 815"/>
                    <a:gd name="T41" fmla="*/ 1262 h 1264"/>
                    <a:gd name="T42" fmla="*/ 569 w 815"/>
                    <a:gd name="T43" fmla="*/ 1236 h 1264"/>
                    <a:gd name="T44" fmla="*/ 571 w 815"/>
                    <a:gd name="T45" fmla="*/ 1111 h 1264"/>
                    <a:gd name="T46" fmla="*/ 605 w 815"/>
                    <a:gd name="T47" fmla="*/ 1081 h 1264"/>
                    <a:gd name="T48" fmla="*/ 631 w 815"/>
                    <a:gd name="T49" fmla="*/ 1105 h 1264"/>
                    <a:gd name="T50" fmla="*/ 649 w 815"/>
                    <a:gd name="T51" fmla="*/ 1107 h 1264"/>
                    <a:gd name="T52" fmla="*/ 683 w 815"/>
                    <a:gd name="T53" fmla="*/ 957 h 1264"/>
                    <a:gd name="T54" fmla="*/ 683 w 815"/>
                    <a:gd name="T55" fmla="*/ 955 h 1264"/>
                    <a:gd name="T56" fmla="*/ 687 w 815"/>
                    <a:gd name="T57" fmla="*/ 929 h 1264"/>
                    <a:gd name="T58" fmla="*/ 687 w 815"/>
                    <a:gd name="T59" fmla="*/ 929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5" h="1264">
                      <a:moveTo>
                        <a:pt x="687" y="929"/>
                      </a:moveTo>
                      <a:lnTo>
                        <a:pt x="769" y="426"/>
                      </a:lnTo>
                      <a:lnTo>
                        <a:pt x="809" y="174"/>
                      </a:lnTo>
                      <a:lnTo>
                        <a:pt x="815" y="150"/>
                      </a:lnTo>
                      <a:lnTo>
                        <a:pt x="791" y="146"/>
                      </a:lnTo>
                      <a:lnTo>
                        <a:pt x="703" y="130"/>
                      </a:lnTo>
                      <a:lnTo>
                        <a:pt x="484" y="86"/>
                      </a:lnTo>
                      <a:lnTo>
                        <a:pt x="462" y="82"/>
                      </a:lnTo>
                      <a:lnTo>
                        <a:pt x="440" y="76"/>
                      </a:lnTo>
                      <a:lnTo>
                        <a:pt x="330" y="52"/>
                      </a:lnTo>
                      <a:lnTo>
                        <a:pt x="134" y="6"/>
                      </a:lnTo>
                      <a:lnTo>
                        <a:pt x="112" y="0"/>
                      </a:lnTo>
                      <a:lnTo>
                        <a:pt x="106" y="30"/>
                      </a:lnTo>
                      <a:lnTo>
                        <a:pt x="0" y="478"/>
                      </a:lnTo>
                      <a:lnTo>
                        <a:pt x="92" y="611"/>
                      </a:lnTo>
                      <a:lnTo>
                        <a:pt x="186" y="743"/>
                      </a:lnTo>
                      <a:lnTo>
                        <a:pt x="354" y="983"/>
                      </a:lnTo>
                      <a:lnTo>
                        <a:pt x="474" y="1153"/>
                      </a:lnTo>
                      <a:lnTo>
                        <a:pt x="537" y="1236"/>
                      </a:lnTo>
                      <a:lnTo>
                        <a:pt x="557" y="1264"/>
                      </a:lnTo>
                      <a:lnTo>
                        <a:pt x="557" y="1262"/>
                      </a:lnTo>
                      <a:lnTo>
                        <a:pt x="569" y="1236"/>
                      </a:lnTo>
                      <a:lnTo>
                        <a:pt x="571" y="1111"/>
                      </a:lnTo>
                      <a:lnTo>
                        <a:pt x="605" y="1081"/>
                      </a:lnTo>
                      <a:lnTo>
                        <a:pt x="631" y="1105"/>
                      </a:lnTo>
                      <a:lnTo>
                        <a:pt x="649" y="1107"/>
                      </a:lnTo>
                      <a:lnTo>
                        <a:pt x="683" y="957"/>
                      </a:lnTo>
                      <a:lnTo>
                        <a:pt x="683" y="955"/>
                      </a:lnTo>
                      <a:lnTo>
                        <a:pt x="687" y="929"/>
                      </a:lnTo>
                      <a:lnTo>
                        <a:pt x="687" y="929"/>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3" name="New Mexico" descr="{&quot;Key&quot;:&quot;new mexico&quot;,&quot;Name&quot;:&quot;New Mexico&quot;,&quot;Value&quot;:1.0,&quot;Formula&quot;:&quot;&quot;,&quot;Text&quot;:&quot;&quot;,&quot;OfficeApplication&quot;:1,&quot;HasValue&quot;:true}">
                  <a:extLst>
                    <a:ext uri="{FF2B5EF4-FFF2-40B4-BE49-F238E27FC236}">
                      <a16:creationId xmlns:a16="http://schemas.microsoft.com/office/drawing/2014/main" id="{74FD4B96-CAC0-44EF-B07B-96CFA0F8BB1B}"/>
                    </a:ext>
                  </a:extLst>
                </p:cNvPr>
                <p:cNvSpPr>
                  <a:spLocks/>
                </p:cNvSpPr>
                <p:nvPr/>
              </p:nvSpPr>
              <p:spPr bwMode="auto">
                <a:xfrm>
                  <a:off x="3784600" y="4337050"/>
                  <a:ext cx="1385888" cy="1473199"/>
                </a:xfrm>
                <a:custGeom>
                  <a:avLst/>
                  <a:gdLst>
                    <a:gd name="T0" fmla="*/ 871 w 873"/>
                    <a:gd name="T1" fmla="*/ 116 h 928"/>
                    <a:gd name="T2" fmla="*/ 871 w 873"/>
                    <a:gd name="T3" fmla="*/ 96 h 928"/>
                    <a:gd name="T4" fmla="*/ 873 w 873"/>
                    <a:gd name="T5" fmla="*/ 76 h 928"/>
                    <a:gd name="T6" fmla="*/ 873 w 873"/>
                    <a:gd name="T7" fmla="*/ 56 h 928"/>
                    <a:gd name="T8" fmla="*/ 849 w 873"/>
                    <a:gd name="T9" fmla="*/ 54 h 928"/>
                    <a:gd name="T10" fmla="*/ 677 w 873"/>
                    <a:gd name="T11" fmla="*/ 46 h 928"/>
                    <a:gd name="T12" fmla="*/ 504 w 873"/>
                    <a:gd name="T13" fmla="*/ 36 h 928"/>
                    <a:gd name="T14" fmla="*/ 112 w 873"/>
                    <a:gd name="T15" fmla="*/ 2 h 928"/>
                    <a:gd name="T16" fmla="*/ 88 w 873"/>
                    <a:gd name="T17" fmla="*/ 0 h 928"/>
                    <a:gd name="T18" fmla="*/ 84 w 873"/>
                    <a:gd name="T19" fmla="*/ 28 h 928"/>
                    <a:gd name="T20" fmla="*/ 26 w 873"/>
                    <a:gd name="T21" fmla="*/ 629 h 928"/>
                    <a:gd name="T22" fmla="*/ 20 w 873"/>
                    <a:gd name="T23" fmla="*/ 687 h 928"/>
                    <a:gd name="T24" fmla="*/ 0 w 873"/>
                    <a:gd name="T25" fmla="*/ 916 h 928"/>
                    <a:gd name="T26" fmla="*/ 2 w 873"/>
                    <a:gd name="T27" fmla="*/ 918 h 928"/>
                    <a:gd name="T28" fmla="*/ 110 w 873"/>
                    <a:gd name="T29" fmla="*/ 928 h 928"/>
                    <a:gd name="T30" fmla="*/ 120 w 873"/>
                    <a:gd name="T31" fmla="*/ 872 h 928"/>
                    <a:gd name="T32" fmla="*/ 138 w 873"/>
                    <a:gd name="T33" fmla="*/ 857 h 928"/>
                    <a:gd name="T34" fmla="*/ 356 w 873"/>
                    <a:gd name="T35" fmla="*/ 876 h 928"/>
                    <a:gd name="T36" fmla="*/ 358 w 873"/>
                    <a:gd name="T37" fmla="*/ 876 h 928"/>
                    <a:gd name="T38" fmla="*/ 338 w 873"/>
                    <a:gd name="T39" fmla="*/ 837 h 928"/>
                    <a:gd name="T40" fmla="*/ 438 w 873"/>
                    <a:gd name="T41" fmla="*/ 845 h 928"/>
                    <a:gd name="T42" fmla="*/ 685 w 873"/>
                    <a:gd name="T43" fmla="*/ 859 h 928"/>
                    <a:gd name="T44" fmla="*/ 839 w 873"/>
                    <a:gd name="T45" fmla="*/ 866 h 928"/>
                    <a:gd name="T46" fmla="*/ 865 w 873"/>
                    <a:gd name="T47" fmla="*/ 136 h 928"/>
                    <a:gd name="T48" fmla="*/ 869 w 873"/>
                    <a:gd name="T49" fmla="*/ 138 h 928"/>
                    <a:gd name="T50" fmla="*/ 871 w 873"/>
                    <a:gd name="T51" fmla="*/ 116 h 928"/>
                    <a:gd name="T52" fmla="*/ 871 w 873"/>
                    <a:gd name="T53" fmla="*/ 116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3" h="928">
                      <a:moveTo>
                        <a:pt x="871" y="116"/>
                      </a:moveTo>
                      <a:lnTo>
                        <a:pt x="871" y="96"/>
                      </a:lnTo>
                      <a:lnTo>
                        <a:pt x="873" y="76"/>
                      </a:lnTo>
                      <a:lnTo>
                        <a:pt x="873" y="56"/>
                      </a:lnTo>
                      <a:lnTo>
                        <a:pt x="849" y="54"/>
                      </a:lnTo>
                      <a:lnTo>
                        <a:pt x="677" y="46"/>
                      </a:lnTo>
                      <a:lnTo>
                        <a:pt x="504" y="36"/>
                      </a:lnTo>
                      <a:lnTo>
                        <a:pt x="112" y="2"/>
                      </a:lnTo>
                      <a:lnTo>
                        <a:pt x="88" y="0"/>
                      </a:lnTo>
                      <a:lnTo>
                        <a:pt x="84" y="28"/>
                      </a:lnTo>
                      <a:lnTo>
                        <a:pt x="26" y="629"/>
                      </a:lnTo>
                      <a:lnTo>
                        <a:pt x="20" y="687"/>
                      </a:lnTo>
                      <a:lnTo>
                        <a:pt x="0" y="916"/>
                      </a:lnTo>
                      <a:lnTo>
                        <a:pt x="2" y="918"/>
                      </a:lnTo>
                      <a:lnTo>
                        <a:pt x="110" y="928"/>
                      </a:lnTo>
                      <a:lnTo>
                        <a:pt x="120" y="872"/>
                      </a:lnTo>
                      <a:lnTo>
                        <a:pt x="138" y="857"/>
                      </a:lnTo>
                      <a:lnTo>
                        <a:pt x="356" y="876"/>
                      </a:lnTo>
                      <a:lnTo>
                        <a:pt x="358" y="876"/>
                      </a:lnTo>
                      <a:lnTo>
                        <a:pt x="338" y="837"/>
                      </a:lnTo>
                      <a:lnTo>
                        <a:pt x="438" y="845"/>
                      </a:lnTo>
                      <a:lnTo>
                        <a:pt x="685" y="859"/>
                      </a:lnTo>
                      <a:lnTo>
                        <a:pt x="839" y="866"/>
                      </a:lnTo>
                      <a:lnTo>
                        <a:pt x="865" y="136"/>
                      </a:lnTo>
                      <a:lnTo>
                        <a:pt x="869" y="138"/>
                      </a:lnTo>
                      <a:lnTo>
                        <a:pt x="871" y="116"/>
                      </a:lnTo>
                      <a:lnTo>
                        <a:pt x="871" y="116"/>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4" name="Oregon" descr="{&quot;Key&quot;:&quot;oregon&quot;,&quot;Name&quot;:&quot;Oregon&quot;,&quot;Value&quot;:1.0,&quot;Formula&quot;:&quot;&quot;,&quot;Text&quot;:&quot;&quot;,&quot;OfficeApplication&quot;:1,&quot;HasValue&quot;:true}">
                  <a:extLst>
                    <a:ext uri="{FF2B5EF4-FFF2-40B4-BE49-F238E27FC236}">
                      <a16:creationId xmlns:a16="http://schemas.microsoft.com/office/drawing/2014/main" id="{670778AF-D241-4177-B206-BB37DBAD54B4}"/>
                    </a:ext>
                  </a:extLst>
                </p:cNvPr>
                <p:cNvSpPr>
                  <a:spLocks noEditPoints="1"/>
                </p:cNvSpPr>
                <p:nvPr/>
              </p:nvSpPr>
              <p:spPr bwMode="auto">
                <a:xfrm>
                  <a:off x="1208088" y="1438276"/>
                  <a:ext cx="1624013" cy="1370012"/>
                </a:xfrm>
                <a:custGeom>
                  <a:avLst/>
                  <a:gdLst>
                    <a:gd name="T0" fmla="*/ 10 w 1023"/>
                    <a:gd name="T1" fmla="*/ 645 h 863"/>
                    <a:gd name="T2" fmla="*/ 134 w 1023"/>
                    <a:gd name="T3" fmla="*/ 683 h 863"/>
                    <a:gd name="T4" fmla="*/ 466 w 1023"/>
                    <a:gd name="T5" fmla="*/ 773 h 863"/>
                    <a:gd name="T6" fmla="*/ 496 w 1023"/>
                    <a:gd name="T7" fmla="*/ 781 h 863"/>
                    <a:gd name="T8" fmla="*/ 518 w 1023"/>
                    <a:gd name="T9" fmla="*/ 787 h 863"/>
                    <a:gd name="T10" fmla="*/ 714 w 1023"/>
                    <a:gd name="T11" fmla="*/ 833 h 863"/>
                    <a:gd name="T12" fmla="*/ 824 w 1023"/>
                    <a:gd name="T13" fmla="*/ 857 h 863"/>
                    <a:gd name="T14" fmla="*/ 846 w 1023"/>
                    <a:gd name="T15" fmla="*/ 863 h 863"/>
                    <a:gd name="T16" fmla="*/ 848 w 1023"/>
                    <a:gd name="T17" fmla="*/ 847 h 863"/>
                    <a:gd name="T18" fmla="*/ 923 w 1023"/>
                    <a:gd name="T19" fmla="*/ 540 h 863"/>
                    <a:gd name="T20" fmla="*/ 903 w 1023"/>
                    <a:gd name="T21" fmla="*/ 490 h 863"/>
                    <a:gd name="T22" fmla="*/ 905 w 1023"/>
                    <a:gd name="T23" fmla="*/ 470 h 863"/>
                    <a:gd name="T24" fmla="*/ 985 w 1023"/>
                    <a:gd name="T25" fmla="*/ 364 h 863"/>
                    <a:gd name="T26" fmla="*/ 1023 w 1023"/>
                    <a:gd name="T27" fmla="*/ 270 h 863"/>
                    <a:gd name="T28" fmla="*/ 997 w 1023"/>
                    <a:gd name="T29" fmla="*/ 240 h 863"/>
                    <a:gd name="T30" fmla="*/ 997 w 1023"/>
                    <a:gd name="T31" fmla="*/ 226 h 863"/>
                    <a:gd name="T32" fmla="*/ 997 w 1023"/>
                    <a:gd name="T33" fmla="*/ 224 h 863"/>
                    <a:gd name="T34" fmla="*/ 981 w 1023"/>
                    <a:gd name="T35" fmla="*/ 222 h 863"/>
                    <a:gd name="T36" fmla="*/ 762 w 1023"/>
                    <a:gd name="T37" fmla="*/ 172 h 863"/>
                    <a:gd name="T38" fmla="*/ 750 w 1023"/>
                    <a:gd name="T39" fmla="*/ 178 h 863"/>
                    <a:gd name="T40" fmla="*/ 708 w 1023"/>
                    <a:gd name="T41" fmla="*/ 170 h 863"/>
                    <a:gd name="T42" fmla="*/ 622 w 1023"/>
                    <a:gd name="T43" fmla="*/ 180 h 863"/>
                    <a:gd name="T44" fmla="*/ 568 w 1023"/>
                    <a:gd name="T45" fmla="*/ 172 h 863"/>
                    <a:gd name="T46" fmla="*/ 514 w 1023"/>
                    <a:gd name="T47" fmla="*/ 172 h 863"/>
                    <a:gd name="T48" fmla="*/ 508 w 1023"/>
                    <a:gd name="T49" fmla="*/ 158 h 863"/>
                    <a:gd name="T50" fmla="*/ 390 w 1023"/>
                    <a:gd name="T51" fmla="*/ 148 h 863"/>
                    <a:gd name="T52" fmla="*/ 348 w 1023"/>
                    <a:gd name="T53" fmla="*/ 124 h 863"/>
                    <a:gd name="T54" fmla="*/ 344 w 1023"/>
                    <a:gd name="T55" fmla="*/ 110 h 863"/>
                    <a:gd name="T56" fmla="*/ 348 w 1023"/>
                    <a:gd name="T57" fmla="*/ 52 h 863"/>
                    <a:gd name="T58" fmla="*/ 320 w 1023"/>
                    <a:gd name="T59" fmla="*/ 22 h 863"/>
                    <a:gd name="T60" fmla="*/ 318 w 1023"/>
                    <a:gd name="T61" fmla="*/ 22 h 863"/>
                    <a:gd name="T62" fmla="*/ 312 w 1023"/>
                    <a:gd name="T63" fmla="*/ 26 h 863"/>
                    <a:gd name="T64" fmla="*/ 274 w 1023"/>
                    <a:gd name="T65" fmla="*/ 6 h 863"/>
                    <a:gd name="T66" fmla="*/ 250 w 1023"/>
                    <a:gd name="T67" fmla="*/ 12 h 863"/>
                    <a:gd name="T68" fmla="*/ 234 w 1023"/>
                    <a:gd name="T69" fmla="*/ 4 h 863"/>
                    <a:gd name="T70" fmla="*/ 218 w 1023"/>
                    <a:gd name="T71" fmla="*/ 72 h 863"/>
                    <a:gd name="T72" fmla="*/ 208 w 1023"/>
                    <a:gd name="T73" fmla="*/ 90 h 863"/>
                    <a:gd name="T74" fmla="*/ 158 w 1023"/>
                    <a:gd name="T75" fmla="*/ 208 h 863"/>
                    <a:gd name="T76" fmla="*/ 146 w 1023"/>
                    <a:gd name="T77" fmla="*/ 272 h 863"/>
                    <a:gd name="T78" fmla="*/ 136 w 1023"/>
                    <a:gd name="T79" fmla="*/ 272 h 863"/>
                    <a:gd name="T80" fmla="*/ 92 w 1023"/>
                    <a:gd name="T81" fmla="*/ 380 h 863"/>
                    <a:gd name="T82" fmla="*/ 62 w 1023"/>
                    <a:gd name="T83" fmla="*/ 426 h 863"/>
                    <a:gd name="T84" fmla="*/ 50 w 1023"/>
                    <a:gd name="T85" fmla="*/ 434 h 863"/>
                    <a:gd name="T86" fmla="*/ 22 w 1023"/>
                    <a:gd name="T87" fmla="*/ 488 h 863"/>
                    <a:gd name="T88" fmla="*/ 16 w 1023"/>
                    <a:gd name="T89" fmla="*/ 546 h 863"/>
                    <a:gd name="T90" fmla="*/ 0 w 1023"/>
                    <a:gd name="T91" fmla="*/ 597 h 863"/>
                    <a:gd name="T92" fmla="*/ 10 w 1023"/>
                    <a:gd name="T93" fmla="*/ 645 h 863"/>
                    <a:gd name="T94" fmla="*/ 10 w 1023"/>
                    <a:gd name="T95" fmla="*/ 645 h 863"/>
                    <a:gd name="T96" fmla="*/ 10 w 1023"/>
                    <a:gd name="T97" fmla="*/ 645 h 863"/>
                    <a:gd name="T98" fmla="*/ 294 w 1023"/>
                    <a:gd name="T99" fmla="*/ 6 h 863"/>
                    <a:gd name="T100" fmla="*/ 292 w 1023"/>
                    <a:gd name="T101" fmla="*/ 0 h 863"/>
                    <a:gd name="T102" fmla="*/ 292 w 1023"/>
                    <a:gd name="T103" fmla="*/ 4 h 863"/>
                    <a:gd name="T104" fmla="*/ 294 w 1023"/>
                    <a:gd name="T105" fmla="*/ 6 h 863"/>
                    <a:gd name="T106" fmla="*/ 294 w 1023"/>
                    <a:gd name="T107" fmla="*/ 6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3" h="863">
                      <a:moveTo>
                        <a:pt x="10" y="645"/>
                      </a:moveTo>
                      <a:lnTo>
                        <a:pt x="134" y="683"/>
                      </a:lnTo>
                      <a:lnTo>
                        <a:pt x="466" y="773"/>
                      </a:lnTo>
                      <a:lnTo>
                        <a:pt x="496" y="781"/>
                      </a:lnTo>
                      <a:lnTo>
                        <a:pt x="518" y="787"/>
                      </a:lnTo>
                      <a:lnTo>
                        <a:pt x="714" y="833"/>
                      </a:lnTo>
                      <a:lnTo>
                        <a:pt x="824" y="857"/>
                      </a:lnTo>
                      <a:lnTo>
                        <a:pt x="846" y="863"/>
                      </a:lnTo>
                      <a:lnTo>
                        <a:pt x="848" y="847"/>
                      </a:lnTo>
                      <a:lnTo>
                        <a:pt x="923" y="540"/>
                      </a:lnTo>
                      <a:lnTo>
                        <a:pt x="903" y="490"/>
                      </a:lnTo>
                      <a:lnTo>
                        <a:pt x="905" y="470"/>
                      </a:lnTo>
                      <a:lnTo>
                        <a:pt x="985" y="364"/>
                      </a:lnTo>
                      <a:lnTo>
                        <a:pt x="1023" y="270"/>
                      </a:lnTo>
                      <a:lnTo>
                        <a:pt x="997" y="240"/>
                      </a:lnTo>
                      <a:lnTo>
                        <a:pt x="997" y="226"/>
                      </a:lnTo>
                      <a:lnTo>
                        <a:pt x="997" y="224"/>
                      </a:lnTo>
                      <a:lnTo>
                        <a:pt x="981" y="222"/>
                      </a:lnTo>
                      <a:lnTo>
                        <a:pt x="762" y="172"/>
                      </a:lnTo>
                      <a:lnTo>
                        <a:pt x="750" y="178"/>
                      </a:lnTo>
                      <a:lnTo>
                        <a:pt x="708" y="170"/>
                      </a:lnTo>
                      <a:lnTo>
                        <a:pt x="622" y="180"/>
                      </a:lnTo>
                      <a:lnTo>
                        <a:pt x="568" y="172"/>
                      </a:lnTo>
                      <a:lnTo>
                        <a:pt x="514" y="172"/>
                      </a:lnTo>
                      <a:lnTo>
                        <a:pt x="508" y="158"/>
                      </a:lnTo>
                      <a:lnTo>
                        <a:pt x="390" y="148"/>
                      </a:lnTo>
                      <a:lnTo>
                        <a:pt x="348" y="124"/>
                      </a:lnTo>
                      <a:lnTo>
                        <a:pt x="344" y="110"/>
                      </a:lnTo>
                      <a:lnTo>
                        <a:pt x="348" y="52"/>
                      </a:lnTo>
                      <a:lnTo>
                        <a:pt x="320" y="22"/>
                      </a:lnTo>
                      <a:lnTo>
                        <a:pt x="318" y="22"/>
                      </a:lnTo>
                      <a:lnTo>
                        <a:pt x="312" y="26"/>
                      </a:lnTo>
                      <a:lnTo>
                        <a:pt x="274" y="6"/>
                      </a:lnTo>
                      <a:lnTo>
                        <a:pt x="250" y="12"/>
                      </a:lnTo>
                      <a:lnTo>
                        <a:pt x="234" y="4"/>
                      </a:lnTo>
                      <a:lnTo>
                        <a:pt x="218" y="72"/>
                      </a:lnTo>
                      <a:lnTo>
                        <a:pt x="208" y="90"/>
                      </a:lnTo>
                      <a:lnTo>
                        <a:pt x="158" y="208"/>
                      </a:lnTo>
                      <a:lnTo>
                        <a:pt x="146" y="272"/>
                      </a:lnTo>
                      <a:lnTo>
                        <a:pt x="136" y="272"/>
                      </a:lnTo>
                      <a:lnTo>
                        <a:pt x="92" y="380"/>
                      </a:lnTo>
                      <a:lnTo>
                        <a:pt x="62" y="426"/>
                      </a:lnTo>
                      <a:lnTo>
                        <a:pt x="50" y="434"/>
                      </a:lnTo>
                      <a:lnTo>
                        <a:pt x="22" y="488"/>
                      </a:lnTo>
                      <a:lnTo>
                        <a:pt x="16" y="546"/>
                      </a:lnTo>
                      <a:lnTo>
                        <a:pt x="0" y="597"/>
                      </a:lnTo>
                      <a:lnTo>
                        <a:pt x="10" y="645"/>
                      </a:lnTo>
                      <a:lnTo>
                        <a:pt x="10" y="645"/>
                      </a:lnTo>
                      <a:lnTo>
                        <a:pt x="10" y="645"/>
                      </a:lnTo>
                      <a:close/>
                      <a:moveTo>
                        <a:pt x="294" y="6"/>
                      </a:moveTo>
                      <a:lnTo>
                        <a:pt x="292" y="0"/>
                      </a:lnTo>
                      <a:lnTo>
                        <a:pt x="292" y="4"/>
                      </a:lnTo>
                      <a:lnTo>
                        <a:pt x="294" y="6"/>
                      </a:lnTo>
                      <a:lnTo>
                        <a:pt x="294" y="6"/>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5" name="Utah" descr="{&quot;Key&quot;:&quot;utah&quot;,&quot;Name&quot;:&quot;Utah&quot;,&quot;Value&quot;:1.0,&quot;Formula&quot;:&quot;&quot;,&quot;Text&quot;:&quot;&quot;,&quot;OfficeApplication&quot;:1,&quot;HasValue&quot;:true}">
                  <a:extLst>
                    <a:ext uri="{FF2B5EF4-FFF2-40B4-BE49-F238E27FC236}">
                      <a16:creationId xmlns:a16="http://schemas.microsoft.com/office/drawing/2014/main" id="{82005C4C-5AD1-4932-A579-2559AD5528D1}"/>
                    </a:ext>
                  </a:extLst>
                </p:cNvPr>
                <p:cNvSpPr>
                  <a:spLocks/>
                </p:cNvSpPr>
                <p:nvPr/>
              </p:nvSpPr>
              <p:spPr bwMode="auto">
                <a:xfrm>
                  <a:off x="2901950" y="2916237"/>
                  <a:ext cx="1127124" cy="1420813"/>
                </a:xfrm>
                <a:custGeom>
                  <a:avLst/>
                  <a:gdLst>
                    <a:gd name="T0" fmla="*/ 466 w 710"/>
                    <a:gd name="T1" fmla="*/ 52 h 895"/>
                    <a:gd name="T2" fmla="*/ 264 w 710"/>
                    <a:gd name="T3" fmla="*/ 22 h 895"/>
                    <a:gd name="T4" fmla="*/ 152 w 710"/>
                    <a:gd name="T5" fmla="*/ 4 h 895"/>
                    <a:gd name="T6" fmla="*/ 132 w 710"/>
                    <a:gd name="T7" fmla="*/ 0 h 895"/>
                    <a:gd name="T8" fmla="*/ 126 w 710"/>
                    <a:gd name="T9" fmla="*/ 24 h 895"/>
                    <a:gd name="T10" fmla="*/ 86 w 710"/>
                    <a:gd name="T11" fmla="*/ 276 h 895"/>
                    <a:gd name="T12" fmla="*/ 4 w 710"/>
                    <a:gd name="T13" fmla="*/ 779 h 895"/>
                    <a:gd name="T14" fmla="*/ 0 w 710"/>
                    <a:gd name="T15" fmla="*/ 805 h 895"/>
                    <a:gd name="T16" fmla="*/ 20 w 710"/>
                    <a:gd name="T17" fmla="*/ 807 h 895"/>
                    <a:gd name="T18" fmla="*/ 222 w 710"/>
                    <a:gd name="T19" fmla="*/ 839 h 895"/>
                    <a:gd name="T20" fmla="*/ 362 w 710"/>
                    <a:gd name="T21" fmla="*/ 859 h 895"/>
                    <a:gd name="T22" fmla="*/ 624 w 710"/>
                    <a:gd name="T23" fmla="*/ 893 h 895"/>
                    <a:gd name="T24" fmla="*/ 644 w 710"/>
                    <a:gd name="T25" fmla="*/ 895 h 895"/>
                    <a:gd name="T26" fmla="*/ 646 w 710"/>
                    <a:gd name="T27" fmla="*/ 875 h 895"/>
                    <a:gd name="T28" fmla="*/ 652 w 710"/>
                    <a:gd name="T29" fmla="*/ 813 h 895"/>
                    <a:gd name="T30" fmla="*/ 666 w 710"/>
                    <a:gd name="T31" fmla="*/ 671 h 895"/>
                    <a:gd name="T32" fmla="*/ 708 w 710"/>
                    <a:gd name="T33" fmla="*/ 266 h 895"/>
                    <a:gd name="T34" fmla="*/ 710 w 710"/>
                    <a:gd name="T35" fmla="*/ 246 h 895"/>
                    <a:gd name="T36" fmla="*/ 694 w 710"/>
                    <a:gd name="T37" fmla="*/ 244 h 895"/>
                    <a:gd name="T38" fmla="*/ 496 w 710"/>
                    <a:gd name="T39" fmla="*/ 220 h 895"/>
                    <a:gd name="T40" fmla="*/ 466 w 710"/>
                    <a:gd name="T41" fmla="*/ 216 h 895"/>
                    <a:gd name="T42" fmla="*/ 486 w 710"/>
                    <a:gd name="T43" fmla="*/ 66 h 895"/>
                    <a:gd name="T44" fmla="*/ 488 w 710"/>
                    <a:gd name="T45" fmla="*/ 54 h 895"/>
                    <a:gd name="T46" fmla="*/ 466 w 710"/>
                    <a:gd name="T47" fmla="*/ 52 h 895"/>
                    <a:gd name="T48" fmla="*/ 466 w 710"/>
                    <a:gd name="T49" fmla="*/ 52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10" h="895">
                      <a:moveTo>
                        <a:pt x="466" y="52"/>
                      </a:moveTo>
                      <a:lnTo>
                        <a:pt x="264" y="22"/>
                      </a:lnTo>
                      <a:lnTo>
                        <a:pt x="152" y="4"/>
                      </a:lnTo>
                      <a:lnTo>
                        <a:pt x="132" y="0"/>
                      </a:lnTo>
                      <a:lnTo>
                        <a:pt x="126" y="24"/>
                      </a:lnTo>
                      <a:lnTo>
                        <a:pt x="86" y="276"/>
                      </a:lnTo>
                      <a:lnTo>
                        <a:pt x="4" y="779"/>
                      </a:lnTo>
                      <a:lnTo>
                        <a:pt x="0" y="805"/>
                      </a:lnTo>
                      <a:lnTo>
                        <a:pt x="20" y="807"/>
                      </a:lnTo>
                      <a:lnTo>
                        <a:pt x="222" y="839"/>
                      </a:lnTo>
                      <a:lnTo>
                        <a:pt x="362" y="859"/>
                      </a:lnTo>
                      <a:lnTo>
                        <a:pt x="624" y="893"/>
                      </a:lnTo>
                      <a:lnTo>
                        <a:pt x="644" y="895"/>
                      </a:lnTo>
                      <a:lnTo>
                        <a:pt x="646" y="875"/>
                      </a:lnTo>
                      <a:lnTo>
                        <a:pt x="652" y="813"/>
                      </a:lnTo>
                      <a:lnTo>
                        <a:pt x="666" y="671"/>
                      </a:lnTo>
                      <a:lnTo>
                        <a:pt x="708" y="266"/>
                      </a:lnTo>
                      <a:lnTo>
                        <a:pt x="710" y="246"/>
                      </a:lnTo>
                      <a:lnTo>
                        <a:pt x="694" y="244"/>
                      </a:lnTo>
                      <a:lnTo>
                        <a:pt x="496" y="220"/>
                      </a:lnTo>
                      <a:lnTo>
                        <a:pt x="466" y="216"/>
                      </a:lnTo>
                      <a:lnTo>
                        <a:pt x="486" y="66"/>
                      </a:lnTo>
                      <a:lnTo>
                        <a:pt x="488" y="54"/>
                      </a:lnTo>
                      <a:lnTo>
                        <a:pt x="466" y="52"/>
                      </a:lnTo>
                      <a:lnTo>
                        <a:pt x="466" y="5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6" name="Wyoming" descr="{&quot;Key&quot;:&quot;wyoming&quot;,&quot;Name&quot;:&quot;Wyoming&quot;,&quot;Value&quot;:1.0,&quot;Formula&quot;:&quot;&quot;,&quot;Text&quot;:&quot;&quot;,&quot;OfficeApplication&quot;:1,&quot;HasValue&quot;:true}">
                  <a:extLst>
                    <a:ext uri="{FF2B5EF4-FFF2-40B4-BE49-F238E27FC236}">
                      <a16:creationId xmlns:a16="http://schemas.microsoft.com/office/drawing/2014/main" id="{8881EE1D-1F35-4FBB-971B-406A118E61FA}"/>
                    </a:ext>
                  </a:extLst>
                </p:cNvPr>
                <p:cNvSpPr>
                  <a:spLocks/>
                </p:cNvSpPr>
                <p:nvPr/>
              </p:nvSpPr>
              <p:spPr bwMode="auto">
                <a:xfrm>
                  <a:off x="3641724" y="2232026"/>
                  <a:ext cx="1408113" cy="1150937"/>
                </a:xfrm>
                <a:custGeom>
                  <a:avLst/>
                  <a:gdLst>
                    <a:gd name="T0" fmla="*/ 873 w 887"/>
                    <a:gd name="T1" fmla="*/ 381 h 725"/>
                    <a:gd name="T2" fmla="*/ 879 w 887"/>
                    <a:gd name="T3" fmla="*/ 259 h 725"/>
                    <a:gd name="T4" fmla="*/ 887 w 887"/>
                    <a:gd name="T5" fmla="*/ 97 h 725"/>
                    <a:gd name="T6" fmla="*/ 887 w 887"/>
                    <a:gd name="T7" fmla="*/ 75 h 725"/>
                    <a:gd name="T8" fmla="*/ 877 w 887"/>
                    <a:gd name="T9" fmla="*/ 75 h 725"/>
                    <a:gd name="T10" fmla="*/ 677 w 887"/>
                    <a:gd name="T11" fmla="*/ 63 h 725"/>
                    <a:gd name="T12" fmla="*/ 564 w 887"/>
                    <a:gd name="T13" fmla="*/ 54 h 725"/>
                    <a:gd name="T14" fmla="*/ 352 w 887"/>
                    <a:gd name="T15" fmla="*/ 34 h 725"/>
                    <a:gd name="T16" fmla="*/ 86 w 887"/>
                    <a:gd name="T17" fmla="*/ 0 h 725"/>
                    <a:gd name="T18" fmla="*/ 76 w 887"/>
                    <a:gd name="T19" fmla="*/ 77 h 725"/>
                    <a:gd name="T20" fmla="*/ 76 w 887"/>
                    <a:gd name="T21" fmla="*/ 83 h 725"/>
                    <a:gd name="T22" fmla="*/ 72 w 887"/>
                    <a:gd name="T23" fmla="*/ 107 h 725"/>
                    <a:gd name="T24" fmla="*/ 58 w 887"/>
                    <a:gd name="T25" fmla="*/ 207 h 725"/>
                    <a:gd name="T26" fmla="*/ 32 w 887"/>
                    <a:gd name="T27" fmla="*/ 409 h 725"/>
                    <a:gd name="T28" fmla="*/ 24 w 887"/>
                    <a:gd name="T29" fmla="*/ 461 h 725"/>
                    <a:gd name="T30" fmla="*/ 22 w 887"/>
                    <a:gd name="T31" fmla="*/ 485 h 725"/>
                    <a:gd name="T32" fmla="*/ 20 w 887"/>
                    <a:gd name="T33" fmla="*/ 497 h 725"/>
                    <a:gd name="T34" fmla="*/ 0 w 887"/>
                    <a:gd name="T35" fmla="*/ 647 h 725"/>
                    <a:gd name="T36" fmla="*/ 30 w 887"/>
                    <a:gd name="T37" fmla="*/ 651 h 725"/>
                    <a:gd name="T38" fmla="*/ 228 w 887"/>
                    <a:gd name="T39" fmla="*/ 675 h 725"/>
                    <a:gd name="T40" fmla="*/ 244 w 887"/>
                    <a:gd name="T41" fmla="*/ 677 h 725"/>
                    <a:gd name="T42" fmla="*/ 264 w 887"/>
                    <a:gd name="T43" fmla="*/ 679 h 725"/>
                    <a:gd name="T44" fmla="*/ 454 w 887"/>
                    <a:gd name="T45" fmla="*/ 697 h 725"/>
                    <a:gd name="T46" fmla="*/ 608 w 887"/>
                    <a:gd name="T47" fmla="*/ 711 h 725"/>
                    <a:gd name="T48" fmla="*/ 841 w 887"/>
                    <a:gd name="T49" fmla="*/ 725 h 725"/>
                    <a:gd name="T50" fmla="*/ 855 w 887"/>
                    <a:gd name="T51" fmla="*/ 725 h 725"/>
                    <a:gd name="T52" fmla="*/ 857 w 887"/>
                    <a:gd name="T53" fmla="*/ 705 h 725"/>
                    <a:gd name="T54" fmla="*/ 861 w 887"/>
                    <a:gd name="T55" fmla="*/ 625 h 725"/>
                    <a:gd name="T56" fmla="*/ 867 w 887"/>
                    <a:gd name="T57" fmla="*/ 483 h 725"/>
                    <a:gd name="T58" fmla="*/ 871 w 887"/>
                    <a:gd name="T59" fmla="*/ 421 h 725"/>
                    <a:gd name="T60" fmla="*/ 871 w 887"/>
                    <a:gd name="T61" fmla="*/ 401 h 725"/>
                    <a:gd name="T62" fmla="*/ 873 w 887"/>
                    <a:gd name="T63" fmla="*/ 381 h 725"/>
                    <a:gd name="T64" fmla="*/ 873 w 887"/>
                    <a:gd name="T65" fmla="*/ 381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7" h="725">
                      <a:moveTo>
                        <a:pt x="873" y="381"/>
                      </a:moveTo>
                      <a:lnTo>
                        <a:pt x="879" y="259"/>
                      </a:lnTo>
                      <a:lnTo>
                        <a:pt x="887" y="97"/>
                      </a:lnTo>
                      <a:lnTo>
                        <a:pt x="887" y="75"/>
                      </a:lnTo>
                      <a:lnTo>
                        <a:pt x="877" y="75"/>
                      </a:lnTo>
                      <a:lnTo>
                        <a:pt x="677" y="63"/>
                      </a:lnTo>
                      <a:lnTo>
                        <a:pt x="564" y="54"/>
                      </a:lnTo>
                      <a:lnTo>
                        <a:pt x="352" y="34"/>
                      </a:lnTo>
                      <a:lnTo>
                        <a:pt x="86" y="0"/>
                      </a:lnTo>
                      <a:lnTo>
                        <a:pt x="76" y="77"/>
                      </a:lnTo>
                      <a:lnTo>
                        <a:pt x="76" y="83"/>
                      </a:lnTo>
                      <a:lnTo>
                        <a:pt x="72" y="107"/>
                      </a:lnTo>
                      <a:lnTo>
                        <a:pt x="58" y="207"/>
                      </a:lnTo>
                      <a:lnTo>
                        <a:pt x="32" y="409"/>
                      </a:lnTo>
                      <a:lnTo>
                        <a:pt x="24" y="461"/>
                      </a:lnTo>
                      <a:lnTo>
                        <a:pt x="22" y="485"/>
                      </a:lnTo>
                      <a:lnTo>
                        <a:pt x="20" y="497"/>
                      </a:lnTo>
                      <a:lnTo>
                        <a:pt x="0" y="647"/>
                      </a:lnTo>
                      <a:lnTo>
                        <a:pt x="30" y="651"/>
                      </a:lnTo>
                      <a:lnTo>
                        <a:pt x="228" y="675"/>
                      </a:lnTo>
                      <a:lnTo>
                        <a:pt x="244" y="677"/>
                      </a:lnTo>
                      <a:lnTo>
                        <a:pt x="264" y="679"/>
                      </a:lnTo>
                      <a:lnTo>
                        <a:pt x="454" y="697"/>
                      </a:lnTo>
                      <a:lnTo>
                        <a:pt x="608" y="711"/>
                      </a:lnTo>
                      <a:lnTo>
                        <a:pt x="841" y="725"/>
                      </a:lnTo>
                      <a:lnTo>
                        <a:pt x="855" y="725"/>
                      </a:lnTo>
                      <a:lnTo>
                        <a:pt x="857" y="705"/>
                      </a:lnTo>
                      <a:lnTo>
                        <a:pt x="861" y="625"/>
                      </a:lnTo>
                      <a:lnTo>
                        <a:pt x="867" y="483"/>
                      </a:lnTo>
                      <a:lnTo>
                        <a:pt x="871" y="421"/>
                      </a:lnTo>
                      <a:lnTo>
                        <a:pt x="871" y="401"/>
                      </a:lnTo>
                      <a:lnTo>
                        <a:pt x="873" y="381"/>
                      </a:lnTo>
                      <a:lnTo>
                        <a:pt x="873" y="381"/>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7" name="Arkansas" descr="{&quot;Key&quot;:&quot;arkansas&quot;,&quot;Name&quot;:&quot;Arkansas&quot;,&quot;Value&quot;:1.0,&quot;Formula&quot;:&quot;&quot;,&quot;Text&quot;:&quot;&quot;,&quot;OfficeApplication&quot;:1,&quot;HasValue&quot;:true}">
                  <a:extLst>
                    <a:ext uri="{FF2B5EF4-FFF2-40B4-BE49-F238E27FC236}">
                      <a16:creationId xmlns:a16="http://schemas.microsoft.com/office/drawing/2014/main" id="{4A8BCEF0-DCF8-4B00-85B6-9692DCD415D6}"/>
                    </a:ext>
                  </a:extLst>
                </p:cNvPr>
                <p:cNvSpPr>
                  <a:spLocks/>
                </p:cNvSpPr>
                <p:nvPr/>
              </p:nvSpPr>
              <p:spPr bwMode="auto">
                <a:xfrm>
                  <a:off x="6908800" y="4448176"/>
                  <a:ext cx="1028700" cy="969963"/>
                </a:xfrm>
                <a:custGeom>
                  <a:avLst/>
                  <a:gdLst>
                    <a:gd name="T0" fmla="*/ 648 w 648"/>
                    <a:gd name="T1" fmla="*/ 72 h 611"/>
                    <a:gd name="T2" fmla="*/ 564 w 648"/>
                    <a:gd name="T3" fmla="*/ 85 h 611"/>
                    <a:gd name="T4" fmla="*/ 598 w 648"/>
                    <a:gd name="T5" fmla="*/ 30 h 611"/>
                    <a:gd name="T6" fmla="*/ 584 w 648"/>
                    <a:gd name="T7" fmla="*/ 0 h 611"/>
                    <a:gd name="T8" fmla="*/ 288 w 648"/>
                    <a:gd name="T9" fmla="*/ 28 h 611"/>
                    <a:gd name="T10" fmla="*/ 38 w 648"/>
                    <a:gd name="T11" fmla="*/ 50 h 611"/>
                    <a:gd name="T12" fmla="*/ 0 w 648"/>
                    <a:gd name="T13" fmla="*/ 52 h 611"/>
                    <a:gd name="T14" fmla="*/ 6 w 648"/>
                    <a:gd name="T15" fmla="*/ 74 h 611"/>
                    <a:gd name="T16" fmla="*/ 36 w 648"/>
                    <a:gd name="T17" fmla="*/ 231 h 611"/>
                    <a:gd name="T18" fmla="*/ 36 w 648"/>
                    <a:gd name="T19" fmla="*/ 267 h 611"/>
                    <a:gd name="T20" fmla="*/ 46 w 648"/>
                    <a:gd name="T21" fmla="*/ 477 h 611"/>
                    <a:gd name="T22" fmla="*/ 46 w 648"/>
                    <a:gd name="T23" fmla="*/ 513 h 611"/>
                    <a:gd name="T24" fmla="*/ 48 w 648"/>
                    <a:gd name="T25" fmla="*/ 513 h 611"/>
                    <a:gd name="T26" fmla="*/ 60 w 648"/>
                    <a:gd name="T27" fmla="*/ 525 h 611"/>
                    <a:gd name="T28" fmla="*/ 106 w 648"/>
                    <a:gd name="T29" fmla="*/ 523 h 611"/>
                    <a:gd name="T30" fmla="*/ 112 w 648"/>
                    <a:gd name="T31" fmla="*/ 593 h 611"/>
                    <a:gd name="T32" fmla="*/ 112 w 648"/>
                    <a:gd name="T33" fmla="*/ 611 h 611"/>
                    <a:gd name="T34" fmla="*/ 136 w 648"/>
                    <a:gd name="T35" fmla="*/ 609 h 611"/>
                    <a:gd name="T36" fmla="*/ 210 w 648"/>
                    <a:gd name="T37" fmla="*/ 603 h 611"/>
                    <a:gd name="T38" fmla="*/ 504 w 648"/>
                    <a:gd name="T39" fmla="*/ 577 h 611"/>
                    <a:gd name="T40" fmla="*/ 504 w 648"/>
                    <a:gd name="T41" fmla="*/ 577 h 611"/>
                    <a:gd name="T42" fmla="*/ 504 w 648"/>
                    <a:gd name="T43" fmla="*/ 559 h 611"/>
                    <a:gd name="T44" fmla="*/ 512 w 648"/>
                    <a:gd name="T45" fmla="*/ 555 h 611"/>
                    <a:gd name="T46" fmla="*/ 498 w 648"/>
                    <a:gd name="T47" fmla="*/ 527 h 611"/>
                    <a:gd name="T48" fmla="*/ 528 w 648"/>
                    <a:gd name="T49" fmla="*/ 403 h 611"/>
                    <a:gd name="T50" fmla="*/ 516 w 648"/>
                    <a:gd name="T51" fmla="*/ 389 h 611"/>
                    <a:gd name="T52" fmla="*/ 560 w 648"/>
                    <a:gd name="T53" fmla="*/ 341 h 611"/>
                    <a:gd name="T54" fmla="*/ 556 w 648"/>
                    <a:gd name="T55" fmla="*/ 299 h 611"/>
                    <a:gd name="T56" fmla="*/ 590 w 648"/>
                    <a:gd name="T57" fmla="*/ 245 h 611"/>
                    <a:gd name="T58" fmla="*/ 590 w 648"/>
                    <a:gd name="T59" fmla="*/ 243 h 611"/>
                    <a:gd name="T60" fmla="*/ 588 w 648"/>
                    <a:gd name="T61" fmla="*/ 241 h 611"/>
                    <a:gd name="T62" fmla="*/ 616 w 648"/>
                    <a:gd name="T63" fmla="*/ 217 h 611"/>
                    <a:gd name="T64" fmla="*/ 608 w 648"/>
                    <a:gd name="T65" fmla="*/ 185 h 611"/>
                    <a:gd name="T66" fmla="*/ 630 w 648"/>
                    <a:gd name="T67" fmla="*/ 151 h 611"/>
                    <a:gd name="T68" fmla="*/ 626 w 648"/>
                    <a:gd name="T69" fmla="*/ 119 h 611"/>
                    <a:gd name="T70" fmla="*/ 648 w 648"/>
                    <a:gd name="T71" fmla="*/ 74 h 611"/>
                    <a:gd name="T72" fmla="*/ 648 w 648"/>
                    <a:gd name="T73" fmla="*/ 72 h 611"/>
                    <a:gd name="T74" fmla="*/ 648 w 648"/>
                    <a:gd name="T75" fmla="*/ 72 h 611"/>
                    <a:gd name="T76" fmla="*/ 648 w 648"/>
                    <a:gd name="T77" fmla="*/ 72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8" h="611">
                      <a:moveTo>
                        <a:pt x="648" y="72"/>
                      </a:moveTo>
                      <a:lnTo>
                        <a:pt x="564" y="85"/>
                      </a:lnTo>
                      <a:lnTo>
                        <a:pt x="598" y="30"/>
                      </a:lnTo>
                      <a:lnTo>
                        <a:pt x="584" y="0"/>
                      </a:lnTo>
                      <a:lnTo>
                        <a:pt x="288" y="28"/>
                      </a:lnTo>
                      <a:lnTo>
                        <a:pt x="38" y="50"/>
                      </a:lnTo>
                      <a:lnTo>
                        <a:pt x="0" y="52"/>
                      </a:lnTo>
                      <a:lnTo>
                        <a:pt x="6" y="74"/>
                      </a:lnTo>
                      <a:lnTo>
                        <a:pt x="36" y="231"/>
                      </a:lnTo>
                      <a:lnTo>
                        <a:pt x="36" y="267"/>
                      </a:lnTo>
                      <a:lnTo>
                        <a:pt x="46" y="477"/>
                      </a:lnTo>
                      <a:lnTo>
                        <a:pt x="46" y="513"/>
                      </a:lnTo>
                      <a:lnTo>
                        <a:pt x="48" y="513"/>
                      </a:lnTo>
                      <a:lnTo>
                        <a:pt x="60" y="525"/>
                      </a:lnTo>
                      <a:lnTo>
                        <a:pt x="106" y="523"/>
                      </a:lnTo>
                      <a:lnTo>
                        <a:pt x="112" y="593"/>
                      </a:lnTo>
                      <a:lnTo>
                        <a:pt x="112" y="611"/>
                      </a:lnTo>
                      <a:lnTo>
                        <a:pt x="136" y="609"/>
                      </a:lnTo>
                      <a:lnTo>
                        <a:pt x="210" y="603"/>
                      </a:lnTo>
                      <a:lnTo>
                        <a:pt x="504" y="577"/>
                      </a:lnTo>
                      <a:lnTo>
                        <a:pt x="504" y="577"/>
                      </a:lnTo>
                      <a:lnTo>
                        <a:pt x="504" y="559"/>
                      </a:lnTo>
                      <a:lnTo>
                        <a:pt x="512" y="555"/>
                      </a:lnTo>
                      <a:lnTo>
                        <a:pt x="498" y="527"/>
                      </a:lnTo>
                      <a:lnTo>
                        <a:pt x="528" y="403"/>
                      </a:lnTo>
                      <a:lnTo>
                        <a:pt x="516" y="389"/>
                      </a:lnTo>
                      <a:lnTo>
                        <a:pt x="560" y="341"/>
                      </a:lnTo>
                      <a:lnTo>
                        <a:pt x="556" y="299"/>
                      </a:lnTo>
                      <a:lnTo>
                        <a:pt x="590" y="245"/>
                      </a:lnTo>
                      <a:lnTo>
                        <a:pt x="590" y="243"/>
                      </a:lnTo>
                      <a:lnTo>
                        <a:pt x="588" y="241"/>
                      </a:lnTo>
                      <a:lnTo>
                        <a:pt x="616" y="217"/>
                      </a:lnTo>
                      <a:lnTo>
                        <a:pt x="608" y="185"/>
                      </a:lnTo>
                      <a:lnTo>
                        <a:pt x="630" y="151"/>
                      </a:lnTo>
                      <a:lnTo>
                        <a:pt x="626" y="119"/>
                      </a:lnTo>
                      <a:lnTo>
                        <a:pt x="648" y="74"/>
                      </a:lnTo>
                      <a:lnTo>
                        <a:pt x="648" y="72"/>
                      </a:lnTo>
                      <a:lnTo>
                        <a:pt x="648" y="72"/>
                      </a:lnTo>
                      <a:lnTo>
                        <a:pt x="648" y="7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8" name="Iowa" descr="{&quot;Key&quot;:&quot;iowa&quot;,&quot;Name&quot;:&quot;Iowa&quot;,&quot;Value&quot;:1.0,&quot;Formula&quot;:&quot;&quot;,&quot;Text&quot;:&quot;&quot;,&quot;OfficeApplication&quot;:1,&quot;HasValue&quot;:true}">
                  <a:extLst>
                    <a:ext uri="{FF2B5EF4-FFF2-40B4-BE49-F238E27FC236}">
                      <a16:creationId xmlns:a16="http://schemas.microsoft.com/office/drawing/2014/main" id="{5F976EAF-5AF9-44FB-BF3D-DB6CC2485353}"/>
                    </a:ext>
                  </a:extLst>
                </p:cNvPr>
                <p:cNvSpPr>
                  <a:spLocks/>
                </p:cNvSpPr>
                <p:nvPr/>
              </p:nvSpPr>
              <p:spPr bwMode="auto">
                <a:xfrm>
                  <a:off x="6427788" y="2671763"/>
                  <a:ext cx="1249363" cy="814387"/>
                </a:xfrm>
                <a:custGeom>
                  <a:avLst/>
                  <a:gdLst>
                    <a:gd name="T0" fmla="*/ 719 w 787"/>
                    <a:gd name="T1" fmla="*/ 148 h 513"/>
                    <a:gd name="T2" fmla="*/ 677 w 787"/>
                    <a:gd name="T3" fmla="*/ 126 h 513"/>
                    <a:gd name="T4" fmla="*/ 653 w 787"/>
                    <a:gd name="T5" fmla="*/ 94 h 513"/>
                    <a:gd name="T6" fmla="*/ 645 w 787"/>
                    <a:gd name="T7" fmla="*/ 48 h 513"/>
                    <a:gd name="T8" fmla="*/ 651 w 787"/>
                    <a:gd name="T9" fmla="*/ 26 h 513"/>
                    <a:gd name="T10" fmla="*/ 629 w 787"/>
                    <a:gd name="T11" fmla="*/ 0 h 513"/>
                    <a:gd name="T12" fmla="*/ 629 w 787"/>
                    <a:gd name="T13" fmla="*/ 0 h 513"/>
                    <a:gd name="T14" fmla="*/ 591 w 787"/>
                    <a:gd name="T15" fmla="*/ 4 h 513"/>
                    <a:gd name="T16" fmla="*/ 209 w 787"/>
                    <a:gd name="T17" fmla="*/ 36 h 513"/>
                    <a:gd name="T18" fmla="*/ 56 w 787"/>
                    <a:gd name="T19" fmla="*/ 44 h 513"/>
                    <a:gd name="T20" fmla="*/ 16 w 787"/>
                    <a:gd name="T21" fmla="*/ 46 h 513"/>
                    <a:gd name="T22" fmla="*/ 0 w 787"/>
                    <a:gd name="T23" fmla="*/ 46 h 513"/>
                    <a:gd name="T24" fmla="*/ 14 w 787"/>
                    <a:gd name="T25" fmla="*/ 132 h 513"/>
                    <a:gd name="T26" fmla="*/ 2 w 787"/>
                    <a:gd name="T27" fmla="*/ 174 h 513"/>
                    <a:gd name="T28" fmla="*/ 20 w 787"/>
                    <a:gd name="T29" fmla="*/ 200 h 513"/>
                    <a:gd name="T30" fmla="*/ 20 w 787"/>
                    <a:gd name="T31" fmla="*/ 206 h 513"/>
                    <a:gd name="T32" fmla="*/ 24 w 787"/>
                    <a:gd name="T33" fmla="*/ 206 h 513"/>
                    <a:gd name="T34" fmla="*/ 50 w 787"/>
                    <a:gd name="T35" fmla="*/ 278 h 513"/>
                    <a:gd name="T36" fmla="*/ 74 w 787"/>
                    <a:gd name="T37" fmla="*/ 316 h 513"/>
                    <a:gd name="T38" fmla="*/ 76 w 787"/>
                    <a:gd name="T39" fmla="*/ 360 h 513"/>
                    <a:gd name="T40" fmla="*/ 102 w 787"/>
                    <a:gd name="T41" fmla="*/ 396 h 513"/>
                    <a:gd name="T42" fmla="*/ 98 w 787"/>
                    <a:gd name="T43" fmla="*/ 412 h 513"/>
                    <a:gd name="T44" fmla="*/ 122 w 787"/>
                    <a:gd name="T45" fmla="*/ 511 h 513"/>
                    <a:gd name="T46" fmla="*/ 122 w 787"/>
                    <a:gd name="T47" fmla="*/ 513 h 513"/>
                    <a:gd name="T48" fmla="*/ 122 w 787"/>
                    <a:gd name="T49" fmla="*/ 513 h 513"/>
                    <a:gd name="T50" fmla="*/ 281 w 787"/>
                    <a:gd name="T51" fmla="*/ 509 h 513"/>
                    <a:gd name="T52" fmla="*/ 451 w 787"/>
                    <a:gd name="T53" fmla="*/ 495 h 513"/>
                    <a:gd name="T54" fmla="*/ 619 w 787"/>
                    <a:gd name="T55" fmla="*/ 472 h 513"/>
                    <a:gd name="T56" fmla="*/ 657 w 787"/>
                    <a:gd name="T57" fmla="*/ 507 h 513"/>
                    <a:gd name="T58" fmla="*/ 657 w 787"/>
                    <a:gd name="T59" fmla="*/ 509 h 513"/>
                    <a:gd name="T60" fmla="*/ 665 w 787"/>
                    <a:gd name="T61" fmla="*/ 505 h 513"/>
                    <a:gd name="T62" fmla="*/ 659 w 787"/>
                    <a:gd name="T63" fmla="*/ 474 h 513"/>
                    <a:gd name="T64" fmla="*/ 689 w 787"/>
                    <a:gd name="T65" fmla="*/ 456 h 513"/>
                    <a:gd name="T66" fmla="*/ 699 w 787"/>
                    <a:gd name="T67" fmla="*/ 376 h 513"/>
                    <a:gd name="T68" fmla="*/ 689 w 787"/>
                    <a:gd name="T69" fmla="*/ 372 h 513"/>
                    <a:gd name="T70" fmla="*/ 695 w 787"/>
                    <a:gd name="T71" fmla="*/ 330 h 513"/>
                    <a:gd name="T72" fmla="*/ 731 w 787"/>
                    <a:gd name="T73" fmla="*/ 324 h 513"/>
                    <a:gd name="T74" fmla="*/ 769 w 787"/>
                    <a:gd name="T75" fmla="*/ 296 h 513"/>
                    <a:gd name="T76" fmla="*/ 787 w 787"/>
                    <a:gd name="T77" fmla="*/ 246 h 513"/>
                    <a:gd name="T78" fmla="*/ 787 w 787"/>
                    <a:gd name="T79" fmla="*/ 222 h 513"/>
                    <a:gd name="T80" fmla="*/ 755 w 787"/>
                    <a:gd name="T81" fmla="*/ 192 h 513"/>
                    <a:gd name="T82" fmla="*/ 747 w 787"/>
                    <a:gd name="T83" fmla="*/ 174 h 513"/>
                    <a:gd name="T84" fmla="*/ 717 w 787"/>
                    <a:gd name="T85" fmla="*/ 156 h 513"/>
                    <a:gd name="T86" fmla="*/ 719 w 787"/>
                    <a:gd name="T87" fmla="*/ 152 h 513"/>
                    <a:gd name="T88" fmla="*/ 719 w 787"/>
                    <a:gd name="T89" fmla="*/ 148 h 513"/>
                    <a:gd name="T90" fmla="*/ 719 w 787"/>
                    <a:gd name="T91" fmla="*/ 148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7" h="513">
                      <a:moveTo>
                        <a:pt x="719" y="148"/>
                      </a:moveTo>
                      <a:lnTo>
                        <a:pt x="677" y="126"/>
                      </a:lnTo>
                      <a:lnTo>
                        <a:pt x="653" y="94"/>
                      </a:lnTo>
                      <a:lnTo>
                        <a:pt x="645" y="48"/>
                      </a:lnTo>
                      <a:lnTo>
                        <a:pt x="651" y="26"/>
                      </a:lnTo>
                      <a:lnTo>
                        <a:pt x="629" y="0"/>
                      </a:lnTo>
                      <a:lnTo>
                        <a:pt x="629" y="0"/>
                      </a:lnTo>
                      <a:lnTo>
                        <a:pt x="591" y="4"/>
                      </a:lnTo>
                      <a:lnTo>
                        <a:pt x="209" y="36"/>
                      </a:lnTo>
                      <a:lnTo>
                        <a:pt x="56" y="44"/>
                      </a:lnTo>
                      <a:lnTo>
                        <a:pt x="16" y="46"/>
                      </a:lnTo>
                      <a:lnTo>
                        <a:pt x="0" y="46"/>
                      </a:lnTo>
                      <a:lnTo>
                        <a:pt x="14" y="132"/>
                      </a:lnTo>
                      <a:lnTo>
                        <a:pt x="2" y="174"/>
                      </a:lnTo>
                      <a:lnTo>
                        <a:pt x="20" y="200"/>
                      </a:lnTo>
                      <a:lnTo>
                        <a:pt x="20" y="206"/>
                      </a:lnTo>
                      <a:lnTo>
                        <a:pt x="24" y="206"/>
                      </a:lnTo>
                      <a:lnTo>
                        <a:pt x="50" y="278"/>
                      </a:lnTo>
                      <a:lnTo>
                        <a:pt x="74" y="316"/>
                      </a:lnTo>
                      <a:lnTo>
                        <a:pt x="76" y="360"/>
                      </a:lnTo>
                      <a:lnTo>
                        <a:pt x="102" y="396"/>
                      </a:lnTo>
                      <a:lnTo>
                        <a:pt x="98" y="412"/>
                      </a:lnTo>
                      <a:lnTo>
                        <a:pt x="122" y="511"/>
                      </a:lnTo>
                      <a:lnTo>
                        <a:pt x="122" y="513"/>
                      </a:lnTo>
                      <a:lnTo>
                        <a:pt x="122" y="513"/>
                      </a:lnTo>
                      <a:lnTo>
                        <a:pt x="281" y="509"/>
                      </a:lnTo>
                      <a:lnTo>
                        <a:pt x="451" y="495"/>
                      </a:lnTo>
                      <a:lnTo>
                        <a:pt x="619" y="472"/>
                      </a:lnTo>
                      <a:lnTo>
                        <a:pt x="657" y="507"/>
                      </a:lnTo>
                      <a:lnTo>
                        <a:pt x="657" y="509"/>
                      </a:lnTo>
                      <a:lnTo>
                        <a:pt x="665" y="505"/>
                      </a:lnTo>
                      <a:lnTo>
                        <a:pt x="659" y="474"/>
                      </a:lnTo>
                      <a:lnTo>
                        <a:pt x="689" y="456"/>
                      </a:lnTo>
                      <a:lnTo>
                        <a:pt x="699" y="376"/>
                      </a:lnTo>
                      <a:lnTo>
                        <a:pt x="689" y="372"/>
                      </a:lnTo>
                      <a:lnTo>
                        <a:pt x="695" y="330"/>
                      </a:lnTo>
                      <a:lnTo>
                        <a:pt x="731" y="324"/>
                      </a:lnTo>
                      <a:lnTo>
                        <a:pt x="769" y="296"/>
                      </a:lnTo>
                      <a:lnTo>
                        <a:pt x="787" y="246"/>
                      </a:lnTo>
                      <a:lnTo>
                        <a:pt x="787" y="222"/>
                      </a:lnTo>
                      <a:lnTo>
                        <a:pt x="755" y="192"/>
                      </a:lnTo>
                      <a:lnTo>
                        <a:pt x="747" y="174"/>
                      </a:lnTo>
                      <a:lnTo>
                        <a:pt x="717" y="156"/>
                      </a:lnTo>
                      <a:lnTo>
                        <a:pt x="719" y="152"/>
                      </a:lnTo>
                      <a:lnTo>
                        <a:pt x="719" y="148"/>
                      </a:lnTo>
                      <a:lnTo>
                        <a:pt x="719" y="148"/>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699" name="Kansas" descr="{&quot;Key&quot;:&quot;kansas&quot;,&quot;Name&quot;:&quot;Kansas&quot;,&quot;Value&quot;:1.0,&quot;Formula&quot;:&quot;&quot;,&quot;Text&quot;:&quot;&quot;,&quot;OfficeApplication&quot;:1,&quot;HasValue&quot;:true}">
                  <a:extLst>
                    <a:ext uri="{FF2B5EF4-FFF2-40B4-BE49-F238E27FC236}">
                      <a16:creationId xmlns:a16="http://schemas.microsoft.com/office/drawing/2014/main" id="{56C78281-6BDA-48B1-AC5F-F99BCCE21423}"/>
                    </a:ext>
                  </a:extLst>
                </p:cNvPr>
                <p:cNvSpPr>
                  <a:spLocks/>
                </p:cNvSpPr>
                <p:nvPr/>
              </p:nvSpPr>
              <p:spPr bwMode="auto">
                <a:xfrm>
                  <a:off x="5367337" y="3638551"/>
                  <a:ext cx="1535113" cy="796925"/>
                </a:xfrm>
                <a:custGeom>
                  <a:avLst/>
                  <a:gdLst>
                    <a:gd name="T0" fmla="*/ 967 w 967"/>
                    <a:gd name="T1" fmla="*/ 460 h 502"/>
                    <a:gd name="T2" fmla="*/ 947 w 967"/>
                    <a:gd name="T3" fmla="*/ 132 h 502"/>
                    <a:gd name="T4" fmla="*/ 913 w 967"/>
                    <a:gd name="T5" fmla="*/ 112 h 502"/>
                    <a:gd name="T6" fmla="*/ 909 w 967"/>
                    <a:gd name="T7" fmla="*/ 96 h 502"/>
                    <a:gd name="T8" fmla="*/ 881 w 967"/>
                    <a:gd name="T9" fmla="*/ 70 h 502"/>
                    <a:gd name="T10" fmla="*/ 909 w 967"/>
                    <a:gd name="T11" fmla="*/ 38 h 502"/>
                    <a:gd name="T12" fmla="*/ 897 w 967"/>
                    <a:gd name="T13" fmla="*/ 18 h 502"/>
                    <a:gd name="T14" fmla="*/ 877 w 967"/>
                    <a:gd name="T15" fmla="*/ 18 h 502"/>
                    <a:gd name="T16" fmla="*/ 858 w 967"/>
                    <a:gd name="T17" fmla="*/ 6 h 502"/>
                    <a:gd name="T18" fmla="*/ 850 w 967"/>
                    <a:gd name="T19" fmla="*/ 0 h 502"/>
                    <a:gd name="T20" fmla="*/ 824 w 967"/>
                    <a:gd name="T21" fmla="*/ 0 h 502"/>
                    <a:gd name="T22" fmla="*/ 536 w 967"/>
                    <a:gd name="T23" fmla="*/ 12 h 502"/>
                    <a:gd name="T24" fmla="*/ 406 w 967"/>
                    <a:gd name="T25" fmla="*/ 14 h 502"/>
                    <a:gd name="T26" fmla="*/ 144 w 967"/>
                    <a:gd name="T27" fmla="*/ 14 h 502"/>
                    <a:gd name="T28" fmla="*/ 40 w 967"/>
                    <a:gd name="T29" fmla="*/ 14 h 502"/>
                    <a:gd name="T30" fmla="*/ 10 w 967"/>
                    <a:gd name="T31" fmla="*/ 12 h 502"/>
                    <a:gd name="T32" fmla="*/ 10 w 967"/>
                    <a:gd name="T33" fmla="*/ 28 h 502"/>
                    <a:gd name="T34" fmla="*/ 10 w 967"/>
                    <a:gd name="T35" fmla="*/ 74 h 502"/>
                    <a:gd name="T36" fmla="*/ 0 w 967"/>
                    <a:gd name="T37" fmla="*/ 484 h 502"/>
                    <a:gd name="T38" fmla="*/ 0 w 967"/>
                    <a:gd name="T39" fmla="*/ 500 h 502"/>
                    <a:gd name="T40" fmla="*/ 34 w 967"/>
                    <a:gd name="T41" fmla="*/ 500 h 502"/>
                    <a:gd name="T42" fmla="*/ 214 w 967"/>
                    <a:gd name="T43" fmla="*/ 502 h 502"/>
                    <a:gd name="T44" fmla="*/ 636 w 967"/>
                    <a:gd name="T45" fmla="*/ 496 h 502"/>
                    <a:gd name="T46" fmla="*/ 937 w 967"/>
                    <a:gd name="T47" fmla="*/ 482 h 502"/>
                    <a:gd name="T48" fmla="*/ 967 w 967"/>
                    <a:gd name="T49" fmla="*/ 480 h 502"/>
                    <a:gd name="T50" fmla="*/ 967 w 967"/>
                    <a:gd name="T51" fmla="*/ 460 h 502"/>
                    <a:gd name="T52" fmla="*/ 967 w 967"/>
                    <a:gd name="T53" fmla="*/ 46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7" h="502">
                      <a:moveTo>
                        <a:pt x="967" y="460"/>
                      </a:moveTo>
                      <a:lnTo>
                        <a:pt x="947" y="132"/>
                      </a:lnTo>
                      <a:lnTo>
                        <a:pt x="913" y="112"/>
                      </a:lnTo>
                      <a:lnTo>
                        <a:pt x="909" y="96"/>
                      </a:lnTo>
                      <a:lnTo>
                        <a:pt x="881" y="70"/>
                      </a:lnTo>
                      <a:lnTo>
                        <a:pt x="909" y="38"/>
                      </a:lnTo>
                      <a:lnTo>
                        <a:pt x="897" y="18"/>
                      </a:lnTo>
                      <a:lnTo>
                        <a:pt x="877" y="18"/>
                      </a:lnTo>
                      <a:lnTo>
                        <a:pt x="858" y="6"/>
                      </a:lnTo>
                      <a:lnTo>
                        <a:pt x="850" y="0"/>
                      </a:lnTo>
                      <a:lnTo>
                        <a:pt x="824" y="0"/>
                      </a:lnTo>
                      <a:lnTo>
                        <a:pt x="536" y="12"/>
                      </a:lnTo>
                      <a:lnTo>
                        <a:pt x="406" y="14"/>
                      </a:lnTo>
                      <a:lnTo>
                        <a:pt x="144" y="14"/>
                      </a:lnTo>
                      <a:lnTo>
                        <a:pt x="40" y="14"/>
                      </a:lnTo>
                      <a:lnTo>
                        <a:pt x="10" y="12"/>
                      </a:lnTo>
                      <a:lnTo>
                        <a:pt x="10" y="28"/>
                      </a:lnTo>
                      <a:lnTo>
                        <a:pt x="10" y="74"/>
                      </a:lnTo>
                      <a:lnTo>
                        <a:pt x="0" y="484"/>
                      </a:lnTo>
                      <a:lnTo>
                        <a:pt x="0" y="500"/>
                      </a:lnTo>
                      <a:lnTo>
                        <a:pt x="34" y="500"/>
                      </a:lnTo>
                      <a:lnTo>
                        <a:pt x="214" y="502"/>
                      </a:lnTo>
                      <a:lnTo>
                        <a:pt x="636" y="496"/>
                      </a:lnTo>
                      <a:lnTo>
                        <a:pt x="937" y="482"/>
                      </a:lnTo>
                      <a:lnTo>
                        <a:pt x="967" y="480"/>
                      </a:lnTo>
                      <a:lnTo>
                        <a:pt x="967" y="460"/>
                      </a:lnTo>
                      <a:lnTo>
                        <a:pt x="967" y="46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0" name="Missouri" descr="{&quot;Key&quot;:&quot;missouri&quot;,&quot;Name&quot;:&quot;Missouri&quot;,&quot;Value&quot;:1.0,&quot;Formula&quot;:&quot;&quot;,&quot;Text&quot;:&quot;&quot;,&quot;OfficeApplication&quot;:1,&quot;HasValue&quot;:true}">
                  <a:extLst>
                    <a:ext uri="{FF2B5EF4-FFF2-40B4-BE49-F238E27FC236}">
                      <a16:creationId xmlns:a16="http://schemas.microsoft.com/office/drawing/2014/main" id="{729D31E8-7AA9-49F0-A11C-613FFE500459}"/>
                    </a:ext>
                  </a:extLst>
                </p:cNvPr>
                <p:cNvSpPr>
                  <a:spLocks/>
                </p:cNvSpPr>
                <p:nvPr/>
              </p:nvSpPr>
              <p:spPr bwMode="auto">
                <a:xfrm>
                  <a:off x="6618287" y="3421063"/>
                  <a:ext cx="1414462" cy="1162050"/>
                </a:xfrm>
                <a:custGeom>
                  <a:avLst/>
                  <a:gdLst>
                    <a:gd name="T0" fmla="*/ 499 w 891"/>
                    <a:gd name="T1" fmla="*/ 0 h 732"/>
                    <a:gd name="T2" fmla="*/ 161 w 891"/>
                    <a:gd name="T3" fmla="*/ 37 h 732"/>
                    <a:gd name="T4" fmla="*/ 2 w 891"/>
                    <a:gd name="T5" fmla="*/ 41 h 732"/>
                    <a:gd name="T6" fmla="*/ 20 w 891"/>
                    <a:gd name="T7" fmla="*/ 83 h 732"/>
                    <a:gd name="T8" fmla="*/ 58 w 891"/>
                    <a:gd name="T9" fmla="*/ 133 h 732"/>
                    <a:gd name="T10" fmla="*/ 70 w 891"/>
                    <a:gd name="T11" fmla="*/ 143 h 732"/>
                    <a:gd name="T12" fmla="*/ 109 w 891"/>
                    <a:gd name="T13" fmla="*/ 155 h 732"/>
                    <a:gd name="T14" fmla="*/ 93 w 891"/>
                    <a:gd name="T15" fmla="*/ 207 h 732"/>
                    <a:gd name="T16" fmla="*/ 125 w 891"/>
                    <a:gd name="T17" fmla="*/ 249 h 732"/>
                    <a:gd name="T18" fmla="*/ 179 w 891"/>
                    <a:gd name="T19" fmla="*/ 597 h 732"/>
                    <a:gd name="T20" fmla="*/ 181 w 891"/>
                    <a:gd name="T21" fmla="*/ 637 h 732"/>
                    <a:gd name="T22" fmla="*/ 183 w 891"/>
                    <a:gd name="T23" fmla="*/ 679 h 732"/>
                    <a:gd name="T24" fmla="*/ 221 w 891"/>
                    <a:gd name="T25" fmla="*/ 697 h 732"/>
                    <a:gd name="T26" fmla="*/ 767 w 891"/>
                    <a:gd name="T27" fmla="*/ 647 h 732"/>
                    <a:gd name="T28" fmla="*/ 747 w 891"/>
                    <a:gd name="T29" fmla="*/ 732 h 732"/>
                    <a:gd name="T30" fmla="*/ 831 w 891"/>
                    <a:gd name="T31" fmla="*/ 719 h 732"/>
                    <a:gd name="T32" fmla="*/ 833 w 891"/>
                    <a:gd name="T33" fmla="*/ 677 h 732"/>
                    <a:gd name="T34" fmla="*/ 843 w 891"/>
                    <a:gd name="T35" fmla="*/ 637 h 732"/>
                    <a:gd name="T36" fmla="*/ 843 w 891"/>
                    <a:gd name="T37" fmla="*/ 635 h 732"/>
                    <a:gd name="T38" fmla="*/ 851 w 891"/>
                    <a:gd name="T39" fmla="*/ 627 h 732"/>
                    <a:gd name="T40" fmla="*/ 851 w 891"/>
                    <a:gd name="T41" fmla="*/ 635 h 732"/>
                    <a:gd name="T42" fmla="*/ 851 w 891"/>
                    <a:gd name="T43" fmla="*/ 641 h 732"/>
                    <a:gd name="T44" fmla="*/ 861 w 891"/>
                    <a:gd name="T45" fmla="*/ 635 h 732"/>
                    <a:gd name="T46" fmla="*/ 861 w 891"/>
                    <a:gd name="T47" fmla="*/ 631 h 732"/>
                    <a:gd name="T48" fmla="*/ 885 w 891"/>
                    <a:gd name="T49" fmla="*/ 617 h 732"/>
                    <a:gd name="T50" fmla="*/ 891 w 891"/>
                    <a:gd name="T51" fmla="*/ 551 h 732"/>
                    <a:gd name="T52" fmla="*/ 833 w 891"/>
                    <a:gd name="T53" fmla="*/ 505 h 732"/>
                    <a:gd name="T54" fmla="*/ 825 w 891"/>
                    <a:gd name="T55" fmla="*/ 445 h 732"/>
                    <a:gd name="T56" fmla="*/ 745 w 891"/>
                    <a:gd name="T57" fmla="*/ 399 h 732"/>
                    <a:gd name="T58" fmla="*/ 715 w 891"/>
                    <a:gd name="T59" fmla="*/ 317 h 732"/>
                    <a:gd name="T60" fmla="*/ 669 w 891"/>
                    <a:gd name="T61" fmla="*/ 267 h 732"/>
                    <a:gd name="T62" fmla="*/ 645 w 891"/>
                    <a:gd name="T63" fmla="*/ 213 h 732"/>
                    <a:gd name="T64" fmla="*/ 531 w 891"/>
                    <a:gd name="T65" fmla="*/ 71 h 732"/>
                    <a:gd name="T66" fmla="*/ 537 w 891"/>
                    <a:gd name="T67" fmla="*/ 37 h 732"/>
                    <a:gd name="T68" fmla="*/ 537 w 891"/>
                    <a:gd name="T69" fmla="*/ 35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1" h="732">
                      <a:moveTo>
                        <a:pt x="537" y="35"/>
                      </a:moveTo>
                      <a:lnTo>
                        <a:pt x="499" y="0"/>
                      </a:lnTo>
                      <a:lnTo>
                        <a:pt x="331" y="23"/>
                      </a:lnTo>
                      <a:lnTo>
                        <a:pt x="161" y="37"/>
                      </a:lnTo>
                      <a:lnTo>
                        <a:pt x="2" y="41"/>
                      </a:lnTo>
                      <a:lnTo>
                        <a:pt x="2" y="41"/>
                      </a:lnTo>
                      <a:lnTo>
                        <a:pt x="0" y="47"/>
                      </a:lnTo>
                      <a:lnTo>
                        <a:pt x="20" y="83"/>
                      </a:lnTo>
                      <a:lnTo>
                        <a:pt x="38" y="95"/>
                      </a:lnTo>
                      <a:lnTo>
                        <a:pt x="58" y="133"/>
                      </a:lnTo>
                      <a:lnTo>
                        <a:pt x="62" y="137"/>
                      </a:lnTo>
                      <a:lnTo>
                        <a:pt x="70" y="143"/>
                      </a:lnTo>
                      <a:lnTo>
                        <a:pt x="89" y="155"/>
                      </a:lnTo>
                      <a:lnTo>
                        <a:pt x="109" y="155"/>
                      </a:lnTo>
                      <a:lnTo>
                        <a:pt x="121" y="175"/>
                      </a:lnTo>
                      <a:lnTo>
                        <a:pt x="93" y="207"/>
                      </a:lnTo>
                      <a:lnTo>
                        <a:pt x="121" y="233"/>
                      </a:lnTo>
                      <a:lnTo>
                        <a:pt x="125" y="249"/>
                      </a:lnTo>
                      <a:lnTo>
                        <a:pt x="159" y="269"/>
                      </a:lnTo>
                      <a:lnTo>
                        <a:pt x="179" y="597"/>
                      </a:lnTo>
                      <a:lnTo>
                        <a:pt x="179" y="617"/>
                      </a:lnTo>
                      <a:lnTo>
                        <a:pt x="181" y="637"/>
                      </a:lnTo>
                      <a:lnTo>
                        <a:pt x="181" y="657"/>
                      </a:lnTo>
                      <a:lnTo>
                        <a:pt x="183" y="679"/>
                      </a:lnTo>
                      <a:lnTo>
                        <a:pt x="183" y="699"/>
                      </a:lnTo>
                      <a:lnTo>
                        <a:pt x="221" y="697"/>
                      </a:lnTo>
                      <a:lnTo>
                        <a:pt x="471" y="675"/>
                      </a:lnTo>
                      <a:lnTo>
                        <a:pt x="767" y="647"/>
                      </a:lnTo>
                      <a:lnTo>
                        <a:pt x="781" y="677"/>
                      </a:lnTo>
                      <a:lnTo>
                        <a:pt x="747" y="732"/>
                      </a:lnTo>
                      <a:lnTo>
                        <a:pt x="831" y="719"/>
                      </a:lnTo>
                      <a:lnTo>
                        <a:pt x="831" y="719"/>
                      </a:lnTo>
                      <a:lnTo>
                        <a:pt x="831" y="713"/>
                      </a:lnTo>
                      <a:lnTo>
                        <a:pt x="833" y="677"/>
                      </a:lnTo>
                      <a:lnTo>
                        <a:pt x="849" y="659"/>
                      </a:lnTo>
                      <a:lnTo>
                        <a:pt x="843" y="637"/>
                      </a:lnTo>
                      <a:lnTo>
                        <a:pt x="843" y="635"/>
                      </a:lnTo>
                      <a:lnTo>
                        <a:pt x="843" y="635"/>
                      </a:lnTo>
                      <a:lnTo>
                        <a:pt x="845" y="625"/>
                      </a:lnTo>
                      <a:lnTo>
                        <a:pt x="851" y="627"/>
                      </a:lnTo>
                      <a:lnTo>
                        <a:pt x="853" y="633"/>
                      </a:lnTo>
                      <a:lnTo>
                        <a:pt x="851" y="635"/>
                      </a:lnTo>
                      <a:lnTo>
                        <a:pt x="851" y="635"/>
                      </a:lnTo>
                      <a:lnTo>
                        <a:pt x="851" y="641"/>
                      </a:lnTo>
                      <a:lnTo>
                        <a:pt x="855" y="643"/>
                      </a:lnTo>
                      <a:lnTo>
                        <a:pt x="861" y="635"/>
                      </a:lnTo>
                      <a:lnTo>
                        <a:pt x="861" y="635"/>
                      </a:lnTo>
                      <a:lnTo>
                        <a:pt x="861" y="631"/>
                      </a:lnTo>
                      <a:lnTo>
                        <a:pt x="881" y="619"/>
                      </a:lnTo>
                      <a:lnTo>
                        <a:pt x="885" y="617"/>
                      </a:lnTo>
                      <a:lnTo>
                        <a:pt x="891" y="555"/>
                      </a:lnTo>
                      <a:lnTo>
                        <a:pt x="891" y="551"/>
                      </a:lnTo>
                      <a:lnTo>
                        <a:pt x="889" y="551"/>
                      </a:lnTo>
                      <a:lnTo>
                        <a:pt x="833" y="505"/>
                      </a:lnTo>
                      <a:lnTo>
                        <a:pt x="841" y="489"/>
                      </a:lnTo>
                      <a:lnTo>
                        <a:pt x="825" y="445"/>
                      </a:lnTo>
                      <a:lnTo>
                        <a:pt x="799" y="423"/>
                      </a:lnTo>
                      <a:lnTo>
                        <a:pt x="745" y="399"/>
                      </a:lnTo>
                      <a:lnTo>
                        <a:pt x="711" y="373"/>
                      </a:lnTo>
                      <a:lnTo>
                        <a:pt x="715" y="317"/>
                      </a:lnTo>
                      <a:lnTo>
                        <a:pt x="725" y="265"/>
                      </a:lnTo>
                      <a:lnTo>
                        <a:pt x="669" y="267"/>
                      </a:lnTo>
                      <a:lnTo>
                        <a:pt x="653" y="249"/>
                      </a:lnTo>
                      <a:lnTo>
                        <a:pt x="645" y="213"/>
                      </a:lnTo>
                      <a:lnTo>
                        <a:pt x="557" y="139"/>
                      </a:lnTo>
                      <a:lnTo>
                        <a:pt x="531" y="71"/>
                      </a:lnTo>
                      <a:lnTo>
                        <a:pt x="537" y="37"/>
                      </a:lnTo>
                      <a:lnTo>
                        <a:pt x="537" y="37"/>
                      </a:lnTo>
                      <a:lnTo>
                        <a:pt x="537" y="35"/>
                      </a:lnTo>
                      <a:lnTo>
                        <a:pt x="537" y="35"/>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1" name="Nebraska" descr="{&quot;Key&quot;:&quot;nebraska&quot;,&quot;Name&quot;:&quot;Nebraska&quot;,&quot;Value&quot;:1.0,&quot;Formula&quot;:&quot;&quot;,&quot;Text&quot;:&quot;&quot;,&quot;OfficeApplication&quot;:1,&quot;HasValue&quot;:true}">
                  <a:extLst>
                    <a:ext uri="{FF2B5EF4-FFF2-40B4-BE49-F238E27FC236}">
                      <a16:creationId xmlns:a16="http://schemas.microsoft.com/office/drawing/2014/main" id="{B26E6895-13DD-4647-BE90-49C1B61C3F1E}"/>
                    </a:ext>
                  </a:extLst>
                </p:cNvPr>
                <p:cNvSpPr>
                  <a:spLocks/>
                </p:cNvSpPr>
                <p:nvPr/>
              </p:nvSpPr>
              <p:spPr bwMode="auto">
                <a:xfrm>
                  <a:off x="4999037" y="2868614"/>
                  <a:ext cx="1717674" cy="792163"/>
                </a:xfrm>
                <a:custGeom>
                  <a:avLst/>
                  <a:gdLst>
                    <a:gd name="T0" fmla="*/ 904 w 1082"/>
                    <a:gd name="T1" fmla="*/ 80 h 499"/>
                    <a:gd name="T2" fmla="*/ 880 w 1082"/>
                    <a:gd name="T3" fmla="*/ 56 h 499"/>
                    <a:gd name="T4" fmla="*/ 796 w 1082"/>
                    <a:gd name="T5" fmla="*/ 30 h 499"/>
                    <a:gd name="T6" fmla="*/ 768 w 1082"/>
                    <a:gd name="T7" fmla="*/ 30 h 499"/>
                    <a:gd name="T8" fmla="*/ 728 w 1082"/>
                    <a:gd name="T9" fmla="*/ 42 h 499"/>
                    <a:gd name="T10" fmla="*/ 678 w 1082"/>
                    <a:gd name="T11" fmla="*/ 10 h 499"/>
                    <a:gd name="T12" fmla="*/ 526 w 1082"/>
                    <a:gd name="T13" fmla="*/ 12 h 499"/>
                    <a:gd name="T14" fmla="*/ 302 w 1082"/>
                    <a:gd name="T15" fmla="*/ 10 h 499"/>
                    <a:gd name="T16" fmla="*/ 40 w 1082"/>
                    <a:gd name="T17" fmla="*/ 2 h 499"/>
                    <a:gd name="T18" fmla="*/ 16 w 1082"/>
                    <a:gd name="T19" fmla="*/ 0 h 499"/>
                    <a:gd name="T20" fmla="*/ 16 w 1082"/>
                    <a:gd name="T21" fmla="*/ 20 h 499"/>
                    <a:gd name="T22" fmla="*/ 12 w 1082"/>
                    <a:gd name="T23" fmla="*/ 82 h 499"/>
                    <a:gd name="T24" fmla="*/ 6 w 1082"/>
                    <a:gd name="T25" fmla="*/ 224 h 499"/>
                    <a:gd name="T26" fmla="*/ 2 w 1082"/>
                    <a:gd name="T27" fmla="*/ 304 h 499"/>
                    <a:gd name="T28" fmla="*/ 0 w 1082"/>
                    <a:gd name="T29" fmla="*/ 324 h 499"/>
                    <a:gd name="T30" fmla="*/ 20 w 1082"/>
                    <a:gd name="T31" fmla="*/ 326 h 499"/>
                    <a:gd name="T32" fmla="*/ 208 w 1082"/>
                    <a:gd name="T33" fmla="*/ 332 h 499"/>
                    <a:gd name="T34" fmla="*/ 246 w 1082"/>
                    <a:gd name="T35" fmla="*/ 334 h 499"/>
                    <a:gd name="T36" fmla="*/ 244 w 1082"/>
                    <a:gd name="T37" fmla="*/ 487 h 499"/>
                    <a:gd name="T38" fmla="*/ 242 w 1082"/>
                    <a:gd name="T39" fmla="*/ 497 h 499"/>
                    <a:gd name="T40" fmla="*/ 272 w 1082"/>
                    <a:gd name="T41" fmla="*/ 499 h 499"/>
                    <a:gd name="T42" fmla="*/ 376 w 1082"/>
                    <a:gd name="T43" fmla="*/ 499 h 499"/>
                    <a:gd name="T44" fmla="*/ 638 w 1082"/>
                    <a:gd name="T45" fmla="*/ 499 h 499"/>
                    <a:gd name="T46" fmla="*/ 768 w 1082"/>
                    <a:gd name="T47" fmla="*/ 497 h 499"/>
                    <a:gd name="T48" fmla="*/ 1056 w 1082"/>
                    <a:gd name="T49" fmla="*/ 485 h 499"/>
                    <a:gd name="T50" fmla="*/ 1082 w 1082"/>
                    <a:gd name="T51" fmla="*/ 485 h 499"/>
                    <a:gd name="T52" fmla="*/ 1078 w 1082"/>
                    <a:gd name="T53" fmla="*/ 481 h 499"/>
                    <a:gd name="T54" fmla="*/ 1058 w 1082"/>
                    <a:gd name="T55" fmla="*/ 443 h 499"/>
                    <a:gd name="T56" fmla="*/ 1040 w 1082"/>
                    <a:gd name="T57" fmla="*/ 431 h 499"/>
                    <a:gd name="T58" fmla="*/ 1020 w 1082"/>
                    <a:gd name="T59" fmla="*/ 395 h 499"/>
                    <a:gd name="T60" fmla="*/ 1022 w 1082"/>
                    <a:gd name="T61" fmla="*/ 389 h 499"/>
                    <a:gd name="T62" fmla="*/ 1022 w 1082"/>
                    <a:gd name="T63" fmla="*/ 387 h 499"/>
                    <a:gd name="T64" fmla="*/ 998 w 1082"/>
                    <a:gd name="T65" fmla="*/ 288 h 499"/>
                    <a:gd name="T66" fmla="*/ 1002 w 1082"/>
                    <a:gd name="T67" fmla="*/ 272 h 499"/>
                    <a:gd name="T68" fmla="*/ 976 w 1082"/>
                    <a:gd name="T69" fmla="*/ 236 h 499"/>
                    <a:gd name="T70" fmla="*/ 974 w 1082"/>
                    <a:gd name="T71" fmla="*/ 192 h 499"/>
                    <a:gd name="T72" fmla="*/ 950 w 1082"/>
                    <a:gd name="T73" fmla="*/ 154 h 499"/>
                    <a:gd name="T74" fmla="*/ 924 w 1082"/>
                    <a:gd name="T75" fmla="*/ 82 h 499"/>
                    <a:gd name="T76" fmla="*/ 920 w 1082"/>
                    <a:gd name="T77" fmla="*/ 82 h 499"/>
                    <a:gd name="T78" fmla="*/ 904 w 1082"/>
                    <a:gd name="T79" fmla="*/ 80 h 499"/>
                    <a:gd name="T80" fmla="*/ 904 w 1082"/>
                    <a:gd name="T81" fmla="*/ 8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2" h="499">
                      <a:moveTo>
                        <a:pt x="904" y="80"/>
                      </a:moveTo>
                      <a:lnTo>
                        <a:pt x="880" y="56"/>
                      </a:lnTo>
                      <a:lnTo>
                        <a:pt x="796" y="30"/>
                      </a:lnTo>
                      <a:lnTo>
                        <a:pt x="768" y="30"/>
                      </a:lnTo>
                      <a:lnTo>
                        <a:pt x="728" y="42"/>
                      </a:lnTo>
                      <a:lnTo>
                        <a:pt x="678" y="10"/>
                      </a:lnTo>
                      <a:lnTo>
                        <a:pt x="526" y="12"/>
                      </a:lnTo>
                      <a:lnTo>
                        <a:pt x="302" y="10"/>
                      </a:lnTo>
                      <a:lnTo>
                        <a:pt x="40" y="2"/>
                      </a:lnTo>
                      <a:lnTo>
                        <a:pt x="16" y="0"/>
                      </a:lnTo>
                      <a:lnTo>
                        <a:pt x="16" y="20"/>
                      </a:lnTo>
                      <a:lnTo>
                        <a:pt x="12" y="82"/>
                      </a:lnTo>
                      <a:lnTo>
                        <a:pt x="6" y="224"/>
                      </a:lnTo>
                      <a:lnTo>
                        <a:pt x="2" y="304"/>
                      </a:lnTo>
                      <a:lnTo>
                        <a:pt x="0" y="324"/>
                      </a:lnTo>
                      <a:lnTo>
                        <a:pt x="20" y="326"/>
                      </a:lnTo>
                      <a:lnTo>
                        <a:pt x="208" y="332"/>
                      </a:lnTo>
                      <a:lnTo>
                        <a:pt x="246" y="334"/>
                      </a:lnTo>
                      <a:lnTo>
                        <a:pt x="244" y="487"/>
                      </a:lnTo>
                      <a:lnTo>
                        <a:pt x="242" y="497"/>
                      </a:lnTo>
                      <a:lnTo>
                        <a:pt x="272" y="499"/>
                      </a:lnTo>
                      <a:lnTo>
                        <a:pt x="376" y="499"/>
                      </a:lnTo>
                      <a:lnTo>
                        <a:pt x="638" y="499"/>
                      </a:lnTo>
                      <a:lnTo>
                        <a:pt x="768" y="497"/>
                      </a:lnTo>
                      <a:lnTo>
                        <a:pt x="1056" y="485"/>
                      </a:lnTo>
                      <a:lnTo>
                        <a:pt x="1082" y="485"/>
                      </a:lnTo>
                      <a:lnTo>
                        <a:pt x="1078" y="481"/>
                      </a:lnTo>
                      <a:lnTo>
                        <a:pt x="1058" y="443"/>
                      </a:lnTo>
                      <a:lnTo>
                        <a:pt x="1040" y="431"/>
                      </a:lnTo>
                      <a:lnTo>
                        <a:pt x="1020" y="395"/>
                      </a:lnTo>
                      <a:lnTo>
                        <a:pt x="1022" y="389"/>
                      </a:lnTo>
                      <a:lnTo>
                        <a:pt x="1022" y="387"/>
                      </a:lnTo>
                      <a:lnTo>
                        <a:pt x="998" y="288"/>
                      </a:lnTo>
                      <a:lnTo>
                        <a:pt x="1002" y="272"/>
                      </a:lnTo>
                      <a:lnTo>
                        <a:pt x="976" y="236"/>
                      </a:lnTo>
                      <a:lnTo>
                        <a:pt x="974" y="192"/>
                      </a:lnTo>
                      <a:lnTo>
                        <a:pt x="950" y="154"/>
                      </a:lnTo>
                      <a:lnTo>
                        <a:pt x="924" y="82"/>
                      </a:lnTo>
                      <a:lnTo>
                        <a:pt x="920" y="82"/>
                      </a:lnTo>
                      <a:lnTo>
                        <a:pt x="904" y="80"/>
                      </a:lnTo>
                      <a:lnTo>
                        <a:pt x="904" y="8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2" name="Oklahoma" descr="{&quot;Key&quot;:&quot;oklahoma&quot;,&quot;Name&quot;:&quot;Oklahoma&quot;,&quot;Value&quot;:1.0,&quot;Formula&quot;:&quot;&quot;,&quot;Text&quot;:&quot;&quot;,&quot;OfficeApplication&quot;:1,&quot;HasValue&quot;:true}">
                  <a:extLst>
                    <a:ext uri="{FF2B5EF4-FFF2-40B4-BE49-F238E27FC236}">
                      <a16:creationId xmlns:a16="http://schemas.microsoft.com/office/drawing/2014/main" id="{63607082-0CA6-4895-BEDC-8C3B6F6122EA}"/>
                    </a:ext>
                  </a:extLst>
                </p:cNvPr>
                <p:cNvSpPr>
                  <a:spLocks/>
                </p:cNvSpPr>
                <p:nvPr/>
              </p:nvSpPr>
              <p:spPr bwMode="auto">
                <a:xfrm>
                  <a:off x="5164137" y="4400551"/>
                  <a:ext cx="1817688" cy="868362"/>
                </a:xfrm>
                <a:custGeom>
                  <a:avLst/>
                  <a:gdLst>
                    <a:gd name="T0" fmla="*/ 1099 w 1145"/>
                    <a:gd name="T1" fmla="*/ 62 h 547"/>
                    <a:gd name="T2" fmla="*/ 1097 w 1145"/>
                    <a:gd name="T3" fmla="*/ 40 h 547"/>
                    <a:gd name="T4" fmla="*/ 1097 w 1145"/>
                    <a:gd name="T5" fmla="*/ 20 h 547"/>
                    <a:gd name="T6" fmla="*/ 1095 w 1145"/>
                    <a:gd name="T7" fmla="*/ 0 h 547"/>
                    <a:gd name="T8" fmla="*/ 1065 w 1145"/>
                    <a:gd name="T9" fmla="*/ 2 h 547"/>
                    <a:gd name="T10" fmla="*/ 764 w 1145"/>
                    <a:gd name="T11" fmla="*/ 16 h 547"/>
                    <a:gd name="T12" fmla="*/ 342 w 1145"/>
                    <a:gd name="T13" fmla="*/ 22 h 547"/>
                    <a:gd name="T14" fmla="*/ 162 w 1145"/>
                    <a:gd name="T15" fmla="*/ 20 h 547"/>
                    <a:gd name="T16" fmla="*/ 128 w 1145"/>
                    <a:gd name="T17" fmla="*/ 20 h 547"/>
                    <a:gd name="T18" fmla="*/ 116 w 1145"/>
                    <a:gd name="T19" fmla="*/ 20 h 547"/>
                    <a:gd name="T20" fmla="*/ 68 w 1145"/>
                    <a:gd name="T21" fmla="*/ 18 h 547"/>
                    <a:gd name="T22" fmla="*/ 52 w 1145"/>
                    <a:gd name="T23" fmla="*/ 18 h 547"/>
                    <a:gd name="T24" fmla="*/ 20 w 1145"/>
                    <a:gd name="T25" fmla="*/ 16 h 547"/>
                    <a:gd name="T26" fmla="*/ 4 w 1145"/>
                    <a:gd name="T27" fmla="*/ 16 h 547"/>
                    <a:gd name="T28" fmla="*/ 4 w 1145"/>
                    <a:gd name="T29" fmla="*/ 36 h 547"/>
                    <a:gd name="T30" fmla="*/ 2 w 1145"/>
                    <a:gd name="T31" fmla="*/ 56 h 547"/>
                    <a:gd name="T32" fmla="*/ 2 w 1145"/>
                    <a:gd name="T33" fmla="*/ 76 h 547"/>
                    <a:gd name="T34" fmla="*/ 0 w 1145"/>
                    <a:gd name="T35" fmla="*/ 98 h 547"/>
                    <a:gd name="T36" fmla="*/ 6 w 1145"/>
                    <a:gd name="T37" fmla="*/ 98 h 547"/>
                    <a:gd name="T38" fmla="*/ 194 w 1145"/>
                    <a:gd name="T39" fmla="*/ 102 h 547"/>
                    <a:gd name="T40" fmla="*/ 392 w 1145"/>
                    <a:gd name="T41" fmla="*/ 104 h 547"/>
                    <a:gd name="T42" fmla="*/ 394 w 1145"/>
                    <a:gd name="T43" fmla="*/ 371 h 547"/>
                    <a:gd name="T44" fmla="*/ 408 w 1145"/>
                    <a:gd name="T45" fmla="*/ 417 h 547"/>
                    <a:gd name="T46" fmla="*/ 440 w 1145"/>
                    <a:gd name="T47" fmla="*/ 447 h 547"/>
                    <a:gd name="T48" fmla="*/ 472 w 1145"/>
                    <a:gd name="T49" fmla="*/ 449 h 547"/>
                    <a:gd name="T50" fmla="*/ 480 w 1145"/>
                    <a:gd name="T51" fmla="*/ 435 h 547"/>
                    <a:gd name="T52" fmla="*/ 526 w 1145"/>
                    <a:gd name="T53" fmla="*/ 477 h 547"/>
                    <a:gd name="T54" fmla="*/ 586 w 1145"/>
                    <a:gd name="T55" fmla="*/ 483 h 547"/>
                    <a:gd name="T56" fmla="*/ 596 w 1145"/>
                    <a:gd name="T57" fmla="*/ 495 h 547"/>
                    <a:gd name="T58" fmla="*/ 618 w 1145"/>
                    <a:gd name="T59" fmla="*/ 485 h 547"/>
                    <a:gd name="T60" fmla="*/ 672 w 1145"/>
                    <a:gd name="T61" fmla="*/ 511 h 547"/>
                    <a:gd name="T62" fmla="*/ 672 w 1145"/>
                    <a:gd name="T63" fmla="*/ 525 h 547"/>
                    <a:gd name="T64" fmla="*/ 692 w 1145"/>
                    <a:gd name="T65" fmla="*/ 525 h 547"/>
                    <a:gd name="T66" fmla="*/ 714 w 1145"/>
                    <a:gd name="T67" fmla="*/ 507 h 547"/>
                    <a:gd name="T68" fmla="*/ 752 w 1145"/>
                    <a:gd name="T69" fmla="*/ 531 h 547"/>
                    <a:gd name="T70" fmla="*/ 788 w 1145"/>
                    <a:gd name="T71" fmla="*/ 545 h 547"/>
                    <a:gd name="T72" fmla="*/ 814 w 1145"/>
                    <a:gd name="T73" fmla="*/ 511 h 547"/>
                    <a:gd name="T74" fmla="*/ 894 w 1145"/>
                    <a:gd name="T75" fmla="*/ 547 h 547"/>
                    <a:gd name="T76" fmla="*/ 922 w 1145"/>
                    <a:gd name="T77" fmla="*/ 523 h 547"/>
                    <a:gd name="T78" fmla="*/ 946 w 1145"/>
                    <a:gd name="T79" fmla="*/ 515 h 547"/>
                    <a:gd name="T80" fmla="*/ 966 w 1145"/>
                    <a:gd name="T81" fmla="*/ 519 h 547"/>
                    <a:gd name="T82" fmla="*/ 1041 w 1145"/>
                    <a:gd name="T83" fmla="*/ 497 h 547"/>
                    <a:gd name="T84" fmla="*/ 1079 w 1145"/>
                    <a:gd name="T85" fmla="*/ 515 h 547"/>
                    <a:gd name="T86" fmla="*/ 1113 w 1145"/>
                    <a:gd name="T87" fmla="*/ 537 h 547"/>
                    <a:gd name="T88" fmla="*/ 1145 w 1145"/>
                    <a:gd name="T89" fmla="*/ 543 h 547"/>
                    <a:gd name="T90" fmla="*/ 1145 w 1145"/>
                    <a:gd name="T91" fmla="*/ 543 h 547"/>
                    <a:gd name="T92" fmla="*/ 1145 w 1145"/>
                    <a:gd name="T93" fmla="*/ 507 h 547"/>
                    <a:gd name="T94" fmla="*/ 1135 w 1145"/>
                    <a:gd name="T95" fmla="*/ 297 h 547"/>
                    <a:gd name="T96" fmla="*/ 1135 w 1145"/>
                    <a:gd name="T97" fmla="*/ 261 h 547"/>
                    <a:gd name="T98" fmla="*/ 1105 w 1145"/>
                    <a:gd name="T99" fmla="*/ 104 h 547"/>
                    <a:gd name="T100" fmla="*/ 1099 w 1145"/>
                    <a:gd name="T101" fmla="*/ 82 h 547"/>
                    <a:gd name="T102" fmla="*/ 1099 w 1145"/>
                    <a:gd name="T103" fmla="*/ 62 h 547"/>
                    <a:gd name="T104" fmla="*/ 1099 w 1145"/>
                    <a:gd name="T105" fmla="*/ 62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45" h="547">
                      <a:moveTo>
                        <a:pt x="1099" y="62"/>
                      </a:moveTo>
                      <a:lnTo>
                        <a:pt x="1097" y="40"/>
                      </a:lnTo>
                      <a:lnTo>
                        <a:pt x="1097" y="20"/>
                      </a:lnTo>
                      <a:lnTo>
                        <a:pt x="1095" y="0"/>
                      </a:lnTo>
                      <a:lnTo>
                        <a:pt x="1065" y="2"/>
                      </a:lnTo>
                      <a:lnTo>
                        <a:pt x="764" y="16"/>
                      </a:lnTo>
                      <a:lnTo>
                        <a:pt x="342" y="22"/>
                      </a:lnTo>
                      <a:lnTo>
                        <a:pt x="162" y="20"/>
                      </a:lnTo>
                      <a:lnTo>
                        <a:pt x="128" y="20"/>
                      </a:lnTo>
                      <a:lnTo>
                        <a:pt x="116" y="20"/>
                      </a:lnTo>
                      <a:lnTo>
                        <a:pt x="68" y="18"/>
                      </a:lnTo>
                      <a:lnTo>
                        <a:pt x="52" y="18"/>
                      </a:lnTo>
                      <a:lnTo>
                        <a:pt x="20" y="16"/>
                      </a:lnTo>
                      <a:lnTo>
                        <a:pt x="4" y="16"/>
                      </a:lnTo>
                      <a:lnTo>
                        <a:pt x="4" y="36"/>
                      </a:lnTo>
                      <a:lnTo>
                        <a:pt x="2" y="56"/>
                      </a:lnTo>
                      <a:lnTo>
                        <a:pt x="2" y="76"/>
                      </a:lnTo>
                      <a:lnTo>
                        <a:pt x="0" y="98"/>
                      </a:lnTo>
                      <a:lnTo>
                        <a:pt x="6" y="98"/>
                      </a:lnTo>
                      <a:lnTo>
                        <a:pt x="194" y="102"/>
                      </a:lnTo>
                      <a:lnTo>
                        <a:pt x="392" y="104"/>
                      </a:lnTo>
                      <a:lnTo>
                        <a:pt x="394" y="371"/>
                      </a:lnTo>
                      <a:lnTo>
                        <a:pt x="408" y="417"/>
                      </a:lnTo>
                      <a:lnTo>
                        <a:pt x="440" y="447"/>
                      </a:lnTo>
                      <a:lnTo>
                        <a:pt x="472" y="449"/>
                      </a:lnTo>
                      <a:lnTo>
                        <a:pt x="480" y="435"/>
                      </a:lnTo>
                      <a:lnTo>
                        <a:pt x="526" y="477"/>
                      </a:lnTo>
                      <a:lnTo>
                        <a:pt x="586" y="483"/>
                      </a:lnTo>
                      <a:lnTo>
                        <a:pt x="596" y="495"/>
                      </a:lnTo>
                      <a:lnTo>
                        <a:pt x="618" y="485"/>
                      </a:lnTo>
                      <a:lnTo>
                        <a:pt x="672" y="511"/>
                      </a:lnTo>
                      <a:lnTo>
                        <a:pt x="672" y="525"/>
                      </a:lnTo>
                      <a:lnTo>
                        <a:pt x="692" y="525"/>
                      </a:lnTo>
                      <a:lnTo>
                        <a:pt x="714" y="507"/>
                      </a:lnTo>
                      <a:lnTo>
                        <a:pt x="752" y="531"/>
                      </a:lnTo>
                      <a:lnTo>
                        <a:pt x="788" y="545"/>
                      </a:lnTo>
                      <a:lnTo>
                        <a:pt x="814" y="511"/>
                      </a:lnTo>
                      <a:lnTo>
                        <a:pt x="894" y="547"/>
                      </a:lnTo>
                      <a:lnTo>
                        <a:pt x="922" y="523"/>
                      </a:lnTo>
                      <a:lnTo>
                        <a:pt x="946" y="515"/>
                      </a:lnTo>
                      <a:lnTo>
                        <a:pt x="966" y="519"/>
                      </a:lnTo>
                      <a:lnTo>
                        <a:pt x="1041" y="497"/>
                      </a:lnTo>
                      <a:lnTo>
                        <a:pt x="1079" y="515"/>
                      </a:lnTo>
                      <a:lnTo>
                        <a:pt x="1113" y="537"/>
                      </a:lnTo>
                      <a:lnTo>
                        <a:pt x="1145" y="543"/>
                      </a:lnTo>
                      <a:lnTo>
                        <a:pt x="1145" y="543"/>
                      </a:lnTo>
                      <a:lnTo>
                        <a:pt x="1145" y="507"/>
                      </a:lnTo>
                      <a:lnTo>
                        <a:pt x="1135" y="297"/>
                      </a:lnTo>
                      <a:lnTo>
                        <a:pt x="1135" y="261"/>
                      </a:lnTo>
                      <a:lnTo>
                        <a:pt x="1105" y="104"/>
                      </a:lnTo>
                      <a:lnTo>
                        <a:pt x="1099" y="82"/>
                      </a:lnTo>
                      <a:lnTo>
                        <a:pt x="1099" y="62"/>
                      </a:lnTo>
                      <a:lnTo>
                        <a:pt x="1099" y="6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3" name="South Dakota" descr="{&quot;Key&quot;:&quot;south dakota&quot;,&quot;Name&quot;:&quot;South Dakota&quot;,&quot;Value&quot;:1.0,&quot;Formula&quot;:&quot;&quot;,&quot;Text&quot;:&quot;&quot;,&quot;OfficeApplication&quot;:1,&quot;HasValue&quot;:true}">
                  <a:extLst>
                    <a:ext uri="{FF2B5EF4-FFF2-40B4-BE49-F238E27FC236}">
                      <a16:creationId xmlns:a16="http://schemas.microsoft.com/office/drawing/2014/main" id="{0740B81A-EB73-4477-9B8C-FC81E8D6D450}"/>
                    </a:ext>
                  </a:extLst>
                </p:cNvPr>
                <p:cNvSpPr>
                  <a:spLocks/>
                </p:cNvSpPr>
                <p:nvPr/>
              </p:nvSpPr>
              <p:spPr bwMode="auto">
                <a:xfrm>
                  <a:off x="5024437" y="2108201"/>
                  <a:ext cx="1435100" cy="890588"/>
                </a:xfrm>
                <a:custGeom>
                  <a:avLst/>
                  <a:gdLst>
                    <a:gd name="T0" fmla="*/ 846 w 904"/>
                    <a:gd name="T1" fmla="*/ 4 h 561"/>
                    <a:gd name="T2" fmla="*/ 714 w 904"/>
                    <a:gd name="T3" fmla="*/ 8 h 561"/>
                    <a:gd name="T4" fmla="*/ 398 w 904"/>
                    <a:gd name="T5" fmla="*/ 10 h 561"/>
                    <a:gd name="T6" fmla="*/ 56 w 904"/>
                    <a:gd name="T7" fmla="*/ 2 h 561"/>
                    <a:gd name="T8" fmla="*/ 26 w 904"/>
                    <a:gd name="T9" fmla="*/ 0 h 561"/>
                    <a:gd name="T10" fmla="*/ 24 w 904"/>
                    <a:gd name="T11" fmla="*/ 18 h 561"/>
                    <a:gd name="T12" fmla="*/ 22 w 904"/>
                    <a:gd name="T13" fmla="*/ 88 h 561"/>
                    <a:gd name="T14" fmla="*/ 18 w 904"/>
                    <a:gd name="T15" fmla="*/ 143 h 561"/>
                    <a:gd name="T16" fmla="*/ 18 w 904"/>
                    <a:gd name="T17" fmla="*/ 153 h 561"/>
                    <a:gd name="T18" fmla="*/ 16 w 904"/>
                    <a:gd name="T19" fmla="*/ 153 h 561"/>
                    <a:gd name="T20" fmla="*/ 16 w 904"/>
                    <a:gd name="T21" fmla="*/ 175 h 561"/>
                    <a:gd name="T22" fmla="*/ 8 w 904"/>
                    <a:gd name="T23" fmla="*/ 337 h 561"/>
                    <a:gd name="T24" fmla="*/ 2 w 904"/>
                    <a:gd name="T25" fmla="*/ 459 h 561"/>
                    <a:gd name="T26" fmla="*/ 0 w 904"/>
                    <a:gd name="T27" fmla="*/ 479 h 561"/>
                    <a:gd name="T28" fmla="*/ 24 w 904"/>
                    <a:gd name="T29" fmla="*/ 481 h 561"/>
                    <a:gd name="T30" fmla="*/ 286 w 904"/>
                    <a:gd name="T31" fmla="*/ 489 h 561"/>
                    <a:gd name="T32" fmla="*/ 510 w 904"/>
                    <a:gd name="T33" fmla="*/ 491 h 561"/>
                    <a:gd name="T34" fmla="*/ 662 w 904"/>
                    <a:gd name="T35" fmla="*/ 489 h 561"/>
                    <a:gd name="T36" fmla="*/ 712 w 904"/>
                    <a:gd name="T37" fmla="*/ 521 h 561"/>
                    <a:gd name="T38" fmla="*/ 752 w 904"/>
                    <a:gd name="T39" fmla="*/ 509 h 561"/>
                    <a:gd name="T40" fmla="*/ 780 w 904"/>
                    <a:gd name="T41" fmla="*/ 509 h 561"/>
                    <a:gd name="T42" fmla="*/ 864 w 904"/>
                    <a:gd name="T43" fmla="*/ 535 h 561"/>
                    <a:gd name="T44" fmla="*/ 888 w 904"/>
                    <a:gd name="T45" fmla="*/ 559 h 561"/>
                    <a:gd name="T46" fmla="*/ 904 w 904"/>
                    <a:gd name="T47" fmla="*/ 561 h 561"/>
                    <a:gd name="T48" fmla="*/ 904 w 904"/>
                    <a:gd name="T49" fmla="*/ 555 h 561"/>
                    <a:gd name="T50" fmla="*/ 886 w 904"/>
                    <a:gd name="T51" fmla="*/ 529 h 561"/>
                    <a:gd name="T52" fmla="*/ 898 w 904"/>
                    <a:gd name="T53" fmla="*/ 487 h 561"/>
                    <a:gd name="T54" fmla="*/ 884 w 904"/>
                    <a:gd name="T55" fmla="*/ 401 h 561"/>
                    <a:gd name="T56" fmla="*/ 900 w 904"/>
                    <a:gd name="T57" fmla="*/ 401 h 561"/>
                    <a:gd name="T58" fmla="*/ 898 w 904"/>
                    <a:gd name="T59" fmla="*/ 365 h 561"/>
                    <a:gd name="T60" fmla="*/ 860 w 904"/>
                    <a:gd name="T61" fmla="*/ 90 h 561"/>
                    <a:gd name="T62" fmla="*/ 840 w 904"/>
                    <a:gd name="T63" fmla="*/ 56 h 561"/>
                    <a:gd name="T64" fmla="*/ 870 w 904"/>
                    <a:gd name="T65" fmla="*/ 6 h 561"/>
                    <a:gd name="T66" fmla="*/ 872 w 904"/>
                    <a:gd name="T67" fmla="*/ 4 h 561"/>
                    <a:gd name="T68" fmla="*/ 846 w 904"/>
                    <a:gd name="T69" fmla="*/ 4 h 561"/>
                    <a:gd name="T70" fmla="*/ 846 w 904"/>
                    <a:gd name="T71" fmla="*/ 4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4" h="561">
                      <a:moveTo>
                        <a:pt x="846" y="4"/>
                      </a:moveTo>
                      <a:lnTo>
                        <a:pt x="714" y="8"/>
                      </a:lnTo>
                      <a:lnTo>
                        <a:pt x="398" y="10"/>
                      </a:lnTo>
                      <a:lnTo>
                        <a:pt x="56" y="2"/>
                      </a:lnTo>
                      <a:lnTo>
                        <a:pt x="26" y="0"/>
                      </a:lnTo>
                      <a:lnTo>
                        <a:pt x="24" y="18"/>
                      </a:lnTo>
                      <a:lnTo>
                        <a:pt x="22" y="88"/>
                      </a:lnTo>
                      <a:lnTo>
                        <a:pt x="18" y="143"/>
                      </a:lnTo>
                      <a:lnTo>
                        <a:pt x="18" y="153"/>
                      </a:lnTo>
                      <a:lnTo>
                        <a:pt x="16" y="153"/>
                      </a:lnTo>
                      <a:lnTo>
                        <a:pt x="16" y="175"/>
                      </a:lnTo>
                      <a:lnTo>
                        <a:pt x="8" y="337"/>
                      </a:lnTo>
                      <a:lnTo>
                        <a:pt x="2" y="459"/>
                      </a:lnTo>
                      <a:lnTo>
                        <a:pt x="0" y="479"/>
                      </a:lnTo>
                      <a:lnTo>
                        <a:pt x="24" y="481"/>
                      </a:lnTo>
                      <a:lnTo>
                        <a:pt x="286" y="489"/>
                      </a:lnTo>
                      <a:lnTo>
                        <a:pt x="510" y="491"/>
                      </a:lnTo>
                      <a:lnTo>
                        <a:pt x="662" y="489"/>
                      </a:lnTo>
                      <a:lnTo>
                        <a:pt x="712" y="521"/>
                      </a:lnTo>
                      <a:lnTo>
                        <a:pt x="752" y="509"/>
                      </a:lnTo>
                      <a:lnTo>
                        <a:pt x="780" y="509"/>
                      </a:lnTo>
                      <a:lnTo>
                        <a:pt x="864" y="535"/>
                      </a:lnTo>
                      <a:lnTo>
                        <a:pt x="888" y="559"/>
                      </a:lnTo>
                      <a:lnTo>
                        <a:pt x="904" y="561"/>
                      </a:lnTo>
                      <a:lnTo>
                        <a:pt x="904" y="555"/>
                      </a:lnTo>
                      <a:lnTo>
                        <a:pt x="886" y="529"/>
                      </a:lnTo>
                      <a:lnTo>
                        <a:pt x="898" y="487"/>
                      </a:lnTo>
                      <a:lnTo>
                        <a:pt x="884" y="401"/>
                      </a:lnTo>
                      <a:lnTo>
                        <a:pt x="900" y="401"/>
                      </a:lnTo>
                      <a:lnTo>
                        <a:pt x="898" y="365"/>
                      </a:lnTo>
                      <a:lnTo>
                        <a:pt x="860" y="90"/>
                      </a:lnTo>
                      <a:lnTo>
                        <a:pt x="840" y="56"/>
                      </a:lnTo>
                      <a:lnTo>
                        <a:pt x="870" y="6"/>
                      </a:lnTo>
                      <a:lnTo>
                        <a:pt x="872" y="4"/>
                      </a:lnTo>
                      <a:lnTo>
                        <a:pt x="846" y="4"/>
                      </a:lnTo>
                      <a:lnTo>
                        <a:pt x="846" y="4"/>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4" name="Louisiana" descr="{&quot;Key&quot;:&quot;louisiana&quot;,&quot;Name&quot;:&quot;Louisiana&quot;,&quot;Value&quot;:1.0,&quot;Formula&quot;:&quot;&quot;,&quot;Text&quot;:&quot;&quot;,&quot;OfficeApplication&quot;:1,&quot;HasValue&quot;:true}">
                  <a:extLst>
                    <a:ext uri="{FF2B5EF4-FFF2-40B4-BE49-F238E27FC236}">
                      <a16:creationId xmlns:a16="http://schemas.microsoft.com/office/drawing/2014/main" id="{B666383B-1A74-48B4-8D3B-1C0CF26FD142}"/>
                    </a:ext>
                  </a:extLst>
                </p:cNvPr>
                <p:cNvSpPr>
                  <a:spLocks noEditPoints="1"/>
                </p:cNvSpPr>
                <p:nvPr/>
              </p:nvSpPr>
              <p:spPr bwMode="auto">
                <a:xfrm>
                  <a:off x="7086599" y="5364162"/>
                  <a:ext cx="1212850" cy="1008063"/>
                </a:xfrm>
                <a:custGeom>
                  <a:avLst/>
                  <a:gdLst>
                    <a:gd name="T0" fmla="*/ 510 w 764"/>
                    <a:gd name="T1" fmla="*/ 635 h 635"/>
                    <a:gd name="T2" fmla="*/ 556 w 764"/>
                    <a:gd name="T3" fmla="*/ 627 h 635"/>
                    <a:gd name="T4" fmla="*/ 556 w 764"/>
                    <a:gd name="T5" fmla="*/ 627 h 635"/>
                    <a:gd name="T6" fmla="*/ 566 w 764"/>
                    <a:gd name="T7" fmla="*/ 625 h 635"/>
                    <a:gd name="T8" fmla="*/ 564 w 764"/>
                    <a:gd name="T9" fmla="*/ 613 h 635"/>
                    <a:gd name="T10" fmla="*/ 566 w 764"/>
                    <a:gd name="T11" fmla="*/ 615 h 635"/>
                    <a:gd name="T12" fmla="*/ 630 w 764"/>
                    <a:gd name="T13" fmla="*/ 577 h 635"/>
                    <a:gd name="T14" fmla="*/ 736 w 764"/>
                    <a:gd name="T15" fmla="*/ 529 h 635"/>
                    <a:gd name="T16" fmla="*/ 736 w 764"/>
                    <a:gd name="T17" fmla="*/ 529 h 635"/>
                    <a:gd name="T18" fmla="*/ 750 w 764"/>
                    <a:gd name="T19" fmla="*/ 509 h 635"/>
                    <a:gd name="T20" fmla="*/ 752 w 764"/>
                    <a:gd name="T21" fmla="*/ 509 h 635"/>
                    <a:gd name="T22" fmla="*/ 332 w 764"/>
                    <a:gd name="T23" fmla="*/ 553 h 635"/>
                    <a:gd name="T24" fmla="*/ 354 w 764"/>
                    <a:gd name="T25" fmla="*/ 577 h 635"/>
                    <a:gd name="T26" fmla="*/ 672 w 764"/>
                    <a:gd name="T27" fmla="*/ 507 h 635"/>
                    <a:gd name="T28" fmla="*/ 684 w 764"/>
                    <a:gd name="T29" fmla="*/ 495 h 635"/>
                    <a:gd name="T30" fmla="*/ 684 w 764"/>
                    <a:gd name="T31" fmla="*/ 495 h 635"/>
                    <a:gd name="T32" fmla="*/ 748 w 764"/>
                    <a:gd name="T33" fmla="*/ 481 h 635"/>
                    <a:gd name="T34" fmla="*/ 764 w 764"/>
                    <a:gd name="T35" fmla="*/ 471 h 635"/>
                    <a:gd name="T36" fmla="*/ 764 w 764"/>
                    <a:gd name="T37" fmla="*/ 471 h 635"/>
                    <a:gd name="T38" fmla="*/ 756 w 764"/>
                    <a:gd name="T39" fmla="*/ 469 h 635"/>
                    <a:gd name="T40" fmla="*/ 756 w 764"/>
                    <a:gd name="T41" fmla="*/ 471 h 635"/>
                    <a:gd name="T42" fmla="*/ 710 w 764"/>
                    <a:gd name="T43" fmla="*/ 463 h 635"/>
                    <a:gd name="T44" fmla="*/ 706 w 764"/>
                    <a:gd name="T45" fmla="*/ 465 h 635"/>
                    <a:gd name="T46" fmla="*/ 706 w 764"/>
                    <a:gd name="T47" fmla="*/ 465 h 635"/>
                    <a:gd name="T48" fmla="*/ 678 w 764"/>
                    <a:gd name="T49" fmla="*/ 437 h 635"/>
                    <a:gd name="T50" fmla="*/ 680 w 764"/>
                    <a:gd name="T51" fmla="*/ 435 h 635"/>
                    <a:gd name="T52" fmla="*/ 98 w 764"/>
                    <a:gd name="T53" fmla="*/ 26 h 635"/>
                    <a:gd name="T54" fmla="*/ 2 w 764"/>
                    <a:gd name="T55" fmla="*/ 54 h 635"/>
                    <a:gd name="T56" fmla="*/ 44 w 764"/>
                    <a:gd name="T57" fmla="*/ 261 h 635"/>
                    <a:gd name="T58" fmla="*/ 82 w 764"/>
                    <a:gd name="T59" fmla="*/ 403 h 635"/>
                    <a:gd name="T60" fmla="*/ 66 w 764"/>
                    <a:gd name="T61" fmla="*/ 521 h 635"/>
                    <a:gd name="T62" fmla="*/ 152 w 764"/>
                    <a:gd name="T63" fmla="*/ 549 h 635"/>
                    <a:gd name="T64" fmla="*/ 308 w 764"/>
                    <a:gd name="T65" fmla="*/ 557 h 635"/>
                    <a:gd name="T66" fmla="*/ 340 w 764"/>
                    <a:gd name="T67" fmla="*/ 539 h 635"/>
                    <a:gd name="T68" fmla="*/ 406 w 764"/>
                    <a:gd name="T69" fmla="*/ 559 h 635"/>
                    <a:gd name="T70" fmla="*/ 490 w 764"/>
                    <a:gd name="T71" fmla="*/ 621 h 635"/>
                    <a:gd name="T72" fmla="*/ 560 w 764"/>
                    <a:gd name="T73" fmla="*/ 587 h 635"/>
                    <a:gd name="T74" fmla="*/ 594 w 764"/>
                    <a:gd name="T75" fmla="*/ 543 h 635"/>
                    <a:gd name="T76" fmla="*/ 690 w 764"/>
                    <a:gd name="T77" fmla="*/ 579 h 635"/>
                    <a:gd name="T78" fmla="*/ 746 w 764"/>
                    <a:gd name="T79" fmla="*/ 583 h 635"/>
                    <a:gd name="T80" fmla="*/ 654 w 764"/>
                    <a:gd name="T81" fmla="*/ 539 h 635"/>
                    <a:gd name="T82" fmla="*/ 696 w 764"/>
                    <a:gd name="T83" fmla="*/ 481 h 635"/>
                    <a:gd name="T84" fmla="*/ 628 w 764"/>
                    <a:gd name="T85" fmla="*/ 473 h 635"/>
                    <a:gd name="T86" fmla="*/ 600 w 764"/>
                    <a:gd name="T87" fmla="*/ 459 h 635"/>
                    <a:gd name="T88" fmla="*/ 560 w 764"/>
                    <a:gd name="T89" fmla="*/ 413 h 635"/>
                    <a:gd name="T90" fmla="*/ 664 w 764"/>
                    <a:gd name="T91" fmla="*/ 429 h 635"/>
                    <a:gd name="T92" fmla="*/ 612 w 764"/>
                    <a:gd name="T93" fmla="*/ 339 h 635"/>
                    <a:gd name="T94" fmla="*/ 364 w 764"/>
                    <a:gd name="T95" fmla="*/ 323 h 635"/>
                    <a:gd name="T96" fmla="*/ 378 w 764"/>
                    <a:gd name="T97" fmla="*/ 208 h 635"/>
                    <a:gd name="T98" fmla="*/ 410 w 764"/>
                    <a:gd name="T99" fmla="*/ 46 h 635"/>
                    <a:gd name="T100" fmla="*/ 392 w 764"/>
                    <a:gd name="T101"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4" h="635">
                      <a:moveTo>
                        <a:pt x="524" y="627"/>
                      </a:moveTo>
                      <a:lnTo>
                        <a:pt x="514" y="629"/>
                      </a:lnTo>
                      <a:lnTo>
                        <a:pt x="510" y="635"/>
                      </a:lnTo>
                      <a:lnTo>
                        <a:pt x="524" y="627"/>
                      </a:lnTo>
                      <a:lnTo>
                        <a:pt x="524" y="627"/>
                      </a:lnTo>
                      <a:close/>
                      <a:moveTo>
                        <a:pt x="556" y="627"/>
                      </a:moveTo>
                      <a:lnTo>
                        <a:pt x="552" y="625"/>
                      </a:lnTo>
                      <a:lnTo>
                        <a:pt x="550" y="627"/>
                      </a:lnTo>
                      <a:lnTo>
                        <a:pt x="556" y="627"/>
                      </a:lnTo>
                      <a:close/>
                      <a:moveTo>
                        <a:pt x="576" y="621"/>
                      </a:moveTo>
                      <a:lnTo>
                        <a:pt x="570" y="621"/>
                      </a:lnTo>
                      <a:lnTo>
                        <a:pt x="566" y="625"/>
                      </a:lnTo>
                      <a:lnTo>
                        <a:pt x="576" y="621"/>
                      </a:lnTo>
                      <a:close/>
                      <a:moveTo>
                        <a:pt x="566" y="615"/>
                      </a:moveTo>
                      <a:lnTo>
                        <a:pt x="564" y="613"/>
                      </a:lnTo>
                      <a:lnTo>
                        <a:pt x="564" y="615"/>
                      </a:lnTo>
                      <a:lnTo>
                        <a:pt x="566" y="615"/>
                      </a:lnTo>
                      <a:lnTo>
                        <a:pt x="566" y="615"/>
                      </a:lnTo>
                      <a:close/>
                      <a:moveTo>
                        <a:pt x="628" y="575"/>
                      </a:moveTo>
                      <a:lnTo>
                        <a:pt x="626" y="577"/>
                      </a:lnTo>
                      <a:lnTo>
                        <a:pt x="630" y="577"/>
                      </a:lnTo>
                      <a:lnTo>
                        <a:pt x="628" y="575"/>
                      </a:lnTo>
                      <a:lnTo>
                        <a:pt x="628" y="575"/>
                      </a:lnTo>
                      <a:close/>
                      <a:moveTo>
                        <a:pt x="736" y="529"/>
                      </a:moveTo>
                      <a:lnTo>
                        <a:pt x="742" y="523"/>
                      </a:lnTo>
                      <a:lnTo>
                        <a:pt x="736" y="529"/>
                      </a:lnTo>
                      <a:lnTo>
                        <a:pt x="736" y="529"/>
                      </a:lnTo>
                      <a:lnTo>
                        <a:pt x="736" y="529"/>
                      </a:lnTo>
                      <a:close/>
                      <a:moveTo>
                        <a:pt x="752" y="509"/>
                      </a:moveTo>
                      <a:lnTo>
                        <a:pt x="750" y="509"/>
                      </a:lnTo>
                      <a:lnTo>
                        <a:pt x="750" y="511"/>
                      </a:lnTo>
                      <a:lnTo>
                        <a:pt x="752" y="509"/>
                      </a:lnTo>
                      <a:lnTo>
                        <a:pt x="752" y="509"/>
                      </a:lnTo>
                      <a:close/>
                      <a:moveTo>
                        <a:pt x="354" y="577"/>
                      </a:moveTo>
                      <a:lnTo>
                        <a:pt x="364" y="563"/>
                      </a:lnTo>
                      <a:lnTo>
                        <a:pt x="332" y="553"/>
                      </a:lnTo>
                      <a:lnTo>
                        <a:pt x="320" y="565"/>
                      </a:lnTo>
                      <a:lnTo>
                        <a:pt x="354" y="577"/>
                      </a:lnTo>
                      <a:lnTo>
                        <a:pt x="354" y="577"/>
                      </a:lnTo>
                      <a:close/>
                      <a:moveTo>
                        <a:pt x="676" y="509"/>
                      </a:moveTo>
                      <a:lnTo>
                        <a:pt x="672" y="507"/>
                      </a:lnTo>
                      <a:lnTo>
                        <a:pt x="672" y="507"/>
                      </a:lnTo>
                      <a:lnTo>
                        <a:pt x="676" y="509"/>
                      </a:lnTo>
                      <a:lnTo>
                        <a:pt x="676" y="509"/>
                      </a:lnTo>
                      <a:close/>
                      <a:moveTo>
                        <a:pt x="684" y="495"/>
                      </a:moveTo>
                      <a:lnTo>
                        <a:pt x="676" y="493"/>
                      </a:lnTo>
                      <a:lnTo>
                        <a:pt x="678" y="501"/>
                      </a:lnTo>
                      <a:lnTo>
                        <a:pt x="684" y="495"/>
                      </a:lnTo>
                      <a:close/>
                      <a:moveTo>
                        <a:pt x="748" y="483"/>
                      </a:moveTo>
                      <a:lnTo>
                        <a:pt x="748" y="479"/>
                      </a:lnTo>
                      <a:lnTo>
                        <a:pt x="748" y="481"/>
                      </a:lnTo>
                      <a:lnTo>
                        <a:pt x="748" y="483"/>
                      </a:lnTo>
                      <a:lnTo>
                        <a:pt x="748" y="483"/>
                      </a:lnTo>
                      <a:close/>
                      <a:moveTo>
                        <a:pt x="764" y="471"/>
                      </a:moveTo>
                      <a:lnTo>
                        <a:pt x="762" y="471"/>
                      </a:lnTo>
                      <a:lnTo>
                        <a:pt x="764" y="473"/>
                      </a:lnTo>
                      <a:lnTo>
                        <a:pt x="764" y="471"/>
                      </a:lnTo>
                      <a:lnTo>
                        <a:pt x="764" y="471"/>
                      </a:lnTo>
                      <a:close/>
                      <a:moveTo>
                        <a:pt x="756" y="471"/>
                      </a:moveTo>
                      <a:lnTo>
                        <a:pt x="756" y="469"/>
                      </a:lnTo>
                      <a:lnTo>
                        <a:pt x="754" y="471"/>
                      </a:lnTo>
                      <a:lnTo>
                        <a:pt x="756" y="471"/>
                      </a:lnTo>
                      <a:lnTo>
                        <a:pt x="756" y="471"/>
                      </a:lnTo>
                      <a:close/>
                      <a:moveTo>
                        <a:pt x="702" y="469"/>
                      </a:moveTo>
                      <a:lnTo>
                        <a:pt x="710" y="465"/>
                      </a:lnTo>
                      <a:lnTo>
                        <a:pt x="710" y="463"/>
                      </a:lnTo>
                      <a:lnTo>
                        <a:pt x="702" y="469"/>
                      </a:lnTo>
                      <a:lnTo>
                        <a:pt x="702" y="469"/>
                      </a:lnTo>
                      <a:close/>
                      <a:moveTo>
                        <a:pt x="706" y="465"/>
                      </a:moveTo>
                      <a:lnTo>
                        <a:pt x="710" y="461"/>
                      </a:lnTo>
                      <a:lnTo>
                        <a:pt x="710" y="459"/>
                      </a:lnTo>
                      <a:lnTo>
                        <a:pt x="706" y="465"/>
                      </a:lnTo>
                      <a:lnTo>
                        <a:pt x="706" y="465"/>
                      </a:lnTo>
                      <a:close/>
                      <a:moveTo>
                        <a:pt x="680" y="435"/>
                      </a:moveTo>
                      <a:lnTo>
                        <a:pt x="678" y="437"/>
                      </a:lnTo>
                      <a:lnTo>
                        <a:pt x="678" y="437"/>
                      </a:lnTo>
                      <a:lnTo>
                        <a:pt x="680" y="435"/>
                      </a:lnTo>
                      <a:lnTo>
                        <a:pt x="680" y="435"/>
                      </a:lnTo>
                      <a:close/>
                      <a:moveTo>
                        <a:pt x="392" y="0"/>
                      </a:moveTo>
                      <a:lnTo>
                        <a:pt x="392" y="0"/>
                      </a:lnTo>
                      <a:lnTo>
                        <a:pt x="98" y="26"/>
                      </a:lnTo>
                      <a:lnTo>
                        <a:pt x="24" y="32"/>
                      </a:lnTo>
                      <a:lnTo>
                        <a:pt x="0" y="34"/>
                      </a:lnTo>
                      <a:lnTo>
                        <a:pt x="2" y="54"/>
                      </a:lnTo>
                      <a:lnTo>
                        <a:pt x="16" y="204"/>
                      </a:lnTo>
                      <a:lnTo>
                        <a:pt x="42" y="239"/>
                      </a:lnTo>
                      <a:lnTo>
                        <a:pt x="44" y="261"/>
                      </a:lnTo>
                      <a:lnTo>
                        <a:pt x="68" y="305"/>
                      </a:lnTo>
                      <a:lnTo>
                        <a:pt x="88" y="367"/>
                      </a:lnTo>
                      <a:lnTo>
                        <a:pt x="82" y="403"/>
                      </a:lnTo>
                      <a:lnTo>
                        <a:pt x="76" y="493"/>
                      </a:lnTo>
                      <a:lnTo>
                        <a:pt x="64" y="521"/>
                      </a:lnTo>
                      <a:lnTo>
                        <a:pt x="66" y="521"/>
                      </a:lnTo>
                      <a:lnTo>
                        <a:pt x="68" y="541"/>
                      </a:lnTo>
                      <a:lnTo>
                        <a:pt x="54" y="559"/>
                      </a:lnTo>
                      <a:lnTo>
                        <a:pt x="152" y="549"/>
                      </a:lnTo>
                      <a:lnTo>
                        <a:pt x="226" y="569"/>
                      </a:lnTo>
                      <a:lnTo>
                        <a:pt x="280" y="577"/>
                      </a:lnTo>
                      <a:lnTo>
                        <a:pt x="308" y="557"/>
                      </a:lnTo>
                      <a:lnTo>
                        <a:pt x="292" y="537"/>
                      </a:lnTo>
                      <a:lnTo>
                        <a:pt x="342" y="523"/>
                      </a:lnTo>
                      <a:lnTo>
                        <a:pt x="340" y="539"/>
                      </a:lnTo>
                      <a:lnTo>
                        <a:pt x="366" y="533"/>
                      </a:lnTo>
                      <a:lnTo>
                        <a:pt x="388" y="565"/>
                      </a:lnTo>
                      <a:lnTo>
                        <a:pt x="406" y="559"/>
                      </a:lnTo>
                      <a:lnTo>
                        <a:pt x="452" y="591"/>
                      </a:lnTo>
                      <a:lnTo>
                        <a:pt x="424" y="601"/>
                      </a:lnTo>
                      <a:lnTo>
                        <a:pt x="490" y="621"/>
                      </a:lnTo>
                      <a:lnTo>
                        <a:pt x="514" y="621"/>
                      </a:lnTo>
                      <a:lnTo>
                        <a:pt x="528" y="603"/>
                      </a:lnTo>
                      <a:lnTo>
                        <a:pt x="560" y="587"/>
                      </a:lnTo>
                      <a:lnTo>
                        <a:pt x="584" y="619"/>
                      </a:lnTo>
                      <a:lnTo>
                        <a:pt x="598" y="589"/>
                      </a:lnTo>
                      <a:lnTo>
                        <a:pt x="594" y="543"/>
                      </a:lnTo>
                      <a:lnTo>
                        <a:pt x="636" y="559"/>
                      </a:lnTo>
                      <a:lnTo>
                        <a:pt x="640" y="573"/>
                      </a:lnTo>
                      <a:lnTo>
                        <a:pt x="690" y="579"/>
                      </a:lnTo>
                      <a:lnTo>
                        <a:pt x="716" y="599"/>
                      </a:lnTo>
                      <a:lnTo>
                        <a:pt x="712" y="615"/>
                      </a:lnTo>
                      <a:lnTo>
                        <a:pt x="746" y="583"/>
                      </a:lnTo>
                      <a:lnTo>
                        <a:pt x="734" y="565"/>
                      </a:lnTo>
                      <a:lnTo>
                        <a:pt x="676" y="551"/>
                      </a:lnTo>
                      <a:lnTo>
                        <a:pt x="654" y="539"/>
                      </a:lnTo>
                      <a:lnTo>
                        <a:pt x="652" y="515"/>
                      </a:lnTo>
                      <a:lnTo>
                        <a:pt x="676" y="519"/>
                      </a:lnTo>
                      <a:lnTo>
                        <a:pt x="696" y="481"/>
                      </a:lnTo>
                      <a:lnTo>
                        <a:pt x="672" y="447"/>
                      </a:lnTo>
                      <a:lnTo>
                        <a:pt x="658" y="479"/>
                      </a:lnTo>
                      <a:lnTo>
                        <a:pt x="628" y="473"/>
                      </a:lnTo>
                      <a:lnTo>
                        <a:pt x="650" y="439"/>
                      </a:lnTo>
                      <a:lnTo>
                        <a:pt x="636" y="435"/>
                      </a:lnTo>
                      <a:lnTo>
                        <a:pt x="600" y="459"/>
                      </a:lnTo>
                      <a:lnTo>
                        <a:pt x="552" y="463"/>
                      </a:lnTo>
                      <a:lnTo>
                        <a:pt x="538" y="451"/>
                      </a:lnTo>
                      <a:lnTo>
                        <a:pt x="560" y="413"/>
                      </a:lnTo>
                      <a:lnTo>
                        <a:pt x="586" y="411"/>
                      </a:lnTo>
                      <a:lnTo>
                        <a:pt x="632" y="427"/>
                      </a:lnTo>
                      <a:lnTo>
                        <a:pt x="664" y="429"/>
                      </a:lnTo>
                      <a:lnTo>
                        <a:pt x="664" y="429"/>
                      </a:lnTo>
                      <a:lnTo>
                        <a:pt x="646" y="407"/>
                      </a:lnTo>
                      <a:lnTo>
                        <a:pt x="612" y="339"/>
                      </a:lnTo>
                      <a:lnTo>
                        <a:pt x="622" y="303"/>
                      </a:lnTo>
                      <a:lnTo>
                        <a:pt x="354" y="333"/>
                      </a:lnTo>
                      <a:lnTo>
                        <a:pt x="364" y="323"/>
                      </a:lnTo>
                      <a:lnTo>
                        <a:pt x="354" y="295"/>
                      </a:lnTo>
                      <a:lnTo>
                        <a:pt x="370" y="271"/>
                      </a:lnTo>
                      <a:lnTo>
                        <a:pt x="378" y="208"/>
                      </a:lnTo>
                      <a:lnTo>
                        <a:pt x="438" y="108"/>
                      </a:lnTo>
                      <a:lnTo>
                        <a:pt x="410" y="72"/>
                      </a:lnTo>
                      <a:lnTo>
                        <a:pt x="410" y="46"/>
                      </a:lnTo>
                      <a:lnTo>
                        <a:pt x="392" y="6"/>
                      </a:lnTo>
                      <a:lnTo>
                        <a:pt x="392" y="0"/>
                      </a:lnTo>
                      <a:lnTo>
                        <a:pt x="392" y="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5" name="Texas" descr="{&quot;Key&quot;:&quot;texas&quot;,&quot;Name&quot;:&quot;Texas&quot;,&quot;Value&quot;:1.0,&quot;Formula&quot;:&quot;&quot;,&quot;Text&quot;:&quot;&quot;,&quot;OfficeApplication&quot;:1,&quot;HasValue&quot;:true}">
                  <a:extLst>
                    <a:ext uri="{FF2B5EF4-FFF2-40B4-BE49-F238E27FC236}">
                      <a16:creationId xmlns:a16="http://schemas.microsoft.com/office/drawing/2014/main" id="{E0DAF777-C4BE-4FBF-9064-B0D115932551}"/>
                    </a:ext>
                  </a:extLst>
                </p:cNvPr>
                <p:cNvSpPr>
                  <a:spLocks noEditPoints="1"/>
                </p:cNvSpPr>
                <p:nvPr/>
              </p:nvSpPr>
              <p:spPr bwMode="auto">
                <a:xfrm>
                  <a:off x="4321175" y="4552950"/>
                  <a:ext cx="2905124" cy="2722562"/>
                </a:xfrm>
                <a:custGeom>
                  <a:avLst/>
                  <a:gdLst>
                    <a:gd name="T0" fmla="*/ 1307 w 1830"/>
                    <a:gd name="T1" fmla="*/ 1567 h 1715"/>
                    <a:gd name="T2" fmla="*/ 1309 w 1830"/>
                    <a:gd name="T3" fmla="*/ 1483 h 1715"/>
                    <a:gd name="T4" fmla="*/ 1337 w 1830"/>
                    <a:gd name="T5" fmla="*/ 1432 h 1715"/>
                    <a:gd name="T6" fmla="*/ 1365 w 1830"/>
                    <a:gd name="T7" fmla="*/ 1374 h 1715"/>
                    <a:gd name="T8" fmla="*/ 1387 w 1830"/>
                    <a:gd name="T9" fmla="*/ 1348 h 1715"/>
                    <a:gd name="T10" fmla="*/ 1453 w 1830"/>
                    <a:gd name="T11" fmla="*/ 1306 h 1715"/>
                    <a:gd name="T12" fmla="*/ 1453 w 1830"/>
                    <a:gd name="T13" fmla="*/ 1306 h 1715"/>
                    <a:gd name="T14" fmla="*/ 501 w 1830"/>
                    <a:gd name="T15" fmla="*/ 730 h 1715"/>
                    <a:gd name="T16" fmla="*/ 0 w 1830"/>
                    <a:gd name="T17" fmla="*/ 701 h 1715"/>
                    <a:gd name="T18" fmla="*/ 104 w 1830"/>
                    <a:gd name="T19" fmla="*/ 826 h 1715"/>
                    <a:gd name="T20" fmla="*/ 263 w 1830"/>
                    <a:gd name="T21" fmla="*/ 1012 h 1715"/>
                    <a:gd name="T22" fmla="*/ 345 w 1830"/>
                    <a:gd name="T23" fmla="*/ 1154 h 1715"/>
                    <a:gd name="T24" fmla="*/ 473 w 1830"/>
                    <a:gd name="T25" fmla="*/ 1216 h 1715"/>
                    <a:gd name="T26" fmla="*/ 541 w 1830"/>
                    <a:gd name="T27" fmla="*/ 1102 h 1715"/>
                    <a:gd name="T28" fmla="*/ 693 w 1830"/>
                    <a:gd name="T29" fmla="*/ 1094 h 1715"/>
                    <a:gd name="T30" fmla="*/ 785 w 1830"/>
                    <a:gd name="T31" fmla="*/ 1162 h 1715"/>
                    <a:gd name="T32" fmla="*/ 835 w 1830"/>
                    <a:gd name="T33" fmla="*/ 1234 h 1715"/>
                    <a:gd name="T34" fmla="*/ 919 w 1830"/>
                    <a:gd name="T35" fmla="*/ 1364 h 1715"/>
                    <a:gd name="T36" fmla="*/ 993 w 1830"/>
                    <a:gd name="T37" fmla="*/ 1447 h 1715"/>
                    <a:gd name="T38" fmla="*/ 1043 w 1830"/>
                    <a:gd name="T39" fmla="*/ 1585 h 1715"/>
                    <a:gd name="T40" fmla="*/ 1149 w 1830"/>
                    <a:gd name="T41" fmla="*/ 1667 h 1715"/>
                    <a:gd name="T42" fmla="*/ 1295 w 1830"/>
                    <a:gd name="T43" fmla="*/ 1715 h 1715"/>
                    <a:gd name="T44" fmla="*/ 1303 w 1830"/>
                    <a:gd name="T45" fmla="*/ 1617 h 1715"/>
                    <a:gd name="T46" fmla="*/ 1289 w 1830"/>
                    <a:gd name="T47" fmla="*/ 1503 h 1715"/>
                    <a:gd name="T48" fmla="*/ 1275 w 1830"/>
                    <a:gd name="T49" fmla="*/ 1491 h 1715"/>
                    <a:gd name="T50" fmla="*/ 1289 w 1830"/>
                    <a:gd name="T51" fmla="*/ 1398 h 1715"/>
                    <a:gd name="T52" fmla="*/ 1353 w 1830"/>
                    <a:gd name="T53" fmla="*/ 1358 h 1715"/>
                    <a:gd name="T54" fmla="*/ 1389 w 1830"/>
                    <a:gd name="T55" fmla="*/ 1338 h 1715"/>
                    <a:gd name="T56" fmla="*/ 1445 w 1830"/>
                    <a:gd name="T57" fmla="*/ 1302 h 1715"/>
                    <a:gd name="T58" fmla="*/ 1473 w 1830"/>
                    <a:gd name="T59" fmla="*/ 1276 h 1715"/>
                    <a:gd name="T60" fmla="*/ 1620 w 1830"/>
                    <a:gd name="T61" fmla="*/ 1196 h 1715"/>
                    <a:gd name="T62" fmla="*/ 1636 w 1830"/>
                    <a:gd name="T63" fmla="*/ 1114 h 1715"/>
                    <a:gd name="T64" fmla="*/ 1674 w 1830"/>
                    <a:gd name="T65" fmla="*/ 1114 h 1715"/>
                    <a:gd name="T66" fmla="*/ 1776 w 1830"/>
                    <a:gd name="T67" fmla="*/ 1082 h 1715"/>
                    <a:gd name="T68" fmla="*/ 1806 w 1830"/>
                    <a:gd name="T69" fmla="*/ 1032 h 1715"/>
                    <a:gd name="T70" fmla="*/ 1830 w 1830"/>
                    <a:gd name="T71" fmla="*/ 878 h 1715"/>
                    <a:gd name="T72" fmla="*/ 1784 w 1830"/>
                    <a:gd name="T73" fmla="*/ 750 h 1715"/>
                    <a:gd name="T74" fmla="*/ 1742 w 1830"/>
                    <a:gd name="T75" fmla="*/ 545 h 1715"/>
                    <a:gd name="T76" fmla="*/ 1690 w 1830"/>
                    <a:gd name="T77" fmla="*/ 459 h 1715"/>
                    <a:gd name="T78" fmla="*/ 1676 w 1830"/>
                    <a:gd name="T79" fmla="*/ 447 h 1715"/>
                    <a:gd name="T80" fmla="*/ 1572 w 1830"/>
                    <a:gd name="T81" fmla="*/ 401 h 1715"/>
                    <a:gd name="T82" fmla="*/ 1453 w 1830"/>
                    <a:gd name="T83" fmla="*/ 427 h 1715"/>
                    <a:gd name="T84" fmla="*/ 1319 w 1830"/>
                    <a:gd name="T85" fmla="*/ 449 h 1715"/>
                    <a:gd name="T86" fmla="*/ 1223 w 1830"/>
                    <a:gd name="T87" fmla="*/ 429 h 1715"/>
                    <a:gd name="T88" fmla="*/ 1149 w 1830"/>
                    <a:gd name="T89" fmla="*/ 389 h 1715"/>
                    <a:gd name="T90" fmla="*/ 1057 w 1830"/>
                    <a:gd name="T91" fmla="*/ 381 h 1715"/>
                    <a:gd name="T92" fmla="*/ 971 w 1830"/>
                    <a:gd name="T93" fmla="*/ 351 h 1715"/>
                    <a:gd name="T94" fmla="*/ 923 w 1830"/>
                    <a:gd name="T95" fmla="*/ 8 h 1715"/>
                    <a:gd name="T96" fmla="*/ 531 w 1830"/>
                    <a:gd name="T97" fmla="*/ 2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0" h="1715">
                      <a:moveTo>
                        <a:pt x="1345" y="1681"/>
                      </a:moveTo>
                      <a:lnTo>
                        <a:pt x="1307" y="1539"/>
                      </a:lnTo>
                      <a:lnTo>
                        <a:pt x="1307" y="1567"/>
                      </a:lnTo>
                      <a:lnTo>
                        <a:pt x="1345" y="1681"/>
                      </a:lnTo>
                      <a:close/>
                      <a:moveTo>
                        <a:pt x="1337" y="1432"/>
                      </a:moveTo>
                      <a:lnTo>
                        <a:pt x="1309" y="1483"/>
                      </a:lnTo>
                      <a:lnTo>
                        <a:pt x="1307" y="1499"/>
                      </a:lnTo>
                      <a:lnTo>
                        <a:pt x="1337" y="1432"/>
                      </a:lnTo>
                      <a:lnTo>
                        <a:pt x="1337" y="1432"/>
                      </a:lnTo>
                      <a:close/>
                      <a:moveTo>
                        <a:pt x="1357" y="1396"/>
                      </a:moveTo>
                      <a:lnTo>
                        <a:pt x="1383" y="1364"/>
                      </a:lnTo>
                      <a:lnTo>
                        <a:pt x="1365" y="1374"/>
                      </a:lnTo>
                      <a:lnTo>
                        <a:pt x="1357" y="1396"/>
                      </a:lnTo>
                      <a:close/>
                      <a:moveTo>
                        <a:pt x="1445" y="1316"/>
                      </a:moveTo>
                      <a:lnTo>
                        <a:pt x="1387" y="1348"/>
                      </a:lnTo>
                      <a:lnTo>
                        <a:pt x="1403" y="1344"/>
                      </a:lnTo>
                      <a:lnTo>
                        <a:pt x="1445" y="1316"/>
                      </a:lnTo>
                      <a:close/>
                      <a:moveTo>
                        <a:pt x="1453" y="1306"/>
                      </a:moveTo>
                      <a:lnTo>
                        <a:pt x="1469" y="1292"/>
                      </a:lnTo>
                      <a:lnTo>
                        <a:pt x="1463" y="1294"/>
                      </a:lnTo>
                      <a:lnTo>
                        <a:pt x="1453" y="1306"/>
                      </a:lnTo>
                      <a:close/>
                      <a:moveTo>
                        <a:pt x="531" y="2"/>
                      </a:moveTo>
                      <a:lnTo>
                        <a:pt x="527" y="0"/>
                      </a:lnTo>
                      <a:lnTo>
                        <a:pt x="501" y="730"/>
                      </a:lnTo>
                      <a:lnTo>
                        <a:pt x="347" y="723"/>
                      </a:lnTo>
                      <a:lnTo>
                        <a:pt x="100" y="709"/>
                      </a:lnTo>
                      <a:lnTo>
                        <a:pt x="0" y="701"/>
                      </a:lnTo>
                      <a:lnTo>
                        <a:pt x="20" y="740"/>
                      </a:lnTo>
                      <a:lnTo>
                        <a:pt x="20" y="742"/>
                      </a:lnTo>
                      <a:lnTo>
                        <a:pt x="104" y="826"/>
                      </a:lnTo>
                      <a:lnTo>
                        <a:pt x="152" y="882"/>
                      </a:lnTo>
                      <a:lnTo>
                        <a:pt x="216" y="930"/>
                      </a:lnTo>
                      <a:lnTo>
                        <a:pt x="263" y="1012"/>
                      </a:lnTo>
                      <a:lnTo>
                        <a:pt x="279" y="1098"/>
                      </a:lnTo>
                      <a:lnTo>
                        <a:pt x="315" y="1122"/>
                      </a:lnTo>
                      <a:lnTo>
                        <a:pt x="345" y="1154"/>
                      </a:lnTo>
                      <a:lnTo>
                        <a:pt x="385" y="1168"/>
                      </a:lnTo>
                      <a:lnTo>
                        <a:pt x="445" y="1206"/>
                      </a:lnTo>
                      <a:lnTo>
                        <a:pt x="473" y="1216"/>
                      </a:lnTo>
                      <a:lnTo>
                        <a:pt x="511" y="1180"/>
                      </a:lnTo>
                      <a:lnTo>
                        <a:pt x="521" y="1140"/>
                      </a:lnTo>
                      <a:lnTo>
                        <a:pt x="541" y="1102"/>
                      </a:lnTo>
                      <a:lnTo>
                        <a:pt x="601" y="1078"/>
                      </a:lnTo>
                      <a:lnTo>
                        <a:pt x="625" y="1090"/>
                      </a:lnTo>
                      <a:lnTo>
                        <a:pt x="693" y="1094"/>
                      </a:lnTo>
                      <a:lnTo>
                        <a:pt x="753" y="1132"/>
                      </a:lnTo>
                      <a:lnTo>
                        <a:pt x="795" y="1140"/>
                      </a:lnTo>
                      <a:lnTo>
                        <a:pt x="785" y="1162"/>
                      </a:lnTo>
                      <a:lnTo>
                        <a:pt x="809" y="1178"/>
                      </a:lnTo>
                      <a:lnTo>
                        <a:pt x="831" y="1206"/>
                      </a:lnTo>
                      <a:lnTo>
                        <a:pt x="835" y="1234"/>
                      </a:lnTo>
                      <a:lnTo>
                        <a:pt x="851" y="1254"/>
                      </a:lnTo>
                      <a:lnTo>
                        <a:pt x="885" y="1336"/>
                      </a:lnTo>
                      <a:lnTo>
                        <a:pt x="919" y="1364"/>
                      </a:lnTo>
                      <a:lnTo>
                        <a:pt x="945" y="1408"/>
                      </a:lnTo>
                      <a:lnTo>
                        <a:pt x="979" y="1443"/>
                      </a:lnTo>
                      <a:lnTo>
                        <a:pt x="993" y="1447"/>
                      </a:lnTo>
                      <a:lnTo>
                        <a:pt x="1005" y="1537"/>
                      </a:lnTo>
                      <a:lnTo>
                        <a:pt x="1043" y="1557"/>
                      </a:lnTo>
                      <a:lnTo>
                        <a:pt x="1043" y="1585"/>
                      </a:lnTo>
                      <a:lnTo>
                        <a:pt x="1053" y="1581"/>
                      </a:lnTo>
                      <a:lnTo>
                        <a:pt x="1117" y="1659"/>
                      </a:lnTo>
                      <a:lnTo>
                        <a:pt x="1149" y="1667"/>
                      </a:lnTo>
                      <a:lnTo>
                        <a:pt x="1189" y="1691"/>
                      </a:lnTo>
                      <a:lnTo>
                        <a:pt x="1251" y="1691"/>
                      </a:lnTo>
                      <a:lnTo>
                        <a:pt x="1295" y="1715"/>
                      </a:lnTo>
                      <a:lnTo>
                        <a:pt x="1349" y="1703"/>
                      </a:lnTo>
                      <a:lnTo>
                        <a:pt x="1325" y="1681"/>
                      </a:lnTo>
                      <a:lnTo>
                        <a:pt x="1303" y="1617"/>
                      </a:lnTo>
                      <a:lnTo>
                        <a:pt x="1295" y="1559"/>
                      </a:lnTo>
                      <a:lnTo>
                        <a:pt x="1283" y="1541"/>
                      </a:lnTo>
                      <a:lnTo>
                        <a:pt x="1289" y="1503"/>
                      </a:lnTo>
                      <a:lnTo>
                        <a:pt x="1271" y="1501"/>
                      </a:lnTo>
                      <a:lnTo>
                        <a:pt x="1251" y="1465"/>
                      </a:lnTo>
                      <a:lnTo>
                        <a:pt x="1275" y="1491"/>
                      </a:lnTo>
                      <a:lnTo>
                        <a:pt x="1303" y="1481"/>
                      </a:lnTo>
                      <a:lnTo>
                        <a:pt x="1319" y="1441"/>
                      </a:lnTo>
                      <a:lnTo>
                        <a:pt x="1289" y="1398"/>
                      </a:lnTo>
                      <a:lnTo>
                        <a:pt x="1335" y="1404"/>
                      </a:lnTo>
                      <a:lnTo>
                        <a:pt x="1357" y="1370"/>
                      </a:lnTo>
                      <a:lnTo>
                        <a:pt x="1353" y="1358"/>
                      </a:lnTo>
                      <a:lnTo>
                        <a:pt x="1373" y="1332"/>
                      </a:lnTo>
                      <a:lnTo>
                        <a:pt x="1369" y="1354"/>
                      </a:lnTo>
                      <a:lnTo>
                        <a:pt x="1389" y="1338"/>
                      </a:lnTo>
                      <a:lnTo>
                        <a:pt x="1381" y="1308"/>
                      </a:lnTo>
                      <a:lnTo>
                        <a:pt x="1409" y="1322"/>
                      </a:lnTo>
                      <a:lnTo>
                        <a:pt x="1445" y="1302"/>
                      </a:lnTo>
                      <a:lnTo>
                        <a:pt x="1411" y="1266"/>
                      </a:lnTo>
                      <a:lnTo>
                        <a:pt x="1431" y="1274"/>
                      </a:lnTo>
                      <a:lnTo>
                        <a:pt x="1473" y="1276"/>
                      </a:lnTo>
                      <a:lnTo>
                        <a:pt x="1525" y="1264"/>
                      </a:lnTo>
                      <a:lnTo>
                        <a:pt x="1586" y="1226"/>
                      </a:lnTo>
                      <a:lnTo>
                        <a:pt x="1620" y="1196"/>
                      </a:lnTo>
                      <a:lnTo>
                        <a:pt x="1626" y="1174"/>
                      </a:lnTo>
                      <a:lnTo>
                        <a:pt x="1648" y="1152"/>
                      </a:lnTo>
                      <a:lnTo>
                        <a:pt x="1636" y="1114"/>
                      </a:lnTo>
                      <a:lnTo>
                        <a:pt x="1638" y="1090"/>
                      </a:lnTo>
                      <a:lnTo>
                        <a:pt x="1678" y="1074"/>
                      </a:lnTo>
                      <a:lnTo>
                        <a:pt x="1674" y="1114"/>
                      </a:lnTo>
                      <a:lnTo>
                        <a:pt x="1698" y="1114"/>
                      </a:lnTo>
                      <a:lnTo>
                        <a:pt x="1672" y="1136"/>
                      </a:lnTo>
                      <a:lnTo>
                        <a:pt x="1776" y="1082"/>
                      </a:lnTo>
                      <a:lnTo>
                        <a:pt x="1792" y="1082"/>
                      </a:lnTo>
                      <a:lnTo>
                        <a:pt x="1804" y="1032"/>
                      </a:lnTo>
                      <a:lnTo>
                        <a:pt x="1806" y="1032"/>
                      </a:lnTo>
                      <a:lnTo>
                        <a:pt x="1818" y="1004"/>
                      </a:lnTo>
                      <a:lnTo>
                        <a:pt x="1824" y="914"/>
                      </a:lnTo>
                      <a:lnTo>
                        <a:pt x="1830" y="878"/>
                      </a:lnTo>
                      <a:lnTo>
                        <a:pt x="1810" y="816"/>
                      </a:lnTo>
                      <a:lnTo>
                        <a:pt x="1786" y="772"/>
                      </a:lnTo>
                      <a:lnTo>
                        <a:pt x="1784" y="750"/>
                      </a:lnTo>
                      <a:lnTo>
                        <a:pt x="1758" y="715"/>
                      </a:lnTo>
                      <a:lnTo>
                        <a:pt x="1744" y="565"/>
                      </a:lnTo>
                      <a:lnTo>
                        <a:pt x="1742" y="545"/>
                      </a:lnTo>
                      <a:lnTo>
                        <a:pt x="1742" y="527"/>
                      </a:lnTo>
                      <a:lnTo>
                        <a:pt x="1736" y="457"/>
                      </a:lnTo>
                      <a:lnTo>
                        <a:pt x="1690" y="459"/>
                      </a:lnTo>
                      <a:lnTo>
                        <a:pt x="1678" y="447"/>
                      </a:lnTo>
                      <a:lnTo>
                        <a:pt x="1676" y="447"/>
                      </a:lnTo>
                      <a:lnTo>
                        <a:pt x="1676" y="447"/>
                      </a:lnTo>
                      <a:lnTo>
                        <a:pt x="1644" y="441"/>
                      </a:lnTo>
                      <a:lnTo>
                        <a:pt x="1610" y="419"/>
                      </a:lnTo>
                      <a:lnTo>
                        <a:pt x="1572" y="401"/>
                      </a:lnTo>
                      <a:lnTo>
                        <a:pt x="1497" y="423"/>
                      </a:lnTo>
                      <a:lnTo>
                        <a:pt x="1477" y="419"/>
                      </a:lnTo>
                      <a:lnTo>
                        <a:pt x="1453" y="427"/>
                      </a:lnTo>
                      <a:lnTo>
                        <a:pt x="1425" y="451"/>
                      </a:lnTo>
                      <a:lnTo>
                        <a:pt x="1345" y="415"/>
                      </a:lnTo>
                      <a:lnTo>
                        <a:pt x="1319" y="449"/>
                      </a:lnTo>
                      <a:lnTo>
                        <a:pt x="1283" y="435"/>
                      </a:lnTo>
                      <a:lnTo>
                        <a:pt x="1245" y="411"/>
                      </a:lnTo>
                      <a:lnTo>
                        <a:pt x="1223" y="429"/>
                      </a:lnTo>
                      <a:lnTo>
                        <a:pt x="1203" y="429"/>
                      </a:lnTo>
                      <a:lnTo>
                        <a:pt x="1203" y="415"/>
                      </a:lnTo>
                      <a:lnTo>
                        <a:pt x="1149" y="389"/>
                      </a:lnTo>
                      <a:lnTo>
                        <a:pt x="1127" y="399"/>
                      </a:lnTo>
                      <a:lnTo>
                        <a:pt x="1117" y="387"/>
                      </a:lnTo>
                      <a:lnTo>
                        <a:pt x="1057" y="381"/>
                      </a:lnTo>
                      <a:lnTo>
                        <a:pt x="1011" y="339"/>
                      </a:lnTo>
                      <a:lnTo>
                        <a:pt x="1003" y="353"/>
                      </a:lnTo>
                      <a:lnTo>
                        <a:pt x="971" y="351"/>
                      </a:lnTo>
                      <a:lnTo>
                        <a:pt x="939" y="321"/>
                      </a:lnTo>
                      <a:lnTo>
                        <a:pt x="925" y="275"/>
                      </a:lnTo>
                      <a:lnTo>
                        <a:pt x="923" y="8"/>
                      </a:lnTo>
                      <a:lnTo>
                        <a:pt x="725" y="6"/>
                      </a:lnTo>
                      <a:lnTo>
                        <a:pt x="537" y="2"/>
                      </a:lnTo>
                      <a:lnTo>
                        <a:pt x="531" y="2"/>
                      </a:lnTo>
                      <a:lnTo>
                        <a:pt x="531" y="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6" name="Connecticut" descr="{&quot;Key&quot;:&quot;connecticut&quot;,&quot;Name&quot;:&quot;Connecticut&quot;,&quot;Value&quot;:1.0,&quot;Formula&quot;:&quot;&quot;,&quot;Text&quot;:&quot;&quot;,&quot;OfficeApplication&quot;:1,&quot;HasValue&quot;:true}">
                  <a:extLst>
                    <a:ext uri="{FF2B5EF4-FFF2-40B4-BE49-F238E27FC236}">
                      <a16:creationId xmlns:a16="http://schemas.microsoft.com/office/drawing/2014/main" id="{BE59C4F5-286B-455C-B7D7-96E453DA045F}"/>
                    </a:ext>
                  </a:extLst>
                </p:cNvPr>
                <p:cNvSpPr>
                  <a:spLocks/>
                </p:cNvSpPr>
                <p:nvPr/>
              </p:nvSpPr>
              <p:spPr bwMode="auto">
                <a:xfrm>
                  <a:off x="10768011" y="2212976"/>
                  <a:ext cx="357188" cy="373062"/>
                </a:xfrm>
                <a:custGeom>
                  <a:avLst/>
                  <a:gdLst>
                    <a:gd name="T0" fmla="*/ 191 w 225"/>
                    <a:gd name="T1" fmla="*/ 0 h 235"/>
                    <a:gd name="T2" fmla="*/ 79 w 225"/>
                    <a:gd name="T3" fmla="*/ 44 h 235"/>
                    <a:gd name="T4" fmla="*/ 77 w 225"/>
                    <a:gd name="T5" fmla="*/ 40 h 235"/>
                    <a:gd name="T6" fmla="*/ 14 w 225"/>
                    <a:gd name="T7" fmla="*/ 58 h 235"/>
                    <a:gd name="T8" fmla="*/ 0 w 225"/>
                    <a:gd name="T9" fmla="*/ 62 h 235"/>
                    <a:gd name="T10" fmla="*/ 2 w 225"/>
                    <a:gd name="T11" fmla="*/ 70 h 235"/>
                    <a:gd name="T12" fmla="*/ 30 w 225"/>
                    <a:gd name="T13" fmla="*/ 185 h 235"/>
                    <a:gd name="T14" fmla="*/ 40 w 225"/>
                    <a:gd name="T15" fmla="*/ 197 h 235"/>
                    <a:gd name="T16" fmla="*/ 20 w 225"/>
                    <a:gd name="T17" fmla="*/ 221 h 235"/>
                    <a:gd name="T18" fmla="*/ 34 w 225"/>
                    <a:gd name="T19" fmla="*/ 235 h 235"/>
                    <a:gd name="T20" fmla="*/ 34 w 225"/>
                    <a:gd name="T21" fmla="*/ 235 h 235"/>
                    <a:gd name="T22" fmla="*/ 79 w 225"/>
                    <a:gd name="T23" fmla="*/ 191 h 235"/>
                    <a:gd name="T24" fmla="*/ 105 w 225"/>
                    <a:gd name="T25" fmla="*/ 157 h 235"/>
                    <a:gd name="T26" fmla="*/ 109 w 225"/>
                    <a:gd name="T27" fmla="*/ 167 h 235"/>
                    <a:gd name="T28" fmla="*/ 223 w 225"/>
                    <a:gd name="T29" fmla="*/ 117 h 235"/>
                    <a:gd name="T30" fmla="*/ 225 w 225"/>
                    <a:gd name="T31" fmla="*/ 115 h 235"/>
                    <a:gd name="T32" fmla="*/ 223 w 225"/>
                    <a:gd name="T33" fmla="*/ 95 h 235"/>
                    <a:gd name="T34" fmla="*/ 219 w 225"/>
                    <a:gd name="T35" fmla="*/ 79 h 235"/>
                    <a:gd name="T36" fmla="*/ 195 w 225"/>
                    <a:gd name="T37" fmla="*/ 10 h 235"/>
                    <a:gd name="T38" fmla="*/ 191 w 225"/>
                    <a:gd name="T39" fmla="*/ 2 h 235"/>
                    <a:gd name="T40" fmla="*/ 191 w 225"/>
                    <a:gd name="T41" fmla="*/ 0 h 235"/>
                    <a:gd name="T42" fmla="*/ 191 w 225"/>
                    <a:gd name="T4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235">
                      <a:moveTo>
                        <a:pt x="191" y="0"/>
                      </a:moveTo>
                      <a:lnTo>
                        <a:pt x="79" y="44"/>
                      </a:lnTo>
                      <a:lnTo>
                        <a:pt x="77" y="40"/>
                      </a:lnTo>
                      <a:lnTo>
                        <a:pt x="14" y="58"/>
                      </a:lnTo>
                      <a:lnTo>
                        <a:pt x="0" y="62"/>
                      </a:lnTo>
                      <a:lnTo>
                        <a:pt x="2" y="70"/>
                      </a:lnTo>
                      <a:lnTo>
                        <a:pt x="30" y="185"/>
                      </a:lnTo>
                      <a:lnTo>
                        <a:pt x="40" y="197"/>
                      </a:lnTo>
                      <a:lnTo>
                        <a:pt x="20" y="221"/>
                      </a:lnTo>
                      <a:lnTo>
                        <a:pt x="34" y="235"/>
                      </a:lnTo>
                      <a:lnTo>
                        <a:pt x="34" y="235"/>
                      </a:lnTo>
                      <a:lnTo>
                        <a:pt x="79" y="191"/>
                      </a:lnTo>
                      <a:lnTo>
                        <a:pt x="105" y="157"/>
                      </a:lnTo>
                      <a:lnTo>
                        <a:pt x="109" y="167"/>
                      </a:lnTo>
                      <a:lnTo>
                        <a:pt x="223" y="117"/>
                      </a:lnTo>
                      <a:lnTo>
                        <a:pt x="225" y="115"/>
                      </a:lnTo>
                      <a:lnTo>
                        <a:pt x="223" y="95"/>
                      </a:lnTo>
                      <a:lnTo>
                        <a:pt x="219" y="79"/>
                      </a:lnTo>
                      <a:lnTo>
                        <a:pt x="195" y="10"/>
                      </a:lnTo>
                      <a:lnTo>
                        <a:pt x="191" y="2"/>
                      </a:lnTo>
                      <a:lnTo>
                        <a:pt x="191" y="0"/>
                      </a:lnTo>
                      <a:lnTo>
                        <a:pt x="191" y="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7" name="New Hampshire" descr="{&quot;Key&quot;:&quot;new hampshire&quot;,&quot;Name&quot;:&quot;New Hampshire&quot;,&quot;Value&quot;:1.0,&quot;Formula&quot;:&quot;&quot;,&quot;Text&quot;:&quot;&quot;,&quot;OfficeApplication&quot;:1,&quot;HasValue&quot;:true}">
                  <a:extLst>
                    <a:ext uri="{FF2B5EF4-FFF2-40B4-BE49-F238E27FC236}">
                      <a16:creationId xmlns:a16="http://schemas.microsoft.com/office/drawing/2014/main" id="{72D62696-0612-4A7F-8D5C-4FABC0C37A46}"/>
                    </a:ext>
                  </a:extLst>
                </p:cNvPr>
                <p:cNvSpPr>
                  <a:spLocks/>
                </p:cNvSpPr>
                <p:nvPr/>
              </p:nvSpPr>
              <p:spPr bwMode="auto">
                <a:xfrm>
                  <a:off x="10831512" y="1358902"/>
                  <a:ext cx="341312" cy="720725"/>
                </a:xfrm>
                <a:custGeom>
                  <a:avLst/>
                  <a:gdLst>
                    <a:gd name="T0" fmla="*/ 47 w 215"/>
                    <a:gd name="T1" fmla="*/ 0 h 454"/>
                    <a:gd name="T2" fmla="*/ 37 w 215"/>
                    <a:gd name="T3" fmla="*/ 12 h 454"/>
                    <a:gd name="T4" fmla="*/ 24 w 215"/>
                    <a:gd name="T5" fmla="*/ 10 h 454"/>
                    <a:gd name="T6" fmla="*/ 18 w 215"/>
                    <a:gd name="T7" fmla="*/ 62 h 454"/>
                    <a:gd name="T8" fmla="*/ 18 w 215"/>
                    <a:gd name="T9" fmla="*/ 62 h 454"/>
                    <a:gd name="T10" fmla="*/ 37 w 215"/>
                    <a:gd name="T11" fmla="*/ 132 h 454"/>
                    <a:gd name="T12" fmla="*/ 35 w 215"/>
                    <a:gd name="T13" fmla="*/ 146 h 454"/>
                    <a:gd name="T14" fmla="*/ 0 w 215"/>
                    <a:gd name="T15" fmla="*/ 190 h 454"/>
                    <a:gd name="T16" fmla="*/ 10 w 215"/>
                    <a:gd name="T17" fmla="*/ 230 h 454"/>
                    <a:gd name="T18" fmla="*/ 10 w 215"/>
                    <a:gd name="T19" fmla="*/ 280 h 454"/>
                    <a:gd name="T20" fmla="*/ 4 w 215"/>
                    <a:gd name="T21" fmla="*/ 328 h 454"/>
                    <a:gd name="T22" fmla="*/ 39 w 215"/>
                    <a:gd name="T23" fmla="*/ 454 h 454"/>
                    <a:gd name="T24" fmla="*/ 39 w 215"/>
                    <a:gd name="T25" fmla="*/ 454 h 454"/>
                    <a:gd name="T26" fmla="*/ 39 w 215"/>
                    <a:gd name="T27" fmla="*/ 454 h 454"/>
                    <a:gd name="T28" fmla="*/ 71 w 215"/>
                    <a:gd name="T29" fmla="*/ 444 h 454"/>
                    <a:gd name="T30" fmla="*/ 169 w 215"/>
                    <a:gd name="T31" fmla="*/ 412 h 454"/>
                    <a:gd name="T32" fmla="*/ 213 w 215"/>
                    <a:gd name="T33" fmla="*/ 364 h 454"/>
                    <a:gd name="T34" fmla="*/ 213 w 215"/>
                    <a:gd name="T35" fmla="*/ 364 h 454"/>
                    <a:gd name="T36" fmla="*/ 213 w 215"/>
                    <a:gd name="T37" fmla="*/ 352 h 454"/>
                    <a:gd name="T38" fmla="*/ 215 w 215"/>
                    <a:gd name="T39" fmla="*/ 332 h 454"/>
                    <a:gd name="T40" fmla="*/ 209 w 215"/>
                    <a:gd name="T41" fmla="*/ 334 h 454"/>
                    <a:gd name="T42" fmla="*/ 209 w 215"/>
                    <a:gd name="T43" fmla="*/ 330 h 454"/>
                    <a:gd name="T44" fmla="*/ 161 w 215"/>
                    <a:gd name="T45" fmla="*/ 270 h 454"/>
                    <a:gd name="T46" fmla="*/ 159 w 215"/>
                    <a:gd name="T47" fmla="*/ 264 h 454"/>
                    <a:gd name="T48" fmla="*/ 47 w 215"/>
                    <a:gd name="T49" fmla="*/ 0 h 454"/>
                    <a:gd name="T50" fmla="*/ 47 w 215"/>
                    <a:gd name="T5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5" h="454">
                      <a:moveTo>
                        <a:pt x="47" y="0"/>
                      </a:moveTo>
                      <a:lnTo>
                        <a:pt x="37" y="12"/>
                      </a:lnTo>
                      <a:lnTo>
                        <a:pt x="24" y="10"/>
                      </a:lnTo>
                      <a:lnTo>
                        <a:pt x="18" y="62"/>
                      </a:lnTo>
                      <a:lnTo>
                        <a:pt x="18" y="62"/>
                      </a:lnTo>
                      <a:lnTo>
                        <a:pt x="37" y="132"/>
                      </a:lnTo>
                      <a:lnTo>
                        <a:pt x="35" y="146"/>
                      </a:lnTo>
                      <a:lnTo>
                        <a:pt x="0" y="190"/>
                      </a:lnTo>
                      <a:lnTo>
                        <a:pt x="10" y="230"/>
                      </a:lnTo>
                      <a:lnTo>
                        <a:pt x="10" y="280"/>
                      </a:lnTo>
                      <a:lnTo>
                        <a:pt x="4" y="328"/>
                      </a:lnTo>
                      <a:lnTo>
                        <a:pt x="39" y="454"/>
                      </a:lnTo>
                      <a:lnTo>
                        <a:pt x="39" y="454"/>
                      </a:lnTo>
                      <a:lnTo>
                        <a:pt x="39" y="454"/>
                      </a:lnTo>
                      <a:lnTo>
                        <a:pt x="71" y="444"/>
                      </a:lnTo>
                      <a:lnTo>
                        <a:pt x="169" y="412"/>
                      </a:lnTo>
                      <a:lnTo>
                        <a:pt x="213" y="364"/>
                      </a:lnTo>
                      <a:lnTo>
                        <a:pt x="213" y="364"/>
                      </a:lnTo>
                      <a:lnTo>
                        <a:pt x="213" y="352"/>
                      </a:lnTo>
                      <a:lnTo>
                        <a:pt x="215" y="332"/>
                      </a:lnTo>
                      <a:lnTo>
                        <a:pt x="209" y="334"/>
                      </a:lnTo>
                      <a:lnTo>
                        <a:pt x="209" y="330"/>
                      </a:lnTo>
                      <a:lnTo>
                        <a:pt x="161" y="270"/>
                      </a:lnTo>
                      <a:lnTo>
                        <a:pt x="159" y="264"/>
                      </a:lnTo>
                      <a:lnTo>
                        <a:pt x="47" y="0"/>
                      </a:lnTo>
                      <a:lnTo>
                        <a:pt x="47" y="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8" name="Rhode Island" descr="{&quot;Key&quot;:&quot;rhode island&quot;,&quot;Name&quot;:&quot;Rhode Island&quot;,&quot;Value&quot;:1.0,&quot;Formula&quot;:&quot;&quot;,&quot;Text&quot;:&quot;&quot;,&quot;OfficeApplication&quot;:1,&quot;HasValue&quot;:true}">
                  <a:extLst>
                    <a:ext uri="{FF2B5EF4-FFF2-40B4-BE49-F238E27FC236}">
                      <a16:creationId xmlns:a16="http://schemas.microsoft.com/office/drawing/2014/main" id="{BC892292-35B4-4DE6-A449-76CC2A01667A}"/>
                    </a:ext>
                  </a:extLst>
                </p:cNvPr>
                <p:cNvSpPr>
                  <a:spLocks noEditPoints="1"/>
                </p:cNvSpPr>
                <p:nvPr/>
              </p:nvSpPr>
              <p:spPr bwMode="auto">
                <a:xfrm>
                  <a:off x="11071223" y="2187576"/>
                  <a:ext cx="165100" cy="207964"/>
                </a:xfrm>
                <a:custGeom>
                  <a:avLst/>
                  <a:gdLst>
                    <a:gd name="T0" fmla="*/ 76 w 104"/>
                    <a:gd name="T1" fmla="*/ 86 h 131"/>
                    <a:gd name="T2" fmla="*/ 76 w 104"/>
                    <a:gd name="T3" fmla="*/ 70 h 131"/>
                    <a:gd name="T4" fmla="*/ 72 w 104"/>
                    <a:gd name="T5" fmla="*/ 76 h 131"/>
                    <a:gd name="T6" fmla="*/ 76 w 104"/>
                    <a:gd name="T7" fmla="*/ 86 h 131"/>
                    <a:gd name="T8" fmla="*/ 76 w 104"/>
                    <a:gd name="T9" fmla="*/ 86 h 131"/>
                    <a:gd name="T10" fmla="*/ 92 w 104"/>
                    <a:gd name="T11" fmla="*/ 74 h 131"/>
                    <a:gd name="T12" fmla="*/ 82 w 104"/>
                    <a:gd name="T13" fmla="*/ 54 h 131"/>
                    <a:gd name="T14" fmla="*/ 80 w 104"/>
                    <a:gd name="T15" fmla="*/ 74 h 131"/>
                    <a:gd name="T16" fmla="*/ 92 w 104"/>
                    <a:gd name="T17" fmla="*/ 74 h 131"/>
                    <a:gd name="T18" fmla="*/ 92 w 104"/>
                    <a:gd name="T19" fmla="*/ 74 h 131"/>
                    <a:gd name="T20" fmla="*/ 86 w 104"/>
                    <a:gd name="T21" fmla="*/ 50 h 131"/>
                    <a:gd name="T22" fmla="*/ 92 w 104"/>
                    <a:gd name="T23" fmla="*/ 64 h 131"/>
                    <a:gd name="T24" fmla="*/ 100 w 104"/>
                    <a:gd name="T25" fmla="*/ 76 h 131"/>
                    <a:gd name="T26" fmla="*/ 104 w 104"/>
                    <a:gd name="T27" fmla="*/ 68 h 131"/>
                    <a:gd name="T28" fmla="*/ 98 w 104"/>
                    <a:gd name="T29" fmla="*/ 54 h 131"/>
                    <a:gd name="T30" fmla="*/ 94 w 104"/>
                    <a:gd name="T31" fmla="*/ 44 h 131"/>
                    <a:gd name="T32" fmla="*/ 86 w 104"/>
                    <a:gd name="T33" fmla="*/ 44 h 131"/>
                    <a:gd name="T34" fmla="*/ 86 w 104"/>
                    <a:gd name="T35" fmla="*/ 50 h 131"/>
                    <a:gd name="T36" fmla="*/ 0 w 104"/>
                    <a:gd name="T37" fmla="*/ 18 h 131"/>
                    <a:gd name="T38" fmla="*/ 4 w 104"/>
                    <a:gd name="T39" fmla="*/ 26 h 131"/>
                    <a:gd name="T40" fmla="*/ 28 w 104"/>
                    <a:gd name="T41" fmla="*/ 95 h 131"/>
                    <a:gd name="T42" fmla="*/ 32 w 104"/>
                    <a:gd name="T43" fmla="*/ 111 h 131"/>
                    <a:gd name="T44" fmla="*/ 34 w 104"/>
                    <a:gd name="T45" fmla="*/ 131 h 131"/>
                    <a:gd name="T46" fmla="*/ 34 w 104"/>
                    <a:gd name="T47" fmla="*/ 129 h 131"/>
                    <a:gd name="T48" fmla="*/ 72 w 104"/>
                    <a:gd name="T49" fmla="*/ 99 h 131"/>
                    <a:gd name="T50" fmla="*/ 66 w 104"/>
                    <a:gd name="T51" fmla="*/ 44 h 131"/>
                    <a:gd name="T52" fmla="*/ 80 w 104"/>
                    <a:gd name="T53" fmla="*/ 42 h 131"/>
                    <a:gd name="T54" fmla="*/ 80 w 104"/>
                    <a:gd name="T55" fmla="*/ 42 h 131"/>
                    <a:gd name="T56" fmla="*/ 46 w 104"/>
                    <a:gd name="T57" fmla="*/ 0 h 131"/>
                    <a:gd name="T58" fmla="*/ 10 w 104"/>
                    <a:gd name="T59" fmla="*/ 14 h 131"/>
                    <a:gd name="T60" fmla="*/ 0 w 104"/>
                    <a:gd name="T61" fmla="*/ 18 h 131"/>
                    <a:gd name="T62" fmla="*/ 0 w 104"/>
                    <a:gd name="T63" fmla="*/ 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31">
                      <a:moveTo>
                        <a:pt x="76" y="86"/>
                      </a:moveTo>
                      <a:lnTo>
                        <a:pt x="76" y="70"/>
                      </a:lnTo>
                      <a:lnTo>
                        <a:pt x="72" y="76"/>
                      </a:lnTo>
                      <a:lnTo>
                        <a:pt x="76" y="86"/>
                      </a:lnTo>
                      <a:lnTo>
                        <a:pt x="76" y="86"/>
                      </a:lnTo>
                      <a:close/>
                      <a:moveTo>
                        <a:pt x="92" y="74"/>
                      </a:moveTo>
                      <a:lnTo>
                        <a:pt x="82" y="54"/>
                      </a:lnTo>
                      <a:lnTo>
                        <a:pt x="80" y="74"/>
                      </a:lnTo>
                      <a:lnTo>
                        <a:pt x="92" y="74"/>
                      </a:lnTo>
                      <a:lnTo>
                        <a:pt x="92" y="74"/>
                      </a:lnTo>
                      <a:close/>
                      <a:moveTo>
                        <a:pt x="86" y="50"/>
                      </a:moveTo>
                      <a:lnTo>
                        <a:pt x="92" y="64"/>
                      </a:lnTo>
                      <a:lnTo>
                        <a:pt x="100" y="76"/>
                      </a:lnTo>
                      <a:lnTo>
                        <a:pt x="104" y="68"/>
                      </a:lnTo>
                      <a:lnTo>
                        <a:pt x="98" y="54"/>
                      </a:lnTo>
                      <a:lnTo>
                        <a:pt x="94" y="44"/>
                      </a:lnTo>
                      <a:lnTo>
                        <a:pt x="86" y="44"/>
                      </a:lnTo>
                      <a:lnTo>
                        <a:pt x="86" y="50"/>
                      </a:lnTo>
                      <a:close/>
                      <a:moveTo>
                        <a:pt x="0" y="18"/>
                      </a:moveTo>
                      <a:lnTo>
                        <a:pt x="4" y="26"/>
                      </a:lnTo>
                      <a:lnTo>
                        <a:pt x="28" y="95"/>
                      </a:lnTo>
                      <a:lnTo>
                        <a:pt x="32" y="111"/>
                      </a:lnTo>
                      <a:lnTo>
                        <a:pt x="34" y="131"/>
                      </a:lnTo>
                      <a:lnTo>
                        <a:pt x="34" y="129"/>
                      </a:lnTo>
                      <a:lnTo>
                        <a:pt x="72" y="99"/>
                      </a:lnTo>
                      <a:lnTo>
                        <a:pt x="66" y="44"/>
                      </a:lnTo>
                      <a:lnTo>
                        <a:pt x="80" y="42"/>
                      </a:lnTo>
                      <a:lnTo>
                        <a:pt x="80" y="42"/>
                      </a:lnTo>
                      <a:lnTo>
                        <a:pt x="46" y="0"/>
                      </a:lnTo>
                      <a:lnTo>
                        <a:pt x="10" y="14"/>
                      </a:lnTo>
                      <a:lnTo>
                        <a:pt x="0" y="18"/>
                      </a:lnTo>
                      <a:lnTo>
                        <a:pt x="0" y="18"/>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09" name="Vermont" descr="{&quot;Key&quot;:&quot;vermont&quot;,&quot;Name&quot;:&quot;Vermont&quot;,&quot;Value&quot;:1.0,&quot;Formula&quot;:&quot;&quot;,&quot;Text&quot;:&quot;&quot;,&quot;OfficeApplication&quot;:1,&quot;HasValue&quot;:true}">
                  <a:extLst>
                    <a:ext uri="{FF2B5EF4-FFF2-40B4-BE49-F238E27FC236}">
                      <a16:creationId xmlns:a16="http://schemas.microsoft.com/office/drawing/2014/main" id="{096A6BBF-27C0-4235-A835-3C1636CC9B3A}"/>
                    </a:ext>
                  </a:extLst>
                </p:cNvPr>
                <p:cNvSpPr>
                  <a:spLocks/>
                </p:cNvSpPr>
                <p:nvPr/>
              </p:nvSpPr>
              <p:spPr bwMode="auto">
                <a:xfrm>
                  <a:off x="10545761" y="1457327"/>
                  <a:ext cx="347664" cy="669924"/>
                </a:xfrm>
                <a:custGeom>
                  <a:avLst/>
                  <a:gdLst>
                    <a:gd name="T0" fmla="*/ 219 w 219"/>
                    <a:gd name="T1" fmla="*/ 392 h 422"/>
                    <a:gd name="T2" fmla="*/ 184 w 219"/>
                    <a:gd name="T3" fmla="*/ 266 h 422"/>
                    <a:gd name="T4" fmla="*/ 190 w 219"/>
                    <a:gd name="T5" fmla="*/ 218 h 422"/>
                    <a:gd name="T6" fmla="*/ 190 w 219"/>
                    <a:gd name="T7" fmla="*/ 168 h 422"/>
                    <a:gd name="T8" fmla="*/ 180 w 219"/>
                    <a:gd name="T9" fmla="*/ 128 h 422"/>
                    <a:gd name="T10" fmla="*/ 215 w 219"/>
                    <a:gd name="T11" fmla="*/ 84 h 422"/>
                    <a:gd name="T12" fmla="*/ 217 w 219"/>
                    <a:gd name="T13" fmla="*/ 70 h 422"/>
                    <a:gd name="T14" fmla="*/ 198 w 219"/>
                    <a:gd name="T15" fmla="*/ 0 h 422"/>
                    <a:gd name="T16" fmla="*/ 188 w 219"/>
                    <a:gd name="T17" fmla="*/ 4 h 422"/>
                    <a:gd name="T18" fmla="*/ 144 w 219"/>
                    <a:gd name="T19" fmla="*/ 20 h 422"/>
                    <a:gd name="T20" fmla="*/ 102 w 219"/>
                    <a:gd name="T21" fmla="*/ 36 h 422"/>
                    <a:gd name="T22" fmla="*/ 6 w 219"/>
                    <a:gd name="T23" fmla="*/ 70 h 422"/>
                    <a:gd name="T24" fmla="*/ 0 w 219"/>
                    <a:gd name="T25" fmla="*/ 72 h 422"/>
                    <a:gd name="T26" fmla="*/ 36 w 219"/>
                    <a:gd name="T27" fmla="*/ 154 h 422"/>
                    <a:gd name="T28" fmla="*/ 48 w 219"/>
                    <a:gd name="T29" fmla="*/ 230 h 422"/>
                    <a:gd name="T30" fmla="*/ 88 w 219"/>
                    <a:gd name="T31" fmla="*/ 296 h 422"/>
                    <a:gd name="T32" fmla="*/ 128 w 219"/>
                    <a:gd name="T33" fmla="*/ 422 h 422"/>
                    <a:gd name="T34" fmla="*/ 128 w 219"/>
                    <a:gd name="T35" fmla="*/ 422 h 422"/>
                    <a:gd name="T36" fmla="*/ 136 w 219"/>
                    <a:gd name="T37" fmla="*/ 420 h 422"/>
                    <a:gd name="T38" fmla="*/ 152 w 219"/>
                    <a:gd name="T39" fmla="*/ 414 h 422"/>
                    <a:gd name="T40" fmla="*/ 168 w 219"/>
                    <a:gd name="T41" fmla="*/ 408 h 422"/>
                    <a:gd name="T42" fmla="*/ 213 w 219"/>
                    <a:gd name="T43" fmla="*/ 396 h 422"/>
                    <a:gd name="T44" fmla="*/ 219 w 219"/>
                    <a:gd name="T45" fmla="*/ 392 h 422"/>
                    <a:gd name="T46" fmla="*/ 219 w 219"/>
                    <a:gd name="T47" fmla="*/ 392 h 422"/>
                    <a:gd name="T48" fmla="*/ 219 w 219"/>
                    <a:gd name="T49" fmla="*/ 39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9" h="422">
                      <a:moveTo>
                        <a:pt x="219" y="392"/>
                      </a:moveTo>
                      <a:lnTo>
                        <a:pt x="184" y="266"/>
                      </a:lnTo>
                      <a:lnTo>
                        <a:pt x="190" y="218"/>
                      </a:lnTo>
                      <a:lnTo>
                        <a:pt x="190" y="168"/>
                      </a:lnTo>
                      <a:lnTo>
                        <a:pt x="180" y="128"/>
                      </a:lnTo>
                      <a:lnTo>
                        <a:pt x="215" y="84"/>
                      </a:lnTo>
                      <a:lnTo>
                        <a:pt x="217" y="70"/>
                      </a:lnTo>
                      <a:lnTo>
                        <a:pt x="198" y="0"/>
                      </a:lnTo>
                      <a:lnTo>
                        <a:pt x="188" y="4"/>
                      </a:lnTo>
                      <a:lnTo>
                        <a:pt x="144" y="20"/>
                      </a:lnTo>
                      <a:lnTo>
                        <a:pt x="102" y="36"/>
                      </a:lnTo>
                      <a:lnTo>
                        <a:pt x="6" y="70"/>
                      </a:lnTo>
                      <a:lnTo>
                        <a:pt x="0" y="72"/>
                      </a:lnTo>
                      <a:lnTo>
                        <a:pt x="36" y="154"/>
                      </a:lnTo>
                      <a:lnTo>
                        <a:pt x="48" y="230"/>
                      </a:lnTo>
                      <a:lnTo>
                        <a:pt x="88" y="296"/>
                      </a:lnTo>
                      <a:lnTo>
                        <a:pt x="128" y="422"/>
                      </a:lnTo>
                      <a:lnTo>
                        <a:pt x="128" y="422"/>
                      </a:lnTo>
                      <a:lnTo>
                        <a:pt x="136" y="420"/>
                      </a:lnTo>
                      <a:lnTo>
                        <a:pt x="152" y="414"/>
                      </a:lnTo>
                      <a:lnTo>
                        <a:pt x="168" y="408"/>
                      </a:lnTo>
                      <a:lnTo>
                        <a:pt x="213" y="396"/>
                      </a:lnTo>
                      <a:lnTo>
                        <a:pt x="219" y="392"/>
                      </a:lnTo>
                      <a:lnTo>
                        <a:pt x="219" y="392"/>
                      </a:lnTo>
                      <a:lnTo>
                        <a:pt x="219" y="39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0" name="Alabama" descr="{&quot;Key&quot;:&quot;alabama&quot;,&quot;Name&quot;:&quot;Alabama&quot;,&quot;Value&quot;:1.0,&quot;Formula&quot;:&quot;&quot;,&quot;Text&quot;:&quot;&quot;,&quot;OfficeApplication&quot;:1,&quot;HasValue&quot;:true}">
                  <a:extLst>
                    <a:ext uri="{FF2B5EF4-FFF2-40B4-BE49-F238E27FC236}">
                      <a16:creationId xmlns:a16="http://schemas.microsoft.com/office/drawing/2014/main" id="{84173C84-2C70-4BCA-95A9-475526A94E32}"/>
                    </a:ext>
                  </a:extLst>
                </p:cNvPr>
                <p:cNvSpPr>
                  <a:spLocks/>
                </p:cNvSpPr>
                <p:nvPr/>
              </p:nvSpPr>
              <p:spPr bwMode="auto">
                <a:xfrm>
                  <a:off x="8289924" y="4697413"/>
                  <a:ext cx="827088" cy="1274763"/>
                </a:xfrm>
                <a:custGeom>
                  <a:avLst/>
                  <a:gdLst>
                    <a:gd name="T0" fmla="*/ 0 w 521"/>
                    <a:gd name="T1" fmla="*/ 50 h 803"/>
                    <a:gd name="T2" fmla="*/ 4 w 521"/>
                    <a:gd name="T3" fmla="*/ 56 h 803"/>
                    <a:gd name="T4" fmla="*/ 14 w 521"/>
                    <a:gd name="T5" fmla="*/ 64 h 803"/>
                    <a:gd name="T6" fmla="*/ 20 w 521"/>
                    <a:gd name="T7" fmla="*/ 382 h 803"/>
                    <a:gd name="T8" fmla="*/ 20 w 521"/>
                    <a:gd name="T9" fmla="*/ 558 h 803"/>
                    <a:gd name="T10" fmla="*/ 60 w 521"/>
                    <a:gd name="T11" fmla="*/ 797 h 803"/>
                    <a:gd name="T12" fmla="*/ 64 w 521"/>
                    <a:gd name="T13" fmla="*/ 797 h 803"/>
                    <a:gd name="T14" fmla="*/ 98 w 521"/>
                    <a:gd name="T15" fmla="*/ 803 h 803"/>
                    <a:gd name="T16" fmla="*/ 108 w 521"/>
                    <a:gd name="T17" fmla="*/ 735 h 803"/>
                    <a:gd name="T18" fmla="*/ 124 w 521"/>
                    <a:gd name="T19" fmla="*/ 773 h 803"/>
                    <a:gd name="T20" fmla="*/ 150 w 521"/>
                    <a:gd name="T21" fmla="*/ 797 h 803"/>
                    <a:gd name="T22" fmla="*/ 200 w 521"/>
                    <a:gd name="T23" fmla="*/ 767 h 803"/>
                    <a:gd name="T24" fmla="*/ 194 w 521"/>
                    <a:gd name="T25" fmla="*/ 763 h 803"/>
                    <a:gd name="T26" fmla="*/ 196 w 521"/>
                    <a:gd name="T27" fmla="*/ 763 h 803"/>
                    <a:gd name="T28" fmla="*/ 162 w 521"/>
                    <a:gd name="T29" fmla="*/ 683 h 803"/>
                    <a:gd name="T30" fmla="*/ 497 w 521"/>
                    <a:gd name="T31" fmla="*/ 628 h 803"/>
                    <a:gd name="T32" fmla="*/ 521 w 521"/>
                    <a:gd name="T33" fmla="*/ 624 h 803"/>
                    <a:gd name="T34" fmla="*/ 521 w 521"/>
                    <a:gd name="T35" fmla="*/ 624 h 803"/>
                    <a:gd name="T36" fmla="*/ 499 w 521"/>
                    <a:gd name="T37" fmla="*/ 584 h 803"/>
                    <a:gd name="T38" fmla="*/ 497 w 521"/>
                    <a:gd name="T39" fmla="*/ 528 h 803"/>
                    <a:gd name="T40" fmla="*/ 481 w 521"/>
                    <a:gd name="T41" fmla="*/ 496 h 803"/>
                    <a:gd name="T42" fmla="*/ 489 w 521"/>
                    <a:gd name="T43" fmla="*/ 436 h 803"/>
                    <a:gd name="T44" fmla="*/ 503 w 521"/>
                    <a:gd name="T45" fmla="*/ 420 h 803"/>
                    <a:gd name="T46" fmla="*/ 445 w 521"/>
                    <a:gd name="T47" fmla="*/ 318 h 803"/>
                    <a:gd name="T48" fmla="*/ 341 w 521"/>
                    <a:gd name="T49" fmla="*/ 2 h 803"/>
                    <a:gd name="T50" fmla="*/ 341 w 521"/>
                    <a:gd name="T51" fmla="*/ 0 h 803"/>
                    <a:gd name="T52" fmla="*/ 316 w 521"/>
                    <a:gd name="T53" fmla="*/ 4 h 803"/>
                    <a:gd name="T54" fmla="*/ 192 w 521"/>
                    <a:gd name="T55" fmla="*/ 24 h 803"/>
                    <a:gd name="T56" fmla="*/ 130 w 521"/>
                    <a:gd name="T57" fmla="*/ 32 h 803"/>
                    <a:gd name="T58" fmla="*/ 0 w 521"/>
                    <a:gd name="T59" fmla="*/ 50 h 803"/>
                    <a:gd name="T60" fmla="*/ 0 w 521"/>
                    <a:gd name="T61" fmla="*/ 50 h 803"/>
                    <a:gd name="T62" fmla="*/ 0 w 521"/>
                    <a:gd name="T63" fmla="*/ 5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1" h="803">
                      <a:moveTo>
                        <a:pt x="0" y="50"/>
                      </a:moveTo>
                      <a:lnTo>
                        <a:pt x="4" y="56"/>
                      </a:lnTo>
                      <a:lnTo>
                        <a:pt x="14" y="64"/>
                      </a:lnTo>
                      <a:lnTo>
                        <a:pt x="20" y="382"/>
                      </a:lnTo>
                      <a:lnTo>
                        <a:pt x="20" y="558"/>
                      </a:lnTo>
                      <a:lnTo>
                        <a:pt x="60" y="797"/>
                      </a:lnTo>
                      <a:lnTo>
                        <a:pt x="64" y="797"/>
                      </a:lnTo>
                      <a:lnTo>
                        <a:pt x="98" y="803"/>
                      </a:lnTo>
                      <a:lnTo>
                        <a:pt x="108" y="735"/>
                      </a:lnTo>
                      <a:lnTo>
                        <a:pt x="124" y="773"/>
                      </a:lnTo>
                      <a:lnTo>
                        <a:pt x="150" y="797"/>
                      </a:lnTo>
                      <a:lnTo>
                        <a:pt x="200" y="767"/>
                      </a:lnTo>
                      <a:lnTo>
                        <a:pt x="194" y="763"/>
                      </a:lnTo>
                      <a:lnTo>
                        <a:pt x="196" y="763"/>
                      </a:lnTo>
                      <a:lnTo>
                        <a:pt x="162" y="683"/>
                      </a:lnTo>
                      <a:lnTo>
                        <a:pt x="497" y="628"/>
                      </a:lnTo>
                      <a:lnTo>
                        <a:pt x="521" y="624"/>
                      </a:lnTo>
                      <a:lnTo>
                        <a:pt x="521" y="624"/>
                      </a:lnTo>
                      <a:lnTo>
                        <a:pt x="499" y="584"/>
                      </a:lnTo>
                      <a:lnTo>
                        <a:pt x="497" y="528"/>
                      </a:lnTo>
                      <a:lnTo>
                        <a:pt x="481" y="496"/>
                      </a:lnTo>
                      <a:lnTo>
                        <a:pt x="489" y="436"/>
                      </a:lnTo>
                      <a:lnTo>
                        <a:pt x="503" y="420"/>
                      </a:lnTo>
                      <a:lnTo>
                        <a:pt x="445" y="318"/>
                      </a:lnTo>
                      <a:lnTo>
                        <a:pt x="341" y="2"/>
                      </a:lnTo>
                      <a:lnTo>
                        <a:pt x="341" y="0"/>
                      </a:lnTo>
                      <a:lnTo>
                        <a:pt x="316" y="4"/>
                      </a:lnTo>
                      <a:lnTo>
                        <a:pt x="192" y="24"/>
                      </a:lnTo>
                      <a:lnTo>
                        <a:pt x="130" y="32"/>
                      </a:lnTo>
                      <a:lnTo>
                        <a:pt x="0" y="50"/>
                      </a:lnTo>
                      <a:lnTo>
                        <a:pt x="0" y="50"/>
                      </a:lnTo>
                      <a:lnTo>
                        <a:pt x="0" y="5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1" name="Florida" descr="{&quot;Key&quot;:&quot;florida&quot;,&quot;Name&quot;:&quot;Florida&quot;,&quot;Value&quot;:1.0,&quot;Formula&quot;:&quot;&quot;,&quot;Text&quot;:&quot;&quot;,&quot;OfficeApplication&quot;:1,&quot;HasValue&quot;:true}">
                  <a:extLst>
                    <a:ext uri="{FF2B5EF4-FFF2-40B4-BE49-F238E27FC236}">
                      <a16:creationId xmlns:a16="http://schemas.microsoft.com/office/drawing/2014/main" id="{153EEFED-0990-43BC-8E0D-4AA3D9B68DD8}"/>
                    </a:ext>
                  </a:extLst>
                </p:cNvPr>
                <p:cNvSpPr>
                  <a:spLocks noEditPoints="1"/>
                </p:cNvSpPr>
                <p:nvPr/>
              </p:nvSpPr>
              <p:spPr bwMode="auto">
                <a:xfrm>
                  <a:off x="8547098" y="5605462"/>
                  <a:ext cx="1881188" cy="1612900"/>
                </a:xfrm>
                <a:custGeom>
                  <a:avLst/>
                  <a:gdLst>
                    <a:gd name="T0" fmla="*/ 923 w 1185"/>
                    <a:gd name="T1" fmla="*/ 1004 h 1016"/>
                    <a:gd name="T2" fmla="*/ 925 w 1185"/>
                    <a:gd name="T3" fmla="*/ 1002 h 1016"/>
                    <a:gd name="T4" fmla="*/ 817 w 1185"/>
                    <a:gd name="T5" fmla="*/ 1016 h 1016"/>
                    <a:gd name="T6" fmla="*/ 819 w 1185"/>
                    <a:gd name="T7" fmla="*/ 1014 h 1016"/>
                    <a:gd name="T8" fmla="*/ 1031 w 1185"/>
                    <a:gd name="T9" fmla="*/ 966 h 1016"/>
                    <a:gd name="T10" fmla="*/ 1051 w 1185"/>
                    <a:gd name="T11" fmla="*/ 962 h 1016"/>
                    <a:gd name="T12" fmla="*/ 1045 w 1185"/>
                    <a:gd name="T13" fmla="*/ 960 h 1016"/>
                    <a:gd name="T14" fmla="*/ 1043 w 1185"/>
                    <a:gd name="T15" fmla="*/ 966 h 1016"/>
                    <a:gd name="T16" fmla="*/ 1129 w 1185"/>
                    <a:gd name="T17" fmla="*/ 908 h 1016"/>
                    <a:gd name="T18" fmla="*/ 1129 w 1185"/>
                    <a:gd name="T19" fmla="*/ 904 h 1016"/>
                    <a:gd name="T20" fmla="*/ 1123 w 1185"/>
                    <a:gd name="T21" fmla="*/ 890 h 1016"/>
                    <a:gd name="T22" fmla="*/ 1101 w 1185"/>
                    <a:gd name="T23" fmla="*/ 888 h 1016"/>
                    <a:gd name="T24" fmla="*/ 1127 w 1185"/>
                    <a:gd name="T25" fmla="*/ 872 h 1016"/>
                    <a:gd name="T26" fmla="*/ 1131 w 1185"/>
                    <a:gd name="T27" fmla="*/ 872 h 1016"/>
                    <a:gd name="T28" fmla="*/ 1155 w 1185"/>
                    <a:gd name="T29" fmla="*/ 864 h 1016"/>
                    <a:gd name="T30" fmla="*/ 1119 w 1185"/>
                    <a:gd name="T31" fmla="*/ 868 h 1016"/>
                    <a:gd name="T32" fmla="*/ 1137 w 1185"/>
                    <a:gd name="T33" fmla="*/ 858 h 1016"/>
                    <a:gd name="T34" fmla="*/ 1079 w 1185"/>
                    <a:gd name="T35" fmla="*/ 858 h 1016"/>
                    <a:gd name="T36" fmla="*/ 1085 w 1185"/>
                    <a:gd name="T37" fmla="*/ 860 h 1016"/>
                    <a:gd name="T38" fmla="*/ 1057 w 1185"/>
                    <a:gd name="T39" fmla="*/ 848 h 1016"/>
                    <a:gd name="T40" fmla="*/ 1157 w 1185"/>
                    <a:gd name="T41" fmla="*/ 860 h 1016"/>
                    <a:gd name="T42" fmla="*/ 1061 w 1185"/>
                    <a:gd name="T43" fmla="*/ 846 h 1016"/>
                    <a:gd name="T44" fmla="*/ 1185 w 1185"/>
                    <a:gd name="T45" fmla="*/ 763 h 1016"/>
                    <a:gd name="T46" fmla="*/ 1009 w 1185"/>
                    <a:gd name="T47" fmla="*/ 786 h 1016"/>
                    <a:gd name="T48" fmla="*/ 991 w 1185"/>
                    <a:gd name="T49" fmla="*/ 776 h 1016"/>
                    <a:gd name="T50" fmla="*/ 975 w 1185"/>
                    <a:gd name="T51" fmla="*/ 778 h 1016"/>
                    <a:gd name="T52" fmla="*/ 981 w 1185"/>
                    <a:gd name="T53" fmla="*/ 778 h 1016"/>
                    <a:gd name="T54" fmla="*/ 875 w 1185"/>
                    <a:gd name="T55" fmla="*/ 703 h 1016"/>
                    <a:gd name="T56" fmla="*/ 857 w 1185"/>
                    <a:gd name="T57" fmla="*/ 673 h 1016"/>
                    <a:gd name="T58" fmla="*/ 885 w 1185"/>
                    <a:gd name="T59" fmla="*/ 691 h 1016"/>
                    <a:gd name="T60" fmla="*/ 789 w 1185"/>
                    <a:gd name="T61" fmla="*/ 573 h 1016"/>
                    <a:gd name="T62" fmla="*/ 1079 w 1185"/>
                    <a:gd name="T63" fmla="*/ 427 h 1016"/>
                    <a:gd name="T64" fmla="*/ 747 w 1185"/>
                    <a:gd name="T65" fmla="*/ 371 h 1016"/>
                    <a:gd name="T66" fmla="*/ 741 w 1185"/>
                    <a:gd name="T67" fmla="*/ 365 h 1016"/>
                    <a:gd name="T68" fmla="*/ 741 w 1185"/>
                    <a:gd name="T69" fmla="*/ 355 h 1016"/>
                    <a:gd name="T70" fmla="*/ 745 w 1185"/>
                    <a:gd name="T71" fmla="*/ 351 h 1016"/>
                    <a:gd name="T72" fmla="*/ 739 w 1185"/>
                    <a:gd name="T73" fmla="*/ 351 h 1016"/>
                    <a:gd name="T74" fmla="*/ 739 w 1185"/>
                    <a:gd name="T75" fmla="*/ 333 h 1016"/>
                    <a:gd name="T76" fmla="*/ 737 w 1185"/>
                    <a:gd name="T77" fmla="*/ 331 h 1016"/>
                    <a:gd name="T78" fmla="*/ 711 w 1185"/>
                    <a:gd name="T79" fmla="*/ 301 h 1016"/>
                    <a:gd name="T80" fmla="*/ 679 w 1185"/>
                    <a:gd name="T81" fmla="*/ 301 h 1016"/>
                    <a:gd name="T82" fmla="*/ 443 w 1185"/>
                    <a:gd name="T83" fmla="*/ 237 h 1016"/>
                    <a:gd name="T84" fmla="*/ 62 w 1185"/>
                    <a:gd name="T85" fmla="*/ 213 h 1016"/>
                    <a:gd name="T86" fmla="*/ 34 w 1185"/>
                    <a:gd name="T87" fmla="*/ 191 h 1016"/>
                    <a:gd name="T88" fmla="*/ 181 w 1185"/>
                    <a:gd name="T89" fmla="*/ 169 h 1016"/>
                    <a:gd name="T90" fmla="*/ 389 w 1185"/>
                    <a:gd name="T91" fmla="*/ 259 h 1016"/>
                    <a:gd name="T92" fmla="*/ 749 w 1185"/>
                    <a:gd name="T93" fmla="*/ 399 h 1016"/>
                    <a:gd name="T94" fmla="*/ 797 w 1185"/>
                    <a:gd name="T95" fmla="*/ 507 h 1016"/>
                    <a:gd name="T96" fmla="*/ 887 w 1185"/>
                    <a:gd name="T97" fmla="*/ 611 h 1016"/>
                    <a:gd name="T98" fmla="*/ 1059 w 1185"/>
                    <a:gd name="T99" fmla="*/ 846 h 1016"/>
                    <a:gd name="T100" fmla="*/ 1185 w 1185"/>
                    <a:gd name="T101" fmla="*/ 747 h 1016"/>
                    <a:gd name="T102" fmla="*/ 1025 w 1185"/>
                    <a:gd name="T103" fmla="*/ 317 h 1016"/>
                    <a:gd name="T104" fmla="*/ 947 w 1185"/>
                    <a:gd name="T105" fmla="*/ 207 h 1016"/>
                    <a:gd name="T106" fmla="*/ 847 w 1185"/>
                    <a:gd name="T107" fmla="*/ 4 h 1016"/>
                    <a:gd name="T108" fmla="*/ 357 w 1185"/>
                    <a:gd name="T109" fmla="*/ 5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5" h="1016">
                      <a:moveTo>
                        <a:pt x="931" y="1004"/>
                      </a:moveTo>
                      <a:lnTo>
                        <a:pt x="929" y="1004"/>
                      </a:lnTo>
                      <a:lnTo>
                        <a:pt x="929" y="1006"/>
                      </a:lnTo>
                      <a:lnTo>
                        <a:pt x="931" y="1004"/>
                      </a:lnTo>
                      <a:lnTo>
                        <a:pt x="931" y="1004"/>
                      </a:lnTo>
                      <a:close/>
                      <a:moveTo>
                        <a:pt x="923" y="1004"/>
                      </a:moveTo>
                      <a:lnTo>
                        <a:pt x="923" y="1004"/>
                      </a:lnTo>
                      <a:lnTo>
                        <a:pt x="925" y="1004"/>
                      </a:lnTo>
                      <a:lnTo>
                        <a:pt x="923" y="1004"/>
                      </a:lnTo>
                      <a:close/>
                      <a:moveTo>
                        <a:pt x="925" y="1002"/>
                      </a:moveTo>
                      <a:lnTo>
                        <a:pt x="925" y="1002"/>
                      </a:lnTo>
                      <a:lnTo>
                        <a:pt x="925" y="1002"/>
                      </a:lnTo>
                      <a:lnTo>
                        <a:pt x="925" y="1002"/>
                      </a:lnTo>
                      <a:close/>
                      <a:moveTo>
                        <a:pt x="819" y="1014"/>
                      </a:moveTo>
                      <a:lnTo>
                        <a:pt x="819" y="1014"/>
                      </a:lnTo>
                      <a:lnTo>
                        <a:pt x="819" y="1016"/>
                      </a:lnTo>
                      <a:lnTo>
                        <a:pt x="819" y="1014"/>
                      </a:lnTo>
                      <a:close/>
                      <a:moveTo>
                        <a:pt x="817" y="1016"/>
                      </a:moveTo>
                      <a:lnTo>
                        <a:pt x="817" y="1014"/>
                      </a:lnTo>
                      <a:lnTo>
                        <a:pt x="817" y="1016"/>
                      </a:lnTo>
                      <a:lnTo>
                        <a:pt x="817" y="1016"/>
                      </a:lnTo>
                      <a:close/>
                      <a:moveTo>
                        <a:pt x="819" y="1014"/>
                      </a:moveTo>
                      <a:lnTo>
                        <a:pt x="819" y="1014"/>
                      </a:lnTo>
                      <a:lnTo>
                        <a:pt x="819" y="1014"/>
                      </a:lnTo>
                      <a:lnTo>
                        <a:pt x="819" y="1014"/>
                      </a:lnTo>
                      <a:close/>
                      <a:moveTo>
                        <a:pt x="811" y="1016"/>
                      </a:moveTo>
                      <a:lnTo>
                        <a:pt x="811" y="1016"/>
                      </a:lnTo>
                      <a:lnTo>
                        <a:pt x="811" y="1016"/>
                      </a:lnTo>
                      <a:lnTo>
                        <a:pt x="811" y="1016"/>
                      </a:lnTo>
                      <a:close/>
                      <a:moveTo>
                        <a:pt x="1031" y="966"/>
                      </a:moveTo>
                      <a:lnTo>
                        <a:pt x="1031" y="966"/>
                      </a:lnTo>
                      <a:lnTo>
                        <a:pt x="1031" y="968"/>
                      </a:lnTo>
                      <a:lnTo>
                        <a:pt x="1031" y="966"/>
                      </a:lnTo>
                      <a:close/>
                      <a:moveTo>
                        <a:pt x="1053" y="960"/>
                      </a:moveTo>
                      <a:lnTo>
                        <a:pt x="1053" y="960"/>
                      </a:lnTo>
                      <a:lnTo>
                        <a:pt x="1051" y="962"/>
                      </a:lnTo>
                      <a:lnTo>
                        <a:pt x="1053" y="960"/>
                      </a:lnTo>
                      <a:lnTo>
                        <a:pt x="1053" y="960"/>
                      </a:lnTo>
                      <a:close/>
                      <a:moveTo>
                        <a:pt x="1045" y="960"/>
                      </a:moveTo>
                      <a:lnTo>
                        <a:pt x="1041" y="956"/>
                      </a:lnTo>
                      <a:lnTo>
                        <a:pt x="1041" y="956"/>
                      </a:lnTo>
                      <a:lnTo>
                        <a:pt x="1045" y="960"/>
                      </a:lnTo>
                      <a:lnTo>
                        <a:pt x="1045" y="960"/>
                      </a:lnTo>
                      <a:close/>
                      <a:moveTo>
                        <a:pt x="1043" y="966"/>
                      </a:moveTo>
                      <a:lnTo>
                        <a:pt x="1033" y="954"/>
                      </a:lnTo>
                      <a:lnTo>
                        <a:pt x="1039" y="964"/>
                      </a:lnTo>
                      <a:lnTo>
                        <a:pt x="1043" y="966"/>
                      </a:lnTo>
                      <a:lnTo>
                        <a:pt x="1043" y="966"/>
                      </a:lnTo>
                      <a:close/>
                      <a:moveTo>
                        <a:pt x="1117" y="920"/>
                      </a:moveTo>
                      <a:lnTo>
                        <a:pt x="1117" y="922"/>
                      </a:lnTo>
                      <a:lnTo>
                        <a:pt x="1117" y="922"/>
                      </a:lnTo>
                      <a:lnTo>
                        <a:pt x="1117" y="920"/>
                      </a:lnTo>
                      <a:close/>
                      <a:moveTo>
                        <a:pt x="1127" y="912"/>
                      </a:moveTo>
                      <a:lnTo>
                        <a:pt x="1129" y="908"/>
                      </a:lnTo>
                      <a:lnTo>
                        <a:pt x="1127" y="912"/>
                      </a:lnTo>
                      <a:lnTo>
                        <a:pt x="1127" y="912"/>
                      </a:lnTo>
                      <a:lnTo>
                        <a:pt x="1127" y="912"/>
                      </a:lnTo>
                      <a:close/>
                      <a:moveTo>
                        <a:pt x="1129" y="904"/>
                      </a:moveTo>
                      <a:lnTo>
                        <a:pt x="1129" y="904"/>
                      </a:lnTo>
                      <a:lnTo>
                        <a:pt x="1129" y="904"/>
                      </a:lnTo>
                      <a:lnTo>
                        <a:pt x="1129" y="904"/>
                      </a:lnTo>
                      <a:close/>
                      <a:moveTo>
                        <a:pt x="1115" y="902"/>
                      </a:moveTo>
                      <a:lnTo>
                        <a:pt x="1115" y="902"/>
                      </a:lnTo>
                      <a:lnTo>
                        <a:pt x="1115" y="902"/>
                      </a:lnTo>
                      <a:lnTo>
                        <a:pt x="1115" y="902"/>
                      </a:lnTo>
                      <a:close/>
                      <a:moveTo>
                        <a:pt x="1123" y="890"/>
                      </a:moveTo>
                      <a:lnTo>
                        <a:pt x="1121" y="890"/>
                      </a:lnTo>
                      <a:lnTo>
                        <a:pt x="1121" y="890"/>
                      </a:lnTo>
                      <a:lnTo>
                        <a:pt x="1123" y="890"/>
                      </a:lnTo>
                      <a:lnTo>
                        <a:pt x="1123" y="890"/>
                      </a:lnTo>
                      <a:close/>
                      <a:moveTo>
                        <a:pt x="1101" y="890"/>
                      </a:moveTo>
                      <a:lnTo>
                        <a:pt x="1101" y="888"/>
                      </a:lnTo>
                      <a:lnTo>
                        <a:pt x="1101" y="890"/>
                      </a:lnTo>
                      <a:lnTo>
                        <a:pt x="1101" y="890"/>
                      </a:lnTo>
                      <a:close/>
                      <a:moveTo>
                        <a:pt x="1127" y="872"/>
                      </a:moveTo>
                      <a:lnTo>
                        <a:pt x="1127" y="872"/>
                      </a:lnTo>
                      <a:lnTo>
                        <a:pt x="1129" y="874"/>
                      </a:lnTo>
                      <a:lnTo>
                        <a:pt x="1127" y="872"/>
                      </a:lnTo>
                      <a:lnTo>
                        <a:pt x="1127" y="872"/>
                      </a:lnTo>
                      <a:close/>
                      <a:moveTo>
                        <a:pt x="1131" y="872"/>
                      </a:moveTo>
                      <a:lnTo>
                        <a:pt x="1129" y="870"/>
                      </a:lnTo>
                      <a:lnTo>
                        <a:pt x="1131" y="872"/>
                      </a:lnTo>
                      <a:lnTo>
                        <a:pt x="1131" y="872"/>
                      </a:lnTo>
                      <a:lnTo>
                        <a:pt x="1131" y="872"/>
                      </a:lnTo>
                      <a:close/>
                      <a:moveTo>
                        <a:pt x="1125" y="870"/>
                      </a:moveTo>
                      <a:lnTo>
                        <a:pt x="1125" y="870"/>
                      </a:lnTo>
                      <a:lnTo>
                        <a:pt x="1125" y="870"/>
                      </a:lnTo>
                      <a:lnTo>
                        <a:pt x="1125" y="870"/>
                      </a:lnTo>
                      <a:lnTo>
                        <a:pt x="1125" y="870"/>
                      </a:lnTo>
                      <a:close/>
                      <a:moveTo>
                        <a:pt x="1155" y="864"/>
                      </a:moveTo>
                      <a:lnTo>
                        <a:pt x="1155" y="864"/>
                      </a:lnTo>
                      <a:lnTo>
                        <a:pt x="1153" y="866"/>
                      </a:lnTo>
                      <a:lnTo>
                        <a:pt x="1155" y="864"/>
                      </a:lnTo>
                      <a:lnTo>
                        <a:pt x="1155" y="864"/>
                      </a:lnTo>
                      <a:close/>
                      <a:moveTo>
                        <a:pt x="1121" y="868"/>
                      </a:moveTo>
                      <a:lnTo>
                        <a:pt x="1119" y="868"/>
                      </a:lnTo>
                      <a:lnTo>
                        <a:pt x="1121" y="868"/>
                      </a:lnTo>
                      <a:lnTo>
                        <a:pt x="1121" y="868"/>
                      </a:lnTo>
                      <a:close/>
                      <a:moveTo>
                        <a:pt x="1137" y="858"/>
                      </a:moveTo>
                      <a:lnTo>
                        <a:pt x="1135" y="858"/>
                      </a:lnTo>
                      <a:lnTo>
                        <a:pt x="1135" y="860"/>
                      </a:lnTo>
                      <a:lnTo>
                        <a:pt x="1137" y="858"/>
                      </a:lnTo>
                      <a:lnTo>
                        <a:pt x="1137" y="858"/>
                      </a:lnTo>
                      <a:close/>
                      <a:moveTo>
                        <a:pt x="1145" y="854"/>
                      </a:moveTo>
                      <a:lnTo>
                        <a:pt x="1145" y="854"/>
                      </a:lnTo>
                      <a:lnTo>
                        <a:pt x="1143" y="854"/>
                      </a:lnTo>
                      <a:lnTo>
                        <a:pt x="1145" y="854"/>
                      </a:lnTo>
                      <a:close/>
                      <a:moveTo>
                        <a:pt x="1079" y="858"/>
                      </a:moveTo>
                      <a:lnTo>
                        <a:pt x="1079" y="856"/>
                      </a:lnTo>
                      <a:lnTo>
                        <a:pt x="1079" y="858"/>
                      </a:lnTo>
                      <a:lnTo>
                        <a:pt x="1079" y="858"/>
                      </a:lnTo>
                      <a:close/>
                      <a:moveTo>
                        <a:pt x="1085" y="856"/>
                      </a:moveTo>
                      <a:lnTo>
                        <a:pt x="1083" y="856"/>
                      </a:lnTo>
                      <a:lnTo>
                        <a:pt x="1085" y="860"/>
                      </a:lnTo>
                      <a:lnTo>
                        <a:pt x="1085" y="856"/>
                      </a:lnTo>
                      <a:close/>
                      <a:moveTo>
                        <a:pt x="1067" y="856"/>
                      </a:moveTo>
                      <a:lnTo>
                        <a:pt x="1067" y="852"/>
                      </a:lnTo>
                      <a:lnTo>
                        <a:pt x="1063" y="852"/>
                      </a:lnTo>
                      <a:lnTo>
                        <a:pt x="1067" y="856"/>
                      </a:lnTo>
                      <a:close/>
                      <a:moveTo>
                        <a:pt x="1057" y="848"/>
                      </a:moveTo>
                      <a:lnTo>
                        <a:pt x="1061" y="852"/>
                      </a:lnTo>
                      <a:lnTo>
                        <a:pt x="1061" y="850"/>
                      </a:lnTo>
                      <a:lnTo>
                        <a:pt x="1057" y="848"/>
                      </a:lnTo>
                      <a:lnTo>
                        <a:pt x="1057" y="848"/>
                      </a:lnTo>
                      <a:close/>
                      <a:moveTo>
                        <a:pt x="1171" y="852"/>
                      </a:moveTo>
                      <a:lnTo>
                        <a:pt x="1157" y="860"/>
                      </a:lnTo>
                      <a:lnTo>
                        <a:pt x="1161" y="860"/>
                      </a:lnTo>
                      <a:lnTo>
                        <a:pt x="1171" y="852"/>
                      </a:lnTo>
                      <a:close/>
                      <a:moveTo>
                        <a:pt x="1061" y="846"/>
                      </a:moveTo>
                      <a:lnTo>
                        <a:pt x="1057" y="846"/>
                      </a:lnTo>
                      <a:lnTo>
                        <a:pt x="1057" y="848"/>
                      </a:lnTo>
                      <a:lnTo>
                        <a:pt x="1061" y="846"/>
                      </a:lnTo>
                      <a:close/>
                      <a:moveTo>
                        <a:pt x="1185" y="808"/>
                      </a:moveTo>
                      <a:lnTo>
                        <a:pt x="1185" y="804"/>
                      </a:lnTo>
                      <a:lnTo>
                        <a:pt x="1185" y="794"/>
                      </a:lnTo>
                      <a:lnTo>
                        <a:pt x="1185" y="808"/>
                      </a:lnTo>
                      <a:lnTo>
                        <a:pt x="1185" y="808"/>
                      </a:lnTo>
                      <a:close/>
                      <a:moveTo>
                        <a:pt x="1185" y="763"/>
                      </a:moveTo>
                      <a:lnTo>
                        <a:pt x="1183" y="755"/>
                      </a:lnTo>
                      <a:lnTo>
                        <a:pt x="1181" y="757"/>
                      </a:lnTo>
                      <a:lnTo>
                        <a:pt x="1185" y="763"/>
                      </a:lnTo>
                      <a:close/>
                      <a:moveTo>
                        <a:pt x="1005" y="782"/>
                      </a:moveTo>
                      <a:lnTo>
                        <a:pt x="1005" y="786"/>
                      </a:lnTo>
                      <a:lnTo>
                        <a:pt x="1009" y="786"/>
                      </a:lnTo>
                      <a:lnTo>
                        <a:pt x="1005" y="782"/>
                      </a:lnTo>
                      <a:lnTo>
                        <a:pt x="1005" y="782"/>
                      </a:lnTo>
                      <a:close/>
                      <a:moveTo>
                        <a:pt x="991" y="776"/>
                      </a:moveTo>
                      <a:lnTo>
                        <a:pt x="985" y="778"/>
                      </a:lnTo>
                      <a:lnTo>
                        <a:pt x="989" y="780"/>
                      </a:lnTo>
                      <a:lnTo>
                        <a:pt x="991" y="776"/>
                      </a:lnTo>
                      <a:lnTo>
                        <a:pt x="991" y="776"/>
                      </a:lnTo>
                      <a:close/>
                      <a:moveTo>
                        <a:pt x="975" y="778"/>
                      </a:moveTo>
                      <a:lnTo>
                        <a:pt x="975" y="776"/>
                      </a:lnTo>
                      <a:lnTo>
                        <a:pt x="975" y="776"/>
                      </a:lnTo>
                      <a:lnTo>
                        <a:pt x="975" y="778"/>
                      </a:lnTo>
                      <a:lnTo>
                        <a:pt x="975" y="778"/>
                      </a:lnTo>
                      <a:close/>
                      <a:moveTo>
                        <a:pt x="959" y="776"/>
                      </a:moveTo>
                      <a:lnTo>
                        <a:pt x="955" y="780"/>
                      </a:lnTo>
                      <a:lnTo>
                        <a:pt x="961" y="782"/>
                      </a:lnTo>
                      <a:lnTo>
                        <a:pt x="959" y="776"/>
                      </a:lnTo>
                      <a:lnTo>
                        <a:pt x="959" y="776"/>
                      </a:lnTo>
                      <a:close/>
                      <a:moveTo>
                        <a:pt x="981" y="778"/>
                      </a:moveTo>
                      <a:lnTo>
                        <a:pt x="981" y="776"/>
                      </a:lnTo>
                      <a:lnTo>
                        <a:pt x="977" y="774"/>
                      </a:lnTo>
                      <a:lnTo>
                        <a:pt x="981" y="778"/>
                      </a:lnTo>
                      <a:lnTo>
                        <a:pt x="981" y="778"/>
                      </a:lnTo>
                      <a:close/>
                      <a:moveTo>
                        <a:pt x="879" y="701"/>
                      </a:moveTo>
                      <a:lnTo>
                        <a:pt x="875" y="703"/>
                      </a:lnTo>
                      <a:lnTo>
                        <a:pt x="883" y="705"/>
                      </a:lnTo>
                      <a:lnTo>
                        <a:pt x="879" y="701"/>
                      </a:lnTo>
                      <a:lnTo>
                        <a:pt x="879" y="701"/>
                      </a:lnTo>
                      <a:close/>
                      <a:moveTo>
                        <a:pt x="861" y="675"/>
                      </a:moveTo>
                      <a:lnTo>
                        <a:pt x="855" y="667"/>
                      </a:lnTo>
                      <a:lnTo>
                        <a:pt x="857" y="673"/>
                      </a:lnTo>
                      <a:lnTo>
                        <a:pt x="861" y="675"/>
                      </a:lnTo>
                      <a:lnTo>
                        <a:pt x="861" y="675"/>
                      </a:lnTo>
                      <a:close/>
                      <a:moveTo>
                        <a:pt x="885" y="691"/>
                      </a:moveTo>
                      <a:lnTo>
                        <a:pt x="873" y="667"/>
                      </a:lnTo>
                      <a:lnTo>
                        <a:pt x="867" y="663"/>
                      </a:lnTo>
                      <a:lnTo>
                        <a:pt x="885" y="691"/>
                      </a:lnTo>
                      <a:close/>
                      <a:moveTo>
                        <a:pt x="853" y="661"/>
                      </a:moveTo>
                      <a:lnTo>
                        <a:pt x="851" y="653"/>
                      </a:lnTo>
                      <a:lnTo>
                        <a:pt x="849" y="649"/>
                      </a:lnTo>
                      <a:lnTo>
                        <a:pt x="853" y="661"/>
                      </a:lnTo>
                      <a:lnTo>
                        <a:pt x="853" y="661"/>
                      </a:lnTo>
                      <a:close/>
                      <a:moveTo>
                        <a:pt x="789" y="573"/>
                      </a:moveTo>
                      <a:lnTo>
                        <a:pt x="775" y="563"/>
                      </a:lnTo>
                      <a:lnTo>
                        <a:pt x="781" y="569"/>
                      </a:lnTo>
                      <a:lnTo>
                        <a:pt x="789" y="573"/>
                      </a:lnTo>
                      <a:close/>
                      <a:moveTo>
                        <a:pt x="1139" y="521"/>
                      </a:moveTo>
                      <a:lnTo>
                        <a:pt x="1081" y="427"/>
                      </a:lnTo>
                      <a:lnTo>
                        <a:pt x="1079" y="427"/>
                      </a:lnTo>
                      <a:lnTo>
                        <a:pt x="1139" y="521"/>
                      </a:lnTo>
                      <a:lnTo>
                        <a:pt x="1139" y="521"/>
                      </a:lnTo>
                      <a:close/>
                      <a:moveTo>
                        <a:pt x="747" y="371"/>
                      </a:moveTo>
                      <a:lnTo>
                        <a:pt x="745" y="369"/>
                      </a:lnTo>
                      <a:lnTo>
                        <a:pt x="747" y="371"/>
                      </a:lnTo>
                      <a:lnTo>
                        <a:pt x="747" y="371"/>
                      </a:lnTo>
                      <a:lnTo>
                        <a:pt x="747" y="371"/>
                      </a:lnTo>
                      <a:close/>
                      <a:moveTo>
                        <a:pt x="741" y="365"/>
                      </a:moveTo>
                      <a:lnTo>
                        <a:pt x="741" y="365"/>
                      </a:lnTo>
                      <a:lnTo>
                        <a:pt x="741" y="367"/>
                      </a:lnTo>
                      <a:lnTo>
                        <a:pt x="741" y="365"/>
                      </a:lnTo>
                      <a:lnTo>
                        <a:pt x="741" y="365"/>
                      </a:lnTo>
                      <a:close/>
                      <a:moveTo>
                        <a:pt x="737" y="357"/>
                      </a:moveTo>
                      <a:lnTo>
                        <a:pt x="737" y="357"/>
                      </a:lnTo>
                      <a:lnTo>
                        <a:pt x="735" y="357"/>
                      </a:lnTo>
                      <a:lnTo>
                        <a:pt x="737" y="357"/>
                      </a:lnTo>
                      <a:close/>
                      <a:moveTo>
                        <a:pt x="739" y="355"/>
                      </a:moveTo>
                      <a:lnTo>
                        <a:pt x="741" y="355"/>
                      </a:lnTo>
                      <a:lnTo>
                        <a:pt x="741" y="355"/>
                      </a:lnTo>
                      <a:lnTo>
                        <a:pt x="739" y="355"/>
                      </a:lnTo>
                      <a:close/>
                      <a:moveTo>
                        <a:pt x="745" y="351"/>
                      </a:moveTo>
                      <a:lnTo>
                        <a:pt x="741" y="351"/>
                      </a:lnTo>
                      <a:lnTo>
                        <a:pt x="741" y="351"/>
                      </a:lnTo>
                      <a:lnTo>
                        <a:pt x="745" y="351"/>
                      </a:lnTo>
                      <a:lnTo>
                        <a:pt x="745" y="351"/>
                      </a:lnTo>
                      <a:close/>
                      <a:moveTo>
                        <a:pt x="739" y="351"/>
                      </a:moveTo>
                      <a:lnTo>
                        <a:pt x="737" y="347"/>
                      </a:lnTo>
                      <a:lnTo>
                        <a:pt x="737" y="349"/>
                      </a:lnTo>
                      <a:lnTo>
                        <a:pt x="739" y="351"/>
                      </a:lnTo>
                      <a:lnTo>
                        <a:pt x="739" y="351"/>
                      </a:lnTo>
                      <a:close/>
                      <a:moveTo>
                        <a:pt x="733" y="341"/>
                      </a:moveTo>
                      <a:lnTo>
                        <a:pt x="731" y="341"/>
                      </a:lnTo>
                      <a:lnTo>
                        <a:pt x="735" y="343"/>
                      </a:lnTo>
                      <a:lnTo>
                        <a:pt x="733" y="341"/>
                      </a:lnTo>
                      <a:lnTo>
                        <a:pt x="733" y="341"/>
                      </a:lnTo>
                      <a:close/>
                      <a:moveTo>
                        <a:pt x="739" y="333"/>
                      </a:moveTo>
                      <a:lnTo>
                        <a:pt x="735" y="333"/>
                      </a:lnTo>
                      <a:lnTo>
                        <a:pt x="735" y="333"/>
                      </a:lnTo>
                      <a:lnTo>
                        <a:pt x="739" y="333"/>
                      </a:lnTo>
                      <a:lnTo>
                        <a:pt x="739" y="333"/>
                      </a:lnTo>
                      <a:close/>
                      <a:moveTo>
                        <a:pt x="741" y="333"/>
                      </a:moveTo>
                      <a:lnTo>
                        <a:pt x="737" y="331"/>
                      </a:lnTo>
                      <a:lnTo>
                        <a:pt x="739" y="331"/>
                      </a:lnTo>
                      <a:lnTo>
                        <a:pt x="741" y="333"/>
                      </a:lnTo>
                      <a:lnTo>
                        <a:pt x="741" y="333"/>
                      </a:lnTo>
                      <a:close/>
                      <a:moveTo>
                        <a:pt x="713" y="301"/>
                      </a:moveTo>
                      <a:lnTo>
                        <a:pt x="711" y="299"/>
                      </a:lnTo>
                      <a:lnTo>
                        <a:pt x="711" y="301"/>
                      </a:lnTo>
                      <a:lnTo>
                        <a:pt x="713" y="301"/>
                      </a:lnTo>
                      <a:close/>
                      <a:moveTo>
                        <a:pt x="679" y="301"/>
                      </a:moveTo>
                      <a:lnTo>
                        <a:pt x="677" y="297"/>
                      </a:lnTo>
                      <a:lnTo>
                        <a:pt x="677" y="301"/>
                      </a:lnTo>
                      <a:lnTo>
                        <a:pt x="679" y="301"/>
                      </a:lnTo>
                      <a:lnTo>
                        <a:pt x="679" y="301"/>
                      </a:lnTo>
                      <a:close/>
                      <a:moveTo>
                        <a:pt x="397" y="275"/>
                      </a:moveTo>
                      <a:lnTo>
                        <a:pt x="419" y="257"/>
                      </a:lnTo>
                      <a:lnTo>
                        <a:pt x="393" y="275"/>
                      </a:lnTo>
                      <a:lnTo>
                        <a:pt x="397" y="275"/>
                      </a:lnTo>
                      <a:lnTo>
                        <a:pt x="397" y="275"/>
                      </a:lnTo>
                      <a:close/>
                      <a:moveTo>
                        <a:pt x="443" y="237"/>
                      </a:moveTo>
                      <a:lnTo>
                        <a:pt x="445" y="235"/>
                      </a:lnTo>
                      <a:lnTo>
                        <a:pt x="435" y="239"/>
                      </a:lnTo>
                      <a:lnTo>
                        <a:pt x="443" y="237"/>
                      </a:lnTo>
                      <a:lnTo>
                        <a:pt x="443" y="237"/>
                      </a:lnTo>
                      <a:close/>
                      <a:moveTo>
                        <a:pt x="146" y="185"/>
                      </a:moveTo>
                      <a:lnTo>
                        <a:pt x="62" y="213"/>
                      </a:lnTo>
                      <a:lnTo>
                        <a:pt x="108" y="199"/>
                      </a:lnTo>
                      <a:lnTo>
                        <a:pt x="146" y="185"/>
                      </a:lnTo>
                      <a:close/>
                      <a:moveTo>
                        <a:pt x="359" y="52"/>
                      </a:moveTo>
                      <a:lnTo>
                        <a:pt x="335" y="56"/>
                      </a:lnTo>
                      <a:lnTo>
                        <a:pt x="0" y="111"/>
                      </a:lnTo>
                      <a:lnTo>
                        <a:pt x="34" y="191"/>
                      </a:lnTo>
                      <a:lnTo>
                        <a:pt x="36" y="193"/>
                      </a:lnTo>
                      <a:lnTo>
                        <a:pt x="28" y="225"/>
                      </a:lnTo>
                      <a:lnTo>
                        <a:pt x="52" y="213"/>
                      </a:lnTo>
                      <a:lnTo>
                        <a:pt x="80" y="189"/>
                      </a:lnTo>
                      <a:lnTo>
                        <a:pt x="126" y="187"/>
                      </a:lnTo>
                      <a:lnTo>
                        <a:pt x="181" y="169"/>
                      </a:lnTo>
                      <a:lnTo>
                        <a:pt x="217" y="173"/>
                      </a:lnTo>
                      <a:lnTo>
                        <a:pt x="209" y="187"/>
                      </a:lnTo>
                      <a:lnTo>
                        <a:pt x="275" y="209"/>
                      </a:lnTo>
                      <a:lnTo>
                        <a:pt x="333" y="237"/>
                      </a:lnTo>
                      <a:lnTo>
                        <a:pt x="347" y="269"/>
                      </a:lnTo>
                      <a:lnTo>
                        <a:pt x="389" y="259"/>
                      </a:lnTo>
                      <a:lnTo>
                        <a:pt x="491" y="177"/>
                      </a:lnTo>
                      <a:lnTo>
                        <a:pt x="527" y="179"/>
                      </a:lnTo>
                      <a:lnTo>
                        <a:pt x="679" y="293"/>
                      </a:lnTo>
                      <a:lnTo>
                        <a:pt x="711" y="287"/>
                      </a:lnTo>
                      <a:lnTo>
                        <a:pt x="743" y="331"/>
                      </a:lnTo>
                      <a:lnTo>
                        <a:pt x="749" y="399"/>
                      </a:lnTo>
                      <a:lnTo>
                        <a:pt x="739" y="443"/>
                      </a:lnTo>
                      <a:lnTo>
                        <a:pt x="745" y="465"/>
                      </a:lnTo>
                      <a:lnTo>
                        <a:pt x="771" y="519"/>
                      </a:lnTo>
                      <a:lnTo>
                        <a:pt x="759" y="477"/>
                      </a:lnTo>
                      <a:lnTo>
                        <a:pt x="793" y="477"/>
                      </a:lnTo>
                      <a:lnTo>
                        <a:pt x="797" y="507"/>
                      </a:lnTo>
                      <a:lnTo>
                        <a:pt x="779" y="555"/>
                      </a:lnTo>
                      <a:lnTo>
                        <a:pt x="843" y="643"/>
                      </a:lnTo>
                      <a:lnTo>
                        <a:pt x="867" y="645"/>
                      </a:lnTo>
                      <a:lnTo>
                        <a:pt x="847" y="617"/>
                      </a:lnTo>
                      <a:lnTo>
                        <a:pt x="871" y="621"/>
                      </a:lnTo>
                      <a:lnTo>
                        <a:pt x="887" y="611"/>
                      </a:lnTo>
                      <a:lnTo>
                        <a:pt x="881" y="661"/>
                      </a:lnTo>
                      <a:lnTo>
                        <a:pt x="913" y="687"/>
                      </a:lnTo>
                      <a:lnTo>
                        <a:pt x="935" y="747"/>
                      </a:lnTo>
                      <a:lnTo>
                        <a:pt x="967" y="767"/>
                      </a:lnTo>
                      <a:lnTo>
                        <a:pt x="1005" y="778"/>
                      </a:lnTo>
                      <a:lnTo>
                        <a:pt x="1059" y="846"/>
                      </a:lnTo>
                      <a:lnTo>
                        <a:pt x="1087" y="860"/>
                      </a:lnTo>
                      <a:lnTo>
                        <a:pt x="1049" y="862"/>
                      </a:lnTo>
                      <a:lnTo>
                        <a:pt x="1067" y="882"/>
                      </a:lnTo>
                      <a:lnTo>
                        <a:pt x="1127" y="862"/>
                      </a:lnTo>
                      <a:lnTo>
                        <a:pt x="1159" y="846"/>
                      </a:lnTo>
                      <a:lnTo>
                        <a:pt x="1185" y="747"/>
                      </a:lnTo>
                      <a:lnTo>
                        <a:pt x="1171" y="595"/>
                      </a:lnTo>
                      <a:lnTo>
                        <a:pt x="1169" y="579"/>
                      </a:lnTo>
                      <a:lnTo>
                        <a:pt x="1095" y="455"/>
                      </a:lnTo>
                      <a:lnTo>
                        <a:pt x="1031" y="365"/>
                      </a:lnTo>
                      <a:lnTo>
                        <a:pt x="995" y="291"/>
                      </a:lnTo>
                      <a:lnTo>
                        <a:pt x="1025" y="317"/>
                      </a:lnTo>
                      <a:lnTo>
                        <a:pt x="1031" y="311"/>
                      </a:lnTo>
                      <a:lnTo>
                        <a:pt x="1045" y="375"/>
                      </a:lnTo>
                      <a:lnTo>
                        <a:pt x="1079" y="425"/>
                      </a:lnTo>
                      <a:lnTo>
                        <a:pt x="1045" y="359"/>
                      </a:lnTo>
                      <a:lnTo>
                        <a:pt x="1047" y="329"/>
                      </a:lnTo>
                      <a:lnTo>
                        <a:pt x="947" y="207"/>
                      </a:lnTo>
                      <a:lnTo>
                        <a:pt x="923" y="169"/>
                      </a:lnTo>
                      <a:lnTo>
                        <a:pt x="891" y="105"/>
                      </a:lnTo>
                      <a:lnTo>
                        <a:pt x="869" y="48"/>
                      </a:lnTo>
                      <a:lnTo>
                        <a:pt x="853" y="30"/>
                      </a:lnTo>
                      <a:lnTo>
                        <a:pt x="849" y="4"/>
                      </a:lnTo>
                      <a:lnTo>
                        <a:pt x="847" y="4"/>
                      </a:lnTo>
                      <a:lnTo>
                        <a:pt x="793" y="0"/>
                      </a:lnTo>
                      <a:lnTo>
                        <a:pt x="773" y="16"/>
                      </a:lnTo>
                      <a:lnTo>
                        <a:pt x="761" y="77"/>
                      </a:lnTo>
                      <a:lnTo>
                        <a:pt x="751" y="48"/>
                      </a:lnTo>
                      <a:lnTo>
                        <a:pt x="383" y="95"/>
                      </a:lnTo>
                      <a:lnTo>
                        <a:pt x="357" y="54"/>
                      </a:lnTo>
                      <a:lnTo>
                        <a:pt x="359" y="52"/>
                      </a:lnTo>
                      <a:lnTo>
                        <a:pt x="359" y="5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2" name="Georgia" descr="{&quot;Key&quot;:&quot;georgia&quot;,&quot;Name&quot;:&quot;Georgia&quot;,&quot;Value&quot;:1.0,&quot;Formula&quot;:&quot;&quot;,&quot;Text&quot;:&quot;&quot;,&quot;OfficeApplication&quot;:1,&quot;HasValue&quot;:true}">
                  <a:extLst>
                    <a:ext uri="{FF2B5EF4-FFF2-40B4-BE49-F238E27FC236}">
                      <a16:creationId xmlns:a16="http://schemas.microsoft.com/office/drawing/2014/main" id="{61FE72ED-98E2-4BE6-960E-70699BCA9635}"/>
                    </a:ext>
                  </a:extLst>
                </p:cNvPr>
                <p:cNvSpPr>
                  <a:spLocks noEditPoints="1"/>
                </p:cNvSpPr>
                <p:nvPr/>
              </p:nvSpPr>
              <p:spPr bwMode="auto">
                <a:xfrm>
                  <a:off x="8831262" y="4595813"/>
                  <a:ext cx="1130300" cy="1160463"/>
                </a:xfrm>
                <a:custGeom>
                  <a:avLst/>
                  <a:gdLst>
                    <a:gd name="T0" fmla="*/ 680 w 712"/>
                    <a:gd name="T1" fmla="*/ 524 h 731"/>
                    <a:gd name="T2" fmla="*/ 680 w 712"/>
                    <a:gd name="T3" fmla="*/ 502 h 731"/>
                    <a:gd name="T4" fmla="*/ 674 w 712"/>
                    <a:gd name="T5" fmla="*/ 522 h 731"/>
                    <a:gd name="T6" fmla="*/ 680 w 712"/>
                    <a:gd name="T7" fmla="*/ 524 h 731"/>
                    <a:gd name="T8" fmla="*/ 680 w 712"/>
                    <a:gd name="T9" fmla="*/ 524 h 731"/>
                    <a:gd name="T10" fmla="*/ 690 w 712"/>
                    <a:gd name="T11" fmla="*/ 490 h 731"/>
                    <a:gd name="T12" fmla="*/ 686 w 712"/>
                    <a:gd name="T13" fmla="*/ 472 h 731"/>
                    <a:gd name="T14" fmla="*/ 684 w 712"/>
                    <a:gd name="T15" fmla="*/ 482 h 731"/>
                    <a:gd name="T16" fmla="*/ 690 w 712"/>
                    <a:gd name="T17" fmla="*/ 490 h 731"/>
                    <a:gd name="T18" fmla="*/ 326 w 712"/>
                    <a:gd name="T19" fmla="*/ 0 h 731"/>
                    <a:gd name="T20" fmla="*/ 316 w 712"/>
                    <a:gd name="T21" fmla="*/ 2 h 731"/>
                    <a:gd name="T22" fmla="*/ 286 w 712"/>
                    <a:gd name="T23" fmla="*/ 8 h 731"/>
                    <a:gd name="T24" fmla="*/ 178 w 712"/>
                    <a:gd name="T25" fmla="*/ 30 h 731"/>
                    <a:gd name="T26" fmla="*/ 168 w 712"/>
                    <a:gd name="T27" fmla="*/ 34 h 731"/>
                    <a:gd name="T28" fmla="*/ 156 w 712"/>
                    <a:gd name="T29" fmla="*/ 34 h 731"/>
                    <a:gd name="T30" fmla="*/ 96 w 712"/>
                    <a:gd name="T31" fmla="*/ 46 h 731"/>
                    <a:gd name="T32" fmla="*/ 80 w 712"/>
                    <a:gd name="T33" fmla="*/ 50 h 731"/>
                    <a:gd name="T34" fmla="*/ 14 w 712"/>
                    <a:gd name="T35" fmla="*/ 62 h 731"/>
                    <a:gd name="T36" fmla="*/ 0 w 712"/>
                    <a:gd name="T37" fmla="*/ 64 h 731"/>
                    <a:gd name="T38" fmla="*/ 0 w 712"/>
                    <a:gd name="T39" fmla="*/ 66 h 731"/>
                    <a:gd name="T40" fmla="*/ 104 w 712"/>
                    <a:gd name="T41" fmla="*/ 382 h 731"/>
                    <a:gd name="T42" fmla="*/ 162 w 712"/>
                    <a:gd name="T43" fmla="*/ 484 h 731"/>
                    <a:gd name="T44" fmla="*/ 148 w 712"/>
                    <a:gd name="T45" fmla="*/ 500 h 731"/>
                    <a:gd name="T46" fmla="*/ 140 w 712"/>
                    <a:gd name="T47" fmla="*/ 560 h 731"/>
                    <a:gd name="T48" fmla="*/ 156 w 712"/>
                    <a:gd name="T49" fmla="*/ 592 h 731"/>
                    <a:gd name="T50" fmla="*/ 158 w 712"/>
                    <a:gd name="T51" fmla="*/ 648 h 731"/>
                    <a:gd name="T52" fmla="*/ 180 w 712"/>
                    <a:gd name="T53" fmla="*/ 688 h 731"/>
                    <a:gd name="T54" fmla="*/ 180 w 712"/>
                    <a:gd name="T55" fmla="*/ 688 h 731"/>
                    <a:gd name="T56" fmla="*/ 178 w 712"/>
                    <a:gd name="T57" fmla="*/ 690 h 731"/>
                    <a:gd name="T58" fmla="*/ 204 w 712"/>
                    <a:gd name="T59" fmla="*/ 731 h 731"/>
                    <a:gd name="T60" fmla="*/ 572 w 712"/>
                    <a:gd name="T61" fmla="*/ 684 h 731"/>
                    <a:gd name="T62" fmla="*/ 582 w 712"/>
                    <a:gd name="T63" fmla="*/ 713 h 731"/>
                    <a:gd name="T64" fmla="*/ 594 w 712"/>
                    <a:gd name="T65" fmla="*/ 652 h 731"/>
                    <a:gd name="T66" fmla="*/ 614 w 712"/>
                    <a:gd name="T67" fmla="*/ 636 h 731"/>
                    <a:gd name="T68" fmla="*/ 668 w 712"/>
                    <a:gd name="T69" fmla="*/ 640 h 731"/>
                    <a:gd name="T70" fmla="*/ 668 w 712"/>
                    <a:gd name="T71" fmla="*/ 640 h 731"/>
                    <a:gd name="T72" fmla="*/ 664 w 712"/>
                    <a:gd name="T73" fmla="*/ 556 h 731"/>
                    <a:gd name="T74" fmla="*/ 674 w 712"/>
                    <a:gd name="T75" fmla="*/ 538 h 731"/>
                    <a:gd name="T76" fmla="*/ 668 w 712"/>
                    <a:gd name="T77" fmla="*/ 504 h 731"/>
                    <a:gd name="T78" fmla="*/ 680 w 712"/>
                    <a:gd name="T79" fmla="*/ 472 h 731"/>
                    <a:gd name="T80" fmla="*/ 696 w 712"/>
                    <a:gd name="T81" fmla="*/ 454 h 731"/>
                    <a:gd name="T82" fmla="*/ 684 w 712"/>
                    <a:gd name="T83" fmla="*/ 444 h 731"/>
                    <a:gd name="T84" fmla="*/ 712 w 712"/>
                    <a:gd name="T85" fmla="*/ 410 h 731"/>
                    <a:gd name="T86" fmla="*/ 710 w 712"/>
                    <a:gd name="T87" fmla="*/ 410 h 731"/>
                    <a:gd name="T88" fmla="*/ 664 w 712"/>
                    <a:gd name="T89" fmla="*/ 368 h 731"/>
                    <a:gd name="T90" fmla="*/ 600 w 712"/>
                    <a:gd name="T91" fmla="*/ 276 h 731"/>
                    <a:gd name="T92" fmla="*/ 566 w 712"/>
                    <a:gd name="T93" fmla="*/ 260 h 731"/>
                    <a:gd name="T94" fmla="*/ 416 w 712"/>
                    <a:gd name="T95" fmla="*/ 134 h 731"/>
                    <a:gd name="T96" fmla="*/ 378 w 712"/>
                    <a:gd name="T97" fmla="*/ 88 h 731"/>
                    <a:gd name="T98" fmla="*/ 308 w 712"/>
                    <a:gd name="T99" fmla="*/ 58 h 731"/>
                    <a:gd name="T100" fmla="*/ 304 w 712"/>
                    <a:gd name="T101" fmla="*/ 42 h 731"/>
                    <a:gd name="T102" fmla="*/ 326 w 712"/>
                    <a:gd name="T103" fmla="*/ 0 h 731"/>
                    <a:gd name="T104" fmla="*/ 326 w 712"/>
                    <a:gd name="T105" fmla="*/ 0 h 731"/>
                    <a:gd name="T106" fmla="*/ 326 w 712"/>
                    <a:gd name="T107" fmla="*/ 0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2" h="731">
                      <a:moveTo>
                        <a:pt x="680" y="524"/>
                      </a:moveTo>
                      <a:lnTo>
                        <a:pt x="680" y="502"/>
                      </a:lnTo>
                      <a:lnTo>
                        <a:pt x="674" y="522"/>
                      </a:lnTo>
                      <a:lnTo>
                        <a:pt x="680" y="524"/>
                      </a:lnTo>
                      <a:lnTo>
                        <a:pt x="680" y="524"/>
                      </a:lnTo>
                      <a:close/>
                      <a:moveTo>
                        <a:pt x="690" y="490"/>
                      </a:moveTo>
                      <a:lnTo>
                        <a:pt x="686" y="472"/>
                      </a:lnTo>
                      <a:lnTo>
                        <a:pt x="684" y="482"/>
                      </a:lnTo>
                      <a:lnTo>
                        <a:pt x="690" y="490"/>
                      </a:lnTo>
                      <a:close/>
                      <a:moveTo>
                        <a:pt x="326" y="0"/>
                      </a:moveTo>
                      <a:lnTo>
                        <a:pt x="316" y="2"/>
                      </a:lnTo>
                      <a:lnTo>
                        <a:pt x="286" y="8"/>
                      </a:lnTo>
                      <a:lnTo>
                        <a:pt x="178" y="30"/>
                      </a:lnTo>
                      <a:lnTo>
                        <a:pt x="168" y="34"/>
                      </a:lnTo>
                      <a:lnTo>
                        <a:pt x="156" y="34"/>
                      </a:lnTo>
                      <a:lnTo>
                        <a:pt x="96" y="46"/>
                      </a:lnTo>
                      <a:lnTo>
                        <a:pt x="80" y="50"/>
                      </a:lnTo>
                      <a:lnTo>
                        <a:pt x="14" y="62"/>
                      </a:lnTo>
                      <a:lnTo>
                        <a:pt x="0" y="64"/>
                      </a:lnTo>
                      <a:lnTo>
                        <a:pt x="0" y="66"/>
                      </a:lnTo>
                      <a:lnTo>
                        <a:pt x="104" y="382"/>
                      </a:lnTo>
                      <a:lnTo>
                        <a:pt x="162" y="484"/>
                      </a:lnTo>
                      <a:lnTo>
                        <a:pt x="148" y="500"/>
                      </a:lnTo>
                      <a:lnTo>
                        <a:pt x="140" y="560"/>
                      </a:lnTo>
                      <a:lnTo>
                        <a:pt x="156" y="592"/>
                      </a:lnTo>
                      <a:lnTo>
                        <a:pt x="158" y="648"/>
                      </a:lnTo>
                      <a:lnTo>
                        <a:pt x="180" y="688"/>
                      </a:lnTo>
                      <a:lnTo>
                        <a:pt x="180" y="688"/>
                      </a:lnTo>
                      <a:lnTo>
                        <a:pt x="178" y="690"/>
                      </a:lnTo>
                      <a:lnTo>
                        <a:pt x="204" y="731"/>
                      </a:lnTo>
                      <a:lnTo>
                        <a:pt x="572" y="684"/>
                      </a:lnTo>
                      <a:lnTo>
                        <a:pt x="582" y="713"/>
                      </a:lnTo>
                      <a:lnTo>
                        <a:pt x="594" y="652"/>
                      </a:lnTo>
                      <a:lnTo>
                        <a:pt x="614" y="636"/>
                      </a:lnTo>
                      <a:lnTo>
                        <a:pt x="668" y="640"/>
                      </a:lnTo>
                      <a:lnTo>
                        <a:pt x="668" y="640"/>
                      </a:lnTo>
                      <a:lnTo>
                        <a:pt x="664" y="556"/>
                      </a:lnTo>
                      <a:lnTo>
                        <a:pt x="674" y="538"/>
                      </a:lnTo>
                      <a:lnTo>
                        <a:pt x="668" y="504"/>
                      </a:lnTo>
                      <a:lnTo>
                        <a:pt x="680" y="472"/>
                      </a:lnTo>
                      <a:lnTo>
                        <a:pt x="696" y="454"/>
                      </a:lnTo>
                      <a:lnTo>
                        <a:pt x="684" y="444"/>
                      </a:lnTo>
                      <a:lnTo>
                        <a:pt x="712" y="410"/>
                      </a:lnTo>
                      <a:lnTo>
                        <a:pt x="710" y="410"/>
                      </a:lnTo>
                      <a:lnTo>
                        <a:pt x="664" y="368"/>
                      </a:lnTo>
                      <a:lnTo>
                        <a:pt x="600" y="276"/>
                      </a:lnTo>
                      <a:lnTo>
                        <a:pt x="566" y="260"/>
                      </a:lnTo>
                      <a:lnTo>
                        <a:pt x="416" y="134"/>
                      </a:lnTo>
                      <a:lnTo>
                        <a:pt x="378" y="88"/>
                      </a:lnTo>
                      <a:lnTo>
                        <a:pt x="308" y="58"/>
                      </a:lnTo>
                      <a:lnTo>
                        <a:pt x="304" y="42"/>
                      </a:lnTo>
                      <a:lnTo>
                        <a:pt x="326" y="0"/>
                      </a:lnTo>
                      <a:lnTo>
                        <a:pt x="326" y="0"/>
                      </a:lnTo>
                      <a:lnTo>
                        <a:pt x="326" y="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3" name="Mississippi" descr="{&quot;Key&quot;:&quot;mississippi&quot;,&quot;Name&quot;:&quot;Mississippi&quot;,&quot;Value&quot;:1.0,&quot;Formula&quot;:&quot;&quot;,&quot;Text&quot;:&quot;&quot;,&quot;OfficeApplication&quot;:1,&quot;HasValue&quot;:true}">
                  <a:extLst>
                    <a:ext uri="{FF2B5EF4-FFF2-40B4-BE49-F238E27FC236}">
                      <a16:creationId xmlns:a16="http://schemas.microsoft.com/office/drawing/2014/main" id="{04FBFEA6-62F5-4313-9270-005245685167}"/>
                    </a:ext>
                  </a:extLst>
                </p:cNvPr>
                <p:cNvSpPr>
                  <a:spLocks noEditPoints="1"/>
                </p:cNvSpPr>
                <p:nvPr/>
              </p:nvSpPr>
              <p:spPr bwMode="auto">
                <a:xfrm>
                  <a:off x="7648574" y="4776787"/>
                  <a:ext cx="736599" cy="1268412"/>
                </a:xfrm>
                <a:custGeom>
                  <a:avLst/>
                  <a:gdLst>
                    <a:gd name="T0" fmla="*/ 392 w 464"/>
                    <a:gd name="T1" fmla="*/ 785 h 799"/>
                    <a:gd name="T2" fmla="*/ 388 w 464"/>
                    <a:gd name="T3" fmla="*/ 787 h 799"/>
                    <a:gd name="T4" fmla="*/ 388 w 464"/>
                    <a:gd name="T5" fmla="*/ 787 h 799"/>
                    <a:gd name="T6" fmla="*/ 392 w 464"/>
                    <a:gd name="T7" fmla="*/ 785 h 799"/>
                    <a:gd name="T8" fmla="*/ 392 w 464"/>
                    <a:gd name="T9" fmla="*/ 785 h 799"/>
                    <a:gd name="T10" fmla="*/ 464 w 464"/>
                    <a:gd name="T11" fmla="*/ 775 h 799"/>
                    <a:gd name="T12" fmla="*/ 454 w 464"/>
                    <a:gd name="T13" fmla="*/ 775 h 799"/>
                    <a:gd name="T14" fmla="*/ 464 w 464"/>
                    <a:gd name="T15" fmla="*/ 777 h 799"/>
                    <a:gd name="T16" fmla="*/ 464 w 464"/>
                    <a:gd name="T17" fmla="*/ 775 h 799"/>
                    <a:gd name="T18" fmla="*/ 464 w 464"/>
                    <a:gd name="T19" fmla="*/ 775 h 799"/>
                    <a:gd name="T20" fmla="*/ 374 w 464"/>
                    <a:gd name="T21" fmla="*/ 783 h 799"/>
                    <a:gd name="T22" fmla="*/ 372 w 464"/>
                    <a:gd name="T23" fmla="*/ 787 h 799"/>
                    <a:gd name="T24" fmla="*/ 372 w 464"/>
                    <a:gd name="T25" fmla="*/ 787 h 799"/>
                    <a:gd name="T26" fmla="*/ 374 w 464"/>
                    <a:gd name="T27" fmla="*/ 783 h 799"/>
                    <a:gd name="T28" fmla="*/ 374 w 464"/>
                    <a:gd name="T29" fmla="*/ 783 h 799"/>
                    <a:gd name="T30" fmla="*/ 448 w 464"/>
                    <a:gd name="T31" fmla="*/ 777 h 799"/>
                    <a:gd name="T32" fmla="*/ 418 w 464"/>
                    <a:gd name="T33" fmla="*/ 777 h 799"/>
                    <a:gd name="T34" fmla="*/ 446 w 464"/>
                    <a:gd name="T35" fmla="*/ 779 h 799"/>
                    <a:gd name="T36" fmla="*/ 448 w 464"/>
                    <a:gd name="T37" fmla="*/ 777 h 799"/>
                    <a:gd name="T38" fmla="*/ 124 w 464"/>
                    <a:gd name="T39" fmla="*/ 36 h 799"/>
                    <a:gd name="T40" fmla="*/ 124 w 464"/>
                    <a:gd name="T41" fmla="*/ 38 h 799"/>
                    <a:gd name="T42" fmla="*/ 90 w 464"/>
                    <a:gd name="T43" fmla="*/ 92 h 799"/>
                    <a:gd name="T44" fmla="*/ 94 w 464"/>
                    <a:gd name="T45" fmla="*/ 134 h 799"/>
                    <a:gd name="T46" fmla="*/ 50 w 464"/>
                    <a:gd name="T47" fmla="*/ 182 h 799"/>
                    <a:gd name="T48" fmla="*/ 62 w 464"/>
                    <a:gd name="T49" fmla="*/ 196 h 799"/>
                    <a:gd name="T50" fmla="*/ 32 w 464"/>
                    <a:gd name="T51" fmla="*/ 320 h 799"/>
                    <a:gd name="T52" fmla="*/ 46 w 464"/>
                    <a:gd name="T53" fmla="*/ 348 h 799"/>
                    <a:gd name="T54" fmla="*/ 38 w 464"/>
                    <a:gd name="T55" fmla="*/ 352 h 799"/>
                    <a:gd name="T56" fmla="*/ 38 w 464"/>
                    <a:gd name="T57" fmla="*/ 370 h 799"/>
                    <a:gd name="T58" fmla="*/ 38 w 464"/>
                    <a:gd name="T59" fmla="*/ 376 h 799"/>
                    <a:gd name="T60" fmla="*/ 56 w 464"/>
                    <a:gd name="T61" fmla="*/ 416 h 799"/>
                    <a:gd name="T62" fmla="*/ 56 w 464"/>
                    <a:gd name="T63" fmla="*/ 442 h 799"/>
                    <a:gd name="T64" fmla="*/ 84 w 464"/>
                    <a:gd name="T65" fmla="*/ 478 h 799"/>
                    <a:gd name="T66" fmla="*/ 24 w 464"/>
                    <a:gd name="T67" fmla="*/ 578 h 799"/>
                    <a:gd name="T68" fmla="*/ 16 w 464"/>
                    <a:gd name="T69" fmla="*/ 641 h 799"/>
                    <a:gd name="T70" fmla="*/ 0 w 464"/>
                    <a:gd name="T71" fmla="*/ 665 h 799"/>
                    <a:gd name="T72" fmla="*/ 10 w 464"/>
                    <a:gd name="T73" fmla="*/ 693 h 799"/>
                    <a:gd name="T74" fmla="*/ 0 w 464"/>
                    <a:gd name="T75" fmla="*/ 703 h 799"/>
                    <a:gd name="T76" fmla="*/ 268 w 464"/>
                    <a:gd name="T77" fmla="*/ 673 h 799"/>
                    <a:gd name="T78" fmla="*/ 258 w 464"/>
                    <a:gd name="T79" fmla="*/ 709 h 799"/>
                    <a:gd name="T80" fmla="*/ 292 w 464"/>
                    <a:gd name="T81" fmla="*/ 777 h 799"/>
                    <a:gd name="T82" fmla="*/ 310 w 464"/>
                    <a:gd name="T83" fmla="*/ 799 h 799"/>
                    <a:gd name="T84" fmla="*/ 310 w 464"/>
                    <a:gd name="T85" fmla="*/ 799 h 799"/>
                    <a:gd name="T86" fmla="*/ 340 w 464"/>
                    <a:gd name="T87" fmla="*/ 765 h 799"/>
                    <a:gd name="T88" fmla="*/ 400 w 464"/>
                    <a:gd name="T89" fmla="*/ 753 h 799"/>
                    <a:gd name="T90" fmla="*/ 456 w 464"/>
                    <a:gd name="T91" fmla="*/ 759 h 799"/>
                    <a:gd name="T92" fmla="*/ 464 w 464"/>
                    <a:gd name="T93" fmla="*/ 749 h 799"/>
                    <a:gd name="T94" fmla="*/ 464 w 464"/>
                    <a:gd name="T95" fmla="*/ 747 h 799"/>
                    <a:gd name="T96" fmla="*/ 424 w 464"/>
                    <a:gd name="T97" fmla="*/ 508 h 799"/>
                    <a:gd name="T98" fmla="*/ 424 w 464"/>
                    <a:gd name="T99" fmla="*/ 332 h 799"/>
                    <a:gd name="T100" fmla="*/ 418 w 464"/>
                    <a:gd name="T101" fmla="*/ 14 h 799"/>
                    <a:gd name="T102" fmla="*/ 408 w 464"/>
                    <a:gd name="T103" fmla="*/ 6 h 799"/>
                    <a:gd name="T104" fmla="*/ 404 w 464"/>
                    <a:gd name="T105" fmla="*/ 0 h 799"/>
                    <a:gd name="T106" fmla="*/ 402 w 464"/>
                    <a:gd name="T107" fmla="*/ 0 h 799"/>
                    <a:gd name="T108" fmla="*/ 364 w 464"/>
                    <a:gd name="T109" fmla="*/ 6 h 799"/>
                    <a:gd name="T110" fmla="*/ 296 w 464"/>
                    <a:gd name="T111" fmla="*/ 16 h 799"/>
                    <a:gd name="T112" fmla="*/ 140 w 464"/>
                    <a:gd name="T113" fmla="*/ 34 h 799"/>
                    <a:gd name="T114" fmla="*/ 124 w 464"/>
                    <a:gd name="T115" fmla="*/ 36 h 799"/>
                    <a:gd name="T116" fmla="*/ 124 w 464"/>
                    <a:gd name="T117" fmla="*/ 36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4" h="799">
                      <a:moveTo>
                        <a:pt x="392" y="785"/>
                      </a:moveTo>
                      <a:lnTo>
                        <a:pt x="388" y="787"/>
                      </a:lnTo>
                      <a:lnTo>
                        <a:pt x="388" y="787"/>
                      </a:lnTo>
                      <a:lnTo>
                        <a:pt x="392" y="785"/>
                      </a:lnTo>
                      <a:lnTo>
                        <a:pt x="392" y="785"/>
                      </a:lnTo>
                      <a:close/>
                      <a:moveTo>
                        <a:pt x="464" y="775"/>
                      </a:moveTo>
                      <a:lnTo>
                        <a:pt x="454" y="775"/>
                      </a:lnTo>
                      <a:lnTo>
                        <a:pt x="464" y="777"/>
                      </a:lnTo>
                      <a:lnTo>
                        <a:pt x="464" y="775"/>
                      </a:lnTo>
                      <a:lnTo>
                        <a:pt x="464" y="775"/>
                      </a:lnTo>
                      <a:close/>
                      <a:moveTo>
                        <a:pt x="374" y="783"/>
                      </a:moveTo>
                      <a:lnTo>
                        <a:pt x="372" y="787"/>
                      </a:lnTo>
                      <a:lnTo>
                        <a:pt x="372" y="787"/>
                      </a:lnTo>
                      <a:lnTo>
                        <a:pt x="374" y="783"/>
                      </a:lnTo>
                      <a:lnTo>
                        <a:pt x="374" y="783"/>
                      </a:lnTo>
                      <a:close/>
                      <a:moveTo>
                        <a:pt x="448" y="777"/>
                      </a:moveTo>
                      <a:lnTo>
                        <a:pt x="418" y="777"/>
                      </a:lnTo>
                      <a:lnTo>
                        <a:pt x="446" y="779"/>
                      </a:lnTo>
                      <a:lnTo>
                        <a:pt x="448" y="777"/>
                      </a:lnTo>
                      <a:close/>
                      <a:moveTo>
                        <a:pt x="124" y="36"/>
                      </a:moveTo>
                      <a:lnTo>
                        <a:pt x="124" y="38"/>
                      </a:lnTo>
                      <a:lnTo>
                        <a:pt x="90" y="92"/>
                      </a:lnTo>
                      <a:lnTo>
                        <a:pt x="94" y="134"/>
                      </a:lnTo>
                      <a:lnTo>
                        <a:pt x="50" y="182"/>
                      </a:lnTo>
                      <a:lnTo>
                        <a:pt x="62" y="196"/>
                      </a:lnTo>
                      <a:lnTo>
                        <a:pt x="32" y="320"/>
                      </a:lnTo>
                      <a:lnTo>
                        <a:pt x="46" y="348"/>
                      </a:lnTo>
                      <a:lnTo>
                        <a:pt x="38" y="352"/>
                      </a:lnTo>
                      <a:lnTo>
                        <a:pt x="38" y="370"/>
                      </a:lnTo>
                      <a:lnTo>
                        <a:pt x="38" y="376"/>
                      </a:lnTo>
                      <a:lnTo>
                        <a:pt x="56" y="416"/>
                      </a:lnTo>
                      <a:lnTo>
                        <a:pt x="56" y="442"/>
                      </a:lnTo>
                      <a:lnTo>
                        <a:pt x="84" y="478"/>
                      </a:lnTo>
                      <a:lnTo>
                        <a:pt x="24" y="578"/>
                      </a:lnTo>
                      <a:lnTo>
                        <a:pt x="16" y="641"/>
                      </a:lnTo>
                      <a:lnTo>
                        <a:pt x="0" y="665"/>
                      </a:lnTo>
                      <a:lnTo>
                        <a:pt x="10" y="693"/>
                      </a:lnTo>
                      <a:lnTo>
                        <a:pt x="0" y="703"/>
                      </a:lnTo>
                      <a:lnTo>
                        <a:pt x="268" y="673"/>
                      </a:lnTo>
                      <a:lnTo>
                        <a:pt x="258" y="709"/>
                      </a:lnTo>
                      <a:lnTo>
                        <a:pt x="292" y="777"/>
                      </a:lnTo>
                      <a:lnTo>
                        <a:pt x="310" y="799"/>
                      </a:lnTo>
                      <a:lnTo>
                        <a:pt x="310" y="799"/>
                      </a:lnTo>
                      <a:lnTo>
                        <a:pt x="340" y="765"/>
                      </a:lnTo>
                      <a:lnTo>
                        <a:pt x="400" y="753"/>
                      </a:lnTo>
                      <a:lnTo>
                        <a:pt x="456" y="759"/>
                      </a:lnTo>
                      <a:lnTo>
                        <a:pt x="464" y="749"/>
                      </a:lnTo>
                      <a:lnTo>
                        <a:pt x="464" y="747"/>
                      </a:lnTo>
                      <a:lnTo>
                        <a:pt x="424" y="508"/>
                      </a:lnTo>
                      <a:lnTo>
                        <a:pt x="424" y="332"/>
                      </a:lnTo>
                      <a:lnTo>
                        <a:pt x="418" y="14"/>
                      </a:lnTo>
                      <a:lnTo>
                        <a:pt x="408" y="6"/>
                      </a:lnTo>
                      <a:lnTo>
                        <a:pt x="404" y="0"/>
                      </a:lnTo>
                      <a:lnTo>
                        <a:pt x="402" y="0"/>
                      </a:lnTo>
                      <a:lnTo>
                        <a:pt x="364" y="6"/>
                      </a:lnTo>
                      <a:lnTo>
                        <a:pt x="296" y="16"/>
                      </a:lnTo>
                      <a:lnTo>
                        <a:pt x="140" y="34"/>
                      </a:lnTo>
                      <a:lnTo>
                        <a:pt x="124" y="36"/>
                      </a:lnTo>
                      <a:lnTo>
                        <a:pt x="124" y="36"/>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4" name="South Carolina" descr="{&quot;Key&quot;:&quot;south carolina&quot;,&quot;Name&quot;:&quot;South Carolina&quot;,&quot;Value&quot;:1.0,&quot;Formula&quot;:&quot;&quot;,&quot;Text&quot;:&quot;&quot;,&quot;OfficeApplication&quot;:1,&quot;HasValue&quot;:true}">
                  <a:extLst>
                    <a:ext uri="{FF2B5EF4-FFF2-40B4-BE49-F238E27FC236}">
                      <a16:creationId xmlns:a16="http://schemas.microsoft.com/office/drawing/2014/main" id="{8EDB1737-DCE6-4CA2-980E-DD13B1DD493E}"/>
                    </a:ext>
                  </a:extLst>
                </p:cNvPr>
                <p:cNvSpPr>
                  <a:spLocks/>
                </p:cNvSpPr>
                <p:nvPr/>
              </p:nvSpPr>
              <p:spPr bwMode="auto">
                <a:xfrm>
                  <a:off x="9313861" y="4464051"/>
                  <a:ext cx="1031874" cy="782637"/>
                </a:xfrm>
                <a:custGeom>
                  <a:avLst/>
                  <a:gdLst>
                    <a:gd name="T0" fmla="*/ 22 w 650"/>
                    <a:gd name="T1" fmla="*/ 83 h 493"/>
                    <a:gd name="T2" fmla="*/ 22 w 650"/>
                    <a:gd name="T3" fmla="*/ 83 h 493"/>
                    <a:gd name="T4" fmla="*/ 0 w 650"/>
                    <a:gd name="T5" fmla="*/ 125 h 493"/>
                    <a:gd name="T6" fmla="*/ 4 w 650"/>
                    <a:gd name="T7" fmla="*/ 141 h 493"/>
                    <a:gd name="T8" fmla="*/ 74 w 650"/>
                    <a:gd name="T9" fmla="*/ 171 h 493"/>
                    <a:gd name="T10" fmla="*/ 112 w 650"/>
                    <a:gd name="T11" fmla="*/ 217 h 493"/>
                    <a:gd name="T12" fmla="*/ 262 w 650"/>
                    <a:gd name="T13" fmla="*/ 343 h 493"/>
                    <a:gd name="T14" fmla="*/ 296 w 650"/>
                    <a:gd name="T15" fmla="*/ 359 h 493"/>
                    <a:gd name="T16" fmla="*/ 360 w 650"/>
                    <a:gd name="T17" fmla="*/ 451 h 493"/>
                    <a:gd name="T18" fmla="*/ 406 w 650"/>
                    <a:gd name="T19" fmla="*/ 493 h 493"/>
                    <a:gd name="T20" fmla="*/ 406 w 650"/>
                    <a:gd name="T21" fmla="*/ 493 h 493"/>
                    <a:gd name="T22" fmla="*/ 414 w 650"/>
                    <a:gd name="T23" fmla="*/ 457 h 493"/>
                    <a:gd name="T24" fmla="*/ 402 w 650"/>
                    <a:gd name="T25" fmla="*/ 423 h 493"/>
                    <a:gd name="T26" fmla="*/ 436 w 650"/>
                    <a:gd name="T27" fmla="*/ 449 h 493"/>
                    <a:gd name="T28" fmla="*/ 454 w 650"/>
                    <a:gd name="T29" fmla="*/ 433 h 493"/>
                    <a:gd name="T30" fmla="*/ 422 w 650"/>
                    <a:gd name="T31" fmla="*/ 407 h 493"/>
                    <a:gd name="T32" fmla="*/ 460 w 650"/>
                    <a:gd name="T33" fmla="*/ 405 h 493"/>
                    <a:gd name="T34" fmla="*/ 522 w 650"/>
                    <a:gd name="T35" fmla="*/ 353 h 493"/>
                    <a:gd name="T36" fmla="*/ 514 w 650"/>
                    <a:gd name="T37" fmla="*/ 341 h 493"/>
                    <a:gd name="T38" fmla="*/ 552 w 650"/>
                    <a:gd name="T39" fmla="*/ 311 h 493"/>
                    <a:gd name="T40" fmla="*/ 548 w 650"/>
                    <a:gd name="T41" fmla="*/ 297 h 493"/>
                    <a:gd name="T42" fmla="*/ 574 w 650"/>
                    <a:gd name="T43" fmla="*/ 281 h 493"/>
                    <a:gd name="T44" fmla="*/ 576 w 650"/>
                    <a:gd name="T45" fmla="*/ 241 h 493"/>
                    <a:gd name="T46" fmla="*/ 620 w 650"/>
                    <a:gd name="T47" fmla="*/ 163 h 493"/>
                    <a:gd name="T48" fmla="*/ 648 w 650"/>
                    <a:gd name="T49" fmla="*/ 125 h 493"/>
                    <a:gd name="T50" fmla="*/ 650 w 650"/>
                    <a:gd name="T51" fmla="*/ 125 h 493"/>
                    <a:gd name="T52" fmla="*/ 478 w 650"/>
                    <a:gd name="T53" fmla="*/ 14 h 493"/>
                    <a:gd name="T54" fmla="*/ 414 w 650"/>
                    <a:gd name="T55" fmla="*/ 26 h 493"/>
                    <a:gd name="T56" fmla="*/ 326 w 650"/>
                    <a:gd name="T57" fmla="*/ 22 h 493"/>
                    <a:gd name="T58" fmla="*/ 282 w 650"/>
                    <a:gd name="T59" fmla="*/ 0 h 493"/>
                    <a:gd name="T60" fmla="*/ 24 w 650"/>
                    <a:gd name="T61" fmla="*/ 83 h 493"/>
                    <a:gd name="T62" fmla="*/ 22 w 650"/>
                    <a:gd name="T63" fmla="*/ 83 h 493"/>
                    <a:gd name="T64" fmla="*/ 22 w 650"/>
                    <a:gd name="T65" fmla="*/ 8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0" h="493">
                      <a:moveTo>
                        <a:pt x="22" y="83"/>
                      </a:moveTo>
                      <a:lnTo>
                        <a:pt x="22" y="83"/>
                      </a:lnTo>
                      <a:lnTo>
                        <a:pt x="0" y="125"/>
                      </a:lnTo>
                      <a:lnTo>
                        <a:pt x="4" y="141"/>
                      </a:lnTo>
                      <a:lnTo>
                        <a:pt x="74" y="171"/>
                      </a:lnTo>
                      <a:lnTo>
                        <a:pt x="112" y="217"/>
                      </a:lnTo>
                      <a:lnTo>
                        <a:pt x="262" y="343"/>
                      </a:lnTo>
                      <a:lnTo>
                        <a:pt x="296" y="359"/>
                      </a:lnTo>
                      <a:lnTo>
                        <a:pt x="360" y="451"/>
                      </a:lnTo>
                      <a:lnTo>
                        <a:pt x="406" y="493"/>
                      </a:lnTo>
                      <a:lnTo>
                        <a:pt x="406" y="493"/>
                      </a:lnTo>
                      <a:lnTo>
                        <a:pt x="414" y="457"/>
                      </a:lnTo>
                      <a:lnTo>
                        <a:pt x="402" y="423"/>
                      </a:lnTo>
                      <a:lnTo>
                        <a:pt x="436" y="449"/>
                      </a:lnTo>
                      <a:lnTo>
                        <a:pt x="454" y="433"/>
                      </a:lnTo>
                      <a:lnTo>
                        <a:pt x="422" y="407"/>
                      </a:lnTo>
                      <a:lnTo>
                        <a:pt x="460" y="405"/>
                      </a:lnTo>
                      <a:lnTo>
                        <a:pt x="522" y="353"/>
                      </a:lnTo>
                      <a:lnTo>
                        <a:pt x="514" y="341"/>
                      </a:lnTo>
                      <a:lnTo>
                        <a:pt x="552" y="311"/>
                      </a:lnTo>
                      <a:lnTo>
                        <a:pt x="548" y="297"/>
                      </a:lnTo>
                      <a:lnTo>
                        <a:pt x="574" y="281"/>
                      </a:lnTo>
                      <a:lnTo>
                        <a:pt x="576" y="241"/>
                      </a:lnTo>
                      <a:lnTo>
                        <a:pt x="620" y="163"/>
                      </a:lnTo>
                      <a:lnTo>
                        <a:pt x="648" y="125"/>
                      </a:lnTo>
                      <a:lnTo>
                        <a:pt x="650" y="125"/>
                      </a:lnTo>
                      <a:lnTo>
                        <a:pt x="478" y="14"/>
                      </a:lnTo>
                      <a:lnTo>
                        <a:pt x="414" y="26"/>
                      </a:lnTo>
                      <a:lnTo>
                        <a:pt x="326" y="22"/>
                      </a:lnTo>
                      <a:lnTo>
                        <a:pt x="282" y="0"/>
                      </a:lnTo>
                      <a:lnTo>
                        <a:pt x="24" y="83"/>
                      </a:lnTo>
                      <a:lnTo>
                        <a:pt x="22" y="83"/>
                      </a:lnTo>
                      <a:lnTo>
                        <a:pt x="22" y="83"/>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5" name="Illinois" descr="{&quot;Key&quot;:&quot;illinois&quot;,&quot;Name&quot;:&quot;Illinois&quot;,&quot;Value&quot;:1.0,&quot;Formula&quot;:&quot;&quot;,&quot;Text&quot;:&quot;&quot;,&quot;OfficeApplication&quot;:1,&quot;HasValue&quot;:true}">
                  <a:extLst>
                    <a:ext uri="{FF2B5EF4-FFF2-40B4-BE49-F238E27FC236}">
                      <a16:creationId xmlns:a16="http://schemas.microsoft.com/office/drawing/2014/main" id="{B6D78DDA-42EC-4213-B170-B020B0F51F00}"/>
                    </a:ext>
                  </a:extLst>
                </p:cNvPr>
                <p:cNvSpPr>
                  <a:spLocks/>
                </p:cNvSpPr>
                <p:nvPr/>
              </p:nvSpPr>
              <p:spPr bwMode="auto">
                <a:xfrm>
                  <a:off x="7461249" y="2846388"/>
                  <a:ext cx="831849" cy="1449388"/>
                </a:xfrm>
                <a:custGeom>
                  <a:avLst/>
                  <a:gdLst>
                    <a:gd name="T0" fmla="*/ 68 w 524"/>
                    <a:gd name="T1" fmla="*/ 42 h 913"/>
                    <a:gd name="T2" fmla="*/ 66 w 524"/>
                    <a:gd name="T3" fmla="*/ 46 h 913"/>
                    <a:gd name="T4" fmla="*/ 96 w 524"/>
                    <a:gd name="T5" fmla="*/ 64 h 913"/>
                    <a:gd name="T6" fmla="*/ 104 w 524"/>
                    <a:gd name="T7" fmla="*/ 82 h 913"/>
                    <a:gd name="T8" fmla="*/ 136 w 524"/>
                    <a:gd name="T9" fmla="*/ 112 h 913"/>
                    <a:gd name="T10" fmla="*/ 136 w 524"/>
                    <a:gd name="T11" fmla="*/ 136 h 913"/>
                    <a:gd name="T12" fmla="*/ 118 w 524"/>
                    <a:gd name="T13" fmla="*/ 186 h 913"/>
                    <a:gd name="T14" fmla="*/ 80 w 524"/>
                    <a:gd name="T15" fmla="*/ 214 h 913"/>
                    <a:gd name="T16" fmla="*/ 44 w 524"/>
                    <a:gd name="T17" fmla="*/ 220 h 913"/>
                    <a:gd name="T18" fmla="*/ 38 w 524"/>
                    <a:gd name="T19" fmla="*/ 262 h 913"/>
                    <a:gd name="T20" fmla="*/ 48 w 524"/>
                    <a:gd name="T21" fmla="*/ 266 h 913"/>
                    <a:gd name="T22" fmla="*/ 38 w 524"/>
                    <a:gd name="T23" fmla="*/ 346 h 913"/>
                    <a:gd name="T24" fmla="*/ 8 w 524"/>
                    <a:gd name="T25" fmla="*/ 364 h 913"/>
                    <a:gd name="T26" fmla="*/ 14 w 524"/>
                    <a:gd name="T27" fmla="*/ 395 h 913"/>
                    <a:gd name="T28" fmla="*/ 6 w 524"/>
                    <a:gd name="T29" fmla="*/ 399 h 913"/>
                    <a:gd name="T30" fmla="*/ 6 w 524"/>
                    <a:gd name="T31" fmla="*/ 399 h 913"/>
                    <a:gd name="T32" fmla="*/ 0 w 524"/>
                    <a:gd name="T33" fmla="*/ 433 h 913"/>
                    <a:gd name="T34" fmla="*/ 26 w 524"/>
                    <a:gd name="T35" fmla="*/ 501 h 913"/>
                    <a:gd name="T36" fmla="*/ 114 w 524"/>
                    <a:gd name="T37" fmla="*/ 575 h 913"/>
                    <a:gd name="T38" fmla="*/ 122 w 524"/>
                    <a:gd name="T39" fmla="*/ 611 h 913"/>
                    <a:gd name="T40" fmla="*/ 138 w 524"/>
                    <a:gd name="T41" fmla="*/ 629 h 913"/>
                    <a:gd name="T42" fmla="*/ 194 w 524"/>
                    <a:gd name="T43" fmla="*/ 627 h 913"/>
                    <a:gd name="T44" fmla="*/ 184 w 524"/>
                    <a:gd name="T45" fmla="*/ 679 h 913"/>
                    <a:gd name="T46" fmla="*/ 180 w 524"/>
                    <a:gd name="T47" fmla="*/ 735 h 913"/>
                    <a:gd name="T48" fmla="*/ 214 w 524"/>
                    <a:gd name="T49" fmla="*/ 761 h 913"/>
                    <a:gd name="T50" fmla="*/ 268 w 524"/>
                    <a:gd name="T51" fmla="*/ 785 h 913"/>
                    <a:gd name="T52" fmla="*/ 294 w 524"/>
                    <a:gd name="T53" fmla="*/ 807 h 913"/>
                    <a:gd name="T54" fmla="*/ 310 w 524"/>
                    <a:gd name="T55" fmla="*/ 851 h 913"/>
                    <a:gd name="T56" fmla="*/ 302 w 524"/>
                    <a:gd name="T57" fmla="*/ 867 h 913"/>
                    <a:gd name="T58" fmla="*/ 358 w 524"/>
                    <a:gd name="T59" fmla="*/ 913 h 913"/>
                    <a:gd name="T60" fmla="*/ 360 w 524"/>
                    <a:gd name="T61" fmla="*/ 913 h 913"/>
                    <a:gd name="T62" fmla="*/ 354 w 524"/>
                    <a:gd name="T63" fmla="*/ 909 h 913"/>
                    <a:gd name="T64" fmla="*/ 370 w 524"/>
                    <a:gd name="T65" fmla="*/ 871 h 913"/>
                    <a:gd name="T66" fmla="*/ 430 w 524"/>
                    <a:gd name="T67" fmla="*/ 889 h 913"/>
                    <a:gd name="T68" fmla="*/ 444 w 524"/>
                    <a:gd name="T69" fmla="*/ 871 h 913"/>
                    <a:gd name="T70" fmla="*/ 434 w 524"/>
                    <a:gd name="T71" fmla="*/ 837 h 913"/>
                    <a:gd name="T72" fmla="*/ 482 w 524"/>
                    <a:gd name="T73" fmla="*/ 809 h 913"/>
                    <a:gd name="T74" fmla="*/ 468 w 524"/>
                    <a:gd name="T75" fmla="*/ 789 h 913"/>
                    <a:gd name="T76" fmla="*/ 480 w 524"/>
                    <a:gd name="T77" fmla="*/ 763 h 913"/>
                    <a:gd name="T78" fmla="*/ 480 w 524"/>
                    <a:gd name="T79" fmla="*/ 761 h 913"/>
                    <a:gd name="T80" fmla="*/ 478 w 524"/>
                    <a:gd name="T81" fmla="*/ 759 h 913"/>
                    <a:gd name="T82" fmla="*/ 478 w 524"/>
                    <a:gd name="T83" fmla="*/ 691 h 913"/>
                    <a:gd name="T84" fmla="*/ 496 w 524"/>
                    <a:gd name="T85" fmla="*/ 679 h 913"/>
                    <a:gd name="T86" fmla="*/ 524 w 524"/>
                    <a:gd name="T87" fmla="*/ 609 h 913"/>
                    <a:gd name="T88" fmla="*/ 518 w 524"/>
                    <a:gd name="T89" fmla="*/ 579 h 913"/>
                    <a:gd name="T90" fmla="*/ 500 w 524"/>
                    <a:gd name="T91" fmla="*/ 543 h 913"/>
                    <a:gd name="T92" fmla="*/ 510 w 524"/>
                    <a:gd name="T93" fmla="*/ 501 h 913"/>
                    <a:gd name="T94" fmla="*/ 456 w 524"/>
                    <a:gd name="T95" fmla="*/ 118 h 913"/>
                    <a:gd name="T96" fmla="*/ 448 w 524"/>
                    <a:gd name="T97" fmla="*/ 110 h 913"/>
                    <a:gd name="T98" fmla="*/ 428 w 524"/>
                    <a:gd name="T99" fmla="*/ 64 h 913"/>
                    <a:gd name="T100" fmla="*/ 412 w 524"/>
                    <a:gd name="T101" fmla="*/ 46 h 913"/>
                    <a:gd name="T102" fmla="*/ 404 w 524"/>
                    <a:gd name="T103" fmla="*/ 2 h 913"/>
                    <a:gd name="T104" fmla="*/ 404 w 524"/>
                    <a:gd name="T105" fmla="*/ 0 h 913"/>
                    <a:gd name="T106" fmla="*/ 300 w 524"/>
                    <a:gd name="T107" fmla="*/ 14 h 913"/>
                    <a:gd name="T108" fmla="*/ 236 w 524"/>
                    <a:gd name="T109" fmla="*/ 22 h 913"/>
                    <a:gd name="T110" fmla="*/ 68 w 524"/>
                    <a:gd name="T111" fmla="*/ 42 h 913"/>
                    <a:gd name="T112" fmla="*/ 68 w 524"/>
                    <a:gd name="T113" fmla="*/ 42 h 913"/>
                    <a:gd name="T114" fmla="*/ 68 w 524"/>
                    <a:gd name="T115" fmla="*/ 42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4" h="913">
                      <a:moveTo>
                        <a:pt x="68" y="42"/>
                      </a:moveTo>
                      <a:lnTo>
                        <a:pt x="66" y="46"/>
                      </a:lnTo>
                      <a:lnTo>
                        <a:pt x="96" y="64"/>
                      </a:lnTo>
                      <a:lnTo>
                        <a:pt x="104" y="82"/>
                      </a:lnTo>
                      <a:lnTo>
                        <a:pt x="136" y="112"/>
                      </a:lnTo>
                      <a:lnTo>
                        <a:pt x="136" y="136"/>
                      </a:lnTo>
                      <a:lnTo>
                        <a:pt x="118" y="186"/>
                      </a:lnTo>
                      <a:lnTo>
                        <a:pt x="80" y="214"/>
                      </a:lnTo>
                      <a:lnTo>
                        <a:pt x="44" y="220"/>
                      </a:lnTo>
                      <a:lnTo>
                        <a:pt x="38" y="262"/>
                      </a:lnTo>
                      <a:lnTo>
                        <a:pt x="48" y="266"/>
                      </a:lnTo>
                      <a:lnTo>
                        <a:pt x="38" y="346"/>
                      </a:lnTo>
                      <a:lnTo>
                        <a:pt x="8" y="364"/>
                      </a:lnTo>
                      <a:lnTo>
                        <a:pt x="14" y="395"/>
                      </a:lnTo>
                      <a:lnTo>
                        <a:pt x="6" y="399"/>
                      </a:lnTo>
                      <a:lnTo>
                        <a:pt x="6" y="399"/>
                      </a:lnTo>
                      <a:lnTo>
                        <a:pt x="0" y="433"/>
                      </a:lnTo>
                      <a:lnTo>
                        <a:pt x="26" y="501"/>
                      </a:lnTo>
                      <a:lnTo>
                        <a:pt x="114" y="575"/>
                      </a:lnTo>
                      <a:lnTo>
                        <a:pt x="122" y="611"/>
                      </a:lnTo>
                      <a:lnTo>
                        <a:pt x="138" y="629"/>
                      </a:lnTo>
                      <a:lnTo>
                        <a:pt x="194" y="627"/>
                      </a:lnTo>
                      <a:lnTo>
                        <a:pt x="184" y="679"/>
                      </a:lnTo>
                      <a:lnTo>
                        <a:pt x="180" y="735"/>
                      </a:lnTo>
                      <a:lnTo>
                        <a:pt x="214" y="761"/>
                      </a:lnTo>
                      <a:lnTo>
                        <a:pt x="268" y="785"/>
                      </a:lnTo>
                      <a:lnTo>
                        <a:pt x="294" y="807"/>
                      </a:lnTo>
                      <a:lnTo>
                        <a:pt x="310" y="851"/>
                      </a:lnTo>
                      <a:lnTo>
                        <a:pt x="302" y="867"/>
                      </a:lnTo>
                      <a:lnTo>
                        <a:pt x="358" y="913"/>
                      </a:lnTo>
                      <a:lnTo>
                        <a:pt x="360" y="913"/>
                      </a:lnTo>
                      <a:lnTo>
                        <a:pt x="354" y="909"/>
                      </a:lnTo>
                      <a:lnTo>
                        <a:pt x="370" y="871"/>
                      </a:lnTo>
                      <a:lnTo>
                        <a:pt x="430" y="889"/>
                      </a:lnTo>
                      <a:lnTo>
                        <a:pt x="444" y="871"/>
                      </a:lnTo>
                      <a:lnTo>
                        <a:pt x="434" y="837"/>
                      </a:lnTo>
                      <a:lnTo>
                        <a:pt x="482" y="809"/>
                      </a:lnTo>
                      <a:lnTo>
                        <a:pt x="468" y="789"/>
                      </a:lnTo>
                      <a:lnTo>
                        <a:pt x="480" y="763"/>
                      </a:lnTo>
                      <a:lnTo>
                        <a:pt x="480" y="761"/>
                      </a:lnTo>
                      <a:lnTo>
                        <a:pt x="478" y="759"/>
                      </a:lnTo>
                      <a:lnTo>
                        <a:pt x="478" y="691"/>
                      </a:lnTo>
                      <a:lnTo>
                        <a:pt x="496" y="679"/>
                      </a:lnTo>
                      <a:lnTo>
                        <a:pt x="524" y="609"/>
                      </a:lnTo>
                      <a:lnTo>
                        <a:pt x="518" y="579"/>
                      </a:lnTo>
                      <a:lnTo>
                        <a:pt x="500" y="543"/>
                      </a:lnTo>
                      <a:lnTo>
                        <a:pt x="510" y="501"/>
                      </a:lnTo>
                      <a:lnTo>
                        <a:pt x="456" y="118"/>
                      </a:lnTo>
                      <a:lnTo>
                        <a:pt x="448" y="110"/>
                      </a:lnTo>
                      <a:lnTo>
                        <a:pt x="428" y="64"/>
                      </a:lnTo>
                      <a:lnTo>
                        <a:pt x="412" y="46"/>
                      </a:lnTo>
                      <a:lnTo>
                        <a:pt x="404" y="2"/>
                      </a:lnTo>
                      <a:lnTo>
                        <a:pt x="404" y="0"/>
                      </a:lnTo>
                      <a:lnTo>
                        <a:pt x="300" y="14"/>
                      </a:lnTo>
                      <a:lnTo>
                        <a:pt x="236" y="22"/>
                      </a:lnTo>
                      <a:lnTo>
                        <a:pt x="68" y="42"/>
                      </a:lnTo>
                      <a:lnTo>
                        <a:pt x="68" y="42"/>
                      </a:lnTo>
                      <a:lnTo>
                        <a:pt x="68" y="4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6" name="Indiana" descr="{&quot;Key&quot;:&quot;indiana&quot;,&quot;Name&quot;:&quot;Indiana&quot;,&quot;Value&quot;:1.0,&quot;Formula&quot;:&quot;&quot;,&quot;Text&quot;:&quot;&quot;,&quot;OfficeApplication&quot;:1,&quot;HasValue&quot;:true}">
                  <a:extLst>
                    <a:ext uri="{FF2B5EF4-FFF2-40B4-BE49-F238E27FC236}">
                      <a16:creationId xmlns:a16="http://schemas.microsoft.com/office/drawing/2014/main" id="{0C531834-2D08-4AC0-9C8C-C1A9E4D19642}"/>
                    </a:ext>
                  </a:extLst>
                </p:cNvPr>
                <p:cNvSpPr>
                  <a:spLocks/>
                </p:cNvSpPr>
                <p:nvPr/>
              </p:nvSpPr>
              <p:spPr bwMode="auto">
                <a:xfrm>
                  <a:off x="8185150" y="2938463"/>
                  <a:ext cx="646113" cy="1116013"/>
                </a:xfrm>
                <a:custGeom>
                  <a:avLst/>
                  <a:gdLst>
                    <a:gd name="T0" fmla="*/ 322 w 407"/>
                    <a:gd name="T1" fmla="*/ 0 h 703"/>
                    <a:gd name="T2" fmla="*/ 204 w 407"/>
                    <a:gd name="T3" fmla="*/ 20 h 703"/>
                    <a:gd name="T4" fmla="*/ 176 w 407"/>
                    <a:gd name="T5" fmla="*/ 26 h 703"/>
                    <a:gd name="T6" fmla="*/ 80 w 407"/>
                    <a:gd name="T7" fmla="*/ 42 h 703"/>
                    <a:gd name="T8" fmla="*/ 60 w 407"/>
                    <a:gd name="T9" fmla="*/ 58 h 703"/>
                    <a:gd name="T10" fmla="*/ 30 w 407"/>
                    <a:gd name="T11" fmla="*/ 72 h 703"/>
                    <a:gd name="T12" fmla="*/ 18 w 407"/>
                    <a:gd name="T13" fmla="*/ 72 h 703"/>
                    <a:gd name="T14" fmla="*/ 4 w 407"/>
                    <a:gd name="T15" fmla="*/ 64 h 703"/>
                    <a:gd name="T16" fmla="*/ 0 w 407"/>
                    <a:gd name="T17" fmla="*/ 60 h 703"/>
                    <a:gd name="T18" fmla="*/ 54 w 407"/>
                    <a:gd name="T19" fmla="*/ 443 h 703"/>
                    <a:gd name="T20" fmla="*/ 44 w 407"/>
                    <a:gd name="T21" fmla="*/ 485 h 703"/>
                    <a:gd name="T22" fmla="*/ 62 w 407"/>
                    <a:gd name="T23" fmla="*/ 521 h 703"/>
                    <a:gd name="T24" fmla="*/ 68 w 407"/>
                    <a:gd name="T25" fmla="*/ 551 h 703"/>
                    <a:gd name="T26" fmla="*/ 40 w 407"/>
                    <a:gd name="T27" fmla="*/ 621 h 703"/>
                    <a:gd name="T28" fmla="*/ 22 w 407"/>
                    <a:gd name="T29" fmla="*/ 633 h 703"/>
                    <a:gd name="T30" fmla="*/ 22 w 407"/>
                    <a:gd name="T31" fmla="*/ 701 h 703"/>
                    <a:gd name="T32" fmla="*/ 24 w 407"/>
                    <a:gd name="T33" fmla="*/ 703 h 703"/>
                    <a:gd name="T34" fmla="*/ 28 w 407"/>
                    <a:gd name="T35" fmla="*/ 701 h 703"/>
                    <a:gd name="T36" fmla="*/ 40 w 407"/>
                    <a:gd name="T37" fmla="*/ 681 h 703"/>
                    <a:gd name="T38" fmla="*/ 68 w 407"/>
                    <a:gd name="T39" fmla="*/ 681 h 703"/>
                    <a:gd name="T40" fmla="*/ 102 w 407"/>
                    <a:gd name="T41" fmla="*/ 669 h 703"/>
                    <a:gd name="T42" fmla="*/ 146 w 407"/>
                    <a:gd name="T43" fmla="*/ 685 h 703"/>
                    <a:gd name="T44" fmla="*/ 152 w 407"/>
                    <a:gd name="T45" fmla="*/ 667 h 703"/>
                    <a:gd name="T46" fmla="*/ 176 w 407"/>
                    <a:gd name="T47" fmla="*/ 649 h 703"/>
                    <a:gd name="T48" fmla="*/ 214 w 407"/>
                    <a:gd name="T49" fmla="*/ 653 h 703"/>
                    <a:gd name="T50" fmla="*/ 234 w 407"/>
                    <a:gd name="T51" fmla="*/ 615 h 703"/>
                    <a:gd name="T52" fmla="*/ 288 w 407"/>
                    <a:gd name="T53" fmla="*/ 619 h 703"/>
                    <a:gd name="T54" fmla="*/ 288 w 407"/>
                    <a:gd name="T55" fmla="*/ 597 h 703"/>
                    <a:gd name="T56" fmla="*/ 336 w 407"/>
                    <a:gd name="T57" fmla="*/ 531 h 703"/>
                    <a:gd name="T58" fmla="*/ 328 w 407"/>
                    <a:gd name="T59" fmla="*/ 503 h 703"/>
                    <a:gd name="T60" fmla="*/ 364 w 407"/>
                    <a:gd name="T61" fmla="*/ 501 h 703"/>
                    <a:gd name="T62" fmla="*/ 407 w 407"/>
                    <a:gd name="T63" fmla="*/ 469 h 703"/>
                    <a:gd name="T64" fmla="*/ 394 w 407"/>
                    <a:gd name="T65" fmla="*/ 431 h 703"/>
                    <a:gd name="T66" fmla="*/ 397 w 407"/>
                    <a:gd name="T67" fmla="*/ 429 h 703"/>
                    <a:gd name="T68" fmla="*/ 394 w 407"/>
                    <a:gd name="T69" fmla="*/ 415 h 703"/>
                    <a:gd name="T70" fmla="*/ 348 w 407"/>
                    <a:gd name="T71" fmla="*/ 140 h 703"/>
                    <a:gd name="T72" fmla="*/ 328 w 407"/>
                    <a:gd name="T73" fmla="*/ 22 h 703"/>
                    <a:gd name="T74" fmla="*/ 326 w 407"/>
                    <a:gd name="T75" fmla="*/ 10 h 703"/>
                    <a:gd name="T76" fmla="*/ 322 w 407"/>
                    <a:gd name="T77" fmla="*/ 0 h 703"/>
                    <a:gd name="T78" fmla="*/ 322 w 407"/>
                    <a:gd name="T79" fmla="*/ 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7" h="703">
                      <a:moveTo>
                        <a:pt x="322" y="0"/>
                      </a:moveTo>
                      <a:lnTo>
                        <a:pt x="204" y="20"/>
                      </a:lnTo>
                      <a:lnTo>
                        <a:pt x="176" y="26"/>
                      </a:lnTo>
                      <a:lnTo>
                        <a:pt x="80" y="42"/>
                      </a:lnTo>
                      <a:lnTo>
                        <a:pt x="60" y="58"/>
                      </a:lnTo>
                      <a:lnTo>
                        <a:pt x="30" y="72"/>
                      </a:lnTo>
                      <a:lnTo>
                        <a:pt x="18" y="72"/>
                      </a:lnTo>
                      <a:lnTo>
                        <a:pt x="4" y="64"/>
                      </a:lnTo>
                      <a:lnTo>
                        <a:pt x="0" y="60"/>
                      </a:lnTo>
                      <a:lnTo>
                        <a:pt x="54" y="443"/>
                      </a:lnTo>
                      <a:lnTo>
                        <a:pt x="44" y="485"/>
                      </a:lnTo>
                      <a:lnTo>
                        <a:pt x="62" y="521"/>
                      </a:lnTo>
                      <a:lnTo>
                        <a:pt x="68" y="551"/>
                      </a:lnTo>
                      <a:lnTo>
                        <a:pt x="40" y="621"/>
                      </a:lnTo>
                      <a:lnTo>
                        <a:pt x="22" y="633"/>
                      </a:lnTo>
                      <a:lnTo>
                        <a:pt x="22" y="701"/>
                      </a:lnTo>
                      <a:lnTo>
                        <a:pt x="24" y="703"/>
                      </a:lnTo>
                      <a:lnTo>
                        <a:pt x="28" y="701"/>
                      </a:lnTo>
                      <a:lnTo>
                        <a:pt x="40" y="681"/>
                      </a:lnTo>
                      <a:lnTo>
                        <a:pt x="68" y="681"/>
                      </a:lnTo>
                      <a:lnTo>
                        <a:pt x="102" y="669"/>
                      </a:lnTo>
                      <a:lnTo>
                        <a:pt x="146" y="685"/>
                      </a:lnTo>
                      <a:lnTo>
                        <a:pt x="152" y="667"/>
                      </a:lnTo>
                      <a:lnTo>
                        <a:pt x="176" y="649"/>
                      </a:lnTo>
                      <a:lnTo>
                        <a:pt x="214" y="653"/>
                      </a:lnTo>
                      <a:lnTo>
                        <a:pt x="234" y="615"/>
                      </a:lnTo>
                      <a:lnTo>
                        <a:pt x="288" y="619"/>
                      </a:lnTo>
                      <a:lnTo>
                        <a:pt x="288" y="597"/>
                      </a:lnTo>
                      <a:lnTo>
                        <a:pt x="336" y="531"/>
                      </a:lnTo>
                      <a:lnTo>
                        <a:pt x="328" y="503"/>
                      </a:lnTo>
                      <a:lnTo>
                        <a:pt x="364" y="501"/>
                      </a:lnTo>
                      <a:lnTo>
                        <a:pt x="407" y="469"/>
                      </a:lnTo>
                      <a:lnTo>
                        <a:pt x="394" y="431"/>
                      </a:lnTo>
                      <a:lnTo>
                        <a:pt x="397" y="429"/>
                      </a:lnTo>
                      <a:lnTo>
                        <a:pt x="394" y="415"/>
                      </a:lnTo>
                      <a:lnTo>
                        <a:pt x="348" y="140"/>
                      </a:lnTo>
                      <a:lnTo>
                        <a:pt x="328" y="22"/>
                      </a:lnTo>
                      <a:lnTo>
                        <a:pt x="326" y="10"/>
                      </a:lnTo>
                      <a:lnTo>
                        <a:pt x="322" y="0"/>
                      </a:lnTo>
                      <a:lnTo>
                        <a:pt x="322" y="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7" name="Kentucky" descr="{&quot;Key&quot;:&quot;kentucky&quot;,&quot;Name&quot;:&quot;Kentucky&quot;,&quot;Value&quot;:1.0,&quot;Formula&quot;:&quot;&quot;,&quot;Text&quot;:&quot;&quot;,&quot;OfficeApplication&quot;:1,&quot;HasValue&quot;:true}">
                  <a:extLst>
                    <a:ext uri="{FF2B5EF4-FFF2-40B4-BE49-F238E27FC236}">
                      <a16:creationId xmlns:a16="http://schemas.microsoft.com/office/drawing/2014/main" id="{A1C952C8-568D-438E-A121-6C80FB716FF9}"/>
                    </a:ext>
                  </a:extLst>
                </p:cNvPr>
                <p:cNvSpPr>
                  <a:spLocks noEditPoints="1"/>
                </p:cNvSpPr>
                <p:nvPr/>
              </p:nvSpPr>
              <p:spPr bwMode="auto">
                <a:xfrm>
                  <a:off x="7956550" y="3600452"/>
                  <a:ext cx="1500188" cy="828674"/>
                </a:xfrm>
                <a:custGeom>
                  <a:avLst/>
                  <a:gdLst>
                    <a:gd name="T0" fmla="*/ 8 w 945"/>
                    <a:gd name="T1" fmla="*/ 514 h 522"/>
                    <a:gd name="T2" fmla="*/ 0 w 945"/>
                    <a:gd name="T3" fmla="*/ 522 h 522"/>
                    <a:gd name="T4" fmla="*/ 8 w 945"/>
                    <a:gd name="T5" fmla="*/ 522 h 522"/>
                    <a:gd name="T6" fmla="*/ 10 w 945"/>
                    <a:gd name="T7" fmla="*/ 520 h 522"/>
                    <a:gd name="T8" fmla="*/ 538 w 945"/>
                    <a:gd name="T9" fmla="*/ 14 h 522"/>
                    <a:gd name="T10" fmla="*/ 508 w 945"/>
                    <a:gd name="T11" fmla="*/ 84 h 522"/>
                    <a:gd name="T12" fmla="*/ 480 w 945"/>
                    <a:gd name="T13" fmla="*/ 114 h 522"/>
                    <a:gd name="T14" fmla="*/ 432 w 945"/>
                    <a:gd name="T15" fmla="*/ 202 h 522"/>
                    <a:gd name="T16" fmla="*/ 358 w 945"/>
                    <a:gd name="T17" fmla="*/ 236 h 522"/>
                    <a:gd name="T18" fmla="*/ 296 w 945"/>
                    <a:gd name="T19" fmla="*/ 250 h 522"/>
                    <a:gd name="T20" fmla="*/ 248 w 945"/>
                    <a:gd name="T21" fmla="*/ 252 h 522"/>
                    <a:gd name="T22" fmla="*/ 184 w 945"/>
                    <a:gd name="T23" fmla="*/ 264 h 522"/>
                    <a:gd name="T24" fmla="*/ 168 w 945"/>
                    <a:gd name="T25" fmla="*/ 286 h 522"/>
                    <a:gd name="T26" fmla="*/ 156 w 945"/>
                    <a:gd name="T27" fmla="*/ 314 h 522"/>
                    <a:gd name="T28" fmla="*/ 122 w 945"/>
                    <a:gd name="T29" fmla="*/ 362 h 522"/>
                    <a:gd name="T30" fmla="*/ 118 w 945"/>
                    <a:gd name="T31" fmla="*/ 414 h 522"/>
                    <a:gd name="T32" fmla="*/ 42 w 945"/>
                    <a:gd name="T33" fmla="*/ 434 h 522"/>
                    <a:gd name="T34" fmla="*/ 48 w 945"/>
                    <a:gd name="T35" fmla="*/ 442 h 522"/>
                    <a:gd name="T36" fmla="*/ 38 w 945"/>
                    <a:gd name="T37" fmla="*/ 506 h 522"/>
                    <a:gd name="T38" fmla="*/ 18 w 945"/>
                    <a:gd name="T39" fmla="*/ 522 h 522"/>
                    <a:gd name="T40" fmla="*/ 198 w 945"/>
                    <a:gd name="T41" fmla="*/ 496 h 522"/>
                    <a:gd name="T42" fmla="*/ 216 w 945"/>
                    <a:gd name="T43" fmla="*/ 466 h 522"/>
                    <a:gd name="T44" fmla="*/ 755 w 945"/>
                    <a:gd name="T45" fmla="*/ 386 h 522"/>
                    <a:gd name="T46" fmla="*/ 763 w 945"/>
                    <a:gd name="T47" fmla="*/ 378 h 522"/>
                    <a:gd name="T48" fmla="*/ 867 w 945"/>
                    <a:gd name="T49" fmla="*/ 288 h 522"/>
                    <a:gd name="T50" fmla="*/ 903 w 945"/>
                    <a:gd name="T51" fmla="*/ 244 h 522"/>
                    <a:gd name="T52" fmla="*/ 945 w 945"/>
                    <a:gd name="T53" fmla="*/ 188 h 522"/>
                    <a:gd name="T54" fmla="*/ 923 w 945"/>
                    <a:gd name="T55" fmla="*/ 188 h 522"/>
                    <a:gd name="T56" fmla="*/ 855 w 945"/>
                    <a:gd name="T57" fmla="*/ 120 h 522"/>
                    <a:gd name="T58" fmla="*/ 839 w 945"/>
                    <a:gd name="T59" fmla="*/ 64 h 522"/>
                    <a:gd name="T60" fmla="*/ 805 w 945"/>
                    <a:gd name="T61" fmla="*/ 44 h 522"/>
                    <a:gd name="T62" fmla="*/ 761 w 945"/>
                    <a:gd name="T63" fmla="*/ 48 h 522"/>
                    <a:gd name="T64" fmla="*/ 719 w 945"/>
                    <a:gd name="T65" fmla="*/ 44 h 522"/>
                    <a:gd name="T66" fmla="*/ 657 w 945"/>
                    <a:gd name="T67" fmla="*/ 40 h 522"/>
                    <a:gd name="T68" fmla="*/ 605 w 945"/>
                    <a:gd name="T69" fmla="*/ 10 h 522"/>
                    <a:gd name="T70" fmla="*/ 547 w 945"/>
                    <a:gd name="T71" fmla="*/ 6 h 522"/>
                    <a:gd name="T72" fmla="*/ 541 w 945"/>
                    <a:gd name="T73" fmla="*/ 1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5" h="522">
                      <a:moveTo>
                        <a:pt x="10" y="520"/>
                      </a:moveTo>
                      <a:lnTo>
                        <a:pt x="8" y="514"/>
                      </a:lnTo>
                      <a:lnTo>
                        <a:pt x="2" y="512"/>
                      </a:lnTo>
                      <a:lnTo>
                        <a:pt x="0" y="522"/>
                      </a:lnTo>
                      <a:lnTo>
                        <a:pt x="0" y="522"/>
                      </a:lnTo>
                      <a:lnTo>
                        <a:pt x="8" y="522"/>
                      </a:lnTo>
                      <a:lnTo>
                        <a:pt x="10" y="520"/>
                      </a:lnTo>
                      <a:lnTo>
                        <a:pt x="10" y="520"/>
                      </a:lnTo>
                      <a:close/>
                      <a:moveTo>
                        <a:pt x="541" y="12"/>
                      </a:moveTo>
                      <a:lnTo>
                        <a:pt x="538" y="14"/>
                      </a:lnTo>
                      <a:lnTo>
                        <a:pt x="551" y="52"/>
                      </a:lnTo>
                      <a:lnTo>
                        <a:pt x="508" y="84"/>
                      </a:lnTo>
                      <a:lnTo>
                        <a:pt x="472" y="86"/>
                      </a:lnTo>
                      <a:lnTo>
                        <a:pt x="480" y="114"/>
                      </a:lnTo>
                      <a:lnTo>
                        <a:pt x="432" y="180"/>
                      </a:lnTo>
                      <a:lnTo>
                        <a:pt x="432" y="202"/>
                      </a:lnTo>
                      <a:lnTo>
                        <a:pt x="378" y="198"/>
                      </a:lnTo>
                      <a:lnTo>
                        <a:pt x="358" y="236"/>
                      </a:lnTo>
                      <a:lnTo>
                        <a:pt x="320" y="232"/>
                      </a:lnTo>
                      <a:lnTo>
                        <a:pt x="296" y="250"/>
                      </a:lnTo>
                      <a:lnTo>
                        <a:pt x="290" y="268"/>
                      </a:lnTo>
                      <a:lnTo>
                        <a:pt x="248" y="252"/>
                      </a:lnTo>
                      <a:lnTo>
                        <a:pt x="212" y="264"/>
                      </a:lnTo>
                      <a:lnTo>
                        <a:pt x="184" y="264"/>
                      </a:lnTo>
                      <a:lnTo>
                        <a:pt x="172" y="284"/>
                      </a:lnTo>
                      <a:lnTo>
                        <a:pt x="168" y="286"/>
                      </a:lnTo>
                      <a:lnTo>
                        <a:pt x="168" y="288"/>
                      </a:lnTo>
                      <a:lnTo>
                        <a:pt x="156" y="314"/>
                      </a:lnTo>
                      <a:lnTo>
                        <a:pt x="170" y="334"/>
                      </a:lnTo>
                      <a:lnTo>
                        <a:pt x="122" y="362"/>
                      </a:lnTo>
                      <a:lnTo>
                        <a:pt x="132" y="396"/>
                      </a:lnTo>
                      <a:lnTo>
                        <a:pt x="118" y="414"/>
                      </a:lnTo>
                      <a:lnTo>
                        <a:pt x="58" y="396"/>
                      </a:lnTo>
                      <a:lnTo>
                        <a:pt x="42" y="434"/>
                      </a:lnTo>
                      <a:lnTo>
                        <a:pt x="48" y="438"/>
                      </a:lnTo>
                      <a:lnTo>
                        <a:pt x="48" y="442"/>
                      </a:lnTo>
                      <a:lnTo>
                        <a:pt x="42" y="504"/>
                      </a:lnTo>
                      <a:lnTo>
                        <a:pt x="38" y="506"/>
                      </a:lnTo>
                      <a:lnTo>
                        <a:pt x="18" y="518"/>
                      </a:lnTo>
                      <a:lnTo>
                        <a:pt x="18" y="522"/>
                      </a:lnTo>
                      <a:lnTo>
                        <a:pt x="40" y="518"/>
                      </a:lnTo>
                      <a:lnTo>
                        <a:pt x="198" y="496"/>
                      </a:lnTo>
                      <a:lnTo>
                        <a:pt x="190" y="466"/>
                      </a:lnTo>
                      <a:lnTo>
                        <a:pt x="216" y="466"/>
                      </a:lnTo>
                      <a:lnTo>
                        <a:pt x="532" y="424"/>
                      </a:lnTo>
                      <a:lnTo>
                        <a:pt x="755" y="386"/>
                      </a:lnTo>
                      <a:lnTo>
                        <a:pt x="759" y="384"/>
                      </a:lnTo>
                      <a:lnTo>
                        <a:pt x="763" y="378"/>
                      </a:lnTo>
                      <a:lnTo>
                        <a:pt x="821" y="346"/>
                      </a:lnTo>
                      <a:lnTo>
                        <a:pt x="867" y="288"/>
                      </a:lnTo>
                      <a:lnTo>
                        <a:pt x="873" y="268"/>
                      </a:lnTo>
                      <a:lnTo>
                        <a:pt x="903" y="244"/>
                      </a:lnTo>
                      <a:lnTo>
                        <a:pt x="939" y="196"/>
                      </a:lnTo>
                      <a:lnTo>
                        <a:pt x="945" y="188"/>
                      </a:lnTo>
                      <a:lnTo>
                        <a:pt x="943" y="188"/>
                      </a:lnTo>
                      <a:lnTo>
                        <a:pt x="923" y="188"/>
                      </a:lnTo>
                      <a:lnTo>
                        <a:pt x="899" y="174"/>
                      </a:lnTo>
                      <a:lnTo>
                        <a:pt x="855" y="120"/>
                      </a:lnTo>
                      <a:lnTo>
                        <a:pt x="839" y="66"/>
                      </a:lnTo>
                      <a:lnTo>
                        <a:pt x="839" y="64"/>
                      </a:lnTo>
                      <a:lnTo>
                        <a:pt x="837" y="62"/>
                      </a:lnTo>
                      <a:lnTo>
                        <a:pt x="805" y="44"/>
                      </a:lnTo>
                      <a:lnTo>
                        <a:pt x="791" y="20"/>
                      </a:lnTo>
                      <a:lnTo>
                        <a:pt x="761" y="48"/>
                      </a:lnTo>
                      <a:lnTo>
                        <a:pt x="741" y="52"/>
                      </a:lnTo>
                      <a:lnTo>
                        <a:pt x="719" y="44"/>
                      </a:lnTo>
                      <a:lnTo>
                        <a:pt x="699" y="60"/>
                      </a:lnTo>
                      <a:lnTo>
                        <a:pt x="657" y="40"/>
                      </a:lnTo>
                      <a:lnTo>
                        <a:pt x="645" y="46"/>
                      </a:lnTo>
                      <a:lnTo>
                        <a:pt x="605" y="10"/>
                      </a:lnTo>
                      <a:lnTo>
                        <a:pt x="585" y="0"/>
                      </a:lnTo>
                      <a:lnTo>
                        <a:pt x="547" y="6"/>
                      </a:lnTo>
                      <a:lnTo>
                        <a:pt x="541" y="12"/>
                      </a:lnTo>
                      <a:lnTo>
                        <a:pt x="541" y="1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8" name="North Carolina" descr="{&quot;Key&quot;:&quot;north carolina&quot;,&quot;Name&quot;:&quot;North Carolina&quot;,&quot;Value&quot;:1.0,&quot;Formula&quot;:&quot;&quot;,&quot;Text&quot;:&quot;&quot;,&quot;OfficeApplication&quot;:1,&quot;HasValue&quot;:true}">
                  <a:extLst>
                    <a:ext uri="{FF2B5EF4-FFF2-40B4-BE49-F238E27FC236}">
                      <a16:creationId xmlns:a16="http://schemas.microsoft.com/office/drawing/2014/main" id="{6108A1F4-7ABC-4420-94B0-351C0A3E2DD8}"/>
                    </a:ext>
                  </a:extLst>
                </p:cNvPr>
                <p:cNvSpPr>
                  <a:spLocks noEditPoints="1"/>
                </p:cNvSpPr>
                <p:nvPr/>
              </p:nvSpPr>
              <p:spPr bwMode="auto">
                <a:xfrm>
                  <a:off x="9094787" y="3832226"/>
                  <a:ext cx="1785938" cy="830263"/>
                </a:xfrm>
                <a:custGeom>
                  <a:avLst/>
                  <a:gdLst>
                    <a:gd name="T0" fmla="*/ 862 w 1125"/>
                    <a:gd name="T1" fmla="*/ 505 h 523"/>
                    <a:gd name="T2" fmla="*/ 876 w 1125"/>
                    <a:gd name="T3" fmla="*/ 448 h 523"/>
                    <a:gd name="T4" fmla="*/ 876 w 1125"/>
                    <a:gd name="T5" fmla="*/ 448 h 523"/>
                    <a:gd name="T6" fmla="*/ 910 w 1125"/>
                    <a:gd name="T7" fmla="*/ 384 h 523"/>
                    <a:gd name="T8" fmla="*/ 922 w 1125"/>
                    <a:gd name="T9" fmla="*/ 376 h 523"/>
                    <a:gd name="T10" fmla="*/ 1008 w 1125"/>
                    <a:gd name="T11" fmla="*/ 324 h 523"/>
                    <a:gd name="T12" fmla="*/ 1002 w 1125"/>
                    <a:gd name="T13" fmla="*/ 324 h 523"/>
                    <a:gd name="T14" fmla="*/ 1002 w 1125"/>
                    <a:gd name="T15" fmla="*/ 324 h 523"/>
                    <a:gd name="T16" fmla="*/ 1032 w 1125"/>
                    <a:gd name="T17" fmla="*/ 298 h 523"/>
                    <a:gd name="T18" fmla="*/ 1060 w 1125"/>
                    <a:gd name="T19" fmla="*/ 258 h 523"/>
                    <a:gd name="T20" fmla="*/ 1060 w 1125"/>
                    <a:gd name="T21" fmla="*/ 258 h 523"/>
                    <a:gd name="T22" fmla="*/ 1123 w 1125"/>
                    <a:gd name="T23" fmla="*/ 156 h 523"/>
                    <a:gd name="T24" fmla="*/ 1030 w 1125"/>
                    <a:gd name="T25" fmla="*/ 0 h 523"/>
                    <a:gd name="T26" fmla="*/ 1026 w 1125"/>
                    <a:gd name="T27" fmla="*/ 2 h 523"/>
                    <a:gd name="T28" fmla="*/ 1102 w 1125"/>
                    <a:gd name="T29" fmla="*/ 108 h 523"/>
                    <a:gd name="T30" fmla="*/ 1030 w 1125"/>
                    <a:gd name="T31" fmla="*/ 0 h 523"/>
                    <a:gd name="T32" fmla="*/ 1010 w 1125"/>
                    <a:gd name="T33" fmla="*/ 6 h 523"/>
                    <a:gd name="T34" fmla="*/ 1022 w 1125"/>
                    <a:gd name="T35" fmla="*/ 4 h 523"/>
                    <a:gd name="T36" fmla="*/ 1018 w 1125"/>
                    <a:gd name="T37" fmla="*/ 4 h 523"/>
                    <a:gd name="T38" fmla="*/ 1016 w 1125"/>
                    <a:gd name="T39" fmla="*/ 6 h 523"/>
                    <a:gd name="T40" fmla="*/ 1016 w 1125"/>
                    <a:gd name="T41" fmla="*/ 6 h 523"/>
                    <a:gd name="T42" fmla="*/ 294 w 1125"/>
                    <a:gd name="T43" fmla="*/ 228 h 523"/>
                    <a:gd name="T44" fmla="*/ 244 w 1125"/>
                    <a:gd name="T45" fmla="*/ 270 h 523"/>
                    <a:gd name="T46" fmla="*/ 158 w 1125"/>
                    <a:gd name="T47" fmla="*/ 340 h 523"/>
                    <a:gd name="T48" fmla="*/ 32 w 1125"/>
                    <a:gd name="T49" fmla="*/ 436 h 523"/>
                    <a:gd name="T50" fmla="*/ 2 w 1125"/>
                    <a:gd name="T51" fmla="*/ 507 h 523"/>
                    <a:gd name="T52" fmla="*/ 120 w 1125"/>
                    <a:gd name="T53" fmla="*/ 489 h 523"/>
                    <a:gd name="T54" fmla="*/ 162 w 1125"/>
                    <a:gd name="T55" fmla="*/ 481 h 523"/>
                    <a:gd name="T56" fmla="*/ 552 w 1125"/>
                    <a:gd name="T57" fmla="*/ 424 h 523"/>
                    <a:gd name="T58" fmla="*/ 792 w 1125"/>
                    <a:gd name="T59" fmla="*/ 519 h 523"/>
                    <a:gd name="T60" fmla="*/ 902 w 1125"/>
                    <a:gd name="T61" fmla="*/ 392 h 523"/>
                    <a:gd name="T62" fmla="*/ 1006 w 1125"/>
                    <a:gd name="T63" fmla="*/ 304 h 523"/>
                    <a:gd name="T64" fmla="*/ 1022 w 1125"/>
                    <a:gd name="T65" fmla="*/ 278 h 523"/>
                    <a:gd name="T66" fmla="*/ 996 w 1125"/>
                    <a:gd name="T67" fmla="*/ 262 h 523"/>
                    <a:gd name="T68" fmla="*/ 924 w 1125"/>
                    <a:gd name="T69" fmla="*/ 210 h 523"/>
                    <a:gd name="T70" fmla="*/ 1004 w 1125"/>
                    <a:gd name="T71" fmla="*/ 204 h 523"/>
                    <a:gd name="T72" fmla="*/ 1066 w 1125"/>
                    <a:gd name="T73" fmla="*/ 156 h 523"/>
                    <a:gd name="T74" fmla="*/ 1060 w 1125"/>
                    <a:gd name="T75" fmla="*/ 92 h 523"/>
                    <a:gd name="T76" fmla="*/ 1032 w 1125"/>
                    <a:gd name="T77" fmla="*/ 100 h 523"/>
                    <a:gd name="T78" fmla="*/ 980 w 1125"/>
                    <a:gd name="T79" fmla="*/ 96 h 523"/>
                    <a:gd name="T80" fmla="*/ 1026 w 1125"/>
                    <a:gd name="T81" fmla="*/ 48 h 523"/>
                    <a:gd name="T82" fmla="*/ 1008 w 1125"/>
                    <a:gd name="T83" fmla="*/ 8 h 523"/>
                    <a:gd name="T84" fmla="*/ 498 w 1125"/>
                    <a:gd name="T85" fmla="*/ 146 h 523"/>
                    <a:gd name="T86" fmla="*/ 298 w 1125"/>
                    <a:gd name="T87" fmla="*/ 18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5" h="523">
                      <a:moveTo>
                        <a:pt x="870" y="495"/>
                      </a:moveTo>
                      <a:lnTo>
                        <a:pt x="862" y="503"/>
                      </a:lnTo>
                      <a:lnTo>
                        <a:pt x="862" y="505"/>
                      </a:lnTo>
                      <a:lnTo>
                        <a:pt x="870" y="495"/>
                      </a:lnTo>
                      <a:lnTo>
                        <a:pt x="870" y="495"/>
                      </a:lnTo>
                      <a:close/>
                      <a:moveTo>
                        <a:pt x="876" y="448"/>
                      </a:moveTo>
                      <a:lnTo>
                        <a:pt x="872" y="456"/>
                      </a:lnTo>
                      <a:lnTo>
                        <a:pt x="874" y="462"/>
                      </a:lnTo>
                      <a:lnTo>
                        <a:pt x="876" y="448"/>
                      </a:lnTo>
                      <a:lnTo>
                        <a:pt x="876" y="448"/>
                      </a:lnTo>
                      <a:close/>
                      <a:moveTo>
                        <a:pt x="922" y="376"/>
                      </a:moveTo>
                      <a:lnTo>
                        <a:pt x="910" y="384"/>
                      </a:lnTo>
                      <a:lnTo>
                        <a:pt x="904" y="394"/>
                      </a:lnTo>
                      <a:lnTo>
                        <a:pt x="922" y="376"/>
                      </a:lnTo>
                      <a:lnTo>
                        <a:pt x="922" y="376"/>
                      </a:lnTo>
                      <a:close/>
                      <a:moveTo>
                        <a:pt x="1022" y="328"/>
                      </a:moveTo>
                      <a:lnTo>
                        <a:pt x="1018" y="324"/>
                      </a:lnTo>
                      <a:lnTo>
                        <a:pt x="1008" y="324"/>
                      </a:lnTo>
                      <a:lnTo>
                        <a:pt x="1022" y="328"/>
                      </a:lnTo>
                      <a:lnTo>
                        <a:pt x="1022" y="328"/>
                      </a:lnTo>
                      <a:close/>
                      <a:moveTo>
                        <a:pt x="1002" y="324"/>
                      </a:moveTo>
                      <a:lnTo>
                        <a:pt x="994" y="324"/>
                      </a:lnTo>
                      <a:lnTo>
                        <a:pt x="984" y="330"/>
                      </a:lnTo>
                      <a:lnTo>
                        <a:pt x="1002" y="324"/>
                      </a:lnTo>
                      <a:close/>
                      <a:moveTo>
                        <a:pt x="1026" y="332"/>
                      </a:moveTo>
                      <a:lnTo>
                        <a:pt x="1048" y="276"/>
                      </a:lnTo>
                      <a:lnTo>
                        <a:pt x="1032" y="298"/>
                      </a:lnTo>
                      <a:lnTo>
                        <a:pt x="1026" y="332"/>
                      </a:lnTo>
                      <a:lnTo>
                        <a:pt x="1026" y="332"/>
                      </a:lnTo>
                      <a:close/>
                      <a:moveTo>
                        <a:pt x="1060" y="258"/>
                      </a:moveTo>
                      <a:lnTo>
                        <a:pt x="1070" y="244"/>
                      </a:lnTo>
                      <a:lnTo>
                        <a:pt x="1064" y="244"/>
                      </a:lnTo>
                      <a:lnTo>
                        <a:pt x="1060" y="258"/>
                      </a:lnTo>
                      <a:close/>
                      <a:moveTo>
                        <a:pt x="1125" y="198"/>
                      </a:moveTo>
                      <a:lnTo>
                        <a:pt x="1108" y="112"/>
                      </a:lnTo>
                      <a:lnTo>
                        <a:pt x="1123" y="156"/>
                      </a:lnTo>
                      <a:lnTo>
                        <a:pt x="1125" y="198"/>
                      </a:lnTo>
                      <a:lnTo>
                        <a:pt x="1125" y="198"/>
                      </a:lnTo>
                      <a:close/>
                      <a:moveTo>
                        <a:pt x="1030" y="0"/>
                      </a:moveTo>
                      <a:lnTo>
                        <a:pt x="1028" y="2"/>
                      </a:lnTo>
                      <a:lnTo>
                        <a:pt x="1026" y="2"/>
                      </a:lnTo>
                      <a:lnTo>
                        <a:pt x="1026" y="2"/>
                      </a:lnTo>
                      <a:lnTo>
                        <a:pt x="1026" y="2"/>
                      </a:lnTo>
                      <a:lnTo>
                        <a:pt x="1070" y="74"/>
                      </a:lnTo>
                      <a:lnTo>
                        <a:pt x="1102" y="108"/>
                      </a:lnTo>
                      <a:lnTo>
                        <a:pt x="1030" y="0"/>
                      </a:lnTo>
                      <a:lnTo>
                        <a:pt x="1030" y="0"/>
                      </a:lnTo>
                      <a:lnTo>
                        <a:pt x="1030" y="0"/>
                      </a:lnTo>
                      <a:close/>
                      <a:moveTo>
                        <a:pt x="1016" y="6"/>
                      </a:moveTo>
                      <a:lnTo>
                        <a:pt x="1010" y="6"/>
                      </a:lnTo>
                      <a:lnTo>
                        <a:pt x="1010" y="6"/>
                      </a:lnTo>
                      <a:lnTo>
                        <a:pt x="1012" y="8"/>
                      </a:lnTo>
                      <a:lnTo>
                        <a:pt x="1024" y="8"/>
                      </a:lnTo>
                      <a:lnTo>
                        <a:pt x="1022" y="4"/>
                      </a:lnTo>
                      <a:lnTo>
                        <a:pt x="1022" y="4"/>
                      </a:lnTo>
                      <a:lnTo>
                        <a:pt x="1020" y="4"/>
                      </a:lnTo>
                      <a:lnTo>
                        <a:pt x="1018" y="4"/>
                      </a:lnTo>
                      <a:lnTo>
                        <a:pt x="1018" y="4"/>
                      </a:lnTo>
                      <a:lnTo>
                        <a:pt x="1018" y="6"/>
                      </a:lnTo>
                      <a:lnTo>
                        <a:pt x="1016" y="6"/>
                      </a:lnTo>
                      <a:lnTo>
                        <a:pt x="1016" y="6"/>
                      </a:lnTo>
                      <a:lnTo>
                        <a:pt x="1016" y="6"/>
                      </a:lnTo>
                      <a:lnTo>
                        <a:pt x="1016" y="6"/>
                      </a:lnTo>
                      <a:close/>
                      <a:moveTo>
                        <a:pt x="298" y="182"/>
                      </a:moveTo>
                      <a:lnTo>
                        <a:pt x="294" y="194"/>
                      </a:lnTo>
                      <a:lnTo>
                        <a:pt x="294" y="228"/>
                      </a:lnTo>
                      <a:lnTo>
                        <a:pt x="286" y="226"/>
                      </a:lnTo>
                      <a:lnTo>
                        <a:pt x="266" y="268"/>
                      </a:lnTo>
                      <a:lnTo>
                        <a:pt x="244" y="270"/>
                      </a:lnTo>
                      <a:lnTo>
                        <a:pt x="202" y="312"/>
                      </a:lnTo>
                      <a:lnTo>
                        <a:pt x="182" y="304"/>
                      </a:lnTo>
                      <a:lnTo>
                        <a:pt x="158" y="340"/>
                      </a:lnTo>
                      <a:lnTo>
                        <a:pt x="94" y="398"/>
                      </a:lnTo>
                      <a:lnTo>
                        <a:pt x="64" y="406"/>
                      </a:lnTo>
                      <a:lnTo>
                        <a:pt x="32" y="436"/>
                      </a:lnTo>
                      <a:lnTo>
                        <a:pt x="30" y="456"/>
                      </a:lnTo>
                      <a:lnTo>
                        <a:pt x="0" y="473"/>
                      </a:lnTo>
                      <a:lnTo>
                        <a:pt x="2" y="507"/>
                      </a:lnTo>
                      <a:lnTo>
                        <a:pt x="2" y="515"/>
                      </a:lnTo>
                      <a:lnTo>
                        <a:pt x="12" y="511"/>
                      </a:lnTo>
                      <a:lnTo>
                        <a:pt x="120" y="489"/>
                      </a:lnTo>
                      <a:lnTo>
                        <a:pt x="150" y="483"/>
                      </a:lnTo>
                      <a:lnTo>
                        <a:pt x="160" y="481"/>
                      </a:lnTo>
                      <a:lnTo>
                        <a:pt x="162" y="481"/>
                      </a:lnTo>
                      <a:lnTo>
                        <a:pt x="420" y="398"/>
                      </a:lnTo>
                      <a:lnTo>
                        <a:pt x="464" y="420"/>
                      </a:lnTo>
                      <a:lnTo>
                        <a:pt x="552" y="424"/>
                      </a:lnTo>
                      <a:lnTo>
                        <a:pt x="616" y="412"/>
                      </a:lnTo>
                      <a:lnTo>
                        <a:pt x="788" y="523"/>
                      </a:lnTo>
                      <a:lnTo>
                        <a:pt x="792" y="519"/>
                      </a:lnTo>
                      <a:lnTo>
                        <a:pt x="872" y="487"/>
                      </a:lnTo>
                      <a:lnTo>
                        <a:pt x="872" y="444"/>
                      </a:lnTo>
                      <a:lnTo>
                        <a:pt x="902" y="392"/>
                      </a:lnTo>
                      <a:lnTo>
                        <a:pt x="932" y="362"/>
                      </a:lnTo>
                      <a:lnTo>
                        <a:pt x="998" y="320"/>
                      </a:lnTo>
                      <a:lnTo>
                        <a:pt x="1006" y="304"/>
                      </a:lnTo>
                      <a:lnTo>
                        <a:pt x="1022" y="312"/>
                      </a:lnTo>
                      <a:lnTo>
                        <a:pt x="1030" y="260"/>
                      </a:lnTo>
                      <a:lnTo>
                        <a:pt x="1022" y="278"/>
                      </a:lnTo>
                      <a:lnTo>
                        <a:pt x="988" y="288"/>
                      </a:lnTo>
                      <a:lnTo>
                        <a:pt x="958" y="290"/>
                      </a:lnTo>
                      <a:lnTo>
                        <a:pt x="996" y="262"/>
                      </a:lnTo>
                      <a:lnTo>
                        <a:pt x="984" y="250"/>
                      </a:lnTo>
                      <a:lnTo>
                        <a:pt x="998" y="222"/>
                      </a:lnTo>
                      <a:lnTo>
                        <a:pt x="924" y="210"/>
                      </a:lnTo>
                      <a:lnTo>
                        <a:pt x="920" y="206"/>
                      </a:lnTo>
                      <a:lnTo>
                        <a:pt x="984" y="194"/>
                      </a:lnTo>
                      <a:lnTo>
                        <a:pt x="1004" y="204"/>
                      </a:lnTo>
                      <a:lnTo>
                        <a:pt x="1028" y="202"/>
                      </a:lnTo>
                      <a:lnTo>
                        <a:pt x="1050" y="186"/>
                      </a:lnTo>
                      <a:lnTo>
                        <a:pt x="1066" y="156"/>
                      </a:lnTo>
                      <a:lnTo>
                        <a:pt x="1080" y="152"/>
                      </a:lnTo>
                      <a:lnTo>
                        <a:pt x="1078" y="110"/>
                      </a:lnTo>
                      <a:lnTo>
                        <a:pt x="1060" y="92"/>
                      </a:lnTo>
                      <a:lnTo>
                        <a:pt x="1042" y="108"/>
                      </a:lnTo>
                      <a:lnTo>
                        <a:pt x="1046" y="150"/>
                      </a:lnTo>
                      <a:lnTo>
                        <a:pt x="1032" y="100"/>
                      </a:lnTo>
                      <a:lnTo>
                        <a:pt x="1022" y="98"/>
                      </a:lnTo>
                      <a:lnTo>
                        <a:pt x="946" y="128"/>
                      </a:lnTo>
                      <a:lnTo>
                        <a:pt x="980" y="96"/>
                      </a:lnTo>
                      <a:lnTo>
                        <a:pt x="980" y="82"/>
                      </a:lnTo>
                      <a:lnTo>
                        <a:pt x="1016" y="74"/>
                      </a:lnTo>
                      <a:lnTo>
                        <a:pt x="1026" y="48"/>
                      </a:lnTo>
                      <a:lnTo>
                        <a:pt x="1050" y="62"/>
                      </a:lnTo>
                      <a:lnTo>
                        <a:pt x="1024" y="24"/>
                      </a:lnTo>
                      <a:lnTo>
                        <a:pt x="1008" y="8"/>
                      </a:lnTo>
                      <a:lnTo>
                        <a:pt x="1008" y="8"/>
                      </a:lnTo>
                      <a:lnTo>
                        <a:pt x="696" y="96"/>
                      </a:lnTo>
                      <a:lnTo>
                        <a:pt x="498" y="146"/>
                      </a:lnTo>
                      <a:lnTo>
                        <a:pt x="298" y="184"/>
                      </a:lnTo>
                      <a:lnTo>
                        <a:pt x="298" y="182"/>
                      </a:lnTo>
                      <a:lnTo>
                        <a:pt x="298" y="182"/>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19" name="Ohio" descr="{&quot;Key&quot;:&quot;ohio&quot;,&quot;Name&quot;:&quot;Ohio&quot;,&quot;Value&quot;:1.0,&quot;Formula&quot;:&quot;&quot;,&quot;Text&quot;:&quot;&quot;,&quot;OfficeApplication&quot;:1,&quot;HasValue&quot;:true}">
                  <a:extLst>
                    <a:ext uri="{FF2B5EF4-FFF2-40B4-BE49-F238E27FC236}">
                      <a16:creationId xmlns:a16="http://schemas.microsoft.com/office/drawing/2014/main" id="{BFC33E82-4A39-4F95-8215-137C44246F82}"/>
                    </a:ext>
                  </a:extLst>
                </p:cNvPr>
                <p:cNvSpPr>
                  <a:spLocks/>
                </p:cNvSpPr>
                <p:nvPr/>
              </p:nvSpPr>
              <p:spPr bwMode="auto">
                <a:xfrm>
                  <a:off x="8702674" y="2706689"/>
                  <a:ext cx="865187" cy="995363"/>
                </a:xfrm>
                <a:custGeom>
                  <a:avLst/>
                  <a:gdLst>
                    <a:gd name="T0" fmla="*/ 541 w 545"/>
                    <a:gd name="T1" fmla="*/ 198 h 627"/>
                    <a:gd name="T2" fmla="*/ 521 w 545"/>
                    <a:gd name="T3" fmla="*/ 114 h 627"/>
                    <a:gd name="T4" fmla="*/ 517 w 545"/>
                    <a:gd name="T5" fmla="*/ 96 h 627"/>
                    <a:gd name="T6" fmla="*/ 495 w 545"/>
                    <a:gd name="T7" fmla="*/ 0 h 627"/>
                    <a:gd name="T8" fmla="*/ 467 w 545"/>
                    <a:gd name="T9" fmla="*/ 18 h 627"/>
                    <a:gd name="T10" fmla="*/ 407 w 545"/>
                    <a:gd name="T11" fmla="*/ 64 h 627"/>
                    <a:gd name="T12" fmla="*/ 369 w 545"/>
                    <a:gd name="T13" fmla="*/ 112 h 627"/>
                    <a:gd name="T14" fmla="*/ 339 w 545"/>
                    <a:gd name="T15" fmla="*/ 116 h 627"/>
                    <a:gd name="T16" fmla="*/ 283 w 545"/>
                    <a:gd name="T17" fmla="*/ 148 h 627"/>
                    <a:gd name="T18" fmla="*/ 251 w 545"/>
                    <a:gd name="T19" fmla="*/ 130 h 627"/>
                    <a:gd name="T20" fmla="*/ 157 w 545"/>
                    <a:gd name="T21" fmla="*/ 118 h 627"/>
                    <a:gd name="T22" fmla="*/ 157 w 545"/>
                    <a:gd name="T23" fmla="*/ 118 h 627"/>
                    <a:gd name="T24" fmla="*/ 109 w 545"/>
                    <a:gd name="T25" fmla="*/ 132 h 627"/>
                    <a:gd name="T26" fmla="*/ 58 w 545"/>
                    <a:gd name="T27" fmla="*/ 142 h 627"/>
                    <a:gd name="T28" fmla="*/ 6 w 545"/>
                    <a:gd name="T29" fmla="*/ 154 h 627"/>
                    <a:gd name="T30" fmla="*/ 0 w 545"/>
                    <a:gd name="T31" fmla="*/ 156 h 627"/>
                    <a:gd name="T32" fmla="*/ 2 w 545"/>
                    <a:gd name="T33" fmla="*/ 168 h 627"/>
                    <a:gd name="T34" fmla="*/ 22 w 545"/>
                    <a:gd name="T35" fmla="*/ 286 h 627"/>
                    <a:gd name="T36" fmla="*/ 68 w 545"/>
                    <a:gd name="T37" fmla="*/ 561 h 627"/>
                    <a:gd name="T38" fmla="*/ 71 w 545"/>
                    <a:gd name="T39" fmla="*/ 575 h 627"/>
                    <a:gd name="T40" fmla="*/ 77 w 545"/>
                    <a:gd name="T41" fmla="*/ 569 h 627"/>
                    <a:gd name="T42" fmla="*/ 115 w 545"/>
                    <a:gd name="T43" fmla="*/ 563 h 627"/>
                    <a:gd name="T44" fmla="*/ 135 w 545"/>
                    <a:gd name="T45" fmla="*/ 573 h 627"/>
                    <a:gd name="T46" fmla="*/ 175 w 545"/>
                    <a:gd name="T47" fmla="*/ 609 h 627"/>
                    <a:gd name="T48" fmla="*/ 187 w 545"/>
                    <a:gd name="T49" fmla="*/ 603 h 627"/>
                    <a:gd name="T50" fmla="*/ 229 w 545"/>
                    <a:gd name="T51" fmla="*/ 623 h 627"/>
                    <a:gd name="T52" fmla="*/ 249 w 545"/>
                    <a:gd name="T53" fmla="*/ 607 h 627"/>
                    <a:gd name="T54" fmla="*/ 271 w 545"/>
                    <a:gd name="T55" fmla="*/ 615 h 627"/>
                    <a:gd name="T56" fmla="*/ 291 w 545"/>
                    <a:gd name="T57" fmla="*/ 611 h 627"/>
                    <a:gd name="T58" fmla="*/ 321 w 545"/>
                    <a:gd name="T59" fmla="*/ 583 h 627"/>
                    <a:gd name="T60" fmla="*/ 335 w 545"/>
                    <a:gd name="T61" fmla="*/ 607 h 627"/>
                    <a:gd name="T62" fmla="*/ 367 w 545"/>
                    <a:gd name="T63" fmla="*/ 625 h 627"/>
                    <a:gd name="T64" fmla="*/ 369 w 545"/>
                    <a:gd name="T65" fmla="*/ 627 h 627"/>
                    <a:gd name="T66" fmla="*/ 369 w 545"/>
                    <a:gd name="T67" fmla="*/ 627 h 627"/>
                    <a:gd name="T68" fmla="*/ 403 w 545"/>
                    <a:gd name="T69" fmla="*/ 611 h 627"/>
                    <a:gd name="T70" fmla="*/ 413 w 545"/>
                    <a:gd name="T71" fmla="*/ 585 h 627"/>
                    <a:gd name="T72" fmla="*/ 405 w 545"/>
                    <a:gd name="T73" fmla="*/ 559 h 627"/>
                    <a:gd name="T74" fmla="*/ 431 w 545"/>
                    <a:gd name="T75" fmla="*/ 519 h 627"/>
                    <a:gd name="T76" fmla="*/ 451 w 545"/>
                    <a:gd name="T77" fmla="*/ 515 h 627"/>
                    <a:gd name="T78" fmla="*/ 449 w 545"/>
                    <a:gd name="T79" fmla="*/ 481 h 627"/>
                    <a:gd name="T80" fmla="*/ 479 w 545"/>
                    <a:gd name="T81" fmla="*/ 436 h 627"/>
                    <a:gd name="T82" fmla="*/ 485 w 545"/>
                    <a:gd name="T83" fmla="*/ 444 h 627"/>
                    <a:gd name="T84" fmla="*/ 515 w 545"/>
                    <a:gd name="T85" fmla="*/ 422 h 627"/>
                    <a:gd name="T86" fmla="*/ 539 w 545"/>
                    <a:gd name="T87" fmla="*/ 384 h 627"/>
                    <a:gd name="T88" fmla="*/ 543 w 545"/>
                    <a:gd name="T89" fmla="*/ 214 h 627"/>
                    <a:gd name="T90" fmla="*/ 545 w 545"/>
                    <a:gd name="T91" fmla="*/ 214 h 627"/>
                    <a:gd name="T92" fmla="*/ 541 w 545"/>
                    <a:gd name="T93" fmla="*/ 198 h 627"/>
                    <a:gd name="T94" fmla="*/ 541 w 545"/>
                    <a:gd name="T95" fmla="*/ 198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5" h="627">
                      <a:moveTo>
                        <a:pt x="541" y="198"/>
                      </a:moveTo>
                      <a:lnTo>
                        <a:pt x="521" y="114"/>
                      </a:lnTo>
                      <a:lnTo>
                        <a:pt x="517" y="96"/>
                      </a:lnTo>
                      <a:lnTo>
                        <a:pt x="495" y="0"/>
                      </a:lnTo>
                      <a:lnTo>
                        <a:pt x="467" y="18"/>
                      </a:lnTo>
                      <a:lnTo>
                        <a:pt x="407" y="64"/>
                      </a:lnTo>
                      <a:lnTo>
                        <a:pt x="369" y="112"/>
                      </a:lnTo>
                      <a:lnTo>
                        <a:pt x="339" y="116"/>
                      </a:lnTo>
                      <a:lnTo>
                        <a:pt x="283" y="148"/>
                      </a:lnTo>
                      <a:lnTo>
                        <a:pt x="251" y="130"/>
                      </a:lnTo>
                      <a:lnTo>
                        <a:pt x="157" y="118"/>
                      </a:lnTo>
                      <a:lnTo>
                        <a:pt x="157" y="118"/>
                      </a:lnTo>
                      <a:lnTo>
                        <a:pt x="109" y="132"/>
                      </a:lnTo>
                      <a:lnTo>
                        <a:pt x="58" y="142"/>
                      </a:lnTo>
                      <a:lnTo>
                        <a:pt x="6" y="154"/>
                      </a:lnTo>
                      <a:lnTo>
                        <a:pt x="0" y="156"/>
                      </a:lnTo>
                      <a:lnTo>
                        <a:pt x="2" y="168"/>
                      </a:lnTo>
                      <a:lnTo>
                        <a:pt x="22" y="286"/>
                      </a:lnTo>
                      <a:lnTo>
                        <a:pt x="68" y="561"/>
                      </a:lnTo>
                      <a:lnTo>
                        <a:pt x="71" y="575"/>
                      </a:lnTo>
                      <a:lnTo>
                        <a:pt x="77" y="569"/>
                      </a:lnTo>
                      <a:lnTo>
                        <a:pt x="115" y="563"/>
                      </a:lnTo>
                      <a:lnTo>
                        <a:pt x="135" y="573"/>
                      </a:lnTo>
                      <a:lnTo>
                        <a:pt x="175" y="609"/>
                      </a:lnTo>
                      <a:lnTo>
                        <a:pt x="187" y="603"/>
                      </a:lnTo>
                      <a:lnTo>
                        <a:pt x="229" y="623"/>
                      </a:lnTo>
                      <a:lnTo>
                        <a:pt x="249" y="607"/>
                      </a:lnTo>
                      <a:lnTo>
                        <a:pt x="271" y="615"/>
                      </a:lnTo>
                      <a:lnTo>
                        <a:pt x="291" y="611"/>
                      </a:lnTo>
                      <a:lnTo>
                        <a:pt x="321" y="583"/>
                      </a:lnTo>
                      <a:lnTo>
                        <a:pt x="335" y="607"/>
                      </a:lnTo>
                      <a:lnTo>
                        <a:pt x="367" y="625"/>
                      </a:lnTo>
                      <a:lnTo>
                        <a:pt x="369" y="627"/>
                      </a:lnTo>
                      <a:lnTo>
                        <a:pt x="369" y="627"/>
                      </a:lnTo>
                      <a:lnTo>
                        <a:pt x="403" y="611"/>
                      </a:lnTo>
                      <a:lnTo>
                        <a:pt x="413" y="585"/>
                      </a:lnTo>
                      <a:lnTo>
                        <a:pt x="405" y="559"/>
                      </a:lnTo>
                      <a:lnTo>
                        <a:pt x="431" y="519"/>
                      </a:lnTo>
                      <a:lnTo>
                        <a:pt x="451" y="515"/>
                      </a:lnTo>
                      <a:lnTo>
                        <a:pt x="449" y="481"/>
                      </a:lnTo>
                      <a:lnTo>
                        <a:pt x="479" y="436"/>
                      </a:lnTo>
                      <a:lnTo>
                        <a:pt x="485" y="444"/>
                      </a:lnTo>
                      <a:lnTo>
                        <a:pt x="515" y="422"/>
                      </a:lnTo>
                      <a:lnTo>
                        <a:pt x="539" y="384"/>
                      </a:lnTo>
                      <a:lnTo>
                        <a:pt x="543" y="214"/>
                      </a:lnTo>
                      <a:lnTo>
                        <a:pt x="545" y="214"/>
                      </a:lnTo>
                      <a:lnTo>
                        <a:pt x="541" y="198"/>
                      </a:lnTo>
                      <a:lnTo>
                        <a:pt x="541" y="198"/>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0" name="Tennessee" descr="{&quot;Key&quot;:&quot;tennessee&quot;,&quot;Name&quot;:&quot;Tennessee&quot;,&quot;Value&quot;:1.0,&quot;Formula&quot;:&quot;&quot;,&quot;Text&quot;:&quot;&quot;,&quot;OfficeApplication&quot;:1,&quot;HasValue&quot;:true}">
                  <a:extLst>
                    <a:ext uri="{FF2B5EF4-FFF2-40B4-BE49-F238E27FC236}">
                      <a16:creationId xmlns:a16="http://schemas.microsoft.com/office/drawing/2014/main" id="{3DC5BEFE-E482-4B39-B882-6497DBF66047}"/>
                    </a:ext>
                  </a:extLst>
                </p:cNvPr>
                <p:cNvSpPr>
                  <a:spLocks/>
                </p:cNvSpPr>
                <p:nvPr/>
              </p:nvSpPr>
              <p:spPr bwMode="auto">
                <a:xfrm>
                  <a:off x="7842248" y="4121151"/>
                  <a:ext cx="1725613" cy="712788"/>
                </a:xfrm>
                <a:custGeom>
                  <a:avLst/>
                  <a:gdLst>
                    <a:gd name="T0" fmla="*/ 827 w 1087"/>
                    <a:gd name="T1" fmla="*/ 58 h 449"/>
                    <a:gd name="T2" fmla="*/ 604 w 1087"/>
                    <a:gd name="T3" fmla="*/ 96 h 449"/>
                    <a:gd name="T4" fmla="*/ 288 w 1087"/>
                    <a:gd name="T5" fmla="*/ 138 h 449"/>
                    <a:gd name="T6" fmla="*/ 262 w 1087"/>
                    <a:gd name="T7" fmla="*/ 138 h 449"/>
                    <a:gd name="T8" fmla="*/ 270 w 1087"/>
                    <a:gd name="T9" fmla="*/ 168 h 449"/>
                    <a:gd name="T10" fmla="*/ 112 w 1087"/>
                    <a:gd name="T11" fmla="*/ 190 h 449"/>
                    <a:gd name="T12" fmla="*/ 90 w 1087"/>
                    <a:gd name="T13" fmla="*/ 194 h 449"/>
                    <a:gd name="T14" fmla="*/ 90 w 1087"/>
                    <a:gd name="T15" fmla="*/ 194 h 449"/>
                    <a:gd name="T16" fmla="*/ 84 w 1087"/>
                    <a:gd name="T17" fmla="*/ 202 h 449"/>
                    <a:gd name="T18" fmla="*/ 80 w 1087"/>
                    <a:gd name="T19" fmla="*/ 200 h 449"/>
                    <a:gd name="T20" fmla="*/ 80 w 1087"/>
                    <a:gd name="T21" fmla="*/ 194 h 449"/>
                    <a:gd name="T22" fmla="*/ 80 w 1087"/>
                    <a:gd name="T23" fmla="*/ 194 h 449"/>
                    <a:gd name="T24" fmla="*/ 72 w 1087"/>
                    <a:gd name="T25" fmla="*/ 194 h 449"/>
                    <a:gd name="T26" fmla="*/ 72 w 1087"/>
                    <a:gd name="T27" fmla="*/ 196 h 449"/>
                    <a:gd name="T28" fmla="*/ 78 w 1087"/>
                    <a:gd name="T29" fmla="*/ 218 h 449"/>
                    <a:gd name="T30" fmla="*/ 62 w 1087"/>
                    <a:gd name="T31" fmla="*/ 236 h 449"/>
                    <a:gd name="T32" fmla="*/ 60 w 1087"/>
                    <a:gd name="T33" fmla="*/ 272 h 449"/>
                    <a:gd name="T34" fmla="*/ 60 w 1087"/>
                    <a:gd name="T35" fmla="*/ 278 h 449"/>
                    <a:gd name="T36" fmla="*/ 60 w 1087"/>
                    <a:gd name="T37" fmla="*/ 280 h 449"/>
                    <a:gd name="T38" fmla="*/ 38 w 1087"/>
                    <a:gd name="T39" fmla="*/ 325 h 449"/>
                    <a:gd name="T40" fmla="*/ 42 w 1087"/>
                    <a:gd name="T41" fmla="*/ 357 h 449"/>
                    <a:gd name="T42" fmla="*/ 20 w 1087"/>
                    <a:gd name="T43" fmla="*/ 391 h 449"/>
                    <a:gd name="T44" fmla="*/ 28 w 1087"/>
                    <a:gd name="T45" fmla="*/ 423 h 449"/>
                    <a:gd name="T46" fmla="*/ 0 w 1087"/>
                    <a:gd name="T47" fmla="*/ 447 h 449"/>
                    <a:gd name="T48" fmla="*/ 2 w 1087"/>
                    <a:gd name="T49" fmla="*/ 449 h 449"/>
                    <a:gd name="T50" fmla="*/ 18 w 1087"/>
                    <a:gd name="T51" fmla="*/ 447 h 449"/>
                    <a:gd name="T52" fmla="*/ 174 w 1087"/>
                    <a:gd name="T53" fmla="*/ 429 h 449"/>
                    <a:gd name="T54" fmla="*/ 242 w 1087"/>
                    <a:gd name="T55" fmla="*/ 419 h 449"/>
                    <a:gd name="T56" fmla="*/ 280 w 1087"/>
                    <a:gd name="T57" fmla="*/ 413 h 449"/>
                    <a:gd name="T58" fmla="*/ 282 w 1087"/>
                    <a:gd name="T59" fmla="*/ 413 h 449"/>
                    <a:gd name="T60" fmla="*/ 282 w 1087"/>
                    <a:gd name="T61" fmla="*/ 413 h 449"/>
                    <a:gd name="T62" fmla="*/ 412 w 1087"/>
                    <a:gd name="T63" fmla="*/ 395 h 449"/>
                    <a:gd name="T64" fmla="*/ 474 w 1087"/>
                    <a:gd name="T65" fmla="*/ 387 h 449"/>
                    <a:gd name="T66" fmla="*/ 598 w 1087"/>
                    <a:gd name="T67" fmla="*/ 367 h 449"/>
                    <a:gd name="T68" fmla="*/ 623 w 1087"/>
                    <a:gd name="T69" fmla="*/ 363 h 449"/>
                    <a:gd name="T70" fmla="*/ 637 w 1087"/>
                    <a:gd name="T71" fmla="*/ 361 h 449"/>
                    <a:gd name="T72" fmla="*/ 703 w 1087"/>
                    <a:gd name="T73" fmla="*/ 349 h 449"/>
                    <a:gd name="T74" fmla="*/ 719 w 1087"/>
                    <a:gd name="T75" fmla="*/ 345 h 449"/>
                    <a:gd name="T76" fmla="*/ 779 w 1087"/>
                    <a:gd name="T77" fmla="*/ 333 h 449"/>
                    <a:gd name="T78" fmla="*/ 791 w 1087"/>
                    <a:gd name="T79" fmla="*/ 333 h 449"/>
                    <a:gd name="T80" fmla="*/ 791 w 1087"/>
                    <a:gd name="T81" fmla="*/ 325 h 449"/>
                    <a:gd name="T82" fmla="*/ 789 w 1087"/>
                    <a:gd name="T83" fmla="*/ 291 h 449"/>
                    <a:gd name="T84" fmla="*/ 819 w 1087"/>
                    <a:gd name="T85" fmla="*/ 274 h 449"/>
                    <a:gd name="T86" fmla="*/ 821 w 1087"/>
                    <a:gd name="T87" fmla="*/ 254 h 449"/>
                    <a:gd name="T88" fmla="*/ 853 w 1087"/>
                    <a:gd name="T89" fmla="*/ 224 h 449"/>
                    <a:gd name="T90" fmla="*/ 883 w 1087"/>
                    <a:gd name="T91" fmla="*/ 216 h 449"/>
                    <a:gd name="T92" fmla="*/ 947 w 1087"/>
                    <a:gd name="T93" fmla="*/ 158 h 449"/>
                    <a:gd name="T94" fmla="*/ 971 w 1087"/>
                    <a:gd name="T95" fmla="*/ 122 h 449"/>
                    <a:gd name="T96" fmla="*/ 991 w 1087"/>
                    <a:gd name="T97" fmla="*/ 130 h 449"/>
                    <a:gd name="T98" fmla="*/ 1033 w 1087"/>
                    <a:gd name="T99" fmla="*/ 88 h 449"/>
                    <a:gd name="T100" fmla="*/ 1055 w 1087"/>
                    <a:gd name="T101" fmla="*/ 86 h 449"/>
                    <a:gd name="T102" fmla="*/ 1075 w 1087"/>
                    <a:gd name="T103" fmla="*/ 44 h 449"/>
                    <a:gd name="T104" fmla="*/ 1083 w 1087"/>
                    <a:gd name="T105" fmla="*/ 46 h 449"/>
                    <a:gd name="T106" fmla="*/ 1083 w 1087"/>
                    <a:gd name="T107" fmla="*/ 12 h 449"/>
                    <a:gd name="T108" fmla="*/ 1087 w 1087"/>
                    <a:gd name="T109" fmla="*/ 0 h 449"/>
                    <a:gd name="T110" fmla="*/ 1073 w 1087"/>
                    <a:gd name="T111" fmla="*/ 2 h 449"/>
                    <a:gd name="T112" fmla="*/ 1029 w 1087"/>
                    <a:gd name="T113" fmla="*/ 16 h 449"/>
                    <a:gd name="T114" fmla="*/ 977 w 1087"/>
                    <a:gd name="T115" fmla="*/ 26 h 449"/>
                    <a:gd name="T116" fmla="*/ 845 w 1087"/>
                    <a:gd name="T117" fmla="*/ 54 h 449"/>
                    <a:gd name="T118" fmla="*/ 831 w 1087"/>
                    <a:gd name="T119" fmla="*/ 56 h 449"/>
                    <a:gd name="T120" fmla="*/ 827 w 1087"/>
                    <a:gd name="T121" fmla="*/ 58 h 449"/>
                    <a:gd name="T122" fmla="*/ 827 w 1087"/>
                    <a:gd name="T123" fmla="*/ 58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 h="449">
                      <a:moveTo>
                        <a:pt x="827" y="58"/>
                      </a:moveTo>
                      <a:lnTo>
                        <a:pt x="604" y="96"/>
                      </a:lnTo>
                      <a:lnTo>
                        <a:pt x="288" y="138"/>
                      </a:lnTo>
                      <a:lnTo>
                        <a:pt x="262" y="138"/>
                      </a:lnTo>
                      <a:lnTo>
                        <a:pt x="270" y="168"/>
                      </a:lnTo>
                      <a:lnTo>
                        <a:pt x="112" y="190"/>
                      </a:lnTo>
                      <a:lnTo>
                        <a:pt x="90" y="194"/>
                      </a:lnTo>
                      <a:lnTo>
                        <a:pt x="90" y="194"/>
                      </a:lnTo>
                      <a:lnTo>
                        <a:pt x="84" y="202"/>
                      </a:lnTo>
                      <a:lnTo>
                        <a:pt x="80" y="200"/>
                      </a:lnTo>
                      <a:lnTo>
                        <a:pt x="80" y="194"/>
                      </a:lnTo>
                      <a:lnTo>
                        <a:pt x="80" y="194"/>
                      </a:lnTo>
                      <a:lnTo>
                        <a:pt x="72" y="194"/>
                      </a:lnTo>
                      <a:lnTo>
                        <a:pt x="72" y="196"/>
                      </a:lnTo>
                      <a:lnTo>
                        <a:pt x="78" y="218"/>
                      </a:lnTo>
                      <a:lnTo>
                        <a:pt x="62" y="236"/>
                      </a:lnTo>
                      <a:lnTo>
                        <a:pt x="60" y="272"/>
                      </a:lnTo>
                      <a:lnTo>
                        <a:pt x="60" y="278"/>
                      </a:lnTo>
                      <a:lnTo>
                        <a:pt x="60" y="280"/>
                      </a:lnTo>
                      <a:lnTo>
                        <a:pt x="38" y="325"/>
                      </a:lnTo>
                      <a:lnTo>
                        <a:pt x="42" y="357"/>
                      </a:lnTo>
                      <a:lnTo>
                        <a:pt x="20" y="391"/>
                      </a:lnTo>
                      <a:lnTo>
                        <a:pt x="28" y="423"/>
                      </a:lnTo>
                      <a:lnTo>
                        <a:pt x="0" y="447"/>
                      </a:lnTo>
                      <a:lnTo>
                        <a:pt x="2" y="449"/>
                      </a:lnTo>
                      <a:lnTo>
                        <a:pt x="18" y="447"/>
                      </a:lnTo>
                      <a:lnTo>
                        <a:pt x="174" y="429"/>
                      </a:lnTo>
                      <a:lnTo>
                        <a:pt x="242" y="419"/>
                      </a:lnTo>
                      <a:lnTo>
                        <a:pt x="280" y="413"/>
                      </a:lnTo>
                      <a:lnTo>
                        <a:pt x="282" y="413"/>
                      </a:lnTo>
                      <a:lnTo>
                        <a:pt x="282" y="413"/>
                      </a:lnTo>
                      <a:lnTo>
                        <a:pt x="412" y="395"/>
                      </a:lnTo>
                      <a:lnTo>
                        <a:pt x="474" y="387"/>
                      </a:lnTo>
                      <a:lnTo>
                        <a:pt x="598" y="367"/>
                      </a:lnTo>
                      <a:lnTo>
                        <a:pt x="623" y="363"/>
                      </a:lnTo>
                      <a:lnTo>
                        <a:pt x="637" y="361"/>
                      </a:lnTo>
                      <a:lnTo>
                        <a:pt x="703" y="349"/>
                      </a:lnTo>
                      <a:lnTo>
                        <a:pt x="719" y="345"/>
                      </a:lnTo>
                      <a:lnTo>
                        <a:pt x="779" y="333"/>
                      </a:lnTo>
                      <a:lnTo>
                        <a:pt x="791" y="333"/>
                      </a:lnTo>
                      <a:lnTo>
                        <a:pt x="791" y="325"/>
                      </a:lnTo>
                      <a:lnTo>
                        <a:pt x="789" y="291"/>
                      </a:lnTo>
                      <a:lnTo>
                        <a:pt x="819" y="274"/>
                      </a:lnTo>
                      <a:lnTo>
                        <a:pt x="821" y="254"/>
                      </a:lnTo>
                      <a:lnTo>
                        <a:pt x="853" y="224"/>
                      </a:lnTo>
                      <a:lnTo>
                        <a:pt x="883" y="216"/>
                      </a:lnTo>
                      <a:lnTo>
                        <a:pt x="947" y="158"/>
                      </a:lnTo>
                      <a:lnTo>
                        <a:pt x="971" y="122"/>
                      </a:lnTo>
                      <a:lnTo>
                        <a:pt x="991" y="130"/>
                      </a:lnTo>
                      <a:lnTo>
                        <a:pt x="1033" y="88"/>
                      </a:lnTo>
                      <a:lnTo>
                        <a:pt x="1055" y="86"/>
                      </a:lnTo>
                      <a:lnTo>
                        <a:pt x="1075" y="44"/>
                      </a:lnTo>
                      <a:lnTo>
                        <a:pt x="1083" y="46"/>
                      </a:lnTo>
                      <a:lnTo>
                        <a:pt x="1083" y="12"/>
                      </a:lnTo>
                      <a:lnTo>
                        <a:pt x="1087" y="0"/>
                      </a:lnTo>
                      <a:lnTo>
                        <a:pt x="1073" y="2"/>
                      </a:lnTo>
                      <a:lnTo>
                        <a:pt x="1029" y="16"/>
                      </a:lnTo>
                      <a:lnTo>
                        <a:pt x="977" y="26"/>
                      </a:lnTo>
                      <a:lnTo>
                        <a:pt x="845" y="54"/>
                      </a:lnTo>
                      <a:lnTo>
                        <a:pt x="831" y="56"/>
                      </a:lnTo>
                      <a:lnTo>
                        <a:pt x="827" y="58"/>
                      </a:lnTo>
                      <a:lnTo>
                        <a:pt x="827" y="58"/>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1" name="Virginia" descr="{&quot;Key&quot;:&quot;virginia&quot;,&quot;Name&quot;:&quot;Virginia&quot;,&quot;Value&quot;:1.0,&quot;Formula&quot;:&quot;&quot;,&quot;Text&quot;:&quot;&quot;,&quot;OfficeApplication&quot;:1,&quot;HasValue&quot;:true}">
                  <a:extLst>
                    <a:ext uri="{FF2B5EF4-FFF2-40B4-BE49-F238E27FC236}">
                      <a16:creationId xmlns:a16="http://schemas.microsoft.com/office/drawing/2014/main" id="{FCDF56EC-3C1A-4773-9277-24EDA29C3DED}"/>
                    </a:ext>
                  </a:extLst>
                </p:cNvPr>
                <p:cNvSpPr>
                  <a:spLocks noEditPoints="1"/>
                </p:cNvSpPr>
                <p:nvPr/>
              </p:nvSpPr>
              <p:spPr bwMode="auto">
                <a:xfrm>
                  <a:off x="9161462" y="3240087"/>
                  <a:ext cx="1584324" cy="969963"/>
                </a:xfrm>
                <a:custGeom>
                  <a:avLst/>
                  <a:gdLst>
                    <a:gd name="T0" fmla="*/ 980 w 998"/>
                    <a:gd name="T1" fmla="*/ 377 h 611"/>
                    <a:gd name="T2" fmla="*/ 976 w 998"/>
                    <a:gd name="T3" fmla="*/ 377 h 611"/>
                    <a:gd name="T4" fmla="*/ 950 w 998"/>
                    <a:gd name="T5" fmla="*/ 289 h 611"/>
                    <a:gd name="T6" fmla="*/ 950 w 998"/>
                    <a:gd name="T7" fmla="*/ 289 h 611"/>
                    <a:gd name="T8" fmla="*/ 962 w 998"/>
                    <a:gd name="T9" fmla="*/ 257 h 611"/>
                    <a:gd name="T10" fmla="*/ 958 w 998"/>
                    <a:gd name="T11" fmla="*/ 283 h 611"/>
                    <a:gd name="T12" fmla="*/ 958 w 998"/>
                    <a:gd name="T13" fmla="*/ 273 h 611"/>
                    <a:gd name="T14" fmla="*/ 966 w 998"/>
                    <a:gd name="T15" fmla="*/ 251 h 611"/>
                    <a:gd name="T16" fmla="*/ 970 w 998"/>
                    <a:gd name="T17" fmla="*/ 231 h 611"/>
                    <a:gd name="T18" fmla="*/ 970 w 998"/>
                    <a:gd name="T19" fmla="*/ 231 h 611"/>
                    <a:gd name="T20" fmla="*/ 970 w 998"/>
                    <a:gd name="T21" fmla="*/ 207 h 611"/>
                    <a:gd name="T22" fmla="*/ 986 w 998"/>
                    <a:gd name="T23" fmla="*/ 143 h 611"/>
                    <a:gd name="T24" fmla="*/ 986 w 998"/>
                    <a:gd name="T25" fmla="*/ 143 h 611"/>
                    <a:gd name="T26" fmla="*/ 972 w 998"/>
                    <a:gd name="T27" fmla="*/ 128 h 611"/>
                    <a:gd name="T28" fmla="*/ 954 w 998"/>
                    <a:gd name="T29" fmla="*/ 143 h 611"/>
                    <a:gd name="T30" fmla="*/ 952 w 998"/>
                    <a:gd name="T31" fmla="*/ 229 h 611"/>
                    <a:gd name="T32" fmla="*/ 982 w 998"/>
                    <a:gd name="T33" fmla="*/ 124 h 611"/>
                    <a:gd name="T34" fmla="*/ 996 w 998"/>
                    <a:gd name="T35" fmla="*/ 118 h 611"/>
                    <a:gd name="T36" fmla="*/ 994 w 998"/>
                    <a:gd name="T37" fmla="*/ 137 h 611"/>
                    <a:gd name="T38" fmla="*/ 186 w 998"/>
                    <a:gd name="T39" fmla="*/ 415 h 611"/>
                    <a:gd name="T40" fmla="*/ 114 w 998"/>
                    <a:gd name="T41" fmla="*/ 495 h 611"/>
                    <a:gd name="T42" fmla="*/ 4 w 998"/>
                    <a:gd name="T43" fmla="*/ 605 h 611"/>
                    <a:gd name="T44" fmla="*/ 146 w 998"/>
                    <a:gd name="T45" fmla="*/ 581 h 611"/>
                    <a:gd name="T46" fmla="*/ 256 w 998"/>
                    <a:gd name="T47" fmla="*/ 555 h 611"/>
                    <a:gd name="T48" fmla="*/ 654 w 998"/>
                    <a:gd name="T49" fmla="*/ 469 h 611"/>
                    <a:gd name="T50" fmla="*/ 962 w 998"/>
                    <a:gd name="T51" fmla="*/ 377 h 611"/>
                    <a:gd name="T52" fmla="*/ 968 w 998"/>
                    <a:gd name="T53" fmla="*/ 379 h 611"/>
                    <a:gd name="T54" fmla="*/ 972 w 998"/>
                    <a:gd name="T55" fmla="*/ 377 h 611"/>
                    <a:gd name="T56" fmla="*/ 984 w 998"/>
                    <a:gd name="T57" fmla="*/ 375 h 611"/>
                    <a:gd name="T58" fmla="*/ 986 w 998"/>
                    <a:gd name="T59" fmla="*/ 375 h 611"/>
                    <a:gd name="T60" fmla="*/ 952 w 998"/>
                    <a:gd name="T61" fmla="*/ 319 h 611"/>
                    <a:gd name="T62" fmla="*/ 878 w 998"/>
                    <a:gd name="T63" fmla="*/ 325 h 611"/>
                    <a:gd name="T64" fmla="*/ 858 w 998"/>
                    <a:gd name="T65" fmla="*/ 297 h 611"/>
                    <a:gd name="T66" fmla="*/ 878 w 998"/>
                    <a:gd name="T67" fmla="*/ 263 h 611"/>
                    <a:gd name="T68" fmla="*/ 860 w 998"/>
                    <a:gd name="T69" fmla="*/ 231 h 611"/>
                    <a:gd name="T70" fmla="*/ 880 w 998"/>
                    <a:gd name="T71" fmla="*/ 221 h 611"/>
                    <a:gd name="T72" fmla="*/ 828 w 998"/>
                    <a:gd name="T73" fmla="*/ 155 h 611"/>
                    <a:gd name="T74" fmla="*/ 740 w 998"/>
                    <a:gd name="T75" fmla="*/ 143 h 611"/>
                    <a:gd name="T76" fmla="*/ 740 w 998"/>
                    <a:gd name="T77" fmla="*/ 46 h 611"/>
                    <a:gd name="T78" fmla="*/ 736 w 998"/>
                    <a:gd name="T79" fmla="*/ 44 h 611"/>
                    <a:gd name="T80" fmla="*/ 704 w 998"/>
                    <a:gd name="T81" fmla="*/ 28 h 611"/>
                    <a:gd name="T82" fmla="*/ 640 w 998"/>
                    <a:gd name="T83" fmla="*/ 0 h 611"/>
                    <a:gd name="T84" fmla="*/ 564 w 998"/>
                    <a:gd name="T85" fmla="*/ 2 h 611"/>
                    <a:gd name="T86" fmla="*/ 502 w 998"/>
                    <a:gd name="T87" fmla="*/ 149 h 611"/>
                    <a:gd name="T88" fmla="*/ 416 w 998"/>
                    <a:gd name="T89" fmla="*/ 285 h 611"/>
                    <a:gd name="T90" fmla="*/ 380 w 998"/>
                    <a:gd name="T91" fmla="*/ 389 h 611"/>
                    <a:gd name="T92" fmla="*/ 264 w 998"/>
                    <a:gd name="T93" fmla="*/ 441 h 611"/>
                    <a:gd name="T94" fmla="*/ 188 w 998"/>
                    <a:gd name="T95" fmla="*/ 417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98" h="611">
                      <a:moveTo>
                        <a:pt x="976" y="377"/>
                      </a:moveTo>
                      <a:lnTo>
                        <a:pt x="978" y="377"/>
                      </a:lnTo>
                      <a:lnTo>
                        <a:pt x="980" y="377"/>
                      </a:lnTo>
                      <a:lnTo>
                        <a:pt x="980" y="377"/>
                      </a:lnTo>
                      <a:lnTo>
                        <a:pt x="980" y="373"/>
                      </a:lnTo>
                      <a:lnTo>
                        <a:pt x="976" y="377"/>
                      </a:lnTo>
                      <a:lnTo>
                        <a:pt x="976" y="377"/>
                      </a:lnTo>
                      <a:lnTo>
                        <a:pt x="976" y="377"/>
                      </a:lnTo>
                      <a:close/>
                      <a:moveTo>
                        <a:pt x="950" y="289"/>
                      </a:moveTo>
                      <a:lnTo>
                        <a:pt x="950" y="293"/>
                      </a:lnTo>
                      <a:lnTo>
                        <a:pt x="954" y="291"/>
                      </a:lnTo>
                      <a:lnTo>
                        <a:pt x="950" y="289"/>
                      </a:lnTo>
                      <a:close/>
                      <a:moveTo>
                        <a:pt x="964" y="263"/>
                      </a:moveTo>
                      <a:lnTo>
                        <a:pt x="962" y="257"/>
                      </a:lnTo>
                      <a:lnTo>
                        <a:pt x="962" y="257"/>
                      </a:lnTo>
                      <a:lnTo>
                        <a:pt x="964" y="263"/>
                      </a:lnTo>
                      <a:close/>
                      <a:moveTo>
                        <a:pt x="958" y="273"/>
                      </a:moveTo>
                      <a:lnTo>
                        <a:pt x="958" y="283"/>
                      </a:lnTo>
                      <a:lnTo>
                        <a:pt x="956" y="287"/>
                      </a:lnTo>
                      <a:lnTo>
                        <a:pt x="958" y="273"/>
                      </a:lnTo>
                      <a:lnTo>
                        <a:pt x="958" y="273"/>
                      </a:lnTo>
                      <a:close/>
                      <a:moveTo>
                        <a:pt x="966" y="251"/>
                      </a:moveTo>
                      <a:lnTo>
                        <a:pt x="966" y="247"/>
                      </a:lnTo>
                      <a:lnTo>
                        <a:pt x="966" y="251"/>
                      </a:lnTo>
                      <a:lnTo>
                        <a:pt x="966" y="251"/>
                      </a:lnTo>
                      <a:lnTo>
                        <a:pt x="966" y="251"/>
                      </a:lnTo>
                      <a:close/>
                      <a:moveTo>
                        <a:pt x="970" y="231"/>
                      </a:moveTo>
                      <a:lnTo>
                        <a:pt x="972" y="225"/>
                      </a:lnTo>
                      <a:lnTo>
                        <a:pt x="970" y="239"/>
                      </a:lnTo>
                      <a:lnTo>
                        <a:pt x="970" y="231"/>
                      </a:lnTo>
                      <a:close/>
                      <a:moveTo>
                        <a:pt x="972" y="219"/>
                      </a:moveTo>
                      <a:lnTo>
                        <a:pt x="974" y="203"/>
                      </a:lnTo>
                      <a:lnTo>
                        <a:pt x="970" y="207"/>
                      </a:lnTo>
                      <a:lnTo>
                        <a:pt x="972" y="219"/>
                      </a:lnTo>
                      <a:lnTo>
                        <a:pt x="972" y="219"/>
                      </a:lnTo>
                      <a:close/>
                      <a:moveTo>
                        <a:pt x="986" y="143"/>
                      </a:moveTo>
                      <a:lnTo>
                        <a:pt x="986" y="135"/>
                      </a:lnTo>
                      <a:lnTo>
                        <a:pt x="986" y="137"/>
                      </a:lnTo>
                      <a:lnTo>
                        <a:pt x="986" y="143"/>
                      </a:lnTo>
                      <a:lnTo>
                        <a:pt x="986" y="143"/>
                      </a:lnTo>
                      <a:close/>
                      <a:moveTo>
                        <a:pt x="982" y="124"/>
                      </a:moveTo>
                      <a:lnTo>
                        <a:pt x="972" y="128"/>
                      </a:lnTo>
                      <a:lnTo>
                        <a:pt x="956" y="135"/>
                      </a:lnTo>
                      <a:lnTo>
                        <a:pt x="952" y="143"/>
                      </a:lnTo>
                      <a:lnTo>
                        <a:pt x="954" y="143"/>
                      </a:lnTo>
                      <a:lnTo>
                        <a:pt x="934" y="259"/>
                      </a:lnTo>
                      <a:lnTo>
                        <a:pt x="942" y="277"/>
                      </a:lnTo>
                      <a:lnTo>
                        <a:pt x="952" y="229"/>
                      </a:lnTo>
                      <a:lnTo>
                        <a:pt x="972" y="167"/>
                      </a:lnTo>
                      <a:lnTo>
                        <a:pt x="982" y="124"/>
                      </a:lnTo>
                      <a:lnTo>
                        <a:pt x="982" y="124"/>
                      </a:lnTo>
                      <a:lnTo>
                        <a:pt x="982" y="124"/>
                      </a:lnTo>
                      <a:close/>
                      <a:moveTo>
                        <a:pt x="998" y="118"/>
                      </a:moveTo>
                      <a:lnTo>
                        <a:pt x="996" y="118"/>
                      </a:lnTo>
                      <a:lnTo>
                        <a:pt x="994" y="122"/>
                      </a:lnTo>
                      <a:lnTo>
                        <a:pt x="990" y="147"/>
                      </a:lnTo>
                      <a:lnTo>
                        <a:pt x="994" y="137"/>
                      </a:lnTo>
                      <a:lnTo>
                        <a:pt x="998" y="118"/>
                      </a:lnTo>
                      <a:lnTo>
                        <a:pt x="998" y="118"/>
                      </a:lnTo>
                      <a:close/>
                      <a:moveTo>
                        <a:pt x="186" y="415"/>
                      </a:moveTo>
                      <a:lnTo>
                        <a:pt x="180" y="423"/>
                      </a:lnTo>
                      <a:lnTo>
                        <a:pt x="144" y="471"/>
                      </a:lnTo>
                      <a:lnTo>
                        <a:pt x="114" y="495"/>
                      </a:lnTo>
                      <a:lnTo>
                        <a:pt x="108" y="515"/>
                      </a:lnTo>
                      <a:lnTo>
                        <a:pt x="62" y="573"/>
                      </a:lnTo>
                      <a:lnTo>
                        <a:pt x="4" y="605"/>
                      </a:lnTo>
                      <a:lnTo>
                        <a:pt x="0" y="611"/>
                      </a:lnTo>
                      <a:lnTo>
                        <a:pt x="14" y="609"/>
                      </a:lnTo>
                      <a:lnTo>
                        <a:pt x="146" y="581"/>
                      </a:lnTo>
                      <a:lnTo>
                        <a:pt x="198" y="571"/>
                      </a:lnTo>
                      <a:lnTo>
                        <a:pt x="242" y="557"/>
                      </a:lnTo>
                      <a:lnTo>
                        <a:pt x="256" y="555"/>
                      </a:lnTo>
                      <a:lnTo>
                        <a:pt x="256" y="557"/>
                      </a:lnTo>
                      <a:lnTo>
                        <a:pt x="456" y="519"/>
                      </a:lnTo>
                      <a:lnTo>
                        <a:pt x="654" y="469"/>
                      </a:lnTo>
                      <a:lnTo>
                        <a:pt x="966" y="381"/>
                      </a:lnTo>
                      <a:lnTo>
                        <a:pt x="966" y="381"/>
                      </a:lnTo>
                      <a:lnTo>
                        <a:pt x="962" y="377"/>
                      </a:lnTo>
                      <a:lnTo>
                        <a:pt x="962" y="375"/>
                      </a:lnTo>
                      <a:lnTo>
                        <a:pt x="968" y="379"/>
                      </a:lnTo>
                      <a:lnTo>
                        <a:pt x="968" y="379"/>
                      </a:lnTo>
                      <a:lnTo>
                        <a:pt x="968" y="379"/>
                      </a:lnTo>
                      <a:lnTo>
                        <a:pt x="974" y="379"/>
                      </a:lnTo>
                      <a:lnTo>
                        <a:pt x="972" y="377"/>
                      </a:lnTo>
                      <a:lnTo>
                        <a:pt x="968" y="351"/>
                      </a:lnTo>
                      <a:lnTo>
                        <a:pt x="972" y="353"/>
                      </a:lnTo>
                      <a:lnTo>
                        <a:pt x="984" y="375"/>
                      </a:lnTo>
                      <a:lnTo>
                        <a:pt x="984" y="375"/>
                      </a:lnTo>
                      <a:lnTo>
                        <a:pt x="984" y="375"/>
                      </a:lnTo>
                      <a:lnTo>
                        <a:pt x="986" y="375"/>
                      </a:lnTo>
                      <a:lnTo>
                        <a:pt x="988" y="373"/>
                      </a:lnTo>
                      <a:lnTo>
                        <a:pt x="984" y="367"/>
                      </a:lnTo>
                      <a:lnTo>
                        <a:pt x="952" y="319"/>
                      </a:lnTo>
                      <a:lnTo>
                        <a:pt x="914" y="325"/>
                      </a:lnTo>
                      <a:lnTo>
                        <a:pt x="896" y="341"/>
                      </a:lnTo>
                      <a:lnTo>
                        <a:pt x="878" y="325"/>
                      </a:lnTo>
                      <a:lnTo>
                        <a:pt x="820" y="305"/>
                      </a:lnTo>
                      <a:lnTo>
                        <a:pt x="780" y="303"/>
                      </a:lnTo>
                      <a:lnTo>
                        <a:pt x="858" y="297"/>
                      </a:lnTo>
                      <a:lnTo>
                        <a:pt x="902" y="327"/>
                      </a:lnTo>
                      <a:lnTo>
                        <a:pt x="914" y="307"/>
                      </a:lnTo>
                      <a:lnTo>
                        <a:pt x="878" y="263"/>
                      </a:lnTo>
                      <a:lnTo>
                        <a:pt x="904" y="265"/>
                      </a:lnTo>
                      <a:lnTo>
                        <a:pt x="890" y="229"/>
                      </a:lnTo>
                      <a:lnTo>
                        <a:pt x="860" y="231"/>
                      </a:lnTo>
                      <a:lnTo>
                        <a:pt x="786" y="171"/>
                      </a:lnTo>
                      <a:lnTo>
                        <a:pt x="776" y="171"/>
                      </a:lnTo>
                      <a:lnTo>
                        <a:pt x="880" y="221"/>
                      </a:lnTo>
                      <a:lnTo>
                        <a:pt x="874" y="185"/>
                      </a:lnTo>
                      <a:lnTo>
                        <a:pt x="880" y="175"/>
                      </a:lnTo>
                      <a:lnTo>
                        <a:pt x="828" y="155"/>
                      </a:lnTo>
                      <a:lnTo>
                        <a:pt x="782" y="151"/>
                      </a:lnTo>
                      <a:lnTo>
                        <a:pt x="760" y="130"/>
                      </a:lnTo>
                      <a:lnTo>
                        <a:pt x="740" y="143"/>
                      </a:lnTo>
                      <a:lnTo>
                        <a:pt x="734" y="88"/>
                      </a:lnTo>
                      <a:lnTo>
                        <a:pt x="742" y="90"/>
                      </a:lnTo>
                      <a:lnTo>
                        <a:pt x="740" y="46"/>
                      </a:lnTo>
                      <a:lnTo>
                        <a:pt x="738" y="44"/>
                      </a:lnTo>
                      <a:lnTo>
                        <a:pt x="736" y="46"/>
                      </a:lnTo>
                      <a:lnTo>
                        <a:pt x="736" y="44"/>
                      </a:lnTo>
                      <a:lnTo>
                        <a:pt x="732" y="42"/>
                      </a:lnTo>
                      <a:lnTo>
                        <a:pt x="730" y="38"/>
                      </a:lnTo>
                      <a:lnTo>
                        <a:pt x="704" y="28"/>
                      </a:lnTo>
                      <a:lnTo>
                        <a:pt x="678" y="10"/>
                      </a:lnTo>
                      <a:lnTo>
                        <a:pt x="642" y="0"/>
                      </a:lnTo>
                      <a:lnTo>
                        <a:pt x="640" y="0"/>
                      </a:lnTo>
                      <a:lnTo>
                        <a:pt x="640" y="0"/>
                      </a:lnTo>
                      <a:lnTo>
                        <a:pt x="636" y="32"/>
                      </a:lnTo>
                      <a:lnTo>
                        <a:pt x="564" y="2"/>
                      </a:lnTo>
                      <a:lnTo>
                        <a:pt x="566" y="46"/>
                      </a:lnTo>
                      <a:lnTo>
                        <a:pt x="526" y="122"/>
                      </a:lnTo>
                      <a:lnTo>
                        <a:pt x="502" y="149"/>
                      </a:lnTo>
                      <a:lnTo>
                        <a:pt x="486" y="195"/>
                      </a:lnTo>
                      <a:lnTo>
                        <a:pt x="438" y="179"/>
                      </a:lnTo>
                      <a:lnTo>
                        <a:pt x="416" y="285"/>
                      </a:lnTo>
                      <a:lnTo>
                        <a:pt x="396" y="321"/>
                      </a:lnTo>
                      <a:lnTo>
                        <a:pt x="394" y="367"/>
                      </a:lnTo>
                      <a:lnTo>
                        <a:pt x="380" y="389"/>
                      </a:lnTo>
                      <a:lnTo>
                        <a:pt x="328" y="405"/>
                      </a:lnTo>
                      <a:lnTo>
                        <a:pt x="284" y="439"/>
                      </a:lnTo>
                      <a:lnTo>
                        <a:pt x="264" y="441"/>
                      </a:lnTo>
                      <a:lnTo>
                        <a:pt x="246" y="459"/>
                      </a:lnTo>
                      <a:lnTo>
                        <a:pt x="196" y="441"/>
                      </a:lnTo>
                      <a:lnTo>
                        <a:pt x="188" y="417"/>
                      </a:lnTo>
                      <a:lnTo>
                        <a:pt x="186" y="415"/>
                      </a:lnTo>
                      <a:lnTo>
                        <a:pt x="186" y="415"/>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2" name="Wisconsin" descr="{&quot;Key&quot;:&quot;wisconsin&quot;,&quot;Name&quot;:&quot;Wisconsin&quot;,&quot;Value&quot;:1.0,&quot;Formula&quot;:&quot;&quot;,&quot;Text&quot;:&quot;&quot;,&quot;OfficeApplication&quot;:1,&quot;HasValue&quot;:true}">
                  <a:extLst>
                    <a:ext uri="{FF2B5EF4-FFF2-40B4-BE49-F238E27FC236}">
                      <a16:creationId xmlns:a16="http://schemas.microsoft.com/office/drawing/2014/main" id="{734A34BE-2AF4-4D39-BEA4-A04D342AB641}"/>
                    </a:ext>
                  </a:extLst>
                </p:cNvPr>
                <p:cNvSpPr>
                  <a:spLocks noEditPoints="1"/>
                </p:cNvSpPr>
                <p:nvPr/>
              </p:nvSpPr>
              <p:spPr bwMode="auto">
                <a:xfrm>
                  <a:off x="7073900" y="1733552"/>
                  <a:ext cx="1057274" cy="1179512"/>
                </a:xfrm>
                <a:custGeom>
                  <a:avLst/>
                  <a:gdLst>
                    <a:gd name="T0" fmla="*/ 646 w 666"/>
                    <a:gd name="T1" fmla="*/ 258 h 743"/>
                    <a:gd name="T2" fmla="*/ 640 w 666"/>
                    <a:gd name="T3" fmla="*/ 312 h 743"/>
                    <a:gd name="T4" fmla="*/ 220 w 666"/>
                    <a:gd name="T5" fmla="*/ 52 h 743"/>
                    <a:gd name="T6" fmla="*/ 224 w 666"/>
                    <a:gd name="T7" fmla="*/ 44 h 743"/>
                    <a:gd name="T8" fmla="*/ 238 w 666"/>
                    <a:gd name="T9" fmla="*/ 26 h 743"/>
                    <a:gd name="T10" fmla="*/ 226 w 666"/>
                    <a:gd name="T11" fmla="*/ 28 h 743"/>
                    <a:gd name="T12" fmla="*/ 238 w 666"/>
                    <a:gd name="T13" fmla="*/ 26 h 743"/>
                    <a:gd name="T14" fmla="*/ 52 w 666"/>
                    <a:gd name="T15" fmla="*/ 90 h 743"/>
                    <a:gd name="T16" fmla="*/ 10 w 666"/>
                    <a:gd name="T17" fmla="*/ 228 h 743"/>
                    <a:gd name="T18" fmla="*/ 28 w 666"/>
                    <a:gd name="T19" fmla="*/ 296 h 743"/>
                    <a:gd name="T20" fmla="*/ 50 w 666"/>
                    <a:gd name="T21" fmla="*/ 427 h 743"/>
                    <a:gd name="T22" fmla="*/ 126 w 666"/>
                    <a:gd name="T23" fmla="*/ 463 h 743"/>
                    <a:gd name="T24" fmla="*/ 212 w 666"/>
                    <a:gd name="T25" fmla="*/ 527 h 743"/>
                    <a:gd name="T26" fmla="*/ 222 w 666"/>
                    <a:gd name="T27" fmla="*/ 591 h 743"/>
                    <a:gd name="T28" fmla="*/ 244 w 666"/>
                    <a:gd name="T29" fmla="*/ 617 h 743"/>
                    <a:gd name="T30" fmla="*/ 246 w 666"/>
                    <a:gd name="T31" fmla="*/ 685 h 743"/>
                    <a:gd name="T32" fmla="*/ 312 w 666"/>
                    <a:gd name="T33" fmla="*/ 739 h 743"/>
                    <a:gd name="T34" fmla="*/ 312 w 666"/>
                    <a:gd name="T35" fmla="*/ 743 h 743"/>
                    <a:gd name="T36" fmla="*/ 544 w 666"/>
                    <a:gd name="T37" fmla="*/ 715 h 743"/>
                    <a:gd name="T38" fmla="*/ 646 w 666"/>
                    <a:gd name="T39" fmla="*/ 689 h 743"/>
                    <a:gd name="T40" fmla="*/ 624 w 666"/>
                    <a:gd name="T41" fmla="*/ 613 h 743"/>
                    <a:gd name="T42" fmla="*/ 630 w 666"/>
                    <a:gd name="T43" fmla="*/ 511 h 743"/>
                    <a:gd name="T44" fmla="*/ 642 w 666"/>
                    <a:gd name="T45" fmla="*/ 417 h 743"/>
                    <a:gd name="T46" fmla="*/ 636 w 666"/>
                    <a:gd name="T47" fmla="*/ 358 h 743"/>
                    <a:gd name="T48" fmla="*/ 636 w 666"/>
                    <a:gd name="T49" fmla="*/ 310 h 743"/>
                    <a:gd name="T50" fmla="*/ 600 w 666"/>
                    <a:gd name="T51" fmla="*/ 350 h 743"/>
                    <a:gd name="T52" fmla="*/ 580 w 666"/>
                    <a:gd name="T53" fmla="*/ 326 h 743"/>
                    <a:gd name="T54" fmla="*/ 608 w 666"/>
                    <a:gd name="T55" fmla="*/ 276 h 743"/>
                    <a:gd name="T56" fmla="*/ 572 w 666"/>
                    <a:gd name="T57" fmla="*/ 238 h 743"/>
                    <a:gd name="T58" fmla="*/ 530 w 666"/>
                    <a:gd name="T59" fmla="*/ 150 h 743"/>
                    <a:gd name="T60" fmla="*/ 414 w 666"/>
                    <a:gd name="T61" fmla="*/ 132 h 743"/>
                    <a:gd name="T62" fmla="*/ 260 w 666"/>
                    <a:gd name="T63" fmla="*/ 78 h 743"/>
                    <a:gd name="T64" fmla="*/ 220 w 666"/>
                    <a:gd name="T65" fmla="*/ 76 h 743"/>
                    <a:gd name="T66" fmla="*/ 212 w 666"/>
                    <a:gd name="T67" fmla="*/ 26 h 743"/>
                    <a:gd name="T68" fmla="*/ 70 w 666"/>
                    <a:gd name="T69" fmla="*/ 72 h 743"/>
                    <a:gd name="T70" fmla="*/ 70 w 666"/>
                    <a:gd name="T71" fmla="*/ 70 h 743"/>
                    <a:gd name="T72" fmla="*/ 220 w 666"/>
                    <a:gd name="T73" fmla="*/ 24 h 743"/>
                    <a:gd name="T74" fmla="*/ 222 w 666"/>
                    <a:gd name="T75" fmla="*/ 28 h 743"/>
                    <a:gd name="T76" fmla="*/ 196 w 666"/>
                    <a:gd name="T77" fmla="*/ 18 h 743"/>
                    <a:gd name="T78" fmla="*/ 194 w 666"/>
                    <a:gd name="T79" fmla="*/ 24 h 743"/>
                    <a:gd name="T80" fmla="*/ 250 w 666"/>
                    <a:gd name="T81" fmla="*/ 10 h 743"/>
                    <a:gd name="T82" fmla="*/ 246 w 666"/>
                    <a:gd name="T83" fmla="*/ 1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6" h="743">
                      <a:moveTo>
                        <a:pt x="666" y="234"/>
                      </a:moveTo>
                      <a:lnTo>
                        <a:pt x="646" y="258"/>
                      </a:lnTo>
                      <a:lnTo>
                        <a:pt x="636" y="294"/>
                      </a:lnTo>
                      <a:lnTo>
                        <a:pt x="640" y="312"/>
                      </a:lnTo>
                      <a:lnTo>
                        <a:pt x="666" y="234"/>
                      </a:lnTo>
                      <a:close/>
                      <a:moveTo>
                        <a:pt x="220" y="52"/>
                      </a:moveTo>
                      <a:lnTo>
                        <a:pt x="232" y="36"/>
                      </a:lnTo>
                      <a:lnTo>
                        <a:pt x="224" y="44"/>
                      </a:lnTo>
                      <a:lnTo>
                        <a:pt x="220" y="52"/>
                      </a:lnTo>
                      <a:close/>
                      <a:moveTo>
                        <a:pt x="238" y="26"/>
                      </a:moveTo>
                      <a:lnTo>
                        <a:pt x="234" y="22"/>
                      </a:lnTo>
                      <a:lnTo>
                        <a:pt x="226" y="28"/>
                      </a:lnTo>
                      <a:lnTo>
                        <a:pt x="238" y="26"/>
                      </a:lnTo>
                      <a:lnTo>
                        <a:pt x="238" y="26"/>
                      </a:lnTo>
                      <a:close/>
                      <a:moveTo>
                        <a:pt x="70" y="70"/>
                      </a:moveTo>
                      <a:lnTo>
                        <a:pt x="52" y="90"/>
                      </a:lnTo>
                      <a:lnTo>
                        <a:pt x="60" y="184"/>
                      </a:lnTo>
                      <a:lnTo>
                        <a:pt x="10" y="228"/>
                      </a:lnTo>
                      <a:lnTo>
                        <a:pt x="0" y="272"/>
                      </a:lnTo>
                      <a:lnTo>
                        <a:pt x="28" y="296"/>
                      </a:lnTo>
                      <a:lnTo>
                        <a:pt x="20" y="405"/>
                      </a:lnTo>
                      <a:lnTo>
                        <a:pt x="50" y="427"/>
                      </a:lnTo>
                      <a:lnTo>
                        <a:pt x="68" y="427"/>
                      </a:lnTo>
                      <a:lnTo>
                        <a:pt x="126" y="463"/>
                      </a:lnTo>
                      <a:lnTo>
                        <a:pt x="164" y="503"/>
                      </a:lnTo>
                      <a:lnTo>
                        <a:pt x="212" y="527"/>
                      </a:lnTo>
                      <a:lnTo>
                        <a:pt x="222" y="587"/>
                      </a:lnTo>
                      <a:lnTo>
                        <a:pt x="222" y="591"/>
                      </a:lnTo>
                      <a:lnTo>
                        <a:pt x="222" y="591"/>
                      </a:lnTo>
                      <a:lnTo>
                        <a:pt x="244" y="617"/>
                      </a:lnTo>
                      <a:lnTo>
                        <a:pt x="238" y="639"/>
                      </a:lnTo>
                      <a:lnTo>
                        <a:pt x="246" y="685"/>
                      </a:lnTo>
                      <a:lnTo>
                        <a:pt x="270" y="717"/>
                      </a:lnTo>
                      <a:lnTo>
                        <a:pt x="312" y="739"/>
                      </a:lnTo>
                      <a:lnTo>
                        <a:pt x="312" y="743"/>
                      </a:lnTo>
                      <a:lnTo>
                        <a:pt x="312" y="743"/>
                      </a:lnTo>
                      <a:lnTo>
                        <a:pt x="480" y="723"/>
                      </a:lnTo>
                      <a:lnTo>
                        <a:pt x="544" y="715"/>
                      </a:lnTo>
                      <a:lnTo>
                        <a:pt x="648" y="701"/>
                      </a:lnTo>
                      <a:lnTo>
                        <a:pt x="646" y="689"/>
                      </a:lnTo>
                      <a:lnTo>
                        <a:pt x="646" y="653"/>
                      </a:lnTo>
                      <a:lnTo>
                        <a:pt x="624" y="613"/>
                      </a:lnTo>
                      <a:lnTo>
                        <a:pt x="618" y="565"/>
                      </a:lnTo>
                      <a:lnTo>
                        <a:pt x="630" y="511"/>
                      </a:lnTo>
                      <a:lnTo>
                        <a:pt x="624" y="469"/>
                      </a:lnTo>
                      <a:lnTo>
                        <a:pt x="642" y="417"/>
                      </a:lnTo>
                      <a:lnTo>
                        <a:pt x="636" y="407"/>
                      </a:lnTo>
                      <a:lnTo>
                        <a:pt x="636" y="358"/>
                      </a:lnTo>
                      <a:lnTo>
                        <a:pt x="646" y="322"/>
                      </a:lnTo>
                      <a:lnTo>
                        <a:pt x="636" y="310"/>
                      </a:lnTo>
                      <a:lnTo>
                        <a:pt x="612" y="318"/>
                      </a:lnTo>
                      <a:lnTo>
                        <a:pt x="600" y="350"/>
                      </a:lnTo>
                      <a:lnTo>
                        <a:pt x="570" y="368"/>
                      </a:lnTo>
                      <a:lnTo>
                        <a:pt x="580" y="326"/>
                      </a:lnTo>
                      <a:lnTo>
                        <a:pt x="606" y="292"/>
                      </a:lnTo>
                      <a:lnTo>
                        <a:pt x="608" y="276"/>
                      </a:lnTo>
                      <a:lnTo>
                        <a:pt x="608" y="274"/>
                      </a:lnTo>
                      <a:lnTo>
                        <a:pt x="572" y="238"/>
                      </a:lnTo>
                      <a:lnTo>
                        <a:pt x="572" y="184"/>
                      </a:lnTo>
                      <a:lnTo>
                        <a:pt x="530" y="150"/>
                      </a:lnTo>
                      <a:lnTo>
                        <a:pt x="472" y="146"/>
                      </a:lnTo>
                      <a:lnTo>
                        <a:pt x="414" y="132"/>
                      </a:lnTo>
                      <a:lnTo>
                        <a:pt x="286" y="92"/>
                      </a:lnTo>
                      <a:lnTo>
                        <a:pt x="260" y="78"/>
                      </a:lnTo>
                      <a:lnTo>
                        <a:pt x="258" y="80"/>
                      </a:lnTo>
                      <a:lnTo>
                        <a:pt x="220" y="76"/>
                      </a:lnTo>
                      <a:lnTo>
                        <a:pt x="206" y="84"/>
                      </a:lnTo>
                      <a:lnTo>
                        <a:pt x="212" y="26"/>
                      </a:lnTo>
                      <a:lnTo>
                        <a:pt x="148" y="58"/>
                      </a:lnTo>
                      <a:lnTo>
                        <a:pt x="70" y="72"/>
                      </a:lnTo>
                      <a:lnTo>
                        <a:pt x="70" y="70"/>
                      </a:lnTo>
                      <a:lnTo>
                        <a:pt x="70" y="70"/>
                      </a:lnTo>
                      <a:close/>
                      <a:moveTo>
                        <a:pt x="222" y="28"/>
                      </a:moveTo>
                      <a:lnTo>
                        <a:pt x="220" y="24"/>
                      </a:lnTo>
                      <a:lnTo>
                        <a:pt x="214" y="26"/>
                      </a:lnTo>
                      <a:lnTo>
                        <a:pt x="222" y="28"/>
                      </a:lnTo>
                      <a:close/>
                      <a:moveTo>
                        <a:pt x="194" y="24"/>
                      </a:moveTo>
                      <a:lnTo>
                        <a:pt x="196" y="18"/>
                      </a:lnTo>
                      <a:lnTo>
                        <a:pt x="194" y="18"/>
                      </a:lnTo>
                      <a:lnTo>
                        <a:pt x="194" y="24"/>
                      </a:lnTo>
                      <a:lnTo>
                        <a:pt x="194" y="24"/>
                      </a:lnTo>
                      <a:close/>
                      <a:moveTo>
                        <a:pt x="250" y="10"/>
                      </a:moveTo>
                      <a:lnTo>
                        <a:pt x="248" y="0"/>
                      </a:lnTo>
                      <a:lnTo>
                        <a:pt x="246" y="12"/>
                      </a:lnTo>
                      <a:lnTo>
                        <a:pt x="250" y="1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3" name="West Virginia" descr="{&quot;Key&quot;:&quot;west virginia&quot;,&quot;Name&quot;:&quot;West Virginia&quot;,&quot;Value&quot;:1.0,&quot;Formula&quot;:&quot;&quot;,&quot;Text&quot;:&quot;&quot;,&quot;OfficeApplication&quot;:1,&quot;HasValue&quot;:true}">
                  <a:extLst>
                    <a:ext uri="{FF2B5EF4-FFF2-40B4-BE49-F238E27FC236}">
                      <a16:creationId xmlns:a16="http://schemas.microsoft.com/office/drawing/2014/main" id="{D84C914B-6EFA-407C-AA75-536316EB964D}"/>
                    </a:ext>
                  </a:extLst>
                </p:cNvPr>
                <p:cNvSpPr>
                  <a:spLocks/>
                </p:cNvSpPr>
                <p:nvPr/>
              </p:nvSpPr>
              <p:spPr bwMode="auto">
                <a:xfrm>
                  <a:off x="9288462" y="3046414"/>
                  <a:ext cx="889000" cy="922338"/>
                </a:xfrm>
                <a:custGeom>
                  <a:avLst/>
                  <a:gdLst>
                    <a:gd name="T0" fmla="*/ 320 w 560"/>
                    <a:gd name="T1" fmla="*/ 120 h 581"/>
                    <a:gd name="T2" fmla="*/ 210 w 560"/>
                    <a:gd name="T3" fmla="*/ 146 h 581"/>
                    <a:gd name="T4" fmla="*/ 176 w 560"/>
                    <a:gd name="T5" fmla="*/ 0 h 581"/>
                    <a:gd name="T6" fmla="*/ 176 w 560"/>
                    <a:gd name="T7" fmla="*/ 0 h 581"/>
                    <a:gd name="T8" fmla="*/ 174 w 560"/>
                    <a:gd name="T9" fmla="*/ 0 h 581"/>
                    <a:gd name="T10" fmla="*/ 170 w 560"/>
                    <a:gd name="T11" fmla="*/ 170 h 581"/>
                    <a:gd name="T12" fmla="*/ 146 w 560"/>
                    <a:gd name="T13" fmla="*/ 208 h 581"/>
                    <a:gd name="T14" fmla="*/ 116 w 560"/>
                    <a:gd name="T15" fmla="*/ 230 h 581"/>
                    <a:gd name="T16" fmla="*/ 110 w 560"/>
                    <a:gd name="T17" fmla="*/ 222 h 581"/>
                    <a:gd name="T18" fmla="*/ 80 w 560"/>
                    <a:gd name="T19" fmla="*/ 267 h 581"/>
                    <a:gd name="T20" fmla="*/ 82 w 560"/>
                    <a:gd name="T21" fmla="*/ 301 h 581"/>
                    <a:gd name="T22" fmla="*/ 62 w 560"/>
                    <a:gd name="T23" fmla="*/ 305 h 581"/>
                    <a:gd name="T24" fmla="*/ 36 w 560"/>
                    <a:gd name="T25" fmla="*/ 345 h 581"/>
                    <a:gd name="T26" fmla="*/ 44 w 560"/>
                    <a:gd name="T27" fmla="*/ 371 h 581"/>
                    <a:gd name="T28" fmla="*/ 34 w 560"/>
                    <a:gd name="T29" fmla="*/ 397 h 581"/>
                    <a:gd name="T30" fmla="*/ 0 w 560"/>
                    <a:gd name="T31" fmla="*/ 413 h 581"/>
                    <a:gd name="T32" fmla="*/ 0 w 560"/>
                    <a:gd name="T33" fmla="*/ 413 h 581"/>
                    <a:gd name="T34" fmla="*/ 0 w 560"/>
                    <a:gd name="T35" fmla="*/ 415 h 581"/>
                    <a:gd name="T36" fmla="*/ 16 w 560"/>
                    <a:gd name="T37" fmla="*/ 469 h 581"/>
                    <a:gd name="T38" fmla="*/ 60 w 560"/>
                    <a:gd name="T39" fmla="*/ 523 h 581"/>
                    <a:gd name="T40" fmla="*/ 84 w 560"/>
                    <a:gd name="T41" fmla="*/ 537 h 581"/>
                    <a:gd name="T42" fmla="*/ 104 w 560"/>
                    <a:gd name="T43" fmla="*/ 537 h 581"/>
                    <a:gd name="T44" fmla="*/ 106 w 560"/>
                    <a:gd name="T45" fmla="*/ 537 h 581"/>
                    <a:gd name="T46" fmla="*/ 108 w 560"/>
                    <a:gd name="T47" fmla="*/ 539 h 581"/>
                    <a:gd name="T48" fmla="*/ 116 w 560"/>
                    <a:gd name="T49" fmla="*/ 563 h 581"/>
                    <a:gd name="T50" fmla="*/ 166 w 560"/>
                    <a:gd name="T51" fmla="*/ 581 h 581"/>
                    <a:gd name="T52" fmla="*/ 184 w 560"/>
                    <a:gd name="T53" fmla="*/ 563 h 581"/>
                    <a:gd name="T54" fmla="*/ 204 w 560"/>
                    <a:gd name="T55" fmla="*/ 561 h 581"/>
                    <a:gd name="T56" fmla="*/ 248 w 560"/>
                    <a:gd name="T57" fmla="*/ 527 h 581"/>
                    <a:gd name="T58" fmla="*/ 300 w 560"/>
                    <a:gd name="T59" fmla="*/ 511 h 581"/>
                    <a:gd name="T60" fmla="*/ 314 w 560"/>
                    <a:gd name="T61" fmla="*/ 489 h 581"/>
                    <a:gd name="T62" fmla="*/ 316 w 560"/>
                    <a:gd name="T63" fmla="*/ 443 h 581"/>
                    <a:gd name="T64" fmla="*/ 336 w 560"/>
                    <a:gd name="T65" fmla="*/ 407 h 581"/>
                    <a:gd name="T66" fmla="*/ 358 w 560"/>
                    <a:gd name="T67" fmla="*/ 301 h 581"/>
                    <a:gd name="T68" fmla="*/ 406 w 560"/>
                    <a:gd name="T69" fmla="*/ 317 h 581"/>
                    <a:gd name="T70" fmla="*/ 422 w 560"/>
                    <a:gd name="T71" fmla="*/ 271 h 581"/>
                    <a:gd name="T72" fmla="*/ 446 w 560"/>
                    <a:gd name="T73" fmla="*/ 244 h 581"/>
                    <a:gd name="T74" fmla="*/ 486 w 560"/>
                    <a:gd name="T75" fmla="*/ 168 h 581"/>
                    <a:gd name="T76" fmla="*/ 484 w 560"/>
                    <a:gd name="T77" fmla="*/ 124 h 581"/>
                    <a:gd name="T78" fmla="*/ 556 w 560"/>
                    <a:gd name="T79" fmla="*/ 154 h 581"/>
                    <a:gd name="T80" fmla="*/ 560 w 560"/>
                    <a:gd name="T81" fmla="*/ 122 h 581"/>
                    <a:gd name="T82" fmla="*/ 560 w 560"/>
                    <a:gd name="T83" fmla="*/ 122 h 581"/>
                    <a:gd name="T84" fmla="*/ 560 w 560"/>
                    <a:gd name="T85" fmla="*/ 122 h 581"/>
                    <a:gd name="T86" fmla="*/ 538 w 560"/>
                    <a:gd name="T87" fmla="*/ 82 h 581"/>
                    <a:gd name="T88" fmla="*/ 492 w 560"/>
                    <a:gd name="T89" fmla="*/ 76 h 581"/>
                    <a:gd name="T90" fmla="*/ 464 w 560"/>
                    <a:gd name="T91" fmla="*/ 98 h 581"/>
                    <a:gd name="T92" fmla="*/ 464 w 560"/>
                    <a:gd name="T93" fmla="*/ 114 h 581"/>
                    <a:gd name="T94" fmla="*/ 440 w 560"/>
                    <a:gd name="T95" fmla="*/ 118 h 581"/>
                    <a:gd name="T96" fmla="*/ 406 w 560"/>
                    <a:gd name="T97" fmla="*/ 142 h 581"/>
                    <a:gd name="T98" fmla="*/ 388 w 560"/>
                    <a:gd name="T99" fmla="*/ 146 h 581"/>
                    <a:gd name="T100" fmla="*/ 354 w 560"/>
                    <a:gd name="T101" fmla="*/ 198 h 581"/>
                    <a:gd name="T102" fmla="*/ 336 w 560"/>
                    <a:gd name="T103" fmla="*/ 116 h 581"/>
                    <a:gd name="T104" fmla="*/ 320 w 560"/>
                    <a:gd name="T105" fmla="*/ 120 h 581"/>
                    <a:gd name="T106" fmla="*/ 320 w 560"/>
                    <a:gd name="T107" fmla="*/ 12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0" h="581">
                      <a:moveTo>
                        <a:pt x="320" y="120"/>
                      </a:moveTo>
                      <a:lnTo>
                        <a:pt x="210" y="146"/>
                      </a:lnTo>
                      <a:lnTo>
                        <a:pt x="176" y="0"/>
                      </a:lnTo>
                      <a:lnTo>
                        <a:pt x="176" y="0"/>
                      </a:lnTo>
                      <a:lnTo>
                        <a:pt x="174" y="0"/>
                      </a:lnTo>
                      <a:lnTo>
                        <a:pt x="170" y="170"/>
                      </a:lnTo>
                      <a:lnTo>
                        <a:pt x="146" y="208"/>
                      </a:lnTo>
                      <a:lnTo>
                        <a:pt x="116" y="230"/>
                      </a:lnTo>
                      <a:lnTo>
                        <a:pt x="110" y="222"/>
                      </a:lnTo>
                      <a:lnTo>
                        <a:pt x="80" y="267"/>
                      </a:lnTo>
                      <a:lnTo>
                        <a:pt x="82" y="301"/>
                      </a:lnTo>
                      <a:lnTo>
                        <a:pt x="62" y="305"/>
                      </a:lnTo>
                      <a:lnTo>
                        <a:pt x="36" y="345"/>
                      </a:lnTo>
                      <a:lnTo>
                        <a:pt x="44" y="371"/>
                      </a:lnTo>
                      <a:lnTo>
                        <a:pt x="34" y="397"/>
                      </a:lnTo>
                      <a:lnTo>
                        <a:pt x="0" y="413"/>
                      </a:lnTo>
                      <a:lnTo>
                        <a:pt x="0" y="413"/>
                      </a:lnTo>
                      <a:lnTo>
                        <a:pt x="0" y="415"/>
                      </a:lnTo>
                      <a:lnTo>
                        <a:pt x="16" y="469"/>
                      </a:lnTo>
                      <a:lnTo>
                        <a:pt x="60" y="523"/>
                      </a:lnTo>
                      <a:lnTo>
                        <a:pt x="84" y="537"/>
                      </a:lnTo>
                      <a:lnTo>
                        <a:pt x="104" y="537"/>
                      </a:lnTo>
                      <a:lnTo>
                        <a:pt x="106" y="537"/>
                      </a:lnTo>
                      <a:lnTo>
                        <a:pt x="108" y="539"/>
                      </a:lnTo>
                      <a:lnTo>
                        <a:pt x="116" y="563"/>
                      </a:lnTo>
                      <a:lnTo>
                        <a:pt x="166" y="581"/>
                      </a:lnTo>
                      <a:lnTo>
                        <a:pt x="184" y="563"/>
                      </a:lnTo>
                      <a:lnTo>
                        <a:pt x="204" y="561"/>
                      </a:lnTo>
                      <a:lnTo>
                        <a:pt x="248" y="527"/>
                      </a:lnTo>
                      <a:lnTo>
                        <a:pt x="300" y="511"/>
                      </a:lnTo>
                      <a:lnTo>
                        <a:pt x="314" y="489"/>
                      </a:lnTo>
                      <a:lnTo>
                        <a:pt x="316" y="443"/>
                      </a:lnTo>
                      <a:lnTo>
                        <a:pt x="336" y="407"/>
                      </a:lnTo>
                      <a:lnTo>
                        <a:pt x="358" y="301"/>
                      </a:lnTo>
                      <a:lnTo>
                        <a:pt x="406" y="317"/>
                      </a:lnTo>
                      <a:lnTo>
                        <a:pt x="422" y="271"/>
                      </a:lnTo>
                      <a:lnTo>
                        <a:pt x="446" y="244"/>
                      </a:lnTo>
                      <a:lnTo>
                        <a:pt x="486" y="168"/>
                      </a:lnTo>
                      <a:lnTo>
                        <a:pt x="484" y="124"/>
                      </a:lnTo>
                      <a:lnTo>
                        <a:pt x="556" y="154"/>
                      </a:lnTo>
                      <a:lnTo>
                        <a:pt x="560" y="122"/>
                      </a:lnTo>
                      <a:lnTo>
                        <a:pt x="560" y="122"/>
                      </a:lnTo>
                      <a:lnTo>
                        <a:pt x="560" y="122"/>
                      </a:lnTo>
                      <a:lnTo>
                        <a:pt x="538" y="82"/>
                      </a:lnTo>
                      <a:lnTo>
                        <a:pt x="492" y="76"/>
                      </a:lnTo>
                      <a:lnTo>
                        <a:pt x="464" y="98"/>
                      </a:lnTo>
                      <a:lnTo>
                        <a:pt x="464" y="114"/>
                      </a:lnTo>
                      <a:lnTo>
                        <a:pt x="440" y="118"/>
                      </a:lnTo>
                      <a:lnTo>
                        <a:pt x="406" y="142"/>
                      </a:lnTo>
                      <a:lnTo>
                        <a:pt x="388" y="146"/>
                      </a:lnTo>
                      <a:lnTo>
                        <a:pt x="354" y="198"/>
                      </a:lnTo>
                      <a:lnTo>
                        <a:pt x="336" y="116"/>
                      </a:lnTo>
                      <a:lnTo>
                        <a:pt x="320" y="120"/>
                      </a:lnTo>
                      <a:lnTo>
                        <a:pt x="320" y="12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4" name="Delaware" descr="{&quot;Key&quot;:&quot;delaware&quot;,&quot;Name&quot;:&quot;Delaware&quot;,&quot;Value&quot;:1.0,&quot;Formula&quot;:&quot;&quot;,&quot;Text&quot;:&quot;&quot;,&quot;OfficeApplication&quot;:1,&quot;HasValue&quot;:true}">
                  <a:extLst>
                    <a:ext uri="{FF2B5EF4-FFF2-40B4-BE49-F238E27FC236}">
                      <a16:creationId xmlns:a16="http://schemas.microsoft.com/office/drawing/2014/main" id="{DF8643E8-7C3D-4AF4-A659-568FFAEFEA2A}"/>
                    </a:ext>
                  </a:extLst>
                </p:cNvPr>
                <p:cNvSpPr>
                  <a:spLocks/>
                </p:cNvSpPr>
                <p:nvPr/>
              </p:nvSpPr>
              <p:spPr bwMode="auto">
                <a:xfrm>
                  <a:off x="10520361" y="2992438"/>
                  <a:ext cx="231775" cy="352425"/>
                </a:xfrm>
                <a:custGeom>
                  <a:avLst/>
                  <a:gdLst>
                    <a:gd name="T0" fmla="*/ 0 w 146"/>
                    <a:gd name="T1" fmla="*/ 26 h 222"/>
                    <a:gd name="T2" fmla="*/ 4 w 146"/>
                    <a:gd name="T3" fmla="*/ 38 h 222"/>
                    <a:gd name="T4" fmla="*/ 68 w 146"/>
                    <a:gd name="T5" fmla="*/ 222 h 222"/>
                    <a:gd name="T6" fmla="*/ 142 w 146"/>
                    <a:gd name="T7" fmla="*/ 200 h 222"/>
                    <a:gd name="T8" fmla="*/ 140 w 146"/>
                    <a:gd name="T9" fmla="*/ 198 h 222"/>
                    <a:gd name="T10" fmla="*/ 142 w 146"/>
                    <a:gd name="T11" fmla="*/ 198 h 222"/>
                    <a:gd name="T12" fmla="*/ 144 w 146"/>
                    <a:gd name="T13" fmla="*/ 198 h 222"/>
                    <a:gd name="T14" fmla="*/ 144 w 146"/>
                    <a:gd name="T15" fmla="*/ 198 h 222"/>
                    <a:gd name="T16" fmla="*/ 146 w 146"/>
                    <a:gd name="T17" fmla="*/ 198 h 222"/>
                    <a:gd name="T18" fmla="*/ 144 w 146"/>
                    <a:gd name="T19" fmla="*/ 194 h 222"/>
                    <a:gd name="T20" fmla="*/ 126 w 146"/>
                    <a:gd name="T21" fmla="*/ 146 h 222"/>
                    <a:gd name="T22" fmla="*/ 36 w 146"/>
                    <a:gd name="T23" fmla="*/ 58 h 222"/>
                    <a:gd name="T24" fmla="*/ 40 w 146"/>
                    <a:gd name="T25" fmla="*/ 0 h 222"/>
                    <a:gd name="T26" fmla="*/ 40 w 146"/>
                    <a:gd name="T27" fmla="*/ 0 h 222"/>
                    <a:gd name="T28" fmla="*/ 20 w 146"/>
                    <a:gd name="T29" fmla="*/ 0 h 222"/>
                    <a:gd name="T30" fmla="*/ 6 w 146"/>
                    <a:gd name="T31" fmla="*/ 10 h 222"/>
                    <a:gd name="T32" fmla="*/ 0 w 146"/>
                    <a:gd name="T33" fmla="*/ 26 h 222"/>
                    <a:gd name="T34" fmla="*/ 0 w 146"/>
                    <a:gd name="T35" fmla="*/ 26 h 222"/>
                    <a:gd name="T36" fmla="*/ 0 w 146"/>
                    <a:gd name="T37" fmla="*/ 2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222">
                      <a:moveTo>
                        <a:pt x="0" y="26"/>
                      </a:moveTo>
                      <a:lnTo>
                        <a:pt x="4" y="38"/>
                      </a:lnTo>
                      <a:lnTo>
                        <a:pt x="68" y="222"/>
                      </a:lnTo>
                      <a:lnTo>
                        <a:pt x="142" y="200"/>
                      </a:lnTo>
                      <a:lnTo>
                        <a:pt x="140" y="198"/>
                      </a:lnTo>
                      <a:lnTo>
                        <a:pt x="142" y="198"/>
                      </a:lnTo>
                      <a:lnTo>
                        <a:pt x="144" y="198"/>
                      </a:lnTo>
                      <a:lnTo>
                        <a:pt x="144" y="198"/>
                      </a:lnTo>
                      <a:lnTo>
                        <a:pt x="146" y="198"/>
                      </a:lnTo>
                      <a:lnTo>
                        <a:pt x="144" y="194"/>
                      </a:lnTo>
                      <a:lnTo>
                        <a:pt x="126" y="146"/>
                      </a:lnTo>
                      <a:lnTo>
                        <a:pt x="36" y="58"/>
                      </a:lnTo>
                      <a:lnTo>
                        <a:pt x="40" y="0"/>
                      </a:lnTo>
                      <a:lnTo>
                        <a:pt x="40" y="0"/>
                      </a:lnTo>
                      <a:lnTo>
                        <a:pt x="20" y="0"/>
                      </a:lnTo>
                      <a:lnTo>
                        <a:pt x="6" y="10"/>
                      </a:lnTo>
                      <a:lnTo>
                        <a:pt x="0" y="26"/>
                      </a:lnTo>
                      <a:lnTo>
                        <a:pt x="0" y="26"/>
                      </a:lnTo>
                      <a:lnTo>
                        <a:pt x="0" y="26"/>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5" name="Washington DC" descr="{&quot;Key&quot;:&quot;washington dc&quot;,&quot;Name&quot;:&quot;Washington DC&quot;,&quot;Value&quot;:1.0,&quot;Formula&quot;:&quot;&quot;,&quot;Text&quot;:&quot;&quot;,&quot;OfficeApplication&quot;:1,&quot;HasValue&quot;:true}">
                  <a:extLst>
                    <a:ext uri="{FF2B5EF4-FFF2-40B4-BE49-F238E27FC236}">
                      <a16:creationId xmlns:a16="http://schemas.microsoft.com/office/drawing/2014/main" id="{21F8F503-AA58-43FC-A1FE-0F26DC68EBC0}"/>
                    </a:ext>
                  </a:extLst>
                </p:cNvPr>
                <p:cNvSpPr>
                  <a:spLocks/>
                </p:cNvSpPr>
                <p:nvPr/>
              </p:nvSpPr>
              <p:spPr bwMode="auto">
                <a:xfrm>
                  <a:off x="10323512" y="3294064"/>
                  <a:ext cx="41275" cy="41275"/>
                </a:xfrm>
                <a:custGeom>
                  <a:avLst/>
                  <a:gdLst>
                    <a:gd name="T0" fmla="*/ 0 w 26"/>
                    <a:gd name="T1" fmla="*/ 8 h 26"/>
                    <a:gd name="T2" fmla="*/ 4 w 26"/>
                    <a:gd name="T3" fmla="*/ 10 h 26"/>
                    <a:gd name="T4" fmla="*/ 4 w 26"/>
                    <a:gd name="T5" fmla="*/ 12 h 26"/>
                    <a:gd name="T6" fmla="*/ 6 w 26"/>
                    <a:gd name="T7" fmla="*/ 10 h 26"/>
                    <a:gd name="T8" fmla="*/ 8 w 26"/>
                    <a:gd name="T9" fmla="*/ 12 h 26"/>
                    <a:gd name="T10" fmla="*/ 14 w 26"/>
                    <a:gd name="T11" fmla="*/ 14 h 26"/>
                    <a:gd name="T12" fmla="*/ 14 w 26"/>
                    <a:gd name="T13" fmla="*/ 16 h 26"/>
                    <a:gd name="T14" fmla="*/ 14 w 26"/>
                    <a:gd name="T15" fmla="*/ 22 h 26"/>
                    <a:gd name="T16" fmla="*/ 16 w 26"/>
                    <a:gd name="T17" fmla="*/ 26 h 26"/>
                    <a:gd name="T18" fmla="*/ 26 w 26"/>
                    <a:gd name="T19" fmla="*/ 6 h 26"/>
                    <a:gd name="T20" fmla="*/ 16 w 26"/>
                    <a:gd name="T21" fmla="*/ 0 h 26"/>
                    <a:gd name="T22" fmla="*/ 2 w 26"/>
                    <a:gd name="T23" fmla="*/ 0 h 26"/>
                    <a:gd name="T24" fmla="*/ 0 w 26"/>
                    <a:gd name="T25" fmla="*/ 8 h 26"/>
                    <a:gd name="T26" fmla="*/ 0 w 26"/>
                    <a:gd name="T2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6">
                      <a:moveTo>
                        <a:pt x="0" y="8"/>
                      </a:moveTo>
                      <a:lnTo>
                        <a:pt x="4" y="10"/>
                      </a:lnTo>
                      <a:lnTo>
                        <a:pt x="4" y="12"/>
                      </a:lnTo>
                      <a:lnTo>
                        <a:pt x="6" y="10"/>
                      </a:lnTo>
                      <a:lnTo>
                        <a:pt x="8" y="12"/>
                      </a:lnTo>
                      <a:lnTo>
                        <a:pt x="14" y="14"/>
                      </a:lnTo>
                      <a:lnTo>
                        <a:pt x="14" y="16"/>
                      </a:lnTo>
                      <a:lnTo>
                        <a:pt x="14" y="22"/>
                      </a:lnTo>
                      <a:lnTo>
                        <a:pt x="16" y="26"/>
                      </a:lnTo>
                      <a:lnTo>
                        <a:pt x="26" y="6"/>
                      </a:lnTo>
                      <a:lnTo>
                        <a:pt x="16" y="0"/>
                      </a:lnTo>
                      <a:lnTo>
                        <a:pt x="2" y="0"/>
                      </a:lnTo>
                      <a:lnTo>
                        <a:pt x="0" y="8"/>
                      </a:lnTo>
                      <a:lnTo>
                        <a:pt x="0" y="8"/>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6" name="Maryland" descr="{&quot;Key&quot;:&quot;maryland&quot;,&quot;Name&quot;:&quot;Maryland&quot;,&quot;Value&quot;:1.0,&quot;Formula&quot;:&quot;&quot;,&quot;Text&quot;:&quot;&quot;,&quot;OfficeApplication&quot;:1,&quot;HasValue&quot;:true}">
                  <a:extLst>
                    <a:ext uri="{FF2B5EF4-FFF2-40B4-BE49-F238E27FC236}">
                      <a16:creationId xmlns:a16="http://schemas.microsoft.com/office/drawing/2014/main" id="{A185D220-E06D-4931-908B-D1DBA9408161}"/>
                    </a:ext>
                  </a:extLst>
                </p:cNvPr>
                <p:cNvSpPr>
                  <a:spLocks noEditPoints="1"/>
                </p:cNvSpPr>
                <p:nvPr/>
              </p:nvSpPr>
              <p:spPr bwMode="auto">
                <a:xfrm>
                  <a:off x="9821862" y="3033712"/>
                  <a:ext cx="933450" cy="452438"/>
                </a:xfrm>
                <a:custGeom>
                  <a:avLst/>
                  <a:gdLst>
                    <a:gd name="T0" fmla="*/ 588 w 588"/>
                    <a:gd name="T1" fmla="*/ 202 h 285"/>
                    <a:gd name="T2" fmla="*/ 580 w 588"/>
                    <a:gd name="T3" fmla="*/ 246 h 285"/>
                    <a:gd name="T4" fmla="*/ 582 w 588"/>
                    <a:gd name="T5" fmla="*/ 248 h 285"/>
                    <a:gd name="T6" fmla="*/ 582 w 588"/>
                    <a:gd name="T7" fmla="*/ 244 h 285"/>
                    <a:gd name="T8" fmla="*/ 584 w 588"/>
                    <a:gd name="T9" fmla="*/ 172 h 285"/>
                    <a:gd name="T10" fmla="*/ 586 w 588"/>
                    <a:gd name="T11" fmla="*/ 186 h 285"/>
                    <a:gd name="T12" fmla="*/ 586 w 588"/>
                    <a:gd name="T13" fmla="*/ 172 h 285"/>
                    <a:gd name="T14" fmla="*/ 0 w 588"/>
                    <a:gd name="T15" fmla="*/ 124 h 285"/>
                    <a:gd name="T16" fmla="*/ 52 w 588"/>
                    <a:gd name="T17" fmla="*/ 154 h 285"/>
                    <a:gd name="T18" fmla="*/ 104 w 588"/>
                    <a:gd name="T19" fmla="*/ 126 h 285"/>
                    <a:gd name="T20" fmla="*/ 128 w 588"/>
                    <a:gd name="T21" fmla="*/ 106 h 285"/>
                    <a:gd name="T22" fmla="*/ 202 w 588"/>
                    <a:gd name="T23" fmla="*/ 90 h 285"/>
                    <a:gd name="T24" fmla="*/ 224 w 588"/>
                    <a:gd name="T25" fmla="*/ 130 h 285"/>
                    <a:gd name="T26" fmla="*/ 262 w 588"/>
                    <a:gd name="T27" fmla="*/ 140 h 285"/>
                    <a:gd name="T28" fmla="*/ 314 w 588"/>
                    <a:gd name="T29" fmla="*/ 168 h 285"/>
                    <a:gd name="T30" fmla="*/ 318 w 588"/>
                    <a:gd name="T31" fmla="*/ 164 h 285"/>
                    <a:gd name="T32" fmla="*/ 342 w 588"/>
                    <a:gd name="T33" fmla="*/ 170 h 285"/>
                    <a:gd name="T34" fmla="*/ 332 w 588"/>
                    <a:gd name="T35" fmla="*/ 190 h 285"/>
                    <a:gd name="T36" fmla="*/ 366 w 588"/>
                    <a:gd name="T37" fmla="*/ 267 h 285"/>
                    <a:gd name="T38" fmla="*/ 446 w 588"/>
                    <a:gd name="T39" fmla="*/ 285 h 285"/>
                    <a:gd name="T40" fmla="*/ 392 w 588"/>
                    <a:gd name="T41" fmla="*/ 232 h 285"/>
                    <a:gd name="T42" fmla="*/ 408 w 588"/>
                    <a:gd name="T43" fmla="*/ 234 h 285"/>
                    <a:gd name="T44" fmla="*/ 410 w 588"/>
                    <a:gd name="T45" fmla="*/ 218 h 285"/>
                    <a:gd name="T46" fmla="*/ 398 w 588"/>
                    <a:gd name="T47" fmla="*/ 132 h 285"/>
                    <a:gd name="T48" fmla="*/ 400 w 588"/>
                    <a:gd name="T49" fmla="*/ 82 h 285"/>
                    <a:gd name="T50" fmla="*/ 408 w 588"/>
                    <a:gd name="T51" fmla="*/ 104 h 285"/>
                    <a:gd name="T52" fmla="*/ 432 w 588"/>
                    <a:gd name="T53" fmla="*/ 100 h 285"/>
                    <a:gd name="T54" fmla="*/ 426 w 588"/>
                    <a:gd name="T55" fmla="*/ 176 h 285"/>
                    <a:gd name="T56" fmla="*/ 432 w 588"/>
                    <a:gd name="T57" fmla="*/ 200 h 285"/>
                    <a:gd name="T58" fmla="*/ 476 w 588"/>
                    <a:gd name="T59" fmla="*/ 242 h 285"/>
                    <a:gd name="T60" fmla="*/ 490 w 588"/>
                    <a:gd name="T61" fmla="*/ 252 h 285"/>
                    <a:gd name="T62" fmla="*/ 534 w 588"/>
                    <a:gd name="T63" fmla="*/ 273 h 285"/>
                    <a:gd name="T64" fmla="*/ 540 w 588"/>
                    <a:gd name="T65" fmla="*/ 265 h 285"/>
                    <a:gd name="T66" fmla="*/ 566 w 588"/>
                    <a:gd name="T67" fmla="*/ 254 h 285"/>
                    <a:gd name="T68" fmla="*/ 586 w 588"/>
                    <a:gd name="T69" fmla="*/ 192 h 285"/>
                    <a:gd name="T70" fmla="*/ 582 w 588"/>
                    <a:gd name="T71" fmla="*/ 174 h 285"/>
                    <a:gd name="T72" fmla="*/ 508 w 588"/>
                    <a:gd name="T73" fmla="*/ 196 h 285"/>
                    <a:gd name="T74" fmla="*/ 440 w 588"/>
                    <a:gd name="T75" fmla="*/ 0 h 285"/>
                    <a:gd name="T76" fmla="*/ 372 w 588"/>
                    <a:gd name="T77" fmla="*/ 20 h 285"/>
                    <a:gd name="T78" fmla="*/ 14 w 588"/>
                    <a:gd name="T79" fmla="*/ 120 h 285"/>
                    <a:gd name="T80" fmla="*/ 0 w 588"/>
                    <a:gd name="T81" fmla="*/ 12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8" h="285">
                      <a:moveTo>
                        <a:pt x="582" y="244"/>
                      </a:moveTo>
                      <a:lnTo>
                        <a:pt x="588" y="202"/>
                      </a:lnTo>
                      <a:lnTo>
                        <a:pt x="584" y="234"/>
                      </a:lnTo>
                      <a:lnTo>
                        <a:pt x="580" y="246"/>
                      </a:lnTo>
                      <a:lnTo>
                        <a:pt x="580" y="248"/>
                      </a:lnTo>
                      <a:lnTo>
                        <a:pt x="582" y="248"/>
                      </a:lnTo>
                      <a:lnTo>
                        <a:pt x="582" y="244"/>
                      </a:lnTo>
                      <a:lnTo>
                        <a:pt x="582" y="244"/>
                      </a:lnTo>
                      <a:close/>
                      <a:moveTo>
                        <a:pt x="586" y="172"/>
                      </a:moveTo>
                      <a:lnTo>
                        <a:pt x="584" y="172"/>
                      </a:lnTo>
                      <a:lnTo>
                        <a:pt x="586" y="178"/>
                      </a:lnTo>
                      <a:lnTo>
                        <a:pt x="586" y="186"/>
                      </a:lnTo>
                      <a:lnTo>
                        <a:pt x="586" y="172"/>
                      </a:lnTo>
                      <a:lnTo>
                        <a:pt x="586" y="172"/>
                      </a:lnTo>
                      <a:lnTo>
                        <a:pt x="586" y="172"/>
                      </a:lnTo>
                      <a:close/>
                      <a:moveTo>
                        <a:pt x="0" y="124"/>
                      </a:moveTo>
                      <a:lnTo>
                        <a:pt x="18" y="206"/>
                      </a:lnTo>
                      <a:lnTo>
                        <a:pt x="52" y="154"/>
                      </a:lnTo>
                      <a:lnTo>
                        <a:pt x="70" y="150"/>
                      </a:lnTo>
                      <a:lnTo>
                        <a:pt x="104" y="126"/>
                      </a:lnTo>
                      <a:lnTo>
                        <a:pt x="128" y="122"/>
                      </a:lnTo>
                      <a:lnTo>
                        <a:pt x="128" y="106"/>
                      </a:lnTo>
                      <a:lnTo>
                        <a:pt x="156" y="84"/>
                      </a:lnTo>
                      <a:lnTo>
                        <a:pt x="202" y="90"/>
                      </a:lnTo>
                      <a:lnTo>
                        <a:pt x="224" y="130"/>
                      </a:lnTo>
                      <a:lnTo>
                        <a:pt x="224" y="130"/>
                      </a:lnTo>
                      <a:lnTo>
                        <a:pt x="226" y="130"/>
                      </a:lnTo>
                      <a:lnTo>
                        <a:pt x="262" y="140"/>
                      </a:lnTo>
                      <a:lnTo>
                        <a:pt x="288" y="158"/>
                      </a:lnTo>
                      <a:lnTo>
                        <a:pt x="314" y="168"/>
                      </a:lnTo>
                      <a:lnTo>
                        <a:pt x="316" y="172"/>
                      </a:lnTo>
                      <a:lnTo>
                        <a:pt x="318" y="164"/>
                      </a:lnTo>
                      <a:lnTo>
                        <a:pt x="332" y="164"/>
                      </a:lnTo>
                      <a:lnTo>
                        <a:pt x="342" y="170"/>
                      </a:lnTo>
                      <a:lnTo>
                        <a:pt x="332" y="190"/>
                      </a:lnTo>
                      <a:lnTo>
                        <a:pt x="332" y="190"/>
                      </a:lnTo>
                      <a:lnTo>
                        <a:pt x="318" y="234"/>
                      </a:lnTo>
                      <a:lnTo>
                        <a:pt x="366" y="267"/>
                      </a:lnTo>
                      <a:lnTo>
                        <a:pt x="414" y="269"/>
                      </a:lnTo>
                      <a:lnTo>
                        <a:pt x="446" y="285"/>
                      </a:lnTo>
                      <a:lnTo>
                        <a:pt x="432" y="246"/>
                      </a:lnTo>
                      <a:lnTo>
                        <a:pt x="392" y="232"/>
                      </a:lnTo>
                      <a:lnTo>
                        <a:pt x="382" y="200"/>
                      </a:lnTo>
                      <a:lnTo>
                        <a:pt x="408" y="234"/>
                      </a:lnTo>
                      <a:lnTo>
                        <a:pt x="428" y="238"/>
                      </a:lnTo>
                      <a:lnTo>
                        <a:pt x="410" y="218"/>
                      </a:lnTo>
                      <a:lnTo>
                        <a:pt x="394" y="164"/>
                      </a:lnTo>
                      <a:lnTo>
                        <a:pt x="398" y="132"/>
                      </a:lnTo>
                      <a:lnTo>
                        <a:pt x="382" y="96"/>
                      </a:lnTo>
                      <a:lnTo>
                        <a:pt x="400" y="82"/>
                      </a:lnTo>
                      <a:lnTo>
                        <a:pt x="412" y="38"/>
                      </a:lnTo>
                      <a:lnTo>
                        <a:pt x="408" y="104"/>
                      </a:lnTo>
                      <a:lnTo>
                        <a:pt x="420" y="126"/>
                      </a:lnTo>
                      <a:lnTo>
                        <a:pt x="432" y="100"/>
                      </a:lnTo>
                      <a:lnTo>
                        <a:pt x="440" y="144"/>
                      </a:lnTo>
                      <a:lnTo>
                        <a:pt x="426" y="176"/>
                      </a:lnTo>
                      <a:lnTo>
                        <a:pt x="464" y="190"/>
                      </a:lnTo>
                      <a:lnTo>
                        <a:pt x="432" y="200"/>
                      </a:lnTo>
                      <a:lnTo>
                        <a:pt x="448" y="232"/>
                      </a:lnTo>
                      <a:lnTo>
                        <a:pt x="476" y="242"/>
                      </a:lnTo>
                      <a:lnTo>
                        <a:pt x="492" y="214"/>
                      </a:lnTo>
                      <a:lnTo>
                        <a:pt x="490" y="252"/>
                      </a:lnTo>
                      <a:lnTo>
                        <a:pt x="518" y="252"/>
                      </a:lnTo>
                      <a:lnTo>
                        <a:pt x="534" y="273"/>
                      </a:lnTo>
                      <a:lnTo>
                        <a:pt x="536" y="273"/>
                      </a:lnTo>
                      <a:lnTo>
                        <a:pt x="540" y="265"/>
                      </a:lnTo>
                      <a:lnTo>
                        <a:pt x="556" y="258"/>
                      </a:lnTo>
                      <a:lnTo>
                        <a:pt x="566" y="254"/>
                      </a:lnTo>
                      <a:lnTo>
                        <a:pt x="566" y="252"/>
                      </a:lnTo>
                      <a:lnTo>
                        <a:pt x="586" y="192"/>
                      </a:lnTo>
                      <a:lnTo>
                        <a:pt x="586" y="190"/>
                      </a:lnTo>
                      <a:lnTo>
                        <a:pt x="582" y="174"/>
                      </a:lnTo>
                      <a:lnTo>
                        <a:pt x="582" y="174"/>
                      </a:lnTo>
                      <a:lnTo>
                        <a:pt x="508" y="196"/>
                      </a:lnTo>
                      <a:lnTo>
                        <a:pt x="444" y="12"/>
                      </a:lnTo>
                      <a:lnTo>
                        <a:pt x="440" y="0"/>
                      </a:lnTo>
                      <a:lnTo>
                        <a:pt x="428" y="4"/>
                      </a:lnTo>
                      <a:lnTo>
                        <a:pt x="372" y="20"/>
                      </a:lnTo>
                      <a:lnTo>
                        <a:pt x="68" y="106"/>
                      </a:lnTo>
                      <a:lnTo>
                        <a:pt x="14" y="120"/>
                      </a:lnTo>
                      <a:lnTo>
                        <a:pt x="0" y="124"/>
                      </a:lnTo>
                      <a:lnTo>
                        <a:pt x="0" y="124"/>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7" name="New Jersey" descr="{&quot;Key&quot;:&quot;new jersey&quot;,&quot;Name&quot;:&quot;New Jersey&quot;,&quot;Value&quot;:1.0,&quot;Formula&quot;:&quot;&quot;,&quot;Text&quot;:&quot;&quot;,&quot;OfficeApplication&quot;:1,&quot;HasValue&quot;:true}">
                  <a:extLst>
                    <a:ext uri="{FF2B5EF4-FFF2-40B4-BE49-F238E27FC236}">
                      <a16:creationId xmlns:a16="http://schemas.microsoft.com/office/drawing/2014/main" id="{6BF4A58E-0A17-480B-9F7A-9C32CDC24952}"/>
                    </a:ext>
                  </a:extLst>
                </p:cNvPr>
                <p:cNvSpPr>
                  <a:spLocks noEditPoints="1"/>
                </p:cNvSpPr>
                <p:nvPr/>
              </p:nvSpPr>
              <p:spPr bwMode="auto">
                <a:xfrm>
                  <a:off x="10552112" y="2560639"/>
                  <a:ext cx="276225" cy="619125"/>
                </a:xfrm>
                <a:custGeom>
                  <a:avLst/>
                  <a:gdLst>
                    <a:gd name="T0" fmla="*/ 164 w 174"/>
                    <a:gd name="T1" fmla="*/ 294 h 390"/>
                    <a:gd name="T2" fmla="*/ 160 w 174"/>
                    <a:gd name="T3" fmla="*/ 286 h 390"/>
                    <a:gd name="T4" fmla="*/ 160 w 174"/>
                    <a:gd name="T5" fmla="*/ 294 h 390"/>
                    <a:gd name="T6" fmla="*/ 164 w 174"/>
                    <a:gd name="T7" fmla="*/ 294 h 390"/>
                    <a:gd name="T8" fmla="*/ 172 w 174"/>
                    <a:gd name="T9" fmla="*/ 266 h 390"/>
                    <a:gd name="T10" fmla="*/ 174 w 174"/>
                    <a:gd name="T11" fmla="*/ 242 h 390"/>
                    <a:gd name="T12" fmla="*/ 170 w 174"/>
                    <a:gd name="T13" fmla="*/ 262 h 390"/>
                    <a:gd name="T14" fmla="*/ 172 w 174"/>
                    <a:gd name="T15" fmla="*/ 266 h 390"/>
                    <a:gd name="T16" fmla="*/ 172 w 174"/>
                    <a:gd name="T17" fmla="*/ 266 h 390"/>
                    <a:gd name="T18" fmla="*/ 140 w 174"/>
                    <a:gd name="T19" fmla="*/ 28 h 390"/>
                    <a:gd name="T20" fmla="*/ 58 w 174"/>
                    <a:gd name="T21" fmla="*/ 8 h 390"/>
                    <a:gd name="T22" fmla="*/ 44 w 174"/>
                    <a:gd name="T23" fmla="*/ 4 h 390"/>
                    <a:gd name="T24" fmla="*/ 32 w 174"/>
                    <a:gd name="T25" fmla="*/ 0 h 390"/>
                    <a:gd name="T26" fmla="*/ 32 w 174"/>
                    <a:gd name="T27" fmla="*/ 0 h 390"/>
                    <a:gd name="T28" fmla="*/ 0 w 174"/>
                    <a:gd name="T29" fmla="*/ 72 h 390"/>
                    <a:gd name="T30" fmla="*/ 14 w 174"/>
                    <a:gd name="T31" fmla="*/ 90 h 390"/>
                    <a:gd name="T32" fmla="*/ 12 w 174"/>
                    <a:gd name="T33" fmla="*/ 142 h 390"/>
                    <a:gd name="T34" fmla="*/ 28 w 174"/>
                    <a:gd name="T35" fmla="*/ 144 h 390"/>
                    <a:gd name="T36" fmla="*/ 58 w 174"/>
                    <a:gd name="T37" fmla="*/ 224 h 390"/>
                    <a:gd name="T38" fmla="*/ 56 w 174"/>
                    <a:gd name="T39" fmla="*/ 226 h 390"/>
                    <a:gd name="T40" fmla="*/ 18 w 174"/>
                    <a:gd name="T41" fmla="*/ 282 h 390"/>
                    <a:gd name="T42" fmla="*/ 22 w 174"/>
                    <a:gd name="T43" fmla="*/ 324 h 390"/>
                    <a:gd name="T44" fmla="*/ 114 w 174"/>
                    <a:gd name="T45" fmla="*/ 356 h 390"/>
                    <a:gd name="T46" fmla="*/ 114 w 174"/>
                    <a:gd name="T47" fmla="*/ 390 h 390"/>
                    <a:gd name="T48" fmla="*/ 134 w 174"/>
                    <a:gd name="T49" fmla="*/ 362 h 390"/>
                    <a:gd name="T50" fmla="*/ 138 w 174"/>
                    <a:gd name="T51" fmla="*/ 318 h 390"/>
                    <a:gd name="T52" fmla="*/ 160 w 174"/>
                    <a:gd name="T53" fmla="*/ 304 h 390"/>
                    <a:gd name="T54" fmla="*/ 152 w 174"/>
                    <a:gd name="T55" fmla="*/ 272 h 390"/>
                    <a:gd name="T56" fmla="*/ 168 w 174"/>
                    <a:gd name="T57" fmla="*/ 234 h 390"/>
                    <a:gd name="T58" fmla="*/ 168 w 174"/>
                    <a:gd name="T59" fmla="*/ 150 h 390"/>
                    <a:gd name="T60" fmla="*/ 162 w 174"/>
                    <a:gd name="T61" fmla="*/ 124 h 390"/>
                    <a:gd name="T62" fmla="*/ 126 w 174"/>
                    <a:gd name="T63" fmla="*/ 124 h 390"/>
                    <a:gd name="T64" fmla="*/ 134 w 174"/>
                    <a:gd name="T65" fmla="*/ 88 h 390"/>
                    <a:gd name="T66" fmla="*/ 140 w 174"/>
                    <a:gd name="T67" fmla="*/ 28 h 390"/>
                    <a:gd name="T68" fmla="*/ 140 w 174"/>
                    <a:gd name="T69" fmla="*/ 28 h 390"/>
                    <a:gd name="T70" fmla="*/ 140 w 174"/>
                    <a:gd name="T71" fmla="*/ 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4" h="390">
                      <a:moveTo>
                        <a:pt x="164" y="294"/>
                      </a:moveTo>
                      <a:lnTo>
                        <a:pt x="160" y="286"/>
                      </a:lnTo>
                      <a:lnTo>
                        <a:pt x="160" y="294"/>
                      </a:lnTo>
                      <a:lnTo>
                        <a:pt x="164" y="294"/>
                      </a:lnTo>
                      <a:close/>
                      <a:moveTo>
                        <a:pt x="172" y="266"/>
                      </a:moveTo>
                      <a:lnTo>
                        <a:pt x="174" y="242"/>
                      </a:lnTo>
                      <a:lnTo>
                        <a:pt x="170" y="262"/>
                      </a:lnTo>
                      <a:lnTo>
                        <a:pt x="172" y="266"/>
                      </a:lnTo>
                      <a:lnTo>
                        <a:pt x="172" y="266"/>
                      </a:lnTo>
                      <a:close/>
                      <a:moveTo>
                        <a:pt x="140" y="28"/>
                      </a:moveTo>
                      <a:lnTo>
                        <a:pt x="58" y="8"/>
                      </a:lnTo>
                      <a:lnTo>
                        <a:pt x="44" y="4"/>
                      </a:lnTo>
                      <a:lnTo>
                        <a:pt x="32" y="0"/>
                      </a:lnTo>
                      <a:lnTo>
                        <a:pt x="32" y="0"/>
                      </a:lnTo>
                      <a:lnTo>
                        <a:pt x="0" y="72"/>
                      </a:lnTo>
                      <a:lnTo>
                        <a:pt x="14" y="90"/>
                      </a:lnTo>
                      <a:lnTo>
                        <a:pt x="12" y="142"/>
                      </a:lnTo>
                      <a:lnTo>
                        <a:pt x="28" y="144"/>
                      </a:lnTo>
                      <a:lnTo>
                        <a:pt x="58" y="224"/>
                      </a:lnTo>
                      <a:lnTo>
                        <a:pt x="56" y="226"/>
                      </a:lnTo>
                      <a:lnTo>
                        <a:pt x="18" y="282"/>
                      </a:lnTo>
                      <a:lnTo>
                        <a:pt x="22" y="324"/>
                      </a:lnTo>
                      <a:lnTo>
                        <a:pt x="114" y="356"/>
                      </a:lnTo>
                      <a:lnTo>
                        <a:pt x="114" y="390"/>
                      </a:lnTo>
                      <a:lnTo>
                        <a:pt x="134" y="362"/>
                      </a:lnTo>
                      <a:lnTo>
                        <a:pt x="138" y="318"/>
                      </a:lnTo>
                      <a:lnTo>
                        <a:pt x="160" y="304"/>
                      </a:lnTo>
                      <a:lnTo>
                        <a:pt x="152" y="272"/>
                      </a:lnTo>
                      <a:lnTo>
                        <a:pt x="168" y="234"/>
                      </a:lnTo>
                      <a:lnTo>
                        <a:pt x="168" y="150"/>
                      </a:lnTo>
                      <a:lnTo>
                        <a:pt x="162" y="124"/>
                      </a:lnTo>
                      <a:lnTo>
                        <a:pt x="126" y="124"/>
                      </a:lnTo>
                      <a:lnTo>
                        <a:pt x="134" y="88"/>
                      </a:lnTo>
                      <a:lnTo>
                        <a:pt x="140" y="28"/>
                      </a:lnTo>
                      <a:lnTo>
                        <a:pt x="140" y="28"/>
                      </a:lnTo>
                      <a:lnTo>
                        <a:pt x="140" y="28"/>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8" name="New York" descr="{&quot;Key&quot;:&quot;new york&quot;,&quot;Name&quot;:&quot;New York&quot;,&quot;Value&quot;:1.0,&quot;Formula&quot;:&quot;&quot;,&quot;Text&quot;:&quot;&quot;,&quot;OfficeApplication&quot;:1,&quot;HasValue&quot;:true}">
                  <a:extLst>
                    <a:ext uri="{FF2B5EF4-FFF2-40B4-BE49-F238E27FC236}">
                      <a16:creationId xmlns:a16="http://schemas.microsoft.com/office/drawing/2014/main" id="{F49EB370-454B-4D3A-87FA-5EB80411800E}"/>
                    </a:ext>
                  </a:extLst>
                </p:cNvPr>
                <p:cNvSpPr>
                  <a:spLocks noEditPoints="1"/>
                </p:cNvSpPr>
                <p:nvPr/>
              </p:nvSpPr>
              <p:spPr bwMode="auto">
                <a:xfrm>
                  <a:off x="9612311" y="1571626"/>
                  <a:ext cx="1525587" cy="1166812"/>
                </a:xfrm>
                <a:custGeom>
                  <a:avLst/>
                  <a:gdLst>
                    <a:gd name="T0" fmla="*/ 718 w 961"/>
                    <a:gd name="T1" fmla="*/ 729 h 735"/>
                    <a:gd name="T2" fmla="*/ 730 w 961"/>
                    <a:gd name="T3" fmla="*/ 713 h 735"/>
                    <a:gd name="T4" fmla="*/ 877 w 961"/>
                    <a:gd name="T5" fmla="*/ 641 h 735"/>
                    <a:gd name="T6" fmla="*/ 839 w 961"/>
                    <a:gd name="T7" fmla="*/ 675 h 735"/>
                    <a:gd name="T8" fmla="*/ 736 w 961"/>
                    <a:gd name="T9" fmla="*/ 699 h 735"/>
                    <a:gd name="T10" fmla="*/ 734 w 961"/>
                    <a:gd name="T11" fmla="*/ 687 h 735"/>
                    <a:gd name="T12" fmla="*/ 917 w 961"/>
                    <a:gd name="T13" fmla="*/ 575 h 735"/>
                    <a:gd name="T14" fmla="*/ 905 w 961"/>
                    <a:gd name="T15" fmla="*/ 579 h 735"/>
                    <a:gd name="T16" fmla="*/ 937 w 961"/>
                    <a:gd name="T17" fmla="*/ 561 h 735"/>
                    <a:gd name="T18" fmla="*/ 939 w 961"/>
                    <a:gd name="T19" fmla="*/ 565 h 735"/>
                    <a:gd name="T20" fmla="*/ 937 w 961"/>
                    <a:gd name="T21" fmla="*/ 561 h 735"/>
                    <a:gd name="T22" fmla="*/ 863 w 961"/>
                    <a:gd name="T23" fmla="*/ 609 h 735"/>
                    <a:gd name="T24" fmla="*/ 762 w 961"/>
                    <a:gd name="T25" fmla="*/ 663 h 735"/>
                    <a:gd name="T26" fmla="*/ 738 w 961"/>
                    <a:gd name="T27" fmla="*/ 697 h 735"/>
                    <a:gd name="T28" fmla="*/ 776 w 961"/>
                    <a:gd name="T29" fmla="*/ 707 h 735"/>
                    <a:gd name="T30" fmla="*/ 879 w 961"/>
                    <a:gd name="T31" fmla="*/ 639 h 735"/>
                    <a:gd name="T32" fmla="*/ 903 w 961"/>
                    <a:gd name="T33" fmla="*/ 605 h 735"/>
                    <a:gd name="T34" fmla="*/ 915 w 961"/>
                    <a:gd name="T35" fmla="*/ 561 h 735"/>
                    <a:gd name="T36" fmla="*/ 939 w 961"/>
                    <a:gd name="T37" fmla="*/ 529 h 735"/>
                    <a:gd name="T38" fmla="*/ 933 w 961"/>
                    <a:gd name="T39" fmla="*/ 535 h 735"/>
                    <a:gd name="T40" fmla="*/ 66 w 961"/>
                    <a:gd name="T41" fmla="*/ 501 h 735"/>
                    <a:gd name="T42" fmla="*/ 64 w 961"/>
                    <a:gd name="T43" fmla="*/ 511 h 735"/>
                    <a:gd name="T44" fmla="*/ 66 w 961"/>
                    <a:gd name="T45" fmla="*/ 501 h 735"/>
                    <a:gd name="T46" fmla="*/ 326 w 961"/>
                    <a:gd name="T47" fmla="*/ 254 h 735"/>
                    <a:gd name="T48" fmla="*/ 324 w 961"/>
                    <a:gd name="T49" fmla="*/ 262 h 735"/>
                    <a:gd name="T50" fmla="*/ 328 w 961"/>
                    <a:gd name="T51" fmla="*/ 206 h 735"/>
                    <a:gd name="T52" fmla="*/ 320 w 961"/>
                    <a:gd name="T53" fmla="*/ 216 h 735"/>
                    <a:gd name="T54" fmla="*/ 328 w 961"/>
                    <a:gd name="T55" fmla="*/ 206 h 735"/>
                    <a:gd name="T56" fmla="*/ 4 w 961"/>
                    <a:gd name="T57" fmla="*/ 671 h 735"/>
                    <a:gd name="T58" fmla="*/ 282 w 961"/>
                    <a:gd name="T59" fmla="*/ 617 h 735"/>
                    <a:gd name="T60" fmla="*/ 564 w 961"/>
                    <a:gd name="T61" fmla="*/ 579 h 735"/>
                    <a:gd name="T62" fmla="*/ 622 w 961"/>
                    <a:gd name="T63" fmla="*/ 621 h 735"/>
                    <a:gd name="T64" fmla="*/ 636 w 961"/>
                    <a:gd name="T65" fmla="*/ 627 h 735"/>
                    <a:gd name="T66" fmla="*/ 732 w 961"/>
                    <a:gd name="T67" fmla="*/ 651 h 735"/>
                    <a:gd name="T68" fmla="*/ 738 w 961"/>
                    <a:gd name="T69" fmla="*/ 679 h 735"/>
                    <a:gd name="T70" fmla="*/ 762 w 961"/>
                    <a:gd name="T71" fmla="*/ 639 h 735"/>
                    <a:gd name="T72" fmla="*/ 748 w 961"/>
                    <a:gd name="T73" fmla="*/ 625 h 735"/>
                    <a:gd name="T74" fmla="*/ 758 w 961"/>
                    <a:gd name="T75" fmla="*/ 589 h 735"/>
                    <a:gd name="T76" fmla="*/ 728 w 961"/>
                    <a:gd name="T77" fmla="*/ 466 h 735"/>
                    <a:gd name="T78" fmla="*/ 722 w 961"/>
                    <a:gd name="T79" fmla="*/ 430 h 735"/>
                    <a:gd name="T80" fmla="*/ 716 w 961"/>
                    <a:gd name="T81" fmla="*/ 352 h 735"/>
                    <a:gd name="T82" fmla="*/ 716 w 961"/>
                    <a:gd name="T83" fmla="*/ 350 h 735"/>
                    <a:gd name="T84" fmla="*/ 636 w 961"/>
                    <a:gd name="T85" fmla="*/ 158 h 735"/>
                    <a:gd name="T86" fmla="*/ 588 w 961"/>
                    <a:gd name="T87" fmla="*/ 0 h 735"/>
                    <a:gd name="T88" fmla="*/ 422 w 961"/>
                    <a:gd name="T89" fmla="*/ 56 h 735"/>
                    <a:gd name="T90" fmla="*/ 352 w 961"/>
                    <a:gd name="T91" fmla="*/ 162 h 735"/>
                    <a:gd name="T92" fmla="*/ 306 w 961"/>
                    <a:gd name="T93" fmla="*/ 250 h 735"/>
                    <a:gd name="T94" fmla="*/ 344 w 961"/>
                    <a:gd name="T95" fmla="*/ 316 h 735"/>
                    <a:gd name="T96" fmla="*/ 208 w 961"/>
                    <a:gd name="T97" fmla="*/ 422 h 735"/>
                    <a:gd name="T98" fmla="*/ 112 w 961"/>
                    <a:gd name="T99" fmla="*/ 426 h 735"/>
                    <a:gd name="T100" fmla="*/ 46 w 961"/>
                    <a:gd name="T101" fmla="*/ 491 h 735"/>
                    <a:gd name="T102" fmla="*/ 56 w 961"/>
                    <a:gd name="T103" fmla="*/ 583 h 735"/>
                    <a:gd name="T104" fmla="*/ 0 w 961"/>
                    <a:gd name="T105" fmla="*/ 64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1" h="735">
                      <a:moveTo>
                        <a:pt x="730" y="713"/>
                      </a:moveTo>
                      <a:lnTo>
                        <a:pt x="718" y="729"/>
                      </a:lnTo>
                      <a:lnTo>
                        <a:pt x="716" y="735"/>
                      </a:lnTo>
                      <a:lnTo>
                        <a:pt x="730" y="713"/>
                      </a:lnTo>
                      <a:close/>
                      <a:moveTo>
                        <a:pt x="839" y="675"/>
                      </a:moveTo>
                      <a:lnTo>
                        <a:pt x="877" y="641"/>
                      </a:lnTo>
                      <a:lnTo>
                        <a:pt x="877" y="639"/>
                      </a:lnTo>
                      <a:lnTo>
                        <a:pt x="839" y="675"/>
                      </a:lnTo>
                      <a:lnTo>
                        <a:pt x="839" y="675"/>
                      </a:lnTo>
                      <a:close/>
                      <a:moveTo>
                        <a:pt x="736" y="699"/>
                      </a:moveTo>
                      <a:lnTo>
                        <a:pt x="736" y="673"/>
                      </a:lnTo>
                      <a:lnTo>
                        <a:pt x="734" y="687"/>
                      </a:lnTo>
                      <a:lnTo>
                        <a:pt x="736" y="699"/>
                      </a:lnTo>
                      <a:close/>
                      <a:moveTo>
                        <a:pt x="917" y="575"/>
                      </a:moveTo>
                      <a:lnTo>
                        <a:pt x="907" y="573"/>
                      </a:lnTo>
                      <a:lnTo>
                        <a:pt x="905" y="579"/>
                      </a:lnTo>
                      <a:lnTo>
                        <a:pt x="917" y="575"/>
                      </a:lnTo>
                      <a:close/>
                      <a:moveTo>
                        <a:pt x="937" y="561"/>
                      </a:moveTo>
                      <a:lnTo>
                        <a:pt x="937" y="569"/>
                      </a:lnTo>
                      <a:lnTo>
                        <a:pt x="939" y="565"/>
                      </a:lnTo>
                      <a:lnTo>
                        <a:pt x="937" y="561"/>
                      </a:lnTo>
                      <a:lnTo>
                        <a:pt x="937" y="561"/>
                      </a:lnTo>
                      <a:close/>
                      <a:moveTo>
                        <a:pt x="915" y="561"/>
                      </a:moveTo>
                      <a:lnTo>
                        <a:pt x="863" y="609"/>
                      </a:lnTo>
                      <a:lnTo>
                        <a:pt x="782" y="645"/>
                      </a:lnTo>
                      <a:lnTo>
                        <a:pt x="762" y="663"/>
                      </a:lnTo>
                      <a:lnTo>
                        <a:pt x="760" y="679"/>
                      </a:lnTo>
                      <a:lnTo>
                        <a:pt x="738" y="697"/>
                      </a:lnTo>
                      <a:lnTo>
                        <a:pt x="742" y="721"/>
                      </a:lnTo>
                      <a:lnTo>
                        <a:pt x="776" y="707"/>
                      </a:lnTo>
                      <a:lnTo>
                        <a:pt x="825" y="667"/>
                      </a:lnTo>
                      <a:lnTo>
                        <a:pt x="879" y="639"/>
                      </a:lnTo>
                      <a:lnTo>
                        <a:pt x="961" y="561"/>
                      </a:lnTo>
                      <a:lnTo>
                        <a:pt x="903" y="605"/>
                      </a:lnTo>
                      <a:lnTo>
                        <a:pt x="885" y="613"/>
                      </a:lnTo>
                      <a:lnTo>
                        <a:pt x="915" y="561"/>
                      </a:lnTo>
                      <a:lnTo>
                        <a:pt x="915" y="561"/>
                      </a:lnTo>
                      <a:close/>
                      <a:moveTo>
                        <a:pt x="939" y="529"/>
                      </a:moveTo>
                      <a:lnTo>
                        <a:pt x="943" y="525"/>
                      </a:lnTo>
                      <a:lnTo>
                        <a:pt x="933" y="535"/>
                      </a:lnTo>
                      <a:lnTo>
                        <a:pt x="939" y="529"/>
                      </a:lnTo>
                      <a:close/>
                      <a:moveTo>
                        <a:pt x="66" y="501"/>
                      </a:moveTo>
                      <a:lnTo>
                        <a:pt x="54" y="499"/>
                      </a:lnTo>
                      <a:lnTo>
                        <a:pt x="64" y="511"/>
                      </a:lnTo>
                      <a:lnTo>
                        <a:pt x="66" y="501"/>
                      </a:lnTo>
                      <a:lnTo>
                        <a:pt x="66" y="501"/>
                      </a:lnTo>
                      <a:close/>
                      <a:moveTo>
                        <a:pt x="324" y="262"/>
                      </a:moveTo>
                      <a:lnTo>
                        <a:pt x="326" y="254"/>
                      </a:lnTo>
                      <a:lnTo>
                        <a:pt x="320" y="262"/>
                      </a:lnTo>
                      <a:lnTo>
                        <a:pt x="324" y="262"/>
                      </a:lnTo>
                      <a:lnTo>
                        <a:pt x="324" y="262"/>
                      </a:lnTo>
                      <a:close/>
                      <a:moveTo>
                        <a:pt x="328" y="206"/>
                      </a:moveTo>
                      <a:lnTo>
                        <a:pt x="324" y="208"/>
                      </a:lnTo>
                      <a:lnTo>
                        <a:pt x="320" y="216"/>
                      </a:lnTo>
                      <a:lnTo>
                        <a:pt x="328" y="206"/>
                      </a:lnTo>
                      <a:lnTo>
                        <a:pt x="328" y="206"/>
                      </a:lnTo>
                      <a:close/>
                      <a:moveTo>
                        <a:pt x="0" y="649"/>
                      </a:moveTo>
                      <a:lnTo>
                        <a:pt x="4" y="671"/>
                      </a:lnTo>
                      <a:lnTo>
                        <a:pt x="46" y="681"/>
                      </a:lnTo>
                      <a:lnTo>
                        <a:pt x="282" y="617"/>
                      </a:lnTo>
                      <a:lnTo>
                        <a:pt x="520" y="545"/>
                      </a:lnTo>
                      <a:lnTo>
                        <a:pt x="564" y="579"/>
                      </a:lnTo>
                      <a:lnTo>
                        <a:pt x="572" y="599"/>
                      </a:lnTo>
                      <a:lnTo>
                        <a:pt x="622" y="621"/>
                      </a:lnTo>
                      <a:lnTo>
                        <a:pt x="624" y="623"/>
                      </a:lnTo>
                      <a:lnTo>
                        <a:pt x="636" y="627"/>
                      </a:lnTo>
                      <a:lnTo>
                        <a:pt x="650" y="631"/>
                      </a:lnTo>
                      <a:lnTo>
                        <a:pt x="732" y="651"/>
                      </a:lnTo>
                      <a:lnTo>
                        <a:pt x="730" y="647"/>
                      </a:lnTo>
                      <a:lnTo>
                        <a:pt x="738" y="679"/>
                      </a:lnTo>
                      <a:lnTo>
                        <a:pt x="754" y="675"/>
                      </a:lnTo>
                      <a:lnTo>
                        <a:pt x="762" y="639"/>
                      </a:lnTo>
                      <a:lnTo>
                        <a:pt x="762" y="639"/>
                      </a:lnTo>
                      <a:lnTo>
                        <a:pt x="748" y="625"/>
                      </a:lnTo>
                      <a:lnTo>
                        <a:pt x="768" y="601"/>
                      </a:lnTo>
                      <a:lnTo>
                        <a:pt x="758" y="589"/>
                      </a:lnTo>
                      <a:lnTo>
                        <a:pt x="730" y="474"/>
                      </a:lnTo>
                      <a:lnTo>
                        <a:pt x="728" y="466"/>
                      </a:lnTo>
                      <a:lnTo>
                        <a:pt x="724" y="464"/>
                      </a:lnTo>
                      <a:lnTo>
                        <a:pt x="722" y="430"/>
                      </a:lnTo>
                      <a:lnTo>
                        <a:pt x="720" y="392"/>
                      </a:lnTo>
                      <a:lnTo>
                        <a:pt x="716" y="352"/>
                      </a:lnTo>
                      <a:lnTo>
                        <a:pt x="716" y="350"/>
                      </a:lnTo>
                      <a:lnTo>
                        <a:pt x="716" y="350"/>
                      </a:lnTo>
                      <a:lnTo>
                        <a:pt x="676" y="224"/>
                      </a:lnTo>
                      <a:lnTo>
                        <a:pt x="636" y="158"/>
                      </a:lnTo>
                      <a:lnTo>
                        <a:pt x="624" y="82"/>
                      </a:lnTo>
                      <a:lnTo>
                        <a:pt x="588" y="0"/>
                      </a:lnTo>
                      <a:lnTo>
                        <a:pt x="584" y="2"/>
                      </a:lnTo>
                      <a:lnTo>
                        <a:pt x="422" y="56"/>
                      </a:lnTo>
                      <a:lnTo>
                        <a:pt x="390" y="92"/>
                      </a:lnTo>
                      <a:lnTo>
                        <a:pt x="352" y="162"/>
                      </a:lnTo>
                      <a:lnTo>
                        <a:pt x="354" y="178"/>
                      </a:lnTo>
                      <a:lnTo>
                        <a:pt x="306" y="250"/>
                      </a:lnTo>
                      <a:lnTo>
                        <a:pt x="336" y="260"/>
                      </a:lnTo>
                      <a:lnTo>
                        <a:pt x="344" y="316"/>
                      </a:lnTo>
                      <a:lnTo>
                        <a:pt x="310" y="360"/>
                      </a:lnTo>
                      <a:lnTo>
                        <a:pt x="208" y="422"/>
                      </a:lnTo>
                      <a:lnTo>
                        <a:pt x="188" y="414"/>
                      </a:lnTo>
                      <a:lnTo>
                        <a:pt x="112" y="426"/>
                      </a:lnTo>
                      <a:lnTo>
                        <a:pt x="42" y="468"/>
                      </a:lnTo>
                      <a:lnTo>
                        <a:pt x="46" y="491"/>
                      </a:lnTo>
                      <a:lnTo>
                        <a:pt x="70" y="513"/>
                      </a:lnTo>
                      <a:lnTo>
                        <a:pt x="56" y="583"/>
                      </a:lnTo>
                      <a:lnTo>
                        <a:pt x="0" y="647"/>
                      </a:lnTo>
                      <a:lnTo>
                        <a:pt x="0" y="649"/>
                      </a:lnTo>
                      <a:lnTo>
                        <a:pt x="0" y="649"/>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29" name="Pennsylvania" descr="{&quot;Key&quot;:&quot;pennsylvania&quot;,&quot;Name&quot;:&quot;Pennsylvania&quot;,&quot;Value&quot;:1.0,&quot;Formula&quot;:&quot;&quot;,&quot;Text&quot;:&quot;&quot;,&quot;OfficeApplication&quot;:1,&quot;HasValue&quot;:true}">
                  <a:extLst>
                    <a:ext uri="{FF2B5EF4-FFF2-40B4-BE49-F238E27FC236}">
                      <a16:creationId xmlns:a16="http://schemas.microsoft.com/office/drawing/2014/main" id="{F812888F-255E-4771-AA01-1D4DAC9EF266}"/>
                    </a:ext>
                  </a:extLst>
                </p:cNvPr>
                <p:cNvSpPr>
                  <a:spLocks/>
                </p:cNvSpPr>
                <p:nvPr/>
              </p:nvSpPr>
              <p:spPr bwMode="auto">
                <a:xfrm>
                  <a:off x="9488487" y="2436813"/>
                  <a:ext cx="1155700" cy="841375"/>
                </a:xfrm>
                <a:custGeom>
                  <a:avLst/>
                  <a:gdLst>
                    <a:gd name="T0" fmla="*/ 700 w 728"/>
                    <a:gd name="T1" fmla="*/ 76 h 530"/>
                    <a:gd name="T2" fmla="*/ 650 w 728"/>
                    <a:gd name="T3" fmla="*/ 54 h 530"/>
                    <a:gd name="T4" fmla="*/ 642 w 728"/>
                    <a:gd name="T5" fmla="*/ 34 h 530"/>
                    <a:gd name="T6" fmla="*/ 598 w 728"/>
                    <a:gd name="T7" fmla="*/ 0 h 530"/>
                    <a:gd name="T8" fmla="*/ 360 w 728"/>
                    <a:gd name="T9" fmla="*/ 72 h 530"/>
                    <a:gd name="T10" fmla="*/ 124 w 728"/>
                    <a:gd name="T11" fmla="*/ 136 h 530"/>
                    <a:gd name="T12" fmla="*/ 82 w 728"/>
                    <a:gd name="T13" fmla="*/ 126 h 530"/>
                    <a:gd name="T14" fmla="*/ 78 w 728"/>
                    <a:gd name="T15" fmla="*/ 104 h 530"/>
                    <a:gd name="T16" fmla="*/ 64 w 728"/>
                    <a:gd name="T17" fmla="*/ 114 h 530"/>
                    <a:gd name="T18" fmla="*/ 44 w 728"/>
                    <a:gd name="T19" fmla="*/ 128 h 530"/>
                    <a:gd name="T20" fmla="*/ 6 w 728"/>
                    <a:gd name="T21" fmla="*/ 166 h 530"/>
                    <a:gd name="T22" fmla="*/ 0 w 728"/>
                    <a:gd name="T23" fmla="*/ 170 h 530"/>
                    <a:gd name="T24" fmla="*/ 22 w 728"/>
                    <a:gd name="T25" fmla="*/ 266 h 530"/>
                    <a:gd name="T26" fmla="*/ 26 w 728"/>
                    <a:gd name="T27" fmla="*/ 284 h 530"/>
                    <a:gd name="T28" fmla="*/ 46 w 728"/>
                    <a:gd name="T29" fmla="*/ 368 h 530"/>
                    <a:gd name="T30" fmla="*/ 50 w 728"/>
                    <a:gd name="T31" fmla="*/ 384 h 530"/>
                    <a:gd name="T32" fmla="*/ 50 w 728"/>
                    <a:gd name="T33" fmla="*/ 384 h 530"/>
                    <a:gd name="T34" fmla="*/ 84 w 728"/>
                    <a:gd name="T35" fmla="*/ 530 h 530"/>
                    <a:gd name="T36" fmla="*/ 194 w 728"/>
                    <a:gd name="T37" fmla="*/ 504 h 530"/>
                    <a:gd name="T38" fmla="*/ 210 w 728"/>
                    <a:gd name="T39" fmla="*/ 500 h 530"/>
                    <a:gd name="T40" fmla="*/ 224 w 728"/>
                    <a:gd name="T41" fmla="*/ 496 h 530"/>
                    <a:gd name="T42" fmla="*/ 278 w 728"/>
                    <a:gd name="T43" fmla="*/ 482 h 530"/>
                    <a:gd name="T44" fmla="*/ 582 w 728"/>
                    <a:gd name="T45" fmla="*/ 396 h 530"/>
                    <a:gd name="T46" fmla="*/ 638 w 728"/>
                    <a:gd name="T47" fmla="*/ 380 h 530"/>
                    <a:gd name="T48" fmla="*/ 650 w 728"/>
                    <a:gd name="T49" fmla="*/ 376 h 530"/>
                    <a:gd name="T50" fmla="*/ 650 w 728"/>
                    <a:gd name="T51" fmla="*/ 376 h 530"/>
                    <a:gd name="T52" fmla="*/ 656 w 728"/>
                    <a:gd name="T53" fmla="*/ 360 h 530"/>
                    <a:gd name="T54" fmla="*/ 670 w 728"/>
                    <a:gd name="T55" fmla="*/ 350 h 530"/>
                    <a:gd name="T56" fmla="*/ 690 w 728"/>
                    <a:gd name="T57" fmla="*/ 350 h 530"/>
                    <a:gd name="T58" fmla="*/ 692 w 728"/>
                    <a:gd name="T59" fmla="*/ 342 h 530"/>
                    <a:gd name="T60" fmla="*/ 722 w 728"/>
                    <a:gd name="T61" fmla="*/ 308 h 530"/>
                    <a:gd name="T62" fmla="*/ 724 w 728"/>
                    <a:gd name="T63" fmla="*/ 302 h 530"/>
                    <a:gd name="T64" fmla="*/ 728 w 728"/>
                    <a:gd name="T65" fmla="*/ 302 h 530"/>
                    <a:gd name="T66" fmla="*/ 698 w 728"/>
                    <a:gd name="T67" fmla="*/ 222 h 530"/>
                    <a:gd name="T68" fmla="*/ 682 w 728"/>
                    <a:gd name="T69" fmla="*/ 220 h 530"/>
                    <a:gd name="T70" fmla="*/ 684 w 728"/>
                    <a:gd name="T71" fmla="*/ 168 h 530"/>
                    <a:gd name="T72" fmla="*/ 670 w 728"/>
                    <a:gd name="T73" fmla="*/ 150 h 530"/>
                    <a:gd name="T74" fmla="*/ 702 w 728"/>
                    <a:gd name="T75" fmla="*/ 78 h 530"/>
                    <a:gd name="T76" fmla="*/ 702 w 728"/>
                    <a:gd name="T77" fmla="*/ 78 h 530"/>
                    <a:gd name="T78" fmla="*/ 700 w 728"/>
                    <a:gd name="T79" fmla="*/ 76 h 530"/>
                    <a:gd name="T80" fmla="*/ 700 w 728"/>
                    <a:gd name="T81" fmla="*/ 7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8" h="530">
                      <a:moveTo>
                        <a:pt x="700" y="76"/>
                      </a:moveTo>
                      <a:lnTo>
                        <a:pt x="650" y="54"/>
                      </a:lnTo>
                      <a:lnTo>
                        <a:pt x="642" y="34"/>
                      </a:lnTo>
                      <a:lnTo>
                        <a:pt x="598" y="0"/>
                      </a:lnTo>
                      <a:lnTo>
                        <a:pt x="360" y="72"/>
                      </a:lnTo>
                      <a:lnTo>
                        <a:pt x="124" y="136"/>
                      </a:lnTo>
                      <a:lnTo>
                        <a:pt x="82" y="126"/>
                      </a:lnTo>
                      <a:lnTo>
                        <a:pt x="78" y="104"/>
                      </a:lnTo>
                      <a:lnTo>
                        <a:pt x="64" y="114"/>
                      </a:lnTo>
                      <a:lnTo>
                        <a:pt x="44" y="128"/>
                      </a:lnTo>
                      <a:lnTo>
                        <a:pt x="6" y="166"/>
                      </a:lnTo>
                      <a:lnTo>
                        <a:pt x="0" y="170"/>
                      </a:lnTo>
                      <a:lnTo>
                        <a:pt x="22" y="266"/>
                      </a:lnTo>
                      <a:lnTo>
                        <a:pt x="26" y="284"/>
                      </a:lnTo>
                      <a:lnTo>
                        <a:pt x="46" y="368"/>
                      </a:lnTo>
                      <a:lnTo>
                        <a:pt x="50" y="384"/>
                      </a:lnTo>
                      <a:lnTo>
                        <a:pt x="50" y="384"/>
                      </a:lnTo>
                      <a:lnTo>
                        <a:pt x="84" y="530"/>
                      </a:lnTo>
                      <a:lnTo>
                        <a:pt x="194" y="504"/>
                      </a:lnTo>
                      <a:lnTo>
                        <a:pt x="210" y="500"/>
                      </a:lnTo>
                      <a:lnTo>
                        <a:pt x="224" y="496"/>
                      </a:lnTo>
                      <a:lnTo>
                        <a:pt x="278" y="482"/>
                      </a:lnTo>
                      <a:lnTo>
                        <a:pt x="582" y="396"/>
                      </a:lnTo>
                      <a:lnTo>
                        <a:pt x="638" y="380"/>
                      </a:lnTo>
                      <a:lnTo>
                        <a:pt x="650" y="376"/>
                      </a:lnTo>
                      <a:lnTo>
                        <a:pt x="650" y="376"/>
                      </a:lnTo>
                      <a:lnTo>
                        <a:pt x="656" y="360"/>
                      </a:lnTo>
                      <a:lnTo>
                        <a:pt x="670" y="350"/>
                      </a:lnTo>
                      <a:lnTo>
                        <a:pt x="690" y="350"/>
                      </a:lnTo>
                      <a:lnTo>
                        <a:pt x="692" y="342"/>
                      </a:lnTo>
                      <a:lnTo>
                        <a:pt x="722" y="308"/>
                      </a:lnTo>
                      <a:lnTo>
                        <a:pt x="724" y="302"/>
                      </a:lnTo>
                      <a:lnTo>
                        <a:pt x="728" y="302"/>
                      </a:lnTo>
                      <a:lnTo>
                        <a:pt x="698" y="222"/>
                      </a:lnTo>
                      <a:lnTo>
                        <a:pt x="682" y="220"/>
                      </a:lnTo>
                      <a:lnTo>
                        <a:pt x="684" y="168"/>
                      </a:lnTo>
                      <a:lnTo>
                        <a:pt x="670" y="150"/>
                      </a:lnTo>
                      <a:lnTo>
                        <a:pt x="702" y="78"/>
                      </a:lnTo>
                      <a:lnTo>
                        <a:pt x="702" y="78"/>
                      </a:lnTo>
                      <a:lnTo>
                        <a:pt x="700" y="76"/>
                      </a:lnTo>
                      <a:lnTo>
                        <a:pt x="700" y="76"/>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30" name="Maine" descr="{&quot;Key&quot;:&quot;maine&quot;,&quot;Name&quot;:&quot;Maine&quot;,&quot;Value&quot;:1.0,&quot;Formula&quot;:&quot;&quot;,&quot;Text&quot;:&quot;&quot;,&quot;OfficeApplication&quot;:1,&quot;HasValue&quot;:true}">
                  <a:extLst>
                    <a:ext uri="{FF2B5EF4-FFF2-40B4-BE49-F238E27FC236}">
                      <a16:creationId xmlns:a16="http://schemas.microsoft.com/office/drawing/2014/main" id="{6557279D-65C3-4A50-99EC-E468CB05AC6E}"/>
                    </a:ext>
                  </a:extLst>
                </p:cNvPr>
                <p:cNvSpPr>
                  <a:spLocks noEditPoints="1"/>
                </p:cNvSpPr>
                <p:nvPr/>
              </p:nvSpPr>
              <p:spPr bwMode="auto">
                <a:xfrm>
                  <a:off x="10906125" y="668339"/>
                  <a:ext cx="733425" cy="1230313"/>
                </a:xfrm>
                <a:custGeom>
                  <a:avLst/>
                  <a:gdLst>
                    <a:gd name="T0" fmla="*/ 184 w 462"/>
                    <a:gd name="T1" fmla="*/ 775 h 775"/>
                    <a:gd name="T2" fmla="*/ 240 w 462"/>
                    <a:gd name="T3" fmla="*/ 609 h 775"/>
                    <a:gd name="T4" fmla="*/ 240 w 462"/>
                    <a:gd name="T5" fmla="*/ 609 h 775"/>
                    <a:gd name="T6" fmla="*/ 228 w 462"/>
                    <a:gd name="T7" fmla="*/ 587 h 775"/>
                    <a:gd name="T8" fmla="*/ 256 w 462"/>
                    <a:gd name="T9" fmla="*/ 567 h 775"/>
                    <a:gd name="T10" fmla="*/ 256 w 462"/>
                    <a:gd name="T11" fmla="*/ 567 h 775"/>
                    <a:gd name="T12" fmla="*/ 330 w 462"/>
                    <a:gd name="T13" fmla="*/ 523 h 775"/>
                    <a:gd name="T14" fmla="*/ 316 w 462"/>
                    <a:gd name="T15" fmla="*/ 525 h 775"/>
                    <a:gd name="T16" fmla="*/ 316 w 462"/>
                    <a:gd name="T17" fmla="*/ 533 h 775"/>
                    <a:gd name="T18" fmla="*/ 340 w 462"/>
                    <a:gd name="T19" fmla="*/ 509 h 775"/>
                    <a:gd name="T20" fmla="*/ 298 w 462"/>
                    <a:gd name="T21" fmla="*/ 517 h 775"/>
                    <a:gd name="T22" fmla="*/ 306 w 462"/>
                    <a:gd name="T23" fmla="*/ 519 h 775"/>
                    <a:gd name="T24" fmla="*/ 350 w 462"/>
                    <a:gd name="T25" fmla="*/ 495 h 775"/>
                    <a:gd name="T26" fmla="*/ 316 w 462"/>
                    <a:gd name="T27" fmla="*/ 509 h 775"/>
                    <a:gd name="T28" fmla="*/ 324 w 462"/>
                    <a:gd name="T29" fmla="*/ 497 h 775"/>
                    <a:gd name="T30" fmla="*/ 290 w 462"/>
                    <a:gd name="T31" fmla="*/ 509 h 775"/>
                    <a:gd name="T32" fmla="*/ 336 w 462"/>
                    <a:gd name="T33" fmla="*/ 471 h 775"/>
                    <a:gd name="T34" fmla="*/ 336 w 462"/>
                    <a:gd name="T35" fmla="*/ 471 h 775"/>
                    <a:gd name="T36" fmla="*/ 326 w 462"/>
                    <a:gd name="T37" fmla="*/ 469 h 775"/>
                    <a:gd name="T38" fmla="*/ 288 w 462"/>
                    <a:gd name="T39" fmla="*/ 493 h 775"/>
                    <a:gd name="T40" fmla="*/ 288 w 462"/>
                    <a:gd name="T41" fmla="*/ 493 h 775"/>
                    <a:gd name="T42" fmla="*/ 350 w 462"/>
                    <a:gd name="T43" fmla="*/ 469 h 775"/>
                    <a:gd name="T44" fmla="*/ 414 w 462"/>
                    <a:gd name="T45" fmla="*/ 405 h 775"/>
                    <a:gd name="T46" fmla="*/ 440 w 462"/>
                    <a:gd name="T47" fmla="*/ 379 h 775"/>
                    <a:gd name="T48" fmla="*/ 440 w 462"/>
                    <a:gd name="T49" fmla="*/ 379 h 775"/>
                    <a:gd name="T50" fmla="*/ 444 w 462"/>
                    <a:gd name="T51" fmla="*/ 316 h 775"/>
                    <a:gd name="T52" fmla="*/ 450 w 462"/>
                    <a:gd name="T53" fmla="*/ 316 h 775"/>
                    <a:gd name="T54" fmla="*/ 454 w 462"/>
                    <a:gd name="T55" fmla="*/ 310 h 775"/>
                    <a:gd name="T56" fmla="*/ 448 w 462"/>
                    <a:gd name="T57" fmla="*/ 298 h 775"/>
                    <a:gd name="T58" fmla="*/ 450 w 462"/>
                    <a:gd name="T59" fmla="*/ 312 h 775"/>
                    <a:gd name="T60" fmla="*/ 114 w 462"/>
                    <a:gd name="T61" fmla="*/ 705 h 775"/>
                    <a:gd name="T62" fmla="*/ 170 w 462"/>
                    <a:gd name="T63" fmla="*/ 761 h 775"/>
                    <a:gd name="T64" fmla="*/ 192 w 462"/>
                    <a:gd name="T65" fmla="*/ 661 h 775"/>
                    <a:gd name="T66" fmla="*/ 242 w 462"/>
                    <a:gd name="T67" fmla="*/ 591 h 775"/>
                    <a:gd name="T68" fmla="*/ 330 w 462"/>
                    <a:gd name="T69" fmla="*/ 491 h 775"/>
                    <a:gd name="T70" fmla="*/ 388 w 462"/>
                    <a:gd name="T71" fmla="*/ 401 h 775"/>
                    <a:gd name="T72" fmla="*/ 458 w 462"/>
                    <a:gd name="T73" fmla="*/ 330 h 775"/>
                    <a:gd name="T74" fmla="*/ 360 w 462"/>
                    <a:gd name="T75" fmla="*/ 250 h 775"/>
                    <a:gd name="T76" fmla="*/ 306 w 462"/>
                    <a:gd name="T77" fmla="*/ 230 h 775"/>
                    <a:gd name="T78" fmla="*/ 172 w 462"/>
                    <a:gd name="T79" fmla="*/ 0 h 775"/>
                    <a:gd name="T80" fmla="*/ 76 w 462"/>
                    <a:gd name="T81" fmla="*/ 24 h 775"/>
                    <a:gd name="T82" fmla="*/ 38 w 462"/>
                    <a:gd name="T83" fmla="*/ 220 h 775"/>
                    <a:gd name="T84" fmla="*/ 40 w 462"/>
                    <a:gd name="T85" fmla="*/ 401 h 775"/>
                    <a:gd name="T86" fmla="*/ 0 w 462"/>
                    <a:gd name="T87" fmla="*/ 435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2" h="775">
                      <a:moveTo>
                        <a:pt x="182" y="775"/>
                      </a:moveTo>
                      <a:lnTo>
                        <a:pt x="182" y="775"/>
                      </a:lnTo>
                      <a:lnTo>
                        <a:pt x="184" y="775"/>
                      </a:lnTo>
                      <a:lnTo>
                        <a:pt x="182" y="775"/>
                      </a:lnTo>
                      <a:lnTo>
                        <a:pt x="182" y="775"/>
                      </a:lnTo>
                      <a:close/>
                      <a:moveTo>
                        <a:pt x="240" y="609"/>
                      </a:moveTo>
                      <a:lnTo>
                        <a:pt x="234" y="599"/>
                      </a:lnTo>
                      <a:lnTo>
                        <a:pt x="234" y="605"/>
                      </a:lnTo>
                      <a:lnTo>
                        <a:pt x="240" y="609"/>
                      </a:lnTo>
                      <a:close/>
                      <a:moveTo>
                        <a:pt x="228" y="601"/>
                      </a:moveTo>
                      <a:lnTo>
                        <a:pt x="228" y="593"/>
                      </a:lnTo>
                      <a:lnTo>
                        <a:pt x="228" y="587"/>
                      </a:lnTo>
                      <a:lnTo>
                        <a:pt x="228" y="601"/>
                      </a:lnTo>
                      <a:close/>
                      <a:moveTo>
                        <a:pt x="256" y="567"/>
                      </a:moveTo>
                      <a:lnTo>
                        <a:pt x="256" y="567"/>
                      </a:lnTo>
                      <a:lnTo>
                        <a:pt x="256" y="569"/>
                      </a:lnTo>
                      <a:lnTo>
                        <a:pt x="256" y="567"/>
                      </a:lnTo>
                      <a:lnTo>
                        <a:pt x="256" y="567"/>
                      </a:lnTo>
                      <a:close/>
                      <a:moveTo>
                        <a:pt x="334" y="529"/>
                      </a:moveTo>
                      <a:lnTo>
                        <a:pt x="334" y="517"/>
                      </a:lnTo>
                      <a:lnTo>
                        <a:pt x="330" y="523"/>
                      </a:lnTo>
                      <a:lnTo>
                        <a:pt x="334" y="529"/>
                      </a:lnTo>
                      <a:close/>
                      <a:moveTo>
                        <a:pt x="316" y="533"/>
                      </a:moveTo>
                      <a:lnTo>
                        <a:pt x="316" y="525"/>
                      </a:lnTo>
                      <a:lnTo>
                        <a:pt x="306" y="527"/>
                      </a:lnTo>
                      <a:lnTo>
                        <a:pt x="316" y="533"/>
                      </a:lnTo>
                      <a:lnTo>
                        <a:pt x="316" y="533"/>
                      </a:lnTo>
                      <a:close/>
                      <a:moveTo>
                        <a:pt x="344" y="507"/>
                      </a:moveTo>
                      <a:lnTo>
                        <a:pt x="340" y="507"/>
                      </a:lnTo>
                      <a:lnTo>
                        <a:pt x="340" y="509"/>
                      </a:lnTo>
                      <a:lnTo>
                        <a:pt x="344" y="507"/>
                      </a:lnTo>
                      <a:close/>
                      <a:moveTo>
                        <a:pt x="306" y="519"/>
                      </a:moveTo>
                      <a:lnTo>
                        <a:pt x="298" y="517"/>
                      </a:lnTo>
                      <a:lnTo>
                        <a:pt x="298" y="525"/>
                      </a:lnTo>
                      <a:lnTo>
                        <a:pt x="306" y="519"/>
                      </a:lnTo>
                      <a:lnTo>
                        <a:pt x="306" y="519"/>
                      </a:lnTo>
                      <a:close/>
                      <a:moveTo>
                        <a:pt x="344" y="495"/>
                      </a:moveTo>
                      <a:lnTo>
                        <a:pt x="352" y="501"/>
                      </a:lnTo>
                      <a:lnTo>
                        <a:pt x="350" y="495"/>
                      </a:lnTo>
                      <a:lnTo>
                        <a:pt x="344" y="495"/>
                      </a:lnTo>
                      <a:close/>
                      <a:moveTo>
                        <a:pt x="324" y="497"/>
                      </a:moveTo>
                      <a:lnTo>
                        <a:pt x="316" y="509"/>
                      </a:lnTo>
                      <a:lnTo>
                        <a:pt x="326" y="505"/>
                      </a:lnTo>
                      <a:lnTo>
                        <a:pt x="324" y="497"/>
                      </a:lnTo>
                      <a:lnTo>
                        <a:pt x="324" y="497"/>
                      </a:lnTo>
                      <a:close/>
                      <a:moveTo>
                        <a:pt x="290" y="497"/>
                      </a:moveTo>
                      <a:lnTo>
                        <a:pt x="288" y="501"/>
                      </a:lnTo>
                      <a:lnTo>
                        <a:pt x="290" y="509"/>
                      </a:lnTo>
                      <a:lnTo>
                        <a:pt x="290" y="497"/>
                      </a:lnTo>
                      <a:lnTo>
                        <a:pt x="290" y="497"/>
                      </a:lnTo>
                      <a:close/>
                      <a:moveTo>
                        <a:pt x="336" y="471"/>
                      </a:moveTo>
                      <a:lnTo>
                        <a:pt x="336" y="465"/>
                      </a:lnTo>
                      <a:lnTo>
                        <a:pt x="334" y="469"/>
                      </a:lnTo>
                      <a:lnTo>
                        <a:pt x="336" y="471"/>
                      </a:lnTo>
                      <a:lnTo>
                        <a:pt x="336" y="471"/>
                      </a:lnTo>
                      <a:close/>
                      <a:moveTo>
                        <a:pt x="332" y="475"/>
                      </a:moveTo>
                      <a:lnTo>
                        <a:pt x="326" y="469"/>
                      </a:lnTo>
                      <a:lnTo>
                        <a:pt x="326" y="473"/>
                      </a:lnTo>
                      <a:lnTo>
                        <a:pt x="332" y="475"/>
                      </a:lnTo>
                      <a:close/>
                      <a:moveTo>
                        <a:pt x="288" y="493"/>
                      </a:moveTo>
                      <a:lnTo>
                        <a:pt x="288" y="483"/>
                      </a:lnTo>
                      <a:lnTo>
                        <a:pt x="284" y="491"/>
                      </a:lnTo>
                      <a:lnTo>
                        <a:pt x="288" y="493"/>
                      </a:lnTo>
                      <a:close/>
                      <a:moveTo>
                        <a:pt x="362" y="465"/>
                      </a:moveTo>
                      <a:lnTo>
                        <a:pt x="350" y="483"/>
                      </a:lnTo>
                      <a:lnTo>
                        <a:pt x="350" y="469"/>
                      </a:lnTo>
                      <a:lnTo>
                        <a:pt x="362" y="465"/>
                      </a:lnTo>
                      <a:close/>
                      <a:moveTo>
                        <a:pt x="420" y="413"/>
                      </a:moveTo>
                      <a:lnTo>
                        <a:pt x="414" y="405"/>
                      </a:lnTo>
                      <a:lnTo>
                        <a:pt x="410" y="407"/>
                      </a:lnTo>
                      <a:lnTo>
                        <a:pt x="420" y="413"/>
                      </a:lnTo>
                      <a:close/>
                      <a:moveTo>
                        <a:pt x="440" y="379"/>
                      </a:moveTo>
                      <a:lnTo>
                        <a:pt x="436" y="375"/>
                      </a:lnTo>
                      <a:lnTo>
                        <a:pt x="434" y="379"/>
                      </a:lnTo>
                      <a:lnTo>
                        <a:pt x="440" y="379"/>
                      </a:lnTo>
                      <a:lnTo>
                        <a:pt x="440" y="379"/>
                      </a:lnTo>
                      <a:close/>
                      <a:moveTo>
                        <a:pt x="450" y="316"/>
                      </a:moveTo>
                      <a:lnTo>
                        <a:pt x="444" y="316"/>
                      </a:lnTo>
                      <a:lnTo>
                        <a:pt x="452" y="318"/>
                      </a:lnTo>
                      <a:lnTo>
                        <a:pt x="450" y="316"/>
                      </a:lnTo>
                      <a:lnTo>
                        <a:pt x="450" y="316"/>
                      </a:lnTo>
                      <a:close/>
                      <a:moveTo>
                        <a:pt x="462" y="324"/>
                      </a:moveTo>
                      <a:lnTo>
                        <a:pt x="460" y="310"/>
                      </a:lnTo>
                      <a:lnTo>
                        <a:pt x="454" y="310"/>
                      </a:lnTo>
                      <a:lnTo>
                        <a:pt x="462" y="324"/>
                      </a:lnTo>
                      <a:close/>
                      <a:moveTo>
                        <a:pt x="450" y="312"/>
                      </a:moveTo>
                      <a:lnTo>
                        <a:pt x="448" y="298"/>
                      </a:lnTo>
                      <a:lnTo>
                        <a:pt x="442" y="308"/>
                      </a:lnTo>
                      <a:lnTo>
                        <a:pt x="450" y="312"/>
                      </a:lnTo>
                      <a:lnTo>
                        <a:pt x="450" y="312"/>
                      </a:lnTo>
                      <a:close/>
                      <a:moveTo>
                        <a:pt x="0" y="435"/>
                      </a:moveTo>
                      <a:lnTo>
                        <a:pt x="112" y="699"/>
                      </a:lnTo>
                      <a:lnTo>
                        <a:pt x="114" y="705"/>
                      </a:lnTo>
                      <a:lnTo>
                        <a:pt x="162" y="765"/>
                      </a:lnTo>
                      <a:lnTo>
                        <a:pt x="162" y="763"/>
                      </a:lnTo>
                      <a:lnTo>
                        <a:pt x="170" y="761"/>
                      </a:lnTo>
                      <a:lnTo>
                        <a:pt x="172" y="717"/>
                      </a:lnTo>
                      <a:lnTo>
                        <a:pt x="184" y="701"/>
                      </a:lnTo>
                      <a:lnTo>
                        <a:pt x="192" y="661"/>
                      </a:lnTo>
                      <a:lnTo>
                        <a:pt x="184" y="653"/>
                      </a:lnTo>
                      <a:lnTo>
                        <a:pt x="198" y="613"/>
                      </a:lnTo>
                      <a:lnTo>
                        <a:pt x="242" y="591"/>
                      </a:lnTo>
                      <a:lnTo>
                        <a:pt x="272" y="555"/>
                      </a:lnTo>
                      <a:lnTo>
                        <a:pt x="284" y="493"/>
                      </a:lnTo>
                      <a:lnTo>
                        <a:pt x="330" y="491"/>
                      </a:lnTo>
                      <a:lnTo>
                        <a:pt x="324" y="459"/>
                      </a:lnTo>
                      <a:lnTo>
                        <a:pt x="384" y="437"/>
                      </a:lnTo>
                      <a:lnTo>
                        <a:pt x="388" y="401"/>
                      </a:lnTo>
                      <a:lnTo>
                        <a:pt x="402" y="405"/>
                      </a:lnTo>
                      <a:lnTo>
                        <a:pt x="440" y="373"/>
                      </a:lnTo>
                      <a:lnTo>
                        <a:pt x="458" y="330"/>
                      </a:lnTo>
                      <a:lnTo>
                        <a:pt x="418" y="290"/>
                      </a:lnTo>
                      <a:lnTo>
                        <a:pt x="376" y="282"/>
                      </a:lnTo>
                      <a:lnTo>
                        <a:pt x="360" y="250"/>
                      </a:lnTo>
                      <a:lnTo>
                        <a:pt x="360" y="232"/>
                      </a:lnTo>
                      <a:lnTo>
                        <a:pt x="334" y="240"/>
                      </a:lnTo>
                      <a:lnTo>
                        <a:pt x="306" y="230"/>
                      </a:lnTo>
                      <a:lnTo>
                        <a:pt x="306" y="198"/>
                      </a:lnTo>
                      <a:lnTo>
                        <a:pt x="228" y="30"/>
                      </a:lnTo>
                      <a:lnTo>
                        <a:pt x="172" y="0"/>
                      </a:lnTo>
                      <a:lnTo>
                        <a:pt x="108" y="54"/>
                      </a:lnTo>
                      <a:lnTo>
                        <a:pt x="92" y="50"/>
                      </a:lnTo>
                      <a:lnTo>
                        <a:pt x="76" y="24"/>
                      </a:lnTo>
                      <a:lnTo>
                        <a:pt x="56" y="30"/>
                      </a:lnTo>
                      <a:lnTo>
                        <a:pt x="28" y="174"/>
                      </a:lnTo>
                      <a:lnTo>
                        <a:pt x="38" y="220"/>
                      </a:lnTo>
                      <a:lnTo>
                        <a:pt x="46" y="316"/>
                      </a:lnTo>
                      <a:lnTo>
                        <a:pt x="24" y="389"/>
                      </a:lnTo>
                      <a:lnTo>
                        <a:pt x="40" y="401"/>
                      </a:lnTo>
                      <a:lnTo>
                        <a:pt x="20" y="437"/>
                      </a:lnTo>
                      <a:lnTo>
                        <a:pt x="0" y="433"/>
                      </a:lnTo>
                      <a:lnTo>
                        <a:pt x="0" y="435"/>
                      </a:lnTo>
                      <a:lnTo>
                        <a:pt x="0" y="435"/>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31" name="Michigan" descr="{&quot;Key&quot;:&quot;michigan&quot;,&quot;Name&quot;:&quot;Michigan&quot;,&quot;Value&quot;:1.0,&quot;Formula&quot;:&quot;&quot;,&quot;Text&quot;:&quot;&quot;,&quot;OfficeApplication&quot;:1,&quot;HasValue&quot;:true}">
                  <a:extLst>
                    <a:ext uri="{FF2B5EF4-FFF2-40B4-BE49-F238E27FC236}">
                      <a16:creationId xmlns:a16="http://schemas.microsoft.com/office/drawing/2014/main" id="{C691FECB-7EF9-487D-849E-30E8F5078356}"/>
                    </a:ext>
                  </a:extLst>
                </p:cNvPr>
                <p:cNvSpPr>
                  <a:spLocks noEditPoints="1"/>
                </p:cNvSpPr>
                <p:nvPr/>
              </p:nvSpPr>
              <p:spPr bwMode="auto">
                <a:xfrm>
                  <a:off x="7486650" y="1409701"/>
                  <a:ext cx="1598612" cy="1595438"/>
                </a:xfrm>
                <a:custGeom>
                  <a:avLst/>
                  <a:gdLst>
                    <a:gd name="T0" fmla="*/ 516 w 1007"/>
                    <a:gd name="T1" fmla="*/ 468 h 1005"/>
                    <a:gd name="T2" fmla="*/ 522 w 1007"/>
                    <a:gd name="T3" fmla="*/ 440 h 1005"/>
                    <a:gd name="T4" fmla="*/ 540 w 1007"/>
                    <a:gd name="T5" fmla="*/ 396 h 1005"/>
                    <a:gd name="T6" fmla="*/ 540 w 1007"/>
                    <a:gd name="T7" fmla="*/ 396 h 1005"/>
                    <a:gd name="T8" fmla="*/ 644 w 1007"/>
                    <a:gd name="T9" fmla="*/ 983 h 1005"/>
                    <a:gd name="T10" fmla="*/ 772 w 1007"/>
                    <a:gd name="T11" fmla="*/ 971 h 1005"/>
                    <a:gd name="T12" fmla="*/ 923 w 1007"/>
                    <a:gd name="T13" fmla="*/ 935 h 1005"/>
                    <a:gd name="T14" fmla="*/ 947 w 1007"/>
                    <a:gd name="T15" fmla="*/ 841 h 1005"/>
                    <a:gd name="T16" fmla="*/ 1007 w 1007"/>
                    <a:gd name="T17" fmla="*/ 765 h 1005"/>
                    <a:gd name="T18" fmla="*/ 951 w 1007"/>
                    <a:gd name="T19" fmla="*/ 583 h 1005"/>
                    <a:gd name="T20" fmla="*/ 861 w 1007"/>
                    <a:gd name="T21" fmla="*/ 583 h 1005"/>
                    <a:gd name="T22" fmla="*/ 812 w 1007"/>
                    <a:gd name="T23" fmla="*/ 635 h 1005"/>
                    <a:gd name="T24" fmla="*/ 839 w 1007"/>
                    <a:gd name="T25" fmla="*/ 526 h 1005"/>
                    <a:gd name="T26" fmla="*/ 728 w 1007"/>
                    <a:gd name="T27" fmla="*/ 344 h 1005"/>
                    <a:gd name="T28" fmla="*/ 616 w 1007"/>
                    <a:gd name="T29" fmla="*/ 352 h 1005"/>
                    <a:gd name="T30" fmla="*/ 598 w 1007"/>
                    <a:gd name="T31" fmla="*/ 466 h 1005"/>
                    <a:gd name="T32" fmla="*/ 554 w 1007"/>
                    <a:gd name="T33" fmla="*/ 468 h 1005"/>
                    <a:gd name="T34" fmla="*/ 518 w 1007"/>
                    <a:gd name="T35" fmla="*/ 564 h 1005"/>
                    <a:gd name="T36" fmla="*/ 506 w 1007"/>
                    <a:gd name="T37" fmla="*/ 691 h 1005"/>
                    <a:gd name="T38" fmla="*/ 562 w 1007"/>
                    <a:gd name="T39" fmla="*/ 917 h 1005"/>
                    <a:gd name="T40" fmla="*/ 520 w 1007"/>
                    <a:gd name="T41" fmla="*/ 1005 h 1005"/>
                    <a:gd name="T42" fmla="*/ 678 w 1007"/>
                    <a:gd name="T43" fmla="*/ 314 h 1005"/>
                    <a:gd name="T44" fmla="*/ 568 w 1007"/>
                    <a:gd name="T45" fmla="*/ 324 h 1005"/>
                    <a:gd name="T46" fmla="*/ 568 w 1007"/>
                    <a:gd name="T47" fmla="*/ 324 h 1005"/>
                    <a:gd name="T48" fmla="*/ 694 w 1007"/>
                    <a:gd name="T49" fmla="*/ 214 h 1005"/>
                    <a:gd name="T50" fmla="*/ 0 w 1007"/>
                    <a:gd name="T51" fmla="*/ 282 h 1005"/>
                    <a:gd name="T52" fmla="*/ 212 w 1007"/>
                    <a:gd name="T53" fmla="*/ 350 h 1005"/>
                    <a:gd name="T54" fmla="*/ 312 w 1007"/>
                    <a:gd name="T55" fmla="*/ 442 h 1005"/>
                    <a:gd name="T56" fmla="*/ 380 w 1007"/>
                    <a:gd name="T57" fmla="*/ 390 h 1005"/>
                    <a:gd name="T58" fmla="*/ 448 w 1007"/>
                    <a:gd name="T59" fmla="*/ 362 h 1005"/>
                    <a:gd name="T60" fmla="*/ 552 w 1007"/>
                    <a:gd name="T61" fmla="*/ 280 h 1005"/>
                    <a:gd name="T62" fmla="*/ 662 w 1007"/>
                    <a:gd name="T63" fmla="*/ 268 h 1005"/>
                    <a:gd name="T64" fmla="*/ 716 w 1007"/>
                    <a:gd name="T65" fmla="*/ 246 h 1005"/>
                    <a:gd name="T66" fmla="*/ 648 w 1007"/>
                    <a:gd name="T67" fmla="*/ 208 h 1005"/>
                    <a:gd name="T68" fmla="*/ 596 w 1007"/>
                    <a:gd name="T69" fmla="*/ 158 h 1005"/>
                    <a:gd name="T70" fmla="*/ 430 w 1007"/>
                    <a:gd name="T71" fmla="*/ 230 h 1005"/>
                    <a:gd name="T72" fmla="*/ 354 w 1007"/>
                    <a:gd name="T73" fmla="*/ 248 h 1005"/>
                    <a:gd name="T74" fmla="*/ 182 w 1007"/>
                    <a:gd name="T75" fmla="*/ 152 h 1005"/>
                    <a:gd name="T76" fmla="*/ 4 w 1007"/>
                    <a:gd name="T77" fmla="*/ 280 h 1005"/>
                    <a:gd name="T78" fmla="*/ 276 w 1007"/>
                    <a:gd name="T79" fmla="*/ 106 h 1005"/>
                    <a:gd name="T80" fmla="*/ 226 w 1007"/>
                    <a:gd name="T81" fmla="*/ 152 h 1005"/>
                    <a:gd name="T82" fmla="*/ 276 w 1007"/>
                    <a:gd name="T83" fmla="*/ 106 h 1005"/>
                    <a:gd name="T84" fmla="*/ 108 w 1007"/>
                    <a:gd name="T85" fmla="*/ 64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7" h="1005">
                      <a:moveTo>
                        <a:pt x="520" y="466"/>
                      </a:moveTo>
                      <a:lnTo>
                        <a:pt x="516" y="460"/>
                      </a:lnTo>
                      <a:lnTo>
                        <a:pt x="516" y="468"/>
                      </a:lnTo>
                      <a:lnTo>
                        <a:pt x="520" y="466"/>
                      </a:lnTo>
                      <a:close/>
                      <a:moveTo>
                        <a:pt x="532" y="452"/>
                      </a:moveTo>
                      <a:lnTo>
                        <a:pt x="522" y="440"/>
                      </a:lnTo>
                      <a:lnTo>
                        <a:pt x="522" y="444"/>
                      </a:lnTo>
                      <a:lnTo>
                        <a:pt x="532" y="452"/>
                      </a:lnTo>
                      <a:close/>
                      <a:moveTo>
                        <a:pt x="540" y="396"/>
                      </a:moveTo>
                      <a:lnTo>
                        <a:pt x="532" y="388"/>
                      </a:lnTo>
                      <a:lnTo>
                        <a:pt x="532" y="390"/>
                      </a:lnTo>
                      <a:lnTo>
                        <a:pt x="540" y="396"/>
                      </a:lnTo>
                      <a:close/>
                      <a:moveTo>
                        <a:pt x="520" y="1005"/>
                      </a:moveTo>
                      <a:lnTo>
                        <a:pt x="616" y="989"/>
                      </a:lnTo>
                      <a:lnTo>
                        <a:pt x="644" y="983"/>
                      </a:lnTo>
                      <a:lnTo>
                        <a:pt x="762" y="963"/>
                      </a:lnTo>
                      <a:lnTo>
                        <a:pt x="766" y="973"/>
                      </a:lnTo>
                      <a:lnTo>
                        <a:pt x="772" y="971"/>
                      </a:lnTo>
                      <a:lnTo>
                        <a:pt x="824" y="959"/>
                      </a:lnTo>
                      <a:lnTo>
                        <a:pt x="875" y="949"/>
                      </a:lnTo>
                      <a:lnTo>
                        <a:pt x="923" y="935"/>
                      </a:lnTo>
                      <a:lnTo>
                        <a:pt x="923" y="933"/>
                      </a:lnTo>
                      <a:lnTo>
                        <a:pt x="949" y="883"/>
                      </a:lnTo>
                      <a:lnTo>
                        <a:pt x="947" y="841"/>
                      </a:lnTo>
                      <a:lnTo>
                        <a:pt x="975" y="769"/>
                      </a:lnTo>
                      <a:lnTo>
                        <a:pt x="997" y="781"/>
                      </a:lnTo>
                      <a:lnTo>
                        <a:pt x="1007" y="765"/>
                      </a:lnTo>
                      <a:lnTo>
                        <a:pt x="1003" y="703"/>
                      </a:lnTo>
                      <a:lnTo>
                        <a:pt x="983" y="665"/>
                      </a:lnTo>
                      <a:lnTo>
                        <a:pt x="951" y="583"/>
                      </a:lnTo>
                      <a:lnTo>
                        <a:pt x="925" y="552"/>
                      </a:lnTo>
                      <a:lnTo>
                        <a:pt x="911" y="548"/>
                      </a:lnTo>
                      <a:lnTo>
                        <a:pt x="861" y="583"/>
                      </a:lnTo>
                      <a:lnTo>
                        <a:pt x="865" y="591"/>
                      </a:lnTo>
                      <a:lnTo>
                        <a:pt x="839" y="639"/>
                      </a:lnTo>
                      <a:lnTo>
                        <a:pt x="812" y="635"/>
                      </a:lnTo>
                      <a:lnTo>
                        <a:pt x="804" y="583"/>
                      </a:lnTo>
                      <a:lnTo>
                        <a:pt x="816" y="579"/>
                      </a:lnTo>
                      <a:lnTo>
                        <a:pt x="839" y="526"/>
                      </a:lnTo>
                      <a:lnTo>
                        <a:pt x="841" y="434"/>
                      </a:lnTo>
                      <a:lnTo>
                        <a:pt x="806" y="356"/>
                      </a:lnTo>
                      <a:lnTo>
                        <a:pt x="728" y="344"/>
                      </a:lnTo>
                      <a:lnTo>
                        <a:pt x="720" y="332"/>
                      </a:lnTo>
                      <a:lnTo>
                        <a:pt x="648" y="312"/>
                      </a:lnTo>
                      <a:lnTo>
                        <a:pt x="616" y="352"/>
                      </a:lnTo>
                      <a:lnTo>
                        <a:pt x="618" y="386"/>
                      </a:lnTo>
                      <a:lnTo>
                        <a:pt x="594" y="418"/>
                      </a:lnTo>
                      <a:lnTo>
                        <a:pt x="598" y="466"/>
                      </a:lnTo>
                      <a:lnTo>
                        <a:pt x="574" y="482"/>
                      </a:lnTo>
                      <a:lnTo>
                        <a:pt x="574" y="422"/>
                      </a:lnTo>
                      <a:lnTo>
                        <a:pt x="554" y="468"/>
                      </a:lnTo>
                      <a:lnTo>
                        <a:pt x="528" y="508"/>
                      </a:lnTo>
                      <a:lnTo>
                        <a:pt x="510" y="522"/>
                      </a:lnTo>
                      <a:lnTo>
                        <a:pt x="518" y="564"/>
                      </a:lnTo>
                      <a:lnTo>
                        <a:pt x="508" y="609"/>
                      </a:lnTo>
                      <a:lnTo>
                        <a:pt x="514" y="665"/>
                      </a:lnTo>
                      <a:lnTo>
                        <a:pt x="506" y="691"/>
                      </a:lnTo>
                      <a:lnTo>
                        <a:pt x="562" y="799"/>
                      </a:lnTo>
                      <a:lnTo>
                        <a:pt x="570" y="841"/>
                      </a:lnTo>
                      <a:lnTo>
                        <a:pt x="562" y="917"/>
                      </a:lnTo>
                      <a:lnTo>
                        <a:pt x="526" y="1001"/>
                      </a:lnTo>
                      <a:lnTo>
                        <a:pt x="520" y="1005"/>
                      </a:lnTo>
                      <a:lnTo>
                        <a:pt x="520" y="1005"/>
                      </a:lnTo>
                      <a:close/>
                      <a:moveTo>
                        <a:pt x="686" y="304"/>
                      </a:moveTo>
                      <a:lnTo>
                        <a:pt x="666" y="306"/>
                      </a:lnTo>
                      <a:lnTo>
                        <a:pt x="678" y="314"/>
                      </a:lnTo>
                      <a:lnTo>
                        <a:pt x="686" y="304"/>
                      </a:lnTo>
                      <a:lnTo>
                        <a:pt x="686" y="304"/>
                      </a:lnTo>
                      <a:close/>
                      <a:moveTo>
                        <a:pt x="568" y="324"/>
                      </a:moveTo>
                      <a:lnTo>
                        <a:pt x="562" y="324"/>
                      </a:lnTo>
                      <a:lnTo>
                        <a:pt x="570" y="328"/>
                      </a:lnTo>
                      <a:lnTo>
                        <a:pt x="568" y="324"/>
                      </a:lnTo>
                      <a:close/>
                      <a:moveTo>
                        <a:pt x="704" y="226"/>
                      </a:moveTo>
                      <a:lnTo>
                        <a:pt x="696" y="214"/>
                      </a:lnTo>
                      <a:lnTo>
                        <a:pt x="694" y="214"/>
                      </a:lnTo>
                      <a:lnTo>
                        <a:pt x="704" y="226"/>
                      </a:lnTo>
                      <a:lnTo>
                        <a:pt x="704" y="226"/>
                      </a:lnTo>
                      <a:close/>
                      <a:moveTo>
                        <a:pt x="0" y="282"/>
                      </a:moveTo>
                      <a:lnTo>
                        <a:pt x="26" y="296"/>
                      </a:lnTo>
                      <a:lnTo>
                        <a:pt x="154" y="336"/>
                      </a:lnTo>
                      <a:lnTo>
                        <a:pt x="212" y="350"/>
                      </a:lnTo>
                      <a:lnTo>
                        <a:pt x="270" y="354"/>
                      </a:lnTo>
                      <a:lnTo>
                        <a:pt x="312" y="388"/>
                      </a:lnTo>
                      <a:lnTo>
                        <a:pt x="312" y="442"/>
                      </a:lnTo>
                      <a:lnTo>
                        <a:pt x="348" y="478"/>
                      </a:lnTo>
                      <a:lnTo>
                        <a:pt x="348" y="478"/>
                      </a:lnTo>
                      <a:lnTo>
                        <a:pt x="380" y="390"/>
                      </a:lnTo>
                      <a:lnTo>
                        <a:pt x="416" y="364"/>
                      </a:lnTo>
                      <a:lnTo>
                        <a:pt x="444" y="334"/>
                      </a:lnTo>
                      <a:lnTo>
                        <a:pt x="448" y="362"/>
                      </a:lnTo>
                      <a:lnTo>
                        <a:pt x="476" y="318"/>
                      </a:lnTo>
                      <a:lnTo>
                        <a:pt x="546" y="290"/>
                      </a:lnTo>
                      <a:lnTo>
                        <a:pt x="552" y="280"/>
                      </a:lnTo>
                      <a:lnTo>
                        <a:pt x="622" y="288"/>
                      </a:lnTo>
                      <a:lnTo>
                        <a:pt x="648" y="302"/>
                      </a:lnTo>
                      <a:lnTo>
                        <a:pt x="662" y="268"/>
                      </a:lnTo>
                      <a:lnTo>
                        <a:pt x="674" y="276"/>
                      </a:lnTo>
                      <a:lnTo>
                        <a:pt x="728" y="268"/>
                      </a:lnTo>
                      <a:lnTo>
                        <a:pt x="716" y="246"/>
                      </a:lnTo>
                      <a:lnTo>
                        <a:pt x="692" y="232"/>
                      </a:lnTo>
                      <a:lnTo>
                        <a:pt x="696" y="182"/>
                      </a:lnTo>
                      <a:lnTo>
                        <a:pt x="648" y="208"/>
                      </a:lnTo>
                      <a:lnTo>
                        <a:pt x="606" y="202"/>
                      </a:lnTo>
                      <a:lnTo>
                        <a:pt x="592" y="168"/>
                      </a:lnTo>
                      <a:lnTo>
                        <a:pt x="596" y="158"/>
                      </a:lnTo>
                      <a:lnTo>
                        <a:pt x="536" y="186"/>
                      </a:lnTo>
                      <a:lnTo>
                        <a:pt x="498" y="188"/>
                      </a:lnTo>
                      <a:lnTo>
                        <a:pt x="430" y="230"/>
                      </a:lnTo>
                      <a:lnTo>
                        <a:pt x="422" y="246"/>
                      </a:lnTo>
                      <a:lnTo>
                        <a:pt x="380" y="236"/>
                      </a:lnTo>
                      <a:lnTo>
                        <a:pt x="354" y="248"/>
                      </a:lnTo>
                      <a:lnTo>
                        <a:pt x="302" y="202"/>
                      </a:lnTo>
                      <a:lnTo>
                        <a:pt x="184" y="166"/>
                      </a:lnTo>
                      <a:lnTo>
                        <a:pt x="182" y="152"/>
                      </a:lnTo>
                      <a:lnTo>
                        <a:pt x="106" y="224"/>
                      </a:lnTo>
                      <a:lnTo>
                        <a:pt x="64" y="234"/>
                      </a:lnTo>
                      <a:lnTo>
                        <a:pt x="4" y="280"/>
                      </a:lnTo>
                      <a:lnTo>
                        <a:pt x="0" y="282"/>
                      </a:lnTo>
                      <a:lnTo>
                        <a:pt x="0" y="282"/>
                      </a:lnTo>
                      <a:close/>
                      <a:moveTo>
                        <a:pt x="276" y="106"/>
                      </a:moveTo>
                      <a:lnTo>
                        <a:pt x="186" y="152"/>
                      </a:lnTo>
                      <a:lnTo>
                        <a:pt x="216" y="180"/>
                      </a:lnTo>
                      <a:lnTo>
                        <a:pt x="226" y="152"/>
                      </a:lnTo>
                      <a:lnTo>
                        <a:pt x="258" y="114"/>
                      </a:lnTo>
                      <a:lnTo>
                        <a:pt x="276" y="106"/>
                      </a:lnTo>
                      <a:lnTo>
                        <a:pt x="276" y="106"/>
                      </a:lnTo>
                      <a:close/>
                      <a:moveTo>
                        <a:pt x="174" y="0"/>
                      </a:moveTo>
                      <a:lnTo>
                        <a:pt x="112" y="42"/>
                      </a:lnTo>
                      <a:lnTo>
                        <a:pt x="108" y="64"/>
                      </a:lnTo>
                      <a:lnTo>
                        <a:pt x="158" y="28"/>
                      </a:lnTo>
                      <a:lnTo>
                        <a:pt x="174" y="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sp>
              <p:nvSpPr>
                <p:cNvPr id="2732" name="Alaska" descr="{&quot;Key&quot;:&quot;alaska&quot;,&quot;Name&quot;:&quot;Alaska&quot;,&quot;Value&quot;:1.0,&quot;Formula&quot;:&quot;&quot;,&quot;Text&quot;:&quot;&quot;,&quot;OfficeApplication&quot;:1,&quot;HasValue&quot;:true}">
                  <a:extLst>
                    <a:ext uri="{FF2B5EF4-FFF2-40B4-BE49-F238E27FC236}">
                      <a16:creationId xmlns:a16="http://schemas.microsoft.com/office/drawing/2014/main" id="{A5A8C65F-91FC-4CBE-A515-36DFE3F97EE9}"/>
                    </a:ext>
                  </a:extLst>
                </p:cNvPr>
                <p:cNvSpPr>
                  <a:spLocks noEditPoints="1"/>
                </p:cNvSpPr>
                <p:nvPr/>
              </p:nvSpPr>
              <p:spPr bwMode="auto">
                <a:xfrm>
                  <a:off x="-600075" y="6035676"/>
                  <a:ext cx="3619500" cy="1376363"/>
                </a:xfrm>
                <a:custGeom>
                  <a:avLst/>
                  <a:gdLst>
                    <a:gd name="T0" fmla="*/ 676 w 2280"/>
                    <a:gd name="T1" fmla="*/ 787 h 867"/>
                    <a:gd name="T2" fmla="*/ 76 w 2280"/>
                    <a:gd name="T3" fmla="*/ 278 h 867"/>
                    <a:gd name="T4" fmla="*/ 769 w 2280"/>
                    <a:gd name="T5" fmla="*/ 817 h 867"/>
                    <a:gd name="T6" fmla="*/ 779 w 2280"/>
                    <a:gd name="T7" fmla="*/ 819 h 867"/>
                    <a:gd name="T8" fmla="*/ 108 w 2280"/>
                    <a:gd name="T9" fmla="*/ 296 h 867"/>
                    <a:gd name="T10" fmla="*/ 793 w 2280"/>
                    <a:gd name="T11" fmla="*/ 811 h 867"/>
                    <a:gd name="T12" fmla="*/ 935 w 2280"/>
                    <a:gd name="T13" fmla="*/ 857 h 867"/>
                    <a:gd name="T14" fmla="*/ 981 w 2280"/>
                    <a:gd name="T15" fmla="*/ 853 h 867"/>
                    <a:gd name="T16" fmla="*/ 993 w 2280"/>
                    <a:gd name="T17" fmla="*/ 853 h 867"/>
                    <a:gd name="T18" fmla="*/ 1151 w 2280"/>
                    <a:gd name="T19" fmla="*/ 845 h 867"/>
                    <a:gd name="T20" fmla="*/ 1169 w 2280"/>
                    <a:gd name="T21" fmla="*/ 841 h 867"/>
                    <a:gd name="T22" fmla="*/ 1247 w 2280"/>
                    <a:gd name="T23" fmla="*/ 849 h 867"/>
                    <a:gd name="T24" fmla="*/ 1251 w 2280"/>
                    <a:gd name="T25" fmla="*/ 837 h 867"/>
                    <a:gd name="T26" fmla="*/ 1239 w 2280"/>
                    <a:gd name="T27" fmla="*/ 821 h 867"/>
                    <a:gd name="T28" fmla="*/ 1257 w 2280"/>
                    <a:gd name="T29" fmla="*/ 827 h 867"/>
                    <a:gd name="T30" fmla="*/ 1213 w 2280"/>
                    <a:gd name="T31" fmla="*/ 807 h 867"/>
                    <a:gd name="T32" fmla="*/ 1277 w 2280"/>
                    <a:gd name="T33" fmla="*/ 815 h 867"/>
                    <a:gd name="T34" fmla="*/ 1347 w 2280"/>
                    <a:gd name="T35" fmla="*/ 831 h 867"/>
                    <a:gd name="T36" fmla="*/ 2180 w 2280"/>
                    <a:gd name="T37" fmla="*/ 769 h 867"/>
                    <a:gd name="T38" fmla="*/ 2180 w 2280"/>
                    <a:gd name="T39" fmla="*/ 763 h 867"/>
                    <a:gd name="T40" fmla="*/ 2168 w 2280"/>
                    <a:gd name="T41" fmla="*/ 765 h 867"/>
                    <a:gd name="T42" fmla="*/ 2170 w 2280"/>
                    <a:gd name="T43" fmla="*/ 743 h 867"/>
                    <a:gd name="T44" fmla="*/ 1311 w 2280"/>
                    <a:gd name="T45" fmla="*/ 777 h 867"/>
                    <a:gd name="T46" fmla="*/ 2216 w 2280"/>
                    <a:gd name="T47" fmla="*/ 759 h 867"/>
                    <a:gd name="T48" fmla="*/ 2198 w 2280"/>
                    <a:gd name="T49" fmla="*/ 707 h 867"/>
                    <a:gd name="T50" fmla="*/ 1513 w 2280"/>
                    <a:gd name="T51" fmla="*/ 775 h 867"/>
                    <a:gd name="T52" fmla="*/ 1363 w 2280"/>
                    <a:gd name="T53" fmla="*/ 753 h 867"/>
                    <a:gd name="T54" fmla="*/ 2136 w 2280"/>
                    <a:gd name="T55" fmla="*/ 699 h 867"/>
                    <a:gd name="T56" fmla="*/ 1461 w 2280"/>
                    <a:gd name="T57" fmla="*/ 731 h 867"/>
                    <a:gd name="T58" fmla="*/ 1577 w 2280"/>
                    <a:gd name="T59" fmla="*/ 711 h 867"/>
                    <a:gd name="T60" fmla="*/ 1563 w 2280"/>
                    <a:gd name="T61" fmla="*/ 709 h 867"/>
                    <a:gd name="T62" fmla="*/ 2068 w 2280"/>
                    <a:gd name="T63" fmla="*/ 645 h 867"/>
                    <a:gd name="T64" fmla="*/ 2072 w 2280"/>
                    <a:gd name="T65" fmla="*/ 637 h 867"/>
                    <a:gd name="T66" fmla="*/ 1363 w 2280"/>
                    <a:gd name="T67" fmla="*/ 651 h 867"/>
                    <a:gd name="T68" fmla="*/ 1583 w 2280"/>
                    <a:gd name="T69" fmla="*/ 659 h 867"/>
                    <a:gd name="T70" fmla="*/ 1597 w 2280"/>
                    <a:gd name="T71" fmla="*/ 647 h 867"/>
                    <a:gd name="T72" fmla="*/ 1711 w 2280"/>
                    <a:gd name="T73" fmla="*/ 601 h 867"/>
                    <a:gd name="T74" fmla="*/ 1701 w 2280"/>
                    <a:gd name="T75" fmla="*/ 603 h 867"/>
                    <a:gd name="T76" fmla="*/ 1785 w 2280"/>
                    <a:gd name="T77" fmla="*/ 587 h 867"/>
                    <a:gd name="T78" fmla="*/ 1707 w 2280"/>
                    <a:gd name="T79" fmla="*/ 589 h 867"/>
                    <a:gd name="T80" fmla="*/ 1215 w 2280"/>
                    <a:gd name="T81" fmla="*/ 523 h 867"/>
                    <a:gd name="T82" fmla="*/ 1041 w 2280"/>
                    <a:gd name="T83" fmla="*/ 444 h 867"/>
                    <a:gd name="T84" fmla="*/ 1737 w 2280"/>
                    <a:gd name="T85" fmla="*/ 559 h 867"/>
                    <a:gd name="T86" fmla="*/ 1241 w 2280"/>
                    <a:gd name="T87" fmla="*/ 448 h 867"/>
                    <a:gd name="T88" fmla="*/ 1277 w 2280"/>
                    <a:gd name="T89" fmla="*/ 420 h 867"/>
                    <a:gd name="T90" fmla="*/ 1167 w 2280"/>
                    <a:gd name="T91" fmla="*/ 362 h 867"/>
                    <a:gd name="T92" fmla="*/ 1157 w 2280"/>
                    <a:gd name="T93" fmla="*/ 344 h 867"/>
                    <a:gd name="T94" fmla="*/ 1351 w 2280"/>
                    <a:gd name="T95" fmla="*/ 382 h 867"/>
                    <a:gd name="T96" fmla="*/ 1273 w 2280"/>
                    <a:gd name="T97" fmla="*/ 316 h 867"/>
                    <a:gd name="T98" fmla="*/ 1281 w 2280"/>
                    <a:gd name="T99" fmla="*/ 234 h 867"/>
                    <a:gd name="T100" fmla="*/ 1311 w 2280"/>
                    <a:gd name="T101" fmla="*/ 224 h 867"/>
                    <a:gd name="T102" fmla="*/ 1413 w 2280"/>
                    <a:gd name="T103" fmla="*/ 56 h 867"/>
                    <a:gd name="T104" fmla="*/ 1665 w 2280"/>
                    <a:gd name="T105" fmla="*/ 50 h 867"/>
                    <a:gd name="T106" fmla="*/ 1397 w 2280"/>
                    <a:gd name="T107" fmla="*/ 228 h 867"/>
                    <a:gd name="T108" fmla="*/ 1399 w 2280"/>
                    <a:gd name="T109" fmla="*/ 338 h 867"/>
                    <a:gd name="T110" fmla="*/ 1321 w 2280"/>
                    <a:gd name="T111" fmla="*/ 619 h 867"/>
                    <a:gd name="T112" fmla="*/ 1301 w 2280"/>
                    <a:gd name="T113" fmla="*/ 807 h 867"/>
                    <a:gd name="T114" fmla="*/ 1601 w 2280"/>
                    <a:gd name="T115" fmla="*/ 647 h 867"/>
                    <a:gd name="T116" fmla="*/ 2062 w 2280"/>
                    <a:gd name="T117" fmla="*/ 581 h 867"/>
                    <a:gd name="T118" fmla="*/ 2001 w 2280"/>
                    <a:gd name="T119" fmla="*/ 605 h 867"/>
                    <a:gd name="T120" fmla="*/ 1541 w 2280"/>
                    <a:gd name="T121" fmla="*/ 0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80" h="867">
                      <a:moveTo>
                        <a:pt x="660" y="795"/>
                      </a:moveTo>
                      <a:lnTo>
                        <a:pt x="656" y="797"/>
                      </a:lnTo>
                      <a:lnTo>
                        <a:pt x="660" y="797"/>
                      </a:lnTo>
                      <a:lnTo>
                        <a:pt x="660" y="795"/>
                      </a:lnTo>
                      <a:lnTo>
                        <a:pt x="660" y="795"/>
                      </a:lnTo>
                      <a:close/>
                      <a:moveTo>
                        <a:pt x="688" y="799"/>
                      </a:moveTo>
                      <a:lnTo>
                        <a:pt x="688" y="799"/>
                      </a:lnTo>
                      <a:lnTo>
                        <a:pt x="688" y="801"/>
                      </a:lnTo>
                      <a:lnTo>
                        <a:pt x="688" y="799"/>
                      </a:lnTo>
                      <a:close/>
                      <a:moveTo>
                        <a:pt x="676" y="787"/>
                      </a:moveTo>
                      <a:lnTo>
                        <a:pt x="676" y="789"/>
                      </a:lnTo>
                      <a:lnTo>
                        <a:pt x="676" y="787"/>
                      </a:lnTo>
                      <a:lnTo>
                        <a:pt x="676" y="787"/>
                      </a:lnTo>
                      <a:lnTo>
                        <a:pt x="676" y="787"/>
                      </a:lnTo>
                      <a:close/>
                      <a:moveTo>
                        <a:pt x="668" y="783"/>
                      </a:moveTo>
                      <a:lnTo>
                        <a:pt x="668" y="781"/>
                      </a:lnTo>
                      <a:lnTo>
                        <a:pt x="668" y="781"/>
                      </a:lnTo>
                      <a:lnTo>
                        <a:pt x="668" y="783"/>
                      </a:lnTo>
                      <a:close/>
                      <a:moveTo>
                        <a:pt x="682" y="789"/>
                      </a:moveTo>
                      <a:lnTo>
                        <a:pt x="682" y="789"/>
                      </a:lnTo>
                      <a:lnTo>
                        <a:pt x="682" y="789"/>
                      </a:lnTo>
                      <a:lnTo>
                        <a:pt x="682" y="789"/>
                      </a:lnTo>
                      <a:lnTo>
                        <a:pt x="682" y="789"/>
                      </a:lnTo>
                      <a:close/>
                      <a:moveTo>
                        <a:pt x="682" y="789"/>
                      </a:moveTo>
                      <a:lnTo>
                        <a:pt x="682" y="787"/>
                      </a:lnTo>
                      <a:lnTo>
                        <a:pt x="680" y="787"/>
                      </a:lnTo>
                      <a:lnTo>
                        <a:pt x="682" y="789"/>
                      </a:lnTo>
                      <a:close/>
                      <a:moveTo>
                        <a:pt x="76" y="278"/>
                      </a:moveTo>
                      <a:lnTo>
                        <a:pt x="74" y="282"/>
                      </a:lnTo>
                      <a:lnTo>
                        <a:pt x="76" y="298"/>
                      </a:lnTo>
                      <a:lnTo>
                        <a:pt x="76" y="278"/>
                      </a:lnTo>
                      <a:close/>
                      <a:moveTo>
                        <a:pt x="72" y="256"/>
                      </a:moveTo>
                      <a:lnTo>
                        <a:pt x="72" y="264"/>
                      </a:lnTo>
                      <a:lnTo>
                        <a:pt x="74" y="260"/>
                      </a:lnTo>
                      <a:lnTo>
                        <a:pt x="72" y="256"/>
                      </a:lnTo>
                      <a:close/>
                      <a:moveTo>
                        <a:pt x="682" y="779"/>
                      </a:moveTo>
                      <a:lnTo>
                        <a:pt x="682" y="775"/>
                      </a:lnTo>
                      <a:lnTo>
                        <a:pt x="678" y="775"/>
                      </a:lnTo>
                      <a:lnTo>
                        <a:pt x="682" y="779"/>
                      </a:lnTo>
                      <a:lnTo>
                        <a:pt x="682" y="779"/>
                      </a:lnTo>
                      <a:close/>
                      <a:moveTo>
                        <a:pt x="771" y="817"/>
                      </a:moveTo>
                      <a:lnTo>
                        <a:pt x="769" y="817"/>
                      </a:lnTo>
                      <a:lnTo>
                        <a:pt x="771" y="819"/>
                      </a:lnTo>
                      <a:lnTo>
                        <a:pt x="771" y="817"/>
                      </a:lnTo>
                      <a:lnTo>
                        <a:pt x="771" y="817"/>
                      </a:lnTo>
                      <a:close/>
                      <a:moveTo>
                        <a:pt x="712" y="789"/>
                      </a:moveTo>
                      <a:lnTo>
                        <a:pt x="704" y="783"/>
                      </a:lnTo>
                      <a:lnTo>
                        <a:pt x="704" y="801"/>
                      </a:lnTo>
                      <a:lnTo>
                        <a:pt x="712" y="789"/>
                      </a:lnTo>
                      <a:close/>
                      <a:moveTo>
                        <a:pt x="732" y="807"/>
                      </a:moveTo>
                      <a:lnTo>
                        <a:pt x="730" y="801"/>
                      </a:lnTo>
                      <a:lnTo>
                        <a:pt x="718" y="801"/>
                      </a:lnTo>
                      <a:lnTo>
                        <a:pt x="732" y="807"/>
                      </a:lnTo>
                      <a:lnTo>
                        <a:pt x="732" y="807"/>
                      </a:lnTo>
                      <a:close/>
                      <a:moveTo>
                        <a:pt x="779" y="817"/>
                      </a:moveTo>
                      <a:lnTo>
                        <a:pt x="779" y="819"/>
                      </a:lnTo>
                      <a:lnTo>
                        <a:pt x="781" y="819"/>
                      </a:lnTo>
                      <a:lnTo>
                        <a:pt x="779" y="817"/>
                      </a:lnTo>
                      <a:lnTo>
                        <a:pt x="779" y="817"/>
                      </a:lnTo>
                      <a:close/>
                      <a:moveTo>
                        <a:pt x="783" y="819"/>
                      </a:moveTo>
                      <a:lnTo>
                        <a:pt x="781" y="819"/>
                      </a:lnTo>
                      <a:lnTo>
                        <a:pt x="783" y="819"/>
                      </a:lnTo>
                      <a:lnTo>
                        <a:pt x="783" y="819"/>
                      </a:lnTo>
                      <a:close/>
                      <a:moveTo>
                        <a:pt x="791" y="821"/>
                      </a:moveTo>
                      <a:lnTo>
                        <a:pt x="791" y="821"/>
                      </a:lnTo>
                      <a:lnTo>
                        <a:pt x="791" y="821"/>
                      </a:lnTo>
                      <a:lnTo>
                        <a:pt x="791" y="821"/>
                      </a:lnTo>
                      <a:lnTo>
                        <a:pt x="791" y="821"/>
                      </a:lnTo>
                      <a:close/>
                      <a:moveTo>
                        <a:pt x="106" y="294"/>
                      </a:moveTo>
                      <a:lnTo>
                        <a:pt x="108" y="296"/>
                      </a:lnTo>
                      <a:lnTo>
                        <a:pt x="110" y="294"/>
                      </a:lnTo>
                      <a:lnTo>
                        <a:pt x="106" y="294"/>
                      </a:lnTo>
                      <a:close/>
                      <a:moveTo>
                        <a:pt x="775" y="811"/>
                      </a:moveTo>
                      <a:lnTo>
                        <a:pt x="769" y="811"/>
                      </a:lnTo>
                      <a:lnTo>
                        <a:pt x="771" y="813"/>
                      </a:lnTo>
                      <a:lnTo>
                        <a:pt x="775" y="811"/>
                      </a:lnTo>
                      <a:lnTo>
                        <a:pt x="775" y="811"/>
                      </a:lnTo>
                      <a:close/>
                      <a:moveTo>
                        <a:pt x="64" y="234"/>
                      </a:moveTo>
                      <a:lnTo>
                        <a:pt x="52" y="230"/>
                      </a:lnTo>
                      <a:lnTo>
                        <a:pt x="52" y="232"/>
                      </a:lnTo>
                      <a:lnTo>
                        <a:pt x="64" y="234"/>
                      </a:lnTo>
                      <a:lnTo>
                        <a:pt x="64" y="234"/>
                      </a:lnTo>
                      <a:close/>
                      <a:moveTo>
                        <a:pt x="795" y="813"/>
                      </a:moveTo>
                      <a:lnTo>
                        <a:pt x="793" y="811"/>
                      </a:lnTo>
                      <a:lnTo>
                        <a:pt x="793" y="813"/>
                      </a:lnTo>
                      <a:lnTo>
                        <a:pt x="795" y="813"/>
                      </a:lnTo>
                      <a:close/>
                      <a:moveTo>
                        <a:pt x="841" y="821"/>
                      </a:moveTo>
                      <a:lnTo>
                        <a:pt x="811" y="825"/>
                      </a:lnTo>
                      <a:lnTo>
                        <a:pt x="805" y="827"/>
                      </a:lnTo>
                      <a:lnTo>
                        <a:pt x="841" y="821"/>
                      </a:lnTo>
                      <a:close/>
                      <a:moveTo>
                        <a:pt x="8" y="112"/>
                      </a:moveTo>
                      <a:lnTo>
                        <a:pt x="0" y="112"/>
                      </a:lnTo>
                      <a:lnTo>
                        <a:pt x="2" y="114"/>
                      </a:lnTo>
                      <a:lnTo>
                        <a:pt x="8" y="112"/>
                      </a:lnTo>
                      <a:close/>
                      <a:moveTo>
                        <a:pt x="935" y="857"/>
                      </a:moveTo>
                      <a:lnTo>
                        <a:pt x="935" y="855"/>
                      </a:lnTo>
                      <a:lnTo>
                        <a:pt x="933" y="855"/>
                      </a:lnTo>
                      <a:lnTo>
                        <a:pt x="935" y="857"/>
                      </a:lnTo>
                      <a:close/>
                      <a:moveTo>
                        <a:pt x="975" y="859"/>
                      </a:moveTo>
                      <a:lnTo>
                        <a:pt x="977" y="857"/>
                      </a:lnTo>
                      <a:lnTo>
                        <a:pt x="975" y="855"/>
                      </a:lnTo>
                      <a:lnTo>
                        <a:pt x="975" y="859"/>
                      </a:lnTo>
                      <a:close/>
                      <a:moveTo>
                        <a:pt x="1007" y="867"/>
                      </a:moveTo>
                      <a:lnTo>
                        <a:pt x="1007" y="867"/>
                      </a:lnTo>
                      <a:lnTo>
                        <a:pt x="1007" y="867"/>
                      </a:lnTo>
                      <a:lnTo>
                        <a:pt x="1007" y="867"/>
                      </a:lnTo>
                      <a:lnTo>
                        <a:pt x="1007" y="867"/>
                      </a:lnTo>
                      <a:close/>
                      <a:moveTo>
                        <a:pt x="981" y="853"/>
                      </a:moveTo>
                      <a:lnTo>
                        <a:pt x="981" y="849"/>
                      </a:lnTo>
                      <a:lnTo>
                        <a:pt x="979" y="849"/>
                      </a:lnTo>
                      <a:lnTo>
                        <a:pt x="981" y="853"/>
                      </a:lnTo>
                      <a:lnTo>
                        <a:pt x="981" y="853"/>
                      </a:lnTo>
                      <a:close/>
                      <a:moveTo>
                        <a:pt x="1033" y="865"/>
                      </a:moveTo>
                      <a:lnTo>
                        <a:pt x="1033" y="865"/>
                      </a:lnTo>
                      <a:lnTo>
                        <a:pt x="1033" y="865"/>
                      </a:lnTo>
                      <a:lnTo>
                        <a:pt x="1033" y="865"/>
                      </a:lnTo>
                      <a:close/>
                      <a:moveTo>
                        <a:pt x="12" y="72"/>
                      </a:moveTo>
                      <a:lnTo>
                        <a:pt x="2" y="74"/>
                      </a:lnTo>
                      <a:lnTo>
                        <a:pt x="16" y="88"/>
                      </a:lnTo>
                      <a:lnTo>
                        <a:pt x="12" y="72"/>
                      </a:lnTo>
                      <a:lnTo>
                        <a:pt x="12" y="72"/>
                      </a:lnTo>
                      <a:close/>
                      <a:moveTo>
                        <a:pt x="993" y="853"/>
                      </a:moveTo>
                      <a:lnTo>
                        <a:pt x="993" y="849"/>
                      </a:lnTo>
                      <a:lnTo>
                        <a:pt x="993" y="849"/>
                      </a:lnTo>
                      <a:lnTo>
                        <a:pt x="993" y="853"/>
                      </a:lnTo>
                      <a:lnTo>
                        <a:pt x="993" y="853"/>
                      </a:lnTo>
                      <a:close/>
                      <a:moveTo>
                        <a:pt x="1123" y="841"/>
                      </a:moveTo>
                      <a:lnTo>
                        <a:pt x="1125" y="839"/>
                      </a:lnTo>
                      <a:lnTo>
                        <a:pt x="1123" y="839"/>
                      </a:lnTo>
                      <a:lnTo>
                        <a:pt x="1123" y="841"/>
                      </a:lnTo>
                      <a:lnTo>
                        <a:pt x="1123" y="841"/>
                      </a:lnTo>
                      <a:close/>
                      <a:moveTo>
                        <a:pt x="1103" y="835"/>
                      </a:moveTo>
                      <a:lnTo>
                        <a:pt x="1077" y="859"/>
                      </a:lnTo>
                      <a:lnTo>
                        <a:pt x="1097" y="857"/>
                      </a:lnTo>
                      <a:lnTo>
                        <a:pt x="1119" y="839"/>
                      </a:lnTo>
                      <a:lnTo>
                        <a:pt x="1103" y="835"/>
                      </a:lnTo>
                      <a:lnTo>
                        <a:pt x="1103" y="835"/>
                      </a:lnTo>
                      <a:close/>
                      <a:moveTo>
                        <a:pt x="1153" y="843"/>
                      </a:moveTo>
                      <a:lnTo>
                        <a:pt x="1147" y="841"/>
                      </a:lnTo>
                      <a:lnTo>
                        <a:pt x="1151" y="845"/>
                      </a:lnTo>
                      <a:lnTo>
                        <a:pt x="1153" y="843"/>
                      </a:lnTo>
                      <a:lnTo>
                        <a:pt x="1153" y="843"/>
                      </a:lnTo>
                      <a:close/>
                      <a:moveTo>
                        <a:pt x="1163" y="843"/>
                      </a:moveTo>
                      <a:lnTo>
                        <a:pt x="1155" y="841"/>
                      </a:lnTo>
                      <a:lnTo>
                        <a:pt x="1153" y="841"/>
                      </a:lnTo>
                      <a:lnTo>
                        <a:pt x="1163" y="843"/>
                      </a:lnTo>
                      <a:close/>
                      <a:moveTo>
                        <a:pt x="1135" y="833"/>
                      </a:moveTo>
                      <a:lnTo>
                        <a:pt x="1125" y="833"/>
                      </a:lnTo>
                      <a:lnTo>
                        <a:pt x="1141" y="837"/>
                      </a:lnTo>
                      <a:lnTo>
                        <a:pt x="1135" y="833"/>
                      </a:lnTo>
                      <a:close/>
                      <a:moveTo>
                        <a:pt x="1169" y="841"/>
                      </a:moveTo>
                      <a:lnTo>
                        <a:pt x="1169" y="839"/>
                      </a:lnTo>
                      <a:lnTo>
                        <a:pt x="1165" y="839"/>
                      </a:lnTo>
                      <a:lnTo>
                        <a:pt x="1169" y="841"/>
                      </a:lnTo>
                      <a:lnTo>
                        <a:pt x="1169" y="841"/>
                      </a:lnTo>
                      <a:close/>
                      <a:moveTo>
                        <a:pt x="1147" y="831"/>
                      </a:moveTo>
                      <a:lnTo>
                        <a:pt x="1143" y="829"/>
                      </a:lnTo>
                      <a:lnTo>
                        <a:pt x="1143" y="839"/>
                      </a:lnTo>
                      <a:lnTo>
                        <a:pt x="1147" y="831"/>
                      </a:lnTo>
                      <a:close/>
                      <a:moveTo>
                        <a:pt x="1245" y="851"/>
                      </a:moveTo>
                      <a:lnTo>
                        <a:pt x="1245" y="849"/>
                      </a:lnTo>
                      <a:lnTo>
                        <a:pt x="1243" y="849"/>
                      </a:lnTo>
                      <a:lnTo>
                        <a:pt x="1245" y="851"/>
                      </a:lnTo>
                      <a:lnTo>
                        <a:pt x="1245" y="851"/>
                      </a:lnTo>
                      <a:close/>
                      <a:moveTo>
                        <a:pt x="1247" y="849"/>
                      </a:moveTo>
                      <a:lnTo>
                        <a:pt x="1247" y="849"/>
                      </a:lnTo>
                      <a:lnTo>
                        <a:pt x="1245" y="849"/>
                      </a:lnTo>
                      <a:lnTo>
                        <a:pt x="1247" y="849"/>
                      </a:lnTo>
                      <a:lnTo>
                        <a:pt x="1247" y="849"/>
                      </a:lnTo>
                      <a:close/>
                      <a:moveTo>
                        <a:pt x="1235" y="845"/>
                      </a:moveTo>
                      <a:lnTo>
                        <a:pt x="1235" y="849"/>
                      </a:lnTo>
                      <a:lnTo>
                        <a:pt x="1235" y="847"/>
                      </a:lnTo>
                      <a:lnTo>
                        <a:pt x="1235" y="845"/>
                      </a:lnTo>
                      <a:lnTo>
                        <a:pt x="1235" y="845"/>
                      </a:lnTo>
                      <a:close/>
                      <a:moveTo>
                        <a:pt x="1241" y="845"/>
                      </a:moveTo>
                      <a:lnTo>
                        <a:pt x="1235" y="843"/>
                      </a:lnTo>
                      <a:lnTo>
                        <a:pt x="1243" y="849"/>
                      </a:lnTo>
                      <a:lnTo>
                        <a:pt x="1241" y="845"/>
                      </a:lnTo>
                      <a:close/>
                      <a:moveTo>
                        <a:pt x="1251" y="837"/>
                      </a:moveTo>
                      <a:lnTo>
                        <a:pt x="1251" y="837"/>
                      </a:lnTo>
                      <a:lnTo>
                        <a:pt x="1251" y="839"/>
                      </a:lnTo>
                      <a:lnTo>
                        <a:pt x="1251" y="837"/>
                      </a:lnTo>
                      <a:close/>
                      <a:moveTo>
                        <a:pt x="1343" y="849"/>
                      </a:moveTo>
                      <a:lnTo>
                        <a:pt x="1343" y="845"/>
                      </a:lnTo>
                      <a:lnTo>
                        <a:pt x="1341" y="845"/>
                      </a:lnTo>
                      <a:lnTo>
                        <a:pt x="1343" y="849"/>
                      </a:lnTo>
                      <a:lnTo>
                        <a:pt x="1343" y="849"/>
                      </a:lnTo>
                      <a:close/>
                      <a:moveTo>
                        <a:pt x="2180" y="797"/>
                      </a:moveTo>
                      <a:lnTo>
                        <a:pt x="2178" y="795"/>
                      </a:lnTo>
                      <a:lnTo>
                        <a:pt x="2180" y="797"/>
                      </a:lnTo>
                      <a:lnTo>
                        <a:pt x="2180" y="797"/>
                      </a:lnTo>
                      <a:lnTo>
                        <a:pt x="2180" y="797"/>
                      </a:lnTo>
                      <a:close/>
                      <a:moveTo>
                        <a:pt x="1239" y="821"/>
                      </a:moveTo>
                      <a:lnTo>
                        <a:pt x="1239" y="821"/>
                      </a:lnTo>
                      <a:lnTo>
                        <a:pt x="1237" y="821"/>
                      </a:lnTo>
                      <a:lnTo>
                        <a:pt x="1239" y="821"/>
                      </a:lnTo>
                      <a:close/>
                      <a:moveTo>
                        <a:pt x="2202" y="783"/>
                      </a:moveTo>
                      <a:lnTo>
                        <a:pt x="2206" y="787"/>
                      </a:lnTo>
                      <a:lnTo>
                        <a:pt x="2206" y="787"/>
                      </a:lnTo>
                      <a:lnTo>
                        <a:pt x="2202" y="783"/>
                      </a:lnTo>
                      <a:close/>
                      <a:moveTo>
                        <a:pt x="1353" y="841"/>
                      </a:moveTo>
                      <a:lnTo>
                        <a:pt x="1353" y="841"/>
                      </a:lnTo>
                      <a:lnTo>
                        <a:pt x="1353" y="845"/>
                      </a:lnTo>
                      <a:lnTo>
                        <a:pt x="1353" y="841"/>
                      </a:lnTo>
                      <a:lnTo>
                        <a:pt x="1353" y="841"/>
                      </a:lnTo>
                      <a:close/>
                      <a:moveTo>
                        <a:pt x="1257" y="827"/>
                      </a:moveTo>
                      <a:lnTo>
                        <a:pt x="1259" y="821"/>
                      </a:lnTo>
                      <a:lnTo>
                        <a:pt x="1257" y="821"/>
                      </a:lnTo>
                      <a:lnTo>
                        <a:pt x="1257" y="827"/>
                      </a:lnTo>
                      <a:lnTo>
                        <a:pt x="1257" y="827"/>
                      </a:lnTo>
                      <a:close/>
                      <a:moveTo>
                        <a:pt x="2248" y="765"/>
                      </a:moveTo>
                      <a:lnTo>
                        <a:pt x="2240" y="769"/>
                      </a:lnTo>
                      <a:lnTo>
                        <a:pt x="2248" y="773"/>
                      </a:lnTo>
                      <a:lnTo>
                        <a:pt x="2248" y="765"/>
                      </a:lnTo>
                      <a:lnTo>
                        <a:pt x="2248" y="765"/>
                      </a:lnTo>
                      <a:close/>
                      <a:moveTo>
                        <a:pt x="1271" y="823"/>
                      </a:moveTo>
                      <a:lnTo>
                        <a:pt x="1271" y="821"/>
                      </a:lnTo>
                      <a:lnTo>
                        <a:pt x="1271" y="823"/>
                      </a:lnTo>
                      <a:lnTo>
                        <a:pt x="1271" y="823"/>
                      </a:lnTo>
                      <a:close/>
                      <a:moveTo>
                        <a:pt x="1213" y="807"/>
                      </a:moveTo>
                      <a:lnTo>
                        <a:pt x="1193" y="811"/>
                      </a:lnTo>
                      <a:lnTo>
                        <a:pt x="1177" y="833"/>
                      </a:lnTo>
                      <a:lnTo>
                        <a:pt x="1213" y="807"/>
                      </a:lnTo>
                      <a:lnTo>
                        <a:pt x="1213" y="807"/>
                      </a:lnTo>
                      <a:close/>
                      <a:moveTo>
                        <a:pt x="1351" y="835"/>
                      </a:moveTo>
                      <a:lnTo>
                        <a:pt x="1347" y="839"/>
                      </a:lnTo>
                      <a:lnTo>
                        <a:pt x="1351" y="839"/>
                      </a:lnTo>
                      <a:lnTo>
                        <a:pt x="1351" y="835"/>
                      </a:lnTo>
                      <a:lnTo>
                        <a:pt x="1351" y="835"/>
                      </a:lnTo>
                      <a:close/>
                      <a:moveTo>
                        <a:pt x="2248" y="761"/>
                      </a:moveTo>
                      <a:lnTo>
                        <a:pt x="2246" y="759"/>
                      </a:lnTo>
                      <a:lnTo>
                        <a:pt x="2246" y="759"/>
                      </a:lnTo>
                      <a:lnTo>
                        <a:pt x="2248" y="761"/>
                      </a:lnTo>
                      <a:lnTo>
                        <a:pt x="2248" y="761"/>
                      </a:lnTo>
                      <a:close/>
                      <a:moveTo>
                        <a:pt x="1277" y="815"/>
                      </a:moveTo>
                      <a:lnTo>
                        <a:pt x="1271" y="815"/>
                      </a:lnTo>
                      <a:lnTo>
                        <a:pt x="1277" y="821"/>
                      </a:lnTo>
                      <a:lnTo>
                        <a:pt x="1277" y="815"/>
                      </a:lnTo>
                      <a:lnTo>
                        <a:pt x="1277" y="815"/>
                      </a:lnTo>
                      <a:close/>
                      <a:moveTo>
                        <a:pt x="2196" y="771"/>
                      </a:moveTo>
                      <a:lnTo>
                        <a:pt x="2196" y="773"/>
                      </a:lnTo>
                      <a:lnTo>
                        <a:pt x="2196" y="779"/>
                      </a:lnTo>
                      <a:lnTo>
                        <a:pt x="2196" y="771"/>
                      </a:lnTo>
                      <a:close/>
                      <a:moveTo>
                        <a:pt x="1289" y="815"/>
                      </a:moveTo>
                      <a:lnTo>
                        <a:pt x="1287" y="815"/>
                      </a:lnTo>
                      <a:lnTo>
                        <a:pt x="1291" y="817"/>
                      </a:lnTo>
                      <a:lnTo>
                        <a:pt x="1289" y="815"/>
                      </a:lnTo>
                      <a:lnTo>
                        <a:pt x="1289" y="815"/>
                      </a:lnTo>
                      <a:close/>
                      <a:moveTo>
                        <a:pt x="1347" y="831"/>
                      </a:moveTo>
                      <a:lnTo>
                        <a:pt x="1345" y="831"/>
                      </a:lnTo>
                      <a:lnTo>
                        <a:pt x="1343" y="829"/>
                      </a:lnTo>
                      <a:lnTo>
                        <a:pt x="1347" y="831"/>
                      </a:lnTo>
                      <a:close/>
                      <a:moveTo>
                        <a:pt x="1283" y="815"/>
                      </a:moveTo>
                      <a:lnTo>
                        <a:pt x="1279" y="813"/>
                      </a:lnTo>
                      <a:lnTo>
                        <a:pt x="1281" y="815"/>
                      </a:lnTo>
                      <a:lnTo>
                        <a:pt x="1283" y="815"/>
                      </a:lnTo>
                      <a:close/>
                      <a:moveTo>
                        <a:pt x="1335" y="823"/>
                      </a:moveTo>
                      <a:lnTo>
                        <a:pt x="1329" y="825"/>
                      </a:lnTo>
                      <a:lnTo>
                        <a:pt x="1323" y="839"/>
                      </a:lnTo>
                      <a:lnTo>
                        <a:pt x="1335" y="823"/>
                      </a:lnTo>
                      <a:lnTo>
                        <a:pt x="1335" y="823"/>
                      </a:lnTo>
                      <a:close/>
                      <a:moveTo>
                        <a:pt x="2180" y="769"/>
                      </a:moveTo>
                      <a:lnTo>
                        <a:pt x="2180" y="775"/>
                      </a:lnTo>
                      <a:lnTo>
                        <a:pt x="2182" y="771"/>
                      </a:lnTo>
                      <a:lnTo>
                        <a:pt x="2180" y="769"/>
                      </a:lnTo>
                      <a:lnTo>
                        <a:pt x="2180" y="769"/>
                      </a:lnTo>
                      <a:close/>
                      <a:moveTo>
                        <a:pt x="1243" y="799"/>
                      </a:moveTo>
                      <a:lnTo>
                        <a:pt x="1249" y="797"/>
                      </a:lnTo>
                      <a:lnTo>
                        <a:pt x="1249" y="797"/>
                      </a:lnTo>
                      <a:lnTo>
                        <a:pt x="1243" y="799"/>
                      </a:lnTo>
                      <a:lnTo>
                        <a:pt x="1243" y="799"/>
                      </a:lnTo>
                      <a:close/>
                      <a:moveTo>
                        <a:pt x="1235" y="793"/>
                      </a:moveTo>
                      <a:lnTo>
                        <a:pt x="1235" y="793"/>
                      </a:lnTo>
                      <a:lnTo>
                        <a:pt x="1235" y="793"/>
                      </a:lnTo>
                      <a:lnTo>
                        <a:pt x="1235" y="793"/>
                      </a:lnTo>
                      <a:lnTo>
                        <a:pt x="1235" y="793"/>
                      </a:lnTo>
                      <a:close/>
                      <a:moveTo>
                        <a:pt x="2180" y="763"/>
                      </a:moveTo>
                      <a:lnTo>
                        <a:pt x="2178" y="763"/>
                      </a:lnTo>
                      <a:lnTo>
                        <a:pt x="2178" y="765"/>
                      </a:lnTo>
                      <a:lnTo>
                        <a:pt x="2180" y="763"/>
                      </a:lnTo>
                      <a:lnTo>
                        <a:pt x="2180" y="763"/>
                      </a:lnTo>
                      <a:close/>
                      <a:moveTo>
                        <a:pt x="1327" y="811"/>
                      </a:moveTo>
                      <a:lnTo>
                        <a:pt x="1325" y="809"/>
                      </a:lnTo>
                      <a:lnTo>
                        <a:pt x="1323" y="811"/>
                      </a:lnTo>
                      <a:lnTo>
                        <a:pt x="1327" y="811"/>
                      </a:lnTo>
                      <a:lnTo>
                        <a:pt x="1327" y="811"/>
                      </a:lnTo>
                      <a:close/>
                      <a:moveTo>
                        <a:pt x="2172" y="765"/>
                      </a:moveTo>
                      <a:lnTo>
                        <a:pt x="2172" y="761"/>
                      </a:lnTo>
                      <a:lnTo>
                        <a:pt x="2172" y="761"/>
                      </a:lnTo>
                      <a:lnTo>
                        <a:pt x="2172" y="765"/>
                      </a:lnTo>
                      <a:lnTo>
                        <a:pt x="2172" y="765"/>
                      </a:lnTo>
                      <a:close/>
                      <a:moveTo>
                        <a:pt x="2166" y="761"/>
                      </a:moveTo>
                      <a:lnTo>
                        <a:pt x="2164" y="765"/>
                      </a:lnTo>
                      <a:lnTo>
                        <a:pt x="2168" y="765"/>
                      </a:lnTo>
                      <a:lnTo>
                        <a:pt x="2166" y="761"/>
                      </a:lnTo>
                      <a:lnTo>
                        <a:pt x="2166" y="761"/>
                      </a:lnTo>
                      <a:close/>
                      <a:moveTo>
                        <a:pt x="1359" y="799"/>
                      </a:moveTo>
                      <a:lnTo>
                        <a:pt x="1357" y="797"/>
                      </a:lnTo>
                      <a:lnTo>
                        <a:pt x="1357" y="797"/>
                      </a:lnTo>
                      <a:lnTo>
                        <a:pt x="1359" y="799"/>
                      </a:lnTo>
                      <a:lnTo>
                        <a:pt x="1359" y="799"/>
                      </a:lnTo>
                      <a:close/>
                      <a:moveTo>
                        <a:pt x="2164" y="747"/>
                      </a:moveTo>
                      <a:lnTo>
                        <a:pt x="2170" y="749"/>
                      </a:lnTo>
                      <a:lnTo>
                        <a:pt x="2172" y="747"/>
                      </a:lnTo>
                      <a:lnTo>
                        <a:pt x="2164" y="747"/>
                      </a:lnTo>
                      <a:lnTo>
                        <a:pt x="2164" y="747"/>
                      </a:lnTo>
                      <a:close/>
                      <a:moveTo>
                        <a:pt x="2172" y="741"/>
                      </a:moveTo>
                      <a:lnTo>
                        <a:pt x="2170" y="743"/>
                      </a:lnTo>
                      <a:lnTo>
                        <a:pt x="2174" y="745"/>
                      </a:lnTo>
                      <a:lnTo>
                        <a:pt x="2172" y="741"/>
                      </a:lnTo>
                      <a:close/>
                      <a:moveTo>
                        <a:pt x="2154" y="747"/>
                      </a:moveTo>
                      <a:lnTo>
                        <a:pt x="2154" y="743"/>
                      </a:lnTo>
                      <a:lnTo>
                        <a:pt x="2152" y="745"/>
                      </a:lnTo>
                      <a:lnTo>
                        <a:pt x="2154" y="747"/>
                      </a:lnTo>
                      <a:lnTo>
                        <a:pt x="2154" y="747"/>
                      </a:lnTo>
                      <a:close/>
                      <a:moveTo>
                        <a:pt x="2232" y="717"/>
                      </a:moveTo>
                      <a:lnTo>
                        <a:pt x="2222" y="747"/>
                      </a:lnTo>
                      <a:lnTo>
                        <a:pt x="2232" y="741"/>
                      </a:lnTo>
                      <a:lnTo>
                        <a:pt x="2232" y="717"/>
                      </a:lnTo>
                      <a:close/>
                      <a:moveTo>
                        <a:pt x="1311" y="777"/>
                      </a:moveTo>
                      <a:lnTo>
                        <a:pt x="1311" y="777"/>
                      </a:lnTo>
                      <a:lnTo>
                        <a:pt x="1311" y="777"/>
                      </a:lnTo>
                      <a:lnTo>
                        <a:pt x="1311" y="777"/>
                      </a:lnTo>
                      <a:close/>
                      <a:moveTo>
                        <a:pt x="2164" y="729"/>
                      </a:moveTo>
                      <a:lnTo>
                        <a:pt x="2158" y="735"/>
                      </a:lnTo>
                      <a:lnTo>
                        <a:pt x="2158" y="743"/>
                      </a:lnTo>
                      <a:lnTo>
                        <a:pt x="2164" y="729"/>
                      </a:lnTo>
                      <a:lnTo>
                        <a:pt x="2164" y="729"/>
                      </a:lnTo>
                      <a:close/>
                      <a:moveTo>
                        <a:pt x="1441" y="791"/>
                      </a:moveTo>
                      <a:lnTo>
                        <a:pt x="1441" y="787"/>
                      </a:lnTo>
                      <a:lnTo>
                        <a:pt x="1439" y="789"/>
                      </a:lnTo>
                      <a:lnTo>
                        <a:pt x="1441" y="791"/>
                      </a:lnTo>
                      <a:close/>
                      <a:moveTo>
                        <a:pt x="2156" y="721"/>
                      </a:moveTo>
                      <a:lnTo>
                        <a:pt x="2178" y="755"/>
                      </a:lnTo>
                      <a:lnTo>
                        <a:pt x="2228" y="787"/>
                      </a:lnTo>
                      <a:lnTo>
                        <a:pt x="2216" y="759"/>
                      </a:lnTo>
                      <a:lnTo>
                        <a:pt x="2168" y="719"/>
                      </a:lnTo>
                      <a:lnTo>
                        <a:pt x="2156" y="721"/>
                      </a:lnTo>
                      <a:lnTo>
                        <a:pt x="2156" y="721"/>
                      </a:lnTo>
                      <a:close/>
                      <a:moveTo>
                        <a:pt x="1409" y="779"/>
                      </a:moveTo>
                      <a:lnTo>
                        <a:pt x="1409" y="775"/>
                      </a:lnTo>
                      <a:lnTo>
                        <a:pt x="1407" y="777"/>
                      </a:lnTo>
                      <a:lnTo>
                        <a:pt x="1409" y="779"/>
                      </a:lnTo>
                      <a:lnTo>
                        <a:pt x="1409" y="779"/>
                      </a:lnTo>
                      <a:close/>
                      <a:moveTo>
                        <a:pt x="2182" y="707"/>
                      </a:moveTo>
                      <a:lnTo>
                        <a:pt x="2178" y="719"/>
                      </a:lnTo>
                      <a:lnTo>
                        <a:pt x="2184" y="715"/>
                      </a:lnTo>
                      <a:lnTo>
                        <a:pt x="2182" y="707"/>
                      </a:lnTo>
                      <a:lnTo>
                        <a:pt x="2182" y="707"/>
                      </a:lnTo>
                      <a:close/>
                      <a:moveTo>
                        <a:pt x="2198" y="707"/>
                      </a:moveTo>
                      <a:lnTo>
                        <a:pt x="2198" y="715"/>
                      </a:lnTo>
                      <a:lnTo>
                        <a:pt x="2204" y="717"/>
                      </a:lnTo>
                      <a:lnTo>
                        <a:pt x="2198" y="707"/>
                      </a:lnTo>
                      <a:lnTo>
                        <a:pt x="2198" y="707"/>
                      </a:lnTo>
                      <a:close/>
                      <a:moveTo>
                        <a:pt x="1433" y="769"/>
                      </a:moveTo>
                      <a:lnTo>
                        <a:pt x="1431" y="767"/>
                      </a:lnTo>
                      <a:lnTo>
                        <a:pt x="1427" y="769"/>
                      </a:lnTo>
                      <a:lnTo>
                        <a:pt x="1433" y="769"/>
                      </a:lnTo>
                      <a:lnTo>
                        <a:pt x="1433" y="769"/>
                      </a:lnTo>
                      <a:close/>
                      <a:moveTo>
                        <a:pt x="1513" y="775"/>
                      </a:moveTo>
                      <a:lnTo>
                        <a:pt x="1511" y="779"/>
                      </a:lnTo>
                      <a:lnTo>
                        <a:pt x="1513" y="775"/>
                      </a:lnTo>
                      <a:lnTo>
                        <a:pt x="1513" y="775"/>
                      </a:lnTo>
                      <a:lnTo>
                        <a:pt x="1513" y="775"/>
                      </a:lnTo>
                      <a:close/>
                      <a:moveTo>
                        <a:pt x="1525" y="775"/>
                      </a:moveTo>
                      <a:lnTo>
                        <a:pt x="1519" y="775"/>
                      </a:lnTo>
                      <a:lnTo>
                        <a:pt x="1523" y="781"/>
                      </a:lnTo>
                      <a:lnTo>
                        <a:pt x="1525" y="775"/>
                      </a:lnTo>
                      <a:lnTo>
                        <a:pt x="1525" y="775"/>
                      </a:lnTo>
                      <a:close/>
                      <a:moveTo>
                        <a:pt x="1055" y="675"/>
                      </a:moveTo>
                      <a:lnTo>
                        <a:pt x="1063" y="679"/>
                      </a:lnTo>
                      <a:lnTo>
                        <a:pt x="1061" y="679"/>
                      </a:lnTo>
                      <a:lnTo>
                        <a:pt x="1055" y="675"/>
                      </a:lnTo>
                      <a:lnTo>
                        <a:pt x="1055" y="675"/>
                      </a:lnTo>
                      <a:close/>
                      <a:moveTo>
                        <a:pt x="1363" y="753"/>
                      </a:moveTo>
                      <a:lnTo>
                        <a:pt x="1363" y="751"/>
                      </a:lnTo>
                      <a:lnTo>
                        <a:pt x="1363" y="753"/>
                      </a:lnTo>
                      <a:lnTo>
                        <a:pt x="1363" y="753"/>
                      </a:lnTo>
                      <a:close/>
                      <a:moveTo>
                        <a:pt x="1365" y="751"/>
                      </a:moveTo>
                      <a:lnTo>
                        <a:pt x="1367" y="751"/>
                      </a:lnTo>
                      <a:lnTo>
                        <a:pt x="1367" y="751"/>
                      </a:lnTo>
                      <a:lnTo>
                        <a:pt x="1365" y="751"/>
                      </a:lnTo>
                      <a:close/>
                      <a:moveTo>
                        <a:pt x="2170" y="693"/>
                      </a:moveTo>
                      <a:lnTo>
                        <a:pt x="2174" y="707"/>
                      </a:lnTo>
                      <a:lnTo>
                        <a:pt x="2182" y="703"/>
                      </a:lnTo>
                      <a:lnTo>
                        <a:pt x="2170" y="693"/>
                      </a:lnTo>
                      <a:lnTo>
                        <a:pt x="2170" y="693"/>
                      </a:lnTo>
                      <a:close/>
                      <a:moveTo>
                        <a:pt x="1387" y="743"/>
                      </a:moveTo>
                      <a:lnTo>
                        <a:pt x="1387" y="743"/>
                      </a:lnTo>
                      <a:lnTo>
                        <a:pt x="1387" y="743"/>
                      </a:lnTo>
                      <a:lnTo>
                        <a:pt x="1387" y="743"/>
                      </a:lnTo>
                      <a:close/>
                      <a:moveTo>
                        <a:pt x="2136" y="699"/>
                      </a:moveTo>
                      <a:lnTo>
                        <a:pt x="2140" y="735"/>
                      </a:lnTo>
                      <a:lnTo>
                        <a:pt x="2148" y="727"/>
                      </a:lnTo>
                      <a:lnTo>
                        <a:pt x="2136" y="699"/>
                      </a:lnTo>
                      <a:close/>
                      <a:moveTo>
                        <a:pt x="2140" y="687"/>
                      </a:moveTo>
                      <a:lnTo>
                        <a:pt x="2158" y="711"/>
                      </a:lnTo>
                      <a:lnTo>
                        <a:pt x="2156" y="695"/>
                      </a:lnTo>
                      <a:lnTo>
                        <a:pt x="2140" y="687"/>
                      </a:lnTo>
                      <a:close/>
                      <a:moveTo>
                        <a:pt x="2084" y="693"/>
                      </a:moveTo>
                      <a:lnTo>
                        <a:pt x="2080" y="707"/>
                      </a:lnTo>
                      <a:lnTo>
                        <a:pt x="2086" y="697"/>
                      </a:lnTo>
                      <a:lnTo>
                        <a:pt x="2084" y="693"/>
                      </a:lnTo>
                      <a:lnTo>
                        <a:pt x="2084" y="693"/>
                      </a:lnTo>
                      <a:close/>
                      <a:moveTo>
                        <a:pt x="1463" y="731"/>
                      </a:moveTo>
                      <a:lnTo>
                        <a:pt x="1461" y="731"/>
                      </a:lnTo>
                      <a:lnTo>
                        <a:pt x="1463" y="731"/>
                      </a:lnTo>
                      <a:lnTo>
                        <a:pt x="1463" y="731"/>
                      </a:lnTo>
                      <a:close/>
                      <a:moveTo>
                        <a:pt x="1537" y="733"/>
                      </a:moveTo>
                      <a:lnTo>
                        <a:pt x="1535" y="731"/>
                      </a:lnTo>
                      <a:lnTo>
                        <a:pt x="1537" y="733"/>
                      </a:lnTo>
                      <a:lnTo>
                        <a:pt x="1537" y="733"/>
                      </a:lnTo>
                      <a:lnTo>
                        <a:pt x="1537" y="733"/>
                      </a:lnTo>
                      <a:close/>
                      <a:moveTo>
                        <a:pt x="2086" y="681"/>
                      </a:moveTo>
                      <a:lnTo>
                        <a:pt x="2118" y="733"/>
                      </a:lnTo>
                      <a:lnTo>
                        <a:pt x="2112" y="697"/>
                      </a:lnTo>
                      <a:lnTo>
                        <a:pt x="2086" y="681"/>
                      </a:lnTo>
                      <a:lnTo>
                        <a:pt x="2086" y="681"/>
                      </a:lnTo>
                      <a:close/>
                      <a:moveTo>
                        <a:pt x="1579" y="709"/>
                      </a:moveTo>
                      <a:lnTo>
                        <a:pt x="1577" y="711"/>
                      </a:lnTo>
                      <a:lnTo>
                        <a:pt x="1581" y="713"/>
                      </a:lnTo>
                      <a:lnTo>
                        <a:pt x="1579" y="709"/>
                      </a:lnTo>
                      <a:lnTo>
                        <a:pt x="1579" y="709"/>
                      </a:lnTo>
                      <a:close/>
                      <a:moveTo>
                        <a:pt x="1569" y="709"/>
                      </a:moveTo>
                      <a:lnTo>
                        <a:pt x="1571" y="707"/>
                      </a:lnTo>
                      <a:lnTo>
                        <a:pt x="1567" y="707"/>
                      </a:lnTo>
                      <a:lnTo>
                        <a:pt x="1569" y="709"/>
                      </a:lnTo>
                      <a:lnTo>
                        <a:pt x="1569" y="709"/>
                      </a:lnTo>
                      <a:close/>
                      <a:moveTo>
                        <a:pt x="1563" y="709"/>
                      </a:moveTo>
                      <a:lnTo>
                        <a:pt x="1541" y="723"/>
                      </a:lnTo>
                      <a:lnTo>
                        <a:pt x="1517" y="755"/>
                      </a:lnTo>
                      <a:lnTo>
                        <a:pt x="1529" y="769"/>
                      </a:lnTo>
                      <a:lnTo>
                        <a:pt x="1587" y="727"/>
                      </a:lnTo>
                      <a:lnTo>
                        <a:pt x="1563" y="709"/>
                      </a:lnTo>
                      <a:close/>
                      <a:moveTo>
                        <a:pt x="2052" y="659"/>
                      </a:moveTo>
                      <a:lnTo>
                        <a:pt x="2048" y="657"/>
                      </a:lnTo>
                      <a:lnTo>
                        <a:pt x="2048" y="661"/>
                      </a:lnTo>
                      <a:lnTo>
                        <a:pt x="2052" y="659"/>
                      </a:lnTo>
                      <a:lnTo>
                        <a:pt x="2052" y="659"/>
                      </a:lnTo>
                      <a:close/>
                      <a:moveTo>
                        <a:pt x="1557" y="701"/>
                      </a:moveTo>
                      <a:lnTo>
                        <a:pt x="1559" y="703"/>
                      </a:lnTo>
                      <a:lnTo>
                        <a:pt x="1563" y="707"/>
                      </a:lnTo>
                      <a:lnTo>
                        <a:pt x="1557" y="701"/>
                      </a:lnTo>
                      <a:lnTo>
                        <a:pt x="1557" y="701"/>
                      </a:lnTo>
                      <a:close/>
                      <a:moveTo>
                        <a:pt x="2068" y="645"/>
                      </a:moveTo>
                      <a:lnTo>
                        <a:pt x="2052" y="653"/>
                      </a:lnTo>
                      <a:lnTo>
                        <a:pt x="2066" y="657"/>
                      </a:lnTo>
                      <a:lnTo>
                        <a:pt x="2068" y="645"/>
                      </a:lnTo>
                      <a:lnTo>
                        <a:pt x="2068" y="645"/>
                      </a:lnTo>
                      <a:close/>
                      <a:moveTo>
                        <a:pt x="2058" y="645"/>
                      </a:moveTo>
                      <a:lnTo>
                        <a:pt x="2056" y="643"/>
                      </a:lnTo>
                      <a:lnTo>
                        <a:pt x="2056" y="645"/>
                      </a:lnTo>
                      <a:lnTo>
                        <a:pt x="2058" y="645"/>
                      </a:lnTo>
                      <a:lnTo>
                        <a:pt x="2058" y="645"/>
                      </a:lnTo>
                      <a:close/>
                      <a:moveTo>
                        <a:pt x="2106" y="633"/>
                      </a:moveTo>
                      <a:lnTo>
                        <a:pt x="2098" y="631"/>
                      </a:lnTo>
                      <a:lnTo>
                        <a:pt x="2098" y="635"/>
                      </a:lnTo>
                      <a:lnTo>
                        <a:pt x="2106" y="633"/>
                      </a:lnTo>
                      <a:close/>
                      <a:moveTo>
                        <a:pt x="2072" y="637"/>
                      </a:moveTo>
                      <a:lnTo>
                        <a:pt x="2066" y="637"/>
                      </a:lnTo>
                      <a:lnTo>
                        <a:pt x="2066" y="639"/>
                      </a:lnTo>
                      <a:lnTo>
                        <a:pt x="2072" y="637"/>
                      </a:lnTo>
                      <a:lnTo>
                        <a:pt x="2072" y="637"/>
                      </a:lnTo>
                      <a:close/>
                      <a:moveTo>
                        <a:pt x="2088" y="631"/>
                      </a:moveTo>
                      <a:lnTo>
                        <a:pt x="2120" y="679"/>
                      </a:lnTo>
                      <a:lnTo>
                        <a:pt x="2112" y="635"/>
                      </a:lnTo>
                      <a:lnTo>
                        <a:pt x="2088" y="631"/>
                      </a:lnTo>
                      <a:lnTo>
                        <a:pt x="2088" y="631"/>
                      </a:lnTo>
                      <a:close/>
                      <a:moveTo>
                        <a:pt x="1575" y="683"/>
                      </a:moveTo>
                      <a:lnTo>
                        <a:pt x="1557" y="697"/>
                      </a:lnTo>
                      <a:lnTo>
                        <a:pt x="1565" y="705"/>
                      </a:lnTo>
                      <a:lnTo>
                        <a:pt x="1589" y="687"/>
                      </a:lnTo>
                      <a:lnTo>
                        <a:pt x="1575" y="683"/>
                      </a:lnTo>
                      <a:lnTo>
                        <a:pt x="1575" y="683"/>
                      </a:lnTo>
                      <a:close/>
                      <a:moveTo>
                        <a:pt x="1363" y="653"/>
                      </a:moveTo>
                      <a:lnTo>
                        <a:pt x="1363" y="651"/>
                      </a:lnTo>
                      <a:lnTo>
                        <a:pt x="1363" y="653"/>
                      </a:lnTo>
                      <a:lnTo>
                        <a:pt x="1363" y="653"/>
                      </a:lnTo>
                      <a:close/>
                      <a:moveTo>
                        <a:pt x="1355" y="649"/>
                      </a:moveTo>
                      <a:lnTo>
                        <a:pt x="1355" y="645"/>
                      </a:lnTo>
                      <a:lnTo>
                        <a:pt x="1355" y="647"/>
                      </a:lnTo>
                      <a:lnTo>
                        <a:pt x="1355" y="649"/>
                      </a:lnTo>
                      <a:close/>
                      <a:moveTo>
                        <a:pt x="1593" y="659"/>
                      </a:moveTo>
                      <a:lnTo>
                        <a:pt x="1593" y="659"/>
                      </a:lnTo>
                      <a:lnTo>
                        <a:pt x="1593" y="661"/>
                      </a:lnTo>
                      <a:lnTo>
                        <a:pt x="1593" y="659"/>
                      </a:lnTo>
                      <a:lnTo>
                        <a:pt x="1593" y="659"/>
                      </a:lnTo>
                      <a:close/>
                      <a:moveTo>
                        <a:pt x="1587" y="657"/>
                      </a:moveTo>
                      <a:lnTo>
                        <a:pt x="1585" y="657"/>
                      </a:lnTo>
                      <a:lnTo>
                        <a:pt x="1583" y="659"/>
                      </a:lnTo>
                      <a:lnTo>
                        <a:pt x="1587" y="657"/>
                      </a:lnTo>
                      <a:lnTo>
                        <a:pt x="1587" y="657"/>
                      </a:lnTo>
                      <a:close/>
                      <a:moveTo>
                        <a:pt x="1605" y="651"/>
                      </a:moveTo>
                      <a:lnTo>
                        <a:pt x="1603" y="649"/>
                      </a:lnTo>
                      <a:lnTo>
                        <a:pt x="1603" y="651"/>
                      </a:lnTo>
                      <a:lnTo>
                        <a:pt x="1605" y="651"/>
                      </a:lnTo>
                      <a:lnTo>
                        <a:pt x="1605" y="651"/>
                      </a:lnTo>
                      <a:close/>
                      <a:moveTo>
                        <a:pt x="1611" y="651"/>
                      </a:moveTo>
                      <a:lnTo>
                        <a:pt x="1609" y="649"/>
                      </a:lnTo>
                      <a:lnTo>
                        <a:pt x="1609" y="649"/>
                      </a:lnTo>
                      <a:lnTo>
                        <a:pt x="1611" y="651"/>
                      </a:lnTo>
                      <a:lnTo>
                        <a:pt x="1611" y="651"/>
                      </a:lnTo>
                      <a:close/>
                      <a:moveTo>
                        <a:pt x="1601" y="647"/>
                      </a:moveTo>
                      <a:lnTo>
                        <a:pt x="1597" y="647"/>
                      </a:lnTo>
                      <a:lnTo>
                        <a:pt x="1597" y="649"/>
                      </a:lnTo>
                      <a:lnTo>
                        <a:pt x="1601" y="647"/>
                      </a:lnTo>
                      <a:close/>
                      <a:moveTo>
                        <a:pt x="1755" y="633"/>
                      </a:moveTo>
                      <a:lnTo>
                        <a:pt x="1757" y="631"/>
                      </a:lnTo>
                      <a:lnTo>
                        <a:pt x="1755" y="631"/>
                      </a:lnTo>
                      <a:lnTo>
                        <a:pt x="1755" y="633"/>
                      </a:lnTo>
                      <a:lnTo>
                        <a:pt x="1755" y="633"/>
                      </a:lnTo>
                      <a:close/>
                      <a:moveTo>
                        <a:pt x="1803" y="607"/>
                      </a:moveTo>
                      <a:lnTo>
                        <a:pt x="1813" y="595"/>
                      </a:lnTo>
                      <a:lnTo>
                        <a:pt x="1809" y="599"/>
                      </a:lnTo>
                      <a:lnTo>
                        <a:pt x="1803" y="607"/>
                      </a:lnTo>
                      <a:close/>
                      <a:moveTo>
                        <a:pt x="1707" y="605"/>
                      </a:moveTo>
                      <a:lnTo>
                        <a:pt x="1711" y="603"/>
                      </a:lnTo>
                      <a:lnTo>
                        <a:pt x="1711" y="601"/>
                      </a:lnTo>
                      <a:lnTo>
                        <a:pt x="1707" y="605"/>
                      </a:lnTo>
                      <a:lnTo>
                        <a:pt x="1707" y="605"/>
                      </a:lnTo>
                      <a:close/>
                      <a:moveTo>
                        <a:pt x="1707" y="597"/>
                      </a:moveTo>
                      <a:lnTo>
                        <a:pt x="1705" y="599"/>
                      </a:lnTo>
                      <a:lnTo>
                        <a:pt x="1711" y="599"/>
                      </a:lnTo>
                      <a:lnTo>
                        <a:pt x="1707" y="597"/>
                      </a:lnTo>
                      <a:close/>
                      <a:moveTo>
                        <a:pt x="1581" y="597"/>
                      </a:moveTo>
                      <a:lnTo>
                        <a:pt x="1579" y="595"/>
                      </a:lnTo>
                      <a:lnTo>
                        <a:pt x="1579" y="595"/>
                      </a:lnTo>
                      <a:lnTo>
                        <a:pt x="1581" y="597"/>
                      </a:lnTo>
                      <a:lnTo>
                        <a:pt x="1581" y="597"/>
                      </a:lnTo>
                      <a:close/>
                      <a:moveTo>
                        <a:pt x="1705" y="597"/>
                      </a:moveTo>
                      <a:lnTo>
                        <a:pt x="1701" y="599"/>
                      </a:lnTo>
                      <a:lnTo>
                        <a:pt x="1701" y="603"/>
                      </a:lnTo>
                      <a:lnTo>
                        <a:pt x="1705" y="597"/>
                      </a:lnTo>
                      <a:close/>
                      <a:moveTo>
                        <a:pt x="1791" y="587"/>
                      </a:moveTo>
                      <a:lnTo>
                        <a:pt x="1791" y="587"/>
                      </a:lnTo>
                      <a:lnTo>
                        <a:pt x="1791" y="587"/>
                      </a:lnTo>
                      <a:lnTo>
                        <a:pt x="1791" y="587"/>
                      </a:lnTo>
                      <a:lnTo>
                        <a:pt x="1791" y="587"/>
                      </a:lnTo>
                      <a:close/>
                      <a:moveTo>
                        <a:pt x="1795" y="587"/>
                      </a:moveTo>
                      <a:lnTo>
                        <a:pt x="1793" y="587"/>
                      </a:lnTo>
                      <a:lnTo>
                        <a:pt x="1793" y="587"/>
                      </a:lnTo>
                      <a:lnTo>
                        <a:pt x="1795" y="587"/>
                      </a:lnTo>
                      <a:close/>
                      <a:moveTo>
                        <a:pt x="1785" y="587"/>
                      </a:moveTo>
                      <a:lnTo>
                        <a:pt x="1785" y="587"/>
                      </a:lnTo>
                      <a:lnTo>
                        <a:pt x="1785" y="587"/>
                      </a:lnTo>
                      <a:lnTo>
                        <a:pt x="1785" y="587"/>
                      </a:lnTo>
                      <a:close/>
                      <a:moveTo>
                        <a:pt x="1721" y="591"/>
                      </a:moveTo>
                      <a:lnTo>
                        <a:pt x="1725" y="589"/>
                      </a:lnTo>
                      <a:lnTo>
                        <a:pt x="1721" y="591"/>
                      </a:lnTo>
                      <a:lnTo>
                        <a:pt x="1721" y="591"/>
                      </a:lnTo>
                      <a:lnTo>
                        <a:pt x="1721" y="591"/>
                      </a:lnTo>
                      <a:close/>
                      <a:moveTo>
                        <a:pt x="1769" y="581"/>
                      </a:moveTo>
                      <a:lnTo>
                        <a:pt x="1769" y="581"/>
                      </a:lnTo>
                      <a:lnTo>
                        <a:pt x="1769" y="581"/>
                      </a:lnTo>
                      <a:lnTo>
                        <a:pt x="1769" y="581"/>
                      </a:lnTo>
                      <a:close/>
                      <a:moveTo>
                        <a:pt x="1731" y="585"/>
                      </a:moveTo>
                      <a:lnTo>
                        <a:pt x="1711" y="615"/>
                      </a:lnTo>
                      <a:lnTo>
                        <a:pt x="1735" y="587"/>
                      </a:lnTo>
                      <a:lnTo>
                        <a:pt x="1731" y="585"/>
                      </a:lnTo>
                      <a:close/>
                      <a:moveTo>
                        <a:pt x="1707" y="589"/>
                      </a:moveTo>
                      <a:lnTo>
                        <a:pt x="1705" y="585"/>
                      </a:lnTo>
                      <a:lnTo>
                        <a:pt x="1703" y="587"/>
                      </a:lnTo>
                      <a:lnTo>
                        <a:pt x="1707" y="589"/>
                      </a:lnTo>
                      <a:lnTo>
                        <a:pt x="1707" y="589"/>
                      </a:lnTo>
                      <a:close/>
                      <a:moveTo>
                        <a:pt x="1765" y="581"/>
                      </a:moveTo>
                      <a:lnTo>
                        <a:pt x="1763" y="581"/>
                      </a:lnTo>
                      <a:lnTo>
                        <a:pt x="1765" y="581"/>
                      </a:lnTo>
                      <a:lnTo>
                        <a:pt x="1765" y="581"/>
                      </a:lnTo>
                      <a:lnTo>
                        <a:pt x="1765" y="581"/>
                      </a:lnTo>
                      <a:close/>
                      <a:moveTo>
                        <a:pt x="1785" y="583"/>
                      </a:moveTo>
                      <a:lnTo>
                        <a:pt x="1785" y="577"/>
                      </a:lnTo>
                      <a:lnTo>
                        <a:pt x="1785" y="579"/>
                      </a:lnTo>
                      <a:lnTo>
                        <a:pt x="1785" y="583"/>
                      </a:lnTo>
                      <a:close/>
                      <a:moveTo>
                        <a:pt x="1215" y="523"/>
                      </a:moveTo>
                      <a:lnTo>
                        <a:pt x="1179" y="521"/>
                      </a:lnTo>
                      <a:lnTo>
                        <a:pt x="1205" y="549"/>
                      </a:lnTo>
                      <a:lnTo>
                        <a:pt x="1215" y="523"/>
                      </a:lnTo>
                      <a:close/>
                      <a:moveTo>
                        <a:pt x="1747" y="577"/>
                      </a:moveTo>
                      <a:lnTo>
                        <a:pt x="1747" y="583"/>
                      </a:lnTo>
                      <a:lnTo>
                        <a:pt x="1751" y="577"/>
                      </a:lnTo>
                      <a:lnTo>
                        <a:pt x="1747" y="577"/>
                      </a:lnTo>
                      <a:lnTo>
                        <a:pt x="1747" y="577"/>
                      </a:lnTo>
                      <a:close/>
                      <a:moveTo>
                        <a:pt x="1715" y="577"/>
                      </a:moveTo>
                      <a:lnTo>
                        <a:pt x="1713" y="595"/>
                      </a:lnTo>
                      <a:lnTo>
                        <a:pt x="1717" y="583"/>
                      </a:lnTo>
                      <a:lnTo>
                        <a:pt x="1715" y="577"/>
                      </a:lnTo>
                      <a:close/>
                      <a:moveTo>
                        <a:pt x="1041" y="448"/>
                      </a:moveTo>
                      <a:lnTo>
                        <a:pt x="1041" y="444"/>
                      </a:lnTo>
                      <a:lnTo>
                        <a:pt x="1041" y="444"/>
                      </a:lnTo>
                      <a:lnTo>
                        <a:pt x="1041" y="448"/>
                      </a:lnTo>
                      <a:close/>
                      <a:moveTo>
                        <a:pt x="1707" y="567"/>
                      </a:moveTo>
                      <a:lnTo>
                        <a:pt x="1707" y="569"/>
                      </a:lnTo>
                      <a:lnTo>
                        <a:pt x="1709" y="567"/>
                      </a:lnTo>
                      <a:lnTo>
                        <a:pt x="1707" y="567"/>
                      </a:lnTo>
                      <a:lnTo>
                        <a:pt x="1707" y="567"/>
                      </a:lnTo>
                      <a:close/>
                      <a:moveTo>
                        <a:pt x="1703" y="569"/>
                      </a:moveTo>
                      <a:lnTo>
                        <a:pt x="1701" y="565"/>
                      </a:lnTo>
                      <a:lnTo>
                        <a:pt x="1699" y="567"/>
                      </a:lnTo>
                      <a:lnTo>
                        <a:pt x="1703" y="569"/>
                      </a:lnTo>
                      <a:close/>
                      <a:moveTo>
                        <a:pt x="1739" y="561"/>
                      </a:moveTo>
                      <a:lnTo>
                        <a:pt x="1739" y="557"/>
                      </a:lnTo>
                      <a:lnTo>
                        <a:pt x="1737" y="559"/>
                      </a:lnTo>
                      <a:lnTo>
                        <a:pt x="1739" y="561"/>
                      </a:lnTo>
                      <a:lnTo>
                        <a:pt x="1739" y="561"/>
                      </a:lnTo>
                      <a:close/>
                      <a:moveTo>
                        <a:pt x="1705" y="555"/>
                      </a:moveTo>
                      <a:lnTo>
                        <a:pt x="1705" y="563"/>
                      </a:lnTo>
                      <a:lnTo>
                        <a:pt x="1707" y="557"/>
                      </a:lnTo>
                      <a:lnTo>
                        <a:pt x="1705" y="555"/>
                      </a:lnTo>
                      <a:close/>
                      <a:moveTo>
                        <a:pt x="1645" y="547"/>
                      </a:moveTo>
                      <a:lnTo>
                        <a:pt x="1645" y="543"/>
                      </a:lnTo>
                      <a:lnTo>
                        <a:pt x="1645" y="543"/>
                      </a:lnTo>
                      <a:lnTo>
                        <a:pt x="1645" y="547"/>
                      </a:lnTo>
                      <a:close/>
                      <a:moveTo>
                        <a:pt x="1241" y="448"/>
                      </a:moveTo>
                      <a:lnTo>
                        <a:pt x="1243" y="444"/>
                      </a:lnTo>
                      <a:lnTo>
                        <a:pt x="1241" y="444"/>
                      </a:lnTo>
                      <a:lnTo>
                        <a:pt x="1241" y="448"/>
                      </a:lnTo>
                      <a:lnTo>
                        <a:pt x="1241" y="448"/>
                      </a:lnTo>
                      <a:close/>
                      <a:moveTo>
                        <a:pt x="1243" y="442"/>
                      </a:moveTo>
                      <a:lnTo>
                        <a:pt x="1243" y="440"/>
                      </a:lnTo>
                      <a:lnTo>
                        <a:pt x="1241" y="442"/>
                      </a:lnTo>
                      <a:lnTo>
                        <a:pt x="1243" y="442"/>
                      </a:lnTo>
                      <a:lnTo>
                        <a:pt x="1243" y="442"/>
                      </a:lnTo>
                      <a:close/>
                      <a:moveTo>
                        <a:pt x="1277" y="422"/>
                      </a:moveTo>
                      <a:lnTo>
                        <a:pt x="1277" y="422"/>
                      </a:lnTo>
                      <a:lnTo>
                        <a:pt x="1277" y="422"/>
                      </a:lnTo>
                      <a:lnTo>
                        <a:pt x="1277" y="422"/>
                      </a:lnTo>
                      <a:close/>
                      <a:moveTo>
                        <a:pt x="1277" y="420"/>
                      </a:moveTo>
                      <a:lnTo>
                        <a:pt x="1277" y="418"/>
                      </a:lnTo>
                      <a:lnTo>
                        <a:pt x="1277" y="418"/>
                      </a:lnTo>
                      <a:lnTo>
                        <a:pt x="1277" y="420"/>
                      </a:lnTo>
                      <a:close/>
                      <a:moveTo>
                        <a:pt x="1291" y="400"/>
                      </a:moveTo>
                      <a:lnTo>
                        <a:pt x="1291" y="400"/>
                      </a:lnTo>
                      <a:lnTo>
                        <a:pt x="1291" y="400"/>
                      </a:lnTo>
                      <a:lnTo>
                        <a:pt x="1291" y="400"/>
                      </a:lnTo>
                      <a:close/>
                      <a:moveTo>
                        <a:pt x="1295" y="400"/>
                      </a:moveTo>
                      <a:lnTo>
                        <a:pt x="1293" y="400"/>
                      </a:lnTo>
                      <a:lnTo>
                        <a:pt x="1293" y="400"/>
                      </a:lnTo>
                      <a:lnTo>
                        <a:pt x="1295" y="400"/>
                      </a:lnTo>
                      <a:lnTo>
                        <a:pt x="1295" y="400"/>
                      </a:lnTo>
                      <a:close/>
                      <a:moveTo>
                        <a:pt x="1291" y="398"/>
                      </a:moveTo>
                      <a:lnTo>
                        <a:pt x="1291" y="396"/>
                      </a:lnTo>
                      <a:lnTo>
                        <a:pt x="1289" y="398"/>
                      </a:lnTo>
                      <a:lnTo>
                        <a:pt x="1291" y="398"/>
                      </a:lnTo>
                      <a:close/>
                      <a:moveTo>
                        <a:pt x="1167" y="362"/>
                      </a:moveTo>
                      <a:lnTo>
                        <a:pt x="1165" y="358"/>
                      </a:lnTo>
                      <a:lnTo>
                        <a:pt x="1165" y="354"/>
                      </a:lnTo>
                      <a:lnTo>
                        <a:pt x="1167" y="362"/>
                      </a:lnTo>
                      <a:lnTo>
                        <a:pt x="1167" y="362"/>
                      </a:lnTo>
                      <a:close/>
                      <a:moveTo>
                        <a:pt x="1179" y="348"/>
                      </a:moveTo>
                      <a:lnTo>
                        <a:pt x="1179" y="348"/>
                      </a:lnTo>
                      <a:lnTo>
                        <a:pt x="1179" y="348"/>
                      </a:lnTo>
                      <a:lnTo>
                        <a:pt x="1179" y="348"/>
                      </a:lnTo>
                      <a:lnTo>
                        <a:pt x="1179" y="348"/>
                      </a:lnTo>
                      <a:close/>
                      <a:moveTo>
                        <a:pt x="1157" y="344"/>
                      </a:moveTo>
                      <a:lnTo>
                        <a:pt x="1151" y="336"/>
                      </a:lnTo>
                      <a:lnTo>
                        <a:pt x="1155" y="342"/>
                      </a:lnTo>
                      <a:lnTo>
                        <a:pt x="1157" y="344"/>
                      </a:lnTo>
                      <a:lnTo>
                        <a:pt x="1157" y="344"/>
                      </a:lnTo>
                      <a:close/>
                      <a:moveTo>
                        <a:pt x="1145" y="330"/>
                      </a:moveTo>
                      <a:lnTo>
                        <a:pt x="1143" y="330"/>
                      </a:lnTo>
                      <a:lnTo>
                        <a:pt x="1145" y="332"/>
                      </a:lnTo>
                      <a:lnTo>
                        <a:pt x="1145" y="330"/>
                      </a:lnTo>
                      <a:lnTo>
                        <a:pt x="1145" y="330"/>
                      </a:lnTo>
                      <a:close/>
                      <a:moveTo>
                        <a:pt x="1147" y="322"/>
                      </a:moveTo>
                      <a:lnTo>
                        <a:pt x="1147" y="322"/>
                      </a:lnTo>
                      <a:lnTo>
                        <a:pt x="1147" y="322"/>
                      </a:lnTo>
                      <a:lnTo>
                        <a:pt x="1147" y="322"/>
                      </a:lnTo>
                      <a:close/>
                      <a:moveTo>
                        <a:pt x="1145" y="322"/>
                      </a:moveTo>
                      <a:lnTo>
                        <a:pt x="1145" y="322"/>
                      </a:lnTo>
                      <a:lnTo>
                        <a:pt x="1147" y="322"/>
                      </a:lnTo>
                      <a:lnTo>
                        <a:pt x="1145" y="322"/>
                      </a:lnTo>
                      <a:close/>
                      <a:moveTo>
                        <a:pt x="1351" y="382"/>
                      </a:moveTo>
                      <a:lnTo>
                        <a:pt x="1343" y="384"/>
                      </a:lnTo>
                      <a:lnTo>
                        <a:pt x="1347" y="386"/>
                      </a:lnTo>
                      <a:lnTo>
                        <a:pt x="1351" y="382"/>
                      </a:lnTo>
                      <a:lnTo>
                        <a:pt x="1351" y="382"/>
                      </a:lnTo>
                      <a:close/>
                      <a:moveTo>
                        <a:pt x="1137" y="308"/>
                      </a:moveTo>
                      <a:lnTo>
                        <a:pt x="1131" y="330"/>
                      </a:lnTo>
                      <a:lnTo>
                        <a:pt x="1149" y="334"/>
                      </a:lnTo>
                      <a:lnTo>
                        <a:pt x="1175" y="360"/>
                      </a:lnTo>
                      <a:lnTo>
                        <a:pt x="1191" y="354"/>
                      </a:lnTo>
                      <a:lnTo>
                        <a:pt x="1137" y="308"/>
                      </a:lnTo>
                      <a:close/>
                      <a:moveTo>
                        <a:pt x="1273" y="316"/>
                      </a:moveTo>
                      <a:lnTo>
                        <a:pt x="1273" y="316"/>
                      </a:lnTo>
                      <a:lnTo>
                        <a:pt x="1273" y="316"/>
                      </a:lnTo>
                      <a:lnTo>
                        <a:pt x="1273" y="316"/>
                      </a:lnTo>
                      <a:lnTo>
                        <a:pt x="1273" y="316"/>
                      </a:lnTo>
                      <a:close/>
                      <a:moveTo>
                        <a:pt x="1233" y="234"/>
                      </a:moveTo>
                      <a:lnTo>
                        <a:pt x="1231" y="234"/>
                      </a:lnTo>
                      <a:lnTo>
                        <a:pt x="1233" y="234"/>
                      </a:lnTo>
                      <a:lnTo>
                        <a:pt x="1233" y="234"/>
                      </a:lnTo>
                      <a:lnTo>
                        <a:pt x="1233" y="234"/>
                      </a:lnTo>
                      <a:close/>
                      <a:moveTo>
                        <a:pt x="1257" y="242"/>
                      </a:moveTo>
                      <a:lnTo>
                        <a:pt x="1259" y="242"/>
                      </a:lnTo>
                      <a:lnTo>
                        <a:pt x="1257" y="242"/>
                      </a:lnTo>
                      <a:lnTo>
                        <a:pt x="1257" y="242"/>
                      </a:lnTo>
                      <a:lnTo>
                        <a:pt x="1257" y="242"/>
                      </a:lnTo>
                      <a:close/>
                      <a:moveTo>
                        <a:pt x="1271" y="238"/>
                      </a:moveTo>
                      <a:lnTo>
                        <a:pt x="1273" y="238"/>
                      </a:lnTo>
                      <a:lnTo>
                        <a:pt x="1281" y="234"/>
                      </a:lnTo>
                      <a:lnTo>
                        <a:pt x="1271" y="238"/>
                      </a:lnTo>
                      <a:lnTo>
                        <a:pt x="1271" y="238"/>
                      </a:lnTo>
                      <a:close/>
                      <a:moveTo>
                        <a:pt x="1299" y="230"/>
                      </a:moveTo>
                      <a:lnTo>
                        <a:pt x="1301" y="228"/>
                      </a:lnTo>
                      <a:lnTo>
                        <a:pt x="1299" y="230"/>
                      </a:lnTo>
                      <a:lnTo>
                        <a:pt x="1299" y="230"/>
                      </a:lnTo>
                      <a:lnTo>
                        <a:pt x="1299" y="230"/>
                      </a:lnTo>
                      <a:close/>
                      <a:moveTo>
                        <a:pt x="1303" y="228"/>
                      </a:moveTo>
                      <a:lnTo>
                        <a:pt x="1309" y="226"/>
                      </a:lnTo>
                      <a:lnTo>
                        <a:pt x="1305" y="226"/>
                      </a:lnTo>
                      <a:lnTo>
                        <a:pt x="1303" y="228"/>
                      </a:lnTo>
                      <a:lnTo>
                        <a:pt x="1303" y="228"/>
                      </a:lnTo>
                      <a:close/>
                      <a:moveTo>
                        <a:pt x="1315" y="224"/>
                      </a:moveTo>
                      <a:lnTo>
                        <a:pt x="1311" y="224"/>
                      </a:lnTo>
                      <a:lnTo>
                        <a:pt x="1311" y="226"/>
                      </a:lnTo>
                      <a:lnTo>
                        <a:pt x="1315" y="224"/>
                      </a:lnTo>
                      <a:lnTo>
                        <a:pt x="1315" y="224"/>
                      </a:lnTo>
                      <a:close/>
                      <a:moveTo>
                        <a:pt x="1319" y="222"/>
                      </a:moveTo>
                      <a:lnTo>
                        <a:pt x="1319" y="222"/>
                      </a:lnTo>
                      <a:lnTo>
                        <a:pt x="1319" y="222"/>
                      </a:lnTo>
                      <a:lnTo>
                        <a:pt x="1319" y="222"/>
                      </a:lnTo>
                      <a:close/>
                      <a:moveTo>
                        <a:pt x="1813" y="84"/>
                      </a:moveTo>
                      <a:lnTo>
                        <a:pt x="1811" y="80"/>
                      </a:lnTo>
                      <a:lnTo>
                        <a:pt x="1805" y="78"/>
                      </a:lnTo>
                      <a:lnTo>
                        <a:pt x="1813" y="84"/>
                      </a:lnTo>
                      <a:lnTo>
                        <a:pt x="1813" y="84"/>
                      </a:lnTo>
                      <a:close/>
                      <a:moveTo>
                        <a:pt x="1407" y="66"/>
                      </a:moveTo>
                      <a:lnTo>
                        <a:pt x="1413" y="56"/>
                      </a:lnTo>
                      <a:lnTo>
                        <a:pt x="1409" y="60"/>
                      </a:lnTo>
                      <a:lnTo>
                        <a:pt x="1407" y="66"/>
                      </a:lnTo>
                      <a:lnTo>
                        <a:pt x="1407" y="66"/>
                      </a:lnTo>
                      <a:close/>
                      <a:moveTo>
                        <a:pt x="1417" y="56"/>
                      </a:moveTo>
                      <a:lnTo>
                        <a:pt x="1419" y="50"/>
                      </a:lnTo>
                      <a:lnTo>
                        <a:pt x="1417" y="52"/>
                      </a:lnTo>
                      <a:lnTo>
                        <a:pt x="1417" y="56"/>
                      </a:lnTo>
                      <a:lnTo>
                        <a:pt x="1417" y="56"/>
                      </a:lnTo>
                      <a:close/>
                      <a:moveTo>
                        <a:pt x="1421" y="48"/>
                      </a:moveTo>
                      <a:lnTo>
                        <a:pt x="1427" y="44"/>
                      </a:lnTo>
                      <a:lnTo>
                        <a:pt x="1423" y="46"/>
                      </a:lnTo>
                      <a:lnTo>
                        <a:pt x="1421" y="48"/>
                      </a:lnTo>
                      <a:lnTo>
                        <a:pt x="1421" y="48"/>
                      </a:lnTo>
                      <a:close/>
                      <a:moveTo>
                        <a:pt x="1665" y="50"/>
                      </a:moveTo>
                      <a:lnTo>
                        <a:pt x="1669" y="54"/>
                      </a:lnTo>
                      <a:lnTo>
                        <a:pt x="1671" y="54"/>
                      </a:lnTo>
                      <a:lnTo>
                        <a:pt x="1665" y="50"/>
                      </a:lnTo>
                      <a:close/>
                      <a:moveTo>
                        <a:pt x="1541" y="0"/>
                      </a:moveTo>
                      <a:lnTo>
                        <a:pt x="1509" y="26"/>
                      </a:lnTo>
                      <a:lnTo>
                        <a:pt x="1489" y="20"/>
                      </a:lnTo>
                      <a:lnTo>
                        <a:pt x="1443" y="46"/>
                      </a:lnTo>
                      <a:lnTo>
                        <a:pt x="1435" y="40"/>
                      </a:lnTo>
                      <a:lnTo>
                        <a:pt x="1385" y="98"/>
                      </a:lnTo>
                      <a:lnTo>
                        <a:pt x="1333" y="110"/>
                      </a:lnTo>
                      <a:lnTo>
                        <a:pt x="1337" y="138"/>
                      </a:lnTo>
                      <a:lnTo>
                        <a:pt x="1361" y="170"/>
                      </a:lnTo>
                      <a:lnTo>
                        <a:pt x="1403" y="212"/>
                      </a:lnTo>
                      <a:lnTo>
                        <a:pt x="1397" y="228"/>
                      </a:lnTo>
                      <a:lnTo>
                        <a:pt x="1429" y="242"/>
                      </a:lnTo>
                      <a:lnTo>
                        <a:pt x="1413" y="244"/>
                      </a:lnTo>
                      <a:lnTo>
                        <a:pt x="1391" y="228"/>
                      </a:lnTo>
                      <a:lnTo>
                        <a:pt x="1403" y="252"/>
                      </a:lnTo>
                      <a:lnTo>
                        <a:pt x="1389" y="260"/>
                      </a:lnTo>
                      <a:lnTo>
                        <a:pt x="1343" y="220"/>
                      </a:lnTo>
                      <a:lnTo>
                        <a:pt x="1309" y="226"/>
                      </a:lnTo>
                      <a:lnTo>
                        <a:pt x="1249" y="250"/>
                      </a:lnTo>
                      <a:lnTo>
                        <a:pt x="1277" y="280"/>
                      </a:lnTo>
                      <a:lnTo>
                        <a:pt x="1273" y="298"/>
                      </a:lnTo>
                      <a:lnTo>
                        <a:pt x="1291" y="320"/>
                      </a:lnTo>
                      <a:lnTo>
                        <a:pt x="1349" y="344"/>
                      </a:lnTo>
                      <a:lnTo>
                        <a:pt x="1391" y="322"/>
                      </a:lnTo>
                      <a:lnTo>
                        <a:pt x="1399" y="338"/>
                      </a:lnTo>
                      <a:lnTo>
                        <a:pt x="1387" y="386"/>
                      </a:lnTo>
                      <a:lnTo>
                        <a:pt x="1351" y="386"/>
                      </a:lnTo>
                      <a:lnTo>
                        <a:pt x="1309" y="406"/>
                      </a:lnTo>
                      <a:lnTo>
                        <a:pt x="1307" y="392"/>
                      </a:lnTo>
                      <a:lnTo>
                        <a:pt x="1285" y="400"/>
                      </a:lnTo>
                      <a:lnTo>
                        <a:pt x="1275" y="424"/>
                      </a:lnTo>
                      <a:lnTo>
                        <a:pt x="1239" y="450"/>
                      </a:lnTo>
                      <a:lnTo>
                        <a:pt x="1239" y="490"/>
                      </a:lnTo>
                      <a:lnTo>
                        <a:pt x="1253" y="496"/>
                      </a:lnTo>
                      <a:lnTo>
                        <a:pt x="1243" y="531"/>
                      </a:lnTo>
                      <a:lnTo>
                        <a:pt x="1289" y="571"/>
                      </a:lnTo>
                      <a:lnTo>
                        <a:pt x="1319" y="559"/>
                      </a:lnTo>
                      <a:lnTo>
                        <a:pt x="1313" y="609"/>
                      </a:lnTo>
                      <a:lnTo>
                        <a:pt x="1321" y="619"/>
                      </a:lnTo>
                      <a:lnTo>
                        <a:pt x="1357" y="627"/>
                      </a:lnTo>
                      <a:lnTo>
                        <a:pt x="1371" y="641"/>
                      </a:lnTo>
                      <a:lnTo>
                        <a:pt x="1401" y="643"/>
                      </a:lnTo>
                      <a:lnTo>
                        <a:pt x="1417" y="659"/>
                      </a:lnTo>
                      <a:lnTo>
                        <a:pt x="1447" y="651"/>
                      </a:lnTo>
                      <a:lnTo>
                        <a:pt x="1433" y="671"/>
                      </a:lnTo>
                      <a:lnTo>
                        <a:pt x="1421" y="711"/>
                      </a:lnTo>
                      <a:lnTo>
                        <a:pt x="1327" y="773"/>
                      </a:lnTo>
                      <a:lnTo>
                        <a:pt x="1315" y="785"/>
                      </a:lnTo>
                      <a:lnTo>
                        <a:pt x="1297" y="779"/>
                      </a:lnTo>
                      <a:lnTo>
                        <a:pt x="1267" y="785"/>
                      </a:lnTo>
                      <a:lnTo>
                        <a:pt x="1227" y="813"/>
                      </a:lnTo>
                      <a:lnTo>
                        <a:pt x="1291" y="793"/>
                      </a:lnTo>
                      <a:lnTo>
                        <a:pt x="1301" y="807"/>
                      </a:lnTo>
                      <a:lnTo>
                        <a:pt x="1383" y="781"/>
                      </a:lnTo>
                      <a:lnTo>
                        <a:pt x="1385" y="791"/>
                      </a:lnTo>
                      <a:lnTo>
                        <a:pt x="1419" y="759"/>
                      </a:lnTo>
                      <a:lnTo>
                        <a:pt x="1487" y="711"/>
                      </a:lnTo>
                      <a:lnTo>
                        <a:pt x="1493" y="715"/>
                      </a:lnTo>
                      <a:lnTo>
                        <a:pt x="1551" y="667"/>
                      </a:lnTo>
                      <a:lnTo>
                        <a:pt x="1537" y="649"/>
                      </a:lnTo>
                      <a:lnTo>
                        <a:pt x="1557" y="615"/>
                      </a:lnTo>
                      <a:lnTo>
                        <a:pt x="1609" y="553"/>
                      </a:lnTo>
                      <a:lnTo>
                        <a:pt x="1649" y="545"/>
                      </a:lnTo>
                      <a:lnTo>
                        <a:pt x="1663" y="553"/>
                      </a:lnTo>
                      <a:lnTo>
                        <a:pt x="1613" y="567"/>
                      </a:lnTo>
                      <a:lnTo>
                        <a:pt x="1601" y="619"/>
                      </a:lnTo>
                      <a:lnTo>
                        <a:pt x="1601" y="647"/>
                      </a:lnTo>
                      <a:lnTo>
                        <a:pt x="1619" y="645"/>
                      </a:lnTo>
                      <a:lnTo>
                        <a:pt x="1701" y="595"/>
                      </a:lnTo>
                      <a:lnTo>
                        <a:pt x="1707" y="577"/>
                      </a:lnTo>
                      <a:lnTo>
                        <a:pt x="1701" y="549"/>
                      </a:lnTo>
                      <a:lnTo>
                        <a:pt x="1725" y="555"/>
                      </a:lnTo>
                      <a:lnTo>
                        <a:pt x="1743" y="543"/>
                      </a:lnTo>
                      <a:lnTo>
                        <a:pt x="1795" y="575"/>
                      </a:lnTo>
                      <a:lnTo>
                        <a:pt x="1791" y="583"/>
                      </a:lnTo>
                      <a:lnTo>
                        <a:pt x="1907" y="597"/>
                      </a:lnTo>
                      <a:lnTo>
                        <a:pt x="1933" y="589"/>
                      </a:lnTo>
                      <a:lnTo>
                        <a:pt x="1941" y="601"/>
                      </a:lnTo>
                      <a:lnTo>
                        <a:pt x="2044" y="649"/>
                      </a:lnTo>
                      <a:lnTo>
                        <a:pt x="2060" y="639"/>
                      </a:lnTo>
                      <a:lnTo>
                        <a:pt x="2062" y="581"/>
                      </a:lnTo>
                      <a:lnTo>
                        <a:pt x="2076" y="607"/>
                      </a:lnTo>
                      <a:lnTo>
                        <a:pt x="2140" y="655"/>
                      </a:lnTo>
                      <a:lnTo>
                        <a:pt x="2146" y="673"/>
                      </a:lnTo>
                      <a:lnTo>
                        <a:pt x="2202" y="705"/>
                      </a:lnTo>
                      <a:lnTo>
                        <a:pt x="2218" y="747"/>
                      </a:lnTo>
                      <a:lnTo>
                        <a:pt x="2232" y="715"/>
                      </a:lnTo>
                      <a:lnTo>
                        <a:pt x="2260" y="771"/>
                      </a:lnTo>
                      <a:lnTo>
                        <a:pt x="2280" y="739"/>
                      </a:lnTo>
                      <a:lnTo>
                        <a:pt x="2264" y="699"/>
                      </a:lnTo>
                      <a:lnTo>
                        <a:pt x="2204" y="693"/>
                      </a:lnTo>
                      <a:lnTo>
                        <a:pt x="2112" y="605"/>
                      </a:lnTo>
                      <a:lnTo>
                        <a:pt x="2064" y="569"/>
                      </a:lnTo>
                      <a:lnTo>
                        <a:pt x="2025" y="605"/>
                      </a:lnTo>
                      <a:lnTo>
                        <a:pt x="2001" y="605"/>
                      </a:lnTo>
                      <a:lnTo>
                        <a:pt x="1949" y="571"/>
                      </a:lnTo>
                      <a:lnTo>
                        <a:pt x="1899" y="569"/>
                      </a:lnTo>
                      <a:lnTo>
                        <a:pt x="1825" y="108"/>
                      </a:lnTo>
                      <a:lnTo>
                        <a:pt x="1813" y="86"/>
                      </a:lnTo>
                      <a:lnTo>
                        <a:pt x="1783" y="68"/>
                      </a:lnTo>
                      <a:lnTo>
                        <a:pt x="1739" y="76"/>
                      </a:lnTo>
                      <a:lnTo>
                        <a:pt x="1705" y="70"/>
                      </a:lnTo>
                      <a:lnTo>
                        <a:pt x="1661" y="52"/>
                      </a:lnTo>
                      <a:lnTo>
                        <a:pt x="1615" y="56"/>
                      </a:lnTo>
                      <a:lnTo>
                        <a:pt x="1603" y="34"/>
                      </a:lnTo>
                      <a:lnTo>
                        <a:pt x="1567" y="28"/>
                      </a:lnTo>
                      <a:lnTo>
                        <a:pt x="1561" y="16"/>
                      </a:lnTo>
                      <a:lnTo>
                        <a:pt x="1545" y="34"/>
                      </a:lnTo>
                      <a:lnTo>
                        <a:pt x="1541" y="0"/>
                      </a:lnTo>
                      <a:lnTo>
                        <a:pt x="1541" y="0"/>
                      </a:lnTo>
                      <a:close/>
                    </a:path>
                  </a:pathLst>
                </a:custGeom>
                <a:grpFill/>
                <a:ln w="12700" cap="flat">
                  <a:solidFill>
                    <a:schemeClr val="bg1">
                      <a:lumMod val="75000"/>
                    </a:schemeClr>
                  </a:solidFill>
                  <a:prstDash val="solid"/>
                  <a:round/>
                  <a:headEnd/>
                  <a:tailEnd/>
                </a:ln>
              </p:spPr>
              <p:txBody>
                <a:bodyPr vert="horz" wrap="none" lIns="91440" tIns="45720" rIns="91440" bIns="45720" numCol="1" anchor="ctr" anchorCtr="0" compatLnSpc="1">
                  <a:prstTxWarp prst="textNoShape">
                    <a:avLst/>
                  </a:prstTxWarp>
                </a:bodyPr>
                <a:lstStyle/>
                <a:p>
                  <a:pPr algn="ctr"/>
                  <a:endParaRPr lang="en-US" sz="800" dirty="0">
                    <a:solidFill>
                      <a:prstClr val="black"/>
                    </a:solidFill>
                  </a:endParaRPr>
                </a:p>
              </p:txBody>
            </p:sp>
          </p:grpSp>
          <p:grpSp>
            <p:nvGrpSpPr>
              <p:cNvPr id="2594" name="Etiquettes">
                <a:extLst>
                  <a:ext uri="{FF2B5EF4-FFF2-40B4-BE49-F238E27FC236}">
                    <a16:creationId xmlns:a16="http://schemas.microsoft.com/office/drawing/2014/main" id="{1263F354-F77C-45B1-AEF8-B3F640E3CAA9}"/>
                  </a:ext>
                </a:extLst>
              </p:cNvPr>
              <p:cNvGrpSpPr/>
              <p:nvPr/>
            </p:nvGrpSpPr>
            <p:grpSpPr>
              <a:xfrm>
                <a:off x="3057155" y="2020150"/>
                <a:ext cx="8576782" cy="4361674"/>
                <a:chOff x="3057155" y="2020150"/>
                <a:chExt cx="8576782" cy="4361674"/>
              </a:xfrm>
              <a:grpFill/>
            </p:grpSpPr>
            <p:sp>
              <p:nvSpPr>
                <p:cNvPr id="2620" name="Etiquette - Alaska" hidden="1">
                  <a:extLst>
                    <a:ext uri="{FF2B5EF4-FFF2-40B4-BE49-F238E27FC236}">
                      <a16:creationId xmlns:a16="http://schemas.microsoft.com/office/drawing/2014/main" id="{2B0C49D4-B25F-4EB2-9E58-C4F9F11E733E}"/>
                    </a:ext>
                  </a:extLst>
                </p:cNvPr>
                <p:cNvSpPr>
                  <a:spLocks noChangeArrowheads="1"/>
                </p:cNvSpPr>
                <p:nvPr/>
              </p:nvSpPr>
              <p:spPr bwMode="auto">
                <a:xfrm>
                  <a:off x="3267830" y="5355800"/>
                  <a:ext cx="766937"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Alaska</a:t>
                  </a:r>
                </a:p>
              </p:txBody>
            </p:sp>
            <p:sp>
              <p:nvSpPr>
                <p:cNvPr id="2621" name="Etiquette - DARK - Hawaii" hidden="1">
                  <a:extLst>
                    <a:ext uri="{FF2B5EF4-FFF2-40B4-BE49-F238E27FC236}">
                      <a16:creationId xmlns:a16="http://schemas.microsoft.com/office/drawing/2014/main" id="{21F9DDFC-AC99-46E2-8E0F-B8D17BB5C45E}"/>
                    </a:ext>
                  </a:extLst>
                </p:cNvPr>
                <p:cNvSpPr>
                  <a:spLocks noChangeArrowheads="1"/>
                </p:cNvSpPr>
                <p:nvPr/>
              </p:nvSpPr>
              <p:spPr bwMode="auto">
                <a:xfrm>
                  <a:off x="4894420" y="6031222"/>
                  <a:ext cx="812594"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Hawaii</a:t>
                  </a:r>
                </a:p>
              </p:txBody>
            </p:sp>
            <p:sp>
              <p:nvSpPr>
                <p:cNvPr id="2622" name="Etiquette - California" hidden="1">
                  <a:extLst>
                    <a:ext uri="{FF2B5EF4-FFF2-40B4-BE49-F238E27FC236}">
                      <a16:creationId xmlns:a16="http://schemas.microsoft.com/office/drawing/2014/main" id="{73488CE4-C1B9-42B0-ABCA-AFBF319D137B}"/>
                    </a:ext>
                  </a:extLst>
                </p:cNvPr>
                <p:cNvSpPr>
                  <a:spLocks noChangeArrowheads="1"/>
                </p:cNvSpPr>
                <p:nvPr/>
              </p:nvSpPr>
              <p:spPr bwMode="auto">
                <a:xfrm>
                  <a:off x="3057155" y="3860092"/>
                  <a:ext cx="1145844"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California</a:t>
                  </a:r>
                </a:p>
              </p:txBody>
            </p:sp>
            <p:sp>
              <p:nvSpPr>
                <p:cNvPr id="2623" name="Etiquette - Oregon" hidden="1">
                  <a:extLst>
                    <a:ext uri="{FF2B5EF4-FFF2-40B4-BE49-F238E27FC236}">
                      <a16:creationId xmlns:a16="http://schemas.microsoft.com/office/drawing/2014/main" id="{AB7CBF14-6D42-4A37-BAB4-CE45D3540765}"/>
                    </a:ext>
                  </a:extLst>
                </p:cNvPr>
                <p:cNvSpPr>
                  <a:spLocks noChangeArrowheads="1"/>
                </p:cNvSpPr>
                <p:nvPr/>
              </p:nvSpPr>
              <p:spPr bwMode="auto">
                <a:xfrm>
                  <a:off x="3267523" y="2648121"/>
                  <a:ext cx="885636"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Oregon</a:t>
                  </a:r>
                </a:p>
              </p:txBody>
            </p:sp>
            <p:sp>
              <p:nvSpPr>
                <p:cNvPr id="2624" name="Etiquette - Washington" hidden="1">
                  <a:extLst>
                    <a:ext uri="{FF2B5EF4-FFF2-40B4-BE49-F238E27FC236}">
                      <a16:creationId xmlns:a16="http://schemas.microsoft.com/office/drawing/2014/main" id="{CAF8C7D8-F391-449F-967A-9A0AE39B37FA}"/>
                    </a:ext>
                  </a:extLst>
                </p:cNvPr>
                <p:cNvSpPr>
                  <a:spLocks noChangeArrowheads="1"/>
                </p:cNvSpPr>
                <p:nvPr/>
              </p:nvSpPr>
              <p:spPr bwMode="auto">
                <a:xfrm>
                  <a:off x="3211130" y="2168059"/>
                  <a:ext cx="1438011"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Washington</a:t>
                  </a:r>
                </a:p>
              </p:txBody>
            </p:sp>
            <p:sp>
              <p:nvSpPr>
                <p:cNvPr id="2625" name="Etiquette - Montana" hidden="1">
                  <a:extLst>
                    <a:ext uri="{FF2B5EF4-FFF2-40B4-BE49-F238E27FC236}">
                      <a16:creationId xmlns:a16="http://schemas.microsoft.com/office/drawing/2014/main" id="{74CEED9A-2C4C-41B5-800D-F2E0DD5C724F}"/>
                    </a:ext>
                  </a:extLst>
                </p:cNvPr>
                <p:cNvSpPr>
                  <a:spLocks noChangeArrowheads="1"/>
                </p:cNvSpPr>
                <p:nvPr/>
              </p:nvSpPr>
              <p:spPr bwMode="auto">
                <a:xfrm>
                  <a:off x="4636296" y="2377174"/>
                  <a:ext cx="1095631"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Montana</a:t>
                  </a:r>
                </a:p>
              </p:txBody>
            </p:sp>
            <p:sp>
              <p:nvSpPr>
                <p:cNvPr id="2626" name="Etiquette - Idaho" hidden="1">
                  <a:extLst>
                    <a:ext uri="{FF2B5EF4-FFF2-40B4-BE49-F238E27FC236}">
                      <a16:creationId xmlns:a16="http://schemas.microsoft.com/office/drawing/2014/main" id="{FC63A73F-6D77-458E-8F0D-ED7BACD5CBEE}"/>
                    </a:ext>
                  </a:extLst>
                </p:cNvPr>
                <p:cNvSpPr>
                  <a:spLocks noChangeArrowheads="1"/>
                </p:cNvSpPr>
                <p:nvPr/>
              </p:nvSpPr>
              <p:spPr bwMode="auto">
                <a:xfrm>
                  <a:off x="4141001" y="2837275"/>
                  <a:ext cx="680203"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Idaho</a:t>
                  </a:r>
                </a:p>
              </p:txBody>
            </p:sp>
            <p:sp>
              <p:nvSpPr>
                <p:cNvPr id="2627" name="Etiquette - Nevada" hidden="1">
                  <a:extLst>
                    <a:ext uri="{FF2B5EF4-FFF2-40B4-BE49-F238E27FC236}">
                      <a16:creationId xmlns:a16="http://schemas.microsoft.com/office/drawing/2014/main" id="{723DC03A-69C4-4EA3-B0B9-9CDE520342A0}"/>
                    </a:ext>
                  </a:extLst>
                </p:cNvPr>
                <p:cNvSpPr>
                  <a:spLocks noChangeArrowheads="1"/>
                </p:cNvSpPr>
                <p:nvPr/>
              </p:nvSpPr>
              <p:spPr bwMode="auto">
                <a:xfrm>
                  <a:off x="3574803" y="3387443"/>
                  <a:ext cx="903893"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Nevada</a:t>
                  </a:r>
                </a:p>
              </p:txBody>
            </p:sp>
            <p:sp>
              <p:nvSpPr>
                <p:cNvPr id="2628" name="Etiquette - Utah" hidden="1">
                  <a:extLst>
                    <a:ext uri="{FF2B5EF4-FFF2-40B4-BE49-F238E27FC236}">
                      <a16:creationId xmlns:a16="http://schemas.microsoft.com/office/drawing/2014/main" id="{496455E2-9CE9-4EBB-A409-B075CE5830E2}"/>
                    </a:ext>
                  </a:extLst>
                </p:cNvPr>
                <p:cNvSpPr>
                  <a:spLocks noChangeArrowheads="1"/>
                </p:cNvSpPr>
                <p:nvPr/>
              </p:nvSpPr>
              <p:spPr bwMode="auto">
                <a:xfrm>
                  <a:off x="4477429" y="3604480"/>
                  <a:ext cx="579771"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Utah</a:t>
                  </a:r>
                </a:p>
              </p:txBody>
            </p:sp>
            <p:sp>
              <p:nvSpPr>
                <p:cNvPr id="2629" name="Etiquette - Arizona" hidden="1">
                  <a:extLst>
                    <a:ext uri="{FF2B5EF4-FFF2-40B4-BE49-F238E27FC236}">
                      <a16:creationId xmlns:a16="http://schemas.microsoft.com/office/drawing/2014/main" id="{F9814626-CBCA-4F42-8A29-71EEEC49CAA8}"/>
                    </a:ext>
                  </a:extLst>
                </p:cNvPr>
                <p:cNvSpPr>
                  <a:spLocks noChangeArrowheads="1"/>
                </p:cNvSpPr>
                <p:nvPr/>
              </p:nvSpPr>
              <p:spPr bwMode="auto">
                <a:xfrm>
                  <a:off x="4184400" y="4404584"/>
                  <a:ext cx="903893"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Arizona</a:t>
                  </a:r>
                </a:p>
              </p:txBody>
            </p:sp>
            <p:sp>
              <p:nvSpPr>
                <p:cNvPr id="2630" name="Etiquette - New Mexico" hidden="1">
                  <a:extLst>
                    <a:ext uri="{FF2B5EF4-FFF2-40B4-BE49-F238E27FC236}">
                      <a16:creationId xmlns:a16="http://schemas.microsoft.com/office/drawing/2014/main" id="{91EACDAE-32AC-454E-8796-72F1B29BEF0C}"/>
                    </a:ext>
                  </a:extLst>
                </p:cNvPr>
                <p:cNvSpPr>
                  <a:spLocks noChangeArrowheads="1"/>
                </p:cNvSpPr>
                <p:nvPr/>
              </p:nvSpPr>
              <p:spPr bwMode="auto">
                <a:xfrm>
                  <a:off x="4671496" y="4445858"/>
                  <a:ext cx="1479099"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New Mexico</a:t>
                  </a:r>
                </a:p>
              </p:txBody>
            </p:sp>
            <p:sp>
              <p:nvSpPr>
                <p:cNvPr id="2631" name="Etiquette - Colorado" hidden="1">
                  <a:extLst>
                    <a:ext uri="{FF2B5EF4-FFF2-40B4-BE49-F238E27FC236}">
                      <a16:creationId xmlns:a16="http://schemas.microsoft.com/office/drawing/2014/main" id="{D751B346-663D-4D03-A747-D51B1B7C0D40}"/>
                    </a:ext>
                  </a:extLst>
                </p:cNvPr>
                <p:cNvSpPr>
                  <a:spLocks noChangeArrowheads="1"/>
                </p:cNvSpPr>
                <p:nvPr/>
              </p:nvSpPr>
              <p:spPr bwMode="auto">
                <a:xfrm>
                  <a:off x="4952627" y="3668828"/>
                  <a:ext cx="1086500"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Colorado</a:t>
                  </a:r>
                </a:p>
              </p:txBody>
            </p:sp>
            <p:sp>
              <p:nvSpPr>
                <p:cNvPr id="2632" name="Etiquette - Wyoming" hidden="1">
                  <a:extLst>
                    <a:ext uri="{FF2B5EF4-FFF2-40B4-BE49-F238E27FC236}">
                      <a16:creationId xmlns:a16="http://schemas.microsoft.com/office/drawing/2014/main" id="{9A4E6CE0-71F2-44EE-943D-F6480C0E4FB9}"/>
                    </a:ext>
                  </a:extLst>
                </p:cNvPr>
                <p:cNvSpPr>
                  <a:spLocks noChangeArrowheads="1"/>
                </p:cNvSpPr>
                <p:nvPr/>
              </p:nvSpPr>
              <p:spPr bwMode="auto">
                <a:xfrm>
                  <a:off x="4745531" y="3025886"/>
                  <a:ext cx="1141282"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Wyoming</a:t>
                  </a:r>
                </a:p>
              </p:txBody>
            </p:sp>
            <p:sp>
              <p:nvSpPr>
                <p:cNvPr id="2633" name="Etiquette - North Dakota" hidden="1">
                  <a:extLst>
                    <a:ext uri="{FF2B5EF4-FFF2-40B4-BE49-F238E27FC236}">
                      <a16:creationId xmlns:a16="http://schemas.microsoft.com/office/drawing/2014/main" id="{9A8D128E-D518-4A0F-B2A0-2FF99B46F4BD}"/>
                    </a:ext>
                  </a:extLst>
                </p:cNvPr>
                <p:cNvSpPr>
                  <a:spLocks noChangeArrowheads="1"/>
                </p:cNvSpPr>
                <p:nvPr/>
              </p:nvSpPr>
              <p:spPr bwMode="auto">
                <a:xfrm>
                  <a:off x="5422668" y="2375750"/>
                  <a:ext cx="1602357"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North Dakota</a:t>
                  </a:r>
                </a:p>
              </p:txBody>
            </p:sp>
            <p:sp>
              <p:nvSpPr>
                <p:cNvPr id="2634" name="Etiquette - South Dakota" hidden="1">
                  <a:extLst>
                    <a:ext uri="{FF2B5EF4-FFF2-40B4-BE49-F238E27FC236}">
                      <a16:creationId xmlns:a16="http://schemas.microsoft.com/office/drawing/2014/main" id="{50AFE667-80B3-48A3-B6C0-74F5A4537425}"/>
                    </a:ext>
                  </a:extLst>
                </p:cNvPr>
                <p:cNvSpPr>
                  <a:spLocks noChangeArrowheads="1"/>
                </p:cNvSpPr>
                <p:nvPr/>
              </p:nvSpPr>
              <p:spPr bwMode="auto">
                <a:xfrm>
                  <a:off x="5422668" y="2847240"/>
                  <a:ext cx="1602357"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South Dakota</a:t>
                  </a:r>
                </a:p>
              </p:txBody>
            </p:sp>
            <p:sp>
              <p:nvSpPr>
                <p:cNvPr id="2635" name="Etiquette - Nebraska" hidden="1">
                  <a:extLst>
                    <a:ext uri="{FF2B5EF4-FFF2-40B4-BE49-F238E27FC236}">
                      <a16:creationId xmlns:a16="http://schemas.microsoft.com/office/drawing/2014/main" id="{119A4D82-316E-4B47-9E37-E83C01D1C3B2}"/>
                    </a:ext>
                  </a:extLst>
                </p:cNvPr>
                <p:cNvSpPr>
                  <a:spLocks noChangeArrowheads="1"/>
                </p:cNvSpPr>
                <p:nvPr/>
              </p:nvSpPr>
              <p:spPr bwMode="auto">
                <a:xfrm>
                  <a:off x="5776000" y="3308461"/>
                  <a:ext cx="1118453"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Nebraska</a:t>
                  </a:r>
                </a:p>
              </p:txBody>
            </p:sp>
            <p:sp>
              <p:nvSpPr>
                <p:cNvPr id="2636" name="Etiquette - Kansas" hidden="1">
                  <a:extLst>
                    <a:ext uri="{FF2B5EF4-FFF2-40B4-BE49-F238E27FC236}">
                      <a16:creationId xmlns:a16="http://schemas.microsoft.com/office/drawing/2014/main" id="{3D559200-CA84-435B-A907-0216369AE363}"/>
                    </a:ext>
                  </a:extLst>
                </p:cNvPr>
                <p:cNvSpPr>
                  <a:spLocks noChangeArrowheads="1"/>
                </p:cNvSpPr>
                <p:nvPr/>
              </p:nvSpPr>
              <p:spPr bwMode="auto">
                <a:xfrm>
                  <a:off x="6067777" y="3745771"/>
                  <a:ext cx="817156"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Kansas</a:t>
                  </a:r>
                </a:p>
              </p:txBody>
            </p:sp>
            <p:sp>
              <p:nvSpPr>
                <p:cNvPr id="2637" name="Etiquette - Oklahoma" hidden="1">
                  <a:extLst>
                    <a:ext uri="{FF2B5EF4-FFF2-40B4-BE49-F238E27FC236}">
                      <a16:creationId xmlns:a16="http://schemas.microsoft.com/office/drawing/2014/main" id="{CF38B00B-394D-4FD0-A54D-D21042075E49}"/>
                    </a:ext>
                  </a:extLst>
                </p:cNvPr>
                <p:cNvSpPr>
                  <a:spLocks noChangeArrowheads="1"/>
                </p:cNvSpPr>
                <p:nvPr/>
              </p:nvSpPr>
              <p:spPr bwMode="auto">
                <a:xfrm>
                  <a:off x="6098593" y="4275995"/>
                  <a:ext cx="1218886"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Oklahoma</a:t>
                  </a:r>
                </a:p>
              </p:txBody>
            </p:sp>
            <p:sp>
              <p:nvSpPr>
                <p:cNvPr id="2638" name="Etiquette - Texas" hidden="1">
                  <a:extLst>
                    <a:ext uri="{FF2B5EF4-FFF2-40B4-BE49-F238E27FC236}">
                      <a16:creationId xmlns:a16="http://schemas.microsoft.com/office/drawing/2014/main" id="{18620755-3A4D-42D5-BAC9-400E9AACE48B}"/>
                    </a:ext>
                  </a:extLst>
                </p:cNvPr>
                <p:cNvSpPr>
                  <a:spLocks noChangeArrowheads="1"/>
                </p:cNvSpPr>
                <p:nvPr/>
              </p:nvSpPr>
              <p:spPr bwMode="auto">
                <a:xfrm>
                  <a:off x="6172472" y="4966559"/>
                  <a:ext cx="671073"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Texas</a:t>
                  </a:r>
                </a:p>
              </p:txBody>
            </p:sp>
            <p:sp>
              <p:nvSpPr>
                <p:cNvPr id="2639" name="Etiquette - Louisiana" hidden="1">
                  <a:extLst>
                    <a:ext uri="{FF2B5EF4-FFF2-40B4-BE49-F238E27FC236}">
                      <a16:creationId xmlns:a16="http://schemas.microsoft.com/office/drawing/2014/main" id="{11B4CF6A-99D6-4C39-884F-CB14C93E8A56}"/>
                    </a:ext>
                  </a:extLst>
                </p:cNvPr>
                <p:cNvSpPr>
                  <a:spLocks noChangeArrowheads="1"/>
                </p:cNvSpPr>
                <p:nvPr/>
              </p:nvSpPr>
              <p:spPr bwMode="auto">
                <a:xfrm>
                  <a:off x="6905654" y="4961088"/>
                  <a:ext cx="1123021"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Louisiana</a:t>
                  </a:r>
                </a:p>
              </p:txBody>
            </p:sp>
            <p:sp>
              <p:nvSpPr>
                <p:cNvPr id="2640" name="Etiquette - Arkansas" hidden="1">
                  <a:extLst>
                    <a:ext uri="{FF2B5EF4-FFF2-40B4-BE49-F238E27FC236}">
                      <a16:creationId xmlns:a16="http://schemas.microsoft.com/office/drawing/2014/main" id="{4F5DFFE1-B7F2-4650-A31F-C3A8FB878DCD}"/>
                    </a:ext>
                  </a:extLst>
                </p:cNvPr>
                <p:cNvSpPr>
                  <a:spLocks noChangeArrowheads="1"/>
                </p:cNvSpPr>
                <p:nvPr/>
              </p:nvSpPr>
              <p:spPr bwMode="auto">
                <a:xfrm>
                  <a:off x="6785390" y="4295116"/>
                  <a:ext cx="1068237"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Arkansas</a:t>
                  </a:r>
                </a:p>
              </p:txBody>
            </p:sp>
            <p:sp>
              <p:nvSpPr>
                <p:cNvPr id="2641" name="Etiquette - Missouri" hidden="1">
                  <a:extLst>
                    <a:ext uri="{FF2B5EF4-FFF2-40B4-BE49-F238E27FC236}">
                      <a16:creationId xmlns:a16="http://schemas.microsoft.com/office/drawing/2014/main" id="{6914C0BB-B2FC-4F37-BE0F-BB5414A835D2}"/>
                    </a:ext>
                  </a:extLst>
                </p:cNvPr>
                <p:cNvSpPr>
                  <a:spLocks noChangeArrowheads="1"/>
                </p:cNvSpPr>
                <p:nvPr/>
              </p:nvSpPr>
              <p:spPr bwMode="auto">
                <a:xfrm>
                  <a:off x="6743714" y="3771168"/>
                  <a:ext cx="1027151"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Missouri</a:t>
                  </a:r>
                </a:p>
              </p:txBody>
            </p:sp>
            <p:sp>
              <p:nvSpPr>
                <p:cNvPr id="2642" name="Etiquette - Iowa" hidden="1">
                  <a:extLst>
                    <a:ext uri="{FF2B5EF4-FFF2-40B4-BE49-F238E27FC236}">
                      <a16:creationId xmlns:a16="http://schemas.microsoft.com/office/drawing/2014/main" id="{C7E891FB-775A-4138-BF14-2C37A2596F06}"/>
                    </a:ext>
                  </a:extLst>
                </p:cNvPr>
                <p:cNvSpPr>
                  <a:spLocks noChangeArrowheads="1"/>
                </p:cNvSpPr>
                <p:nvPr/>
              </p:nvSpPr>
              <p:spPr bwMode="auto">
                <a:xfrm>
                  <a:off x="6803117" y="3209190"/>
                  <a:ext cx="579771"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Iowa</a:t>
                  </a:r>
                </a:p>
              </p:txBody>
            </p:sp>
            <p:sp>
              <p:nvSpPr>
                <p:cNvPr id="2643" name="Etiquette - Minnesota" hidden="1">
                  <a:extLst>
                    <a:ext uri="{FF2B5EF4-FFF2-40B4-BE49-F238E27FC236}">
                      <a16:creationId xmlns:a16="http://schemas.microsoft.com/office/drawing/2014/main" id="{7A3B7B93-D8A7-438B-8A6E-EAB1C5DBACC7}"/>
                    </a:ext>
                  </a:extLst>
                </p:cNvPr>
                <p:cNvSpPr>
                  <a:spLocks noChangeArrowheads="1"/>
                </p:cNvSpPr>
                <p:nvPr/>
              </p:nvSpPr>
              <p:spPr bwMode="auto">
                <a:xfrm>
                  <a:off x="6318704" y="2313937"/>
                  <a:ext cx="1282797"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Minnesota</a:t>
                  </a:r>
                </a:p>
              </p:txBody>
            </p:sp>
            <p:sp>
              <p:nvSpPr>
                <p:cNvPr id="2644" name="Etiquette - Wisconsin" hidden="1">
                  <a:extLst>
                    <a:ext uri="{FF2B5EF4-FFF2-40B4-BE49-F238E27FC236}">
                      <a16:creationId xmlns:a16="http://schemas.microsoft.com/office/drawing/2014/main" id="{5B525D32-292F-4748-81CE-3EBBC47D911A}"/>
                    </a:ext>
                  </a:extLst>
                </p:cNvPr>
                <p:cNvSpPr>
                  <a:spLocks noChangeArrowheads="1"/>
                </p:cNvSpPr>
                <p:nvPr/>
              </p:nvSpPr>
              <p:spPr bwMode="auto">
                <a:xfrm>
                  <a:off x="6851186" y="2686707"/>
                  <a:ext cx="1214320"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Wisconsin</a:t>
                  </a:r>
                </a:p>
              </p:txBody>
            </p:sp>
            <p:sp>
              <p:nvSpPr>
                <p:cNvPr id="2645" name="Etiquette - Illinois" hidden="1">
                  <a:extLst>
                    <a:ext uri="{FF2B5EF4-FFF2-40B4-BE49-F238E27FC236}">
                      <a16:creationId xmlns:a16="http://schemas.microsoft.com/office/drawing/2014/main" id="{084D794C-258F-4E65-B8EC-090517564A66}"/>
                    </a:ext>
                  </a:extLst>
                </p:cNvPr>
                <p:cNvSpPr>
                  <a:spLocks noChangeArrowheads="1"/>
                </p:cNvSpPr>
                <p:nvPr/>
              </p:nvSpPr>
              <p:spPr bwMode="auto">
                <a:xfrm>
                  <a:off x="7278583" y="3448219"/>
                  <a:ext cx="771505"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Illinois</a:t>
                  </a:r>
                </a:p>
              </p:txBody>
            </p:sp>
            <p:sp>
              <p:nvSpPr>
                <p:cNvPr id="2646" name="Etiquette - Michigan" hidden="1">
                  <a:extLst>
                    <a:ext uri="{FF2B5EF4-FFF2-40B4-BE49-F238E27FC236}">
                      <a16:creationId xmlns:a16="http://schemas.microsoft.com/office/drawing/2014/main" id="{262E628F-CB3F-4DF9-B6E9-F9535035CB63}"/>
                    </a:ext>
                  </a:extLst>
                </p:cNvPr>
                <p:cNvSpPr>
                  <a:spLocks noChangeArrowheads="1"/>
                </p:cNvSpPr>
                <p:nvPr/>
              </p:nvSpPr>
              <p:spPr bwMode="auto">
                <a:xfrm>
                  <a:off x="7647291" y="2843862"/>
                  <a:ext cx="1100193"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Michigan</a:t>
                  </a:r>
                </a:p>
              </p:txBody>
            </p:sp>
            <p:sp>
              <p:nvSpPr>
                <p:cNvPr id="2647" name="Etiquette - Ohio" hidden="1">
                  <a:extLst>
                    <a:ext uri="{FF2B5EF4-FFF2-40B4-BE49-F238E27FC236}">
                      <a16:creationId xmlns:a16="http://schemas.microsoft.com/office/drawing/2014/main" id="{BEF35B6E-DA35-47BA-BF09-80257BC21118}"/>
                    </a:ext>
                  </a:extLst>
                </p:cNvPr>
                <p:cNvSpPr>
                  <a:spLocks noChangeArrowheads="1"/>
                </p:cNvSpPr>
                <p:nvPr/>
              </p:nvSpPr>
              <p:spPr bwMode="auto">
                <a:xfrm>
                  <a:off x="8203095" y="3323492"/>
                  <a:ext cx="570641"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Ohio</a:t>
                  </a:r>
                </a:p>
              </p:txBody>
            </p:sp>
            <p:sp>
              <p:nvSpPr>
                <p:cNvPr id="2648" name="Etiquette - Indiana" hidden="1">
                  <a:extLst>
                    <a:ext uri="{FF2B5EF4-FFF2-40B4-BE49-F238E27FC236}">
                      <a16:creationId xmlns:a16="http://schemas.microsoft.com/office/drawing/2014/main" id="{0CD91368-7FF4-4448-A775-7160F1377E0C}"/>
                    </a:ext>
                  </a:extLst>
                </p:cNvPr>
                <p:cNvSpPr>
                  <a:spLocks noChangeArrowheads="1"/>
                </p:cNvSpPr>
                <p:nvPr/>
              </p:nvSpPr>
              <p:spPr bwMode="auto">
                <a:xfrm>
                  <a:off x="7652321" y="3409218"/>
                  <a:ext cx="890198"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Indiana</a:t>
                  </a:r>
                </a:p>
              </p:txBody>
            </p:sp>
            <p:sp>
              <p:nvSpPr>
                <p:cNvPr id="2649" name="Etiquette - Kentucky" hidden="1">
                  <a:extLst>
                    <a:ext uri="{FF2B5EF4-FFF2-40B4-BE49-F238E27FC236}">
                      <a16:creationId xmlns:a16="http://schemas.microsoft.com/office/drawing/2014/main" id="{C01E46E1-36B3-475C-A342-D52840219C4B}"/>
                    </a:ext>
                  </a:extLst>
                </p:cNvPr>
                <p:cNvSpPr>
                  <a:spLocks noChangeArrowheads="1"/>
                </p:cNvSpPr>
                <p:nvPr/>
              </p:nvSpPr>
              <p:spPr bwMode="auto">
                <a:xfrm>
                  <a:off x="7767471" y="3791806"/>
                  <a:ext cx="1091063"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Kentucky</a:t>
                  </a:r>
                </a:p>
              </p:txBody>
            </p:sp>
            <p:sp>
              <p:nvSpPr>
                <p:cNvPr id="2650" name="Etiquette - Tennessee" hidden="1">
                  <a:extLst>
                    <a:ext uri="{FF2B5EF4-FFF2-40B4-BE49-F238E27FC236}">
                      <a16:creationId xmlns:a16="http://schemas.microsoft.com/office/drawing/2014/main" id="{AFF94194-6C26-45C3-84E3-01DE05CFCA2D}"/>
                    </a:ext>
                  </a:extLst>
                </p:cNvPr>
                <p:cNvSpPr>
                  <a:spLocks noChangeArrowheads="1"/>
                </p:cNvSpPr>
                <p:nvPr/>
              </p:nvSpPr>
              <p:spPr bwMode="auto">
                <a:xfrm>
                  <a:off x="7479117" y="4061683"/>
                  <a:ext cx="1264537"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Tennessee</a:t>
                  </a:r>
                </a:p>
              </p:txBody>
            </p:sp>
            <p:sp>
              <p:nvSpPr>
                <p:cNvPr id="2651" name="Etiquette - Mississippi" hidden="1">
                  <a:extLst>
                    <a:ext uri="{FF2B5EF4-FFF2-40B4-BE49-F238E27FC236}">
                      <a16:creationId xmlns:a16="http://schemas.microsoft.com/office/drawing/2014/main" id="{569D4E67-D8AB-45E4-9E43-F8507C26A2D1}"/>
                    </a:ext>
                  </a:extLst>
                </p:cNvPr>
                <p:cNvSpPr>
                  <a:spLocks noChangeArrowheads="1"/>
                </p:cNvSpPr>
                <p:nvPr/>
              </p:nvSpPr>
              <p:spPr bwMode="auto">
                <a:xfrm>
                  <a:off x="7120909" y="4547148"/>
                  <a:ext cx="1291927"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Mississippi</a:t>
                  </a:r>
                </a:p>
              </p:txBody>
            </p:sp>
            <p:sp>
              <p:nvSpPr>
                <p:cNvPr id="2652" name="Etiquette - Alabama" hidden="1">
                  <a:extLst>
                    <a:ext uri="{FF2B5EF4-FFF2-40B4-BE49-F238E27FC236}">
                      <a16:creationId xmlns:a16="http://schemas.microsoft.com/office/drawing/2014/main" id="{2FA3198C-AF5F-470E-910F-D06E964F4910}"/>
                    </a:ext>
                  </a:extLst>
                </p:cNvPr>
                <p:cNvSpPr>
                  <a:spLocks noChangeArrowheads="1"/>
                </p:cNvSpPr>
                <p:nvPr/>
              </p:nvSpPr>
              <p:spPr bwMode="auto">
                <a:xfrm>
                  <a:off x="7653053" y="4447803"/>
                  <a:ext cx="1049977"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Alabama</a:t>
                  </a:r>
                </a:p>
              </p:txBody>
            </p:sp>
            <p:sp>
              <p:nvSpPr>
                <p:cNvPr id="2653" name="Etiquette - Florida" hidden="1">
                  <a:extLst>
                    <a:ext uri="{FF2B5EF4-FFF2-40B4-BE49-F238E27FC236}">
                      <a16:creationId xmlns:a16="http://schemas.microsoft.com/office/drawing/2014/main" id="{021F86F1-4F2A-466E-BC06-40AACD75CD27}"/>
                    </a:ext>
                  </a:extLst>
                </p:cNvPr>
                <p:cNvSpPr>
                  <a:spLocks noChangeArrowheads="1"/>
                </p:cNvSpPr>
                <p:nvPr/>
              </p:nvSpPr>
              <p:spPr bwMode="auto">
                <a:xfrm>
                  <a:off x="8721441" y="5225323"/>
                  <a:ext cx="821722"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Florida</a:t>
                  </a:r>
                </a:p>
              </p:txBody>
            </p:sp>
            <p:sp>
              <p:nvSpPr>
                <p:cNvPr id="2654" name="Etiquette - Georgia" hidden="1">
                  <a:extLst>
                    <a:ext uri="{FF2B5EF4-FFF2-40B4-BE49-F238E27FC236}">
                      <a16:creationId xmlns:a16="http://schemas.microsoft.com/office/drawing/2014/main" id="{99B3F18A-5BC8-41DD-8B4A-21AF16D92A51}"/>
                    </a:ext>
                  </a:extLst>
                </p:cNvPr>
                <p:cNvSpPr>
                  <a:spLocks noChangeArrowheads="1"/>
                </p:cNvSpPr>
                <p:nvPr/>
              </p:nvSpPr>
              <p:spPr bwMode="auto">
                <a:xfrm>
                  <a:off x="8234709" y="4595085"/>
                  <a:ext cx="931284"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Georgia</a:t>
                  </a:r>
                </a:p>
              </p:txBody>
            </p:sp>
            <p:sp>
              <p:nvSpPr>
                <p:cNvPr id="2655" name="Etiquette - DARK - South Carolina" hidden="1">
                  <a:extLst>
                    <a:ext uri="{FF2B5EF4-FFF2-40B4-BE49-F238E27FC236}">
                      <a16:creationId xmlns:a16="http://schemas.microsoft.com/office/drawing/2014/main" id="{47FF4B3E-8771-46A6-B953-8C04F25F72ED}"/>
                    </a:ext>
                  </a:extLst>
                </p:cNvPr>
                <p:cNvSpPr>
                  <a:spLocks noChangeArrowheads="1"/>
                </p:cNvSpPr>
                <p:nvPr/>
              </p:nvSpPr>
              <p:spPr bwMode="auto">
                <a:xfrm>
                  <a:off x="8776068" y="4583375"/>
                  <a:ext cx="1743875"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South Carolina</a:t>
                  </a:r>
                </a:p>
              </p:txBody>
            </p:sp>
            <p:sp>
              <p:nvSpPr>
                <p:cNvPr id="2656" name="Etiquette - North Carolina" hidden="1">
                  <a:extLst>
                    <a:ext uri="{FF2B5EF4-FFF2-40B4-BE49-F238E27FC236}">
                      <a16:creationId xmlns:a16="http://schemas.microsoft.com/office/drawing/2014/main" id="{F64587C0-B2AB-4206-ACD0-67F1FB9A5FB0}"/>
                    </a:ext>
                  </a:extLst>
                </p:cNvPr>
                <p:cNvSpPr>
                  <a:spLocks noChangeArrowheads="1"/>
                </p:cNvSpPr>
                <p:nvPr/>
              </p:nvSpPr>
              <p:spPr bwMode="auto">
                <a:xfrm>
                  <a:off x="8257962" y="3942620"/>
                  <a:ext cx="1743875"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North Carolina</a:t>
                  </a:r>
                </a:p>
              </p:txBody>
            </p:sp>
            <p:sp>
              <p:nvSpPr>
                <p:cNvPr id="2657" name="Etiquette - Virginia" hidden="1">
                  <a:extLst>
                    <a:ext uri="{FF2B5EF4-FFF2-40B4-BE49-F238E27FC236}">
                      <a16:creationId xmlns:a16="http://schemas.microsoft.com/office/drawing/2014/main" id="{372D201E-0A00-4B83-83EC-858453E2F91F}"/>
                    </a:ext>
                  </a:extLst>
                </p:cNvPr>
                <p:cNvSpPr>
                  <a:spLocks noChangeArrowheads="1"/>
                </p:cNvSpPr>
                <p:nvPr/>
              </p:nvSpPr>
              <p:spPr bwMode="auto">
                <a:xfrm>
                  <a:off x="8701864" y="3621770"/>
                  <a:ext cx="903893"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Virginia</a:t>
                  </a:r>
                </a:p>
              </p:txBody>
            </p:sp>
            <p:sp>
              <p:nvSpPr>
                <p:cNvPr id="2658" name="Etiquette - Pennsylvania" hidden="1">
                  <a:extLst>
                    <a:ext uri="{FF2B5EF4-FFF2-40B4-BE49-F238E27FC236}">
                      <a16:creationId xmlns:a16="http://schemas.microsoft.com/office/drawing/2014/main" id="{7B8DD3F1-0C86-4919-B087-1E5ED099A21F}"/>
                    </a:ext>
                  </a:extLst>
                </p:cNvPr>
                <p:cNvSpPr>
                  <a:spLocks noChangeArrowheads="1"/>
                </p:cNvSpPr>
                <p:nvPr/>
              </p:nvSpPr>
              <p:spPr bwMode="auto">
                <a:xfrm>
                  <a:off x="8332467" y="3071078"/>
                  <a:ext cx="1561268"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Pennsylvania</a:t>
                  </a:r>
                </a:p>
              </p:txBody>
            </p:sp>
            <p:sp>
              <p:nvSpPr>
                <p:cNvPr id="2659" name="Etiquette - DARK - West Virginia" hidden="1">
                  <a:extLst>
                    <a:ext uri="{FF2B5EF4-FFF2-40B4-BE49-F238E27FC236}">
                      <a16:creationId xmlns:a16="http://schemas.microsoft.com/office/drawing/2014/main" id="{7B2A703B-467F-49A5-814A-D2D5F63C1E73}"/>
                    </a:ext>
                  </a:extLst>
                </p:cNvPr>
                <p:cNvSpPr>
                  <a:spLocks noChangeArrowheads="1"/>
                </p:cNvSpPr>
                <p:nvPr/>
              </p:nvSpPr>
              <p:spPr bwMode="auto">
                <a:xfrm>
                  <a:off x="9172967" y="3967106"/>
                  <a:ext cx="1584097"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West Virginia</a:t>
                  </a:r>
                </a:p>
              </p:txBody>
            </p:sp>
            <p:sp>
              <p:nvSpPr>
                <p:cNvPr id="2660" name="Etiquette - DARK - Washington DC" hidden="1">
                  <a:extLst>
                    <a:ext uri="{FF2B5EF4-FFF2-40B4-BE49-F238E27FC236}">
                      <a16:creationId xmlns:a16="http://schemas.microsoft.com/office/drawing/2014/main" id="{11C31FAD-BA87-4F31-8C06-4DAB786A6742}"/>
                    </a:ext>
                  </a:extLst>
                </p:cNvPr>
                <p:cNvSpPr>
                  <a:spLocks noChangeArrowheads="1"/>
                </p:cNvSpPr>
                <p:nvPr/>
              </p:nvSpPr>
              <p:spPr bwMode="auto">
                <a:xfrm>
                  <a:off x="9419397" y="3721442"/>
                  <a:ext cx="1835175"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Washington DC</a:t>
                  </a:r>
                </a:p>
              </p:txBody>
            </p:sp>
            <p:sp>
              <p:nvSpPr>
                <p:cNvPr id="2661" name="Etiquette - DARK - Maryland" hidden="1">
                  <a:extLst>
                    <a:ext uri="{FF2B5EF4-FFF2-40B4-BE49-F238E27FC236}">
                      <a16:creationId xmlns:a16="http://schemas.microsoft.com/office/drawing/2014/main" id="{DEE12B91-4930-44BF-B861-44690B3B507B}"/>
                    </a:ext>
                  </a:extLst>
                </p:cNvPr>
                <p:cNvSpPr>
                  <a:spLocks noChangeArrowheads="1"/>
                </p:cNvSpPr>
                <p:nvPr/>
              </p:nvSpPr>
              <p:spPr bwMode="auto">
                <a:xfrm>
                  <a:off x="9403936" y="3504156"/>
                  <a:ext cx="1145844"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Maryland</a:t>
                  </a:r>
                </a:p>
              </p:txBody>
            </p:sp>
            <p:sp>
              <p:nvSpPr>
                <p:cNvPr id="2662" name="Etiquette - DARK - Delaware" hidden="1">
                  <a:extLst>
                    <a:ext uri="{FF2B5EF4-FFF2-40B4-BE49-F238E27FC236}">
                      <a16:creationId xmlns:a16="http://schemas.microsoft.com/office/drawing/2014/main" id="{C0152F1C-C9BB-4B6C-A2EE-E693BC31E6D2}"/>
                    </a:ext>
                  </a:extLst>
                </p:cNvPr>
                <p:cNvSpPr>
                  <a:spLocks noChangeArrowheads="1"/>
                </p:cNvSpPr>
                <p:nvPr/>
              </p:nvSpPr>
              <p:spPr bwMode="auto">
                <a:xfrm>
                  <a:off x="9855577" y="3388024"/>
                  <a:ext cx="1132149"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Delaware</a:t>
                  </a:r>
                </a:p>
              </p:txBody>
            </p:sp>
            <p:sp>
              <p:nvSpPr>
                <p:cNvPr id="2663" name="Etiquette - DARK - New Jersey" hidden="1">
                  <a:extLst>
                    <a:ext uri="{FF2B5EF4-FFF2-40B4-BE49-F238E27FC236}">
                      <a16:creationId xmlns:a16="http://schemas.microsoft.com/office/drawing/2014/main" id="{21917E44-D09E-4B41-A853-CA399714A659}"/>
                    </a:ext>
                  </a:extLst>
                </p:cNvPr>
                <p:cNvSpPr>
                  <a:spLocks noChangeArrowheads="1"/>
                </p:cNvSpPr>
                <p:nvPr/>
              </p:nvSpPr>
              <p:spPr bwMode="auto">
                <a:xfrm>
                  <a:off x="9288171" y="3157137"/>
                  <a:ext cx="1337579"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New Jersey</a:t>
                  </a:r>
                </a:p>
              </p:txBody>
            </p:sp>
            <p:sp>
              <p:nvSpPr>
                <p:cNvPr id="2664" name="Etiquette - DARK - Connecticut" hidden="1">
                  <a:extLst>
                    <a:ext uri="{FF2B5EF4-FFF2-40B4-BE49-F238E27FC236}">
                      <a16:creationId xmlns:a16="http://schemas.microsoft.com/office/drawing/2014/main" id="{BA57AA43-37A4-42C1-8203-7B674696F0FD}"/>
                    </a:ext>
                  </a:extLst>
                </p:cNvPr>
                <p:cNvSpPr>
                  <a:spLocks noChangeArrowheads="1"/>
                </p:cNvSpPr>
                <p:nvPr/>
              </p:nvSpPr>
              <p:spPr bwMode="auto">
                <a:xfrm>
                  <a:off x="9550321" y="2991734"/>
                  <a:ext cx="1428881"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Connecticut</a:t>
                  </a:r>
                </a:p>
              </p:txBody>
            </p:sp>
            <p:sp>
              <p:nvSpPr>
                <p:cNvPr id="2665" name="Etiquette - DARK - Rhode Island" hidden="1">
                  <a:extLst>
                    <a:ext uri="{FF2B5EF4-FFF2-40B4-BE49-F238E27FC236}">
                      <a16:creationId xmlns:a16="http://schemas.microsoft.com/office/drawing/2014/main" id="{88D25AC7-46AD-45D8-B558-8737E604FCB7}"/>
                    </a:ext>
                  </a:extLst>
                </p:cNvPr>
                <p:cNvSpPr>
                  <a:spLocks noChangeArrowheads="1"/>
                </p:cNvSpPr>
                <p:nvPr/>
              </p:nvSpPr>
              <p:spPr bwMode="auto">
                <a:xfrm>
                  <a:off x="10090926" y="2826331"/>
                  <a:ext cx="1543011"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Rhode Island</a:t>
                  </a:r>
                </a:p>
              </p:txBody>
            </p:sp>
            <p:sp>
              <p:nvSpPr>
                <p:cNvPr id="2666" name="Etiquette - DARK - Massachusetts" hidden="1">
                  <a:extLst>
                    <a:ext uri="{FF2B5EF4-FFF2-40B4-BE49-F238E27FC236}">
                      <a16:creationId xmlns:a16="http://schemas.microsoft.com/office/drawing/2014/main" id="{A6A6CA0B-6EF0-456B-840E-191C6C7729F2}"/>
                    </a:ext>
                  </a:extLst>
                </p:cNvPr>
                <p:cNvSpPr>
                  <a:spLocks noChangeArrowheads="1"/>
                </p:cNvSpPr>
                <p:nvPr/>
              </p:nvSpPr>
              <p:spPr bwMode="auto">
                <a:xfrm>
                  <a:off x="9587591" y="2560530"/>
                  <a:ext cx="1762136"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Massachusetts</a:t>
                  </a:r>
                </a:p>
              </p:txBody>
            </p:sp>
            <p:sp>
              <p:nvSpPr>
                <p:cNvPr id="2667" name="Etiquette - DARK - New Hampshire" hidden="1">
                  <a:extLst>
                    <a:ext uri="{FF2B5EF4-FFF2-40B4-BE49-F238E27FC236}">
                      <a16:creationId xmlns:a16="http://schemas.microsoft.com/office/drawing/2014/main" id="{B479B566-CDC1-4A99-90F2-EE3417D16809}"/>
                    </a:ext>
                  </a:extLst>
                </p:cNvPr>
                <p:cNvSpPr>
                  <a:spLocks noChangeArrowheads="1"/>
                </p:cNvSpPr>
                <p:nvPr/>
              </p:nvSpPr>
              <p:spPr bwMode="auto">
                <a:xfrm>
                  <a:off x="9538944" y="2287580"/>
                  <a:ext cx="1903655"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New Hampshire</a:t>
                  </a:r>
                </a:p>
              </p:txBody>
            </p:sp>
            <p:sp>
              <p:nvSpPr>
                <p:cNvPr id="2668" name="Etiquette - New York" hidden="1">
                  <a:extLst>
                    <a:ext uri="{FF2B5EF4-FFF2-40B4-BE49-F238E27FC236}">
                      <a16:creationId xmlns:a16="http://schemas.microsoft.com/office/drawing/2014/main" id="{4956800A-335E-49E9-B2ED-E4444C67BA9A}"/>
                    </a:ext>
                  </a:extLst>
                </p:cNvPr>
                <p:cNvSpPr>
                  <a:spLocks noChangeArrowheads="1"/>
                </p:cNvSpPr>
                <p:nvPr/>
              </p:nvSpPr>
              <p:spPr bwMode="auto">
                <a:xfrm>
                  <a:off x="8691589" y="2699602"/>
                  <a:ext cx="1136714"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New York</a:t>
                  </a:r>
                </a:p>
              </p:txBody>
            </p:sp>
            <p:sp>
              <p:nvSpPr>
                <p:cNvPr id="2669" name="Etiquette - DARK - Vermont" hidden="1">
                  <a:extLst>
                    <a:ext uri="{FF2B5EF4-FFF2-40B4-BE49-F238E27FC236}">
                      <a16:creationId xmlns:a16="http://schemas.microsoft.com/office/drawing/2014/main" id="{84F05ADD-B954-408B-BE8A-B261395DA0DB}"/>
                    </a:ext>
                  </a:extLst>
                </p:cNvPr>
                <p:cNvSpPr>
                  <a:spLocks noChangeArrowheads="1"/>
                </p:cNvSpPr>
                <p:nvPr/>
              </p:nvSpPr>
              <p:spPr bwMode="auto">
                <a:xfrm>
                  <a:off x="8816712" y="2183953"/>
                  <a:ext cx="1049977" cy="350602"/>
                </a:xfrm>
                <a:prstGeom prst="rect">
                  <a:avLst/>
                </a:prstGeom>
                <a:grpFill/>
                <a:ln w="9525">
                  <a:solidFill>
                    <a:schemeClr val="bg1">
                      <a:lumMod val="75000"/>
                    </a:schemeClr>
                  </a:solidFill>
                  <a:miter lim="800000"/>
                  <a:headEnd/>
                  <a:tailEnd/>
                </a:ln>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000000"/>
                      </a:solidFill>
                      <a:latin typeface="Calibri" panose="020F0502020204030204"/>
                    </a:rPr>
                    <a:t>Vermont</a:t>
                  </a:r>
                </a:p>
              </p:txBody>
            </p:sp>
            <p:sp>
              <p:nvSpPr>
                <p:cNvPr id="2670" name="Etiquette - Maine" hidden="1">
                  <a:extLst>
                    <a:ext uri="{FF2B5EF4-FFF2-40B4-BE49-F238E27FC236}">
                      <a16:creationId xmlns:a16="http://schemas.microsoft.com/office/drawing/2014/main" id="{FDA92C74-C236-444B-A5EC-EA73E347AB59}"/>
                    </a:ext>
                  </a:extLst>
                </p:cNvPr>
                <p:cNvSpPr>
                  <a:spLocks noChangeArrowheads="1"/>
                </p:cNvSpPr>
                <p:nvPr/>
              </p:nvSpPr>
              <p:spPr bwMode="auto">
                <a:xfrm>
                  <a:off x="9552651" y="2020150"/>
                  <a:ext cx="762375" cy="350602"/>
                </a:xfrm>
                <a:prstGeom prst="rect">
                  <a:avLst/>
                </a:prstGeom>
                <a:grpFill/>
                <a:ln w="9525">
                  <a:solidFill>
                    <a:schemeClr val="bg1">
                      <a:lumMod val="75000"/>
                    </a:schemeClr>
                  </a:solidFill>
                  <a:miter lim="800000"/>
                  <a:headEnd/>
                  <a:tailEnd/>
                </a:ln>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rgbClr val="FFFFFF"/>
                      </a:solidFill>
                      <a:latin typeface="Calibri" panose="020F0502020204030204"/>
                    </a:rPr>
                    <a:t>Maine</a:t>
                  </a:r>
                </a:p>
              </p:txBody>
            </p:sp>
            <p:sp>
              <p:nvSpPr>
                <p:cNvPr id="2671" name="Etiquette - " hidden="1">
                  <a:extLst>
                    <a:ext uri="{FF2B5EF4-FFF2-40B4-BE49-F238E27FC236}">
                      <a16:creationId xmlns:a16="http://schemas.microsoft.com/office/drawing/2014/main" id="{0DE93458-8749-4EE5-83AA-85CFF353FD46}"/>
                    </a:ext>
                  </a:extLst>
                </p:cNvPr>
                <p:cNvSpPr>
                  <a:spLocks noChangeShapeType="1"/>
                </p:cNvSpPr>
                <p:nvPr/>
              </p:nvSpPr>
              <p:spPr bwMode="auto">
                <a:xfrm rot="5400000">
                  <a:off x="9418694" y="2372509"/>
                  <a:ext cx="152401" cy="3175"/>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72" name="Etiquette - " hidden="1">
                  <a:extLst>
                    <a:ext uri="{FF2B5EF4-FFF2-40B4-BE49-F238E27FC236}">
                      <a16:creationId xmlns:a16="http://schemas.microsoft.com/office/drawing/2014/main" id="{488D27E8-6331-41FB-A6F5-BD0F12FD7417}"/>
                    </a:ext>
                  </a:extLst>
                </p:cNvPr>
                <p:cNvSpPr>
                  <a:spLocks noChangeShapeType="1"/>
                </p:cNvSpPr>
                <p:nvPr/>
              </p:nvSpPr>
              <p:spPr bwMode="auto">
                <a:xfrm flipV="1">
                  <a:off x="9785749" y="2418425"/>
                  <a:ext cx="321485" cy="192636"/>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73" name="Etiquette - " hidden="1">
                  <a:extLst>
                    <a:ext uri="{FF2B5EF4-FFF2-40B4-BE49-F238E27FC236}">
                      <a16:creationId xmlns:a16="http://schemas.microsoft.com/office/drawing/2014/main" id="{5BF38598-9BB1-40CA-9814-3DD22A4E2FCF}"/>
                    </a:ext>
                  </a:extLst>
                </p:cNvPr>
                <p:cNvSpPr>
                  <a:spLocks noChangeShapeType="1"/>
                </p:cNvSpPr>
                <p:nvPr/>
              </p:nvSpPr>
              <p:spPr bwMode="auto">
                <a:xfrm>
                  <a:off x="9863195" y="2858285"/>
                  <a:ext cx="690947" cy="16619"/>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74" name="Etiquette - " hidden="1">
                  <a:extLst>
                    <a:ext uri="{FF2B5EF4-FFF2-40B4-BE49-F238E27FC236}">
                      <a16:creationId xmlns:a16="http://schemas.microsoft.com/office/drawing/2014/main" id="{F78CEEE5-E94A-4BCF-9640-E4BC47D51BCA}"/>
                    </a:ext>
                  </a:extLst>
                </p:cNvPr>
                <p:cNvSpPr>
                  <a:spLocks noChangeShapeType="1"/>
                </p:cNvSpPr>
                <p:nvPr/>
              </p:nvSpPr>
              <p:spPr bwMode="auto">
                <a:xfrm>
                  <a:off x="9661582" y="2937661"/>
                  <a:ext cx="255461" cy="84881"/>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75" name="Etiquette - " hidden="1">
                  <a:extLst>
                    <a:ext uri="{FF2B5EF4-FFF2-40B4-BE49-F238E27FC236}">
                      <a16:creationId xmlns:a16="http://schemas.microsoft.com/office/drawing/2014/main" id="{CAA9009D-348F-4654-8466-8D67A0DDBB41}"/>
                    </a:ext>
                  </a:extLst>
                </p:cNvPr>
                <p:cNvSpPr>
                  <a:spLocks noChangeShapeType="1"/>
                </p:cNvSpPr>
                <p:nvPr/>
              </p:nvSpPr>
              <p:spPr bwMode="auto">
                <a:xfrm flipV="1">
                  <a:off x="9587010" y="3217479"/>
                  <a:ext cx="107876" cy="30452"/>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76" name="Etiquette - " hidden="1">
                  <a:extLst>
                    <a:ext uri="{FF2B5EF4-FFF2-40B4-BE49-F238E27FC236}">
                      <a16:creationId xmlns:a16="http://schemas.microsoft.com/office/drawing/2014/main" id="{587FCD08-4233-4E47-9FE1-59FF35881D69}"/>
                    </a:ext>
                  </a:extLst>
                </p:cNvPr>
                <p:cNvSpPr>
                  <a:spLocks noChangeShapeType="1"/>
                </p:cNvSpPr>
                <p:nvPr/>
              </p:nvSpPr>
              <p:spPr bwMode="auto">
                <a:xfrm>
                  <a:off x="9496481" y="3382162"/>
                  <a:ext cx="650961" cy="54400"/>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77" name="Etiquette - " hidden="1">
                  <a:extLst>
                    <a:ext uri="{FF2B5EF4-FFF2-40B4-BE49-F238E27FC236}">
                      <a16:creationId xmlns:a16="http://schemas.microsoft.com/office/drawing/2014/main" id="{78939A32-A6F4-42C1-8578-7D1D4A687BE2}"/>
                    </a:ext>
                  </a:extLst>
                </p:cNvPr>
                <p:cNvSpPr>
                  <a:spLocks noChangeShapeType="1"/>
                </p:cNvSpPr>
                <p:nvPr/>
              </p:nvSpPr>
              <p:spPr bwMode="auto">
                <a:xfrm>
                  <a:off x="9302808" y="3405975"/>
                  <a:ext cx="456696" cy="120550"/>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78" name="Etiquette - " hidden="1">
                  <a:extLst>
                    <a:ext uri="{FF2B5EF4-FFF2-40B4-BE49-F238E27FC236}">
                      <a16:creationId xmlns:a16="http://schemas.microsoft.com/office/drawing/2014/main" id="{B10B3EFE-D8AA-41AD-B332-293478346FDE}"/>
                    </a:ext>
                  </a:extLst>
                </p:cNvPr>
                <p:cNvSpPr>
                  <a:spLocks noChangeShapeType="1"/>
                </p:cNvSpPr>
                <p:nvPr/>
              </p:nvSpPr>
              <p:spPr bwMode="auto">
                <a:xfrm>
                  <a:off x="9302807" y="3483763"/>
                  <a:ext cx="644525" cy="307132"/>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79" name="Etiquette - " hidden="1">
                  <a:extLst>
                    <a:ext uri="{FF2B5EF4-FFF2-40B4-BE49-F238E27FC236}">
                      <a16:creationId xmlns:a16="http://schemas.microsoft.com/office/drawing/2014/main" id="{F9066080-1519-4AFF-8619-A5C135F8F5F8}"/>
                    </a:ext>
                  </a:extLst>
                </p:cNvPr>
                <p:cNvSpPr>
                  <a:spLocks noChangeShapeType="1"/>
                </p:cNvSpPr>
                <p:nvPr/>
              </p:nvSpPr>
              <p:spPr bwMode="auto">
                <a:xfrm>
                  <a:off x="8992137" y="3560707"/>
                  <a:ext cx="767365" cy="373154"/>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80" name="Etiquette - " hidden="1">
                  <a:extLst>
                    <a:ext uri="{FF2B5EF4-FFF2-40B4-BE49-F238E27FC236}">
                      <a16:creationId xmlns:a16="http://schemas.microsoft.com/office/drawing/2014/main" id="{0816C83B-87F0-4C9C-9788-4BA647A0C32B}"/>
                    </a:ext>
                  </a:extLst>
                </p:cNvPr>
                <p:cNvSpPr>
                  <a:spLocks noChangeShapeType="1"/>
                </p:cNvSpPr>
                <p:nvPr/>
              </p:nvSpPr>
              <p:spPr bwMode="auto">
                <a:xfrm flipV="1">
                  <a:off x="9850823" y="2689160"/>
                  <a:ext cx="256411" cy="59207"/>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sp>
              <p:nvSpPr>
                <p:cNvPr id="2681" name="Etiquette - " hidden="1">
                  <a:extLst>
                    <a:ext uri="{FF2B5EF4-FFF2-40B4-BE49-F238E27FC236}">
                      <a16:creationId xmlns:a16="http://schemas.microsoft.com/office/drawing/2014/main" id="{A3A20BA5-DAA1-41D0-8FDF-DD039C22B291}"/>
                    </a:ext>
                  </a:extLst>
                </p:cNvPr>
                <p:cNvSpPr>
                  <a:spLocks noChangeShapeType="1"/>
                </p:cNvSpPr>
                <p:nvPr/>
              </p:nvSpPr>
              <p:spPr bwMode="auto">
                <a:xfrm>
                  <a:off x="9116948" y="4501813"/>
                  <a:ext cx="208793" cy="90686"/>
                </a:xfrm>
                <a:prstGeom prst="line">
                  <a:avLst/>
                </a:prstGeom>
                <a:grpFill/>
                <a:ln w="9525">
                  <a:solidFill>
                    <a:schemeClr val="bg1">
                      <a:lumMod val="75000"/>
                    </a:schemeClr>
                  </a:solidFill>
                  <a:round/>
                  <a:headEnd type="none" w="lg" len="lg"/>
                  <a:tailEnd type="none" w="lg" len="lg"/>
                </a:ln>
              </p:spPr>
              <p:txBody>
                <a:bodyPr wrap="none" tIns="91440" anchor="ctr"/>
                <a:lstStyle/>
                <a:p>
                  <a:pPr algn="ctr"/>
                  <a:endParaRPr lang="en-US" sz="800" dirty="0">
                    <a:solidFill>
                      <a:prstClr val="black"/>
                    </a:solidFill>
                  </a:endParaRPr>
                </a:p>
              </p:txBody>
            </p:sp>
          </p:grpSp>
          <p:grpSp>
            <p:nvGrpSpPr>
              <p:cNvPr id="2595" name="GradientColorLegend">
                <a:extLst>
                  <a:ext uri="{FF2B5EF4-FFF2-40B4-BE49-F238E27FC236}">
                    <a16:creationId xmlns:a16="http://schemas.microsoft.com/office/drawing/2014/main" id="{85AD658A-B138-41F9-BB67-034F2084B456}"/>
                  </a:ext>
                </a:extLst>
              </p:cNvPr>
              <p:cNvGrpSpPr/>
              <p:nvPr/>
            </p:nvGrpSpPr>
            <p:grpSpPr>
              <a:xfrm>
                <a:off x="10452490" y="4400491"/>
                <a:ext cx="164345" cy="2093777"/>
                <a:chOff x="1044034" y="2217009"/>
                <a:chExt cx="164345" cy="2093777"/>
              </a:xfrm>
              <a:grpFill/>
            </p:grpSpPr>
            <p:sp>
              <p:nvSpPr>
                <p:cNvPr id="2617" name="Etiquette - GradientColorLegend - DARK - Shape" hidden="1">
                  <a:extLst>
                    <a:ext uri="{FF2B5EF4-FFF2-40B4-BE49-F238E27FC236}">
                      <a16:creationId xmlns:a16="http://schemas.microsoft.com/office/drawing/2014/main" id="{C7BDEEA3-B586-4E51-B9B8-A7108FD81FCF}"/>
                    </a:ext>
                  </a:extLst>
                </p:cNvPr>
                <p:cNvSpPr/>
                <p:nvPr/>
              </p:nvSpPr>
              <p:spPr>
                <a:xfrm>
                  <a:off x="1066170" y="2575168"/>
                  <a:ext cx="120073" cy="1382400"/>
                </a:xfrm>
                <a:prstGeom prst="rect">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618" name="Etiquette - GradientColorLegend - DARK - MaxValue" hidden="1">
                  <a:extLst>
                    <a:ext uri="{FF2B5EF4-FFF2-40B4-BE49-F238E27FC236}">
                      <a16:creationId xmlns:a16="http://schemas.microsoft.com/office/drawing/2014/main" id="{6649AC0F-BFB2-4754-8F50-3CBEAD291E66}"/>
                    </a:ext>
                  </a:extLst>
                </p:cNvPr>
                <p:cNvSpPr txBox="1"/>
                <p:nvPr/>
              </p:nvSpPr>
              <p:spPr>
                <a:xfrm>
                  <a:off x="1044034" y="2217009"/>
                  <a:ext cx="164342" cy="350602"/>
                </a:xfrm>
                <a:prstGeom prst="rect">
                  <a:avLst/>
                </a:prstGeom>
                <a:grpFill/>
                <a:ln>
                  <a:solidFill>
                    <a:schemeClr val="bg1">
                      <a:lumMod val="75000"/>
                    </a:schemeClr>
                  </a:solidFill>
                </a:ln>
              </p:spPr>
              <p:txBody>
                <a:bodyPr wrap="none" lIns="0" tIns="0" rIns="0" bIns="0" rtlCol="0" anchor="b">
                  <a:spAutoFit/>
                </a:bodyPr>
                <a:lstStyle/>
                <a:p>
                  <a:pPr algn="ctr"/>
                  <a:r>
                    <a:rPr lang="en-US" sz="800" dirty="0">
                      <a:solidFill>
                        <a:prstClr val="black"/>
                      </a:solidFill>
                    </a:rPr>
                    <a:t>1</a:t>
                  </a:r>
                </a:p>
              </p:txBody>
            </p:sp>
            <p:sp>
              <p:nvSpPr>
                <p:cNvPr id="2619" name="Etiquette - GradientColorLegend - DARK - MinValue" hidden="1">
                  <a:extLst>
                    <a:ext uri="{FF2B5EF4-FFF2-40B4-BE49-F238E27FC236}">
                      <a16:creationId xmlns:a16="http://schemas.microsoft.com/office/drawing/2014/main" id="{7B08DDCF-FAB1-40AB-8C06-AA22AD082675}"/>
                    </a:ext>
                  </a:extLst>
                </p:cNvPr>
                <p:cNvSpPr txBox="1"/>
                <p:nvPr/>
              </p:nvSpPr>
              <p:spPr>
                <a:xfrm>
                  <a:off x="1044034" y="3960184"/>
                  <a:ext cx="164345" cy="350602"/>
                </a:xfrm>
                <a:prstGeom prst="rect">
                  <a:avLst/>
                </a:prstGeom>
                <a:grpFill/>
                <a:ln>
                  <a:solidFill>
                    <a:schemeClr val="bg1">
                      <a:lumMod val="75000"/>
                    </a:schemeClr>
                  </a:solidFill>
                </a:ln>
              </p:spPr>
              <p:txBody>
                <a:bodyPr wrap="none" lIns="0" tIns="0" rIns="0" bIns="0" rtlCol="0">
                  <a:spAutoFit/>
                </a:bodyPr>
                <a:lstStyle/>
                <a:p>
                  <a:pPr algn="ctr"/>
                  <a:r>
                    <a:rPr lang="en-US" sz="800" dirty="0">
                      <a:solidFill>
                        <a:prstClr val="black"/>
                      </a:solidFill>
                    </a:rPr>
                    <a:t>1</a:t>
                  </a:r>
                </a:p>
              </p:txBody>
            </p:sp>
          </p:grpSp>
          <p:grpSp>
            <p:nvGrpSpPr>
              <p:cNvPr id="2596" name="RangeColorLegend">
                <a:extLst>
                  <a:ext uri="{FF2B5EF4-FFF2-40B4-BE49-F238E27FC236}">
                    <a16:creationId xmlns:a16="http://schemas.microsoft.com/office/drawing/2014/main" id="{1E5905B6-DBB2-41A1-987F-6BFCEF228154}"/>
                  </a:ext>
                </a:extLst>
              </p:cNvPr>
              <p:cNvGrpSpPr/>
              <p:nvPr/>
            </p:nvGrpSpPr>
            <p:grpSpPr>
              <a:xfrm>
                <a:off x="9969515" y="5051144"/>
                <a:ext cx="1270800" cy="1538880"/>
                <a:chOff x="9228362" y="4919762"/>
                <a:chExt cx="1270800" cy="1538880"/>
              </a:xfrm>
              <a:grpFill/>
            </p:grpSpPr>
            <p:sp>
              <p:nvSpPr>
                <p:cNvPr id="2597" name="Etiquette - RangeColorLegend - DARK - Color - 2" hidden="1">
                  <a:extLst>
                    <a:ext uri="{FF2B5EF4-FFF2-40B4-BE49-F238E27FC236}">
                      <a16:creationId xmlns:a16="http://schemas.microsoft.com/office/drawing/2014/main" id="{89EAFA72-993F-4497-80F5-93E46600C4A7}"/>
                    </a:ext>
                  </a:extLst>
                </p:cNvPr>
                <p:cNvSpPr/>
                <p:nvPr/>
              </p:nvSpPr>
              <p:spPr>
                <a:xfrm>
                  <a:off x="9228362" y="5073650"/>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598" name="Etiquette - RangeColorLegend - DARK - Color - 1" hidden="1">
                  <a:extLst>
                    <a:ext uri="{FF2B5EF4-FFF2-40B4-BE49-F238E27FC236}">
                      <a16:creationId xmlns:a16="http://schemas.microsoft.com/office/drawing/2014/main" id="{EAD952E6-3A53-45A4-B262-01319663E959}"/>
                    </a:ext>
                  </a:extLst>
                </p:cNvPr>
                <p:cNvSpPr/>
                <p:nvPr/>
              </p:nvSpPr>
              <p:spPr>
                <a:xfrm>
                  <a:off x="9228362" y="4919762"/>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599" name="Etiquette - RangeColorLegend - DARK - Number - 2" hidden="1">
                  <a:extLst>
                    <a:ext uri="{FF2B5EF4-FFF2-40B4-BE49-F238E27FC236}">
                      <a16:creationId xmlns:a16="http://schemas.microsoft.com/office/drawing/2014/main" id="{A290F9D5-6A67-4102-83F2-FEC75DED0A16}"/>
                    </a:ext>
                  </a:extLst>
                </p:cNvPr>
                <p:cNvSpPr/>
                <p:nvPr/>
              </p:nvSpPr>
              <p:spPr>
                <a:xfrm>
                  <a:off x="9383162" y="5073650"/>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100 to 200[</a:t>
                  </a:r>
                </a:p>
              </p:txBody>
            </p:sp>
            <p:sp>
              <p:nvSpPr>
                <p:cNvPr id="2600" name="Etiquette - RangeColorLegend - DARK - Number - 1" hidden="1">
                  <a:extLst>
                    <a:ext uri="{FF2B5EF4-FFF2-40B4-BE49-F238E27FC236}">
                      <a16:creationId xmlns:a16="http://schemas.microsoft.com/office/drawing/2014/main" id="{4250ADAC-88C6-4470-BB5E-5360AD8C46E1}"/>
                    </a:ext>
                  </a:extLst>
                </p:cNvPr>
                <p:cNvSpPr/>
                <p:nvPr/>
              </p:nvSpPr>
              <p:spPr>
                <a:xfrm>
                  <a:off x="9383162" y="4919762"/>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0 to 100[</a:t>
                  </a:r>
                </a:p>
              </p:txBody>
            </p:sp>
            <p:sp>
              <p:nvSpPr>
                <p:cNvPr id="2601" name="Etiquette - RangeColorLegend - DARK - Color - 4" hidden="1">
                  <a:extLst>
                    <a:ext uri="{FF2B5EF4-FFF2-40B4-BE49-F238E27FC236}">
                      <a16:creationId xmlns:a16="http://schemas.microsoft.com/office/drawing/2014/main" id="{2CCF743F-F076-414D-A843-DAD88C119FBC}"/>
                    </a:ext>
                  </a:extLst>
                </p:cNvPr>
                <p:cNvSpPr/>
                <p:nvPr/>
              </p:nvSpPr>
              <p:spPr>
                <a:xfrm>
                  <a:off x="9228362" y="5381426"/>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602" name="Etiquette - RangeColorLegend - DARK - Color - 3" hidden="1">
                  <a:extLst>
                    <a:ext uri="{FF2B5EF4-FFF2-40B4-BE49-F238E27FC236}">
                      <a16:creationId xmlns:a16="http://schemas.microsoft.com/office/drawing/2014/main" id="{66777BA5-C33D-47AC-8E98-C4AD7419E238}"/>
                    </a:ext>
                  </a:extLst>
                </p:cNvPr>
                <p:cNvSpPr/>
                <p:nvPr/>
              </p:nvSpPr>
              <p:spPr>
                <a:xfrm>
                  <a:off x="9228362" y="5227538"/>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603" name="Etiquette - RangeColorLegend - DARK - Number - 4" hidden="1">
                  <a:extLst>
                    <a:ext uri="{FF2B5EF4-FFF2-40B4-BE49-F238E27FC236}">
                      <a16:creationId xmlns:a16="http://schemas.microsoft.com/office/drawing/2014/main" id="{11DB097D-06DD-4E2D-B8FE-61E7AE19E46E}"/>
                    </a:ext>
                  </a:extLst>
                </p:cNvPr>
                <p:cNvSpPr/>
                <p:nvPr/>
              </p:nvSpPr>
              <p:spPr>
                <a:xfrm>
                  <a:off x="9383162" y="5381426"/>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300 to 400[</a:t>
                  </a:r>
                </a:p>
              </p:txBody>
            </p:sp>
            <p:sp>
              <p:nvSpPr>
                <p:cNvPr id="2604" name="Etiquette - RangeColorLegend - DARK - Number - 3" hidden="1">
                  <a:extLst>
                    <a:ext uri="{FF2B5EF4-FFF2-40B4-BE49-F238E27FC236}">
                      <a16:creationId xmlns:a16="http://schemas.microsoft.com/office/drawing/2014/main" id="{7DA7E5D3-B834-4DC1-B11A-42DDF095682B}"/>
                    </a:ext>
                  </a:extLst>
                </p:cNvPr>
                <p:cNvSpPr/>
                <p:nvPr/>
              </p:nvSpPr>
              <p:spPr>
                <a:xfrm>
                  <a:off x="9383162" y="5227538"/>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200 to 300[</a:t>
                  </a:r>
                </a:p>
              </p:txBody>
            </p:sp>
            <p:sp>
              <p:nvSpPr>
                <p:cNvPr id="2605" name="Etiquette - RangeColorLegend - DARK - Color - 5" hidden="1">
                  <a:extLst>
                    <a:ext uri="{FF2B5EF4-FFF2-40B4-BE49-F238E27FC236}">
                      <a16:creationId xmlns:a16="http://schemas.microsoft.com/office/drawing/2014/main" id="{A3CA0D61-7376-48F7-97AD-48E938CEE26F}"/>
                    </a:ext>
                  </a:extLst>
                </p:cNvPr>
                <p:cNvSpPr/>
                <p:nvPr/>
              </p:nvSpPr>
              <p:spPr>
                <a:xfrm>
                  <a:off x="9228362" y="5535314"/>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606" name="Etiquette - RangeColorLegend - DARK - Number - 5" hidden="1">
                  <a:extLst>
                    <a:ext uri="{FF2B5EF4-FFF2-40B4-BE49-F238E27FC236}">
                      <a16:creationId xmlns:a16="http://schemas.microsoft.com/office/drawing/2014/main" id="{B5FEC0E6-2477-4C0B-B494-FB49B08354A0}"/>
                    </a:ext>
                  </a:extLst>
                </p:cNvPr>
                <p:cNvSpPr/>
                <p:nvPr/>
              </p:nvSpPr>
              <p:spPr>
                <a:xfrm>
                  <a:off x="9383162" y="5535314"/>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607" name="Etiquette - RangeColorLegend - DARK - Color - 6" hidden="1">
                  <a:extLst>
                    <a:ext uri="{FF2B5EF4-FFF2-40B4-BE49-F238E27FC236}">
                      <a16:creationId xmlns:a16="http://schemas.microsoft.com/office/drawing/2014/main" id="{AA234CC9-290B-43DE-87B6-81CE0222C79A}"/>
                    </a:ext>
                  </a:extLst>
                </p:cNvPr>
                <p:cNvSpPr/>
                <p:nvPr/>
              </p:nvSpPr>
              <p:spPr>
                <a:xfrm>
                  <a:off x="9228362" y="5689202"/>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608" name="Etiquette - RangeColorLegend - DARK - Number - 6" hidden="1">
                  <a:extLst>
                    <a:ext uri="{FF2B5EF4-FFF2-40B4-BE49-F238E27FC236}">
                      <a16:creationId xmlns:a16="http://schemas.microsoft.com/office/drawing/2014/main" id="{505755E9-5271-4C73-BF2E-9CF92739EF3E}"/>
                    </a:ext>
                  </a:extLst>
                </p:cNvPr>
                <p:cNvSpPr/>
                <p:nvPr/>
              </p:nvSpPr>
              <p:spPr>
                <a:xfrm>
                  <a:off x="9383162" y="5689202"/>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609" name="Etiquette - RangeColorLegend - DARK - Color - 7" hidden="1">
                  <a:extLst>
                    <a:ext uri="{FF2B5EF4-FFF2-40B4-BE49-F238E27FC236}">
                      <a16:creationId xmlns:a16="http://schemas.microsoft.com/office/drawing/2014/main" id="{2B3EE8AB-E657-4801-ADAC-14E13C413468}"/>
                    </a:ext>
                  </a:extLst>
                </p:cNvPr>
                <p:cNvSpPr/>
                <p:nvPr/>
              </p:nvSpPr>
              <p:spPr>
                <a:xfrm>
                  <a:off x="9228362" y="5843090"/>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610" name="Etiquette - RangeColorLegend - DARK - Number - 7" hidden="1">
                  <a:extLst>
                    <a:ext uri="{FF2B5EF4-FFF2-40B4-BE49-F238E27FC236}">
                      <a16:creationId xmlns:a16="http://schemas.microsoft.com/office/drawing/2014/main" id="{BDE53799-0A33-4A58-80FE-8E13B9EDAB05}"/>
                    </a:ext>
                  </a:extLst>
                </p:cNvPr>
                <p:cNvSpPr/>
                <p:nvPr/>
              </p:nvSpPr>
              <p:spPr>
                <a:xfrm>
                  <a:off x="9383162" y="5843090"/>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611" name="Etiquette - RangeColorLegend - DARK - Color - 8" hidden="1">
                  <a:extLst>
                    <a:ext uri="{FF2B5EF4-FFF2-40B4-BE49-F238E27FC236}">
                      <a16:creationId xmlns:a16="http://schemas.microsoft.com/office/drawing/2014/main" id="{A451C0AE-AAFD-48C5-8CCA-4DDD51AEE0DF}"/>
                    </a:ext>
                  </a:extLst>
                </p:cNvPr>
                <p:cNvSpPr/>
                <p:nvPr/>
              </p:nvSpPr>
              <p:spPr>
                <a:xfrm>
                  <a:off x="9228362" y="5996978"/>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612" name="Etiquette - RangeColorLegend - DARK - Number - 8" hidden="1">
                  <a:extLst>
                    <a:ext uri="{FF2B5EF4-FFF2-40B4-BE49-F238E27FC236}">
                      <a16:creationId xmlns:a16="http://schemas.microsoft.com/office/drawing/2014/main" id="{05B3B8D6-9B5A-4704-B796-ACBB9E575A8F}"/>
                    </a:ext>
                  </a:extLst>
                </p:cNvPr>
                <p:cNvSpPr/>
                <p:nvPr/>
              </p:nvSpPr>
              <p:spPr>
                <a:xfrm>
                  <a:off x="9383162" y="5996978"/>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613" name="Etiquette - RangeColorLegend - DARK - Color - 9" hidden="1">
                  <a:extLst>
                    <a:ext uri="{FF2B5EF4-FFF2-40B4-BE49-F238E27FC236}">
                      <a16:creationId xmlns:a16="http://schemas.microsoft.com/office/drawing/2014/main" id="{828C7487-D71C-4703-84D5-055279116E41}"/>
                    </a:ext>
                  </a:extLst>
                </p:cNvPr>
                <p:cNvSpPr/>
                <p:nvPr/>
              </p:nvSpPr>
              <p:spPr>
                <a:xfrm>
                  <a:off x="9228362" y="6150866"/>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614" name="Etiquette - RangeColorLegend - DARK - Number - 9" hidden="1">
                  <a:extLst>
                    <a:ext uri="{FF2B5EF4-FFF2-40B4-BE49-F238E27FC236}">
                      <a16:creationId xmlns:a16="http://schemas.microsoft.com/office/drawing/2014/main" id="{8B2945DC-D599-4CCF-8F3E-E2A444CA6A5F}"/>
                    </a:ext>
                  </a:extLst>
                </p:cNvPr>
                <p:cNvSpPr/>
                <p:nvPr/>
              </p:nvSpPr>
              <p:spPr>
                <a:xfrm>
                  <a:off x="9383162" y="6150866"/>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sp>
              <p:nvSpPr>
                <p:cNvPr id="2615" name="Etiquette - RangeColorLegend - DARK - Color - 10" hidden="1">
                  <a:extLst>
                    <a:ext uri="{FF2B5EF4-FFF2-40B4-BE49-F238E27FC236}">
                      <a16:creationId xmlns:a16="http://schemas.microsoft.com/office/drawing/2014/main" id="{0BB6BA9D-2FDE-4B56-9D7D-1024EED79FEF}"/>
                    </a:ext>
                  </a:extLst>
                </p:cNvPr>
                <p:cNvSpPr/>
                <p:nvPr/>
              </p:nvSpPr>
              <p:spPr>
                <a:xfrm>
                  <a:off x="9228362" y="6304754"/>
                  <a:ext cx="154800" cy="153888"/>
                </a:xfrm>
                <a:prstGeom prst="rect">
                  <a:avLst/>
                </a:prstGeom>
                <a:grpFill/>
                <a:ln>
                  <a:solidFill>
                    <a:schemeClr val="bg1">
                      <a:lumMod val="75000"/>
                    </a:schemeClr>
                  </a:solidFill>
                </a:ln>
              </p:spPr>
              <p:txBody>
                <a:bodyPr wrap="square" lIns="0" tIns="0" rIns="0" bIns="0" anchor="ctr">
                  <a:noAutofit/>
                </a:bodyPr>
                <a:lstStyle/>
                <a:p>
                  <a:pPr algn="ctr"/>
                  <a:endParaRPr lang="en-US" sz="800" dirty="0">
                    <a:solidFill>
                      <a:prstClr val="black"/>
                    </a:solidFill>
                  </a:endParaRPr>
                </a:p>
              </p:txBody>
            </p:sp>
            <p:sp>
              <p:nvSpPr>
                <p:cNvPr id="2616" name="Etiquette - RangeColorLegend - DARK - Number - 10" hidden="1">
                  <a:extLst>
                    <a:ext uri="{FF2B5EF4-FFF2-40B4-BE49-F238E27FC236}">
                      <a16:creationId xmlns:a16="http://schemas.microsoft.com/office/drawing/2014/main" id="{E50212C5-2719-4048-8D61-D82094A9AC6B}"/>
                    </a:ext>
                  </a:extLst>
                </p:cNvPr>
                <p:cNvSpPr/>
                <p:nvPr/>
              </p:nvSpPr>
              <p:spPr>
                <a:xfrm>
                  <a:off x="9383162" y="6304754"/>
                  <a:ext cx="1116000" cy="153888"/>
                </a:xfrm>
                <a:prstGeom prst="rect">
                  <a:avLst/>
                </a:prstGeom>
                <a:grpFill/>
                <a:ln>
                  <a:solidFill>
                    <a:schemeClr val="bg1">
                      <a:lumMod val="75000"/>
                    </a:schemeClr>
                  </a:solidFill>
                </a:ln>
              </p:spPr>
              <p:txBody>
                <a:bodyPr wrap="none" lIns="72000" tIns="0" rIns="0" bIns="0" anchor="ctr">
                  <a:noAutofit/>
                </a:bodyPr>
                <a:lstStyle/>
                <a:p>
                  <a:r>
                    <a:rPr lang="en-US" sz="800" dirty="0">
                      <a:solidFill>
                        <a:prstClr val="black"/>
                      </a:solidFill>
                    </a:rPr>
                    <a:t>400+</a:t>
                  </a:r>
                </a:p>
              </p:txBody>
            </p:sp>
          </p:grpSp>
        </p:grpSp>
        <p:sp>
          <p:nvSpPr>
            <p:cNvPr id="50" name="POWER_USER_DATA_MAP_TITLE">
              <a:extLst>
                <a:ext uri="{FF2B5EF4-FFF2-40B4-BE49-F238E27FC236}">
                  <a16:creationId xmlns:a16="http://schemas.microsoft.com/office/drawing/2014/main" id="{86F12219-A010-4419-B8D2-7D7E5A1BEB2E}"/>
                </a:ext>
              </a:extLst>
            </p:cNvPr>
            <p:cNvSpPr/>
            <p:nvPr/>
          </p:nvSpPr>
          <p:spPr>
            <a:xfrm>
              <a:off x="-63028" y="-1468"/>
              <a:ext cx="9353020" cy="634999"/>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500" b="1">
                  <a:solidFill>
                    <a:srgbClr val="000000"/>
                  </a:solidFill>
                </a:rPr>
                <a:t>United States </a:t>
              </a:r>
              <a:endParaRPr lang="en-US" sz="1500" b="1" dirty="0">
                <a:solidFill>
                  <a:srgbClr val="000000"/>
                </a:solidFill>
              </a:endParaRPr>
            </a:p>
          </p:txBody>
        </p:sp>
        <p:sp>
          <p:nvSpPr>
            <p:cNvPr id="51" name="POWER_USER_DATA_MAP_STORAGE">
              <a:extLst>
                <a:ext uri="{FF2B5EF4-FFF2-40B4-BE49-F238E27FC236}">
                  <a16:creationId xmlns:a16="http://schemas.microsoft.com/office/drawing/2014/main" id="{FBAE3599-3F18-4E3C-8A7F-2E16E51D13C8}"/>
                </a:ext>
              </a:extLst>
            </p:cNvPr>
            <p:cNvSpPr/>
            <p:nvPr/>
          </p:nvSpPr>
          <p:spPr>
            <a:xfrm>
              <a:off x="-104510" y="844812"/>
              <a:ext cx="0" cy="0"/>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dirty="0"/>
            </a:p>
          </p:txBody>
        </p:sp>
      </p:grpSp>
      <p:sp>
        <p:nvSpPr>
          <p:cNvPr id="59" name="TextBox 58">
            <a:extLst>
              <a:ext uri="{FF2B5EF4-FFF2-40B4-BE49-F238E27FC236}">
                <a16:creationId xmlns:a16="http://schemas.microsoft.com/office/drawing/2014/main" id="{0A7AB214-C823-4058-ADBB-D9489765BF75}"/>
              </a:ext>
            </a:extLst>
          </p:cNvPr>
          <p:cNvSpPr txBox="1"/>
          <p:nvPr/>
        </p:nvSpPr>
        <p:spPr>
          <a:xfrm>
            <a:off x="2553058" y="1222139"/>
            <a:ext cx="1824719" cy="461665"/>
          </a:xfrm>
          <a:prstGeom prst="rect">
            <a:avLst/>
          </a:prstGeom>
          <a:noFill/>
          <a:ln>
            <a:solidFill>
              <a:srgbClr val="0070C0"/>
            </a:solidFill>
          </a:ln>
        </p:spPr>
        <p:txBody>
          <a:bodyPr wrap="square" rtlCol="0">
            <a:spAutoFit/>
          </a:bodyPr>
          <a:lstStyle/>
          <a:p>
            <a:r>
              <a:rPr lang="en-US" sz="1200" b="1"/>
              <a:t>GDP- 14.14 Trillion</a:t>
            </a:r>
          </a:p>
          <a:p>
            <a:r>
              <a:rPr lang="en-US" sz="1200" b="1"/>
              <a:t>FLPR – 60.5%</a:t>
            </a:r>
            <a:endParaRPr lang="en-US" sz="1200" b="1" dirty="0"/>
          </a:p>
        </p:txBody>
      </p:sp>
      <p:sp>
        <p:nvSpPr>
          <p:cNvPr id="60" name="TextBox 59">
            <a:extLst>
              <a:ext uri="{FF2B5EF4-FFF2-40B4-BE49-F238E27FC236}">
                <a16:creationId xmlns:a16="http://schemas.microsoft.com/office/drawing/2014/main" id="{6A426A91-C4B9-4EF2-9C1F-61A9EE94AD62}"/>
              </a:ext>
            </a:extLst>
          </p:cNvPr>
          <p:cNvSpPr txBox="1"/>
          <p:nvPr/>
        </p:nvSpPr>
        <p:spPr>
          <a:xfrm>
            <a:off x="2029902" y="103020"/>
            <a:ext cx="5181127" cy="523220"/>
          </a:xfrm>
          <a:prstGeom prst="rect">
            <a:avLst/>
          </a:prstGeom>
          <a:noFill/>
        </p:spPr>
        <p:txBody>
          <a:bodyPr wrap="square" rtlCol="0">
            <a:spAutoFit/>
          </a:bodyPr>
          <a:lstStyle/>
          <a:p>
            <a:pPr algn="ctr"/>
            <a:r>
              <a:rPr lang="en-US" sz="2800" b="1" dirty="0">
                <a:solidFill>
                  <a:srgbClr val="0070C0"/>
                </a:solidFill>
              </a:rPr>
              <a:t>Where Do We Stand ?</a:t>
            </a:r>
          </a:p>
        </p:txBody>
      </p:sp>
      <p:sp>
        <p:nvSpPr>
          <p:cNvPr id="61" name="TextBox 60">
            <a:extLst>
              <a:ext uri="{FF2B5EF4-FFF2-40B4-BE49-F238E27FC236}">
                <a16:creationId xmlns:a16="http://schemas.microsoft.com/office/drawing/2014/main" id="{C36D545D-31CD-4D11-AD81-2048AAEA33A3}"/>
              </a:ext>
            </a:extLst>
          </p:cNvPr>
          <p:cNvSpPr txBox="1"/>
          <p:nvPr/>
        </p:nvSpPr>
        <p:spPr>
          <a:xfrm>
            <a:off x="5551421" y="1255729"/>
            <a:ext cx="1616257" cy="430887"/>
          </a:xfrm>
          <a:prstGeom prst="rect">
            <a:avLst/>
          </a:prstGeom>
          <a:noFill/>
          <a:ln>
            <a:solidFill>
              <a:srgbClr val="0070C0"/>
            </a:solidFill>
          </a:ln>
        </p:spPr>
        <p:txBody>
          <a:bodyPr wrap="square" rtlCol="0">
            <a:spAutoFit/>
          </a:bodyPr>
          <a:lstStyle/>
          <a:p>
            <a:r>
              <a:rPr lang="en-US" sz="1100" b="1"/>
              <a:t>GDP- 3.86 Trillion</a:t>
            </a:r>
          </a:p>
          <a:p>
            <a:r>
              <a:rPr lang="en-US" sz="1100" b="1"/>
              <a:t>FLRP- 55.3%</a:t>
            </a:r>
            <a:endParaRPr lang="en-US" sz="1100" b="1" dirty="0"/>
          </a:p>
        </p:txBody>
      </p:sp>
      <p:sp>
        <p:nvSpPr>
          <p:cNvPr id="62" name="TextBox 61">
            <a:extLst>
              <a:ext uri="{FF2B5EF4-FFF2-40B4-BE49-F238E27FC236}">
                <a16:creationId xmlns:a16="http://schemas.microsoft.com/office/drawing/2014/main" id="{44AA261D-4757-4CE8-82D0-B8C27AE96009}"/>
              </a:ext>
            </a:extLst>
          </p:cNvPr>
          <p:cNvSpPr txBox="1"/>
          <p:nvPr/>
        </p:nvSpPr>
        <p:spPr>
          <a:xfrm>
            <a:off x="3930306" y="4099734"/>
            <a:ext cx="1496967" cy="430887"/>
          </a:xfrm>
          <a:prstGeom prst="rect">
            <a:avLst/>
          </a:prstGeom>
          <a:noFill/>
          <a:ln>
            <a:solidFill>
              <a:srgbClr val="0070C0"/>
            </a:solidFill>
          </a:ln>
        </p:spPr>
        <p:txBody>
          <a:bodyPr wrap="square" rtlCol="0">
            <a:spAutoFit/>
          </a:bodyPr>
          <a:lstStyle/>
          <a:p>
            <a:r>
              <a:rPr lang="en-US" sz="1100" b="1"/>
              <a:t>GDP- 21.44 Trillion</a:t>
            </a:r>
          </a:p>
          <a:p>
            <a:r>
              <a:rPr lang="en-US" sz="1100" b="1"/>
              <a:t>FLPR- 56.1%</a:t>
            </a:r>
            <a:endParaRPr lang="en-US" sz="1100" b="1" dirty="0"/>
          </a:p>
        </p:txBody>
      </p:sp>
      <p:sp>
        <p:nvSpPr>
          <p:cNvPr id="63" name="TextBox 62">
            <a:extLst>
              <a:ext uri="{FF2B5EF4-FFF2-40B4-BE49-F238E27FC236}">
                <a16:creationId xmlns:a16="http://schemas.microsoft.com/office/drawing/2014/main" id="{16E248A5-DBD2-440E-AC8F-7FBB5302009A}"/>
              </a:ext>
            </a:extLst>
          </p:cNvPr>
          <p:cNvSpPr txBox="1"/>
          <p:nvPr/>
        </p:nvSpPr>
        <p:spPr>
          <a:xfrm>
            <a:off x="6389302" y="2956679"/>
            <a:ext cx="1407875" cy="430887"/>
          </a:xfrm>
          <a:prstGeom prst="rect">
            <a:avLst/>
          </a:prstGeom>
          <a:noFill/>
          <a:ln>
            <a:solidFill>
              <a:srgbClr val="0070C0"/>
            </a:solidFill>
          </a:ln>
        </p:spPr>
        <p:txBody>
          <a:bodyPr wrap="square" rtlCol="0">
            <a:spAutoFit/>
          </a:bodyPr>
          <a:lstStyle/>
          <a:p>
            <a:r>
              <a:rPr lang="en-US" sz="1100" b="1" dirty="0"/>
              <a:t>GDP- 5.1 Trillion</a:t>
            </a:r>
          </a:p>
          <a:p>
            <a:r>
              <a:rPr lang="en-US" sz="1100" b="1" dirty="0"/>
              <a:t>FLPR- 52.7%</a:t>
            </a:r>
          </a:p>
        </p:txBody>
      </p:sp>
      <p:sp>
        <p:nvSpPr>
          <p:cNvPr id="768" name="TextBox 767">
            <a:extLst>
              <a:ext uri="{FF2B5EF4-FFF2-40B4-BE49-F238E27FC236}">
                <a16:creationId xmlns:a16="http://schemas.microsoft.com/office/drawing/2014/main" id="{491683A2-E9F9-4153-B40C-8216CFC01C76}"/>
              </a:ext>
            </a:extLst>
          </p:cNvPr>
          <p:cNvSpPr txBox="1"/>
          <p:nvPr/>
        </p:nvSpPr>
        <p:spPr>
          <a:xfrm>
            <a:off x="1507268" y="3135700"/>
            <a:ext cx="1558515" cy="461665"/>
          </a:xfrm>
          <a:prstGeom prst="rect">
            <a:avLst/>
          </a:prstGeom>
          <a:noFill/>
          <a:ln>
            <a:solidFill>
              <a:srgbClr val="0070C0"/>
            </a:solidFill>
          </a:ln>
        </p:spPr>
        <p:txBody>
          <a:bodyPr wrap="square" rtlCol="0">
            <a:spAutoFit/>
          </a:bodyPr>
          <a:lstStyle/>
          <a:p>
            <a:r>
              <a:rPr lang="en-US" sz="1200" b="1"/>
              <a:t>GDP- 2.94 Trillion</a:t>
            </a:r>
          </a:p>
          <a:p>
            <a:r>
              <a:rPr lang="en-US" sz="1200" b="1"/>
              <a:t>FLPR- 20.5%</a:t>
            </a:r>
            <a:endParaRPr lang="en-US" sz="1200" b="1" dirty="0"/>
          </a:p>
        </p:txBody>
      </p:sp>
      <p:cxnSp>
        <p:nvCxnSpPr>
          <p:cNvPr id="770" name="Straight Arrow Connector 769">
            <a:extLst>
              <a:ext uri="{FF2B5EF4-FFF2-40B4-BE49-F238E27FC236}">
                <a16:creationId xmlns:a16="http://schemas.microsoft.com/office/drawing/2014/main" id="{9CC5A3C9-3026-4D86-B676-C05F9B69808E}"/>
              </a:ext>
            </a:extLst>
          </p:cNvPr>
          <p:cNvCxnSpPr>
            <a:cxnSpLocks/>
            <a:stCxn id="59" idx="1"/>
          </p:cNvCxnSpPr>
          <p:nvPr/>
        </p:nvCxnSpPr>
        <p:spPr>
          <a:xfrm flipH="1">
            <a:off x="2018024" y="1452972"/>
            <a:ext cx="535034" cy="513314"/>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72" name="Straight Arrow Connector 771">
            <a:extLst>
              <a:ext uri="{FF2B5EF4-FFF2-40B4-BE49-F238E27FC236}">
                <a16:creationId xmlns:a16="http://schemas.microsoft.com/office/drawing/2014/main" id="{0C764AC4-51DD-48E7-A189-978239857656}"/>
              </a:ext>
            </a:extLst>
          </p:cNvPr>
          <p:cNvCxnSpPr>
            <a:cxnSpLocks/>
            <a:stCxn id="61" idx="3"/>
          </p:cNvCxnSpPr>
          <p:nvPr/>
        </p:nvCxnSpPr>
        <p:spPr>
          <a:xfrm>
            <a:off x="7167678" y="1471173"/>
            <a:ext cx="434746" cy="545472"/>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74" name="Straight Arrow Connector 773">
            <a:extLst>
              <a:ext uri="{FF2B5EF4-FFF2-40B4-BE49-F238E27FC236}">
                <a16:creationId xmlns:a16="http://schemas.microsoft.com/office/drawing/2014/main" id="{527551A8-D218-4A97-B5E4-D962190AC905}"/>
              </a:ext>
            </a:extLst>
          </p:cNvPr>
          <p:cNvCxnSpPr>
            <a:cxnSpLocks/>
            <a:stCxn id="768" idx="1"/>
          </p:cNvCxnSpPr>
          <p:nvPr/>
        </p:nvCxnSpPr>
        <p:spPr>
          <a:xfrm flipH="1">
            <a:off x="1139730" y="3366533"/>
            <a:ext cx="367538" cy="594734"/>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82" name="Straight Arrow Connector 781">
            <a:extLst>
              <a:ext uri="{FF2B5EF4-FFF2-40B4-BE49-F238E27FC236}">
                <a16:creationId xmlns:a16="http://schemas.microsoft.com/office/drawing/2014/main" id="{971A5AEB-A3C2-4E39-8EF8-474BD484829B}"/>
              </a:ext>
            </a:extLst>
          </p:cNvPr>
          <p:cNvCxnSpPr>
            <a:cxnSpLocks/>
          </p:cNvCxnSpPr>
          <p:nvPr/>
        </p:nvCxnSpPr>
        <p:spPr>
          <a:xfrm flipH="1" flipV="1">
            <a:off x="4648013" y="3482174"/>
            <a:ext cx="52029" cy="61756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89" name="Straight Arrow Connector 788">
            <a:extLst>
              <a:ext uri="{FF2B5EF4-FFF2-40B4-BE49-F238E27FC236}">
                <a16:creationId xmlns:a16="http://schemas.microsoft.com/office/drawing/2014/main" id="{CE07010A-1583-490A-86B3-9F8B48EFF2F6}"/>
              </a:ext>
            </a:extLst>
          </p:cNvPr>
          <p:cNvCxnSpPr>
            <a:cxnSpLocks/>
            <a:stCxn id="63" idx="3"/>
          </p:cNvCxnSpPr>
          <p:nvPr/>
        </p:nvCxnSpPr>
        <p:spPr>
          <a:xfrm>
            <a:off x="7797177" y="3172123"/>
            <a:ext cx="498129" cy="550759"/>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32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AutoShape 2">
            <a:extLst>
              <a:ext uri="{FF2B5EF4-FFF2-40B4-BE49-F238E27FC236}">
                <a16:creationId xmlns:a16="http://schemas.microsoft.com/office/drawing/2014/main" id="{AD0E215B-1BE4-44A7-94EA-8923E216285E}"/>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4" name="Picture 3">
            <a:extLst>
              <a:ext uri="{FF2B5EF4-FFF2-40B4-BE49-F238E27FC236}">
                <a16:creationId xmlns:a16="http://schemas.microsoft.com/office/drawing/2014/main" id="{331FC639-0F4B-4ED0-9DF0-868C00236B23}"/>
              </a:ext>
            </a:extLst>
          </p:cNvPr>
          <p:cNvPicPr>
            <a:picLocks noChangeAspect="1"/>
          </p:cNvPicPr>
          <p:nvPr/>
        </p:nvPicPr>
        <p:blipFill>
          <a:blip r:embed="rId2"/>
          <a:stretch>
            <a:fillRect/>
          </a:stretch>
        </p:blipFill>
        <p:spPr>
          <a:xfrm>
            <a:off x="1967345" y="838151"/>
            <a:ext cx="4779817" cy="4236027"/>
          </a:xfrm>
          <a:prstGeom prst="rect">
            <a:avLst/>
          </a:prstGeom>
        </p:spPr>
      </p:pic>
      <p:pic>
        <p:nvPicPr>
          <p:cNvPr id="5" name="Picture 4">
            <a:extLst>
              <a:ext uri="{FF2B5EF4-FFF2-40B4-BE49-F238E27FC236}">
                <a16:creationId xmlns:a16="http://schemas.microsoft.com/office/drawing/2014/main" id="{F17269AE-8EDB-496A-A489-DD1B795C7404}"/>
              </a:ext>
            </a:extLst>
          </p:cNvPr>
          <p:cNvPicPr>
            <a:picLocks noChangeAspect="1"/>
          </p:cNvPicPr>
          <p:nvPr/>
        </p:nvPicPr>
        <p:blipFill>
          <a:blip r:embed="rId3"/>
          <a:stretch>
            <a:fillRect/>
          </a:stretch>
        </p:blipFill>
        <p:spPr>
          <a:xfrm>
            <a:off x="2355272" y="55418"/>
            <a:ext cx="4128654" cy="782733"/>
          </a:xfrm>
          <a:prstGeom prst="rect">
            <a:avLst/>
          </a:prstGeom>
        </p:spPr>
      </p:pic>
    </p:spTree>
    <p:extLst>
      <p:ext uri="{BB962C8B-B14F-4D97-AF65-F5344CB8AC3E}">
        <p14:creationId xmlns:p14="http://schemas.microsoft.com/office/powerpoint/2010/main" val="16185482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1B788-63F4-451B-91ED-5420CCDC642E}"/>
              </a:ext>
            </a:extLst>
          </p:cNvPr>
          <p:cNvSpPr>
            <a:spLocks noGrp="1"/>
          </p:cNvSpPr>
          <p:nvPr>
            <p:ph type="title"/>
          </p:nvPr>
        </p:nvSpPr>
        <p:spPr>
          <a:xfrm>
            <a:off x="1037850" y="513972"/>
            <a:ext cx="7068300" cy="396300"/>
          </a:xfrm>
        </p:spPr>
        <p:txBody>
          <a:bodyPr/>
          <a:lstStyle/>
          <a:p>
            <a:pPr algn="ctr"/>
            <a:r>
              <a:rPr lang="en-US" sz="2400" b="1" dirty="0">
                <a:solidFill>
                  <a:srgbClr val="0070C0"/>
                </a:solidFill>
              </a:rPr>
              <a:t>Employment by Sector i</a:t>
            </a:r>
            <a:r>
              <a:rPr lang="en-US" sz="2800" b="1" dirty="0">
                <a:solidFill>
                  <a:srgbClr val="0070C0"/>
                </a:solidFill>
              </a:rPr>
              <a:t>n </a:t>
            </a:r>
            <a:r>
              <a:rPr lang="en-US" sz="2400" b="1" dirty="0">
                <a:solidFill>
                  <a:srgbClr val="0070C0"/>
                </a:solidFill>
              </a:rPr>
              <a:t>Urban </a:t>
            </a:r>
            <a:br>
              <a:rPr lang="en-US" b="1" dirty="0"/>
            </a:br>
            <a:endParaRPr lang="en-US" dirty="0"/>
          </a:p>
        </p:txBody>
      </p:sp>
      <p:sp>
        <p:nvSpPr>
          <p:cNvPr id="4" name="Text Placeholder 3">
            <a:extLst>
              <a:ext uri="{FF2B5EF4-FFF2-40B4-BE49-F238E27FC236}">
                <a16:creationId xmlns:a16="http://schemas.microsoft.com/office/drawing/2014/main" id="{A6142C9B-E9CB-4669-A169-920CCF4CCBEB}"/>
              </a:ext>
            </a:extLst>
          </p:cNvPr>
          <p:cNvSpPr>
            <a:spLocks noGrp="1"/>
          </p:cNvSpPr>
          <p:nvPr>
            <p:ph type="body" idx="2"/>
          </p:nvPr>
        </p:nvSpPr>
        <p:spPr>
          <a:xfrm>
            <a:off x="4796534" y="602142"/>
            <a:ext cx="3830014" cy="4260481"/>
          </a:xfrm>
        </p:spPr>
        <p:txBody>
          <a:bodyPr/>
          <a:lstStyle/>
          <a:p>
            <a:pPr>
              <a:lnSpc>
                <a:spcPct val="115000"/>
              </a:lnSpc>
              <a:spcAft>
                <a:spcPts val="1000"/>
              </a:spcAft>
              <a:buFont typeface="Arial" panose="020B0604020202020204" pitchFamily="34" charset="0"/>
              <a:buChar char="•"/>
            </a:pPr>
            <a:r>
              <a:rPr lang="en-IN" sz="1100" dirty="0">
                <a:effectLst/>
                <a:latin typeface="Calibri" panose="020F0502020204030204" pitchFamily="34" charset="0"/>
                <a:ea typeface="Calibri" panose="020F0502020204030204" pitchFamily="34" charset="0"/>
                <a:cs typeface="Mangal" panose="02040503050203030202" pitchFamily="18" charset="0"/>
              </a:rPr>
              <a:t>Initially in 1960 s the women sector in urban area were also involved mainly in agriculture . This may be due to their primary source of income. Although  from 1990 onwards their involvement began to decline &amp; fell down by 7-8 % due to new mechanisation of agriculture and security risks.</a:t>
            </a:r>
          </a:p>
          <a:p>
            <a:pPr>
              <a:lnSpc>
                <a:spcPct val="115000"/>
              </a:lnSpc>
              <a:spcAft>
                <a:spcPts val="1000"/>
              </a:spcAft>
              <a:buFont typeface="Arial" panose="020B0604020202020204" pitchFamily="34" charset="0"/>
              <a:buChar char="•"/>
            </a:pPr>
            <a:r>
              <a:rPr lang="en-IN" sz="1100" dirty="0">
                <a:effectLst/>
                <a:latin typeface="Calibri" panose="020F0502020204030204" pitchFamily="34" charset="0"/>
                <a:ea typeface="Calibri" panose="020F0502020204030204" pitchFamily="34" charset="0"/>
                <a:cs typeface="Mangal" panose="02040503050203030202" pitchFamily="18" charset="0"/>
              </a:rPr>
              <a:t>Contribution to construction sector by urban females  were  less initially about 2-3% due to less land availability. But it gradually increases from last 3 decades up to 5%.</a:t>
            </a:r>
          </a:p>
          <a:p>
            <a:pPr>
              <a:lnSpc>
                <a:spcPct val="115000"/>
              </a:lnSpc>
              <a:spcAft>
                <a:spcPts val="1000"/>
              </a:spcAft>
              <a:buFont typeface="Arial" panose="020B0604020202020204" pitchFamily="34" charset="0"/>
              <a:buChar char="•"/>
            </a:pPr>
            <a:r>
              <a:rPr lang="en-IN" sz="1100" dirty="0">
                <a:effectLst/>
                <a:latin typeface="Calibri" panose="020F0502020204030204" pitchFamily="34" charset="0"/>
                <a:ea typeface="Calibri" panose="020F0502020204030204" pitchFamily="34" charset="0"/>
                <a:cs typeface="Mangal" panose="02040503050203030202" pitchFamily="18" charset="0"/>
              </a:rPr>
              <a:t>In Service sector the contribution of urban females has increased significantly from 1970 to the present. This happens to be obvious since this sector  provides a diversified jobs such as teaching, nursing, lawyer etc. along with good pay scale.</a:t>
            </a:r>
          </a:p>
          <a:p>
            <a:pPr>
              <a:lnSpc>
                <a:spcPct val="115000"/>
              </a:lnSpc>
              <a:spcAft>
                <a:spcPts val="1000"/>
              </a:spcAft>
              <a:buFont typeface="Arial" panose="020B0604020202020204" pitchFamily="34" charset="0"/>
              <a:buChar char="•"/>
            </a:pPr>
            <a:r>
              <a:rPr lang="en-IN" sz="1100" dirty="0">
                <a:effectLst/>
                <a:latin typeface="Calibri" panose="020F0502020204030204" pitchFamily="34" charset="0"/>
                <a:ea typeface="Calibri" panose="020F0502020204030204" pitchFamily="34" charset="0"/>
                <a:cs typeface="Mangal" panose="02040503050203030202" pitchFamily="18" charset="0"/>
              </a:rPr>
              <a:t>Manufacturing sector has not seen any remarkable growth over the decades &amp; has remained constant in some extent because increased in home-based work for women as part of outsourced employment. </a:t>
            </a:r>
          </a:p>
          <a:p>
            <a:pPr>
              <a:buFont typeface="Arial" panose="020B0604020202020204" pitchFamily="34" charset="0"/>
              <a:buChar char="•"/>
            </a:pPr>
            <a:endParaRPr lang="en-US" sz="1100" dirty="0"/>
          </a:p>
        </p:txBody>
      </p:sp>
      <p:pic>
        <p:nvPicPr>
          <p:cNvPr id="6" name="Picture 5">
            <a:extLst>
              <a:ext uri="{FF2B5EF4-FFF2-40B4-BE49-F238E27FC236}">
                <a16:creationId xmlns:a16="http://schemas.microsoft.com/office/drawing/2014/main" id="{C6468930-F093-44D7-8C63-650E70C8045A}"/>
              </a:ext>
            </a:extLst>
          </p:cNvPr>
          <p:cNvPicPr>
            <a:picLocks noChangeAspect="1"/>
          </p:cNvPicPr>
          <p:nvPr/>
        </p:nvPicPr>
        <p:blipFill>
          <a:blip r:embed="rId2"/>
          <a:stretch>
            <a:fillRect/>
          </a:stretch>
        </p:blipFill>
        <p:spPr>
          <a:xfrm>
            <a:off x="-397" y="712122"/>
            <a:ext cx="4733213" cy="3824436"/>
          </a:xfrm>
          <a:prstGeom prst="rect">
            <a:avLst/>
          </a:prstGeom>
        </p:spPr>
      </p:pic>
    </p:spTree>
    <p:extLst>
      <p:ext uri="{BB962C8B-B14F-4D97-AF65-F5344CB8AC3E}">
        <p14:creationId xmlns:p14="http://schemas.microsoft.com/office/powerpoint/2010/main" val="4512738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CC798A2-BB98-4C7A-95F2-72495D6A8C6C}"/>
              </a:ext>
            </a:extLst>
          </p:cNvPr>
          <p:cNvSpPr>
            <a:spLocks noGrp="1"/>
          </p:cNvSpPr>
          <p:nvPr>
            <p:ph type="body" idx="2"/>
          </p:nvPr>
        </p:nvSpPr>
        <p:spPr>
          <a:xfrm>
            <a:off x="4418350" y="789454"/>
            <a:ext cx="4649972" cy="4651203"/>
          </a:xfrm>
        </p:spPr>
        <p:txBody>
          <a:bodyPr/>
          <a:lstStyle/>
          <a:p>
            <a:pPr>
              <a:buFont typeface="Arial" panose="020B0604020202020204" pitchFamily="34" charset="0"/>
              <a:buChar char="•"/>
            </a:pPr>
            <a:endParaRPr lang="en-IN" sz="700" dirty="0">
              <a:effectLst/>
              <a:latin typeface="Calibri" panose="020F0502020204030204" pitchFamily="34" charset="0"/>
              <a:ea typeface="Calibri" panose="020F0502020204030204" pitchFamily="34" charset="0"/>
              <a:cs typeface="Mangal" panose="02040503050203030202" pitchFamily="18" charset="0"/>
            </a:endParaRPr>
          </a:p>
          <a:p>
            <a:pPr>
              <a:buFont typeface="Arial" panose="020B0604020202020204" pitchFamily="34" charset="0"/>
              <a:buChar char="•"/>
            </a:pPr>
            <a:endParaRPr lang="en-IN" sz="1050" dirty="0">
              <a:effectLst/>
              <a:latin typeface="Calibri" panose="020F0502020204030204" pitchFamily="34" charset="0"/>
              <a:ea typeface="Calibri" panose="020F0502020204030204" pitchFamily="34" charset="0"/>
              <a:cs typeface="Mangal" panose="02040503050203030202" pitchFamily="18" charset="0"/>
            </a:endParaRPr>
          </a:p>
          <a:p>
            <a:pPr>
              <a:buFont typeface="Arial" panose="020B0604020202020204" pitchFamily="34" charset="0"/>
              <a:buChar char="•"/>
            </a:pPr>
            <a:endParaRPr lang="en-IN" sz="1050" dirty="0">
              <a:effectLst/>
              <a:latin typeface="Calibri" panose="020F0502020204030204" pitchFamily="34" charset="0"/>
              <a:ea typeface="Calibri" panose="020F0502020204030204" pitchFamily="34" charset="0"/>
              <a:cs typeface="Mangal" panose="02040503050203030202" pitchFamily="18" charset="0"/>
            </a:endParaRPr>
          </a:p>
        </p:txBody>
      </p:sp>
      <p:graphicFrame>
        <p:nvGraphicFramePr>
          <p:cNvPr id="6" name="Chart 5">
            <a:extLst>
              <a:ext uri="{FF2B5EF4-FFF2-40B4-BE49-F238E27FC236}">
                <a16:creationId xmlns:a16="http://schemas.microsoft.com/office/drawing/2014/main" id="{1ACE3971-2083-45E9-8340-F2C8C71C63E3}"/>
              </a:ext>
            </a:extLst>
          </p:cNvPr>
          <p:cNvGraphicFramePr>
            <a:graphicFrameLocks/>
          </p:cNvGraphicFramePr>
          <p:nvPr>
            <p:extLst>
              <p:ext uri="{D42A27DB-BD31-4B8C-83A1-F6EECF244321}">
                <p14:modId xmlns:p14="http://schemas.microsoft.com/office/powerpoint/2010/main" val="1520546565"/>
              </p:ext>
            </p:extLst>
          </p:nvPr>
        </p:nvGraphicFramePr>
        <p:xfrm>
          <a:off x="-16470" y="789454"/>
          <a:ext cx="4588470" cy="3775008"/>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F4AF088A-03D1-4684-9478-5F856713828C}"/>
              </a:ext>
            </a:extLst>
          </p:cNvPr>
          <p:cNvSpPr txBox="1"/>
          <p:nvPr/>
        </p:nvSpPr>
        <p:spPr>
          <a:xfrm>
            <a:off x="1137684" y="0"/>
            <a:ext cx="6386624" cy="523220"/>
          </a:xfrm>
          <a:prstGeom prst="rect">
            <a:avLst/>
          </a:prstGeom>
          <a:noFill/>
        </p:spPr>
        <p:txBody>
          <a:bodyPr wrap="square" rtlCol="0">
            <a:spAutoFit/>
          </a:bodyPr>
          <a:lstStyle/>
          <a:p>
            <a:pPr algn="ctr"/>
            <a:r>
              <a:rPr lang="en-US" sz="2800" b="1" dirty="0">
                <a:solidFill>
                  <a:srgbClr val="0070C0"/>
                </a:solidFill>
              </a:rPr>
              <a:t>Employment by Sector in Rural</a:t>
            </a:r>
          </a:p>
        </p:txBody>
      </p:sp>
      <p:sp>
        <p:nvSpPr>
          <p:cNvPr id="8" name="TextBox 7">
            <a:extLst>
              <a:ext uri="{FF2B5EF4-FFF2-40B4-BE49-F238E27FC236}">
                <a16:creationId xmlns:a16="http://schemas.microsoft.com/office/drawing/2014/main" id="{A24A026E-E0FB-40A5-A488-8829EDEEAE9F}"/>
              </a:ext>
            </a:extLst>
          </p:cNvPr>
          <p:cNvSpPr txBox="1"/>
          <p:nvPr/>
        </p:nvSpPr>
        <p:spPr>
          <a:xfrm>
            <a:off x="4501116" y="586320"/>
            <a:ext cx="4279082" cy="4499565"/>
          </a:xfrm>
          <a:prstGeom prst="rect">
            <a:avLst/>
          </a:prstGeom>
          <a:noFill/>
        </p:spPr>
        <p:txBody>
          <a:bodyPr wrap="square">
            <a:spAutoFit/>
          </a:bodyPr>
          <a:lstStyle/>
          <a:p>
            <a:pPr marL="171450" indent="-171450">
              <a:lnSpc>
                <a:spcPct val="115000"/>
              </a:lnSpc>
              <a:spcAft>
                <a:spcPts val="1000"/>
              </a:spcAft>
              <a:buFont typeface="Arial" panose="020B0604020202020204" pitchFamily="34" charset="0"/>
              <a:buChar char="•"/>
            </a:pPr>
            <a:r>
              <a:rPr lang="en-IN" sz="1200" dirty="0">
                <a:effectLst/>
                <a:latin typeface="Calibri" panose="020F0502020204030204" pitchFamily="34" charset="0"/>
                <a:ea typeface="Calibri" panose="020F0502020204030204" pitchFamily="34" charset="0"/>
                <a:cs typeface="Mangal" panose="02040503050203030202" pitchFamily="18" charset="0"/>
              </a:rPr>
              <a:t>In rural sector the main occupation for the livelihood is agriculture. And “GREEN REVOULUTION” brings the more opportunities in farm sector during 1960-80. Henceforth most of the population is engaged with the agricultural activities hoeing ,weeding ,grass cutting etc. this is the reason why involvement of females in  this sector is most which is up to 85-90%</a:t>
            </a:r>
            <a:endParaRPr lang="en-IN" sz="1050" dirty="0">
              <a:effectLst/>
              <a:latin typeface="Calibri" panose="020F0502020204030204" pitchFamily="34" charset="0"/>
              <a:ea typeface="Calibri" panose="020F0502020204030204" pitchFamily="34" charset="0"/>
              <a:cs typeface="Mangal" panose="02040503050203030202" pitchFamily="18" charset="0"/>
            </a:endParaRPr>
          </a:p>
          <a:p>
            <a:pPr marL="171450" indent="-171450">
              <a:lnSpc>
                <a:spcPct val="115000"/>
              </a:lnSpc>
              <a:spcAft>
                <a:spcPts val="1000"/>
              </a:spcAft>
              <a:buFont typeface="Arial" panose="020B0604020202020204" pitchFamily="34" charset="0"/>
              <a:buChar char="•"/>
            </a:pPr>
            <a:r>
              <a:rPr lang="en-IN" sz="1200" dirty="0">
                <a:effectLst/>
                <a:latin typeface="Calibri" panose="020F0502020204030204" pitchFamily="34" charset="0"/>
                <a:ea typeface="Calibri" panose="020F0502020204030204" pitchFamily="34" charset="0"/>
                <a:cs typeface="Mangal" panose="02040503050203030202" pitchFamily="18" charset="0"/>
              </a:rPr>
              <a:t>There is only 1.5% - 5% involvement of women in construction sector in rural area because they unable to acquire specific skills related to construction area. </a:t>
            </a:r>
            <a:endParaRPr lang="en-IN" sz="1050" dirty="0">
              <a:effectLst/>
              <a:latin typeface="Calibri" panose="020F0502020204030204" pitchFamily="34" charset="0"/>
              <a:ea typeface="Calibri" panose="020F0502020204030204" pitchFamily="34" charset="0"/>
              <a:cs typeface="Mangal" panose="02040503050203030202" pitchFamily="18" charset="0"/>
            </a:endParaRPr>
          </a:p>
          <a:p>
            <a:pPr marL="171450" indent="-171450">
              <a:lnSpc>
                <a:spcPct val="115000"/>
              </a:lnSpc>
              <a:spcAft>
                <a:spcPts val="1000"/>
              </a:spcAft>
              <a:buFont typeface="Arial" panose="020B0604020202020204" pitchFamily="34" charset="0"/>
              <a:buChar char="•"/>
            </a:pPr>
            <a:r>
              <a:rPr lang="en-IN" sz="1200" dirty="0">
                <a:effectLst/>
                <a:latin typeface="Calibri" panose="020F0502020204030204" pitchFamily="34" charset="0"/>
                <a:ea typeface="Calibri" panose="020F0502020204030204" pitchFamily="34" charset="0"/>
                <a:cs typeface="Mangal" panose="02040503050203030202" pitchFamily="18" charset="0"/>
              </a:rPr>
              <a:t>The involvement of women in service sector is very less which is 5 -8% only. This is due to fact that availability of formal jobs is very less in rural sector. Also these jobs require certain skills to be acquired which is not preferred by the females and they tend to go towards unskilled labour jobs.</a:t>
            </a:r>
            <a:endParaRPr lang="en-IN" sz="1050" dirty="0">
              <a:effectLst/>
              <a:latin typeface="Calibri" panose="020F0502020204030204" pitchFamily="34" charset="0"/>
              <a:ea typeface="Calibri" panose="020F0502020204030204" pitchFamily="34" charset="0"/>
              <a:cs typeface="Mangal" panose="02040503050203030202" pitchFamily="18" charset="0"/>
            </a:endParaRPr>
          </a:p>
          <a:p>
            <a:pPr marL="171450" indent="-171450">
              <a:lnSpc>
                <a:spcPct val="115000"/>
              </a:lnSpc>
              <a:spcAft>
                <a:spcPts val="1000"/>
              </a:spcAft>
              <a:buFont typeface="Arial" panose="020B0604020202020204" pitchFamily="34" charset="0"/>
              <a:buChar char="•"/>
            </a:pPr>
            <a:r>
              <a:rPr lang="en-IN" sz="1200" dirty="0">
                <a:effectLst/>
                <a:latin typeface="Calibri" panose="020F0502020204030204" pitchFamily="34" charset="0"/>
                <a:ea typeface="Calibri" panose="020F0502020204030204" pitchFamily="34" charset="0"/>
                <a:cs typeface="Mangal" panose="02040503050203030202" pitchFamily="18" charset="0"/>
              </a:rPr>
              <a:t>Besides these many social and cultural barriers are also faced by them which  inherently decreases their contribution . Also the wages received by them is less as compared to men in different sectors.</a:t>
            </a:r>
            <a:endParaRPr lang="en-IN" sz="1050" dirty="0">
              <a:effectLst/>
              <a:latin typeface="Calibri" panose="020F0502020204030204" pitchFamily="34" charset="0"/>
              <a:ea typeface="Calibri" panose="020F0502020204030204" pitchFamily="34" charset="0"/>
              <a:cs typeface="Mangal" panose="02040503050203030202" pitchFamily="18" charset="0"/>
            </a:endParaRPr>
          </a:p>
        </p:txBody>
      </p:sp>
    </p:spTree>
    <p:extLst>
      <p:ext uri="{BB962C8B-B14F-4D97-AF65-F5344CB8AC3E}">
        <p14:creationId xmlns:p14="http://schemas.microsoft.com/office/powerpoint/2010/main" val="26321439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25A6E0"/>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Gender equality*feminism*equal rights*balance*justice*women empowerment"/>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women*protest*demonstration*boycott*government*movement*politics*protesting*sign*social*strike*gathering*labor strike*solidarity*union*march"/>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scale*weigh*balance*pounds*weight*equal*law*justice"/>
</p:tagLst>
</file>

<file path=ppt/theme/theme1.xml><?xml version="1.0" encoding="utf-8"?>
<a:theme xmlns:a="http://schemas.openxmlformats.org/drawingml/2006/main" name="Joan template">
  <a:themeElements>
    <a:clrScheme name="Custom 347">
      <a:dk1>
        <a:srgbClr val="000C18"/>
      </a:dk1>
      <a:lt1>
        <a:srgbClr val="FFFFFF"/>
      </a:lt1>
      <a:dk2>
        <a:srgbClr val="85939C"/>
      </a:dk2>
      <a:lt2>
        <a:srgbClr val="E3F2F8"/>
      </a:lt2>
      <a:accent1>
        <a:srgbClr val="25A6E0"/>
      </a:accent1>
      <a:accent2>
        <a:srgbClr val="104499"/>
      </a:accent2>
      <a:accent3>
        <a:srgbClr val="94E277"/>
      </a:accent3>
      <a:accent4>
        <a:srgbClr val="4FB974"/>
      </a:accent4>
      <a:accent5>
        <a:srgbClr val="E9AB2D"/>
      </a:accent5>
      <a:accent6>
        <a:srgbClr val="D67309"/>
      </a:accent6>
      <a:hlink>
        <a:srgbClr val="104499"/>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521</TotalTime>
  <Words>3136</Words>
  <Application>Microsoft Office PowerPoint</Application>
  <PresentationFormat>On-screen Show (16:9)</PresentationFormat>
  <Paragraphs>562</Paragraphs>
  <Slides>34</Slides>
  <Notes>8</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4</vt:i4>
      </vt:variant>
    </vt:vector>
  </HeadingPairs>
  <TitlesOfParts>
    <vt:vector size="45" baseType="lpstr">
      <vt:lpstr>Roboto</vt:lpstr>
      <vt:lpstr>Fira Sans Extra Condensed Medium</vt:lpstr>
      <vt:lpstr>Arial</vt:lpstr>
      <vt:lpstr>Calibri</vt:lpstr>
      <vt:lpstr>Open Sans</vt:lpstr>
      <vt:lpstr>Fira Sans Extra Condensed</vt:lpstr>
      <vt:lpstr>Inter-Regular</vt:lpstr>
      <vt:lpstr>Arial</vt:lpstr>
      <vt:lpstr>Courier New</vt:lpstr>
      <vt:lpstr>Cambria Math</vt:lpstr>
      <vt:lpstr>Joan template</vt:lpstr>
      <vt:lpstr>Role Of Women in  Economy</vt:lpstr>
      <vt:lpstr>Project By :</vt:lpstr>
      <vt:lpstr>Data Sources: </vt:lpstr>
      <vt:lpstr>Overview</vt:lpstr>
      <vt:lpstr>Objectives</vt:lpstr>
      <vt:lpstr>Sample 1</vt:lpstr>
      <vt:lpstr>PowerPoint Presentation</vt:lpstr>
      <vt:lpstr>Employment by Sector in Urban  </vt:lpstr>
      <vt:lpstr>PowerPoint Presentation</vt:lpstr>
      <vt:lpstr>Share of India's Female Labour Force by Sector</vt:lpstr>
      <vt:lpstr>PowerPoint Presentation</vt:lpstr>
      <vt:lpstr>PowerPoint Presentation</vt:lpstr>
      <vt:lpstr>PowerPoint Presentation</vt:lpstr>
      <vt:lpstr>Correlation Table</vt:lpstr>
      <vt:lpstr>PowerPoint Presentation</vt:lpstr>
      <vt:lpstr>Regression Analysis</vt:lpstr>
      <vt:lpstr>Residual Plot</vt:lpstr>
      <vt:lpstr>Presence of Multicollinearity</vt:lpstr>
      <vt:lpstr>Ways to Deal with Non Constant Variance</vt:lpstr>
      <vt:lpstr>PCR Technique </vt:lpstr>
      <vt:lpstr>Implementation in R</vt:lpstr>
      <vt:lpstr>PowerPoint Presentation</vt:lpstr>
      <vt:lpstr>Loadings </vt:lpstr>
      <vt:lpstr>PowerPoint Presentation</vt:lpstr>
      <vt:lpstr>Testing Significance of Regression</vt:lpstr>
      <vt:lpstr>Residual Analysis</vt:lpstr>
      <vt:lpstr>PowerPoint Presentation</vt:lpstr>
      <vt:lpstr>Testing Of Hypothesis</vt:lpstr>
      <vt:lpstr>PowerPoint Presentation</vt:lpstr>
      <vt:lpstr>PowerPoint Presentation</vt:lpstr>
      <vt:lpstr>PowerPoint Presentation</vt:lpstr>
      <vt:lpstr>PowerPoint Presentation</vt:lpstr>
      <vt:lpstr>SWOT Analysi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le Of Women in  Economy</dc:title>
  <dc:creator>UDAY PASPULE</dc:creator>
  <cp:lastModifiedBy>sonali singh</cp:lastModifiedBy>
  <cp:revision>111</cp:revision>
  <dcterms:modified xsi:type="dcterms:W3CDTF">2021-06-13T05:57:11Z</dcterms:modified>
</cp:coreProperties>
</file>